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6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8.xml" ContentType="application/vnd.openxmlformats-officedocument.theme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9.xml" ContentType="application/vnd.openxmlformats-officedocument.theme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theme/theme10.xml" ContentType="application/vnd.openxmlformats-officedocument.theme+xml"/>
  <Override PartName="/ppt/tags/tag3.xml" ContentType="application/vnd.openxmlformats-officedocument.presentationml.tags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8" r:id="rId5"/>
    <p:sldMasterId id="2147483700" r:id="rId6"/>
    <p:sldMasterId id="2147483719" r:id="rId7"/>
    <p:sldMasterId id="2147483740" r:id="rId8"/>
    <p:sldMasterId id="2147483762" r:id="rId9"/>
    <p:sldMasterId id="2147483781" r:id="rId10"/>
    <p:sldMasterId id="2147483802" r:id="rId11"/>
    <p:sldMasterId id="2147483821" r:id="rId12"/>
    <p:sldMasterId id="2147483854" r:id="rId13"/>
  </p:sldMasterIdLst>
  <p:notesMasterIdLst>
    <p:notesMasterId r:id="rId33"/>
  </p:notesMasterIdLst>
  <p:sldIdLst>
    <p:sldId id="5153" r:id="rId14"/>
    <p:sldId id="260" r:id="rId15"/>
    <p:sldId id="262" r:id="rId16"/>
    <p:sldId id="5154" r:id="rId17"/>
    <p:sldId id="5160" r:id="rId18"/>
    <p:sldId id="444" r:id="rId19"/>
    <p:sldId id="5156" r:id="rId20"/>
    <p:sldId id="438" r:id="rId21"/>
    <p:sldId id="5157" r:id="rId22"/>
    <p:sldId id="264" r:id="rId23"/>
    <p:sldId id="271" r:id="rId24"/>
    <p:sldId id="5180" r:id="rId25"/>
    <p:sldId id="5179" r:id="rId26"/>
    <p:sldId id="5161" r:id="rId27"/>
    <p:sldId id="5175" r:id="rId28"/>
    <p:sldId id="5176" r:id="rId29"/>
    <p:sldId id="5162" r:id="rId30"/>
    <p:sldId id="292" r:id="rId31"/>
    <p:sldId id="5028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F084FF5-4151-4C3E-B676-720EB669EDB5}" v="12" dt="2021-05-11T20:58:07.19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8" d="100"/>
          <a:sy n="98" d="100"/>
        </p:scale>
        <p:origin x="103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microsoft.com/office/2015/10/relationships/revisionInfo" Target="revisionInfo.xml"/><Relationship Id="rId21" Type="http://schemas.openxmlformats.org/officeDocument/2006/relationships/slide" Target="slides/slide8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notesMaster" Target="notesMasters/notesMaster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beth Ramos" userId="c92aaec2-d59d-47d5-9ea1-90dd33af6c9d" providerId="ADAL" clId="{4F084FF5-4151-4C3E-B676-720EB669EDB5}"/>
    <pc:docChg chg="addSld delSld modSld sldOrd">
      <pc:chgData name="Ibeth Ramos" userId="c92aaec2-d59d-47d5-9ea1-90dd33af6c9d" providerId="ADAL" clId="{4F084FF5-4151-4C3E-B676-720EB669EDB5}" dt="2021-05-11T21:11:00.514" v="30" actId="20577"/>
      <pc:docMkLst>
        <pc:docMk/>
      </pc:docMkLst>
      <pc:sldChg chg="addSp modSp add del mod">
        <pc:chgData name="Ibeth Ramos" userId="c92aaec2-d59d-47d5-9ea1-90dd33af6c9d" providerId="ADAL" clId="{4F084FF5-4151-4C3E-B676-720EB669EDB5}" dt="2021-05-11T20:57:36.723" v="21"/>
        <pc:sldMkLst>
          <pc:docMk/>
          <pc:sldMk cId="0" sldId="271"/>
        </pc:sldMkLst>
        <pc:spChg chg="add mod">
          <ac:chgData name="Ibeth Ramos" userId="c92aaec2-d59d-47d5-9ea1-90dd33af6c9d" providerId="ADAL" clId="{4F084FF5-4151-4C3E-B676-720EB669EDB5}" dt="2021-05-11T20:57:19.899" v="19"/>
          <ac:spMkLst>
            <pc:docMk/>
            <pc:sldMk cId="0" sldId="271"/>
            <ac:spMk id="47" creationId="{48B3D2A9-8A01-4B23-8DC0-382ACB2956A4}"/>
          </ac:spMkLst>
        </pc:spChg>
        <pc:spChg chg="add mod">
          <ac:chgData name="Ibeth Ramos" userId="c92aaec2-d59d-47d5-9ea1-90dd33af6c9d" providerId="ADAL" clId="{4F084FF5-4151-4C3E-B676-720EB669EDB5}" dt="2021-05-11T20:57:36.723" v="21"/>
          <ac:spMkLst>
            <pc:docMk/>
            <pc:sldMk cId="0" sldId="271"/>
            <ac:spMk id="48" creationId="{E25E01EC-E4EF-4A11-8623-8CF2114F3DA7}"/>
          </ac:spMkLst>
        </pc:spChg>
        <pc:spChg chg="mod">
          <ac:chgData name="Ibeth Ramos" userId="c92aaec2-d59d-47d5-9ea1-90dd33af6c9d" providerId="ADAL" clId="{4F084FF5-4151-4C3E-B676-720EB669EDB5}" dt="2021-05-11T20:57:26.199" v="20" actId="1076"/>
          <ac:spMkLst>
            <pc:docMk/>
            <pc:sldMk cId="0" sldId="271"/>
            <ac:spMk id="1107" creationId="{00000000-0000-0000-0000-000000000000}"/>
          </ac:spMkLst>
        </pc:spChg>
      </pc:sldChg>
      <pc:sldChg chg="modSp mod setBg">
        <pc:chgData name="Ibeth Ramos" userId="c92aaec2-d59d-47d5-9ea1-90dd33af6c9d" providerId="ADAL" clId="{4F084FF5-4151-4C3E-B676-720EB669EDB5}" dt="2021-05-11T20:50:47.145" v="6" actId="207"/>
        <pc:sldMkLst>
          <pc:docMk/>
          <pc:sldMk cId="619594736" sldId="292"/>
        </pc:sldMkLst>
        <pc:spChg chg="mod">
          <ac:chgData name="Ibeth Ramos" userId="c92aaec2-d59d-47d5-9ea1-90dd33af6c9d" providerId="ADAL" clId="{4F084FF5-4151-4C3E-B676-720EB669EDB5}" dt="2021-05-11T20:50:42.481" v="5" actId="20577"/>
          <ac:spMkLst>
            <pc:docMk/>
            <pc:sldMk cId="619594736" sldId="292"/>
            <ac:spMk id="3" creationId="{00000000-0000-0000-0000-000000000000}"/>
          </ac:spMkLst>
        </pc:spChg>
        <pc:spChg chg="mod">
          <ac:chgData name="Ibeth Ramos" userId="c92aaec2-d59d-47d5-9ea1-90dd33af6c9d" providerId="ADAL" clId="{4F084FF5-4151-4C3E-B676-720EB669EDB5}" dt="2021-05-11T20:50:47.145" v="6" actId="207"/>
          <ac:spMkLst>
            <pc:docMk/>
            <pc:sldMk cId="619594736" sldId="292"/>
            <ac:spMk id="6" creationId="{00000000-0000-0000-0000-000000000000}"/>
          </ac:spMkLst>
        </pc:spChg>
      </pc:sldChg>
      <pc:sldChg chg="addSp modSp">
        <pc:chgData name="Ibeth Ramos" userId="c92aaec2-d59d-47d5-9ea1-90dd33af6c9d" providerId="ADAL" clId="{4F084FF5-4151-4C3E-B676-720EB669EDB5}" dt="2021-05-11T20:57:58.499" v="24"/>
        <pc:sldMkLst>
          <pc:docMk/>
          <pc:sldMk cId="775273303" sldId="438"/>
        </pc:sldMkLst>
        <pc:spChg chg="add mod">
          <ac:chgData name="Ibeth Ramos" userId="c92aaec2-d59d-47d5-9ea1-90dd33af6c9d" providerId="ADAL" clId="{4F084FF5-4151-4C3E-B676-720EB669EDB5}" dt="2021-05-11T20:57:58.499" v="24"/>
          <ac:spMkLst>
            <pc:docMk/>
            <pc:sldMk cId="775273303" sldId="438"/>
            <ac:spMk id="32" creationId="{D3FCE0DB-EF99-42E2-918F-3A9FC45034D7}"/>
          </ac:spMkLst>
        </pc:spChg>
      </pc:sldChg>
      <pc:sldChg chg="addSp modSp">
        <pc:chgData name="Ibeth Ramos" userId="c92aaec2-d59d-47d5-9ea1-90dd33af6c9d" providerId="ADAL" clId="{4F084FF5-4151-4C3E-B676-720EB669EDB5}" dt="2021-05-11T20:58:07.199" v="25"/>
        <pc:sldMkLst>
          <pc:docMk/>
          <pc:sldMk cId="1192020407" sldId="444"/>
        </pc:sldMkLst>
        <pc:spChg chg="add mod">
          <ac:chgData name="Ibeth Ramos" userId="c92aaec2-d59d-47d5-9ea1-90dd33af6c9d" providerId="ADAL" clId="{4F084FF5-4151-4C3E-B676-720EB669EDB5}" dt="2021-05-11T20:58:07.199" v="25"/>
          <ac:spMkLst>
            <pc:docMk/>
            <pc:sldMk cId="1192020407" sldId="444"/>
            <ac:spMk id="38" creationId="{F7DA44EE-F145-4328-9953-5FB9DBDA0DEE}"/>
          </ac:spMkLst>
        </pc:spChg>
      </pc:sldChg>
      <pc:sldChg chg="modSp mod">
        <pc:chgData name="Ibeth Ramos" userId="c92aaec2-d59d-47d5-9ea1-90dd33af6c9d" providerId="ADAL" clId="{4F084FF5-4151-4C3E-B676-720EB669EDB5}" dt="2021-05-11T21:11:00.514" v="30" actId="20577"/>
        <pc:sldMkLst>
          <pc:docMk/>
          <pc:sldMk cId="2270934884" sldId="5028"/>
        </pc:sldMkLst>
        <pc:spChg chg="mod">
          <ac:chgData name="Ibeth Ramos" userId="c92aaec2-d59d-47d5-9ea1-90dd33af6c9d" providerId="ADAL" clId="{4F084FF5-4151-4C3E-B676-720EB669EDB5}" dt="2021-05-11T21:11:00.514" v="30" actId="20577"/>
          <ac:spMkLst>
            <pc:docMk/>
            <pc:sldMk cId="2270934884" sldId="5028"/>
            <ac:spMk id="5" creationId="{00000000-0000-0000-0000-000000000000}"/>
          </ac:spMkLst>
        </pc:spChg>
      </pc:sldChg>
      <pc:sldChg chg="modSp mod">
        <pc:chgData name="Ibeth Ramos" userId="c92aaec2-d59d-47d5-9ea1-90dd33af6c9d" providerId="ADAL" clId="{4F084FF5-4151-4C3E-B676-720EB669EDB5}" dt="2021-05-11T20:54:28.488" v="9" actId="1076"/>
        <pc:sldMkLst>
          <pc:docMk/>
          <pc:sldMk cId="1147799151" sldId="5153"/>
        </pc:sldMkLst>
        <pc:picChg chg="mod">
          <ac:chgData name="Ibeth Ramos" userId="c92aaec2-d59d-47d5-9ea1-90dd33af6c9d" providerId="ADAL" clId="{4F084FF5-4151-4C3E-B676-720EB669EDB5}" dt="2021-05-11T20:54:28.488" v="9" actId="1076"/>
          <ac:picMkLst>
            <pc:docMk/>
            <pc:sldMk cId="1147799151" sldId="5153"/>
            <ac:picMk id="6" creationId="{754BE67E-BD4E-41E8-9E9A-2580A1CFF797}"/>
          </ac:picMkLst>
        </pc:picChg>
      </pc:sldChg>
      <pc:sldChg chg="ord">
        <pc:chgData name="Ibeth Ramos" userId="c92aaec2-d59d-47d5-9ea1-90dd33af6c9d" providerId="ADAL" clId="{4F084FF5-4151-4C3E-B676-720EB669EDB5}" dt="2021-05-11T20:55:07.808" v="11"/>
        <pc:sldMkLst>
          <pc:docMk/>
          <pc:sldMk cId="3761795567" sldId="5156"/>
        </pc:sldMkLst>
      </pc:sldChg>
      <pc:sldChg chg="del">
        <pc:chgData name="Ibeth Ramos" userId="c92aaec2-d59d-47d5-9ea1-90dd33af6c9d" providerId="ADAL" clId="{4F084FF5-4151-4C3E-B676-720EB669EDB5}" dt="2021-05-11T20:57:38.971" v="22" actId="47"/>
        <pc:sldMkLst>
          <pc:docMk/>
          <pc:sldMk cId="4097609839" sldId="5158"/>
        </pc:sldMkLst>
      </pc:sldChg>
      <pc:sldChg chg="addSp modSp">
        <pc:chgData name="Ibeth Ramos" userId="c92aaec2-d59d-47d5-9ea1-90dd33af6c9d" providerId="ADAL" clId="{4F084FF5-4151-4C3E-B676-720EB669EDB5}" dt="2021-05-11T20:57:52.047" v="23"/>
        <pc:sldMkLst>
          <pc:docMk/>
          <pc:sldMk cId="3521018280" sldId="5179"/>
        </pc:sldMkLst>
        <pc:spChg chg="add mod">
          <ac:chgData name="Ibeth Ramos" userId="c92aaec2-d59d-47d5-9ea1-90dd33af6c9d" providerId="ADAL" clId="{4F084FF5-4151-4C3E-B676-720EB669EDB5}" dt="2021-05-11T20:57:52.047" v="23"/>
          <ac:spMkLst>
            <pc:docMk/>
            <pc:sldMk cId="3521018280" sldId="5179"/>
            <ac:spMk id="4" creationId="{9A67380F-8550-4BE1-A6CA-61263A6BCC24}"/>
          </ac:spMkLst>
        </pc:spChg>
      </pc:sldChg>
      <pc:sldChg chg="modSp add mod">
        <pc:chgData name="Ibeth Ramos" userId="c92aaec2-d59d-47d5-9ea1-90dd33af6c9d" providerId="ADAL" clId="{4F084FF5-4151-4C3E-B676-720EB669EDB5}" dt="2021-05-11T20:56:19.088" v="14" actId="20577"/>
        <pc:sldMkLst>
          <pc:docMk/>
          <pc:sldMk cId="367153840" sldId="5180"/>
        </pc:sldMkLst>
        <pc:spChg chg="mod">
          <ac:chgData name="Ibeth Ramos" userId="c92aaec2-d59d-47d5-9ea1-90dd33af6c9d" providerId="ADAL" clId="{4F084FF5-4151-4C3E-B676-720EB669EDB5}" dt="2021-05-11T20:56:19.088" v="14" actId="20577"/>
          <ac:spMkLst>
            <pc:docMk/>
            <pc:sldMk cId="367153840" sldId="5180"/>
            <ac:spMk id="69" creationId="{C316DD63-E4CA-4F5D-ABEB-545A16EBF578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BC8FE9-F8A5-4079-82F4-E3C044CFF625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878556-FA76-4364-837B-D4A84709AB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8528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8" name="Google Shape;708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9" name="Google Shape;70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2" name="Google Shape;782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83" name="Google Shape;78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1" name="Google Shape;801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02" name="Google Shape;802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" name="Google Shape;438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9" name="Google Shape;43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994560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g87b7afb683_1_100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1" name="Google Shape;981;g87b7afb683_1_100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194446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" name="Google Shape;438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9" name="Google Shape;43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109289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" name="Google Shape;44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6" name="Google Shape;446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" name="Google Shape;1103;g87b7afb683_1_95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4" name="Google Shape;1104;g87b7afb683_1_95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" name="Google Shape;1103;g87b7afb683_1_95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4" name="Google Shape;1104;g87b7afb683_1_95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66701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9114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1749088" y="404813"/>
            <a:ext cx="123111" cy="1264770"/>
          </a:xfrm>
          <a:prstGeom prst="rect">
            <a:avLst/>
          </a:prstGeom>
          <a:noFill/>
        </p:spPr>
        <p:txBody>
          <a:bodyPr vert="vert" wrap="none" lIns="0" tIns="0" rIns="0" bIns="0" rtlCol="0" anchor="ctr" anchorCtr="0">
            <a:spAutoFit/>
          </a:bodyPr>
          <a:lstStyle/>
          <a:p>
            <a:r>
              <a:rPr lang="de-DE" sz="800" b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© </a:t>
            </a:r>
            <a:r>
              <a:rPr lang="en-US" sz="800" b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COOKHOUSE LABS </a:t>
            </a:r>
            <a:r>
              <a:rPr lang="en-US" sz="80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2020</a:t>
            </a: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915" b="17726"/>
          <a:stretch/>
        </p:blipFill>
        <p:spPr>
          <a:xfrm>
            <a:off x="4860235" y="5610004"/>
            <a:ext cx="1235765" cy="12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77694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bg>
      <p:bgPr>
        <a:solidFill>
          <a:schemeClr val="accent6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16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Google Shape;27;p16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1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1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1" name="Google Shape;31;p16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32" name="Google Shape;32;p16"/>
          <p:cNvPicPr preferRelativeResize="0"/>
          <p:nvPr/>
        </p:nvPicPr>
        <p:blipFill rotWithShape="1">
          <a:blip r:embed="rId2">
            <a:alphaModFix/>
          </a:blip>
          <a:srcRect r="18915" b="17725"/>
          <a:stretch/>
        </p:blipFill>
        <p:spPr>
          <a:xfrm>
            <a:off x="10961785" y="5615609"/>
            <a:ext cx="1230215" cy="12423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7131702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Century Gothic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6" name="Google Shape;36;p3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3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3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3998889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38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3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3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3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572544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39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Century Gothic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39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48" name="Google Shape;48;p3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3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5001261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0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40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40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4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4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4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0432680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41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41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1" name="Google Shape;61;p41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" name="Google Shape;62;p4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3" name="Google Shape;63;p4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41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4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41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783001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42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42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4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4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6237551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ustom Layout">
  <p:cSld name="1_Custom Layout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4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43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43388123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Title Only">
  <p:cSld name="5_Title Only">
    <p:bg>
      <p:bgPr>
        <a:solidFill>
          <a:schemeClr val="accent6"/>
        </a:solidFill>
        <a:effectLst/>
      </p:bgPr>
    </p:bg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44"/>
          <p:cNvSpPr/>
          <p:nvPr/>
        </p:nvSpPr>
        <p:spPr>
          <a:xfrm flipH="1">
            <a:off x="0" y="-1"/>
            <a:ext cx="6096000" cy="687540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" name="Google Shape;77;p44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4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4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4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1" name="Google Shape;81;p44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82" name="Google Shape;82;p44"/>
          <p:cNvPicPr preferRelativeResize="0"/>
          <p:nvPr/>
        </p:nvPicPr>
        <p:blipFill rotWithShape="1">
          <a:blip r:embed="rId2">
            <a:alphaModFix/>
          </a:blip>
          <a:srcRect r="18915" b="17725"/>
          <a:stretch/>
        </p:blipFill>
        <p:spPr>
          <a:xfrm>
            <a:off x="4860235" y="5610004"/>
            <a:ext cx="1235765" cy="12479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735070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bg>
      <p:bgPr>
        <a:solidFill>
          <a:schemeClr val="accent6"/>
        </a:solidFill>
        <a:effectLst/>
      </p:bgPr>
    </p:bg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45"/>
          <p:cNvSpPr/>
          <p:nvPr/>
        </p:nvSpPr>
        <p:spPr>
          <a:xfrm>
            <a:off x="6096000" y="-1"/>
            <a:ext cx="6096000" cy="687540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" name="Google Shape;85;p4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4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4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4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9" name="Google Shape;89;p45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90" name="Google Shape;90;p45"/>
          <p:cNvPicPr preferRelativeResize="0"/>
          <p:nvPr/>
        </p:nvPicPr>
        <p:blipFill rotWithShape="1">
          <a:blip r:embed="rId2">
            <a:alphaModFix/>
          </a:blip>
          <a:srcRect r="19085" b="17797"/>
          <a:stretch/>
        </p:blipFill>
        <p:spPr>
          <a:xfrm>
            <a:off x="4850296" y="5614834"/>
            <a:ext cx="1245704" cy="12605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999275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1749088" y="404813"/>
            <a:ext cx="123111" cy="1264770"/>
          </a:xfrm>
          <a:prstGeom prst="rect">
            <a:avLst/>
          </a:prstGeom>
          <a:noFill/>
        </p:spPr>
        <p:txBody>
          <a:bodyPr vert="vert" wrap="none" lIns="0" tIns="0" rIns="0" bIns="0" rtlCol="0" anchor="ctr" anchorCtr="0">
            <a:spAutoFit/>
          </a:bodyPr>
          <a:lstStyle/>
          <a:p>
            <a:r>
              <a:rPr lang="de-DE" sz="800" b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© </a:t>
            </a:r>
            <a:r>
              <a:rPr lang="en-US" sz="800" b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COOKHOUSE LABS </a:t>
            </a:r>
            <a:r>
              <a:rPr lang="en-US" sz="80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273049698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bg>
      <p:bgPr>
        <a:solidFill>
          <a:schemeClr val="accent6"/>
        </a:solidFill>
        <a:effectLst/>
      </p:bgPr>
    </p:bg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46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" name="Google Shape;93;p46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4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4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4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7" name="Google Shape;97;p46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1516813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bg>
      <p:bgPr>
        <a:solidFill>
          <a:schemeClr val="accent6"/>
        </a:solidFill>
        <a:effectLst/>
      </p:bgPr>
    </p:bg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47"/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" name="Google Shape;100;p47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" name="Google Shape;101;p4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4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" name="Google Shape;103;p4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04" name="Google Shape;104;p47"/>
          <p:cNvPicPr preferRelativeResize="0"/>
          <p:nvPr/>
        </p:nvPicPr>
        <p:blipFill rotWithShape="1">
          <a:blip r:embed="rId2">
            <a:alphaModFix/>
          </a:blip>
          <a:srcRect r="18915" b="17725"/>
          <a:stretch/>
        </p:blipFill>
        <p:spPr>
          <a:xfrm>
            <a:off x="10961785" y="5615609"/>
            <a:ext cx="1230215" cy="12423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127111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48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entury Gothic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48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08" name="Google Shape;108;p48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09" name="Google Shape;109;p4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4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4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1973529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49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entury Gothic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49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5" name="Google Shape;115;p49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16" name="Google Shape;116;p4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" name="Google Shape;117;p4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4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048112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50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50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5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5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5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8905442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51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51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51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5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" name="Google Shape;130;p51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4500228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" name="Google Shape;519;g87b7afb683_1_159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0" name="Google Shape;520;g87b7afb683_1_159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1" name="Google Shape;521;g87b7afb683_1_159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2" name="Google Shape;522;g87b7afb683_1_159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2526248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Google Shape;524;g87b7afb683_1_159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entury Gothic"/>
              <a:buNone/>
              <a:defRPr sz="6000" b="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" name="Google Shape;525;g87b7afb683_1_1598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26" name="Google Shape;526;g87b7afb683_1_159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" name="Google Shape;527;g87b7afb683_1_159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8" name="Google Shape;528;g87b7afb683_1_159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5321180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" name="Google Shape;530;g87b7afb683_1_1604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1" name="Google Shape;531;g87b7afb683_1_160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2" name="Google Shape;532;g87b7afb683_1_160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3" name="Google Shape;533;g87b7afb683_1_160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4" name="Google Shape;534;g87b7afb683_1_160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563255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" name="Google Shape;536;g87b7afb683_1_1610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entury Gothic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7" name="Google Shape;537;g87b7afb683_1_1610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38" name="Google Shape;538;g87b7afb683_1_161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g87b7afb683_1_16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0" name="Google Shape;540;g87b7afb683_1_161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599734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  <p:pic>
        <p:nvPicPr>
          <p:cNvPr id="42" name="Picture 4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085" b="17797"/>
          <a:stretch/>
        </p:blipFill>
        <p:spPr>
          <a:xfrm>
            <a:off x="10960764" y="5615608"/>
            <a:ext cx="1244939" cy="125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96331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" name="Google Shape;542;g87b7afb683_1_1616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3" name="Google Shape;543;g87b7afb683_1_161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4" name="Google Shape;544;g87b7afb683_1_1616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5" name="Google Shape;545;g87b7afb683_1_161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6" name="Google Shape;546;g87b7afb683_1_16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7" name="Google Shape;547;g87b7afb683_1_161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5432876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Google Shape;549;g87b7afb683_1_1623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0" name="Google Shape;550;g87b7afb683_1_1623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9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1" name="Google Shape;551;g87b7afb683_1_1623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900" cy="368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2" name="Google Shape;552;g87b7afb683_1_162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3" name="Google Shape;553;g87b7afb683_1_162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00" cy="368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4" name="Google Shape;554;g87b7afb683_1_162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5" name="Google Shape;555;g87b7afb683_1_16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6" name="Google Shape;556;g87b7afb683_1_162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061552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ustom Layout">
  <p:cSld name="1_Custom Layout">
    <p:spTree>
      <p:nvGrpSpPr>
        <p:cNvPr id="1" name="Shape 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" name="Google Shape;560;g87b7afb683_1_1634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1" name="Google Shape;561;g87b7afb683_1_1634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07030114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1_Title Only">
    <p:bg>
      <p:bgPr>
        <a:solidFill>
          <a:schemeClr val="accent3"/>
        </a:solidFill>
        <a:effectLst/>
      </p:bgPr>
    </p:bg>
    <p:spTree>
      <p:nvGrpSpPr>
        <p:cNvPr id="1" name="Shape 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" name="Google Shape;563;g87b7afb683_1_1637"/>
          <p:cNvSpPr/>
          <p:nvPr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4" name="Google Shape;564;g87b7afb683_1_1637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5" name="Google Shape;565;g87b7afb683_1_163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6" name="Google Shape;566;g87b7afb683_1_163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7" name="Google Shape;567;g87b7afb683_1_163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236957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9_Title Only">
  <p:cSld name="9_Title Only">
    <p:bg>
      <p:bgPr>
        <a:solidFill>
          <a:schemeClr val="accent3"/>
        </a:solidFill>
        <a:effectLst/>
      </p:bgPr>
    </p:bg>
    <p:spTree>
      <p:nvGrpSpPr>
        <p:cNvPr id="1" name="Shape 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9" name="Google Shape;569;g87b7afb683_1_1643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0" name="Google Shape;570;g87b7afb683_1_164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1" name="Google Shape;571;g87b7afb683_1_1643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72" name="Google Shape;572;g87b7afb683_1_164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3" name="Google Shape;573;g87b7afb683_1_164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g87b7afb683_1_164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575" name="Google Shape;575;g87b7afb683_1_1643"/>
          <p:cNvPicPr preferRelativeResize="0"/>
          <p:nvPr/>
        </p:nvPicPr>
        <p:blipFill rotWithShape="1">
          <a:blip r:embed="rId2">
            <a:alphaModFix/>
          </a:blip>
          <a:srcRect r="19087" b="17796"/>
          <a:stretch/>
        </p:blipFill>
        <p:spPr>
          <a:xfrm>
            <a:off x="10960764" y="5615608"/>
            <a:ext cx="1244940" cy="12597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457864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6_Title Only">
  <p:cSld name="6_Title Only">
    <p:bg>
      <p:bgPr>
        <a:solidFill>
          <a:schemeClr val="accent3"/>
        </a:solidFill>
        <a:effectLst/>
      </p:bgPr>
    </p:bg>
    <p:spTree>
      <p:nvGrpSpPr>
        <p:cNvPr id="1" name="Shape 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" name="Google Shape;577;g87b7afb683_1_165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8" name="Google Shape;578;g87b7afb683_1_1651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9" name="Google Shape;579;g87b7afb683_1_1651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80" name="Google Shape;580;g87b7afb683_1_1651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4860235" y="5610004"/>
            <a:ext cx="1235765" cy="1247995"/>
          </a:xfrm>
          <a:prstGeom prst="rect">
            <a:avLst/>
          </a:prstGeom>
          <a:noFill/>
          <a:ln>
            <a:noFill/>
          </a:ln>
        </p:spPr>
      </p:pic>
      <p:sp>
        <p:nvSpPr>
          <p:cNvPr id="581" name="Google Shape;581;g87b7afb683_1_1651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2" name="Google Shape;582;g87b7afb683_1_165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3" name="Google Shape;583;g87b7afb683_1_1651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474784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Only">
  <p:cSld name="2_Title Only">
    <p:bg>
      <p:bgPr>
        <a:solidFill>
          <a:schemeClr val="accent3"/>
        </a:solidFill>
        <a:effectLst/>
      </p:bgPr>
    </p:bg>
    <p:spTree>
      <p:nvGrpSpPr>
        <p:cNvPr id="1" name="Shape 5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5" name="Google Shape;585;g87b7afb683_1_1659"/>
          <p:cNvSpPr/>
          <p:nvPr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6" name="Google Shape;586;g87b7afb683_1_1659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7" name="Google Shape;587;g87b7afb683_1_1659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88" name="Google Shape;588;g87b7afb683_1_1659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4860235" y="5610004"/>
            <a:ext cx="1235765" cy="1247995"/>
          </a:xfrm>
          <a:prstGeom prst="rect">
            <a:avLst/>
          </a:prstGeom>
          <a:noFill/>
          <a:ln>
            <a:noFill/>
          </a:ln>
        </p:spPr>
      </p:pic>
      <p:sp>
        <p:nvSpPr>
          <p:cNvPr id="589" name="Google Shape;589;g87b7afb683_1_165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0" name="Google Shape;590;g87b7afb683_1_165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1" name="Google Shape;591;g87b7afb683_1_165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1975929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7_Title Only">
  <p:cSld name="7_Title Only">
    <p:bg>
      <p:bgPr>
        <a:solidFill>
          <a:schemeClr val="accent3"/>
        </a:solidFill>
        <a:effectLst/>
      </p:bgPr>
    </p:bg>
    <p:spTree>
      <p:nvGrpSpPr>
        <p:cNvPr id="1" name="Shape 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" name="Google Shape;593;g87b7afb683_1_1667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4" name="Google Shape;594;g87b7afb683_1_1667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5" name="Google Shape;595;g87b7afb683_1_1667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96" name="Google Shape;596;g87b7afb683_1_1667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4860235" y="5610004"/>
            <a:ext cx="1235765" cy="1247995"/>
          </a:xfrm>
          <a:prstGeom prst="rect">
            <a:avLst/>
          </a:prstGeom>
          <a:noFill/>
          <a:ln>
            <a:noFill/>
          </a:ln>
        </p:spPr>
      </p:pic>
      <p:sp>
        <p:nvSpPr>
          <p:cNvPr id="597" name="Google Shape;597;g87b7afb683_1_166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8" name="Google Shape;598;g87b7afb683_1_166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" name="Google Shape;599;g87b7afb683_1_166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405367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Only">
  <p:cSld name="5_Title Only">
    <p:bg>
      <p:bgPr>
        <a:solidFill>
          <a:schemeClr val="accent3"/>
        </a:solidFill>
        <a:effectLst/>
      </p:bgPr>
    </p:bg>
    <p:spTree>
      <p:nvGrpSpPr>
        <p:cNvPr id="1" name="Shape 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Google Shape;601;g87b7afb683_1_1675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2" name="Google Shape;602;g87b7afb683_1_167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3" name="Google Shape;603;g87b7afb683_1_167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4" name="Google Shape;604;g87b7afb683_1_167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" name="Google Shape;605;g87b7afb683_1_167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06" name="Google Shape;606;g87b7afb683_1_1675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81882435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bg>
      <p:bgPr>
        <a:solidFill>
          <a:schemeClr val="accent3"/>
        </a:solidFill>
        <a:effectLst/>
      </p:bgPr>
    </p:bg>
    <p:spTree>
      <p:nvGrpSpPr>
        <p:cNvPr id="1" name="Shape 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8" name="Google Shape;608;g87b7afb683_1_1682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9" name="Google Shape;609;g87b7afb683_1_1682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Century Gothic"/>
              <a:buNone/>
              <a:defRPr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0" name="Google Shape;610;g87b7afb683_1_1682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1" name="Google Shape;611;g87b7afb683_1_168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2" name="Google Shape;612;g87b7afb683_1_168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13" name="Google Shape;613;g87b7afb683_1_1682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722347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46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Only">
  <p:cSld name="8_Title Only">
    <p:bg>
      <p:bgPr>
        <a:solidFill>
          <a:schemeClr val="accent3"/>
        </a:solidFill>
        <a:effectLst/>
      </p:bgPr>
    </p:bg>
    <p:spTree>
      <p:nvGrpSpPr>
        <p:cNvPr id="1" name="Shape 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" name="Google Shape;615;g87b7afb683_1_1689"/>
          <p:cNvSpPr/>
          <p:nvPr/>
        </p:nvSpPr>
        <p:spPr>
          <a:xfrm rot="10800000" flipH="1">
            <a:off x="0" y="342900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6" name="Google Shape;616;g87b7afb683_1_1689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7" name="Google Shape;617;g87b7afb683_1_168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8" name="Google Shape;618;g87b7afb683_1_168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9" name="Google Shape;619;g87b7afb683_1_168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20" name="Google Shape;620;g87b7afb683_1_1689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621" name="Google Shape;621;g87b7afb683_1_1689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10958513" y="5612304"/>
            <a:ext cx="1233486" cy="12456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180819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bg>
      <p:bgPr>
        <a:solidFill>
          <a:schemeClr val="accent3"/>
        </a:solidFill>
        <a:effectLst/>
      </p:bgPr>
    </p:bg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Google Shape;623;g87b7afb683_1_1697"/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4" name="Google Shape;624;g87b7afb683_1_1697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5" name="Google Shape;625;g87b7afb683_1_169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6" name="Google Shape;626;g87b7afb683_1_169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7" name="Google Shape;627;g87b7afb683_1_169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628" name="Google Shape;628;g87b7afb683_1_1697"/>
          <p:cNvPicPr preferRelativeResize="0"/>
          <p:nvPr/>
        </p:nvPicPr>
        <p:blipFill rotWithShape="1">
          <a:blip r:embed="rId2">
            <a:alphaModFix/>
          </a:blip>
          <a:srcRect r="19087" b="17796"/>
          <a:stretch/>
        </p:blipFill>
        <p:spPr>
          <a:xfrm>
            <a:off x="10960764" y="5615608"/>
            <a:ext cx="1244940" cy="12597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9831061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g87b7afb683_1_170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entury Gothic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1" name="Google Shape;631;g87b7afb683_1_1704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32" name="Google Shape;632;g87b7afb683_1_1704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33" name="Google Shape;633;g87b7afb683_1_170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4" name="Google Shape;634;g87b7afb683_1_170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5" name="Google Shape;635;g87b7afb683_1_170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814281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6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7" name="Google Shape;637;g87b7afb683_1_171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entury Gothic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" name="Google Shape;638;g87b7afb683_1_1711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39" name="Google Shape;639;g87b7afb683_1_1711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40" name="Google Shape;640;g87b7afb683_1_1711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1" name="Google Shape;641;g87b7afb683_1_17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2" name="Google Shape;642;g87b7afb683_1_1711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3468684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4" name="Google Shape;644;g87b7afb683_1_1718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5" name="Google Shape;645;g87b7afb683_1_1718"/>
          <p:cNvSpPr txBox="1">
            <a:spLocks noGrp="1"/>
          </p:cNvSpPr>
          <p:nvPr>
            <p:ph type="body" idx="1"/>
          </p:nvPr>
        </p:nvSpPr>
        <p:spPr>
          <a:xfrm rot="5400000">
            <a:off x="3920400" y="-1256575"/>
            <a:ext cx="4351200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6" name="Google Shape;646;g87b7afb683_1_171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7" name="Google Shape;647;g87b7afb683_1_17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8" name="Google Shape;648;g87b7afb683_1_171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1063063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0" name="Google Shape;650;g87b7afb683_1_1724"/>
          <p:cNvSpPr txBox="1">
            <a:spLocks noGrp="1"/>
          </p:cNvSpPr>
          <p:nvPr>
            <p:ph type="title"/>
          </p:nvPr>
        </p:nvSpPr>
        <p:spPr>
          <a:xfrm rot="5400000">
            <a:off x="7133400" y="1956625"/>
            <a:ext cx="5811900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1" name="Google Shape;651;g87b7afb683_1_1724"/>
          <p:cNvSpPr txBox="1">
            <a:spLocks noGrp="1"/>
          </p:cNvSpPr>
          <p:nvPr>
            <p:ph type="body" idx="1"/>
          </p:nvPr>
        </p:nvSpPr>
        <p:spPr>
          <a:xfrm rot="5400000">
            <a:off x="1799400" y="-596075"/>
            <a:ext cx="5811900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2" name="Google Shape;652;g87b7afb683_1_172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3" name="Google Shape;653;g87b7afb683_1_172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4" name="Google Shape;654;g87b7afb683_1_172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3854855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541804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54189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64154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0737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579166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44796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26686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8505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749088" y="404813"/>
            <a:ext cx="123111" cy="1264770"/>
          </a:xfrm>
          <a:prstGeom prst="rect">
            <a:avLst/>
          </a:prstGeom>
          <a:noFill/>
        </p:spPr>
        <p:txBody>
          <a:bodyPr vert="vert" wrap="none" lIns="0" tIns="0" rIns="0" bIns="0" rtlCol="0" anchor="ctr" anchorCtr="0">
            <a:spAutoFit/>
          </a:bodyPr>
          <a:lstStyle/>
          <a:p>
            <a:r>
              <a:rPr lang="de-DE" sz="800" b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© </a:t>
            </a:r>
            <a:r>
              <a:rPr lang="en-US" sz="800" b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COOKHOUSE LABS </a:t>
            </a:r>
            <a:r>
              <a:rPr lang="en-US" sz="80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50180636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1749088" y="404813"/>
            <a:ext cx="123111" cy="1264770"/>
          </a:xfrm>
          <a:prstGeom prst="rect">
            <a:avLst/>
          </a:prstGeom>
          <a:noFill/>
        </p:spPr>
        <p:txBody>
          <a:bodyPr vert="vert" wrap="none" lIns="0" tIns="0" rIns="0" bIns="0" rtlCol="0" anchor="ctr" anchorCtr="0">
            <a:spAutoFit/>
          </a:bodyPr>
          <a:lstStyle/>
          <a:p>
            <a:r>
              <a:rPr lang="de-DE" sz="8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© </a:t>
            </a:r>
            <a:r>
              <a:rPr lang="en-US" sz="8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COOKHOUSE</a:t>
            </a:r>
            <a:r>
              <a:rPr lang="en-US" sz="800" b="1" baseline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 LABS </a:t>
            </a:r>
            <a:r>
              <a:rPr lang="en-US" sz="8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2020</a:t>
            </a: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915" b="17726"/>
          <a:stretch/>
        </p:blipFill>
        <p:spPr>
          <a:xfrm>
            <a:off x="10961785" y="5615609"/>
            <a:ext cx="1230215" cy="1242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88428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5_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H="1">
            <a:off x="0" y="-1"/>
            <a:ext cx="6096000" cy="68754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1749088" y="404813"/>
            <a:ext cx="123111" cy="1264770"/>
          </a:xfrm>
          <a:prstGeom prst="rect">
            <a:avLst/>
          </a:prstGeom>
          <a:noFill/>
        </p:spPr>
        <p:txBody>
          <a:bodyPr vert="vert" wrap="none" lIns="0" tIns="0" rIns="0" bIns="0" rtlCol="0" anchor="ctr" anchorCtr="0">
            <a:spAutoFit/>
          </a:bodyPr>
          <a:lstStyle/>
          <a:p>
            <a:r>
              <a:rPr lang="de-DE" sz="800" b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© </a:t>
            </a:r>
            <a:r>
              <a:rPr lang="en-US" sz="800" b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COOKHOUSE LABS </a:t>
            </a:r>
            <a:r>
              <a:rPr lang="en-US" sz="80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2020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915" b="17726"/>
          <a:stretch/>
        </p:blipFill>
        <p:spPr>
          <a:xfrm>
            <a:off x="4860235" y="5610004"/>
            <a:ext cx="1235765" cy="12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82706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6096000" y="-1"/>
            <a:ext cx="6096000" cy="68754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1749088" y="404813"/>
            <a:ext cx="123111" cy="1264770"/>
          </a:xfrm>
          <a:prstGeom prst="rect">
            <a:avLst/>
          </a:prstGeom>
          <a:noFill/>
        </p:spPr>
        <p:txBody>
          <a:bodyPr vert="vert" wrap="none" lIns="0" tIns="0" rIns="0" bIns="0" rtlCol="0" anchor="ctr" anchorCtr="0">
            <a:spAutoFit/>
          </a:bodyPr>
          <a:lstStyle/>
          <a:p>
            <a:r>
              <a:rPr lang="de-DE" sz="8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© </a:t>
            </a:r>
            <a:r>
              <a:rPr lang="en-US" sz="8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COOKHOUSE LABS </a:t>
            </a:r>
            <a:r>
              <a:rPr lang="en-US" sz="8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2020</a:t>
            </a: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085" b="17797"/>
          <a:stretch/>
        </p:blipFill>
        <p:spPr>
          <a:xfrm>
            <a:off x="4850296" y="5614834"/>
            <a:ext cx="1245704" cy="1260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72459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H="1">
            <a:off x="0" y="-1"/>
            <a:ext cx="6096000" cy="68754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57932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1749088" y="404813"/>
            <a:ext cx="123111" cy="1264770"/>
          </a:xfrm>
          <a:prstGeom prst="rect">
            <a:avLst/>
          </a:prstGeom>
          <a:noFill/>
        </p:spPr>
        <p:txBody>
          <a:bodyPr vert="vert" wrap="none" lIns="0" tIns="0" rIns="0" bIns="0" rtlCol="0" anchor="ctr" anchorCtr="0">
            <a:spAutoFit/>
          </a:bodyPr>
          <a:lstStyle/>
          <a:p>
            <a:r>
              <a:rPr lang="de-DE" sz="8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© </a:t>
            </a:r>
            <a:r>
              <a:rPr lang="en-US" sz="8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COOKHOUSE LABS </a:t>
            </a:r>
            <a:r>
              <a:rPr lang="en-US" sz="8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272355255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915" b="17726"/>
          <a:stretch/>
        </p:blipFill>
        <p:spPr>
          <a:xfrm>
            <a:off x="10961785" y="5615609"/>
            <a:ext cx="1230215" cy="1242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0847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92825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93798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451991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32780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90948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5"/>
          <a:stretch/>
        </p:blipFill>
        <p:spPr>
          <a:xfrm>
            <a:off x="354" y="0"/>
            <a:ext cx="12194823" cy="685958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985818"/>
            <a:ext cx="9144000" cy="1939637"/>
          </a:xfrm>
        </p:spPr>
        <p:txBody>
          <a:bodyPr anchor="b">
            <a:normAutofit/>
          </a:bodyPr>
          <a:lstStyle>
            <a:lvl1pPr algn="ctr">
              <a:defRPr sz="4799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999346"/>
            <a:ext cx="9144000" cy="1258455"/>
          </a:xfrm>
        </p:spPr>
        <p:txBody>
          <a:bodyPr tIns="144000">
            <a:normAutofit/>
          </a:bodyPr>
          <a:lstStyle>
            <a:lvl1pPr marL="0" indent="0" algn="ctr">
              <a:buNone/>
              <a:defRPr sz="2799">
                <a:solidFill>
                  <a:schemeClr val="bg1"/>
                </a:solidFill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473" name="Group 1472"/>
          <p:cNvGrpSpPr>
            <a:grpSpLocks noChangeAspect="1"/>
          </p:cNvGrpSpPr>
          <p:nvPr userDrawn="1"/>
        </p:nvGrpSpPr>
        <p:grpSpPr>
          <a:xfrm>
            <a:off x="5302187" y="653361"/>
            <a:ext cx="1587627" cy="1580603"/>
            <a:chOff x="3587750" y="2038350"/>
            <a:chExt cx="1076325" cy="1071563"/>
          </a:xfrm>
        </p:grpSpPr>
        <p:sp>
          <p:nvSpPr>
            <p:cNvPr id="1474" name="Freeform 1"/>
            <p:cNvSpPr>
              <a:spLocks noChangeArrowheads="1"/>
            </p:cNvSpPr>
            <p:nvPr/>
          </p:nvSpPr>
          <p:spPr bwMode="auto">
            <a:xfrm>
              <a:off x="4298950" y="2070100"/>
              <a:ext cx="3175" cy="4763"/>
            </a:xfrm>
            <a:custGeom>
              <a:avLst/>
              <a:gdLst>
                <a:gd name="T0" fmla="*/ 9 w 10"/>
                <a:gd name="T1" fmla="*/ 12 h 15"/>
                <a:gd name="T2" fmla="*/ 9 w 10"/>
                <a:gd name="T3" fmla="*/ 6 h 15"/>
                <a:gd name="T4" fmla="*/ 0 w 10"/>
                <a:gd name="T5" fmla="*/ 0 h 15"/>
                <a:gd name="T6" fmla="*/ 9 w 10"/>
                <a:gd name="T7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5">
                  <a:moveTo>
                    <a:pt x="9" y="12"/>
                  </a:moveTo>
                  <a:cubicBezTo>
                    <a:pt x="9" y="9"/>
                    <a:pt x="9" y="9"/>
                    <a:pt x="9" y="6"/>
                  </a:cubicBezTo>
                  <a:cubicBezTo>
                    <a:pt x="6" y="3"/>
                    <a:pt x="3" y="0"/>
                    <a:pt x="0" y="0"/>
                  </a:cubicBezTo>
                  <a:cubicBezTo>
                    <a:pt x="3" y="9"/>
                    <a:pt x="3" y="14"/>
                    <a:pt x="9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5" name="Freeform 2"/>
            <p:cNvSpPr>
              <a:spLocks noChangeArrowheads="1"/>
            </p:cNvSpPr>
            <p:nvPr/>
          </p:nvSpPr>
          <p:spPr bwMode="auto">
            <a:xfrm>
              <a:off x="3590925" y="2038350"/>
              <a:ext cx="1073150" cy="1071563"/>
            </a:xfrm>
            <a:custGeom>
              <a:avLst/>
              <a:gdLst>
                <a:gd name="T0" fmla="*/ 2858 w 2983"/>
                <a:gd name="T1" fmla="*/ 985 h 2976"/>
                <a:gd name="T2" fmla="*/ 2787 w 2983"/>
                <a:gd name="T3" fmla="*/ 815 h 2976"/>
                <a:gd name="T4" fmla="*/ 2612 w 2983"/>
                <a:gd name="T5" fmla="*/ 561 h 2976"/>
                <a:gd name="T6" fmla="*/ 2423 w 2983"/>
                <a:gd name="T7" fmla="*/ 367 h 2976"/>
                <a:gd name="T8" fmla="*/ 2118 w 2983"/>
                <a:gd name="T9" fmla="*/ 167 h 2976"/>
                <a:gd name="T10" fmla="*/ 1867 w 2983"/>
                <a:gd name="T11" fmla="*/ 82 h 2976"/>
                <a:gd name="T12" fmla="*/ 1625 w 2983"/>
                <a:gd name="T13" fmla="*/ 17 h 2976"/>
                <a:gd name="T14" fmla="*/ 1321 w 2983"/>
                <a:gd name="T15" fmla="*/ 11 h 2976"/>
                <a:gd name="T16" fmla="*/ 934 w 2983"/>
                <a:gd name="T17" fmla="*/ 150 h 2976"/>
                <a:gd name="T18" fmla="*/ 737 w 2983"/>
                <a:gd name="T19" fmla="*/ 246 h 2976"/>
                <a:gd name="T20" fmla="*/ 464 w 2983"/>
                <a:gd name="T21" fmla="*/ 462 h 2976"/>
                <a:gd name="T22" fmla="*/ 378 w 2983"/>
                <a:gd name="T23" fmla="*/ 553 h 2976"/>
                <a:gd name="T24" fmla="*/ 204 w 2983"/>
                <a:gd name="T25" fmla="*/ 796 h 2976"/>
                <a:gd name="T26" fmla="*/ 127 w 2983"/>
                <a:gd name="T27" fmla="*/ 965 h 2976"/>
                <a:gd name="T28" fmla="*/ 40 w 2983"/>
                <a:gd name="T29" fmla="*/ 1298 h 2976"/>
                <a:gd name="T30" fmla="*/ 29 w 2983"/>
                <a:gd name="T31" fmla="*/ 1547 h 2976"/>
                <a:gd name="T32" fmla="*/ 29 w 2983"/>
                <a:gd name="T33" fmla="*/ 1796 h 2976"/>
                <a:gd name="T34" fmla="*/ 119 w 2983"/>
                <a:gd name="T35" fmla="*/ 2002 h 2976"/>
                <a:gd name="T36" fmla="*/ 195 w 2983"/>
                <a:gd name="T37" fmla="*/ 2180 h 2976"/>
                <a:gd name="T38" fmla="*/ 266 w 2983"/>
                <a:gd name="T39" fmla="*/ 2284 h 2976"/>
                <a:gd name="T40" fmla="*/ 336 w 2983"/>
                <a:gd name="T41" fmla="*/ 2405 h 2976"/>
                <a:gd name="T42" fmla="*/ 460 w 2983"/>
                <a:gd name="T43" fmla="*/ 2543 h 2976"/>
                <a:gd name="T44" fmla="*/ 700 w 2983"/>
                <a:gd name="T45" fmla="*/ 2718 h 2976"/>
                <a:gd name="T46" fmla="*/ 884 w 2983"/>
                <a:gd name="T47" fmla="*/ 2848 h 2976"/>
                <a:gd name="T48" fmla="*/ 1109 w 2983"/>
                <a:gd name="T49" fmla="*/ 2907 h 2976"/>
                <a:gd name="T50" fmla="*/ 1462 w 2983"/>
                <a:gd name="T51" fmla="*/ 2964 h 2976"/>
                <a:gd name="T52" fmla="*/ 1673 w 2983"/>
                <a:gd name="T53" fmla="*/ 2953 h 2976"/>
                <a:gd name="T54" fmla="*/ 2008 w 2983"/>
                <a:gd name="T55" fmla="*/ 2868 h 2976"/>
                <a:gd name="T56" fmla="*/ 2324 w 2983"/>
                <a:gd name="T57" fmla="*/ 2704 h 2976"/>
                <a:gd name="T58" fmla="*/ 2513 w 2983"/>
                <a:gd name="T59" fmla="*/ 2543 h 2976"/>
                <a:gd name="T60" fmla="*/ 2632 w 2983"/>
                <a:gd name="T61" fmla="*/ 2405 h 2976"/>
                <a:gd name="T62" fmla="*/ 2846 w 2983"/>
                <a:gd name="T63" fmla="*/ 2072 h 2976"/>
                <a:gd name="T64" fmla="*/ 2897 w 2983"/>
                <a:gd name="T65" fmla="*/ 1923 h 2976"/>
                <a:gd name="T66" fmla="*/ 2920 w 2983"/>
                <a:gd name="T67" fmla="*/ 1816 h 2976"/>
                <a:gd name="T68" fmla="*/ 2934 w 2983"/>
                <a:gd name="T69" fmla="*/ 1607 h 2976"/>
                <a:gd name="T70" fmla="*/ 2859 w 2983"/>
                <a:gd name="T71" fmla="*/ 971 h 2976"/>
                <a:gd name="T72" fmla="*/ 464 w 2983"/>
                <a:gd name="T73" fmla="*/ 462 h 2976"/>
                <a:gd name="T74" fmla="*/ 184 w 2983"/>
                <a:gd name="T75" fmla="*/ 832 h 2976"/>
                <a:gd name="T76" fmla="*/ 23 w 2983"/>
                <a:gd name="T77" fmla="*/ 1542 h 2976"/>
                <a:gd name="T78" fmla="*/ 6 w 2983"/>
                <a:gd name="T79" fmla="*/ 1627 h 2976"/>
                <a:gd name="T80" fmla="*/ 283 w 2983"/>
                <a:gd name="T81" fmla="*/ 2354 h 2976"/>
                <a:gd name="T82" fmla="*/ 1687 w 2983"/>
                <a:gd name="T83" fmla="*/ 2953 h 2976"/>
                <a:gd name="T84" fmla="*/ 2930 w 2983"/>
                <a:gd name="T85" fmla="*/ 1823 h 2976"/>
                <a:gd name="T86" fmla="*/ 85 w 2983"/>
                <a:gd name="T87" fmla="*/ 1824 h 2976"/>
                <a:gd name="T88" fmla="*/ 297 w 2983"/>
                <a:gd name="T89" fmla="*/ 649 h 2976"/>
                <a:gd name="T90" fmla="*/ 57 w 2983"/>
                <a:gd name="T91" fmla="*/ 1576 h 2976"/>
                <a:gd name="T92" fmla="*/ 277 w 2983"/>
                <a:gd name="T93" fmla="*/ 2222 h 2976"/>
                <a:gd name="T94" fmla="*/ 915 w 2983"/>
                <a:gd name="T95" fmla="*/ 2828 h 2976"/>
                <a:gd name="T96" fmla="*/ 2869 w 2983"/>
                <a:gd name="T97" fmla="*/ 1979 h 2976"/>
                <a:gd name="T98" fmla="*/ 2561 w 2983"/>
                <a:gd name="T99" fmla="*/ 494 h 2976"/>
                <a:gd name="T100" fmla="*/ 2550 w 2983"/>
                <a:gd name="T101" fmla="*/ 488 h 2976"/>
                <a:gd name="T102" fmla="*/ 1817 w 2983"/>
                <a:gd name="T103" fmla="*/ 59 h 2976"/>
                <a:gd name="T104" fmla="*/ 1372 w 2983"/>
                <a:gd name="T105" fmla="*/ 34 h 2976"/>
                <a:gd name="T106" fmla="*/ 537 w 2983"/>
                <a:gd name="T107" fmla="*/ 381 h 2976"/>
                <a:gd name="T108" fmla="*/ 283 w 2983"/>
                <a:gd name="T109" fmla="*/ 638 h 2976"/>
                <a:gd name="T110" fmla="*/ 62 w 2983"/>
                <a:gd name="T111" fmla="*/ 1151 h 2976"/>
                <a:gd name="T112" fmla="*/ 99 w 2983"/>
                <a:gd name="T113" fmla="*/ 1968 h 2976"/>
                <a:gd name="T114" fmla="*/ 305 w 2983"/>
                <a:gd name="T115" fmla="*/ 2366 h 2976"/>
                <a:gd name="T116" fmla="*/ 573 w 2983"/>
                <a:gd name="T117" fmla="*/ 2656 h 2976"/>
                <a:gd name="T118" fmla="*/ 855 w 2983"/>
                <a:gd name="T119" fmla="*/ 2823 h 2976"/>
                <a:gd name="T120" fmla="*/ 2488 w 2983"/>
                <a:gd name="T121" fmla="*/ 2575 h 2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83" h="2976">
                  <a:moveTo>
                    <a:pt x="2982" y="1467"/>
                  </a:moveTo>
                  <a:cubicBezTo>
                    <a:pt x="2979" y="1456"/>
                    <a:pt x="2976" y="1444"/>
                    <a:pt x="2971" y="1436"/>
                  </a:cubicBezTo>
                  <a:cubicBezTo>
                    <a:pt x="2968" y="1427"/>
                    <a:pt x="2962" y="1422"/>
                    <a:pt x="2956" y="1416"/>
                  </a:cubicBezTo>
                  <a:lnTo>
                    <a:pt x="2956" y="1408"/>
                  </a:lnTo>
                  <a:cubicBezTo>
                    <a:pt x="2959" y="1399"/>
                    <a:pt x="2965" y="1391"/>
                    <a:pt x="2965" y="1382"/>
                  </a:cubicBezTo>
                  <a:cubicBezTo>
                    <a:pt x="2976" y="1354"/>
                    <a:pt x="2973" y="1320"/>
                    <a:pt x="2956" y="1295"/>
                  </a:cubicBezTo>
                  <a:cubicBezTo>
                    <a:pt x="2948" y="1286"/>
                    <a:pt x="2940" y="1278"/>
                    <a:pt x="2928" y="1269"/>
                  </a:cubicBezTo>
                  <a:cubicBezTo>
                    <a:pt x="2931" y="1269"/>
                    <a:pt x="2934" y="1264"/>
                    <a:pt x="2934" y="1261"/>
                  </a:cubicBezTo>
                  <a:cubicBezTo>
                    <a:pt x="2934" y="1258"/>
                    <a:pt x="2931" y="1255"/>
                    <a:pt x="2931" y="1253"/>
                  </a:cubicBezTo>
                  <a:cubicBezTo>
                    <a:pt x="2928" y="1247"/>
                    <a:pt x="2925" y="1241"/>
                    <a:pt x="2925" y="1236"/>
                  </a:cubicBezTo>
                  <a:cubicBezTo>
                    <a:pt x="2923" y="1227"/>
                    <a:pt x="2925" y="1219"/>
                    <a:pt x="2925" y="1210"/>
                  </a:cubicBezTo>
                  <a:cubicBezTo>
                    <a:pt x="2925" y="1205"/>
                    <a:pt x="2925" y="1199"/>
                    <a:pt x="2923" y="1193"/>
                  </a:cubicBezTo>
                  <a:cubicBezTo>
                    <a:pt x="2923" y="1185"/>
                    <a:pt x="2917" y="1174"/>
                    <a:pt x="2911" y="1168"/>
                  </a:cubicBezTo>
                  <a:cubicBezTo>
                    <a:pt x="2909" y="1159"/>
                    <a:pt x="2911" y="1151"/>
                    <a:pt x="2909" y="1143"/>
                  </a:cubicBezTo>
                  <a:cubicBezTo>
                    <a:pt x="2906" y="1131"/>
                    <a:pt x="2900" y="1120"/>
                    <a:pt x="2894" y="1109"/>
                  </a:cubicBezTo>
                  <a:cubicBezTo>
                    <a:pt x="2892" y="1103"/>
                    <a:pt x="2894" y="1095"/>
                    <a:pt x="2892" y="1089"/>
                  </a:cubicBezTo>
                  <a:cubicBezTo>
                    <a:pt x="2897" y="1075"/>
                    <a:pt x="2897" y="1064"/>
                    <a:pt x="2897" y="1049"/>
                  </a:cubicBezTo>
                  <a:cubicBezTo>
                    <a:pt x="2894" y="1035"/>
                    <a:pt x="2892" y="1021"/>
                    <a:pt x="2883" y="1010"/>
                  </a:cubicBezTo>
                  <a:cubicBezTo>
                    <a:pt x="2877" y="999"/>
                    <a:pt x="2866" y="990"/>
                    <a:pt x="2858" y="985"/>
                  </a:cubicBezTo>
                  <a:cubicBezTo>
                    <a:pt x="2858" y="982"/>
                    <a:pt x="2852" y="979"/>
                    <a:pt x="2852" y="976"/>
                  </a:cubicBezTo>
                  <a:lnTo>
                    <a:pt x="2852" y="968"/>
                  </a:lnTo>
                  <a:cubicBezTo>
                    <a:pt x="2855" y="969"/>
                    <a:pt x="2857" y="970"/>
                    <a:pt x="2859" y="971"/>
                  </a:cubicBezTo>
                  <a:cubicBezTo>
                    <a:pt x="2856" y="969"/>
                    <a:pt x="2853" y="967"/>
                    <a:pt x="2849" y="965"/>
                  </a:cubicBezTo>
                  <a:cubicBezTo>
                    <a:pt x="2846" y="956"/>
                    <a:pt x="2844" y="951"/>
                    <a:pt x="2841" y="942"/>
                  </a:cubicBezTo>
                  <a:cubicBezTo>
                    <a:pt x="2835" y="931"/>
                    <a:pt x="2835" y="920"/>
                    <a:pt x="2832" y="911"/>
                  </a:cubicBezTo>
                  <a:cubicBezTo>
                    <a:pt x="2832" y="897"/>
                    <a:pt x="2824" y="883"/>
                    <a:pt x="2815" y="875"/>
                  </a:cubicBezTo>
                  <a:lnTo>
                    <a:pt x="2807" y="858"/>
                  </a:lnTo>
                  <a:cubicBezTo>
                    <a:pt x="2804" y="858"/>
                    <a:pt x="2801" y="863"/>
                    <a:pt x="2796" y="866"/>
                  </a:cubicBezTo>
                  <a:lnTo>
                    <a:pt x="2793" y="860"/>
                  </a:lnTo>
                  <a:lnTo>
                    <a:pt x="2790" y="863"/>
                  </a:lnTo>
                  <a:lnTo>
                    <a:pt x="2787" y="863"/>
                  </a:lnTo>
                  <a:lnTo>
                    <a:pt x="2787" y="860"/>
                  </a:lnTo>
                  <a:cubicBezTo>
                    <a:pt x="2787" y="855"/>
                    <a:pt x="2793" y="846"/>
                    <a:pt x="2798" y="846"/>
                  </a:cubicBezTo>
                  <a:lnTo>
                    <a:pt x="2798" y="844"/>
                  </a:lnTo>
                  <a:cubicBezTo>
                    <a:pt x="2798" y="844"/>
                    <a:pt x="2796" y="844"/>
                    <a:pt x="2796" y="846"/>
                  </a:cubicBezTo>
                  <a:cubicBezTo>
                    <a:pt x="2793" y="844"/>
                    <a:pt x="2793" y="844"/>
                    <a:pt x="2796" y="841"/>
                  </a:cubicBezTo>
                  <a:cubicBezTo>
                    <a:pt x="2793" y="832"/>
                    <a:pt x="2787" y="824"/>
                    <a:pt x="2784" y="815"/>
                  </a:cubicBezTo>
                  <a:lnTo>
                    <a:pt x="2787" y="815"/>
                  </a:lnTo>
                  <a:cubicBezTo>
                    <a:pt x="2790" y="798"/>
                    <a:pt x="2787" y="781"/>
                    <a:pt x="2782" y="767"/>
                  </a:cubicBezTo>
                  <a:cubicBezTo>
                    <a:pt x="2779" y="753"/>
                    <a:pt x="2773" y="739"/>
                    <a:pt x="2762" y="728"/>
                  </a:cubicBezTo>
                  <a:cubicBezTo>
                    <a:pt x="2751" y="719"/>
                    <a:pt x="2739" y="711"/>
                    <a:pt x="2728" y="708"/>
                  </a:cubicBezTo>
                  <a:cubicBezTo>
                    <a:pt x="2725" y="705"/>
                    <a:pt x="2722" y="702"/>
                    <a:pt x="2719" y="702"/>
                  </a:cubicBezTo>
                  <a:cubicBezTo>
                    <a:pt x="2719" y="700"/>
                    <a:pt x="2717" y="700"/>
                    <a:pt x="2717" y="697"/>
                  </a:cubicBezTo>
                  <a:lnTo>
                    <a:pt x="2714" y="697"/>
                  </a:lnTo>
                  <a:cubicBezTo>
                    <a:pt x="2708" y="694"/>
                    <a:pt x="2708" y="694"/>
                    <a:pt x="2711" y="691"/>
                  </a:cubicBezTo>
                  <a:cubicBezTo>
                    <a:pt x="2705" y="683"/>
                    <a:pt x="2700" y="674"/>
                    <a:pt x="2691" y="666"/>
                  </a:cubicBezTo>
                  <a:cubicBezTo>
                    <a:pt x="2688" y="663"/>
                    <a:pt x="2688" y="657"/>
                    <a:pt x="2686" y="655"/>
                  </a:cubicBezTo>
                  <a:lnTo>
                    <a:pt x="2683" y="657"/>
                  </a:lnTo>
                  <a:cubicBezTo>
                    <a:pt x="2680" y="640"/>
                    <a:pt x="2669" y="624"/>
                    <a:pt x="2655" y="615"/>
                  </a:cubicBezTo>
                  <a:cubicBezTo>
                    <a:pt x="2652" y="612"/>
                    <a:pt x="2652" y="609"/>
                    <a:pt x="2649" y="609"/>
                  </a:cubicBezTo>
                  <a:cubicBezTo>
                    <a:pt x="2640" y="601"/>
                    <a:pt x="2635" y="590"/>
                    <a:pt x="2629" y="578"/>
                  </a:cubicBezTo>
                  <a:cubicBezTo>
                    <a:pt x="2626" y="576"/>
                    <a:pt x="2624" y="576"/>
                    <a:pt x="2621" y="573"/>
                  </a:cubicBezTo>
                  <a:cubicBezTo>
                    <a:pt x="2621" y="578"/>
                    <a:pt x="2621" y="584"/>
                    <a:pt x="2618" y="590"/>
                  </a:cubicBezTo>
                  <a:cubicBezTo>
                    <a:pt x="2615" y="584"/>
                    <a:pt x="2609" y="578"/>
                    <a:pt x="2609" y="573"/>
                  </a:cubicBezTo>
                  <a:cubicBezTo>
                    <a:pt x="2609" y="570"/>
                    <a:pt x="2612" y="567"/>
                    <a:pt x="2612" y="564"/>
                  </a:cubicBezTo>
                  <a:lnTo>
                    <a:pt x="2615" y="561"/>
                  </a:lnTo>
                  <a:lnTo>
                    <a:pt x="2612" y="561"/>
                  </a:lnTo>
                  <a:cubicBezTo>
                    <a:pt x="2612" y="553"/>
                    <a:pt x="2612" y="545"/>
                    <a:pt x="2609" y="539"/>
                  </a:cubicBezTo>
                  <a:cubicBezTo>
                    <a:pt x="2607" y="525"/>
                    <a:pt x="2604" y="510"/>
                    <a:pt x="2595" y="499"/>
                  </a:cubicBezTo>
                  <a:cubicBezTo>
                    <a:pt x="2587" y="487"/>
                    <a:pt x="2573" y="480"/>
                    <a:pt x="2561" y="474"/>
                  </a:cubicBezTo>
                  <a:cubicBezTo>
                    <a:pt x="2555" y="471"/>
                    <a:pt x="2547" y="468"/>
                    <a:pt x="2540" y="467"/>
                  </a:cubicBezTo>
                  <a:cubicBezTo>
                    <a:pt x="2541" y="469"/>
                    <a:pt x="2542" y="472"/>
                    <a:pt x="2542" y="474"/>
                  </a:cubicBezTo>
                  <a:cubicBezTo>
                    <a:pt x="2545" y="477"/>
                    <a:pt x="2542" y="480"/>
                    <a:pt x="2542" y="480"/>
                  </a:cubicBezTo>
                  <a:cubicBezTo>
                    <a:pt x="2539" y="474"/>
                    <a:pt x="2533" y="471"/>
                    <a:pt x="2528" y="466"/>
                  </a:cubicBezTo>
                  <a:cubicBezTo>
                    <a:pt x="2527" y="466"/>
                    <a:pt x="2526" y="466"/>
                    <a:pt x="2525" y="466"/>
                  </a:cubicBezTo>
                  <a:cubicBezTo>
                    <a:pt x="2519" y="460"/>
                    <a:pt x="2511" y="451"/>
                    <a:pt x="2505" y="443"/>
                  </a:cubicBezTo>
                  <a:cubicBezTo>
                    <a:pt x="2499" y="437"/>
                    <a:pt x="2494" y="435"/>
                    <a:pt x="2488" y="429"/>
                  </a:cubicBezTo>
                  <a:lnTo>
                    <a:pt x="2488" y="420"/>
                  </a:lnTo>
                  <a:cubicBezTo>
                    <a:pt x="2487" y="419"/>
                    <a:pt x="2487" y="417"/>
                    <a:pt x="2486" y="416"/>
                  </a:cubicBezTo>
                  <a:cubicBezTo>
                    <a:pt x="2486" y="415"/>
                    <a:pt x="2486" y="415"/>
                    <a:pt x="2485" y="415"/>
                  </a:cubicBezTo>
                  <a:cubicBezTo>
                    <a:pt x="2485" y="415"/>
                    <a:pt x="2485" y="415"/>
                    <a:pt x="2486" y="415"/>
                  </a:cubicBezTo>
                  <a:cubicBezTo>
                    <a:pt x="2480" y="404"/>
                    <a:pt x="2472" y="397"/>
                    <a:pt x="2463" y="389"/>
                  </a:cubicBezTo>
                  <a:cubicBezTo>
                    <a:pt x="2474" y="395"/>
                    <a:pt x="2482" y="403"/>
                    <a:pt x="2488" y="415"/>
                  </a:cubicBezTo>
                  <a:lnTo>
                    <a:pt x="2491" y="418"/>
                  </a:lnTo>
                  <a:cubicBezTo>
                    <a:pt x="2482" y="401"/>
                    <a:pt x="2468" y="387"/>
                    <a:pt x="2449" y="384"/>
                  </a:cubicBezTo>
                  <a:lnTo>
                    <a:pt x="2423" y="367"/>
                  </a:lnTo>
                  <a:cubicBezTo>
                    <a:pt x="2415" y="358"/>
                    <a:pt x="2406" y="350"/>
                    <a:pt x="2395" y="341"/>
                  </a:cubicBezTo>
                  <a:cubicBezTo>
                    <a:pt x="2392" y="330"/>
                    <a:pt x="2387" y="319"/>
                    <a:pt x="2381" y="308"/>
                  </a:cubicBezTo>
                  <a:cubicBezTo>
                    <a:pt x="2375" y="296"/>
                    <a:pt x="2364" y="285"/>
                    <a:pt x="2353" y="277"/>
                  </a:cubicBezTo>
                  <a:cubicBezTo>
                    <a:pt x="2333" y="265"/>
                    <a:pt x="2310" y="262"/>
                    <a:pt x="2288" y="265"/>
                  </a:cubicBezTo>
                  <a:cubicBezTo>
                    <a:pt x="2282" y="262"/>
                    <a:pt x="2276" y="262"/>
                    <a:pt x="2271" y="260"/>
                  </a:cubicBezTo>
                  <a:cubicBezTo>
                    <a:pt x="2265" y="257"/>
                    <a:pt x="2260" y="248"/>
                    <a:pt x="2254" y="243"/>
                  </a:cubicBezTo>
                  <a:cubicBezTo>
                    <a:pt x="2248" y="229"/>
                    <a:pt x="2237" y="220"/>
                    <a:pt x="2226" y="212"/>
                  </a:cubicBezTo>
                  <a:cubicBezTo>
                    <a:pt x="2220" y="209"/>
                    <a:pt x="2217" y="206"/>
                    <a:pt x="2212" y="203"/>
                  </a:cubicBezTo>
                  <a:cubicBezTo>
                    <a:pt x="2212" y="209"/>
                    <a:pt x="2214" y="214"/>
                    <a:pt x="2214" y="220"/>
                  </a:cubicBezTo>
                  <a:cubicBezTo>
                    <a:pt x="2214" y="220"/>
                    <a:pt x="2209" y="220"/>
                    <a:pt x="2209" y="217"/>
                  </a:cubicBezTo>
                  <a:cubicBezTo>
                    <a:pt x="2203" y="214"/>
                    <a:pt x="2203" y="212"/>
                    <a:pt x="2197" y="209"/>
                  </a:cubicBezTo>
                  <a:lnTo>
                    <a:pt x="2197" y="206"/>
                  </a:lnTo>
                  <a:cubicBezTo>
                    <a:pt x="2195" y="206"/>
                    <a:pt x="2192" y="203"/>
                    <a:pt x="2189" y="203"/>
                  </a:cubicBezTo>
                  <a:cubicBezTo>
                    <a:pt x="2186" y="203"/>
                    <a:pt x="2186" y="206"/>
                    <a:pt x="2183" y="206"/>
                  </a:cubicBezTo>
                  <a:cubicBezTo>
                    <a:pt x="2181" y="203"/>
                    <a:pt x="2178" y="200"/>
                    <a:pt x="2175" y="200"/>
                  </a:cubicBezTo>
                  <a:lnTo>
                    <a:pt x="2141" y="183"/>
                  </a:lnTo>
                  <a:cubicBezTo>
                    <a:pt x="2138" y="183"/>
                    <a:pt x="2138" y="181"/>
                    <a:pt x="2135" y="181"/>
                  </a:cubicBezTo>
                  <a:lnTo>
                    <a:pt x="2127" y="164"/>
                  </a:lnTo>
                  <a:cubicBezTo>
                    <a:pt x="2124" y="167"/>
                    <a:pt x="2121" y="164"/>
                    <a:pt x="2118" y="167"/>
                  </a:cubicBezTo>
                  <a:cubicBezTo>
                    <a:pt x="2116" y="167"/>
                    <a:pt x="2116" y="164"/>
                    <a:pt x="2113" y="164"/>
                  </a:cubicBezTo>
                  <a:cubicBezTo>
                    <a:pt x="2113" y="158"/>
                    <a:pt x="2116" y="152"/>
                    <a:pt x="2118" y="150"/>
                  </a:cubicBezTo>
                  <a:cubicBezTo>
                    <a:pt x="2116" y="144"/>
                    <a:pt x="2110" y="141"/>
                    <a:pt x="2104" y="136"/>
                  </a:cubicBezTo>
                  <a:cubicBezTo>
                    <a:pt x="2093" y="127"/>
                    <a:pt x="2079" y="124"/>
                    <a:pt x="2065" y="121"/>
                  </a:cubicBezTo>
                  <a:cubicBezTo>
                    <a:pt x="2059" y="121"/>
                    <a:pt x="2056" y="124"/>
                    <a:pt x="2051" y="124"/>
                  </a:cubicBezTo>
                  <a:cubicBezTo>
                    <a:pt x="2048" y="130"/>
                    <a:pt x="2039" y="130"/>
                    <a:pt x="2042" y="138"/>
                  </a:cubicBezTo>
                  <a:cubicBezTo>
                    <a:pt x="2037" y="138"/>
                    <a:pt x="2031" y="136"/>
                    <a:pt x="2025" y="136"/>
                  </a:cubicBezTo>
                  <a:cubicBezTo>
                    <a:pt x="2025" y="133"/>
                    <a:pt x="2028" y="130"/>
                    <a:pt x="2028" y="127"/>
                  </a:cubicBezTo>
                  <a:cubicBezTo>
                    <a:pt x="2025" y="127"/>
                    <a:pt x="2025" y="124"/>
                    <a:pt x="2025" y="124"/>
                  </a:cubicBezTo>
                  <a:cubicBezTo>
                    <a:pt x="2020" y="124"/>
                    <a:pt x="2017" y="130"/>
                    <a:pt x="2011" y="133"/>
                  </a:cubicBezTo>
                  <a:cubicBezTo>
                    <a:pt x="2008" y="133"/>
                    <a:pt x="2006" y="133"/>
                    <a:pt x="2006" y="130"/>
                  </a:cubicBezTo>
                  <a:cubicBezTo>
                    <a:pt x="2003" y="130"/>
                    <a:pt x="2003" y="127"/>
                    <a:pt x="2000" y="127"/>
                  </a:cubicBezTo>
                  <a:lnTo>
                    <a:pt x="2000" y="136"/>
                  </a:lnTo>
                  <a:cubicBezTo>
                    <a:pt x="1994" y="133"/>
                    <a:pt x="1989" y="136"/>
                    <a:pt x="1986" y="138"/>
                  </a:cubicBezTo>
                  <a:cubicBezTo>
                    <a:pt x="1980" y="133"/>
                    <a:pt x="1991" y="130"/>
                    <a:pt x="1994" y="127"/>
                  </a:cubicBezTo>
                  <a:cubicBezTo>
                    <a:pt x="1986" y="124"/>
                    <a:pt x="1980" y="119"/>
                    <a:pt x="1972" y="116"/>
                  </a:cubicBezTo>
                  <a:cubicBezTo>
                    <a:pt x="1960" y="113"/>
                    <a:pt x="1949" y="106"/>
                    <a:pt x="1938" y="104"/>
                  </a:cubicBezTo>
                  <a:cubicBezTo>
                    <a:pt x="1927" y="101"/>
                    <a:pt x="1915" y="96"/>
                    <a:pt x="1904" y="93"/>
                  </a:cubicBezTo>
                  <a:cubicBezTo>
                    <a:pt x="1893" y="90"/>
                    <a:pt x="1879" y="85"/>
                    <a:pt x="1867" y="82"/>
                  </a:cubicBezTo>
                  <a:cubicBezTo>
                    <a:pt x="1859" y="79"/>
                    <a:pt x="1848" y="76"/>
                    <a:pt x="1839" y="73"/>
                  </a:cubicBezTo>
                  <a:cubicBezTo>
                    <a:pt x="1839" y="71"/>
                    <a:pt x="1836" y="68"/>
                    <a:pt x="1836" y="65"/>
                  </a:cubicBezTo>
                  <a:cubicBezTo>
                    <a:pt x="1833" y="59"/>
                    <a:pt x="1828" y="57"/>
                    <a:pt x="1825" y="51"/>
                  </a:cubicBezTo>
                  <a:cubicBezTo>
                    <a:pt x="1814" y="42"/>
                    <a:pt x="1802" y="37"/>
                    <a:pt x="1788" y="37"/>
                  </a:cubicBezTo>
                  <a:cubicBezTo>
                    <a:pt x="1777" y="34"/>
                    <a:pt x="1763" y="31"/>
                    <a:pt x="1749" y="34"/>
                  </a:cubicBezTo>
                  <a:lnTo>
                    <a:pt x="1749" y="37"/>
                  </a:lnTo>
                  <a:lnTo>
                    <a:pt x="1746" y="37"/>
                  </a:lnTo>
                  <a:cubicBezTo>
                    <a:pt x="1746" y="37"/>
                    <a:pt x="1743" y="37"/>
                    <a:pt x="1743" y="34"/>
                  </a:cubicBezTo>
                  <a:cubicBezTo>
                    <a:pt x="1732" y="37"/>
                    <a:pt x="1721" y="42"/>
                    <a:pt x="1712" y="48"/>
                  </a:cubicBezTo>
                  <a:lnTo>
                    <a:pt x="1695" y="48"/>
                  </a:lnTo>
                  <a:lnTo>
                    <a:pt x="1694" y="47"/>
                  </a:lnTo>
                  <a:cubicBezTo>
                    <a:pt x="1694" y="47"/>
                    <a:pt x="1695" y="47"/>
                    <a:pt x="1695" y="48"/>
                  </a:cubicBezTo>
                  <a:lnTo>
                    <a:pt x="1692" y="48"/>
                  </a:lnTo>
                  <a:cubicBezTo>
                    <a:pt x="1692" y="48"/>
                    <a:pt x="1693" y="47"/>
                    <a:pt x="1694" y="47"/>
                  </a:cubicBezTo>
                  <a:cubicBezTo>
                    <a:pt x="1689" y="44"/>
                    <a:pt x="1686" y="39"/>
                    <a:pt x="1681" y="37"/>
                  </a:cubicBezTo>
                  <a:cubicBezTo>
                    <a:pt x="1670" y="28"/>
                    <a:pt x="1656" y="23"/>
                    <a:pt x="1642" y="20"/>
                  </a:cubicBezTo>
                  <a:cubicBezTo>
                    <a:pt x="1630" y="20"/>
                    <a:pt x="1618" y="24"/>
                    <a:pt x="1606" y="30"/>
                  </a:cubicBezTo>
                  <a:cubicBezTo>
                    <a:pt x="1606" y="30"/>
                    <a:pt x="1607" y="29"/>
                    <a:pt x="1608" y="28"/>
                  </a:cubicBezTo>
                  <a:cubicBezTo>
                    <a:pt x="1611" y="23"/>
                    <a:pt x="1619" y="20"/>
                    <a:pt x="1625" y="17"/>
                  </a:cubicBezTo>
                  <a:cubicBezTo>
                    <a:pt x="1608" y="20"/>
                    <a:pt x="1594" y="28"/>
                    <a:pt x="1582" y="37"/>
                  </a:cubicBezTo>
                  <a:lnTo>
                    <a:pt x="1548" y="37"/>
                  </a:lnTo>
                  <a:cubicBezTo>
                    <a:pt x="1543" y="37"/>
                    <a:pt x="1540" y="34"/>
                    <a:pt x="1534" y="34"/>
                  </a:cubicBezTo>
                  <a:cubicBezTo>
                    <a:pt x="1534" y="37"/>
                    <a:pt x="1532" y="37"/>
                    <a:pt x="1532" y="34"/>
                  </a:cubicBezTo>
                  <a:cubicBezTo>
                    <a:pt x="1526" y="34"/>
                    <a:pt x="1520" y="37"/>
                    <a:pt x="1515" y="37"/>
                  </a:cubicBezTo>
                  <a:cubicBezTo>
                    <a:pt x="1503" y="37"/>
                    <a:pt x="1492" y="40"/>
                    <a:pt x="1479" y="40"/>
                  </a:cubicBezTo>
                  <a:cubicBezTo>
                    <a:pt x="1473" y="40"/>
                    <a:pt x="1468" y="37"/>
                    <a:pt x="1462" y="37"/>
                  </a:cubicBezTo>
                  <a:lnTo>
                    <a:pt x="1462" y="34"/>
                  </a:lnTo>
                  <a:cubicBezTo>
                    <a:pt x="1459" y="34"/>
                    <a:pt x="1459" y="31"/>
                    <a:pt x="1456" y="34"/>
                  </a:cubicBezTo>
                  <a:cubicBezTo>
                    <a:pt x="1454" y="34"/>
                    <a:pt x="1448" y="37"/>
                    <a:pt x="1445" y="37"/>
                  </a:cubicBezTo>
                  <a:lnTo>
                    <a:pt x="1414" y="37"/>
                  </a:lnTo>
                  <a:cubicBezTo>
                    <a:pt x="1428" y="23"/>
                    <a:pt x="1442" y="14"/>
                    <a:pt x="1462" y="9"/>
                  </a:cubicBezTo>
                  <a:cubicBezTo>
                    <a:pt x="1468" y="3"/>
                    <a:pt x="1465" y="0"/>
                    <a:pt x="1456" y="0"/>
                  </a:cubicBezTo>
                  <a:cubicBezTo>
                    <a:pt x="1445" y="3"/>
                    <a:pt x="1434" y="9"/>
                    <a:pt x="1425" y="14"/>
                  </a:cubicBezTo>
                  <a:cubicBezTo>
                    <a:pt x="1417" y="20"/>
                    <a:pt x="1408" y="28"/>
                    <a:pt x="1403" y="37"/>
                  </a:cubicBezTo>
                  <a:lnTo>
                    <a:pt x="1403" y="34"/>
                  </a:lnTo>
                  <a:cubicBezTo>
                    <a:pt x="1400" y="31"/>
                    <a:pt x="1397" y="28"/>
                    <a:pt x="1391" y="25"/>
                  </a:cubicBezTo>
                  <a:cubicBezTo>
                    <a:pt x="1380" y="20"/>
                    <a:pt x="1369" y="17"/>
                    <a:pt x="1358" y="14"/>
                  </a:cubicBezTo>
                  <a:cubicBezTo>
                    <a:pt x="1346" y="11"/>
                    <a:pt x="1332" y="11"/>
                    <a:pt x="1321" y="11"/>
                  </a:cubicBezTo>
                  <a:cubicBezTo>
                    <a:pt x="1301" y="17"/>
                    <a:pt x="1287" y="28"/>
                    <a:pt x="1276" y="45"/>
                  </a:cubicBezTo>
                  <a:lnTo>
                    <a:pt x="1270" y="45"/>
                  </a:lnTo>
                  <a:cubicBezTo>
                    <a:pt x="1259" y="51"/>
                    <a:pt x="1248" y="54"/>
                    <a:pt x="1236" y="57"/>
                  </a:cubicBezTo>
                  <a:lnTo>
                    <a:pt x="1202" y="65"/>
                  </a:lnTo>
                  <a:lnTo>
                    <a:pt x="1200" y="62"/>
                  </a:lnTo>
                  <a:cubicBezTo>
                    <a:pt x="1185" y="57"/>
                    <a:pt x="1169" y="59"/>
                    <a:pt x="1154" y="68"/>
                  </a:cubicBezTo>
                  <a:lnTo>
                    <a:pt x="1154" y="73"/>
                  </a:lnTo>
                  <a:lnTo>
                    <a:pt x="1157" y="76"/>
                  </a:lnTo>
                  <a:cubicBezTo>
                    <a:pt x="1149" y="79"/>
                    <a:pt x="1143" y="79"/>
                    <a:pt x="1135" y="79"/>
                  </a:cubicBezTo>
                  <a:cubicBezTo>
                    <a:pt x="1126" y="82"/>
                    <a:pt x="1115" y="82"/>
                    <a:pt x="1106" y="85"/>
                  </a:cubicBezTo>
                  <a:cubicBezTo>
                    <a:pt x="1104" y="82"/>
                    <a:pt x="1098" y="82"/>
                    <a:pt x="1095" y="79"/>
                  </a:cubicBezTo>
                  <a:cubicBezTo>
                    <a:pt x="1084" y="73"/>
                    <a:pt x="1073" y="73"/>
                    <a:pt x="1061" y="73"/>
                  </a:cubicBezTo>
                  <a:lnTo>
                    <a:pt x="1047" y="73"/>
                  </a:lnTo>
                  <a:lnTo>
                    <a:pt x="1047" y="76"/>
                  </a:lnTo>
                  <a:lnTo>
                    <a:pt x="1044" y="76"/>
                  </a:lnTo>
                  <a:cubicBezTo>
                    <a:pt x="1036" y="76"/>
                    <a:pt x="1030" y="79"/>
                    <a:pt x="1022" y="79"/>
                  </a:cubicBezTo>
                  <a:cubicBezTo>
                    <a:pt x="1002" y="90"/>
                    <a:pt x="988" y="110"/>
                    <a:pt x="982" y="130"/>
                  </a:cubicBezTo>
                  <a:cubicBezTo>
                    <a:pt x="977" y="133"/>
                    <a:pt x="971" y="133"/>
                    <a:pt x="965" y="136"/>
                  </a:cubicBezTo>
                  <a:cubicBezTo>
                    <a:pt x="954" y="138"/>
                    <a:pt x="946" y="147"/>
                    <a:pt x="934" y="150"/>
                  </a:cubicBezTo>
                  <a:cubicBezTo>
                    <a:pt x="932" y="152"/>
                    <a:pt x="926" y="150"/>
                    <a:pt x="923" y="150"/>
                  </a:cubicBezTo>
                  <a:cubicBezTo>
                    <a:pt x="923" y="152"/>
                    <a:pt x="920" y="155"/>
                    <a:pt x="917" y="152"/>
                  </a:cubicBezTo>
                  <a:cubicBezTo>
                    <a:pt x="917" y="152"/>
                    <a:pt x="915" y="155"/>
                    <a:pt x="912" y="155"/>
                  </a:cubicBezTo>
                  <a:cubicBezTo>
                    <a:pt x="892" y="152"/>
                    <a:pt x="869" y="161"/>
                    <a:pt x="855" y="178"/>
                  </a:cubicBezTo>
                  <a:lnTo>
                    <a:pt x="855" y="181"/>
                  </a:lnTo>
                  <a:cubicBezTo>
                    <a:pt x="847" y="183"/>
                    <a:pt x="841" y="186"/>
                    <a:pt x="833" y="189"/>
                  </a:cubicBezTo>
                  <a:cubicBezTo>
                    <a:pt x="827" y="192"/>
                    <a:pt x="824" y="198"/>
                    <a:pt x="819" y="198"/>
                  </a:cubicBezTo>
                  <a:lnTo>
                    <a:pt x="807" y="198"/>
                  </a:lnTo>
                  <a:cubicBezTo>
                    <a:pt x="796" y="195"/>
                    <a:pt x="785" y="192"/>
                    <a:pt x="774" y="195"/>
                  </a:cubicBezTo>
                  <a:cubicBezTo>
                    <a:pt x="771" y="195"/>
                    <a:pt x="771" y="198"/>
                    <a:pt x="768" y="198"/>
                  </a:cubicBezTo>
                  <a:cubicBezTo>
                    <a:pt x="768" y="199"/>
                    <a:pt x="769" y="204"/>
                    <a:pt x="769" y="208"/>
                  </a:cubicBezTo>
                  <a:cubicBezTo>
                    <a:pt x="777" y="205"/>
                    <a:pt x="786" y="203"/>
                    <a:pt x="793" y="203"/>
                  </a:cubicBezTo>
                  <a:cubicBezTo>
                    <a:pt x="799" y="203"/>
                    <a:pt x="802" y="203"/>
                    <a:pt x="807" y="206"/>
                  </a:cubicBezTo>
                  <a:lnTo>
                    <a:pt x="805" y="206"/>
                  </a:lnTo>
                  <a:cubicBezTo>
                    <a:pt x="799" y="209"/>
                    <a:pt x="796" y="214"/>
                    <a:pt x="790" y="217"/>
                  </a:cubicBezTo>
                  <a:cubicBezTo>
                    <a:pt x="785" y="217"/>
                    <a:pt x="776" y="217"/>
                    <a:pt x="771" y="220"/>
                  </a:cubicBezTo>
                  <a:cubicBezTo>
                    <a:pt x="771" y="223"/>
                    <a:pt x="771" y="223"/>
                    <a:pt x="774" y="223"/>
                  </a:cubicBezTo>
                  <a:cubicBezTo>
                    <a:pt x="762" y="229"/>
                    <a:pt x="754" y="237"/>
                    <a:pt x="745" y="243"/>
                  </a:cubicBezTo>
                  <a:cubicBezTo>
                    <a:pt x="742" y="246"/>
                    <a:pt x="740" y="243"/>
                    <a:pt x="737" y="246"/>
                  </a:cubicBezTo>
                  <a:cubicBezTo>
                    <a:pt x="737" y="240"/>
                    <a:pt x="740" y="237"/>
                    <a:pt x="742" y="231"/>
                  </a:cubicBezTo>
                  <a:lnTo>
                    <a:pt x="740" y="231"/>
                  </a:lnTo>
                  <a:lnTo>
                    <a:pt x="740" y="223"/>
                  </a:lnTo>
                  <a:cubicBezTo>
                    <a:pt x="731" y="231"/>
                    <a:pt x="728" y="243"/>
                    <a:pt x="723" y="254"/>
                  </a:cubicBezTo>
                  <a:lnTo>
                    <a:pt x="720" y="254"/>
                  </a:lnTo>
                  <a:cubicBezTo>
                    <a:pt x="717" y="254"/>
                    <a:pt x="717" y="260"/>
                    <a:pt x="717" y="260"/>
                  </a:cubicBezTo>
                  <a:cubicBezTo>
                    <a:pt x="706" y="265"/>
                    <a:pt x="697" y="270"/>
                    <a:pt x="686" y="279"/>
                  </a:cubicBezTo>
                  <a:cubicBezTo>
                    <a:pt x="675" y="287"/>
                    <a:pt x="666" y="293"/>
                    <a:pt x="655" y="299"/>
                  </a:cubicBezTo>
                  <a:lnTo>
                    <a:pt x="652" y="302"/>
                  </a:lnTo>
                  <a:cubicBezTo>
                    <a:pt x="630" y="302"/>
                    <a:pt x="607" y="316"/>
                    <a:pt x="601" y="339"/>
                  </a:cubicBezTo>
                  <a:lnTo>
                    <a:pt x="596" y="339"/>
                  </a:lnTo>
                  <a:cubicBezTo>
                    <a:pt x="587" y="344"/>
                    <a:pt x="582" y="353"/>
                    <a:pt x="576" y="358"/>
                  </a:cubicBezTo>
                  <a:cubicBezTo>
                    <a:pt x="568" y="356"/>
                    <a:pt x="559" y="356"/>
                    <a:pt x="551" y="356"/>
                  </a:cubicBezTo>
                  <a:cubicBezTo>
                    <a:pt x="531" y="356"/>
                    <a:pt x="514" y="364"/>
                    <a:pt x="500" y="375"/>
                  </a:cubicBezTo>
                  <a:cubicBezTo>
                    <a:pt x="491" y="384"/>
                    <a:pt x="494" y="387"/>
                    <a:pt x="505" y="381"/>
                  </a:cubicBezTo>
                  <a:cubicBezTo>
                    <a:pt x="494" y="387"/>
                    <a:pt x="486" y="398"/>
                    <a:pt x="480" y="409"/>
                  </a:cubicBezTo>
                  <a:cubicBezTo>
                    <a:pt x="474" y="418"/>
                    <a:pt x="469" y="429"/>
                    <a:pt x="466" y="440"/>
                  </a:cubicBezTo>
                  <a:cubicBezTo>
                    <a:pt x="466" y="443"/>
                    <a:pt x="469" y="449"/>
                    <a:pt x="472" y="451"/>
                  </a:cubicBezTo>
                  <a:cubicBezTo>
                    <a:pt x="469" y="454"/>
                    <a:pt x="466" y="457"/>
                    <a:pt x="464" y="462"/>
                  </a:cubicBezTo>
                  <a:cubicBezTo>
                    <a:pt x="466" y="462"/>
                    <a:pt x="470" y="464"/>
                    <a:pt x="472" y="466"/>
                  </a:cubicBezTo>
                  <a:lnTo>
                    <a:pt x="472" y="477"/>
                  </a:lnTo>
                  <a:lnTo>
                    <a:pt x="446" y="485"/>
                  </a:lnTo>
                  <a:cubicBezTo>
                    <a:pt x="446" y="482"/>
                    <a:pt x="446" y="477"/>
                    <a:pt x="449" y="474"/>
                  </a:cubicBezTo>
                  <a:cubicBezTo>
                    <a:pt x="443" y="480"/>
                    <a:pt x="441" y="485"/>
                    <a:pt x="435" y="491"/>
                  </a:cubicBezTo>
                  <a:cubicBezTo>
                    <a:pt x="432" y="494"/>
                    <a:pt x="432" y="497"/>
                    <a:pt x="429" y="499"/>
                  </a:cubicBezTo>
                  <a:cubicBezTo>
                    <a:pt x="427" y="499"/>
                    <a:pt x="424" y="500"/>
                    <a:pt x="422" y="501"/>
                  </a:cubicBezTo>
                  <a:lnTo>
                    <a:pt x="421" y="499"/>
                  </a:lnTo>
                  <a:lnTo>
                    <a:pt x="422" y="501"/>
                  </a:lnTo>
                  <a:lnTo>
                    <a:pt x="421" y="501"/>
                  </a:lnTo>
                  <a:lnTo>
                    <a:pt x="421" y="502"/>
                  </a:lnTo>
                  <a:cubicBezTo>
                    <a:pt x="418" y="505"/>
                    <a:pt x="418" y="508"/>
                    <a:pt x="418" y="508"/>
                  </a:cubicBezTo>
                  <a:cubicBezTo>
                    <a:pt x="418" y="511"/>
                    <a:pt x="415" y="513"/>
                    <a:pt x="410" y="513"/>
                  </a:cubicBezTo>
                  <a:lnTo>
                    <a:pt x="407" y="516"/>
                  </a:lnTo>
                  <a:cubicBezTo>
                    <a:pt x="405" y="512"/>
                    <a:pt x="406" y="508"/>
                    <a:pt x="408" y="505"/>
                  </a:cubicBezTo>
                  <a:cubicBezTo>
                    <a:pt x="398" y="510"/>
                    <a:pt x="389" y="518"/>
                    <a:pt x="384" y="528"/>
                  </a:cubicBezTo>
                  <a:cubicBezTo>
                    <a:pt x="390" y="516"/>
                    <a:pt x="398" y="508"/>
                    <a:pt x="407" y="505"/>
                  </a:cubicBezTo>
                  <a:lnTo>
                    <a:pt x="410" y="502"/>
                  </a:lnTo>
                  <a:cubicBezTo>
                    <a:pt x="390" y="511"/>
                    <a:pt x="378" y="530"/>
                    <a:pt x="378" y="553"/>
                  </a:cubicBezTo>
                  <a:cubicBezTo>
                    <a:pt x="373" y="559"/>
                    <a:pt x="364" y="564"/>
                    <a:pt x="359" y="573"/>
                  </a:cubicBezTo>
                  <a:lnTo>
                    <a:pt x="353" y="578"/>
                  </a:lnTo>
                  <a:cubicBezTo>
                    <a:pt x="353" y="578"/>
                    <a:pt x="353" y="581"/>
                    <a:pt x="350" y="581"/>
                  </a:cubicBezTo>
                  <a:cubicBezTo>
                    <a:pt x="345" y="581"/>
                    <a:pt x="339" y="578"/>
                    <a:pt x="333" y="581"/>
                  </a:cubicBezTo>
                  <a:cubicBezTo>
                    <a:pt x="314" y="587"/>
                    <a:pt x="294" y="595"/>
                    <a:pt x="283" y="612"/>
                  </a:cubicBezTo>
                  <a:cubicBezTo>
                    <a:pt x="271" y="629"/>
                    <a:pt x="266" y="649"/>
                    <a:pt x="268" y="671"/>
                  </a:cubicBezTo>
                  <a:cubicBezTo>
                    <a:pt x="268" y="680"/>
                    <a:pt x="268" y="686"/>
                    <a:pt x="271" y="694"/>
                  </a:cubicBezTo>
                  <a:cubicBezTo>
                    <a:pt x="271" y="694"/>
                    <a:pt x="271" y="697"/>
                    <a:pt x="268" y="697"/>
                  </a:cubicBezTo>
                  <a:cubicBezTo>
                    <a:pt x="263" y="705"/>
                    <a:pt x="260" y="714"/>
                    <a:pt x="257" y="722"/>
                  </a:cubicBezTo>
                  <a:lnTo>
                    <a:pt x="254" y="722"/>
                  </a:lnTo>
                  <a:cubicBezTo>
                    <a:pt x="254" y="725"/>
                    <a:pt x="254" y="725"/>
                    <a:pt x="252" y="725"/>
                  </a:cubicBezTo>
                  <a:cubicBezTo>
                    <a:pt x="252" y="728"/>
                    <a:pt x="249" y="728"/>
                    <a:pt x="249" y="731"/>
                  </a:cubicBezTo>
                  <a:cubicBezTo>
                    <a:pt x="246" y="734"/>
                    <a:pt x="240" y="736"/>
                    <a:pt x="237" y="739"/>
                  </a:cubicBezTo>
                  <a:cubicBezTo>
                    <a:pt x="235" y="739"/>
                    <a:pt x="235" y="745"/>
                    <a:pt x="232" y="745"/>
                  </a:cubicBezTo>
                  <a:cubicBezTo>
                    <a:pt x="218" y="748"/>
                    <a:pt x="206" y="756"/>
                    <a:pt x="198" y="770"/>
                  </a:cubicBezTo>
                  <a:cubicBezTo>
                    <a:pt x="197" y="772"/>
                    <a:pt x="196" y="774"/>
                    <a:pt x="195" y="776"/>
                  </a:cubicBezTo>
                  <a:lnTo>
                    <a:pt x="212" y="776"/>
                  </a:lnTo>
                  <a:cubicBezTo>
                    <a:pt x="209" y="779"/>
                    <a:pt x="212" y="781"/>
                    <a:pt x="209" y="784"/>
                  </a:cubicBezTo>
                  <a:cubicBezTo>
                    <a:pt x="206" y="787"/>
                    <a:pt x="204" y="790"/>
                    <a:pt x="204" y="796"/>
                  </a:cubicBezTo>
                  <a:cubicBezTo>
                    <a:pt x="201" y="796"/>
                    <a:pt x="198" y="793"/>
                    <a:pt x="195" y="787"/>
                  </a:cubicBezTo>
                  <a:lnTo>
                    <a:pt x="192" y="787"/>
                  </a:lnTo>
                  <a:cubicBezTo>
                    <a:pt x="192" y="786"/>
                    <a:pt x="192" y="786"/>
                    <a:pt x="192" y="785"/>
                  </a:cubicBezTo>
                  <a:cubicBezTo>
                    <a:pt x="190" y="792"/>
                    <a:pt x="189" y="800"/>
                    <a:pt x="189" y="807"/>
                  </a:cubicBezTo>
                  <a:cubicBezTo>
                    <a:pt x="189" y="813"/>
                    <a:pt x="192" y="815"/>
                    <a:pt x="192" y="821"/>
                  </a:cubicBezTo>
                  <a:cubicBezTo>
                    <a:pt x="192" y="824"/>
                    <a:pt x="189" y="824"/>
                    <a:pt x="187" y="827"/>
                  </a:cubicBezTo>
                  <a:cubicBezTo>
                    <a:pt x="187" y="829"/>
                    <a:pt x="187" y="829"/>
                    <a:pt x="185" y="831"/>
                  </a:cubicBezTo>
                  <a:cubicBezTo>
                    <a:pt x="186" y="832"/>
                    <a:pt x="187" y="834"/>
                    <a:pt x="187" y="835"/>
                  </a:cubicBezTo>
                  <a:cubicBezTo>
                    <a:pt x="177" y="837"/>
                    <a:pt x="169" y="840"/>
                    <a:pt x="161" y="844"/>
                  </a:cubicBezTo>
                  <a:cubicBezTo>
                    <a:pt x="155" y="849"/>
                    <a:pt x="150" y="854"/>
                    <a:pt x="144" y="860"/>
                  </a:cubicBezTo>
                  <a:cubicBezTo>
                    <a:pt x="148" y="856"/>
                    <a:pt x="152" y="852"/>
                    <a:pt x="156" y="848"/>
                  </a:cubicBezTo>
                  <a:cubicBezTo>
                    <a:pt x="152" y="851"/>
                    <a:pt x="148" y="854"/>
                    <a:pt x="144" y="858"/>
                  </a:cubicBezTo>
                  <a:cubicBezTo>
                    <a:pt x="133" y="869"/>
                    <a:pt x="125" y="880"/>
                    <a:pt x="122" y="894"/>
                  </a:cubicBezTo>
                  <a:lnTo>
                    <a:pt x="122" y="911"/>
                  </a:lnTo>
                  <a:cubicBezTo>
                    <a:pt x="122" y="908"/>
                    <a:pt x="125" y="906"/>
                    <a:pt x="125" y="903"/>
                  </a:cubicBezTo>
                  <a:cubicBezTo>
                    <a:pt x="130" y="903"/>
                    <a:pt x="127" y="914"/>
                    <a:pt x="125" y="917"/>
                  </a:cubicBezTo>
                  <a:cubicBezTo>
                    <a:pt x="122" y="917"/>
                    <a:pt x="122" y="914"/>
                    <a:pt x="122" y="911"/>
                  </a:cubicBezTo>
                  <a:cubicBezTo>
                    <a:pt x="119" y="920"/>
                    <a:pt x="119" y="928"/>
                    <a:pt x="119" y="937"/>
                  </a:cubicBezTo>
                  <a:cubicBezTo>
                    <a:pt x="122" y="945"/>
                    <a:pt x="125" y="956"/>
                    <a:pt x="127" y="965"/>
                  </a:cubicBezTo>
                  <a:cubicBezTo>
                    <a:pt x="122" y="976"/>
                    <a:pt x="122" y="987"/>
                    <a:pt x="116" y="996"/>
                  </a:cubicBezTo>
                  <a:cubicBezTo>
                    <a:pt x="110" y="1007"/>
                    <a:pt x="108" y="1018"/>
                    <a:pt x="102" y="1030"/>
                  </a:cubicBezTo>
                  <a:lnTo>
                    <a:pt x="96" y="1041"/>
                  </a:lnTo>
                  <a:cubicBezTo>
                    <a:pt x="94" y="1038"/>
                    <a:pt x="96" y="1035"/>
                    <a:pt x="96" y="1033"/>
                  </a:cubicBezTo>
                  <a:cubicBezTo>
                    <a:pt x="96" y="1033"/>
                    <a:pt x="94" y="1030"/>
                    <a:pt x="94" y="1027"/>
                  </a:cubicBezTo>
                  <a:cubicBezTo>
                    <a:pt x="88" y="1033"/>
                    <a:pt x="85" y="1041"/>
                    <a:pt x="82" y="1049"/>
                  </a:cubicBezTo>
                  <a:cubicBezTo>
                    <a:pt x="88" y="1047"/>
                    <a:pt x="94" y="1044"/>
                    <a:pt x="102" y="1044"/>
                  </a:cubicBezTo>
                  <a:cubicBezTo>
                    <a:pt x="99" y="1049"/>
                    <a:pt x="94" y="1058"/>
                    <a:pt x="91" y="1064"/>
                  </a:cubicBezTo>
                  <a:cubicBezTo>
                    <a:pt x="88" y="1075"/>
                    <a:pt x="88" y="1089"/>
                    <a:pt x="85" y="1100"/>
                  </a:cubicBezTo>
                  <a:cubicBezTo>
                    <a:pt x="82" y="1109"/>
                    <a:pt x="77" y="1114"/>
                    <a:pt x="74" y="1123"/>
                  </a:cubicBezTo>
                  <a:cubicBezTo>
                    <a:pt x="65" y="1128"/>
                    <a:pt x="60" y="1137"/>
                    <a:pt x="60" y="1148"/>
                  </a:cubicBezTo>
                  <a:cubicBezTo>
                    <a:pt x="46" y="1145"/>
                    <a:pt x="37" y="1157"/>
                    <a:pt x="34" y="1171"/>
                  </a:cubicBezTo>
                  <a:cubicBezTo>
                    <a:pt x="29" y="1181"/>
                    <a:pt x="27" y="1193"/>
                    <a:pt x="28" y="1204"/>
                  </a:cubicBezTo>
                  <a:cubicBezTo>
                    <a:pt x="30" y="1204"/>
                    <a:pt x="31" y="1202"/>
                    <a:pt x="31" y="1202"/>
                  </a:cubicBezTo>
                  <a:cubicBezTo>
                    <a:pt x="40" y="1210"/>
                    <a:pt x="35" y="1213"/>
                    <a:pt x="29" y="1218"/>
                  </a:cubicBezTo>
                  <a:cubicBezTo>
                    <a:pt x="30" y="1221"/>
                    <a:pt x="30" y="1224"/>
                    <a:pt x="31" y="1227"/>
                  </a:cubicBezTo>
                  <a:cubicBezTo>
                    <a:pt x="37" y="1236"/>
                    <a:pt x="43" y="1241"/>
                    <a:pt x="48" y="1250"/>
                  </a:cubicBezTo>
                  <a:cubicBezTo>
                    <a:pt x="48" y="1253"/>
                    <a:pt x="46" y="1258"/>
                    <a:pt x="46" y="1264"/>
                  </a:cubicBezTo>
                  <a:cubicBezTo>
                    <a:pt x="43" y="1275"/>
                    <a:pt x="43" y="1286"/>
                    <a:pt x="40" y="1298"/>
                  </a:cubicBezTo>
                  <a:lnTo>
                    <a:pt x="40" y="1306"/>
                  </a:lnTo>
                  <a:cubicBezTo>
                    <a:pt x="34" y="1309"/>
                    <a:pt x="31" y="1315"/>
                    <a:pt x="26" y="1320"/>
                  </a:cubicBezTo>
                  <a:cubicBezTo>
                    <a:pt x="29" y="1312"/>
                    <a:pt x="34" y="1303"/>
                    <a:pt x="40" y="1298"/>
                  </a:cubicBezTo>
                  <a:cubicBezTo>
                    <a:pt x="37" y="1295"/>
                    <a:pt x="37" y="1292"/>
                    <a:pt x="34" y="1289"/>
                  </a:cubicBezTo>
                  <a:cubicBezTo>
                    <a:pt x="29" y="1292"/>
                    <a:pt x="26" y="1298"/>
                    <a:pt x="23" y="1301"/>
                  </a:cubicBezTo>
                  <a:cubicBezTo>
                    <a:pt x="15" y="1312"/>
                    <a:pt x="9" y="1326"/>
                    <a:pt x="9" y="1340"/>
                  </a:cubicBezTo>
                  <a:cubicBezTo>
                    <a:pt x="9" y="1353"/>
                    <a:pt x="11" y="1365"/>
                    <a:pt x="18" y="1376"/>
                  </a:cubicBezTo>
                  <a:cubicBezTo>
                    <a:pt x="16" y="1374"/>
                    <a:pt x="14" y="1374"/>
                    <a:pt x="12" y="1374"/>
                  </a:cubicBezTo>
                  <a:cubicBezTo>
                    <a:pt x="11" y="1373"/>
                    <a:pt x="10" y="1372"/>
                    <a:pt x="9" y="1370"/>
                  </a:cubicBezTo>
                  <a:cubicBezTo>
                    <a:pt x="14" y="1381"/>
                    <a:pt x="20" y="1391"/>
                    <a:pt x="29" y="1399"/>
                  </a:cubicBezTo>
                  <a:lnTo>
                    <a:pt x="29" y="1405"/>
                  </a:lnTo>
                  <a:cubicBezTo>
                    <a:pt x="29" y="1411"/>
                    <a:pt x="26" y="1416"/>
                    <a:pt x="26" y="1422"/>
                  </a:cubicBezTo>
                  <a:cubicBezTo>
                    <a:pt x="20" y="1427"/>
                    <a:pt x="15" y="1436"/>
                    <a:pt x="12" y="1444"/>
                  </a:cubicBezTo>
                  <a:cubicBezTo>
                    <a:pt x="20" y="1439"/>
                    <a:pt x="15" y="1442"/>
                    <a:pt x="12" y="1456"/>
                  </a:cubicBezTo>
                  <a:cubicBezTo>
                    <a:pt x="9" y="1464"/>
                    <a:pt x="9" y="1473"/>
                    <a:pt x="9" y="1484"/>
                  </a:cubicBezTo>
                  <a:cubicBezTo>
                    <a:pt x="9" y="1494"/>
                    <a:pt x="12" y="1505"/>
                    <a:pt x="17" y="1517"/>
                  </a:cubicBezTo>
                  <a:cubicBezTo>
                    <a:pt x="20" y="1525"/>
                    <a:pt x="26" y="1534"/>
                    <a:pt x="34" y="1539"/>
                  </a:cubicBezTo>
                  <a:lnTo>
                    <a:pt x="29" y="1539"/>
                  </a:lnTo>
                  <a:lnTo>
                    <a:pt x="29" y="1547"/>
                  </a:lnTo>
                  <a:cubicBezTo>
                    <a:pt x="30" y="1548"/>
                    <a:pt x="32" y="1549"/>
                    <a:pt x="34" y="1551"/>
                  </a:cubicBezTo>
                  <a:cubicBezTo>
                    <a:pt x="34" y="1555"/>
                    <a:pt x="33" y="1561"/>
                    <a:pt x="32" y="1566"/>
                  </a:cubicBezTo>
                  <a:cubicBezTo>
                    <a:pt x="32" y="1565"/>
                    <a:pt x="33" y="1563"/>
                    <a:pt x="34" y="1562"/>
                  </a:cubicBezTo>
                  <a:cubicBezTo>
                    <a:pt x="40" y="1562"/>
                    <a:pt x="43" y="1562"/>
                    <a:pt x="48" y="1565"/>
                  </a:cubicBezTo>
                  <a:cubicBezTo>
                    <a:pt x="48" y="1565"/>
                    <a:pt x="46" y="1565"/>
                    <a:pt x="46" y="1567"/>
                  </a:cubicBezTo>
                  <a:lnTo>
                    <a:pt x="51" y="1573"/>
                  </a:lnTo>
                  <a:cubicBezTo>
                    <a:pt x="34" y="1584"/>
                    <a:pt x="20" y="1604"/>
                    <a:pt x="15" y="1624"/>
                  </a:cubicBezTo>
                  <a:cubicBezTo>
                    <a:pt x="18" y="1618"/>
                    <a:pt x="22" y="1613"/>
                    <a:pt x="27" y="1607"/>
                  </a:cubicBezTo>
                  <a:cubicBezTo>
                    <a:pt x="12" y="1628"/>
                    <a:pt x="14" y="1658"/>
                    <a:pt x="31" y="1675"/>
                  </a:cubicBezTo>
                  <a:cubicBezTo>
                    <a:pt x="31" y="1677"/>
                    <a:pt x="34" y="1680"/>
                    <a:pt x="34" y="1683"/>
                  </a:cubicBezTo>
                  <a:cubicBezTo>
                    <a:pt x="34" y="1685"/>
                    <a:pt x="33" y="1687"/>
                    <a:pt x="32" y="1688"/>
                  </a:cubicBezTo>
                  <a:cubicBezTo>
                    <a:pt x="38" y="1695"/>
                    <a:pt x="44" y="1701"/>
                    <a:pt x="51" y="1706"/>
                  </a:cubicBezTo>
                  <a:cubicBezTo>
                    <a:pt x="51" y="1708"/>
                    <a:pt x="53" y="1710"/>
                    <a:pt x="53" y="1712"/>
                  </a:cubicBezTo>
                  <a:cubicBezTo>
                    <a:pt x="52" y="1712"/>
                    <a:pt x="51" y="1712"/>
                    <a:pt x="50" y="1712"/>
                  </a:cubicBezTo>
                  <a:cubicBezTo>
                    <a:pt x="50" y="1712"/>
                    <a:pt x="49" y="1711"/>
                    <a:pt x="48" y="1711"/>
                  </a:cubicBezTo>
                  <a:cubicBezTo>
                    <a:pt x="49" y="1712"/>
                    <a:pt x="49" y="1712"/>
                    <a:pt x="49" y="1712"/>
                  </a:cubicBezTo>
                  <a:cubicBezTo>
                    <a:pt x="45" y="1713"/>
                    <a:pt x="45" y="1715"/>
                    <a:pt x="43" y="1717"/>
                  </a:cubicBezTo>
                  <a:cubicBezTo>
                    <a:pt x="34" y="1728"/>
                    <a:pt x="29" y="1742"/>
                    <a:pt x="26" y="1754"/>
                  </a:cubicBezTo>
                  <a:cubicBezTo>
                    <a:pt x="23" y="1768"/>
                    <a:pt x="23" y="1782"/>
                    <a:pt x="29" y="1796"/>
                  </a:cubicBezTo>
                  <a:cubicBezTo>
                    <a:pt x="34" y="1816"/>
                    <a:pt x="48" y="1833"/>
                    <a:pt x="65" y="1844"/>
                  </a:cubicBezTo>
                  <a:cubicBezTo>
                    <a:pt x="65" y="1847"/>
                    <a:pt x="68" y="1850"/>
                    <a:pt x="71" y="1852"/>
                  </a:cubicBezTo>
                  <a:lnTo>
                    <a:pt x="71" y="1850"/>
                  </a:lnTo>
                  <a:lnTo>
                    <a:pt x="85" y="1857"/>
                  </a:lnTo>
                  <a:cubicBezTo>
                    <a:pt x="85" y="1857"/>
                    <a:pt x="85" y="1857"/>
                    <a:pt x="85" y="1858"/>
                  </a:cubicBezTo>
                  <a:lnTo>
                    <a:pt x="82" y="1858"/>
                  </a:lnTo>
                  <a:lnTo>
                    <a:pt x="88" y="1861"/>
                  </a:lnTo>
                  <a:lnTo>
                    <a:pt x="82" y="1864"/>
                  </a:lnTo>
                  <a:cubicBezTo>
                    <a:pt x="80" y="1861"/>
                    <a:pt x="77" y="1856"/>
                    <a:pt x="72" y="1855"/>
                  </a:cubicBezTo>
                  <a:cubicBezTo>
                    <a:pt x="75" y="1861"/>
                    <a:pt x="77" y="1867"/>
                    <a:pt x="77" y="1872"/>
                  </a:cubicBezTo>
                  <a:cubicBezTo>
                    <a:pt x="74" y="1881"/>
                    <a:pt x="65" y="1883"/>
                    <a:pt x="65" y="1889"/>
                  </a:cubicBezTo>
                  <a:cubicBezTo>
                    <a:pt x="62" y="1900"/>
                    <a:pt x="60" y="1912"/>
                    <a:pt x="60" y="1923"/>
                  </a:cubicBezTo>
                  <a:lnTo>
                    <a:pt x="60" y="1934"/>
                  </a:lnTo>
                  <a:lnTo>
                    <a:pt x="60" y="1937"/>
                  </a:lnTo>
                  <a:cubicBezTo>
                    <a:pt x="62" y="1945"/>
                    <a:pt x="65" y="1951"/>
                    <a:pt x="68" y="1957"/>
                  </a:cubicBezTo>
                  <a:cubicBezTo>
                    <a:pt x="77" y="1977"/>
                    <a:pt x="94" y="1991"/>
                    <a:pt x="113" y="2002"/>
                  </a:cubicBezTo>
                  <a:lnTo>
                    <a:pt x="113" y="2005"/>
                  </a:lnTo>
                  <a:lnTo>
                    <a:pt x="116" y="2005"/>
                  </a:lnTo>
                  <a:lnTo>
                    <a:pt x="119" y="2002"/>
                  </a:lnTo>
                  <a:cubicBezTo>
                    <a:pt x="119" y="2005"/>
                    <a:pt x="113" y="2008"/>
                    <a:pt x="113" y="2008"/>
                  </a:cubicBezTo>
                  <a:cubicBezTo>
                    <a:pt x="116" y="2013"/>
                    <a:pt x="122" y="2016"/>
                    <a:pt x="125" y="2022"/>
                  </a:cubicBezTo>
                  <a:cubicBezTo>
                    <a:pt x="125" y="2024"/>
                    <a:pt x="122" y="2024"/>
                    <a:pt x="122" y="2027"/>
                  </a:cubicBezTo>
                  <a:cubicBezTo>
                    <a:pt x="119" y="2047"/>
                    <a:pt x="122" y="2067"/>
                    <a:pt x="130" y="2084"/>
                  </a:cubicBezTo>
                  <a:cubicBezTo>
                    <a:pt x="136" y="2101"/>
                    <a:pt x="150" y="2115"/>
                    <a:pt x="167" y="2126"/>
                  </a:cubicBezTo>
                  <a:cubicBezTo>
                    <a:pt x="173" y="2134"/>
                    <a:pt x="175" y="2146"/>
                    <a:pt x="181" y="2154"/>
                  </a:cubicBezTo>
                  <a:cubicBezTo>
                    <a:pt x="181" y="2157"/>
                    <a:pt x="184" y="2160"/>
                    <a:pt x="187" y="2163"/>
                  </a:cubicBezTo>
                  <a:lnTo>
                    <a:pt x="192" y="2160"/>
                  </a:lnTo>
                  <a:cubicBezTo>
                    <a:pt x="195" y="2160"/>
                    <a:pt x="198" y="2163"/>
                    <a:pt x="198" y="2171"/>
                  </a:cubicBezTo>
                  <a:cubicBezTo>
                    <a:pt x="195" y="2168"/>
                    <a:pt x="192" y="2171"/>
                    <a:pt x="189" y="2171"/>
                  </a:cubicBezTo>
                  <a:cubicBezTo>
                    <a:pt x="189" y="2168"/>
                    <a:pt x="192" y="2163"/>
                    <a:pt x="192" y="2160"/>
                  </a:cubicBezTo>
                  <a:cubicBezTo>
                    <a:pt x="192" y="2163"/>
                    <a:pt x="187" y="2168"/>
                    <a:pt x="184" y="2171"/>
                  </a:cubicBezTo>
                  <a:cubicBezTo>
                    <a:pt x="181" y="2182"/>
                    <a:pt x="181" y="2194"/>
                    <a:pt x="184" y="2205"/>
                  </a:cubicBezTo>
                  <a:cubicBezTo>
                    <a:pt x="184" y="2208"/>
                    <a:pt x="187" y="2208"/>
                    <a:pt x="187" y="2211"/>
                  </a:cubicBezTo>
                  <a:cubicBezTo>
                    <a:pt x="189" y="2211"/>
                    <a:pt x="195" y="2213"/>
                    <a:pt x="198" y="2213"/>
                  </a:cubicBezTo>
                  <a:lnTo>
                    <a:pt x="201" y="2213"/>
                  </a:lnTo>
                  <a:cubicBezTo>
                    <a:pt x="195" y="2205"/>
                    <a:pt x="192" y="2197"/>
                    <a:pt x="192" y="2185"/>
                  </a:cubicBezTo>
                  <a:lnTo>
                    <a:pt x="192" y="2177"/>
                  </a:lnTo>
                  <a:cubicBezTo>
                    <a:pt x="192" y="2177"/>
                    <a:pt x="192" y="2180"/>
                    <a:pt x="195" y="2180"/>
                  </a:cubicBezTo>
                  <a:lnTo>
                    <a:pt x="204" y="2171"/>
                  </a:lnTo>
                  <a:cubicBezTo>
                    <a:pt x="204" y="2177"/>
                    <a:pt x="204" y="2180"/>
                    <a:pt x="201" y="2185"/>
                  </a:cubicBezTo>
                  <a:cubicBezTo>
                    <a:pt x="198" y="2185"/>
                    <a:pt x="201" y="2185"/>
                    <a:pt x="201" y="2188"/>
                  </a:cubicBezTo>
                  <a:cubicBezTo>
                    <a:pt x="201" y="2191"/>
                    <a:pt x="201" y="2191"/>
                    <a:pt x="204" y="2194"/>
                  </a:cubicBezTo>
                  <a:lnTo>
                    <a:pt x="204" y="2211"/>
                  </a:lnTo>
                  <a:cubicBezTo>
                    <a:pt x="204" y="2211"/>
                    <a:pt x="206" y="2211"/>
                    <a:pt x="206" y="2208"/>
                  </a:cubicBezTo>
                  <a:cubicBezTo>
                    <a:pt x="206" y="2211"/>
                    <a:pt x="212" y="2211"/>
                    <a:pt x="212" y="2213"/>
                  </a:cubicBezTo>
                  <a:cubicBezTo>
                    <a:pt x="218" y="2222"/>
                    <a:pt x="218" y="2236"/>
                    <a:pt x="223" y="2244"/>
                  </a:cubicBezTo>
                  <a:cubicBezTo>
                    <a:pt x="220" y="2242"/>
                    <a:pt x="218" y="2242"/>
                    <a:pt x="218" y="2239"/>
                  </a:cubicBezTo>
                  <a:lnTo>
                    <a:pt x="218" y="2236"/>
                  </a:lnTo>
                  <a:cubicBezTo>
                    <a:pt x="215" y="2236"/>
                    <a:pt x="212" y="2242"/>
                    <a:pt x="209" y="2244"/>
                  </a:cubicBezTo>
                  <a:cubicBezTo>
                    <a:pt x="218" y="2250"/>
                    <a:pt x="229" y="2256"/>
                    <a:pt x="237" y="2259"/>
                  </a:cubicBezTo>
                  <a:lnTo>
                    <a:pt x="235" y="2261"/>
                  </a:lnTo>
                  <a:lnTo>
                    <a:pt x="237" y="2261"/>
                  </a:lnTo>
                  <a:cubicBezTo>
                    <a:pt x="237" y="2261"/>
                    <a:pt x="240" y="2261"/>
                    <a:pt x="240" y="2259"/>
                  </a:cubicBezTo>
                  <a:cubicBezTo>
                    <a:pt x="257" y="2264"/>
                    <a:pt x="271" y="2264"/>
                    <a:pt x="266" y="2267"/>
                  </a:cubicBezTo>
                  <a:cubicBezTo>
                    <a:pt x="263" y="2267"/>
                    <a:pt x="257" y="2273"/>
                    <a:pt x="254" y="2273"/>
                  </a:cubicBezTo>
                  <a:cubicBezTo>
                    <a:pt x="260" y="2273"/>
                    <a:pt x="268" y="2270"/>
                    <a:pt x="271" y="2270"/>
                  </a:cubicBezTo>
                  <a:cubicBezTo>
                    <a:pt x="266" y="2273"/>
                    <a:pt x="263" y="2278"/>
                    <a:pt x="266" y="2284"/>
                  </a:cubicBezTo>
                  <a:cubicBezTo>
                    <a:pt x="257" y="2284"/>
                    <a:pt x="252" y="2278"/>
                    <a:pt x="246" y="2278"/>
                  </a:cubicBezTo>
                  <a:lnTo>
                    <a:pt x="254" y="2295"/>
                  </a:lnTo>
                  <a:lnTo>
                    <a:pt x="257" y="2295"/>
                  </a:lnTo>
                  <a:cubicBezTo>
                    <a:pt x="271" y="2292"/>
                    <a:pt x="257" y="2304"/>
                    <a:pt x="266" y="2307"/>
                  </a:cubicBezTo>
                  <a:lnTo>
                    <a:pt x="271" y="2307"/>
                  </a:lnTo>
                  <a:lnTo>
                    <a:pt x="271" y="2309"/>
                  </a:lnTo>
                  <a:cubicBezTo>
                    <a:pt x="274" y="2309"/>
                    <a:pt x="277" y="2312"/>
                    <a:pt x="277" y="2312"/>
                  </a:cubicBezTo>
                  <a:lnTo>
                    <a:pt x="277" y="2309"/>
                  </a:lnTo>
                  <a:lnTo>
                    <a:pt x="280" y="2309"/>
                  </a:lnTo>
                  <a:cubicBezTo>
                    <a:pt x="280" y="2312"/>
                    <a:pt x="283" y="2315"/>
                    <a:pt x="285" y="2318"/>
                  </a:cubicBezTo>
                  <a:cubicBezTo>
                    <a:pt x="283" y="2321"/>
                    <a:pt x="280" y="2321"/>
                    <a:pt x="277" y="2323"/>
                  </a:cubicBezTo>
                  <a:lnTo>
                    <a:pt x="277" y="2318"/>
                  </a:lnTo>
                  <a:cubicBezTo>
                    <a:pt x="277" y="2321"/>
                    <a:pt x="274" y="2323"/>
                    <a:pt x="274" y="2326"/>
                  </a:cubicBezTo>
                  <a:cubicBezTo>
                    <a:pt x="274" y="2329"/>
                    <a:pt x="271" y="2329"/>
                    <a:pt x="274" y="2332"/>
                  </a:cubicBezTo>
                  <a:cubicBezTo>
                    <a:pt x="280" y="2346"/>
                    <a:pt x="288" y="2360"/>
                    <a:pt x="302" y="2371"/>
                  </a:cubicBezTo>
                  <a:cubicBezTo>
                    <a:pt x="308" y="2377"/>
                    <a:pt x="314" y="2380"/>
                    <a:pt x="322" y="2383"/>
                  </a:cubicBezTo>
                  <a:cubicBezTo>
                    <a:pt x="324" y="2385"/>
                    <a:pt x="325" y="2389"/>
                    <a:pt x="325" y="2391"/>
                  </a:cubicBezTo>
                  <a:cubicBezTo>
                    <a:pt x="326" y="2391"/>
                    <a:pt x="327" y="2391"/>
                    <a:pt x="328" y="2391"/>
                  </a:cubicBezTo>
                  <a:cubicBezTo>
                    <a:pt x="331" y="2394"/>
                    <a:pt x="331" y="2402"/>
                    <a:pt x="336" y="2405"/>
                  </a:cubicBezTo>
                  <a:cubicBezTo>
                    <a:pt x="336" y="2405"/>
                    <a:pt x="339" y="2405"/>
                    <a:pt x="342" y="2402"/>
                  </a:cubicBezTo>
                  <a:cubicBezTo>
                    <a:pt x="345" y="2402"/>
                    <a:pt x="342" y="2402"/>
                    <a:pt x="342" y="2402"/>
                  </a:cubicBezTo>
                  <a:cubicBezTo>
                    <a:pt x="342" y="2405"/>
                    <a:pt x="345" y="2405"/>
                    <a:pt x="345" y="2408"/>
                  </a:cubicBezTo>
                  <a:lnTo>
                    <a:pt x="336" y="2408"/>
                  </a:lnTo>
                  <a:lnTo>
                    <a:pt x="342" y="2411"/>
                  </a:lnTo>
                  <a:cubicBezTo>
                    <a:pt x="342" y="2417"/>
                    <a:pt x="339" y="2425"/>
                    <a:pt x="339" y="2431"/>
                  </a:cubicBezTo>
                  <a:cubicBezTo>
                    <a:pt x="339" y="2450"/>
                    <a:pt x="347" y="2467"/>
                    <a:pt x="359" y="2481"/>
                  </a:cubicBezTo>
                  <a:cubicBezTo>
                    <a:pt x="367" y="2490"/>
                    <a:pt x="373" y="2490"/>
                    <a:pt x="367" y="2479"/>
                  </a:cubicBezTo>
                  <a:cubicBezTo>
                    <a:pt x="373" y="2487"/>
                    <a:pt x="384" y="2496"/>
                    <a:pt x="393" y="2498"/>
                  </a:cubicBezTo>
                  <a:cubicBezTo>
                    <a:pt x="401" y="2504"/>
                    <a:pt x="412" y="2510"/>
                    <a:pt x="424" y="2515"/>
                  </a:cubicBezTo>
                  <a:lnTo>
                    <a:pt x="429" y="2515"/>
                  </a:lnTo>
                  <a:cubicBezTo>
                    <a:pt x="432" y="2518"/>
                    <a:pt x="435" y="2524"/>
                    <a:pt x="438" y="2527"/>
                  </a:cubicBezTo>
                  <a:cubicBezTo>
                    <a:pt x="443" y="2529"/>
                    <a:pt x="443" y="2527"/>
                    <a:pt x="443" y="2529"/>
                  </a:cubicBezTo>
                  <a:cubicBezTo>
                    <a:pt x="443" y="2529"/>
                    <a:pt x="443" y="2532"/>
                    <a:pt x="446" y="2532"/>
                  </a:cubicBezTo>
                  <a:lnTo>
                    <a:pt x="446" y="2535"/>
                  </a:lnTo>
                  <a:lnTo>
                    <a:pt x="449" y="2535"/>
                  </a:lnTo>
                  <a:lnTo>
                    <a:pt x="455" y="2535"/>
                  </a:lnTo>
                  <a:cubicBezTo>
                    <a:pt x="455" y="2537"/>
                    <a:pt x="456" y="2539"/>
                    <a:pt x="458" y="2541"/>
                  </a:cubicBezTo>
                  <a:lnTo>
                    <a:pt x="460" y="2543"/>
                  </a:lnTo>
                  <a:lnTo>
                    <a:pt x="463" y="2543"/>
                  </a:lnTo>
                  <a:cubicBezTo>
                    <a:pt x="466" y="2560"/>
                    <a:pt x="472" y="2575"/>
                    <a:pt x="480" y="2589"/>
                  </a:cubicBezTo>
                  <a:cubicBezTo>
                    <a:pt x="491" y="2597"/>
                    <a:pt x="503" y="2606"/>
                    <a:pt x="517" y="2608"/>
                  </a:cubicBezTo>
                  <a:cubicBezTo>
                    <a:pt x="522" y="2608"/>
                    <a:pt x="528" y="2606"/>
                    <a:pt x="534" y="2606"/>
                  </a:cubicBezTo>
                  <a:lnTo>
                    <a:pt x="534" y="2611"/>
                  </a:lnTo>
                  <a:cubicBezTo>
                    <a:pt x="542" y="2617"/>
                    <a:pt x="548" y="2625"/>
                    <a:pt x="556" y="2634"/>
                  </a:cubicBezTo>
                  <a:lnTo>
                    <a:pt x="562" y="2634"/>
                  </a:lnTo>
                  <a:cubicBezTo>
                    <a:pt x="562" y="2637"/>
                    <a:pt x="565" y="2639"/>
                    <a:pt x="565" y="2645"/>
                  </a:cubicBezTo>
                  <a:cubicBezTo>
                    <a:pt x="568" y="2665"/>
                    <a:pt x="579" y="2682"/>
                    <a:pt x="593" y="2696"/>
                  </a:cubicBezTo>
                  <a:cubicBezTo>
                    <a:pt x="610" y="2707"/>
                    <a:pt x="630" y="2713"/>
                    <a:pt x="649" y="2710"/>
                  </a:cubicBezTo>
                  <a:lnTo>
                    <a:pt x="666" y="2710"/>
                  </a:lnTo>
                  <a:lnTo>
                    <a:pt x="666" y="2713"/>
                  </a:lnTo>
                  <a:cubicBezTo>
                    <a:pt x="669" y="2713"/>
                    <a:pt x="672" y="2716"/>
                    <a:pt x="675" y="2716"/>
                  </a:cubicBezTo>
                  <a:cubicBezTo>
                    <a:pt x="675" y="2713"/>
                    <a:pt x="675" y="2707"/>
                    <a:pt x="678" y="2704"/>
                  </a:cubicBezTo>
                  <a:cubicBezTo>
                    <a:pt x="683" y="2704"/>
                    <a:pt x="686" y="2704"/>
                    <a:pt x="692" y="2701"/>
                  </a:cubicBezTo>
                  <a:cubicBezTo>
                    <a:pt x="692" y="2704"/>
                    <a:pt x="695" y="2704"/>
                    <a:pt x="695" y="2704"/>
                  </a:cubicBezTo>
                  <a:cubicBezTo>
                    <a:pt x="692" y="2707"/>
                    <a:pt x="689" y="2710"/>
                    <a:pt x="683" y="2713"/>
                  </a:cubicBezTo>
                  <a:cubicBezTo>
                    <a:pt x="686" y="2713"/>
                    <a:pt x="689" y="2716"/>
                    <a:pt x="695" y="2716"/>
                  </a:cubicBezTo>
                  <a:cubicBezTo>
                    <a:pt x="695" y="2718"/>
                    <a:pt x="700" y="2718"/>
                    <a:pt x="700" y="2718"/>
                  </a:cubicBezTo>
                  <a:cubicBezTo>
                    <a:pt x="700" y="2721"/>
                    <a:pt x="695" y="2724"/>
                    <a:pt x="692" y="2724"/>
                  </a:cubicBezTo>
                  <a:lnTo>
                    <a:pt x="695" y="2724"/>
                  </a:lnTo>
                  <a:lnTo>
                    <a:pt x="697" y="2724"/>
                  </a:lnTo>
                  <a:cubicBezTo>
                    <a:pt x="697" y="2727"/>
                    <a:pt x="697" y="2727"/>
                    <a:pt x="700" y="2730"/>
                  </a:cubicBezTo>
                  <a:cubicBezTo>
                    <a:pt x="709" y="2747"/>
                    <a:pt x="723" y="2761"/>
                    <a:pt x="742" y="2769"/>
                  </a:cubicBezTo>
                  <a:cubicBezTo>
                    <a:pt x="745" y="2772"/>
                    <a:pt x="745" y="2775"/>
                    <a:pt x="742" y="2772"/>
                  </a:cubicBezTo>
                  <a:lnTo>
                    <a:pt x="740" y="2772"/>
                  </a:lnTo>
                  <a:cubicBezTo>
                    <a:pt x="751" y="2780"/>
                    <a:pt x="762" y="2786"/>
                    <a:pt x="774" y="2789"/>
                  </a:cubicBezTo>
                  <a:lnTo>
                    <a:pt x="802" y="2789"/>
                  </a:lnTo>
                  <a:cubicBezTo>
                    <a:pt x="805" y="2789"/>
                    <a:pt x="805" y="2792"/>
                    <a:pt x="807" y="2795"/>
                  </a:cubicBezTo>
                  <a:cubicBezTo>
                    <a:pt x="810" y="2797"/>
                    <a:pt x="816" y="2797"/>
                    <a:pt x="819" y="2797"/>
                  </a:cubicBezTo>
                  <a:cubicBezTo>
                    <a:pt x="820" y="2800"/>
                    <a:pt x="822" y="2803"/>
                    <a:pt x="823" y="2806"/>
                  </a:cubicBezTo>
                  <a:cubicBezTo>
                    <a:pt x="824" y="2806"/>
                    <a:pt x="825" y="2806"/>
                    <a:pt x="827" y="2809"/>
                  </a:cubicBezTo>
                  <a:cubicBezTo>
                    <a:pt x="832" y="2816"/>
                    <a:pt x="838" y="2824"/>
                    <a:pt x="845" y="2831"/>
                  </a:cubicBezTo>
                  <a:cubicBezTo>
                    <a:pt x="838" y="2825"/>
                    <a:pt x="832" y="2819"/>
                    <a:pt x="826" y="2812"/>
                  </a:cubicBezTo>
                  <a:cubicBezTo>
                    <a:pt x="830" y="2818"/>
                    <a:pt x="834" y="2824"/>
                    <a:pt x="838" y="2828"/>
                  </a:cubicBezTo>
                  <a:cubicBezTo>
                    <a:pt x="850" y="2840"/>
                    <a:pt x="861" y="2848"/>
                    <a:pt x="875" y="2854"/>
                  </a:cubicBezTo>
                  <a:lnTo>
                    <a:pt x="892" y="2854"/>
                  </a:lnTo>
                  <a:cubicBezTo>
                    <a:pt x="889" y="2854"/>
                    <a:pt x="886" y="2851"/>
                    <a:pt x="884" y="2848"/>
                  </a:cubicBezTo>
                  <a:cubicBezTo>
                    <a:pt x="884" y="2842"/>
                    <a:pt x="901" y="2845"/>
                    <a:pt x="901" y="2848"/>
                  </a:cubicBezTo>
                  <a:cubicBezTo>
                    <a:pt x="901" y="2851"/>
                    <a:pt x="895" y="2854"/>
                    <a:pt x="892" y="2854"/>
                  </a:cubicBezTo>
                  <a:cubicBezTo>
                    <a:pt x="901" y="2854"/>
                    <a:pt x="909" y="2851"/>
                    <a:pt x="915" y="2851"/>
                  </a:cubicBezTo>
                  <a:cubicBezTo>
                    <a:pt x="920" y="2851"/>
                    <a:pt x="926" y="2848"/>
                    <a:pt x="929" y="2848"/>
                  </a:cubicBezTo>
                  <a:lnTo>
                    <a:pt x="932" y="2851"/>
                  </a:lnTo>
                  <a:cubicBezTo>
                    <a:pt x="932" y="2851"/>
                    <a:pt x="929" y="2848"/>
                    <a:pt x="929" y="2845"/>
                  </a:cubicBezTo>
                  <a:lnTo>
                    <a:pt x="937" y="2845"/>
                  </a:lnTo>
                  <a:cubicBezTo>
                    <a:pt x="937" y="2848"/>
                    <a:pt x="934" y="2851"/>
                    <a:pt x="934" y="2854"/>
                  </a:cubicBezTo>
                  <a:lnTo>
                    <a:pt x="937" y="2854"/>
                  </a:lnTo>
                  <a:cubicBezTo>
                    <a:pt x="948" y="2857"/>
                    <a:pt x="957" y="2862"/>
                    <a:pt x="968" y="2865"/>
                  </a:cubicBezTo>
                  <a:cubicBezTo>
                    <a:pt x="974" y="2874"/>
                    <a:pt x="982" y="2882"/>
                    <a:pt x="988" y="2890"/>
                  </a:cubicBezTo>
                  <a:cubicBezTo>
                    <a:pt x="991" y="2893"/>
                    <a:pt x="994" y="2893"/>
                    <a:pt x="996" y="2896"/>
                  </a:cubicBezTo>
                  <a:cubicBezTo>
                    <a:pt x="996" y="2893"/>
                    <a:pt x="994" y="2890"/>
                    <a:pt x="994" y="2885"/>
                  </a:cubicBezTo>
                  <a:cubicBezTo>
                    <a:pt x="996" y="2882"/>
                    <a:pt x="999" y="2882"/>
                    <a:pt x="999" y="2882"/>
                  </a:cubicBezTo>
                  <a:cubicBezTo>
                    <a:pt x="1002" y="2885"/>
                    <a:pt x="1002" y="2893"/>
                    <a:pt x="996" y="2893"/>
                  </a:cubicBezTo>
                  <a:cubicBezTo>
                    <a:pt x="1013" y="2905"/>
                    <a:pt x="1033" y="2910"/>
                    <a:pt x="1050" y="2910"/>
                  </a:cubicBezTo>
                  <a:cubicBezTo>
                    <a:pt x="1061" y="2910"/>
                    <a:pt x="1070" y="2907"/>
                    <a:pt x="1081" y="2905"/>
                  </a:cubicBezTo>
                  <a:cubicBezTo>
                    <a:pt x="1090" y="2907"/>
                    <a:pt x="1098" y="2905"/>
                    <a:pt x="1106" y="2907"/>
                  </a:cubicBezTo>
                  <a:lnTo>
                    <a:pt x="1109" y="2907"/>
                  </a:lnTo>
                  <a:cubicBezTo>
                    <a:pt x="1112" y="2910"/>
                    <a:pt x="1118" y="2913"/>
                    <a:pt x="1118" y="2913"/>
                  </a:cubicBezTo>
                  <a:cubicBezTo>
                    <a:pt x="1126" y="2927"/>
                    <a:pt x="1138" y="2936"/>
                    <a:pt x="1152" y="2941"/>
                  </a:cubicBezTo>
                  <a:cubicBezTo>
                    <a:pt x="1164" y="2945"/>
                    <a:pt x="1177" y="2945"/>
                    <a:pt x="1190" y="2943"/>
                  </a:cubicBezTo>
                  <a:cubicBezTo>
                    <a:pt x="1192" y="2942"/>
                    <a:pt x="1193" y="2942"/>
                    <a:pt x="1195" y="2942"/>
                  </a:cubicBezTo>
                  <a:cubicBezTo>
                    <a:pt x="1200" y="2941"/>
                    <a:pt x="1206" y="2940"/>
                    <a:pt x="1211" y="2938"/>
                  </a:cubicBezTo>
                  <a:cubicBezTo>
                    <a:pt x="1214" y="2938"/>
                    <a:pt x="1217" y="2933"/>
                    <a:pt x="1219" y="2933"/>
                  </a:cubicBezTo>
                  <a:cubicBezTo>
                    <a:pt x="1228" y="2936"/>
                    <a:pt x="1236" y="2938"/>
                    <a:pt x="1245" y="2938"/>
                  </a:cubicBezTo>
                  <a:cubicBezTo>
                    <a:pt x="1256" y="2941"/>
                    <a:pt x="1267" y="2941"/>
                    <a:pt x="1279" y="2944"/>
                  </a:cubicBezTo>
                  <a:cubicBezTo>
                    <a:pt x="1290" y="2947"/>
                    <a:pt x="1301" y="2947"/>
                    <a:pt x="1315" y="2947"/>
                  </a:cubicBezTo>
                  <a:cubicBezTo>
                    <a:pt x="1315" y="2947"/>
                    <a:pt x="1315" y="2950"/>
                    <a:pt x="1318" y="2950"/>
                  </a:cubicBezTo>
                  <a:cubicBezTo>
                    <a:pt x="1321" y="2950"/>
                    <a:pt x="1327" y="2953"/>
                    <a:pt x="1329" y="2953"/>
                  </a:cubicBezTo>
                  <a:lnTo>
                    <a:pt x="1352" y="2953"/>
                  </a:lnTo>
                  <a:cubicBezTo>
                    <a:pt x="1363" y="2953"/>
                    <a:pt x="1375" y="2955"/>
                    <a:pt x="1386" y="2955"/>
                  </a:cubicBezTo>
                  <a:cubicBezTo>
                    <a:pt x="1397" y="2955"/>
                    <a:pt x="1408" y="2958"/>
                    <a:pt x="1417" y="2958"/>
                  </a:cubicBezTo>
                  <a:cubicBezTo>
                    <a:pt x="1420" y="2958"/>
                    <a:pt x="1423" y="2964"/>
                    <a:pt x="1423" y="2964"/>
                  </a:cubicBezTo>
                  <a:cubicBezTo>
                    <a:pt x="1423" y="2961"/>
                    <a:pt x="1420" y="2961"/>
                    <a:pt x="1420" y="2958"/>
                  </a:cubicBezTo>
                  <a:lnTo>
                    <a:pt x="1425" y="2958"/>
                  </a:lnTo>
                  <a:cubicBezTo>
                    <a:pt x="1428" y="2958"/>
                    <a:pt x="1431" y="2961"/>
                    <a:pt x="1434" y="2964"/>
                  </a:cubicBezTo>
                  <a:lnTo>
                    <a:pt x="1462" y="2964"/>
                  </a:lnTo>
                  <a:cubicBezTo>
                    <a:pt x="1473" y="2964"/>
                    <a:pt x="1485" y="2964"/>
                    <a:pt x="1495" y="2958"/>
                  </a:cubicBezTo>
                  <a:lnTo>
                    <a:pt x="1498" y="2955"/>
                  </a:lnTo>
                  <a:lnTo>
                    <a:pt x="1517" y="2955"/>
                  </a:lnTo>
                  <a:lnTo>
                    <a:pt x="1517" y="2955"/>
                  </a:lnTo>
                  <a:lnTo>
                    <a:pt x="1520" y="2955"/>
                  </a:lnTo>
                  <a:lnTo>
                    <a:pt x="1520" y="2956"/>
                  </a:lnTo>
                  <a:cubicBezTo>
                    <a:pt x="1521" y="2957"/>
                    <a:pt x="1521" y="2958"/>
                    <a:pt x="1523" y="2958"/>
                  </a:cubicBezTo>
                  <a:lnTo>
                    <a:pt x="1526" y="2958"/>
                  </a:lnTo>
                  <a:lnTo>
                    <a:pt x="1526" y="2955"/>
                  </a:lnTo>
                  <a:lnTo>
                    <a:pt x="1563" y="2955"/>
                  </a:lnTo>
                  <a:cubicBezTo>
                    <a:pt x="1565" y="2955"/>
                    <a:pt x="1571" y="2953"/>
                    <a:pt x="1574" y="2953"/>
                  </a:cubicBezTo>
                  <a:cubicBezTo>
                    <a:pt x="1580" y="2955"/>
                    <a:pt x="1585" y="2961"/>
                    <a:pt x="1594" y="2964"/>
                  </a:cubicBezTo>
                  <a:cubicBezTo>
                    <a:pt x="1598" y="2965"/>
                    <a:pt x="1602" y="2967"/>
                    <a:pt x="1607" y="2968"/>
                  </a:cubicBezTo>
                  <a:cubicBezTo>
                    <a:pt x="1601" y="2965"/>
                    <a:pt x="1596" y="2962"/>
                    <a:pt x="1591" y="2958"/>
                  </a:cubicBezTo>
                  <a:cubicBezTo>
                    <a:pt x="1596" y="2958"/>
                    <a:pt x="1599" y="2961"/>
                    <a:pt x="1605" y="2961"/>
                  </a:cubicBezTo>
                  <a:cubicBezTo>
                    <a:pt x="1605" y="2958"/>
                    <a:pt x="1605" y="2955"/>
                    <a:pt x="1599" y="2955"/>
                  </a:cubicBezTo>
                  <a:cubicBezTo>
                    <a:pt x="1602" y="2953"/>
                    <a:pt x="1608" y="2953"/>
                    <a:pt x="1608" y="2958"/>
                  </a:cubicBezTo>
                  <a:lnTo>
                    <a:pt x="1639" y="2958"/>
                  </a:lnTo>
                  <a:cubicBezTo>
                    <a:pt x="1650" y="2958"/>
                    <a:pt x="1661" y="2953"/>
                    <a:pt x="1673" y="2953"/>
                  </a:cubicBezTo>
                  <a:cubicBezTo>
                    <a:pt x="1676" y="2953"/>
                    <a:pt x="1679" y="2954"/>
                    <a:pt x="1682" y="2954"/>
                  </a:cubicBezTo>
                  <a:cubicBezTo>
                    <a:pt x="1683" y="2953"/>
                    <a:pt x="1683" y="2953"/>
                    <a:pt x="1684" y="2953"/>
                  </a:cubicBezTo>
                  <a:cubicBezTo>
                    <a:pt x="1690" y="2950"/>
                    <a:pt x="1698" y="2947"/>
                    <a:pt x="1701" y="2944"/>
                  </a:cubicBezTo>
                  <a:lnTo>
                    <a:pt x="1704" y="2944"/>
                  </a:lnTo>
                  <a:cubicBezTo>
                    <a:pt x="1709" y="2944"/>
                    <a:pt x="1715" y="2938"/>
                    <a:pt x="1723" y="2938"/>
                  </a:cubicBezTo>
                  <a:cubicBezTo>
                    <a:pt x="1729" y="2941"/>
                    <a:pt x="1738" y="2944"/>
                    <a:pt x="1743" y="2947"/>
                  </a:cubicBezTo>
                  <a:cubicBezTo>
                    <a:pt x="1757" y="2950"/>
                    <a:pt x="1771" y="2950"/>
                    <a:pt x="1786" y="2944"/>
                  </a:cubicBezTo>
                  <a:cubicBezTo>
                    <a:pt x="1800" y="2941"/>
                    <a:pt x="1814" y="2933"/>
                    <a:pt x="1825" y="2919"/>
                  </a:cubicBezTo>
                  <a:cubicBezTo>
                    <a:pt x="1831" y="2919"/>
                    <a:pt x="1836" y="2916"/>
                    <a:pt x="1842" y="2916"/>
                  </a:cubicBezTo>
                  <a:lnTo>
                    <a:pt x="1876" y="2907"/>
                  </a:lnTo>
                  <a:cubicBezTo>
                    <a:pt x="1884" y="2905"/>
                    <a:pt x="1890" y="2902"/>
                    <a:pt x="1898" y="2902"/>
                  </a:cubicBezTo>
                  <a:cubicBezTo>
                    <a:pt x="1907" y="2905"/>
                    <a:pt x="1918" y="2907"/>
                    <a:pt x="1927" y="2907"/>
                  </a:cubicBezTo>
                  <a:cubicBezTo>
                    <a:pt x="1941" y="2905"/>
                    <a:pt x="1955" y="2899"/>
                    <a:pt x="1966" y="2890"/>
                  </a:cubicBezTo>
                  <a:cubicBezTo>
                    <a:pt x="1975" y="2888"/>
                    <a:pt x="1980" y="2882"/>
                    <a:pt x="1989" y="2876"/>
                  </a:cubicBezTo>
                  <a:cubicBezTo>
                    <a:pt x="1994" y="2874"/>
                    <a:pt x="2000" y="2868"/>
                    <a:pt x="2006" y="2868"/>
                  </a:cubicBezTo>
                  <a:cubicBezTo>
                    <a:pt x="2003" y="2874"/>
                    <a:pt x="2000" y="2876"/>
                    <a:pt x="1997" y="2882"/>
                  </a:cubicBezTo>
                  <a:cubicBezTo>
                    <a:pt x="1977" y="2902"/>
                    <a:pt x="1952" y="2916"/>
                    <a:pt x="1921" y="2919"/>
                  </a:cubicBezTo>
                  <a:cubicBezTo>
                    <a:pt x="1946" y="2919"/>
                    <a:pt x="1972" y="2907"/>
                    <a:pt x="1991" y="2890"/>
                  </a:cubicBezTo>
                  <a:cubicBezTo>
                    <a:pt x="1997" y="2885"/>
                    <a:pt x="2003" y="2876"/>
                    <a:pt x="2008" y="2868"/>
                  </a:cubicBezTo>
                  <a:lnTo>
                    <a:pt x="2011" y="2868"/>
                  </a:lnTo>
                  <a:cubicBezTo>
                    <a:pt x="2020" y="2865"/>
                    <a:pt x="2025" y="2862"/>
                    <a:pt x="2034" y="2859"/>
                  </a:cubicBezTo>
                  <a:cubicBezTo>
                    <a:pt x="2048" y="2859"/>
                    <a:pt x="2059" y="2857"/>
                    <a:pt x="2073" y="2851"/>
                  </a:cubicBezTo>
                  <a:cubicBezTo>
                    <a:pt x="2087" y="2845"/>
                    <a:pt x="2099" y="2840"/>
                    <a:pt x="2107" y="2828"/>
                  </a:cubicBezTo>
                  <a:lnTo>
                    <a:pt x="2110" y="2828"/>
                  </a:lnTo>
                  <a:cubicBezTo>
                    <a:pt x="2121" y="2823"/>
                    <a:pt x="2130" y="2815"/>
                    <a:pt x="2141" y="2809"/>
                  </a:cubicBezTo>
                  <a:cubicBezTo>
                    <a:pt x="2152" y="2804"/>
                    <a:pt x="2164" y="2800"/>
                    <a:pt x="2172" y="2795"/>
                  </a:cubicBezTo>
                  <a:lnTo>
                    <a:pt x="2178" y="2795"/>
                  </a:lnTo>
                  <a:cubicBezTo>
                    <a:pt x="2192" y="2797"/>
                    <a:pt x="2206" y="2797"/>
                    <a:pt x="2217" y="2795"/>
                  </a:cubicBezTo>
                  <a:cubicBezTo>
                    <a:pt x="2231" y="2789"/>
                    <a:pt x="2245" y="2780"/>
                    <a:pt x="2254" y="2772"/>
                  </a:cubicBezTo>
                  <a:cubicBezTo>
                    <a:pt x="2265" y="2764"/>
                    <a:pt x="2274" y="2752"/>
                    <a:pt x="2279" y="2738"/>
                  </a:cubicBezTo>
                  <a:lnTo>
                    <a:pt x="2276" y="2735"/>
                  </a:lnTo>
                  <a:cubicBezTo>
                    <a:pt x="2282" y="2732"/>
                    <a:pt x="2291" y="2730"/>
                    <a:pt x="2296" y="2724"/>
                  </a:cubicBezTo>
                  <a:lnTo>
                    <a:pt x="2299" y="2721"/>
                  </a:lnTo>
                  <a:cubicBezTo>
                    <a:pt x="2293" y="2721"/>
                    <a:pt x="2291" y="2713"/>
                    <a:pt x="2291" y="2707"/>
                  </a:cubicBezTo>
                  <a:lnTo>
                    <a:pt x="2299" y="2707"/>
                  </a:lnTo>
                  <a:lnTo>
                    <a:pt x="2299" y="2721"/>
                  </a:lnTo>
                  <a:cubicBezTo>
                    <a:pt x="2308" y="2716"/>
                    <a:pt x="2313" y="2707"/>
                    <a:pt x="2322" y="2701"/>
                  </a:cubicBezTo>
                  <a:lnTo>
                    <a:pt x="2324" y="2704"/>
                  </a:lnTo>
                  <a:cubicBezTo>
                    <a:pt x="2339" y="2699"/>
                    <a:pt x="2347" y="2690"/>
                    <a:pt x="2355" y="2679"/>
                  </a:cubicBezTo>
                  <a:cubicBezTo>
                    <a:pt x="2361" y="2676"/>
                    <a:pt x="2364" y="2670"/>
                    <a:pt x="2370" y="2668"/>
                  </a:cubicBezTo>
                  <a:lnTo>
                    <a:pt x="2370" y="2670"/>
                  </a:lnTo>
                  <a:cubicBezTo>
                    <a:pt x="2364" y="2682"/>
                    <a:pt x="2355" y="2693"/>
                    <a:pt x="2344" y="2699"/>
                  </a:cubicBezTo>
                  <a:cubicBezTo>
                    <a:pt x="2358" y="2693"/>
                    <a:pt x="2370" y="2682"/>
                    <a:pt x="2375" y="2668"/>
                  </a:cubicBezTo>
                  <a:lnTo>
                    <a:pt x="2378" y="2665"/>
                  </a:lnTo>
                  <a:lnTo>
                    <a:pt x="2381" y="2665"/>
                  </a:lnTo>
                  <a:cubicBezTo>
                    <a:pt x="2384" y="2665"/>
                    <a:pt x="2387" y="2662"/>
                    <a:pt x="2387" y="2662"/>
                  </a:cubicBezTo>
                  <a:cubicBezTo>
                    <a:pt x="2395" y="2656"/>
                    <a:pt x="2401" y="2648"/>
                    <a:pt x="2409" y="2642"/>
                  </a:cubicBezTo>
                  <a:cubicBezTo>
                    <a:pt x="2415" y="2637"/>
                    <a:pt x="2418" y="2631"/>
                    <a:pt x="2426" y="2625"/>
                  </a:cubicBezTo>
                  <a:cubicBezTo>
                    <a:pt x="2426" y="2625"/>
                    <a:pt x="2429" y="2628"/>
                    <a:pt x="2429" y="2625"/>
                  </a:cubicBezTo>
                  <a:cubicBezTo>
                    <a:pt x="2434" y="2625"/>
                    <a:pt x="2440" y="2622"/>
                    <a:pt x="2446" y="2622"/>
                  </a:cubicBezTo>
                  <a:cubicBezTo>
                    <a:pt x="2460" y="2620"/>
                    <a:pt x="2471" y="2614"/>
                    <a:pt x="2482" y="2606"/>
                  </a:cubicBezTo>
                  <a:cubicBezTo>
                    <a:pt x="2494" y="2597"/>
                    <a:pt x="2502" y="2586"/>
                    <a:pt x="2505" y="2572"/>
                  </a:cubicBezTo>
                  <a:cubicBezTo>
                    <a:pt x="2507" y="2565"/>
                    <a:pt x="2511" y="2558"/>
                    <a:pt x="2513" y="2552"/>
                  </a:cubicBezTo>
                  <a:cubicBezTo>
                    <a:pt x="2512" y="2552"/>
                    <a:pt x="2511" y="2552"/>
                    <a:pt x="2511" y="2552"/>
                  </a:cubicBezTo>
                  <a:cubicBezTo>
                    <a:pt x="2511" y="2551"/>
                    <a:pt x="2512" y="2551"/>
                    <a:pt x="2513" y="2550"/>
                  </a:cubicBezTo>
                  <a:cubicBezTo>
                    <a:pt x="2513" y="2549"/>
                    <a:pt x="2513" y="2547"/>
                    <a:pt x="2513" y="2546"/>
                  </a:cubicBezTo>
                  <a:lnTo>
                    <a:pt x="2513" y="2543"/>
                  </a:lnTo>
                  <a:cubicBezTo>
                    <a:pt x="2516" y="2541"/>
                    <a:pt x="2519" y="2541"/>
                    <a:pt x="2522" y="2538"/>
                  </a:cubicBezTo>
                  <a:lnTo>
                    <a:pt x="2519" y="2538"/>
                  </a:lnTo>
                  <a:cubicBezTo>
                    <a:pt x="2519" y="2535"/>
                    <a:pt x="2522" y="2535"/>
                    <a:pt x="2522" y="2538"/>
                  </a:cubicBezTo>
                  <a:cubicBezTo>
                    <a:pt x="2528" y="2532"/>
                    <a:pt x="2533" y="2527"/>
                    <a:pt x="2536" y="2521"/>
                  </a:cubicBezTo>
                  <a:cubicBezTo>
                    <a:pt x="2547" y="2518"/>
                    <a:pt x="2559" y="2510"/>
                    <a:pt x="2570" y="2501"/>
                  </a:cubicBezTo>
                  <a:cubicBezTo>
                    <a:pt x="2578" y="2490"/>
                    <a:pt x="2587" y="2479"/>
                    <a:pt x="2590" y="2467"/>
                  </a:cubicBezTo>
                  <a:cubicBezTo>
                    <a:pt x="2590" y="2465"/>
                    <a:pt x="2593" y="2465"/>
                    <a:pt x="2593" y="2462"/>
                  </a:cubicBezTo>
                  <a:lnTo>
                    <a:pt x="2593" y="2459"/>
                  </a:lnTo>
                  <a:lnTo>
                    <a:pt x="2587" y="2456"/>
                  </a:lnTo>
                  <a:cubicBezTo>
                    <a:pt x="2590" y="2448"/>
                    <a:pt x="2590" y="2439"/>
                    <a:pt x="2590" y="2431"/>
                  </a:cubicBezTo>
                  <a:cubicBezTo>
                    <a:pt x="2590" y="2422"/>
                    <a:pt x="2587" y="2414"/>
                    <a:pt x="2584" y="2405"/>
                  </a:cubicBezTo>
                  <a:cubicBezTo>
                    <a:pt x="2587" y="2405"/>
                    <a:pt x="2595" y="2408"/>
                    <a:pt x="2598" y="2408"/>
                  </a:cubicBezTo>
                  <a:lnTo>
                    <a:pt x="2601" y="2408"/>
                  </a:lnTo>
                  <a:cubicBezTo>
                    <a:pt x="2601" y="2411"/>
                    <a:pt x="2598" y="2414"/>
                    <a:pt x="2598" y="2417"/>
                  </a:cubicBezTo>
                  <a:lnTo>
                    <a:pt x="2604" y="2417"/>
                  </a:lnTo>
                  <a:cubicBezTo>
                    <a:pt x="2604" y="2419"/>
                    <a:pt x="2601" y="2419"/>
                    <a:pt x="2598" y="2422"/>
                  </a:cubicBezTo>
                  <a:lnTo>
                    <a:pt x="2598" y="2450"/>
                  </a:lnTo>
                  <a:cubicBezTo>
                    <a:pt x="2601" y="2445"/>
                    <a:pt x="2609" y="2442"/>
                    <a:pt x="2612" y="2436"/>
                  </a:cubicBezTo>
                  <a:cubicBezTo>
                    <a:pt x="2621" y="2428"/>
                    <a:pt x="2624" y="2414"/>
                    <a:pt x="2632" y="2405"/>
                  </a:cubicBezTo>
                  <a:lnTo>
                    <a:pt x="2638" y="2405"/>
                  </a:lnTo>
                  <a:cubicBezTo>
                    <a:pt x="2646" y="2402"/>
                    <a:pt x="2657" y="2397"/>
                    <a:pt x="2663" y="2391"/>
                  </a:cubicBezTo>
                  <a:cubicBezTo>
                    <a:pt x="2674" y="2386"/>
                    <a:pt x="2686" y="2374"/>
                    <a:pt x="2694" y="2363"/>
                  </a:cubicBezTo>
                  <a:cubicBezTo>
                    <a:pt x="2703" y="2346"/>
                    <a:pt x="2708" y="2326"/>
                    <a:pt x="2705" y="2307"/>
                  </a:cubicBezTo>
                  <a:cubicBezTo>
                    <a:pt x="2711" y="2298"/>
                    <a:pt x="2711" y="2290"/>
                    <a:pt x="2717" y="2284"/>
                  </a:cubicBezTo>
                  <a:lnTo>
                    <a:pt x="2719" y="2287"/>
                  </a:lnTo>
                  <a:cubicBezTo>
                    <a:pt x="2736" y="2278"/>
                    <a:pt x="2748" y="2264"/>
                    <a:pt x="2756" y="2247"/>
                  </a:cubicBezTo>
                  <a:cubicBezTo>
                    <a:pt x="2758" y="2245"/>
                    <a:pt x="2763" y="2245"/>
                    <a:pt x="2763" y="2248"/>
                  </a:cubicBezTo>
                  <a:cubicBezTo>
                    <a:pt x="2768" y="2238"/>
                    <a:pt x="2771" y="2228"/>
                    <a:pt x="2773" y="2216"/>
                  </a:cubicBezTo>
                  <a:cubicBezTo>
                    <a:pt x="2776" y="2208"/>
                    <a:pt x="2776" y="2199"/>
                    <a:pt x="2776" y="2188"/>
                  </a:cubicBezTo>
                  <a:lnTo>
                    <a:pt x="2793" y="2154"/>
                  </a:lnTo>
                  <a:cubicBezTo>
                    <a:pt x="2796" y="2151"/>
                    <a:pt x="2793" y="2143"/>
                    <a:pt x="2796" y="2140"/>
                  </a:cubicBezTo>
                  <a:cubicBezTo>
                    <a:pt x="2798" y="2140"/>
                    <a:pt x="2804" y="2137"/>
                    <a:pt x="2807" y="2134"/>
                  </a:cubicBezTo>
                  <a:cubicBezTo>
                    <a:pt x="2804" y="2134"/>
                    <a:pt x="2804" y="2132"/>
                    <a:pt x="2801" y="2129"/>
                  </a:cubicBezTo>
                  <a:cubicBezTo>
                    <a:pt x="2801" y="2126"/>
                    <a:pt x="2807" y="2123"/>
                    <a:pt x="2807" y="2120"/>
                  </a:cubicBezTo>
                  <a:lnTo>
                    <a:pt x="2804" y="2118"/>
                  </a:lnTo>
                  <a:cubicBezTo>
                    <a:pt x="2813" y="2115"/>
                    <a:pt x="2818" y="2118"/>
                    <a:pt x="2824" y="2126"/>
                  </a:cubicBezTo>
                  <a:cubicBezTo>
                    <a:pt x="2830" y="2120"/>
                    <a:pt x="2832" y="2118"/>
                    <a:pt x="2835" y="2112"/>
                  </a:cubicBezTo>
                  <a:cubicBezTo>
                    <a:pt x="2844" y="2101"/>
                    <a:pt x="2846" y="2087"/>
                    <a:pt x="2846" y="2072"/>
                  </a:cubicBezTo>
                  <a:cubicBezTo>
                    <a:pt x="2848" y="2069"/>
                    <a:pt x="2849" y="2066"/>
                    <a:pt x="2849" y="2063"/>
                  </a:cubicBezTo>
                  <a:cubicBezTo>
                    <a:pt x="2848" y="2064"/>
                    <a:pt x="2846" y="2064"/>
                    <a:pt x="2844" y="2064"/>
                  </a:cubicBezTo>
                  <a:cubicBezTo>
                    <a:pt x="2844" y="2061"/>
                    <a:pt x="2846" y="2058"/>
                    <a:pt x="2846" y="2056"/>
                  </a:cubicBezTo>
                  <a:cubicBezTo>
                    <a:pt x="2843" y="2053"/>
                    <a:pt x="2839" y="2051"/>
                    <a:pt x="2835" y="2053"/>
                  </a:cubicBezTo>
                  <a:cubicBezTo>
                    <a:pt x="2838" y="2047"/>
                    <a:pt x="2838" y="2041"/>
                    <a:pt x="2838" y="2039"/>
                  </a:cubicBezTo>
                  <a:cubicBezTo>
                    <a:pt x="2841" y="2039"/>
                    <a:pt x="2844" y="2041"/>
                    <a:pt x="2846" y="2041"/>
                  </a:cubicBezTo>
                  <a:cubicBezTo>
                    <a:pt x="2846" y="2039"/>
                    <a:pt x="2846" y="2039"/>
                    <a:pt x="2844" y="2036"/>
                  </a:cubicBezTo>
                  <a:lnTo>
                    <a:pt x="2844" y="2030"/>
                  </a:lnTo>
                  <a:cubicBezTo>
                    <a:pt x="2844" y="2027"/>
                    <a:pt x="2844" y="2022"/>
                    <a:pt x="2846" y="2019"/>
                  </a:cubicBezTo>
                  <a:cubicBezTo>
                    <a:pt x="2846" y="2016"/>
                    <a:pt x="2849" y="2016"/>
                    <a:pt x="2849" y="2013"/>
                  </a:cubicBezTo>
                  <a:cubicBezTo>
                    <a:pt x="2858" y="2008"/>
                    <a:pt x="2866" y="1999"/>
                    <a:pt x="2875" y="1991"/>
                  </a:cubicBezTo>
                  <a:cubicBezTo>
                    <a:pt x="2877" y="1988"/>
                    <a:pt x="2875" y="1985"/>
                    <a:pt x="2877" y="1982"/>
                  </a:cubicBezTo>
                  <a:lnTo>
                    <a:pt x="2869" y="1982"/>
                  </a:lnTo>
                  <a:cubicBezTo>
                    <a:pt x="2866" y="1979"/>
                    <a:pt x="2866" y="1977"/>
                    <a:pt x="2866" y="1974"/>
                  </a:cubicBezTo>
                  <a:cubicBezTo>
                    <a:pt x="2868" y="1972"/>
                    <a:pt x="2874" y="1971"/>
                    <a:pt x="2877" y="1973"/>
                  </a:cubicBezTo>
                  <a:lnTo>
                    <a:pt x="2877" y="1974"/>
                  </a:lnTo>
                  <a:lnTo>
                    <a:pt x="2877" y="1973"/>
                  </a:lnTo>
                  <a:cubicBezTo>
                    <a:pt x="2879" y="1973"/>
                    <a:pt x="2880" y="1975"/>
                    <a:pt x="2880" y="1977"/>
                  </a:cubicBezTo>
                  <a:cubicBezTo>
                    <a:pt x="2892" y="1960"/>
                    <a:pt x="2897" y="1943"/>
                    <a:pt x="2897" y="1923"/>
                  </a:cubicBezTo>
                  <a:cubicBezTo>
                    <a:pt x="2897" y="1912"/>
                    <a:pt x="2892" y="1900"/>
                    <a:pt x="2889" y="1892"/>
                  </a:cubicBezTo>
                  <a:cubicBezTo>
                    <a:pt x="2889" y="1886"/>
                    <a:pt x="2892" y="1883"/>
                    <a:pt x="2894" y="1878"/>
                  </a:cubicBezTo>
                  <a:lnTo>
                    <a:pt x="2894" y="1875"/>
                  </a:lnTo>
                  <a:lnTo>
                    <a:pt x="2886" y="1883"/>
                  </a:lnTo>
                  <a:cubicBezTo>
                    <a:pt x="2883" y="1883"/>
                    <a:pt x="2880" y="1883"/>
                    <a:pt x="2880" y="1886"/>
                  </a:cubicBezTo>
                  <a:cubicBezTo>
                    <a:pt x="2880" y="1884"/>
                    <a:pt x="2882" y="1884"/>
                    <a:pt x="2884" y="1882"/>
                  </a:cubicBezTo>
                  <a:lnTo>
                    <a:pt x="2886" y="1883"/>
                  </a:lnTo>
                  <a:lnTo>
                    <a:pt x="2884" y="1882"/>
                  </a:lnTo>
                  <a:cubicBezTo>
                    <a:pt x="2885" y="1882"/>
                    <a:pt x="2885" y="1881"/>
                    <a:pt x="2886" y="1881"/>
                  </a:cubicBezTo>
                  <a:cubicBezTo>
                    <a:pt x="2886" y="1878"/>
                    <a:pt x="2880" y="1875"/>
                    <a:pt x="2880" y="1872"/>
                  </a:cubicBezTo>
                  <a:cubicBezTo>
                    <a:pt x="2886" y="1869"/>
                    <a:pt x="2894" y="1864"/>
                    <a:pt x="2894" y="1861"/>
                  </a:cubicBezTo>
                  <a:cubicBezTo>
                    <a:pt x="2894" y="1861"/>
                    <a:pt x="2897" y="1864"/>
                    <a:pt x="2897" y="1866"/>
                  </a:cubicBezTo>
                  <a:cubicBezTo>
                    <a:pt x="2900" y="1861"/>
                    <a:pt x="2897" y="1852"/>
                    <a:pt x="2900" y="1847"/>
                  </a:cubicBezTo>
                  <a:lnTo>
                    <a:pt x="2909" y="1847"/>
                  </a:lnTo>
                  <a:cubicBezTo>
                    <a:pt x="2914" y="1844"/>
                    <a:pt x="2917" y="1841"/>
                    <a:pt x="2923" y="1835"/>
                  </a:cubicBezTo>
                  <a:cubicBezTo>
                    <a:pt x="2924" y="1833"/>
                    <a:pt x="2926" y="1831"/>
                    <a:pt x="2927" y="1829"/>
                  </a:cubicBezTo>
                  <a:cubicBezTo>
                    <a:pt x="2923" y="1830"/>
                    <a:pt x="2919" y="1830"/>
                    <a:pt x="2917" y="1833"/>
                  </a:cubicBezTo>
                  <a:cubicBezTo>
                    <a:pt x="2917" y="1827"/>
                    <a:pt x="2920" y="1821"/>
                    <a:pt x="2923" y="1816"/>
                  </a:cubicBezTo>
                  <a:cubicBezTo>
                    <a:pt x="2920" y="1819"/>
                    <a:pt x="2920" y="1816"/>
                    <a:pt x="2920" y="1816"/>
                  </a:cubicBezTo>
                  <a:cubicBezTo>
                    <a:pt x="2914" y="1813"/>
                    <a:pt x="2920" y="1813"/>
                    <a:pt x="2923" y="1813"/>
                  </a:cubicBezTo>
                  <a:cubicBezTo>
                    <a:pt x="2920" y="1804"/>
                    <a:pt x="2909" y="1796"/>
                    <a:pt x="2923" y="1790"/>
                  </a:cubicBezTo>
                  <a:lnTo>
                    <a:pt x="2925" y="1793"/>
                  </a:lnTo>
                  <a:lnTo>
                    <a:pt x="2923" y="1793"/>
                  </a:lnTo>
                  <a:lnTo>
                    <a:pt x="2930" y="1823"/>
                  </a:lnTo>
                  <a:cubicBezTo>
                    <a:pt x="2933" y="1815"/>
                    <a:pt x="2935" y="1808"/>
                    <a:pt x="2937" y="1799"/>
                  </a:cubicBezTo>
                  <a:cubicBezTo>
                    <a:pt x="2942" y="1788"/>
                    <a:pt x="2942" y="1773"/>
                    <a:pt x="2940" y="1759"/>
                  </a:cubicBezTo>
                  <a:lnTo>
                    <a:pt x="2934" y="1759"/>
                  </a:lnTo>
                  <a:cubicBezTo>
                    <a:pt x="2934" y="1759"/>
                    <a:pt x="2937" y="1756"/>
                    <a:pt x="2934" y="1756"/>
                  </a:cubicBezTo>
                  <a:lnTo>
                    <a:pt x="2934" y="1754"/>
                  </a:lnTo>
                  <a:cubicBezTo>
                    <a:pt x="2931" y="1745"/>
                    <a:pt x="2925" y="1737"/>
                    <a:pt x="2920" y="1728"/>
                  </a:cubicBezTo>
                  <a:cubicBezTo>
                    <a:pt x="2920" y="1720"/>
                    <a:pt x="2923" y="1711"/>
                    <a:pt x="2923" y="1703"/>
                  </a:cubicBezTo>
                  <a:cubicBezTo>
                    <a:pt x="2923" y="1697"/>
                    <a:pt x="2928" y="1692"/>
                    <a:pt x="2928" y="1683"/>
                  </a:cubicBezTo>
                  <a:lnTo>
                    <a:pt x="2928" y="1680"/>
                  </a:lnTo>
                  <a:lnTo>
                    <a:pt x="2928" y="1675"/>
                  </a:lnTo>
                  <a:cubicBezTo>
                    <a:pt x="2934" y="1661"/>
                    <a:pt x="2934" y="1646"/>
                    <a:pt x="2931" y="1632"/>
                  </a:cubicBezTo>
                  <a:lnTo>
                    <a:pt x="2928" y="1632"/>
                  </a:lnTo>
                  <a:cubicBezTo>
                    <a:pt x="2928" y="1627"/>
                    <a:pt x="2931" y="1618"/>
                    <a:pt x="2931" y="1613"/>
                  </a:cubicBezTo>
                  <a:cubicBezTo>
                    <a:pt x="2931" y="1610"/>
                    <a:pt x="2934" y="1610"/>
                    <a:pt x="2934" y="1607"/>
                  </a:cubicBezTo>
                  <a:lnTo>
                    <a:pt x="2934" y="1599"/>
                  </a:lnTo>
                  <a:lnTo>
                    <a:pt x="2934" y="1573"/>
                  </a:lnTo>
                  <a:cubicBezTo>
                    <a:pt x="2931" y="1576"/>
                    <a:pt x="2928" y="1576"/>
                    <a:pt x="2925" y="1573"/>
                  </a:cubicBezTo>
                  <a:cubicBezTo>
                    <a:pt x="2928" y="1565"/>
                    <a:pt x="2931" y="1567"/>
                    <a:pt x="2934" y="1562"/>
                  </a:cubicBezTo>
                  <a:lnTo>
                    <a:pt x="2931" y="1562"/>
                  </a:lnTo>
                  <a:lnTo>
                    <a:pt x="2931" y="1531"/>
                  </a:lnTo>
                  <a:lnTo>
                    <a:pt x="2931" y="1500"/>
                  </a:lnTo>
                  <a:cubicBezTo>
                    <a:pt x="2931" y="1497"/>
                    <a:pt x="2931" y="1494"/>
                    <a:pt x="2934" y="1494"/>
                  </a:cubicBezTo>
                  <a:lnTo>
                    <a:pt x="2934" y="1461"/>
                  </a:lnTo>
                  <a:cubicBezTo>
                    <a:pt x="2934" y="1453"/>
                    <a:pt x="2937" y="1447"/>
                    <a:pt x="2934" y="1439"/>
                  </a:cubicBezTo>
                  <a:cubicBezTo>
                    <a:pt x="2928" y="1442"/>
                    <a:pt x="2925" y="1442"/>
                    <a:pt x="2920" y="1442"/>
                  </a:cubicBezTo>
                  <a:cubicBezTo>
                    <a:pt x="2920" y="1433"/>
                    <a:pt x="2925" y="1433"/>
                    <a:pt x="2928" y="1433"/>
                  </a:cubicBezTo>
                  <a:cubicBezTo>
                    <a:pt x="2962" y="1439"/>
                    <a:pt x="2973" y="1453"/>
                    <a:pt x="2982" y="1467"/>
                  </a:cubicBezTo>
                  <a:close/>
                  <a:moveTo>
                    <a:pt x="2875" y="982"/>
                  </a:moveTo>
                  <a:cubicBezTo>
                    <a:pt x="2886" y="993"/>
                    <a:pt x="2897" y="1007"/>
                    <a:pt x="2903" y="1021"/>
                  </a:cubicBezTo>
                  <a:cubicBezTo>
                    <a:pt x="2906" y="1033"/>
                    <a:pt x="2909" y="1044"/>
                    <a:pt x="2909" y="1055"/>
                  </a:cubicBezTo>
                  <a:cubicBezTo>
                    <a:pt x="2909" y="1044"/>
                    <a:pt x="2906" y="1033"/>
                    <a:pt x="2900" y="1021"/>
                  </a:cubicBezTo>
                  <a:cubicBezTo>
                    <a:pt x="2894" y="1007"/>
                    <a:pt x="2886" y="996"/>
                    <a:pt x="2877" y="987"/>
                  </a:cubicBezTo>
                  <a:cubicBezTo>
                    <a:pt x="2872" y="982"/>
                    <a:pt x="2866" y="976"/>
                    <a:pt x="2859" y="971"/>
                  </a:cubicBezTo>
                  <a:cubicBezTo>
                    <a:pt x="2864" y="974"/>
                    <a:pt x="2869" y="978"/>
                    <a:pt x="2875" y="982"/>
                  </a:cubicBezTo>
                  <a:close/>
                  <a:moveTo>
                    <a:pt x="2528" y="466"/>
                  </a:moveTo>
                  <a:lnTo>
                    <a:pt x="2528" y="466"/>
                  </a:lnTo>
                  <a:cubicBezTo>
                    <a:pt x="2530" y="466"/>
                    <a:pt x="2530" y="466"/>
                    <a:pt x="2533" y="463"/>
                  </a:cubicBezTo>
                  <a:cubicBezTo>
                    <a:pt x="2536" y="463"/>
                    <a:pt x="2539" y="464"/>
                    <a:pt x="2540" y="467"/>
                  </a:cubicBezTo>
                  <a:cubicBezTo>
                    <a:pt x="2536" y="466"/>
                    <a:pt x="2532" y="466"/>
                    <a:pt x="2528" y="466"/>
                  </a:cubicBezTo>
                  <a:close/>
                  <a:moveTo>
                    <a:pt x="2486" y="415"/>
                  </a:moveTo>
                  <a:cubicBezTo>
                    <a:pt x="2488" y="415"/>
                    <a:pt x="2488" y="418"/>
                    <a:pt x="2491" y="418"/>
                  </a:cubicBezTo>
                  <a:lnTo>
                    <a:pt x="2491" y="426"/>
                  </a:lnTo>
                  <a:cubicBezTo>
                    <a:pt x="2490" y="425"/>
                    <a:pt x="2489" y="423"/>
                    <a:pt x="2488" y="420"/>
                  </a:cubicBezTo>
                  <a:cubicBezTo>
                    <a:pt x="2488" y="419"/>
                    <a:pt x="2487" y="417"/>
                    <a:pt x="2486" y="416"/>
                  </a:cubicBezTo>
                  <a:cubicBezTo>
                    <a:pt x="2486" y="415"/>
                    <a:pt x="2486" y="415"/>
                    <a:pt x="2486" y="415"/>
                  </a:cubicBezTo>
                  <a:close/>
                  <a:moveTo>
                    <a:pt x="768" y="212"/>
                  </a:moveTo>
                  <a:lnTo>
                    <a:pt x="765" y="209"/>
                  </a:lnTo>
                  <a:cubicBezTo>
                    <a:pt x="766" y="208"/>
                    <a:pt x="768" y="208"/>
                    <a:pt x="769" y="208"/>
                  </a:cubicBezTo>
                  <a:cubicBezTo>
                    <a:pt x="769" y="209"/>
                    <a:pt x="769" y="211"/>
                    <a:pt x="768" y="212"/>
                  </a:cubicBezTo>
                  <a:close/>
                  <a:moveTo>
                    <a:pt x="463" y="463"/>
                  </a:moveTo>
                  <a:lnTo>
                    <a:pt x="460" y="463"/>
                  </a:lnTo>
                  <a:cubicBezTo>
                    <a:pt x="461" y="462"/>
                    <a:pt x="462" y="461"/>
                    <a:pt x="464" y="462"/>
                  </a:cubicBezTo>
                  <a:cubicBezTo>
                    <a:pt x="464" y="462"/>
                    <a:pt x="463" y="462"/>
                    <a:pt x="463" y="463"/>
                  </a:cubicBezTo>
                  <a:close/>
                  <a:moveTo>
                    <a:pt x="412" y="502"/>
                  </a:moveTo>
                  <a:cubicBezTo>
                    <a:pt x="411" y="503"/>
                    <a:pt x="409" y="504"/>
                    <a:pt x="408" y="505"/>
                  </a:cubicBezTo>
                  <a:cubicBezTo>
                    <a:pt x="408" y="504"/>
                    <a:pt x="409" y="503"/>
                    <a:pt x="410" y="502"/>
                  </a:cubicBezTo>
                  <a:cubicBezTo>
                    <a:pt x="412" y="499"/>
                    <a:pt x="415" y="499"/>
                    <a:pt x="421" y="499"/>
                  </a:cubicBezTo>
                  <a:lnTo>
                    <a:pt x="421" y="501"/>
                  </a:lnTo>
                  <a:cubicBezTo>
                    <a:pt x="418" y="502"/>
                    <a:pt x="415" y="502"/>
                    <a:pt x="412" y="502"/>
                  </a:cubicBezTo>
                  <a:close/>
                  <a:moveTo>
                    <a:pt x="195" y="777"/>
                  </a:moveTo>
                  <a:cubicBezTo>
                    <a:pt x="195" y="776"/>
                    <a:pt x="195" y="776"/>
                    <a:pt x="195" y="776"/>
                  </a:cubicBezTo>
                  <a:lnTo>
                    <a:pt x="195" y="776"/>
                  </a:lnTo>
                  <a:cubicBezTo>
                    <a:pt x="195" y="776"/>
                    <a:pt x="195" y="776"/>
                    <a:pt x="195" y="777"/>
                  </a:cubicBezTo>
                  <a:close/>
                  <a:moveTo>
                    <a:pt x="193" y="783"/>
                  </a:moveTo>
                  <a:cubicBezTo>
                    <a:pt x="194" y="781"/>
                    <a:pt x="195" y="780"/>
                    <a:pt x="195" y="777"/>
                  </a:cubicBezTo>
                  <a:cubicBezTo>
                    <a:pt x="194" y="779"/>
                    <a:pt x="194" y="781"/>
                    <a:pt x="193" y="783"/>
                  </a:cubicBezTo>
                  <a:close/>
                  <a:moveTo>
                    <a:pt x="192" y="785"/>
                  </a:moveTo>
                  <a:cubicBezTo>
                    <a:pt x="193" y="784"/>
                    <a:pt x="193" y="784"/>
                    <a:pt x="193" y="783"/>
                  </a:cubicBezTo>
                  <a:cubicBezTo>
                    <a:pt x="193" y="784"/>
                    <a:pt x="193" y="784"/>
                    <a:pt x="192" y="785"/>
                  </a:cubicBezTo>
                  <a:close/>
                  <a:moveTo>
                    <a:pt x="185" y="831"/>
                  </a:moveTo>
                  <a:cubicBezTo>
                    <a:pt x="185" y="831"/>
                    <a:pt x="185" y="832"/>
                    <a:pt x="184" y="832"/>
                  </a:cubicBezTo>
                  <a:cubicBezTo>
                    <a:pt x="176" y="835"/>
                    <a:pt x="169" y="839"/>
                    <a:pt x="161" y="844"/>
                  </a:cubicBezTo>
                  <a:cubicBezTo>
                    <a:pt x="160" y="845"/>
                    <a:pt x="158" y="846"/>
                    <a:pt x="156" y="848"/>
                  </a:cubicBezTo>
                  <a:cubicBezTo>
                    <a:pt x="165" y="839"/>
                    <a:pt x="175" y="832"/>
                    <a:pt x="187" y="827"/>
                  </a:cubicBezTo>
                  <a:cubicBezTo>
                    <a:pt x="185" y="828"/>
                    <a:pt x="185" y="829"/>
                    <a:pt x="185" y="831"/>
                  </a:cubicBezTo>
                  <a:close/>
                  <a:moveTo>
                    <a:pt x="29" y="1218"/>
                  </a:moveTo>
                  <a:lnTo>
                    <a:pt x="29" y="1219"/>
                  </a:lnTo>
                  <a:cubicBezTo>
                    <a:pt x="26" y="1213"/>
                    <a:pt x="26" y="1207"/>
                    <a:pt x="26" y="1205"/>
                  </a:cubicBezTo>
                  <a:cubicBezTo>
                    <a:pt x="26" y="1205"/>
                    <a:pt x="27" y="1204"/>
                    <a:pt x="28" y="1204"/>
                  </a:cubicBezTo>
                  <a:cubicBezTo>
                    <a:pt x="28" y="1209"/>
                    <a:pt x="28" y="1214"/>
                    <a:pt x="29" y="1218"/>
                  </a:cubicBezTo>
                  <a:close/>
                  <a:moveTo>
                    <a:pt x="3" y="1357"/>
                  </a:moveTo>
                  <a:cubicBezTo>
                    <a:pt x="5" y="1362"/>
                    <a:pt x="7" y="1366"/>
                    <a:pt x="9" y="1370"/>
                  </a:cubicBezTo>
                  <a:cubicBezTo>
                    <a:pt x="5" y="1366"/>
                    <a:pt x="3" y="1361"/>
                    <a:pt x="3" y="1357"/>
                  </a:cubicBezTo>
                  <a:close/>
                  <a:moveTo>
                    <a:pt x="29" y="1548"/>
                  </a:moveTo>
                  <a:lnTo>
                    <a:pt x="31" y="1551"/>
                  </a:lnTo>
                  <a:lnTo>
                    <a:pt x="24" y="1543"/>
                  </a:lnTo>
                  <a:lnTo>
                    <a:pt x="24" y="1543"/>
                  </a:lnTo>
                  <a:cubicBezTo>
                    <a:pt x="25" y="1544"/>
                    <a:pt x="27" y="1546"/>
                    <a:pt x="29" y="1547"/>
                  </a:cubicBezTo>
                  <a:lnTo>
                    <a:pt x="29" y="1548"/>
                  </a:lnTo>
                  <a:close/>
                  <a:moveTo>
                    <a:pt x="23" y="1542"/>
                  </a:moveTo>
                  <a:lnTo>
                    <a:pt x="20" y="1545"/>
                  </a:lnTo>
                  <a:cubicBezTo>
                    <a:pt x="20" y="1545"/>
                    <a:pt x="22" y="1544"/>
                    <a:pt x="24" y="1543"/>
                  </a:cubicBezTo>
                  <a:lnTo>
                    <a:pt x="23" y="1542"/>
                  </a:lnTo>
                  <a:close/>
                  <a:moveTo>
                    <a:pt x="26" y="1539"/>
                  </a:moveTo>
                  <a:lnTo>
                    <a:pt x="20" y="1534"/>
                  </a:lnTo>
                  <a:lnTo>
                    <a:pt x="20" y="1539"/>
                  </a:lnTo>
                  <a:cubicBezTo>
                    <a:pt x="21" y="1541"/>
                    <a:pt x="23" y="1542"/>
                    <a:pt x="24" y="1543"/>
                  </a:cubicBezTo>
                  <a:cubicBezTo>
                    <a:pt x="25" y="1542"/>
                    <a:pt x="26" y="1540"/>
                    <a:pt x="26" y="1539"/>
                  </a:cubicBezTo>
                  <a:close/>
                  <a:moveTo>
                    <a:pt x="31" y="1570"/>
                  </a:moveTo>
                  <a:cubicBezTo>
                    <a:pt x="31" y="1569"/>
                    <a:pt x="31" y="1567"/>
                    <a:pt x="32" y="1566"/>
                  </a:cubicBezTo>
                  <a:cubicBezTo>
                    <a:pt x="32" y="1567"/>
                    <a:pt x="31" y="1569"/>
                    <a:pt x="31" y="1570"/>
                  </a:cubicBezTo>
                  <a:close/>
                  <a:moveTo>
                    <a:pt x="26" y="1593"/>
                  </a:moveTo>
                  <a:cubicBezTo>
                    <a:pt x="20" y="1601"/>
                    <a:pt x="15" y="1613"/>
                    <a:pt x="15" y="1624"/>
                  </a:cubicBezTo>
                  <a:cubicBezTo>
                    <a:pt x="12" y="1635"/>
                    <a:pt x="12" y="1646"/>
                    <a:pt x="17" y="1658"/>
                  </a:cubicBezTo>
                  <a:cubicBezTo>
                    <a:pt x="21" y="1669"/>
                    <a:pt x="26" y="1679"/>
                    <a:pt x="32" y="1688"/>
                  </a:cubicBezTo>
                  <a:cubicBezTo>
                    <a:pt x="32" y="1689"/>
                    <a:pt x="31" y="1690"/>
                    <a:pt x="31" y="1692"/>
                  </a:cubicBezTo>
                  <a:cubicBezTo>
                    <a:pt x="26" y="1686"/>
                    <a:pt x="23" y="1675"/>
                    <a:pt x="17" y="1666"/>
                  </a:cubicBezTo>
                  <a:cubicBezTo>
                    <a:pt x="12" y="1666"/>
                    <a:pt x="9" y="1663"/>
                    <a:pt x="3" y="1661"/>
                  </a:cubicBezTo>
                  <a:cubicBezTo>
                    <a:pt x="0" y="1649"/>
                    <a:pt x="3" y="1638"/>
                    <a:pt x="6" y="1627"/>
                  </a:cubicBezTo>
                  <a:cubicBezTo>
                    <a:pt x="9" y="1615"/>
                    <a:pt x="15" y="1604"/>
                    <a:pt x="20" y="1596"/>
                  </a:cubicBezTo>
                  <a:cubicBezTo>
                    <a:pt x="29" y="1584"/>
                    <a:pt x="37" y="1576"/>
                    <a:pt x="46" y="1567"/>
                  </a:cubicBezTo>
                  <a:cubicBezTo>
                    <a:pt x="37" y="1576"/>
                    <a:pt x="31" y="1582"/>
                    <a:pt x="26" y="1593"/>
                  </a:cubicBezTo>
                  <a:close/>
                  <a:moveTo>
                    <a:pt x="72" y="1855"/>
                  </a:moveTo>
                  <a:lnTo>
                    <a:pt x="71" y="1855"/>
                  </a:lnTo>
                  <a:lnTo>
                    <a:pt x="71" y="1852"/>
                  </a:lnTo>
                  <a:cubicBezTo>
                    <a:pt x="71" y="1853"/>
                    <a:pt x="72" y="1854"/>
                    <a:pt x="72" y="1855"/>
                  </a:cubicBezTo>
                  <a:close/>
                  <a:moveTo>
                    <a:pt x="325" y="2391"/>
                  </a:moveTo>
                  <a:cubicBezTo>
                    <a:pt x="323" y="2390"/>
                    <a:pt x="321" y="2389"/>
                    <a:pt x="319" y="2388"/>
                  </a:cubicBezTo>
                  <a:cubicBezTo>
                    <a:pt x="321" y="2389"/>
                    <a:pt x="323" y="2390"/>
                    <a:pt x="325" y="2391"/>
                  </a:cubicBezTo>
                  <a:close/>
                  <a:moveTo>
                    <a:pt x="311" y="2383"/>
                  </a:moveTo>
                  <a:cubicBezTo>
                    <a:pt x="310" y="2382"/>
                    <a:pt x="308" y="2381"/>
                    <a:pt x="307" y="2381"/>
                  </a:cubicBezTo>
                  <a:cubicBezTo>
                    <a:pt x="309" y="2382"/>
                    <a:pt x="311" y="2384"/>
                    <a:pt x="314" y="2386"/>
                  </a:cubicBezTo>
                  <a:cubicBezTo>
                    <a:pt x="316" y="2386"/>
                    <a:pt x="317" y="2387"/>
                    <a:pt x="319" y="2388"/>
                  </a:cubicBezTo>
                  <a:cubicBezTo>
                    <a:pt x="316" y="2386"/>
                    <a:pt x="313" y="2385"/>
                    <a:pt x="311" y="2383"/>
                  </a:cubicBezTo>
                  <a:close/>
                  <a:moveTo>
                    <a:pt x="296" y="2371"/>
                  </a:moveTo>
                  <a:cubicBezTo>
                    <a:pt x="300" y="2375"/>
                    <a:pt x="303" y="2378"/>
                    <a:pt x="307" y="2381"/>
                  </a:cubicBezTo>
                  <a:cubicBezTo>
                    <a:pt x="303" y="2378"/>
                    <a:pt x="300" y="2375"/>
                    <a:pt x="296" y="2371"/>
                  </a:cubicBezTo>
                  <a:close/>
                  <a:moveTo>
                    <a:pt x="283" y="2354"/>
                  </a:moveTo>
                  <a:cubicBezTo>
                    <a:pt x="287" y="2361"/>
                    <a:pt x="291" y="2367"/>
                    <a:pt x="296" y="2371"/>
                  </a:cubicBezTo>
                  <a:cubicBezTo>
                    <a:pt x="291" y="2366"/>
                    <a:pt x="287" y="2360"/>
                    <a:pt x="283" y="2354"/>
                  </a:cubicBezTo>
                  <a:close/>
                  <a:moveTo>
                    <a:pt x="826" y="2812"/>
                  </a:moveTo>
                  <a:cubicBezTo>
                    <a:pt x="825" y="2810"/>
                    <a:pt x="823" y="2808"/>
                    <a:pt x="821" y="2806"/>
                  </a:cubicBezTo>
                  <a:cubicBezTo>
                    <a:pt x="822" y="2806"/>
                    <a:pt x="823" y="2806"/>
                    <a:pt x="823" y="2806"/>
                  </a:cubicBezTo>
                  <a:cubicBezTo>
                    <a:pt x="824" y="2808"/>
                    <a:pt x="825" y="2810"/>
                    <a:pt x="826" y="2812"/>
                  </a:cubicBezTo>
                  <a:close/>
                  <a:moveTo>
                    <a:pt x="1195" y="2942"/>
                  </a:moveTo>
                  <a:cubicBezTo>
                    <a:pt x="1199" y="2943"/>
                    <a:pt x="1201" y="2948"/>
                    <a:pt x="1205" y="2950"/>
                  </a:cubicBezTo>
                  <a:cubicBezTo>
                    <a:pt x="1202" y="2950"/>
                    <a:pt x="1200" y="2950"/>
                    <a:pt x="1194" y="2953"/>
                  </a:cubicBezTo>
                  <a:cubicBezTo>
                    <a:pt x="1191" y="2950"/>
                    <a:pt x="1191" y="2947"/>
                    <a:pt x="1188" y="2944"/>
                  </a:cubicBezTo>
                  <a:cubicBezTo>
                    <a:pt x="1189" y="2944"/>
                    <a:pt x="1189" y="2943"/>
                    <a:pt x="1190" y="2943"/>
                  </a:cubicBezTo>
                  <a:cubicBezTo>
                    <a:pt x="1192" y="2943"/>
                    <a:pt x="1193" y="2943"/>
                    <a:pt x="1195" y="2942"/>
                  </a:cubicBezTo>
                  <a:close/>
                  <a:moveTo>
                    <a:pt x="1517" y="2958"/>
                  </a:moveTo>
                  <a:lnTo>
                    <a:pt x="1517" y="2955"/>
                  </a:lnTo>
                  <a:cubicBezTo>
                    <a:pt x="1518" y="2955"/>
                    <a:pt x="1519" y="2956"/>
                    <a:pt x="1520" y="2956"/>
                  </a:cubicBezTo>
                  <a:lnTo>
                    <a:pt x="1517" y="2958"/>
                  </a:lnTo>
                  <a:close/>
                  <a:moveTo>
                    <a:pt x="1642" y="2969"/>
                  </a:moveTo>
                  <a:cubicBezTo>
                    <a:pt x="1655" y="2967"/>
                    <a:pt x="1668" y="2962"/>
                    <a:pt x="1682" y="2954"/>
                  </a:cubicBezTo>
                  <a:cubicBezTo>
                    <a:pt x="1683" y="2954"/>
                    <a:pt x="1685" y="2953"/>
                    <a:pt x="1687" y="2953"/>
                  </a:cubicBezTo>
                  <a:cubicBezTo>
                    <a:pt x="1692" y="2953"/>
                    <a:pt x="1692" y="2953"/>
                    <a:pt x="1684" y="2961"/>
                  </a:cubicBezTo>
                  <a:cubicBezTo>
                    <a:pt x="1673" y="2969"/>
                    <a:pt x="1659" y="2975"/>
                    <a:pt x="1642" y="2975"/>
                  </a:cubicBezTo>
                  <a:cubicBezTo>
                    <a:pt x="1629" y="2975"/>
                    <a:pt x="1617" y="2973"/>
                    <a:pt x="1607" y="2968"/>
                  </a:cubicBezTo>
                  <a:cubicBezTo>
                    <a:pt x="1618" y="2971"/>
                    <a:pt x="1630" y="2971"/>
                    <a:pt x="1642" y="2969"/>
                  </a:cubicBezTo>
                  <a:close/>
                  <a:moveTo>
                    <a:pt x="2513" y="2550"/>
                  </a:moveTo>
                  <a:cubicBezTo>
                    <a:pt x="2516" y="2548"/>
                    <a:pt x="2520" y="2546"/>
                    <a:pt x="2522" y="2543"/>
                  </a:cubicBezTo>
                  <a:cubicBezTo>
                    <a:pt x="2520" y="2548"/>
                    <a:pt x="2517" y="2551"/>
                    <a:pt x="2513" y="2552"/>
                  </a:cubicBezTo>
                  <a:cubicBezTo>
                    <a:pt x="2513" y="2551"/>
                    <a:pt x="2513" y="2551"/>
                    <a:pt x="2513" y="2550"/>
                  </a:cubicBezTo>
                  <a:close/>
                  <a:moveTo>
                    <a:pt x="2762" y="2250"/>
                  </a:moveTo>
                  <a:lnTo>
                    <a:pt x="2759" y="2253"/>
                  </a:lnTo>
                  <a:cubicBezTo>
                    <a:pt x="2760" y="2251"/>
                    <a:pt x="2761" y="2249"/>
                    <a:pt x="2763" y="2248"/>
                  </a:cubicBezTo>
                  <a:cubicBezTo>
                    <a:pt x="2763" y="2248"/>
                    <a:pt x="2762" y="2249"/>
                    <a:pt x="2762" y="2250"/>
                  </a:cubicBezTo>
                  <a:close/>
                  <a:moveTo>
                    <a:pt x="2849" y="2058"/>
                  </a:moveTo>
                  <a:cubicBezTo>
                    <a:pt x="2849" y="2058"/>
                    <a:pt x="2848" y="2057"/>
                    <a:pt x="2846" y="2056"/>
                  </a:cubicBezTo>
                  <a:cubicBezTo>
                    <a:pt x="2846" y="2056"/>
                    <a:pt x="2846" y="2056"/>
                    <a:pt x="2846" y="2055"/>
                  </a:cubicBezTo>
                  <a:lnTo>
                    <a:pt x="2852" y="2055"/>
                  </a:lnTo>
                  <a:cubicBezTo>
                    <a:pt x="2852" y="2061"/>
                    <a:pt x="2851" y="2063"/>
                    <a:pt x="2849" y="2063"/>
                  </a:cubicBezTo>
                  <a:cubicBezTo>
                    <a:pt x="2849" y="2061"/>
                    <a:pt x="2849" y="2060"/>
                    <a:pt x="2849" y="2058"/>
                  </a:cubicBezTo>
                  <a:close/>
                  <a:moveTo>
                    <a:pt x="2930" y="1823"/>
                  </a:moveTo>
                  <a:lnTo>
                    <a:pt x="2931" y="1827"/>
                  </a:lnTo>
                  <a:cubicBezTo>
                    <a:pt x="2930" y="1828"/>
                    <a:pt x="2928" y="1828"/>
                    <a:pt x="2927" y="1829"/>
                  </a:cubicBezTo>
                  <a:cubicBezTo>
                    <a:pt x="2928" y="1827"/>
                    <a:pt x="2929" y="1825"/>
                    <a:pt x="2930" y="1823"/>
                  </a:cubicBezTo>
                  <a:close/>
                  <a:moveTo>
                    <a:pt x="316" y="2371"/>
                  </a:moveTo>
                  <a:cubicBezTo>
                    <a:pt x="319" y="2369"/>
                    <a:pt x="322" y="2369"/>
                    <a:pt x="325" y="2369"/>
                  </a:cubicBezTo>
                  <a:cubicBezTo>
                    <a:pt x="325" y="2371"/>
                    <a:pt x="325" y="2369"/>
                    <a:pt x="322" y="2374"/>
                  </a:cubicBezTo>
                  <a:lnTo>
                    <a:pt x="325" y="2374"/>
                  </a:lnTo>
                  <a:lnTo>
                    <a:pt x="322" y="2377"/>
                  </a:lnTo>
                  <a:cubicBezTo>
                    <a:pt x="319" y="2377"/>
                    <a:pt x="319" y="2374"/>
                    <a:pt x="316" y="2371"/>
                  </a:cubicBezTo>
                  <a:close/>
                  <a:moveTo>
                    <a:pt x="74" y="1830"/>
                  </a:moveTo>
                  <a:lnTo>
                    <a:pt x="77" y="1830"/>
                  </a:lnTo>
                  <a:lnTo>
                    <a:pt x="77" y="1824"/>
                  </a:lnTo>
                  <a:cubicBezTo>
                    <a:pt x="77" y="1824"/>
                    <a:pt x="74" y="1827"/>
                    <a:pt x="74" y="1830"/>
                  </a:cubicBezTo>
                  <a:cubicBezTo>
                    <a:pt x="74" y="1827"/>
                    <a:pt x="71" y="1830"/>
                    <a:pt x="71" y="1827"/>
                  </a:cubicBezTo>
                  <a:lnTo>
                    <a:pt x="71" y="1824"/>
                  </a:lnTo>
                  <a:cubicBezTo>
                    <a:pt x="68" y="1824"/>
                    <a:pt x="68" y="1821"/>
                    <a:pt x="68" y="1821"/>
                  </a:cubicBezTo>
                  <a:lnTo>
                    <a:pt x="62" y="1816"/>
                  </a:lnTo>
                  <a:cubicBezTo>
                    <a:pt x="65" y="1813"/>
                    <a:pt x="65" y="1816"/>
                    <a:pt x="68" y="1816"/>
                  </a:cubicBezTo>
                  <a:lnTo>
                    <a:pt x="85" y="1824"/>
                  </a:lnTo>
                  <a:lnTo>
                    <a:pt x="88" y="1824"/>
                  </a:lnTo>
                  <a:cubicBezTo>
                    <a:pt x="91" y="1827"/>
                    <a:pt x="88" y="1833"/>
                    <a:pt x="88" y="1838"/>
                  </a:cubicBezTo>
                  <a:cubicBezTo>
                    <a:pt x="85" y="1838"/>
                    <a:pt x="85" y="1835"/>
                    <a:pt x="82" y="1835"/>
                  </a:cubicBezTo>
                  <a:cubicBezTo>
                    <a:pt x="79" y="1838"/>
                    <a:pt x="77" y="1838"/>
                    <a:pt x="71" y="1841"/>
                  </a:cubicBezTo>
                  <a:cubicBezTo>
                    <a:pt x="71" y="1838"/>
                    <a:pt x="74" y="1835"/>
                    <a:pt x="74" y="1833"/>
                  </a:cubicBezTo>
                  <a:cubicBezTo>
                    <a:pt x="77" y="1830"/>
                    <a:pt x="74" y="1830"/>
                    <a:pt x="74" y="1830"/>
                  </a:cubicBezTo>
                  <a:close/>
                  <a:moveTo>
                    <a:pt x="74" y="1841"/>
                  </a:moveTo>
                  <a:cubicBezTo>
                    <a:pt x="74" y="1844"/>
                    <a:pt x="74" y="1847"/>
                    <a:pt x="71" y="1850"/>
                  </a:cubicBezTo>
                  <a:cubicBezTo>
                    <a:pt x="71" y="1844"/>
                    <a:pt x="71" y="1841"/>
                    <a:pt x="74" y="1841"/>
                  </a:cubicBezTo>
                  <a:close/>
                  <a:moveTo>
                    <a:pt x="299" y="638"/>
                  </a:moveTo>
                  <a:cubicBezTo>
                    <a:pt x="299" y="636"/>
                    <a:pt x="300" y="636"/>
                    <a:pt x="301" y="636"/>
                  </a:cubicBezTo>
                  <a:cubicBezTo>
                    <a:pt x="300" y="637"/>
                    <a:pt x="300" y="637"/>
                    <a:pt x="300" y="638"/>
                  </a:cubicBezTo>
                  <a:cubicBezTo>
                    <a:pt x="300" y="638"/>
                    <a:pt x="300" y="638"/>
                    <a:pt x="299" y="638"/>
                  </a:cubicBezTo>
                  <a:close/>
                  <a:moveTo>
                    <a:pt x="302" y="638"/>
                  </a:moveTo>
                  <a:lnTo>
                    <a:pt x="305" y="638"/>
                  </a:lnTo>
                  <a:lnTo>
                    <a:pt x="308" y="638"/>
                  </a:lnTo>
                  <a:lnTo>
                    <a:pt x="305" y="640"/>
                  </a:lnTo>
                  <a:cubicBezTo>
                    <a:pt x="303" y="638"/>
                    <a:pt x="302" y="638"/>
                    <a:pt x="300" y="638"/>
                  </a:cubicBezTo>
                  <a:cubicBezTo>
                    <a:pt x="299" y="641"/>
                    <a:pt x="297" y="645"/>
                    <a:pt x="297" y="649"/>
                  </a:cubicBezTo>
                  <a:cubicBezTo>
                    <a:pt x="294" y="655"/>
                    <a:pt x="291" y="657"/>
                    <a:pt x="288" y="663"/>
                  </a:cubicBezTo>
                  <a:lnTo>
                    <a:pt x="285" y="663"/>
                  </a:lnTo>
                  <a:cubicBezTo>
                    <a:pt x="288" y="655"/>
                    <a:pt x="288" y="652"/>
                    <a:pt x="288" y="646"/>
                  </a:cubicBezTo>
                  <a:cubicBezTo>
                    <a:pt x="294" y="629"/>
                    <a:pt x="302" y="618"/>
                    <a:pt x="319" y="612"/>
                  </a:cubicBezTo>
                  <a:cubicBezTo>
                    <a:pt x="322" y="612"/>
                    <a:pt x="322" y="615"/>
                    <a:pt x="322" y="615"/>
                  </a:cubicBezTo>
                  <a:lnTo>
                    <a:pt x="319" y="612"/>
                  </a:lnTo>
                  <a:cubicBezTo>
                    <a:pt x="311" y="618"/>
                    <a:pt x="305" y="627"/>
                    <a:pt x="301" y="636"/>
                  </a:cubicBezTo>
                  <a:cubicBezTo>
                    <a:pt x="301" y="637"/>
                    <a:pt x="302" y="638"/>
                    <a:pt x="302" y="638"/>
                  </a:cubicBezTo>
                  <a:close/>
                  <a:moveTo>
                    <a:pt x="384" y="542"/>
                  </a:moveTo>
                  <a:lnTo>
                    <a:pt x="384" y="539"/>
                  </a:lnTo>
                  <a:lnTo>
                    <a:pt x="387" y="539"/>
                  </a:lnTo>
                  <a:cubicBezTo>
                    <a:pt x="387" y="539"/>
                    <a:pt x="387" y="542"/>
                    <a:pt x="384" y="542"/>
                  </a:cubicBezTo>
                  <a:close/>
                  <a:moveTo>
                    <a:pt x="71" y="1703"/>
                  </a:moveTo>
                  <a:lnTo>
                    <a:pt x="68" y="1703"/>
                  </a:lnTo>
                  <a:cubicBezTo>
                    <a:pt x="71" y="1703"/>
                    <a:pt x="71" y="1700"/>
                    <a:pt x="71" y="1703"/>
                  </a:cubicBezTo>
                  <a:close/>
                  <a:moveTo>
                    <a:pt x="57" y="1703"/>
                  </a:moveTo>
                  <a:lnTo>
                    <a:pt x="57" y="1706"/>
                  </a:lnTo>
                  <a:cubicBezTo>
                    <a:pt x="54" y="1706"/>
                    <a:pt x="57" y="1706"/>
                    <a:pt x="57" y="1703"/>
                  </a:cubicBezTo>
                  <a:close/>
                  <a:moveTo>
                    <a:pt x="57" y="1576"/>
                  </a:moveTo>
                  <a:cubicBezTo>
                    <a:pt x="53" y="1580"/>
                    <a:pt x="49" y="1584"/>
                    <a:pt x="44" y="1587"/>
                  </a:cubicBezTo>
                  <a:cubicBezTo>
                    <a:pt x="48" y="1581"/>
                    <a:pt x="50" y="1577"/>
                    <a:pt x="54" y="1573"/>
                  </a:cubicBezTo>
                  <a:cubicBezTo>
                    <a:pt x="54" y="1573"/>
                    <a:pt x="57" y="1573"/>
                    <a:pt x="57" y="1576"/>
                  </a:cubicBezTo>
                  <a:close/>
                  <a:moveTo>
                    <a:pt x="96" y="1875"/>
                  </a:moveTo>
                  <a:cubicBezTo>
                    <a:pt x="96" y="1875"/>
                    <a:pt x="99" y="1872"/>
                    <a:pt x="99" y="1869"/>
                  </a:cubicBezTo>
                  <a:cubicBezTo>
                    <a:pt x="99" y="1869"/>
                    <a:pt x="102" y="1872"/>
                    <a:pt x="99" y="1872"/>
                  </a:cubicBezTo>
                  <a:cubicBezTo>
                    <a:pt x="102" y="1875"/>
                    <a:pt x="99" y="1875"/>
                    <a:pt x="96" y="1875"/>
                  </a:cubicBezTo>
                  <a:close/>
                  <a:moveTo>
                    <a:pt x="277" y="2253"/>
                  </a:moveTo>
                  <a:lnTo>
                    <a:pt x="283" y="2253"/>
                  </a:lnTo>
                  <a:cubicBezTo>
                    <a:pt x="283" y="2253"/>
                    <a:pt x="285" y="2253"/>
                    <a:pt x="283" y="2253"/>
                  </a:cubicBezTo>
                  <a:cubicBezTo>
                    <a:pt x="280" y="2253"/>
                    <a:pt x="277" y="2256"/>
                    <a:pt x="274" y="2256"/>
                  </a:cubicBezTo>
                  <a:cubicBezTo>
                    <a:pt x="277" y="2256"/>
                    <a:pt x="277" y="2253"/>
                    <a:pt x="277" y="2253"/>
                  </a:cubicBezTo>
                  <a:close/>
                  <a:moveTo>
                    <a:pt x="277" y="2222"/>
                  </a:moveTo>
                  <a:lnTo>
                    <a:pt x="277" y="2213"/>
                  </a:lnTo>
                  <a:lnTo>
                    <a:pt x="288" y="2213"/>
                  </a:lnTo>
                  <a:lnTo>
                    <a:pt x="288" y="2242"/>
                  </a:lnTo>
                  <a:lnTo>
                    <a:pt x="299" y="2242"/>
                  </a:lnTo>
                  <a:cubicBezTo>
                    <a:pt x="299" y="2247"/>
                    <a:pt x="299" y="2250"/>
                    <a:pt x="297" y="2256"/>
                  </a:cubicBezTo>
                  <a:cubicBezTo>
                    <a:pt x="288" y="2247"/>
                    <a:pt x="283" y="2233"/>
                    <a:pt x="277" y="2222"/>
                  </a:cubicBezTo>
                  <a:close/>
                  <a:moveTo>
                    <a:pt x="367" y="2439"/>
                  </a:moveTo>
                  <a:cubicBezTo>
                    <a:pt x="367" y="2436"/>
                    <a:pt x="364" y="2433"/>
                    <a:pt x="364" y="2433"/>
                  </a:cubicBezTo>
                  <a:cubicBezTo>
                    <a:pt x="367" y="2433"/>
                    <a:pt x="367" y="2436"/>
                    <a:pt x="367" y="2439"/>
                  </a:cubicBezTo>
                  <a:close/>
                  <a:moveTo>
                    <a:pt x="395" y="2439"/>
                  </a:moveTo>
                  <a:lnTo>
                    <a:pt x="398" y="2445"/>
                  </a:lnTo>
                  <a:cubicBezTo>
                    <a:pt x="401" y="2445"/>
                    <a:pt x="404" y="2442"/>
                    <a:pt x="407" y="2442"/>
                  </a:cubicBezTo>
                  <a:lnTo>
                    <a:pt x="410" y="2445"/>
                  </a:lnTo>
                  <a:cubicBezTo>
                    <a:pt x="407" y="2448"/>
                    <a:pt x="407" y="2450"/>
                    <a:pt x="407" y="2453"/>
                  </a:cubicBezTo>
                  <a:cubicBezTo>
                    <a:pt x="398" y="2456"/>
                    <a:pt x="393" y="2450"/>
                    <a:pt x="384" y="2448"/>
                  </a:cubicBezTo>
                  <a:cubicBezTo>
                    <a:pt x="387" y="2445"/>
                    <a:pt x="390" y="2439"/>
                    <a:pt x="395" y="2439"/>
                  </a:cubicBezTo>
                  <a:close/>
                  <a:moveTo>
                    <a:pt x="915" y="2828"/>
                  </a:moveTo>
                  <a:cubicBezTo>
                    <a:pt x="920" y="2828"/>
                    <a:pt x="926" y="2826"/>
                    <a:pt x="932" y="2823"/>
                  </a:cubicBezTo>
                  <a:cubicBezTo>
                    <a:pt x="934" y="2820"/>
                    <a:pt x="934" y="2820"/>
                    <a:pt x="937" y="2823"/>
                  </a:cubicBezTo>
                  <a:lnTo>
                    <a:pt x="940" y="2820"/>
                  </a:lnTo>
                  <a:cubicBezTo>
                    <a:pt x="940" y="2823"/>
                    <a:pt x="937" y="2826"/>
                    <a:pt x="937" y="2828"/>
                  </a:cubicBezTo>
                  <a:lnTo>
                    <a:pt x="934" y="2826"/>
                  </a:lnTo>
                  <a:lnTo>
                    <a:pt x="934" y="2828"/>
                  </a:lnTo>
                  <a:cubicBezTo>
                    <a:pt x="929" y="2831"/>
                    <a:pt x="920" y="2831"/>
                    <a:pt x="915" y="2831"/>
                  </a:cubicBezTo>
                  <a:cubicBezTo>
                    <a:pt x="915" y="2831"/>
                    <a:pt x="915" y="2831"/>
                    <a:pt x="915" y="2828"/>
                  </a:cubicBezTo>
                  <a:close/>
                  <a:moveTo>
                    <a:pt x="934" y="2834"/>
                  </a:moveTo>
                  <a:cubicBezTo>
                    <a:pt x="932" y="2834"/>
                    <a:pt x="929" y="2837"/>
                    <a:pt x="926" y="2837"/>
                  </a:cubicBezTo>
                  <a:cubicBezTo>
                    <a:pt x="921" y="2837"/>
                    <a:pt x="927" y="2837"/>
                    <a:pt x="934" y="2833"/>
                  </a:cubicBezTo>
                  <a:lnTo>
                    <a:pt x="934" y="2834"/>
                  </a:lnTo>
                  <a:close/>
                  <a:moveTo>
                    <a:pt x="2759" y="779"/>
                  </a:moveTo>
                  <a:cubicBezTo>
                    <a:pt x="2762" y="781"/>
                    <a:pt x="2759" y="784"/>
                    <a:pt x="2759" y="787"/>
                  </a:cubicBezTo>
                  <a:lnTo>
                    <a:pt x="2759" y="779"/>
                  </a:lnTo>
                  <a:close/>
                  <a:moveTo>
                    <a:pt x="2917" y="1275"/>
                  </a:moveTo>
                  <a:cubicBezTo>
                    <a:pt x="2909" y="1278"/>
                    <a:pt x="2911" y="1269"/>
                    <a:pt x="2906" y="1269"/>
                  </a:cubicBezTo>
                  <a:cubicBezTo>
                    <a:pt x="2906" y="1267"/>
                    <a:pt x="2909" y="1269"/>
                    <a:pt x="2909" y="1267"/>
                  </a:cubicBezTo>
                  <a:cubicBezTo>
                    <a:pt x="2911" y="1264"/>
                    <a:pt x="2911" y="1264"/>
                    <a:pt x="2917" y="1261"/>
                  </a:cubicBezTo>
                  <a:cubicBezTo>
                    <a:pt x="2920" y="1267"/>
                    <a:pt x="2920" y="1272"/>
                    <a:pt x="2917" y="1275"/>
                  </a:cubicBezTo>
                  <a:close/>
                  <a:moveTo>
                    <a:pt x="2900" y="1275"/>
                  </a:moveTo>
                  <a:cubicBezTo>
                    <a:pt x="2900" y="1275"/>
                    <a:pt x="2900" y="1272"/>
                    <a:pt x="2900" y="1275"/>
                  </a:cubicBezTo>
                  <a:cubicBezTo>
                    <a:pt x="2906" y="1275"/>
                    <a:pt x="2911" y="1278"/>
                    <a:pt x="2914" y="1281"/>
                  </a:cubicBezTo>
                  <a:cubicBezTo>
                    <a:pt x="2909" y="1281"/>
                    <a:pt x="2903" y="1278"/>
                    <a:pt x="2900" y="1275"/>
                  </a:cubicBezTo>
                  <a:close/>
                  <a:moveTo>
                    <a:pt x="2869" y="1979"/>
                  </a:moveTo>
                  <a:cubicBezTo>
                    <a:pt x="2869" y="1980"/>
                    <a:pt x="2870" y="1980"/>
                    <a:pt x="2870" y="1980"/>
                  </a:cubicBezTo>
                  <a:cubicBezTo>
                    <a:pt x="2870" y="1981"/>
                    <a:pt x="2869" y="1981"/>
                    <a:pt x="2869" y="1979"/>
                  </a:cubicBezTo>
                  <a:close/>
                  <a:moveTo>
                    <a:pt x="2869" y="1979"/>
                  </a:moveTo>
                  <a:cubicBezTo>
                    <a:pt x="2870" y="1979"/>
                    <a:pt x="2870" y="1980"/>
                    <a:pt x="2870" y="1980"/>
                  </a:cubicBezTo>
                  <a:cubicBezTo>
                    <a:pt x="2872" y="1981"/>
                    <a:pt x="2871" y="1979"/>
                    <a:pt x="2869" y="1979"/>
                  </a:cubicBezTo>
                  <a:close/>
                  <a:moveTo>
                    <a:pt x="2945" y="1298"/>
                  </a:moveTo>
                  <a:cubicBezTo>
                    <a:pt x="2945" y="1292"/>
                    <a:pt x="2945" y="1286"/>
                    <a:pt x="2956" y="1301"/>
                  </a:cubicBezTo>
                  <a:cubicBezTo>
                    <a:pt x="2965" y="1312"/>
                    <a:pt x="2968" y="1326"/>
                    <a:pt x="2968" y="1343"/>
                  </a:cubicBezTo>
                  <a:cubicBezTo>
                    <a:pt x="2968" y="1363"/>
                    <a:pt x="2962" y="1382"/>
                    <a:pt x="2951" y="1399"/>
                  </a:cubicBezTo>
                  <a:lnTo>
                    <a:pt x="2951" y="1388"/>
                  </a:lnTo>
                  <a:cubicBezTo>
                    <a:pt x="2951" y="1379"/>
                    <a:pt x="2948" y="1371"/>
                    <a:pt x="2948" y="1363"/>
                  </a:cubicBezTo>
                  <a:lnTo>
                    <a:pt x="2948" y="1365"/>
                  </a:lnTo>
                  <a:cubicBezTo>
                    <a:pt x="2942" y="1363"/>
                    <a:pt x="2940" y="1357"/>
                    <a:pt x="2942" y="1351"/>
                  </a:cubicBezTo>
                  <a:cubicBezTo>
                    <a:pt x="2942" y="1348"/>
                    <a:pt x="2945" y="1348"/>
                    <a:pt x="2945" y="1348"/>
                  </a:cubicBezTo>
                  <a:lnTo>
                    <a:pt x="2945" y="1320"/>
                  </a:lnTo>
                  <a:cubicBezTo>
                    <a:pt x="2945" y="1317"/>
                    <a:pt x="2942" y="1312"/>
                    <a:pt x="2942" y="1306"/>
                  </a:cubicBezTo>
                  <a:cubicBezTo>
                    <a:pt x="2945" y="1303"/>
                    <a:pt x="2945" y="1301"/>
                    <a:pt x="2945" y="1298"/>
                  </a:cubicBezTo>
                  <a:close/>
                  <a:moveTo>
                    <a:pt x="2928" y="1267"/>
                  </a:moveTo>
                  <a:cubicBezTo>
                    <a:pt x="2926" y="1265"/>
                    <a:pt x="2924" y="1264"/>
                    <a:pt x="2923" y="1263"/>
                  </a:cubicBezTo>
                  <a:cubicBezTo>
                    <a:pt x="2928" y="1262"/>
                    <a:pt x="2928" y="1264"/>
                    <a:pt x="2928" y="1267"/>
                  </a:cubicBezTo>
                  <a:close/>
                  <a:moveTo>
                    <a:pt x="2561" y="494"/>
                  </a:moveTo>
                  <a:cubicBezTo>
                    <a:pt x="2573" y="499"/>
                    <a:pt x="2581" y="508"/>
                    <a:pt x="2587" y="519"/>
                  </a:cubicBezTo>
                  <a:cubicBezTo>
                    <a:pt x="2590" y="519"/>
                    <a:pt x="2590" y="525"/>
                    <a:pt x="2593" y="525"/>
                  </a:cubicBezTo>
                  <a:cubicBezTo>
                    <a:pt x="2593" y="528"/>
                    <a:pt x="2593" y="525"/>
                    <a:pt x="2590" y="525"/>
                  </a:cubicBezTo>
                  <a:lnTo>
                    <a:pt x="2593" y="528"/>
                  </a:lnTo>
                  <a:cubicBezTo>
                    <a:pt x="2595" y="533"/>
                    <a:pt x="2598" y="542"/>
                    <a:pt x="2598" y="547"/>
                  </a:cubicBezTo>
                  <a:cubicBezTo>
                    <a:pt x="2595" y="542"/>
                    <a:pt x="2590" y="536"/>
                    <a:pt x="2584" y="533"/>
                  </a:cubicBezTo>
                  <a:cubicBezTo>
                    <a:pt x="2584" y="539"/>
                    <a:pt x="2581" y="550"/>
                    <a:pt x="2581" y="556"/>
                  </a:cubicBezTo>
                  <a:cubicBezTo>
                    <a:pt x="2573" y="550"/>
                    <a:pt x="2573" y="536"/>
                    <a:pt x="2576" y="522"/>
                  </a:cubicBezTo>
                  <a:lnTo>
                    <a:pt x="2573" y="525"/>
                  </a:lnTo>
                  <a:lnTo>
                    <a:pt x="2556" y="499"/>
                  </a:lnTo>
                  <a:cubicBezTo>
                    <a:pt x="2556" y="505"/>
                    <a:pt x="2553" y="505"/>
                    <a:pt x="2550" y="508"/>
                  </a:cubicBezTo>
                  <a:cubicBezTo>
                    <a:pt x="2547" y="505"/>
                    <a:pt x="2542" y="508"/>
                    <a:pt x="2539" y="508"/>
                  </a:cubicBezTo>
                  <a:cubicBezTo>
                    <a:pt x="2536" y="505"/>
                    <a:pt x="2539" y="499"/>
                    <a:pt x="2547" y="499"/>
                  </a:cubicBezTo>
                  <a:cubicBezTo>
                    <a:pt x="2550" y="499"/>
                    <a:pt x="2553" y="497"/>
                    <a:pt x="2556" y="497"/>
                  </a:cubicBezTo>
                  <a:lnTo>
                    <a:pt x="2553" y="494"/>
                  </a:lnTo>
                  <a:cubicBezTo>
                    <a:pt x="2553" y="494"/>
                    <a:pt x="2550" y="494"/>
                    <a:pt x="2547" y="491"/>
                  </a:cubicBezTo>
                  <a:cubicBezTo>
                    <a:pt x="2556" y="491"/>
                    <a:pt x="2559" y="491"/>
                    <a:pt x="2561" y="494"/>
                  </a:cubicBezTo>
                  <a:close/>
                  <a:moveTo>
                    <a:pt x="2548" y="487"/>
                  </a:moveTo>
                  <a:cubicBezTo>
                    <a:pt x="2548" y="487"/>
                    <a:pt x="2549" y="487"/>
                    <a:pt x="2550" y="488"/>
                  </a:cubicBezTo>
                  <a:cubicBezTo>
                    <a:pt x="2549" y="487"/>
                    <a:pt x="2549" y="487"/>
                    <a:pt x="2548" y="487"/>
                  </a:cubicBezTo>
                  <a:close/>
                  <a:moveTo>
                    <a:pt x="2347" y="310"/>
                  </a:moveTo>
                  <a:cubicBezTo>
                    <a:pt x="2344" y="308"/>
                    <a:pt x="2339" y="305"/>
                    <a:pt x="2336" y="302"/>
                  </a:cubicBezTo>
                  <a:cubicBezTo>
                    <a:pt x="2344" y="302"/>
                    <a:pt x="2344" y="305"/>
                    <a:pt x="2347" y="310"/>
                  </a:cubicBezTo>
                  <a:close/>
                  <a:moveTo>
                    <a:pt x="2079" y="158"/>
                  </a:moveTo>
                  <a:cubicBezTo>
                    <a:pt x="2076" y="158"/>
                    <a:pt x="2076" y="155"/>
                    <a:pt x="2076" y="155"/>
                  </a:cubicBezTo>
                  <a:lnTo>
                    <a:pt x="2073" y="158"/>
                  </a:lnTo>
                  <a:cubicBezTo>
                    <a:pt x="2073" y="158"/>
                    <a:pt x="2070" y="155"/>
                    <a:pt x="2068" y="155"/>
                  </a:cubicBezTo>
                  <a:cubicBezTo>
                    <a:pt x="2068" y="152"/>
                    <a:pt x="2065" y="150"/>
                    <a:pt x="2065" y="147"/>
                  </a:cubicBezTo>
                  <a:cubicBezTo>
                    <a:pt x="2068" y="150"/>
                    <a:pt x="2079" y="147"/>
                    <a:pt x="2079" y="158"/>
                  </a:cubicBezTo>
                  <a:close/>
                  <a:moveTo>
                    <a:pt x="2056" y="144"/>
                  </a:moveTo>
                  <a:cubicBezTo>
                    <a:pt x="2048" y="144"/>
                    <a:pt x="2048" y="138"/>
                    <a:pt x="2048" y="133"/>
                  </a:cubicBezTo>
                  <a:cubicBezTo>
                    <a:pt x="2054" y="130"/>
                    <a:pt x="2056" y="138"/>
                    <a:pt x="2056" y="144"/>
                  </a:cubicBezTo>
                  <a:close/>
                  <a:moveTo>
                    <a:pt x="1817" y="59"/>
                  </a:moveTo>
                  <a:cubicBezTo>
                    <a:pt x="1822" y="62"/>
                    <a:pt x="1822" y="68"/>
                    <a:pt x="1828" y="71"/>
                  </a:cubicBezTo>
                  <a:lnTo>
                    <a:pt x="1825" y="71"/>
                  </a:lnTo>
                  <a:cubicBezTo>
                    <a:pt x="1817" y="68"/>
                    <a:pt x="1808" y="68"/>
                    <a:pt x="1797" y="65"/>
                  </a:cubicBezTo>
                  <a:cubicBezTo>
                    <a:pt x="1794" y="65"/>
                    <a:pt x="1788" y="65"/>
                    <a:pt x="1786" y="62"/>
                  </a:cubicBezTo>
                  <a:cubicBezTo>
                    <a:pt x="1797" y="59"/>
                    <a:pt x="1805" y="59"/>
                    <a:pt x="1817" y="59"/>
                  </a:cubicBezTo>
                  <a:close/>
                  <a:moveTo>
                    <a:pt x="1783" y="65"/>
                  </a:moveTo>
                  <a:cubicBezTo>
                    <a:pt x="1777" y="65"/>
                    <a:pt x="1769" y="62"/>
                    <a:pt x="1763" y="59"/>
                  </a:cubicBezTo>
                  <a:cubicBezTo>
                    <a:pt x="1771" y="57"/>
                    <a:pt x="1780" y="54"/>
                    <a:pt x="1783" y="65"/>
                  </a:cubicBezTo>
                  <a:close/>
                  <a:moveTo>
                    <a:pt x="1681" y="45"/>
                  </a:moveTo>
                  <a:lnTo>
                    <a:pt x="1673" y="45"/>
                  </a:lnTo>
                  <a:cubicBezTo>
                    <a:pt x="1670" y="42"/>
                    <a:pt x="1664" y="40"/>
                    <a:pt x="1661" y="40"/>
                  </a:cubicBezTo>
                  <a:cubicBezTo>
                    <a:pt x="1667" y="40"/>
                    <a:pt x="1675" y="42"/>
                    <a:pt x="1681" y="45"/>
                  </a:cubicBezTo>
                  <a:close/>
                  <a:moveTo>
                    <a:pt x="1611" y="40"/>
                  </a:moveTo>
                  <a:cubicBezTo>
                    <a:pt x="1611" y="40"/>
                    <a:pt x="1611" y="42"/>
                    <a:pt x="1608" y="42"/>
                  </a:cubicBezTo>
                  <a:cubicBezTo>
                    <a:pt x="1609" y="40"/>
                    <a:pt x="1611" y="38"/>
                    <a:pt x="1614" y="37"/>
                  </a:cubicBezTo>
                  <a:cubicBezTo>
                    <a:pt x="1612" y="38"/>
                    <a:pt x="1611" y="39"/>
                    <a:pt x="1611" y="40"/>
                  </a:cubicBezTo>
                  <a:close/>
                  <a:moveTo>
                    <a:pt x="1315" y="31"/>
                  </a:moveTo>
                  <a:cubicBezTo>
                    <a:pt x="1315" y="25"/>
                    <a:pt x="1318" y="23"/>
                    <a:pt x="1321" y="17"/>
                  </a:cubicBezTo>
                  <a:cubicBezTo>
                    <a:pt x="1332" y="14"/>
                    <a:pt x="1344" y="17"/>
                    <a:pt x="1355" y="20"/>
                  </a:cubicBezTo>
                  <a:cubicBezTo>
                    <a:pt x="1366" y="23"/>
                    <a:pt x="1377" y="28"/>
                    <a:pt x="1386" y="34"/>
                  </a:cubicBezTo>
                  <a:cubicBezTo>
                    <a:pt x="1389" y="34"/>
                    <a:pt x="1391" y="37"/>
                    <a:pt x="1391" y="37"/>
                  </a:cubicBezTo>
                  <a:lnTo>
                    <a:pt x="1377" y="37"/>
                  </a:lnTo>
                  <a:cubicBezTo>
                    <a:pt x="1376" y="35"/>
                    <a:pt x="1374" y="34"/>
                    <a:pt x="1373" y="33"/>
                  </a:cubicBezTo>
                  <a:lnTo>
                    <a:pt x="1372" y="34"/>
                  </a:lnTo>
                  <a:cubicBezTo>
                    <a:pt x="1352" y="23"/>
                    <a:pt x="1327" y="25"/>
                    <a:pt x="1307" y="42"/>
                  </a:cubicBezTo>
                  <a:lnTo>
                    <a:pt x="1304" y="45"/>
                  </a:lnTo>
                  <a:cubicBezTo>
                    <a:pt x="1298" y="45"/>
                    <a:pt x="1296" y="42"/>
                    <a:pt x="1290" y="45"/>
                  </a:cubicBezTo>
                  <a:cubicBezTo>
                    <a:pt x="1298" y="40"/>
                    <a:pt x="1307" y="34"/>
                    <a:pt x="1315" y="31"/>
                  </a:cubicBezTo>
                  <a:close/>
                  <a:moveTo>
                    <a:pt x="1358" y="25"/>
                  </a:moveTo>
                  <a:cubicBezTo>
                    <a:pt x="1363" y="28"/>
                    <a:pt x="1369" y="28"/>
                    <a:pt x="1375" y="31"/>
                  </a:cubicBezTo>
                  <a:lnTo>
                    <a:pt x="1373" y="33"/>
                  </a:lnTo>
                  <a:cubicBezTo>
                    <a:pt x="1368" y="30"/>
                    <a:pt x="1362" y="28"/>
                    <a:pt x="1358" y="25"/>
                  </a:cubicBezTo>
                  <a:close/>
                  <a:moveTo>
                    <a:pt x="1033" y="93"/>
                  </a:moveTo>
                  <a:cubicBezTo>
                    <a:pt x="1047" y="88"/>
                    <a:pt x="1061" y="90"/>
                    <a:pt x="1075" y="93"/>
                  </a:cubicBezTo>
                  <a:lnTo>
                    <a:pt x="1070" y="93"/>
                  </a:lnTo>
                  <a:cubicBezTo>
                    <a:pt x="1047" y="88"/>
                    <a:pt x="1022" y="96"/>
                    <a:pt x="1008" y="113"/>
                  </a:cubicBezTo>
                  <a:cubicBezTo>
                    <a:pt x="1005" y="113"/>
                    <a:pt x="1002" y="116"/>
                    <a:pt x="999" y="116"/>
                  </a:cubicBezTo>
                  <a:cubicBezTo>
                    <a:pt x="1008" y="104"/>
                    <a:pt x="1019" y="96"/>
                    <a:pt x="1033" y="93"/>
                  </a:cubicBezTo>
                  <a:close/>
                  <a:moveTo>
                    <a:pt x="545" y="378"/>
                  </a:moveTo>
                  <a:cubicBezTo>
                    <a:pt x="542" y="381"/>
                    <a:pt x="542" y="381"/>
                    <a:pt x="539" y="381"/>
                  </a:cubicBezTo>
                  <a:cubicBezTo>
                    <a:pt x="542" y="381"/>
                    <a:pt x="542" y="378"/>
                    <a:pt x="545" y="378"/>
                  </a:cubicBezTo>
                  <a:close/>
                  <a:moveTo>
                    <a:pt x="508" y="395"/>
                  </a:moveTo>
                  <a:cubicBezTo>
                    <a:pt x="516" y="387"/>
                    <a:pt x="526" y="382"/>
                    <a:pt x="537" y="381"/>
                  </a:cubicBezTo>
                  <a:cubicBezTo>
                    <a:pt x="535" y="381"/>
                    <a:pt x="534" y="382"/>
                    <a:pt x="534" y="384"/>
                  </a:cubicBezTo>
                  <a:lnTo>
                    <a:pt x="534" y="387"/>
                  </a:lnTo>
                  <a:cubicBezTo>
                    <a:pt x="517" y="392"/>
                    <a:pt x="505" y="406"/>
                    <a:pt x="500" y="420"/>
                  </a:cubicBezTo>
                  <a:lnTo>
                    <a:pt x="494" y="420"/>
                  </a:lnTo>
                  <a:cubicBezTo>
                    <a:pt x="497" y="412"/>
                    <a:pt x="503" y="403"/>
                    <a:pt x="508" y="395"/>
                  </a:cubicBezTo>
                  <a:close/>
                  <a:moveTo>
                    <a:pt x="390" y="530"/>
                  </a:moveTo>
                  <a:lnTo>
                    <a:pt x="384" y="536"/>
                  </a:lnTo>
                  <a:lnTo>
                    <a:pt x="384" y="533"/>
                  </a:lnTo>
                  <a:cubicBezTo>
                    <a:pt x="387" y="533"/>
                    <a:pt x="387" y="530"/>
                    <a:pt x="390" y="530"/>
                  </a:cubicBezTo>
                  <a:close/>
                  <a:moveTo>
                    <a:pt x="325" y="584"/>
                  </a:moveTo>
                  <a:cubicBezTo>
                    <a:pt x="331" y="584"/>
                    <a:pt x="336" y="590"/>
                    <a:pt x="336" y="595"/>
                  </a:cubicBezTo>
                  <a:cubicBezTo>
                    <a:pt x="336" y="595"/>
                    <a:pt x="333" y="595"/>
                    <a:pt x="331" y="598"/>
                  </a:cubicBezTo>
                  <a:cubicBezTo>
                    <a:pt x="331" y="601"/>
                    <a:pt x="331" y="601"/>
                    <a:pt x="328" y="604"/>
                  </a:cubicBezTo>
                  <a:cubicBezTo>
                    <a:pt x="322" y="601"/>
                    <a:pt x="319" y="595"/>
                    <a:pt x="319" y="590"/>
                  </a:cubicBezTo>
                  <a:cubicBezTo>
                    <a:pt x="322" y="587"/>
                    <a:pt x="322" y="584"/>
                    <a:pt x="325" y="584"/>
                  </a:cubicBezTo>
                  <a:close/>
                  <a:moveTo>
                    <a:pt x="280" y="632"/>
                  </a:moveTo>
                  <a:lnTo>
                    <a:pt x="285" y="632"/>
                  </a:lnTo>
                  <a:cubicBezTo>
                    <a:pt x="285" y="635"/>
                    <a:pt x="283" y="638"/>
                    <a:pt x="283" y="638"/>
                  </a:cubicBezTo>
                  <a:cubicBezTo>
                    <a:pt x="280" y="638"/>
                    <a:pt x="283" y="638"/>
                    <a:pt x="283" y="638"/>
                  </a:cubicBezTo>
                  <a:cubicBezTo>
                    <a:pt x="283" y="635"/>
                    <a:pt x="280" y="635"/>
                    <a:pt x="280" y="632"/>
                  </a:cubicBezTo>
                  <a:close/>
                  <a:moveTo>
                    <a:pt x="150" y="875"/>
                  </a:moveTo>
                  <a:cubicBezTo>
                    <a:pt x="153" y="872"/>
                    <a:pt x="156" y="866"/>
                    <a:pt x="161" y="863"/>
                  </a:cubicBezTo>
                  <a:cubicBezTo>
                    <a:pt x="161" y="863"/>
                    <a:pt x="161" y="860"/>
                    <a:pt x="158" y="860"/>
                  </a:cubicBezTo>
                  <a:cubicBezTo>
                    <a:pt x="158" y="855"/>
                    <a:pt x="158" y="849"/>
                    <a:pt x="164" y="849"/>
                  </a:cubicBezTo>
                  <a:cubicBezTo>
                    <a:pt x="164" y="852"/>
                    <a:pt x="170" y="855"/>
                    <a:pt x="170" y="858"/>
                  </a:cubicBezTo>
                  <a:lnTo>
                    <a:pt x="161" y="883"/>
                  </a:lnTo>
                  <a:cubicBezTo>
                    <a:pt x="156" y="889"/>
                    <a:pt x="150" y="897"/>
                    <a:pt x="147" y="906"/>
                  </a:cubicBezTo>
                  <a:cubicBezTo>
                    <a:pt x="144" y="908"/>
                    <a:pt x="144" y="914"/>
                    <a:pt x="141" y="917"/>
                  </a:cubicBezTo>
                  <a:cubicBezTo>
                    <a:pt x="139" y="911"/>
                    <a:pt x="139" y="906"/>
                    <a:pt x="136" y="903"/>
                  </a:cubicBezTo>
                  <a:cubicBezTo>
                    <a:pt x="141" y="891"/>
                    <a:pt x="144" y="880"/>
                    <a:pt x="150" y="875"/>
                  </a:cubicBezTo>
                  <a:close/>
                  <a:moveTo>
                    <a:pt x="62" y="1151"/>
                  </a:moveTo>
                  <a:lnTo>
                    <a:pt x="62" y="1157"/>
                  </a:lnTo>
                  <a:cubicBezTo>
                    <a:pt x="60" y="1168"/>
                    <a:pt x="60" y="1182"/>
                    <a:pt x="60" y="1193"/>
                  </a:cubicBezTo>
                  <a:cubicBezTo>
                    <a:pt x="60" y="1199"/>
                    <a:pt x="54" y="1207"/>
                    <a:pt x="54" y="1213"/>
                  </a:cubicBezTo>
                  <a:cubicBezTo>
                    <a:pt x="51" y="1207"/>
                    <a:pt x="51" y="1198"/>
                    <a:pt x="51" y="1190"/>
                  </a:cubicBezTo>
                  <a:cubicBezTo>
                    <a:pt x="51" y="1181"/>
                    <a:pt x="51" y="1174"/>
                    <a:pt x="54" y="1165"/>
                  </a:cubicBezTo>
                  <a:cubicBezTo>
                    <a:pt x="54" y="1165"/>
                    <a:pt x="54" y="1162"/>
                    <a:pt x="51" y="1162"/>
                  </a:cubicBezTo>
                  <a:cubicBezTo>
                    <a:pt x="51" y="1157"/>
                    <a:pt x="51" y="1148"/>
                    <a:pt x="62" y="1151"/>
                  </a:cubicBezTo>
                  <a:close/>
                  <a:moveTo>
                    <a:pt x="29" y="1382"/>
                  </a:moveTo>
                  <a:cubicBezTo>
                    <a:pt x="28" y="1382"/>
                    <a:pt x="28" y="1381"/>
                    <a:pt x="28" y="1380"/>
                  </a:cubicBezTo>
                  <a:cubicBezTo>
                    <a:pt x="28" y="1381"/>
                    <a:pt x="29" y="1381"/>
                    <a:pt x="29" y="1382"/>
                  </a:cubicBezTo>
                  <a:close/>
                  <a:moveTo>
                    <a:pt x="20" y="1494"/>
                  </a:moveTo>
                  <a:cubicBezTo>
                    <a:pt x="20" y="1497"/>
                    <a:pt x="17" y="1497"/>
                    <a:pt x="17" y="1500"/>
                  </a:cubicBezTo>
                  <a:cubicBezTo>
                    <a:pt x="15" y="1500"/>
                    <a:pt x="12" y="1487"/>
                    <a:pt x="17" y="1490"/>
                  </a:cubicBezTo>
                  <a:lnTo>
                    <a:pt x="20" y="1487"/>
                  </a:lnTo>
                  <a:cubicBezTo>
                    <a:pt x="17" y="1481"/>
                    <a:pt x="17" y="1473"/>
                    <a:pt x="20" y="1467"/>
                  </a:cubicBezTo>
                  <a:cubicBezTo>
                    <a:pt x="20" y="1464"/>
                    <a:pt x="26" y="1461"/>
                    <a:pt x="26" y="1458"/>
                  </a:cubicBezTo>
                  <a:cubicBezTo>
                    <a:pt x="26" y="1464"/>
                    <a:pt x="23" y="1470"/>
                    <a:pt x="23" y="1473"/>
                  </a:cubicBezTo>
                  <a:cubicBezTo>
                    <a:pt x="23" y="1484"/>
                    <a:pt x="26" y="1494"/>
                    <a:pt x="26" y="1505"/>
                  </a:cubicBezTo>
                  <a:cubicBezTo>
                    <a:pt x="23" y="1503"/>
                    <a:pt x="23" y="1500"/>
                    <a:pt x="20" y="1494"/>
                  </a:cubicBezTo>
                  <a:close/>
                  <a:moveTo>
                    <a:pt x="77" y="1866"/>
                  </a:moveTo>
                  <a:cubicBezTo>
                    <a:pt x="79" y="1864"/>
                    <a:pt x="79" y="1864"/>
                    <a:pt x="82" y="1864"/>
                  </a:cubicBezTo>
                  <a:cubicBezTo>
                    <a:pt x="82" y="1864"/>
                    <a:pt x="79" y="1864"/>
                    <a:pt x="77" y="1866"/>
                  </a:cubicBezTo>
                  <a:close/>
                  <a:moveTo>
                    <a:pt x="79" y="1945"/>
                  </a:moveTo>
                  <a:cubicBezTo>
                    <a:pt x="73" y="1931"/>
                    <a:pt x="74" y="1917"/>
                    <a:pt x="79" y="1903"/>
                  </a:cubicBezTo>
                  <a:lnTo>
                    <a:pt x="79" y="1909"/>
                  </a:lnTo>
                  <a:cubicBezTo>
                    <a:pt x="74" y="1931"/>
                    <a:pt x="82" y="1954"/>
                    <a:pt x="99" y="1968"/>
                  </a:cubicBezTo>
                  <a:cubicBezTo>
                    <a:pt x="99" y="1971"/>
                    <a:pt x="102" y="1974"/>
                    <a:pt x="102" y="1977"/>
                  </a:cubicBezTo>
                  <a:cubicBezTo>
                    <a:pt x="91" y="1971"/>
                    <a:pt x="84" y="1960"/>
                    <a:pt x="79" y="1945"/>
                  </a:cubicBezTo>
                  <a:close/>
                  <a:moveTo>
                    <a:pt x="141" y="2081"/>
                  </a:moveTo>
                  <a:lnTo>
                    <a:pt x="141" y="2075"/>
                  </a:lnTo>
                  <a:cubicBezTo>
                    <a:pt x="144" y="2078"/>
                    <a:pt x="141" y="2084"/>
                    <a:pt x="144" y="2087"/>
                  </a:cubicBezTo>
                  <a:cubicBezTo>
                    <a:pt x="141" y="2084"/>
                    <a:pt x="141" y="2084"/>
                    <a:pt x="141" y="2081"/>
                  </a:cubicBezTo>
                  <a:close/>
                  <a:moveTo>
                    <a:pt x="229" y="2244"/>
                  </a:moveTo>
                  <a:cubicBezTo>
                    <a:pt x="235" y="2242"/>
                    <a:pt x="237" y="2244"/>
                    <a:pt x="240" y="2250"/>
                  </a:cubicBezTo>
                  <a:cubicBezTo>
                    <a:pt x="238" y="2250"/>
                    <a:pt x="235" y="2248"/>
                    <a:pt x="230" y="2245"/>
                  </a:cubicBezTo>
                  <a:cubicBezTo>
                    <a:pt x="230" y="2246"/>
                    <a:pt x="229" y="2246"/>
                    <a:pt x="229" y="2244"/>
                  </a:cubicBezTo>
                  <a:close/>
                  <a:moveTo>
                    <a:pt x="229" y="2244"/>
                  </a:moveTo>
                  <a:cubicBezTo>
                    <a:pt x="230" y="2244"/>
                    <a:pt x="230" y="2245"/>
                    <a:pt x="230" y="2245"/>
                  </a:cubicBezTo>
                  <a:cubicBezTo>
                    <a:pt x="230" y="2245"/>
                    <a:pt x="229" y="2245"/>
                    <a:pt x="229" y="2244"/>
                  </a:cubicBezTo>
                  <a:close/>
                  <a:moveTo>
                    <a:pt x="294" y="2354"/>
                  </a:moveTo>
                  <a:cubicBezTo>
                    <a:pt x="290" y="2351"/>
                    <a:pt x="288" y="2347"/>
                    <a:pt x="286" y="2342"/>
                  </a:cubicBezTo>
                  <a:cubicBezTo>
                    <a:pt x="289" y="2346"/>
                    <a:pt x="291" y="2349"/>
                    <a:pt x="294" y="2354"/>
                  </a:cubicBezTo>
                  <a:cubicBezTo>
                    <a:pt x="297" y="2354"/>
                    <a:pt x="299" y="2352"/>
                    <a:pt x="302" y="2352"/>
                  </a:cubicBezTo>
                  <a:lnTo>
                    <a:pt x="302" y="2357"/>
                  </a:lnTo>
                  <a:cubicBezTo>
                    <a:pt x="305" y="2360"/>
                    <a:pt x="305" y="2363"/>
                    <a:pt x="305" y="2366"/>
                  </a:cubicBezTo>
                  <a:cubicBezTo>
                    <a:pt x="299" y="2363"/>
                    <a:pt x="297" y="2357"/>
                    <a:pt x="294" y="2354"/>
                  </a:cubicBezTo>
                  <a:close/>
                  <a:moveTo>
                    <a:pt x="283" y="2332"/>
                  </a:moveTo>
                  <a:cubicBezTo>
                    <a:pt x="284" y="2333"/>
                    <a:pt x="284" y="2335"/>
                    <a:pt x="284" y="2336"/>
                  </a:cubicBezTo>
                  <a:cubicBezTo>
                    <a:pt x="283" y="2335"/>
                    <a:pt x="283" y="2333"/>
                    <a:pt x="283" y="2332"/>
                  </a:cubicBezTo>
                  <a:close/>
                  <a:moveTo>
                    <a:pt x="384" y="2470"/>
                  </a:moveTo>
                  <a:cubicBezTo>
                    <a:pt x="380" y="2466"/>
                    <a:pt x="377" y="2461"/>
                    <a:pt x="374" y="2455"/>
                  </a:cubicBezTo>
                  <a:lnTo>
                    <a:pt x="376" y="2456"/>
                  </a:lnTo>
                  <a:lnTo>
                    <a:pt x="378" y="2453"/>
                  </a:lnTo>
                  <a:cubicBezTo>
                    <a:pt x="381" y="2462"/>
                    <a:pt x="387" y="2467"/>
                    <a:pt x="395" y="2473"/>
                  </a:cubicBezTo>
                  <a:cubicBezTo>
                    <a:pt x="395" y="2473"/>
                    <a:pt x="395" y="2476"/>
                    <a:pt x="398" y="2476"/>
                  </a:cubicBezTo>
                  <a:lnTo>
                    <a:pt x="401" y="2476"/>
                  </a:lnTo>
                  <a:cubicBezTo>
                    <a:pt x="401" y="2476"/>
                    <a:pt x="398" y="2479"/>
                    <a:pt x="398" y="2481"/>
                  </a:cubicBezTo>
                  <a:cubicBezTo>
                    <a:pt x="393" y="2479"/>
                    <a:pt x="390" y="2476"/>
                    <a:pt x="384" y="2470"/>
                  </a:cubicBezTo>
                  <a:close/>
                  <a:moveTo>
                    <a:pt x="404" y="2510"/>
                  </a:moveTo>
                  <a:cubicBezTo>
                    <a:pt x="407" y="2510"/>
                    <a:pt x="407" y="2507"/>
                    <a:pt x="404" y="2510"/>
                  </a:cubicBezTo>
                  <a:close/>
                  <a:moveTo>
                    <a:pt x="573" y="2656"/>
                  </a:moveTo>
                  <a:cubicBezTo>
                    <a:pt x="573" y="2654"/>
                    <a:pt x="576" y="2651"/>
                    <a:pt x="579" y="2648"/>
                  </a:cubicBezTo>
                  <a:cubicBezTo>
                    <a:pt x="582" y="2651"/>
                    <a:pt x="582" y="2654"/>
                    <a:pt x="587" y="2656"/>
                  </a:cubicBezTo>
                  <a:cubicBezTo>
                    <a:pt x="582" y="2659"/>
                    <a:pt x="576" y="2659"/>
                    <a:pt x="573" y="2656"/>
                  </a:cubicBezTo>
                  <a:close/>
                  <a:moveTo>
                    <a:pt x="607" y="2670"/>
                  </a:moveTo>
                  <a:cubicBezTo>
                    <a:pt x="610" y="2673"/>
                    <a:pt x="616" y="2676"/>
                    <a:pt x="618" y="2679"/>
                  </a:cubicBezTo>
                  <a:cubicBezTo>
                    <a:pt x="621" y="2682"/>
                    <a:pt x="627" y="2682"/>
                    <a:pt x="630" y="2685"/>
                  </a:cubicBezTo>
                  <a:cubicBezTo>
                    <a:pt x="621" y="2682"/>
                    <a:pt x="613" y="2676"/>
                    <a:pt x="607" y="2670"/>
                  </a:cubicBezTo>
                  <a:close/>
                  <a:moveTo>
                    <a:pt x="627" y="2699"/>
                  </a:moveTo>
                  <a:lnTo>
                    <a:pt x="618" y="2699"/>
                  </a:lnTo>
                  <a:lnTo>
                    <a:pt x="618" y="2696"/>
                  </a:lnTo>
                  <a:lnTo>
                    <a:pt x="624" y="2696"/>
                  </a:lnTo>
                  <a:cubicBezTo>
                    <a:pt x="627" y="2696"/>
                    <a:pt x="627" y="2696"/>
                    <a:pt x="627" y="2699"/>
                  </a:cubicBezTo>
                  <a:close/>
                  <a:moveTo>
                    <a:pt x="649" y="2693"/>
                  </a:moveTo>
                  <a:lnTo>
                    <a:pt x="649" y="2690"/>
                  </a:lnTo>
                  <a:cubicBezTo>
                    <a:pt x="651" y="2689"/>
                    <a:pt x="653" y="2690"/>
                    <a:pt x="656" y="2691"/>
                  </a:cubicBezTo>
                  <a:cubicBezTo>
                    <a:pt x="654" y="2691"/>
                    <a:pt x="652" y="2692"/>
                    <a:pt x="649" y="2693"/>
                  </a:cubicBezTo>
                  <a:close/>
                  <a:moveTo>
                    <a:pt x="836" y="2811"/>
                  </a:moveTo>
                  <a:cubicBezTo>
                    <a:pt x="838" y="2811"/>
                    <a:pt x="838" y="2814"/>
                    <a:pt x="841" y="2814"/>
                  </a:cubicBezTo>
                  <a:cubicBezTo>
                    <a:pt x="842" y="2815"/>
                    <a:pt x="843" y="2817"/>
                    <a:pt x="845" y="2817"/>
                  </a:cubicBezTo>
                  <a:cubicBezTo>
                    <a:pt x="840" y="2818"/>
                    <a:pt x="836" y="2818"/>
                    <a:pt x="836" y="2811"/>
                  </a:cubicBezTo>
                  <a:close/>
                  <a:moveTo>
                    <a:pt x="861" y="2828"/>
                  </a:moveTo>
                  <a:lnTo>
                    <a:pt x="855" y="2823"/>
                  </a:lnTo>
                  <a:cubicBezTo>
                    <a:pt x="858" y="2824"/>
                    <a:pt x="861" y="2827"/>
                    <a:pt x="863" y="2829"/>
                  </a:cubicBezTo>
                  <a:cubicBezTo>
                    <a:pt x="862" y="2829"/>
                    <a:pt x="862" y="2829"/>
                    <a:pt x="861" y="2828"/>
                  </a:cubicBezTo>
                  <a:close/>
                  <a:moveTo>
                    <a:pt x="1140" y="2924"/>
                  </a:moveTo>
                  <a:cubicBezTo>
                    <a:pt x="1146" y="2921"/>
                    <a:pt x="1149" y="2921"/>
                    <a:pt x="1152" y="2924"/>
                  </a:cubicBezTo>
                  <a:cubicBezTo>
                    <a:pt x="1152" y="2927"/>
                    <a:pt x="1152" y="2927"/>
                    <a:pt x="1149" y="2927"/>
                  </a:cubicBezTo>
                  <a:lnTo>
                    <a:pt x="1154" y="2927"/>
                  </a:lnTo>
                  <a:cubicBezTo>
                    <a:pt x="1154" y="2930"/>
                    <a:pt x="1152" y="2930"/>
                    <a:pt x="1152" y="2933"/>
                  </a:cubicBezTo>
                  <a:cubicBezTo>
                    <a:pt x="1149" y="2930"/>
                    <a:pt x="1143" y="2927"/>
                    <a:pt x="1140" y="2924"/>
                  </a:cubicBezTo>
                  <a:close/>
                  <a:moveTo>
                    <a:pt x="2296" y="2701"/>
                  </a:moveTo>
                  <a:cubicBezTo>
                    <a:pt x="2296" y="2699"/>
                    <a:pt x="2299" y="2696"/>
                    <a:pt x="2305" y="2696"/>
                  </a:cubicBezTo>
                  <a:cubicBezTo>
                    <a:pt x="2305" y="2699"/>
                    <a:pt x="2302" y="2699"/>
                    <a:pt x="2302" y="2699"/>
                  </a:cubicBezTo>
                  <a:cubicBezTo>
                    <a:pt x="2299" y="2699"/>
                    <a:pt x="2299" y="2701"/>
                    <a:pt x="2296" y="2701"/>
                  </a:cubicBezTo>
                  <a:close/>
                  <a:moveTo>
                    <a:pt x="2468" y="2597"/>
                  </a:moveTo>
                  <a:cubicBezTo>
                    <a:pt x="2468" y="2600"/>
                    <a:pt x="2466" y="2600"/>
                    <a:pt x="2466" y="2606"/>
                  </a:cubicBezTo>
                  <a:cubicBezTo>
                    <a:pt x="2463" y="2606"/>
                    <a:pt x="2466" y="2603"/>
                    <a:pt x="2466" y="2600"/>
                  </a:cubicBezTo>
                  <a:lnTo>
                    <a:pt x="2460" y="2600"/>
                  </a:lnTo>
                  <a:lnTo>
                    <a:pt x="2466" y="2594"/>
                  </a:lnTo>
                  <a:cubicBezTo>
                    <a:pt x="2468" y="2591"/>
                    <a:pt x="2468" y="2589"/>
                    <a:pt x="2471" y="2589"/>
                  </a:cubicBezTo>
                  <a:cubicBezTo>
                    <a:pt x="2477" y="2583"/>
                    <a:pt x="2482" y="2580"/>
                    <a:pt x="2488" y="2575"/>
                  </a:cubicBezTo>
                  <a:cubicBezTo>
                    <a:pt x="2482" y="2583"/>
                    <a:pt x="2477" y="2589"/>
                    <a:pt x="2468" y="2597"/>
                  </a:cubicBezTo>
                  <a:close/>
                  <a:moveTo>
                    <a:pt x="2584" y="2380"/>
                  </a:moveTo>
                  <a:cubicBezTo>
                    <a:pt x="2584" y="2366"/>
                    <a:pt x="2584" y="2352"/>
                    <a:pt x="2578" y="2340"/>
                  </a:cubicBezTo>
                  <a:cubicBezTo>
                    <a:pt x="2570" y="2329"/>
                    <a:pt x="2539" y="2329"/>
                    <a:pt x="2556" y="2307"/>
                  </a:cubicBezTo>
                  <a:cubicBezTo>
                    <a:pt x="2576" y="2318"/>
                    <a:pt x="2593" y="2335"/>
                    <a:pt x="2598" y="2357"/>
                  </a:cubicBezTo>
                  <a:cubicBezTo>
                    <a:pt x="2595" y="2366"/>
                    <a:pt x="2590" y="2371"/>
                    <a:pt x="2584" y="2380"/>
                  </a:cubicBezTo>
                  <a:close/>
                  <a:moveTo>
                    <a:pt x="2925" y="1788"/>
                  </a:moveTo>
                  <a:cubicBezTo>
                    <a:pt x="2925" y="1785"/>
                    <a:pt x="2925" y="1782"/>
                    <a:pt x="2928" y="1779"/>
                  </a:cubicBezTo>
                  <a:cubicBezTo>
                    <a:pt x="2928" y="1785"/>
                    <a:pt x="2928" y="1788"/>
                    <a:pt x="2925" y="178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6" name="Freeform 3"/>
            <p:cNvSpPr>
              <a:spLocks noChangeArrowheads="1"/>
            </p:cNvSpPr>
            <p:nvPr/>
          </p:nvSpPr>
          <p:spPr bwMode="auto">
            <a:xfrm>
              <a:off x="4621213" y="2771775"/>
              <a:ext cx="1587" cy="1588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0 h 6"/>
                <a:gd name="T4" fmla="*/ 0 w 3"/>
                <a:gd name="T5" fmla="*/ 5 h 6"/>
                <a:gd name="T6" fmla="*/ 0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0"/>
                  </a:moveTo>
                  <a:lnTo>
                    <a:pt x="0" y="0"/>
                  </a:lnTo>
                  <a:cubicBezTo>
                    <a:pt x="0" y="3"/>
                    <a:pt x="0" y="3"/>
                    <a:pt x="0" y="5"/>
                  </a:cubicBezTo>
                  <a:cubicBezTo>
                    <a:pt x="2" y="3"/>
                    <a:pt x="2" y="3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7" name="Freeform 4"/>
            <p:cNvSpPr>
              <a:spLocks noChangeArrowheads="1"/>
            </p:cNvSpPr>
            <p:nvPr/>
          </p:nvSpPr>
          <p:spPr bwMode="auto">
            <a:xfrm>
              <a:off x="3600450" y="2051050"/>
              <a:ext cx="1057275" cy="1055688"/>
            </a:xfrm>
            <a:custGeom>
              <a:avLst/>
              <a:gdLst>
                <a:gd name="T0" fmla="*/ 1768 w 2937"/>
                <a:gd name="T1" fmla="*/ 82 h 2931"/>
                <a:gd name="T2" fmla="*/ 1703 w 2937"/>
                <a:gd name="T3" fmla="*/ 56 h 2931"/>
                <a:gd name="T4" fmla="*/ 1582 w 2937"/>
                <a:gd name="T5" fmla="*/ 87 h 2931"/>
                <a:gd name="T6" fmla="*/ 1460 w 2937"/>
                <a:gd name="T7" fmla="*/ 180 h 2931"/>
                <a:gd name="T8" fmla="*/ 1374 w 2937"/>
                <a:gd name="T9" fmla="*/ 2603 h 2931"/>
                <a:gd name="T10" fmla="*/ 1246 w 2937"/>
                <a:gd name="T11" fmla="*/ 198 h 2931"/>
                <a:gd name="T12" fmla="*/ 1202 w 2937"/>
                <a:gd name="T13" fmla="*/ 107 h 2931"/>
                <a:gd name="T14" fmla="*/ 1078 w 2937"/>
                <a:gd name="T15" fmla="*/ 2732 h 2931"/>
                <a:gd name="T16" fmla="*/ 1078 w 2937"/>
                <a:gd name="T17" fmla="*/ 1145 h 2931"/>
                <a:gd name="T18" fmla="*/ 1038 w 2937"/>
                <a:gd name="T19" fmla="*/ 767 h 2931"/>
                <a:gd name="T20" fmla="*/ 948 w 2937"/>
                <a:gd name="T21" fmla="*/ 2713 h 2931"/>
                <a:gd name="T22" fmla="*/ 920 w 2937"/>
                <a:gd name="T23" fmla="*/ 144 h 2931"/>
                <a:gd name="T24" fmla="*/ 846 w 2937"/>
                <a:gd name="T25" fmla="*/ 2526 h 2931"/>
                <a:gd name="T26" fmla="*/ 731 w 2937"/>
                <a:gd name="T27" fmla="*/ 2524 h 2931"/>
                <a:gd name="T28" fmla="*/ 680 w 2937"/>
                <a:gd name="T29" fmla="*/ 2512 h 2931"/>
                <a:gd name="T30" fmla="*/ 440 w 2937"/>
                <a:gd name="T31" fmla="*/ 2431 h 2931"/>
                <a:gd name="T32" fmla="*/ 463 w 2937"/>
                <a:gd name="T33" fmla="*/ 2213 h 2931"/>
                <a:gd name="T34" fmla="*/ 400 w 2937"/>
                <a:gd name="T35" fmla="*/ 688 h 2931"/>
                <a:gd name="T36" fmla="*/ 530 w 2937"/>
                <a:gd name="T37" fmla="*/ 2442 h 2931"/>
                <a:gd name="T38" fmla="*/ 609 w 2937"/>
                <a:gd name="T39" fmla="*/ 2411 h 2931"/>
                <a:gd name="T40" fmla="*/ 451 w 2937"/>
                <a:gd name="T41" fmla="*/ 773 h 2931"/>
                <a:gd name="T42" fmla="*/ 347 w 2937"/>
                <a:gd name="T43" fmla="*/ 2284 h 2931"/>
                <a:gd name="T44" fmla="*/ 179 w 2937"/>
                <a:gd name="T45" fmla="*/ 1680 h 2931"/>
                <a:gd name="T46" fmla="*/ 282 w 2937"/>
                <a:gd name="T47" fmla="*/ 1962 h 2931"/>
                <a:gd name="T48" fmla="*/ 228 w 2937"/>
                <a:gd name="T49" fmla="*/ 2072 h 2931"/>
                <a:gd name="T50" fmla="*/ 183 w 2937"/>
                <a:gd name="T51" fmla="*/ 1466 h 2931"/>
                <a:gd name="T52" fmla="*/ 121 w 2937"/>
                <a:gd name="T53" fmla="*/ 1441 h 2931"/>
                <a:gd name="T54" fmla="*/ 130 w 2937"/>
                <a:gd name="T55" fmla="*/ 1689 h 2931"/>
                <a:gd name="T56" fmla="*/ 68 w 2937"/>
                <a:gd name="T57" fmla="*/ 1424 h 2931"/>
                <a:gd name="T58" fmla="*/ 130 w 2937"/>
                <a:gd name="T59" fmla="*/ 2013 h 2931"/>
                <a:gd name="T60" fmla="*/ 285 w 2937"/>
                <a:gd name="T61" fmla="*/ 2292 h 2931"/>
                <a:gd name="T62" fmla="*/ 403 w 2937"/>
                <a:gd name="T63" fmla="*/ 2408 h 2931"/>
                <a:gd name="T64" fmla="*/ 629 w 2937"/>
                <a:gd name="T65" fmla="*/ 2566 h 2931"/>
                <a:gd name="T66" fmla="*/ 855 w 2937"/>
                <a:gd name="T67" fmla="*/ 2659 h 2931"/>
                <a:gd name="T68" fmla="*/ 996 w 2937"/>
                <a:gd name="T69" fmla="*/ 2673 h 2931"/>
                <a:gd name="T70" fmla="*/ 1210 w 2937"/>
                <a:gd name="T71" fmla="*/ 2467 h 2931"/>
                <a:gd name="T72" fmla="*/ 1428 w 2937"/>
                <a:gd name="T73" fmla="*/ 2462 h 2931"/>
                <a:gd name="T74" fmla="*/ 1675 w 2937"/>
                <a:gd name="T75" fmla="*/ 2780 h 2931"/>
                <a:gd name="T76" fmla="*/ 2555 w 2937"/>
                <a:gd name="T77" fmla="*/ 2431 h 2931"/>
                <a:gd name="T78" fmla="*/ 2569 w 2937"/>
                <a:gd name="T79" fmla="*/ 2191 h 2931"/>
                <a:gd name="T80" fmla="*/ 2637 w 2937"/>
                <a:gd name="T81" fmla="*/ 1204 h 2931"/>
                <a:gd name="T82" fmla="*/ 2705 w 2937"/>
                <a:gd name="T83" fmla="*/ 1669 h 2931"/>
                <a:gd name="T84" fmla="*/ 2617 w 2937"/>
                <a:gd name="T85" fmla="*/ 1514 h 2931"/>
                <a:gd name="T86" fmla="*/ 2586 w 2937"/>
                <a:gd name="T87" fmla="*/ 1134 h 2931"/>
                <a:gd name="T88" fmla="*/ 2507 w 2937"/>
                <a:gd name="T89" fmla="*/ 2126 h 2931"/>
                <a:gd name="T90" fmla="*/ 2730 w 2937"/>
                <a:gd name="T91" fmla="*/ 2041 h 2931"/>
                <a:gd name="T92" fmla="*/ 2835 w 2937"/>
                <a:gd name="T93" fmla="*/ 1641 h 2931"/>
                <a:gd name="T94" fmla="*/ 2871 w 2937"/>
                <a:gd name="T95" fmla="*/ 1340 h 2931"/>
                <a:gd name="T96" fmla="*/ 2719 w 2937"/>
                <a:gd name="T97" fmla="*/ 781 h 2931"/>
                <a:gd name="T98" fmla="*/ 2423 w 2937"/>
                <a:gd name="T99" fmla="*/ 1379 h 2931"/>
                <a:gd name="T100" fmla="*/ 2383 w 2937"/>
                <a:gd name="T101" fmla="*/ 1210 h 2931"/>
                <a:gd name="T102" fmla="*/ 2363 w 2937"/>
                <a:gd name="T103" fmla="*/ 807 h 2931"/>
                <a:gd name="T104" fmla="*/ 2262 w 2937"/>
                <a:gd name="T105" fmla="*/ 2549 h 2931"/>
                <a:gd name="T106" fmla="*/ 2135 w 2937"/>
                <a:gd name="T107" fmla="*/ 307 h 2931"/>
                <a:gd name="T108" fmla="*/ 2044 w 2937"/>
                <a:gd name="T109" fmla="*/ 2422 h 2931"/>
                <a:gd name="T110" fmla="*/ 1997 w 2937"/>
                <a:gd name="T111" fmla="*/ 274 h 2931"/>
                <a:gd name="T112" fmla="*/ 1853 w 2937"/>
                <a:gd name="T113" fmla="*/ 118 h 2931"/>
                <a:gd name="T114" fmla="*/ 2016 w 2937"/>
                <a:gd name="T115" fmla="*/ 2605 h 2931"/>
                <a:gd name="T116" fmla="*/ 2129 w 2937"/>
                <a:gd name="T117" fmla="*/ 2433 h 2931"/>
                <a:gd name="T118" fmla="*/ 2349 w 2937"/>
                <a:gd name="T119" fmla="*/ 2622 h 2931"/>
                <a:gd name="T120" fmla="*/ 2513 w 2937"/>
                <a:gd name="T121" fmla="*/ 2354 h 2931"/>
                <a:gd name="T122" fmla="*/ 2710 w 2937"/>
                <a:gd name="T123" fmla="*/ 2233 h 2931"/>
                <a:gd name="T124" fmla="*/ 2851 w 2937"/>
                <a:gd name="T125" fmla="*/ 1878 h 29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37" h="2931">
                  <a:moveTo>
                    <a:pt x="8" y="1658"/>
                  </a:moveTo>
                  <a:cubicBezTo>
                    <a:pt x="14" y="1658"/>
                    <a:pt x="20" y="1652"/>
                    <a:pt x="25" y="1652"/>
                  </a:cubicBezTo>
                  <a:cubicBezTo>
                    <a:pt x="28" y="1655"/>
                    <a:pt x="28" y="1660"/>
                    <a:pt x="31" y="1663"/>
                  </a:cubicBezTo>
                  <a:cubicBezTo>
                    <a:pt x="22" y="1666"/>
                    <a:pt x="14" y="1666"/>
                    <a:pt x="8" y="1658"/>
                  </a:cubicBezTo>
                  <a:close/>
                  <a:moveTo>
                    <a:pt x="28" y="1703"/>
                  </a:moveTo>
                  <a:cubicBezTo>
                    <a:pt x="22" y="1700"/>
                    <a:pt x="31" y="1703"/>
                    <a:pt x="28" y="1703"/>
                  </a:cubicBezTo>
                  <a:close/>
                  <a:moveTo>
                    <a:pt x="39" y="1801"/>
                  </a:moveTo>
                  <a:cubicBezTo>
                    <a:pt x="36" y="1799"/>
                    <a:pt x="45" y="1801"/>
                    <a:pt x="39" y="1801"/>
                  </a:cubicBezTo>
                  <a:close/>
                  <a:moveTo>
                    <a:pt x="59" y="1872"/>
                  </a:moveTo>
                  <a:cubicBezTo>
                    <a:pt x="59" y="1872"/>
                    <a:pt x="59" y="1869"/>
                    <a:pt x="59" y="1872"/>
                  </a:cubicBezTo>
                  <a:cubicBezTo>
                    <a:pt x="59" y="1869"/>
                    <a:pt x="62" y="1869"/>
                    <a:pt x="62" y="1869"/>
                  </a:cubicBezTo>
                  <a:cubicBezTo>
                    <a:pt x="76" y="1866"/>
                    <a:pt x="59" y="1889"/>
                    <a:pt x="59" y="1872"/>
                  </a:cubicBezTo>
                  <a:close/>
                  <a:moveTo>
                    <a:pt x="262" y="2253"/>
                  </a:moveTo>
                  <a:cubicBezTo>
                    <a:pt x="262" y="2264"/>
                    <a:pt x="251" y="2239"/>
                    <a:pt x="262" y="2253"/>
                  </a:cubicBezTo>
                  <a:close/>
                  <a:moveTo>
                    <a:pt x="378" y="2442"/>
                  </a:moveTo>
                  <a:cubicBezTo>
                    <a:pt x="375" y="2439"/>
                    <a:pt x="381" y="2442"/>
                    <a:pt x="378" y="2442"/>
                  </a:cubicBezTo>
                  <a:close/>
                  <a:moveTo>
                    <a:pt x="685" y="2690"/>
                  </a:moveTo>
                  <a:lnTo>
                    <a:pt x="683" y="2687"/>
                  </a:lnTo>
                  <a:cubicBezTo>
                    <a:pt x="683" y="2687"/>
                    <a:pt x="685" y="2687"/>
                    <a:pt x="685" y="2684"/>
                  </a:cubicBezTo>
                  <a:cubicBezTo>
                    <a:pt x="685" y="2687"/>
                    <a:pt x="688" y="2690"/>
                    <a:pt x="685" y="2690"/>
                  </a:cubicBezTo>
                  <a:close/>
                  <a:moveTo>
                    <a:pt x="1841" y="62"/>
                  </a:moveTo>
                  <a:cubicBezTo>
                    <a:pt x="1847" y="56"/>
                    <a:pt x="1839" y="70"/>
                    <a:pt x="1841" y="62"/>
                  </a:cubicBezTo>
                  <a:close/>
                  <a:moveTo>
                    <a:pt x="1850" y="79"/>
                  </a:moveTo>
                  <a:cubicBezTo>
                    <a:pt x="1850" y="85"/>
                    <a:pt x="1858" y="93"/>
                    <a:pt x="1855" y="99"/>
                  </a:cubicBezTo>
                  <a:cubicBezTo>
                    <a:pt x="1844" y="99"/>
                    <a:pt x="1841" y="102"/>
                    <a:pt x="1836" y="90"/>
                  </a:cubicBezTo>
                  <a:cubicBezTo>
                    <a:pt x="1839" y="87"/>
                    <a:pt x="1841" y="82"/>
                    <a:pt x="1850" y="79"/>
                  </a:cubicBezTo>
                  <a:close/>
                  <a:moveTo>
                    <a:pt x="1853" y="2397"/>
                  </a:moveTo>
                  <a:cubicBezTo>
                    <a:pt x="1853" y="2399"/>
                    <a:pt x="1844" y="2402"/>
                    <a:pt x="1841" y="2402"/>
                  </a:cubicBezTo>
                  <a:cubicBezTo>
                    <a:pt x="1839" y="2397"/>
                    <a:pt x="1850" y="2394"/>
                    <a:pt x="1853" y="2397"/>
                  </a:cubicBezTo>
                  <a:close/>
                  <a:moveTo>
                    <a:pt x="1833" y="141"/>
                  </a:moveTo>
                  <a:cubicBezTo>
                    <a:pt x="1833" y="135"/>
                    <a:pt x="1839" y="135"/>
                    <a:pt x="1839" y="133"/>
                  </a:cubicBezTo>
                  <a:cubicBezTo>
                    <a:pt x="1841" y="135"/>
                    <a:pt x="1841" y="138"/>
                    <a:pt x="1841" y="141"/>
                  </a:cubicBezTo>
                  <a:cubicBezTo>
                    <a:pt x="1839" y="141"/>
                    <a:pt x="1836" y="144"/>
                    <a:pt x="1833" y="141"/>
                  </a:cubicBezTo>
                  <a:close/>
                  <a:moveTo>
                    <a:pt x="1830" y="87"/>
                  </a:moveTo>
                  <a:cubicBezTo>
                    <a:pt x="1836" y="79"/>
                    <a:pt x="1830" y="96"/>
                    <a:pt x="1830" y="87"/>
                  </a:cubicBezTo>
                  <a:close/>
                  <a:moveTo>
                    <a:pt x="1839" y="169"/>
                  </a:moveTo>
                  <a:cubicBezTo>
                    <a:pt x="1836" y="172"/>
                    <a:pt x="1833" y="175"/>
                    <a:pt x="1830" y="175"/>
                  </a:cubicBezTo>
                  <a:cubicBezTo>
                    <a:pt x="1830" y="172"/>
                    <a:pt x="1836" y="169"/>
                    <a:pt x="1839" y="169"/>
                  </a:cubicBezTo>
                  <a:close/>
                  <a:moveTo>
                    <a:pt x="1827" y="90"/>
                  </a:moveTo>
                  <a:cubicBezTo>
                    <a:pt x="1830" y="96"/>
                    <a:pt x="1822" y="96"/>
                    <a:pt x="1819" y="99"/>
                  </a:cubicBezTo>
                  <a:cubicBezTo>
                    <a:pt x="1819" y="96"/>
                    <a:pt x="1824" y="93"/>
                    <a:pt x="1827" y="90"/>
                  </a:cubicBezTo>
                  <a:close/>
                  <a:moveTo>
                    <a:pt x="1827" y="133"/>
                  </a:moveTo>
                  <a:cubicBezTo>
                    <a:pt x="1819" y="138"/>
                    <a:pt x="1810" y="127"/>
                    <a:pt x="1807" y="121"/>
                  </a:cubicBezTo>
                  <a:cubicBezTo>
                    <a:pt x="1816" y="118"/>
                    <a:pt x="1824" y="121"/>
                    <a:pt x="1827" y="130"/>
                  </a:cubicBezTo>
                  <a:lnTo>
                    <a:pt x="1827" y="133"/>
                  </a:lnTo>
                  <a:close/>
                  <a:moveTo>
                    <a:pt x="1813" y="2165"/>
                  </a:moveTo>
                  <a:cubicBezTo>
                    <a:pt x="1813" y="2163"/>
                    <a:pt x="1819" y="2160"/>
                    <a:pt x="1822" y="2160"/>
                  </a:cubicBezTo>
                  <a:cubicBezTo>
                    <a:pt x="1822" y="2163"/>
                    <a:pt x="1816" y="2165"/>
                    <a:pt x="1813" y="2165"/>
                  </a:cubicBezTo>
                  <a:close/>
                  <a:moveTo>
                    <a:pt x="1816" y="2301"/>
                  </a:moveTo>
                  <a:cubicBezTo>
                    <a:pt x="1816" y="2295"/>
                    <a:pt x="1824" y="2304"/>
                    <a:pt x="1816" y="2301"/>
                  </a:cubicBezTo>
                  <a:close/>
                  <a:moveTo>
                    <a:pt x="1813" y="149"/>
                  </a:moveTo>
                  <a:cubicBezTo>
                    <a:pt x="1810" y="149"/>
                    <a:pt x="1807" y="147"/>
                    <a:pt x="1805" y="144"/>
                  </a:cubicBezTo>
                  <a:cubicBezTo>
                    <a:pt x="1810" y="141"/>
                    <a:pt x="1813" y="147"/>
                    <a:pt x="1813" y="149"/>
                  </a:cubicBezTo>
                  <a:close/>
                  <a:moveTo>
                    <a:pt x="1816" y="68"/>
                  </a:moveTo>
                  <a:cubicBezTo>
                    <a:pt x="1816" y="70"/>
                    <a:pt x="1816" y="76"/>
                    <a:pt x="1819" y="79"/>
                  </a:cubicBezTo>
                  <a:cubicBezTo>
                    <a:pt x="1813" y="79"/>
                    <a:pt x="1810" y="73"/>
                    <a:pt x="1810" y="68"/>
                  </a:cubicBezTo>
                  <a:lnTo>
                    <a:pt x="1816" y="68"/>
                  </a:lnTo>
                  <a:close/>
                  <a:moveTo>
                    <a:pt x="1810" y="99"/>
                  </a:moveTo>
                  <a:lnTo>
                    <a:pt x="1819" y="99"/>
                  </a:lnTo>
                  <a:cubicBezTo>
                    <a:pt x="1822" y="104"/>
                    <a:pt x="1816" y="104"/>
                    <a:pt x="1819" y="110"/>
                  </a:cubicBezTo>
                  <a:cubicBezTo>
                    <a:pt x="1810" y="110"/>
                    <a:pt x="1813" y="116"/>
                    <a:pt x="1805" y="116"/>
                  </a:cubicBezTo>
                  <a:cubicBezTo>
                    <a:pt x="1805" y="110"/>
                    <a:pt x="1807" y="104"/>
                    <a:pt x="1810" y="99"/>
                  </a:cubicBezTo>
                  <a:close/>
                  <a:moveTo>
                    <a:pt x="1819" y="203"/>
                  </a:moveTo>
                  <a:cubicBezTo>
                    <a:pt x="1827" y="220"/>
                    <a:pt x="1799" y="231"/>
                    <a:pt x="1791" y="214"/>
                  </a:cubicBezTo>
                  <a:cubicBezTo>
                    <a:pt x="1793" y="217"/>
                    <a:pt x="1802" y="212"/>
                    <a:pt x="1807" y="212"/>
                  </a:cubicBezTo>
                  <a:cubicBezTo>
                    <a:pt x="1807" y="209"/>
                    <a:pt x="1805" y="206"/>
                    <a:pt x="1799" y="206"/>
                  </a:cubicBezTo>
                  <a:cubicBezTo>
                    <a:pt x="1802" y="200"/>
                    <a:pt x="1816" y="203"/>
                    <a:pt x="1819" y="203"/>
                  </a:cubicBezTo>
                  <a:close/>
                  <a:moveTo>
                    <a:pt x="1816" y="2439"/>
                  </a:moveTo>
                  <a:cubicBezTo>
                    <a:pt x="1813" y="2445"/>
                    <a:pt x="1810" y="2447"/>
                    <a:pt x="1805" y="2447"/>
                  </a:cubicBezTo>
                  <a:cubicBezTo>
                    <a:pt x="1807" y="2445"/>
                    <a:pt x="1810" y="2439"/>
                    <a:pt x="1816" y="2439"/>
                  </a:cubicBezTo>
                  <a:close/>
                  <a:moveTo>
                    <a:pt x="1807" y="2399"/>
                  </a:moveTo>
                  <a:cubicBezTo>
                    <a:pt x="1807" y="2394"/>
                    <a:pt x="1816" y="2402"/>
                    <a:pt x="1807" y="2399"/>
                  </a:cubicBezTo>
                  <a:close/>
                  <a:moveTo>
                    <a:pt x="1802" y="2684"/>
                  </a:moveTo>
                  <a:cubicBezTo>
                    <a:pt x="1802" y="2679"/>
                    <a:pt x="1810" y="2690"/>
                    <a:pt x="1802" y="2684"/>
                  </a:cubicBezTo>
                  <a:close/>
                  <a:moveTo>
                    <a:pt x="1796" y="2368"/>
                  </a:moveTo>
                  <a:cubicBezTo>
                    <a:pt x="1796" y="2363"/>
                    <a:pt x="1805" y="2371"/>
                    <a:pt x="1796" y="2368"/>
                  </a:cubicBezTo>
                  <a:close/>
                  <a:moveTo>
                    <a:pt x="1782" y="2862"/>
                  </a:moveTo>
                  <a:cubicBezTo>
                    <a:pt x="1782" y="2856"/>
                    <a:pt x="1791" y="2865"/>
                    <a:pt x="1782" y="2862"/>
                  </a:cubicBezTo>
                  <a:close/>
                  <a:moveTo>
                    <a:pt x="1782" y="2352"/>
                  </a:moveTo>
                  <a:cubicBezTo>
                    <a:pt x="1785" y="2343"/>
                    <a:pt x="1785" y="2360"/>
                    <a:pt x="1782" y="2352"/>
                  </a:cubicBezTo>
                  <a:close/>
                  <a:moveTo>
                    <a:pt x="1785" y="189"/>
                  </a:moveTo>
                  <a:cubicBezTo>
                    <a:pt x="1788" y="189"/>
                    <a:pt x="1791" y="186"/>
                    <a:pt x="1793" y="186"/>
                  </a:cubicBezTo>
                  <a:cubicBezTo>
                    <a:pt x="1793" y="189"/>
                    <a:pt x="1796" y="192"/>
                    <a:pt x="1796" y="197"/>
                  </a:cubicBezTo>
                  <a:cubicBezTo>
                    <a:pt x="1791" y="200"/>
                    <a:pt x="1785" y="195"/>
                    <a:pt x="1785" y="189"/>
                  </a:cubicBezTo>
                  <a:close/>
                  <a:moveTo>
                    <a:pt x="1796" y="209"/>
                  </a:moveTo>
                  <a:cubicBezTo>
                    <a:pt x="1793" y="203"/>
                    <a:pt x="1805" y="209"/>
                    <a:pt x="1796" y="209"/>
                  </a:cubicBezTo>
                  <a:close/>
                  <a:moveTo>
                    <a:pt x="1793" y="166"/>
                  </a:moveTo>
                  <a:cubicBezTo>
                    <a:pt x="1796" y="169"/>
                    <a:pt x="1796" y="172"/>
                    <a:pt x="1799" y="172"/>
                  </a:cubicBezTo>
                  <a:cubicBezTo>
                    <a:pt x="1796" y="175"/>
                    <a:pt x="1793" y="175"/>
                    <a:pt x="1793" y="178"/>
                  </a:cubicBezTo>
                  <a:cubicBezTo>
                    <a:pt x="1791" y="175"/>
                    <a:pt x="1788" y="175"/>
                    <a:pt x="1788" y="172"/>
                  </a:cubicBezTo>
                  <a:cubicBezTo>
                    <a:pt x="1788" y="169"/>
                    <a:pt x="1793" y="166"/>
                    <a:pt x="1793" y="166"/>
                  </a:cubicBezTo>
                  <a:close/>
                  <a:moveTo>
                    <a:pt x="1782" y="121"/>
                  </a:moveTo>
                  <a:cubicBezTo>
                    <a:pt x="1788" y="116"/>
                    <a:pt x="1779" y="130"/>
                    <a:pt x="1782" y="121"/>
                  </a:cubicBezTo>
                  <a:close/>
                  <a:moveTo>
                    <a:pt x="1785" y="169"/>
                  </a:moveTo>
                  <a:cubicBezTo>
                    <a:pt x="1785" y="183"/>
                    <a:pt x="1771" y="164"/>
                    <a:pt x="1785" y="169"/>
                  </a:cubicBezTo>
                  <a:close/>
                  <a:moveTo>
                    <a:pt x="1776" y="178"/>
                  </a:moveTo>
                  <a:cubicBezTo>
                    <a:pt x="1776" y="172"/>
                    <a:pt x="1788" y="178"/>
                    <a:pt x="1776" y="178"/>
                  </a:cubicBezTo>
                  <a:close/>
                  <a:moveTo>
                    <a:pt x="1788" y="2185"/>
                  </a:moveTo>
                  <a:cubicBezTo>
                    <a:pt x="1788" y="2191"/>
                    <a:pt x="1776" y="2188"/>
                    <a:pt x="1774" y="2188"/>
                  </a:cubicBezTo>
                  <a:cubicBezTo>
                    <a:pt x="1774" y="2185"/>
                    <a:pt x="1776" y="2179"/>
                    <a:pt x="1782" y="2179"/>
                  </a:cubicBezTo>
                  <a:cubicBezTo>
                    <a:pt x="1785" y="2182"/>
                    <a:pt x="1788" y="2182"/>
                    <a:pt x="1788" y="2185"/>
                  </a:cubicBezTo>
                  <a:close/>
                  <a:moveTo>
                    <a:pt x="1768" y="76"/>
                  </a:moveTo>
                  <a:cubicBezTo>
                    <a:pt x="1771" y="68"/>
                    <a:pt x="1779" y="82"/>
                    <a:pt x="1768" y="76"/>
                  </a:cubicBezTo>
                  <a:close/>
                  <a:moveTo>
                    <a:pt x="1768" y="82"/>
                  </a:moveTo>
                  <a:cubicBezTo>
                    <a:pt x="1774" y="82"/>
                    <a:pt x="1771" y="93"/>
                    <a:pt x="1774" y="96"/>
                  </a:cubicBezTo>
                  <a:cubicBezTo>
                    <a:pt x="1768" y="99"/>
                    <a:pt x="1768" y="85"/>
                    <a:pt x="1768" y="82"/>
                  </a:cubicBezTo>
                  <a:close/>
                  <a:moveTo>
                    <a:pt x="1751" y="65"/>
                  </a:moveTo>
                  <a:cubicBezTo>
                    <a:pt x="1754" y="70"/>
                    <a:pt x="1760" y="76"/>
                    <a:pt x="1762" y="79"/>
                  </a:cubicBezTo>
                  <a:cubicBezTo>
                    <a:pt x="1760" y="90"/>
                    <a:pt x="1740" y="68"/>
                    <a:pt x="1751" y="65"/>
                  </a:cubicBezTo>
                  <a:close/>
                  <a:moveTo>
                    <a:pt x="1748" y="2275"/>
                  </a:moveTo>
                  <a:cubicBezTo>
                    <a:pt x="1748" y="2270"/>
                    <a:pt x="1751" y="2270"/>
                    <a:pt x="1745" y="2267"/>
                  </a:cubicBezTo>
                  <a:cubicBezTo>
                    <a:pt x="1748" y="2264"/>
                    <a:pt x="1754" y="2264"/>
                    <a:pt x="1757" y="2261"/>
                  </a:cubicBezTo>
                  <a:cubicBezTo>
                    <a:pt x="1757" y="2267"/>
                    <a:pt x="1757" y="2278"/>
                    <a:pt x="1748" y="2275"/>
                  </a:cubicBezTo>
                  <a:close/>
                  <a:moveTo>
                    <a:pt x="1751" y="2433"/>
                  </a:moveTo>
                  <a:cubicBezTo>
                    <a:pt x="1754" y="2425"/>
                    <a:pt x="1757" y="2439"/>
                    <a:pt x="1751" y="2433"/>
                  </a:cubicBezTo>
                  <a:close/>
                  <a:moveTo>
                    <a:pt x="1748" y="166"/>
                  </a:moveTo>
                  <a:cubicBezTo>
                    <a:pt x="1751" y="164"/>
                    <a:pt x="1757" y="161"/>
                    <a:pt x="1760" y="164"/>
                  </a:cubicBezTo>
                  <a:cubicBezTo>
                    <a:pt x="1760" y="166"/>
                    <a:pt x="1751" y="164"/>
                    <a:pt x="1748" y="166"/>
                  </a:cubicBezTo>
                  <a:close/>
                  <a:moveTo>
                    <a:pt x="1757" y="175"/>
                  </a:moveTo>
                  <a:cubicBezTo>
                    <a:pt x="1754" y="169"/>
                    <a:pt x="1765" y="175"/>
                    <a:pt x="1757" y="175"/>
                  </a:cubicBezTo>
                  <a:close/>
                  <a:moveTo>
                    <a:pt x="1745" y="180"/>
                  </a:moveTo>
                  <a:cubicBezTo>
                    <a:pt x="1751" y="178"/>
                    <a:pt x="1740" y="189"/>
                    <a:pt x="1745" y="180"/>
                  </a:cubicBezTo>
                  <a:close/>
                  <a:moveTo>
                    <a:pt x="1748" y="2645"/>
                  </a:moveTo>
                  <a:cubicBezTo>
                    <a:pt x="1743" y="2651"/>
                    <a:pt x="1740" y="2636"/>
                    <a:pt x="1748" y="2645"/>
                  </a:cubicBezTo>
                  <a:close/>
                  <a:moveTo>
                    <a:pt x="1714" y="56"/>
                  </a:moveTo>
                  <a:cubicBezTo>
                    <a:pt x="1717" y="51"/>
                    <a:pt x="1723" y="65"/>
                    <a:pt x="1714" y="56"/>
                  </a:cubicBezTo>
                  <a:close/>
                  <a:moveTo>
                    <a:pt x="1712" y="102"/>
                  </a:moveTo>
                  <a:cubicBezTo>
                    <a:pt x="1709" y="82"/>
                    <a:pt x="1740" y="99"/>
                    <a:pt x="1712" y="102"/>
                  </a:cubicBezTo>
                  <a:close/>
                  <a:moveTo>
                    <a:pt x="1669" y="209"/>
                  </a:moveTo>
                  <a:cubicBezTo>
                    <a:pt x="1666" y="200"/>
                    <a:pt x="1658" y="192"/>
                    <a:pt x="1664" y="186"/>
                  </a:cubicBezTo>
                  <a:cubicBezTo>
                    <a:pt x="1658" y="178"/>
                    <a:pt x="1652" y="200"/>
                    <a:pt x="1647" y="186"/>
                  </a:cubicBezTo>
                  <a:cubicBezTo>
                    <a:pt x="1681" y="161"/>
                    <a:pt x="1709" y="186"/>
                    <a:pt x="1731" y="220"/>
                  </a:cubicBezTo>
                  <a:cubicBezTo>
                    <a:pt x="1712" y="226"/>
                    <a:pt x="1689" y="220"/>
                    <a:pt x="1669" y="209"/>
                  </a:cubicBezTo>
                  <a:close/>
                  <a:moveTo>
                    <a:pt x="1728" y="2478"/>
                  </a:moveTo>
                  <a:cubicBezTo>
                    <a:pt x="1743" y="2484"/>
                    <a:pt x="1720" y="2490"/>
                    <a:pt x="1728" y="2478"/>
                  </a:cubicBezTo>
                  <a:close/>
                  <a:moveTo>
                    <a:pt x="1717" y="2383"/>
                  </a:moveTo>
                  <a:cubicBezTo>
                    <a:pt x="1717" y="2380"/>
                    <a:pt x="1728" y="2380"/>
                    <a:pt x="1726" y="2385"/>
                  </a:cubicBezTo>
                  <a:lnTo>
                    <a:pt x="1720" y="2385"/>
                  </a:lnTo>
                  <a:cubicBezTo>
                    <a:pt x="1720" y="2383"/>
                    <a:pt x="1717" y="2383"/>
                    <a:pt x="1717" y="2383"/>
                  </a:cubicBezTo>
                  <a:close/>
                  <a:moveTo>
                    <a:pt x="1720" y="2682"/>
                  </a:moveTo>
                  <a:lnTo>
                    <a:pt x="1720" y="2687"/>
                  </a:lnTo>
                  <a:lnTo>
                    <a:pt x="1714" y="2687"/>
                  </a:lnTo>
                  <a:lnTo>
                    <a:pt x="1714" y="2682"/>
                  </a:lnTo>
                  <a:lnTo>
                    <a:pt x="1720" y="2682"/>
                  </a:lnTo>
                  <a:close/>
                  <a:moveTo>
                    <a:pt x="1703" y="228"/>
                  </a:moveTo>
                  <a:cubicBezTo>
                    <a:pt x="1703" y="223"/>
                    <a:pt x="1714" y="228"/>
                    <a:pt x="1703" y="228"/>
                  </a:cubicBezTo>
                  <a:close/>
                  <a:moveTo>
                    <a:pt x="1697" y="2682"/>
                  </a:moveTo>
                  <a:cubicBezTo>
                    <a:pt x="1697" y="2684"/>
                    <a:pt x="1692" y="2684"/>
                    <a:pt x="1692" y="2687"/>
                  </a:cubicBezTo>
                  <a:cubicBezTo>
                    <a:pt x="1689" y="2687"/>
                    <a:pt x="1689" y="2682"/>
                    <a:pt x="1689" y="2679"/>
                  </a:cubicBezTo>
                  <a:cubicBezTo>
                    <a:pt x="1692" y="2679"/>
                    <a:pt x="1695" y="2679"/>
                    <a:pt x="1697" y="2682"/>
                  </a:cubicBezTo>
                  <a:close/>
                  <a:moveTo>
                    <a:pt x="1692" y="2459"/>
                  </a:moveTo>
                  <a:cubicBezTo>
                    <a:pt x="1686" y="2467"/>
                    <a:pt x="1683" y="2450"/>
                    <a:pt x="1692" y="2459"/>
                  </a:cubicBezTo>
                  <a:close/>
                  <a:moveTo>
                    <a:pt x="1669" y="2676"/>
                  </a:moveTo>
                  <a:cubicBezTo>
                    <a:pt x="1669" y="2670"/>
                    <a:pt x="1678" y="2679"/>
                    <a:pt x="1669" y="2676"/>
                  </a:cubicBezTo>
                  <a:close/>
                  <a:moveTo>
                    <a:pt x="1658" y="226"/>
                  </a:moveTo>
                  <a:cubicBezTo>
                    <a:pt x="1658" y="226"/>
                    <a:pt x="1661" y="223"/>
                    <a:pt x="1658" y="226"/>
                  </a:cubicBezTo>
                  <a:cubicBezTo>
                    <a:pt x="1661" y="223"/>
                    <a:pt x="1664" y="226"/>
                    <a:pt x="1666" y="226"/>
                  </a:cubicBezTo>
                  <a:cubicBezTo>
                    <a:pt x="1664" y="226"/>
                    <a:pt x="1658" y="228"/>
                    <a:pt x="1658" y="226"/>
                  </a:cubicBezTo>
                  <a:close/>
                  <a:moveTo>
                    <a:pt x="1664" y="2329"/>
                  </a:moveTo>
                  <a:lnTo>
                    <a:pt x="1664" y="2335"/>
                  </a:lnTo>
                  <a:lnTo>
                    <a:pt x="1658" y="2335"/>
                  </a:lnTo>
                  <a:lnTo>
                    <a:pt x="1658" y="2329"/>
                  </a:lnTo>
                  <a:lnTo>
                    <a:pt x="1664" y="2329"/>
                  </a:lnTo>
                  <a:close/>
                  <a:moveTo>
                    <a:pt x="1678" y="121"/>
                  </a:moveTo>
                  <a:cubicBezTo>
                    <a:pt x="1678" y="124"/>
                    <a:pt x="1675" y="124"/>
                    <a:pt x="1672" y="127"/>
                  </a:cubicBezTo>
                  <a:cubicBezTo>
                    <a:pt x="1672" y="130"/>
                    <a:pt x="1672" y="127"/>
                    <a:pt x="1675" y="130"/>
                  </a:cubicBezTo>
                  <a:cubicBezTo>
                    <a:pt x="1678" y="127"/>
                    <a:pt x="1678" y="130"/>
                    <a:pt x="1681" y="127"/>
                  </a:cubicBezTo>
                  <a:cubicBezTo>
                    <a:pt x="1682" y="132"/>
                    <a:pt x="1688" y="135"/>
                    <a:pt x="1692" y="139"/>
                  </a:cubicBezTo>
                  <a:cubicBezTo>
                    <a:pt x="1693" y="133"/>
                    <a:pt x="1695" y="128"/>
                    <a:pt x="1697" y="121"/>
                  </a:cubicBezTo>
                  <a:cubicBezTo>
                    <a:pt x="1703" y="126"/>
                    <a:pt x="1701" y="138"/>
                    <a:pt x="1694" y="143"/>
                  </a:cubicBezTo>
                  <a:cubicBezTo>
                    <a:pt x="1695" y="144"/>
                    <a:pt x="1695" y="145"/>
                    <a:pt x="1695" y="147"/>
                  </a:cubicBezTo>
                  <a:cubicBezTo>
                    <a:pt x="1697" y="147"/>
                    <a:pt x="1698" y="149"/>
                    <a:pt x="1695" y="149"/>
                  </a:cubicBezTo>
                  <a:lnTo>
                    <a:pt x="1695" y="149"/>
                  </a:lnTo>
                  <a:cubicBezTo>
                    <a:pt x="1700" y="149"/>
                    <a:pt x="1706" y="155"/>
                    <a:pt x="1714" y="152"/>
                  </a:cubicBezTo>
                  <a:cubicBezTo>
                    <a:pt x="1709" y="164"/>
                    <a:pt x="1692" y="169"/>
                    <a:pt x="1681" y="164"/>
                  </a:cubicBezTo>
                  <a:cubicBezTo>
                    <a:pt x="1675" y="161"/>
                    <a:pt x="1669" y="155"/>
                    <a:pt x="1666" y="147"/>
                  </a:cubicBezTo>
                  <a:lnTo>
                    <a:pt x="1664" y="147"/>
                  </a:lnTo>
                  <a:cubicBezTo>
                    <a:pt x="1664" y="144"/>
                    <a:pt x="1669" y="144"/>
                    <a:pt x="1669" y="144"/>
                  </a:cubicBezTo>
                  <a:cubicBezTo>
                    <a:pt x="1669" y="138"/>
                    <a:pt x="1669" y="133"/>
                    <a:pt x="1672" y="130"/>
                  </a:cubicBezTo>
                  <a:cubicBezTo>
                    <a:pt x="1672" y="127"/>
                    <a:pt x="1669" y="124"/>
                    <a:pt x="1667" y="119"/>
                  </a:cubicBezTo>
                  <a:cubicBezTo>
                    <a:pt x="1665" y="119"/>
                    <a:pt x="1663" y="119"/>
                    <a:pt x="1661" y="118"/>
                  </a:cubicBezTo>
                  <a:cubicBezTo>
                    <a:pt x="1669" y="113"/>
                    <a:pt x="1681" y="99"/>
                    <a:pt x="1695" y="102"/>
                  </a:cubicBezTo>
                  <a:cubicBezTo>
                    <a:pt x="1697" y="104"/>
                    <a:pt x="1695" y="110"/>
                    <a:pt x="1695" y="113"/>
                  </a:cubicBezTo>
                  <a:cubicBezTo>
                    <a:pt x="1689" y="116"/>
                    <a:pt x="1683" y="110"/>
                    <a:pt x="1678" y="113"/>
                  </a:cubicBezTo>
                  <a:lnTo>
                    <a:pt x="1686" y="113"/>
                  </a:lnTo>
                  <a:lnTo>
                    <a:pt x="1686" y="118"/>
                  </a:lnTo>
                  <a:lnTo>
                    <a:pt x="1681" y="121"/>
                  </a:lnTo>
                  <a:cubicBezTo>
                    <a:pt x="1678" y="118"/>
                    <a:pt x="1678" y="116"/>
                    <a:pt x="1678" y="113"/>
                  </a:cubicBezTo>
                  <a:cubicBezTo>
                    <a:pt x="1678" y="114"/>
                    <a:pt x="1676" y="117"/>
                    <a:pt x="1672" y="118"/>
                  </a:cubicBezTo>
                  <a:cubicBezTo>
                    <a:pt x="1674" y="119"/>
                    <a:pt x="1676" y="121"/>
                    <a:pt x="1678" y="121"/>
                  </a:cubicBezTo>
                  <a:close/>
                  <a:moveTo>
                    <a:pt x="1706" y="107"/>
                  </a:moveTo>
                  <a:lnTo>
                    <a:pt x="1714" y="107"/>
                  </a:lnTo>
                  <a:cubicBezTo>
                    <a:pt x="1714" y="110"/>
                    <a:pt x="1709" y="113"/>
                    <a:pt x="1709" y="116"/>
                  </a:cubicBezTo>
                  <a:cubicBezTo>
                    <a:pt x="1703" y="116"/>
                    <a:pt x="1709" y="113"/>
                    <a:pt x="1706" y="107"/>
                  </a:cubicBezTo>
                  <a:close/>
                  <a:moveTo>
                    <a:pt x="1712" y="149"/>
                  </a:moveTo>
                  <a:cubicBezTo>
                    <a:pt x="1706" y="152"/>
                    <a:pt x="1706" y="144"/>
                    <a:pt x="1703" y="147"/>
                  </a:cubicBezTo>
                  <a:cubicBezTo>
                    <a:pt x="1700" y="144"/>
                    <a:pt x="1712" y="144"/>
                    <a:pt x="1712" y="149"/>
                  </a:cubicBezTo>
                  <a:close/>
                  <a:moveTo>
                    <a:pt x="1712" y="118"/>
                  </a:moveTo>
                  <a:cubicBezTo>
                    <a:pt x="1712" y="113"/>
                    <a:pt x="1717" y="110"/>
                    <a:pt x="1717" y="104"/>
                  </a:cubicBezTo>
                  <a:lnTo>
                    <a:pt x="1726" y="104"/>
                  </a:lnTo>
                  <a:cubicBezTo>
                    <a:pt x="1726" y="116"/>
                    <a:pt x="1717" y="118"/>
                    <a:pt x="1712" y="118"/>
                  </a:cubicBezTo>
                  <a:close/>
                  <a:moveTo>
                    <a:pt x="1712" y="70"/>
                  </a:moveTo>
                  <a:cubicBezTo>
                    <a:pt x="1714" y="65"/>
                    <a:pt x="1714" y="79"/>
                    <a:pt x="1712" y="70"/>
                  </a:cubicBezTo>
                  <a:close/>
                  <a:moveTo>
                    <a:pt x="1712" y="104"/>
                  </a:moveTo>
                  <a:cubicBezTo>
                    <a:pt x="1706" y="110"/>
                    <a:pt x="1703" y="96"/>
                    <a:pt x="1712" y="104"/>
                  </a:cubicBezTo>
                  <a:close/>
                  <a:moveTo>
                    <a:pt x="1703" y="56"/>
                  </a:moveTo>
                  <a:cubicBezTo>
                    <a:pt x="1697" y="59"/>
                    <a:pt x="1697" y="48"/>
                    <a:pt x="1697" y="45"/>
                  </a:cubicBezTo>
                  <a:cubicBezTo>
                    <a:pt x="1703" y="39"/>
                    <a:pt x="1706" y="54"/>
                    <a:pt x="1703" y="56"/>
                  </a:cubicBezTo>
                  <a:close/>
                  <a:moveTo>
                    <a:pt x="1692" y="31"/>
                  </a:moveTo>
                  <a:lnTo>
                    <a:pt x="1700" y="31"/>
                  </a:lnTo>
                  <a:cubicBezTo>
                    <a:pt x="1700" y="34"/>
                    <a:pt x="1697" y="37"/>
                    <a:pt x="1695" y="37"/>
                  </a:cubicBezTo>
                  <a:lnTo>
                    <a:pt x="1692" y="37"/>
                  </a:lnTo>
                  <a:cubicBezTo>
                    <a:pt x="1695" y="37"/>
                    <a:pt x="1692" y="34"/>
                    <a:pt x="1692" y="31"/>
                  </a:cubicBezTo>
                  <a:close/>
                  <a:moveTo>
                    <a:pt x="1695" y="68"/>
                  </a:moveTo>
                  <a:cubicBezTo>
                    <a:pt x="1695" y="65"/>
                    <a:pt x="1697" y="62"/>
                    <a:pt x="1697" y="59"/>
                  </a:cubicBezTo>
                  <a:cubicBezTo>
                    <a:pt x="1700" y="59"/>
                    <a:pt x="1703" y="68"/>
                    <a:pt x="1703" y="70"/>
                  </a:cubicBezTo>
                  <a:lnTo>
                    <a:pt x="1706" y="70"/>
                  </a:lnTo>
                  <a:cubicBezTo>
                    <a:pt x="1706" y="73"/>
                    <a:pt x="1700" y="73"/>
                    <a:pt x="1697" y="73"/>
                  </a:cubicBezTo>
                  <a:lnTo>
                    <a:pt x="1695" y="68"/>
                  </a:lnTo>
                  <a:close/>
                  <a:moveTo>
                    <a:pt x="1689" y="82"/>
                  </a:moveTo>
                  <a:lnTo>
                    <a:pt x="1686" y="85"/>
                  </a:lnTo>
                  <a:cubicBezTo>
                    <a:pt x="1686" y="82"/>
                    <a:pt x="1686" y="76"/>
                    <a:pt x="1689" y="82"/>
                  </a:cubicBezTo>
                  <a:close/>
                  <a:moveTo>
                    <a:pt x="1672" y="31"/>
                  </a:moveTo>
                  <a:cubicBezTo>
                    <a:pt x="1678" y="25"/>
                    <a:pt x="1678" y="39"/>
                    <a:pt x="1672" y="31"/>
                  </a:cubicBezTo>
                  <a:close/>
                  <a:moveTo>
                    <a:pt x="1669" y="65"/>
                  </a:moveTo>
                  <a:cubicBezTo>
                    <a:pt x="1669" y="68"/>
                    <a:pt x="1672" y="68"/>
                    <a:pt x="1675" y="65"/>
                  </a:cubicBezTo>
                  <a:cubicBezTo>
                    <a:pt x="1681" y="68"/>
                    <a:pt x="1666" y="79"/>
                    <a:pt x="1664" y="70"/>
                  </a:cubicBezTo>
                  <a:lnTo>
                    <a:pt x="1669" y="65"/>
                  </a:lnTo>
                  <a:close/>
                  <a:moveTo>
                    <a:pt x="1652" y="102"/>
                  </a:moveTo>
                  <a:cubicBezTo>
                    <a:pt x="1661" y="87"/>
                    <a:pt x="1652" y="113"/>
                    <a:pt x="1652" y="102"/>
                  </a:cubicBezTo>
                  <a:close/>
                  <a:moveTo>
                    <a:pt x="1649" y="42"/>
                  </a:moveTo>
                  <a:cubicBezTo>
                    <a:pt x="1648" y="43"/>
                    <a:pt x="1646" y="43"/>
                    <a:pt x="1645" y="42"/>
                  </a:cubicBezTo>
                  <a:cubicBezTo>
                    <a:pt x="1643" y="43"/>
                    <a:pt x="1640" y="44"/>
                    <a:pt x="1638" y="42"/>
                  </a:cubicBezTo>
                  <a:cubicBezTo>
                    <a:pt x="1638" y="45"/>
                    <a:pt x="1638" y="42"/>
                    <a:pt x="1635" y="45"/>
                  </a:cubicBezTo>
                  <a:cubicBezTo>
                    <a:pt x="1624" y="48"/>
                    <a:pt x="1621" y="31"/>
                    <a:pt x="1627" y="28"/>
                  </a:cubicBezTo>
                  <a:cubicBezTo>
                    <a:pt x="1630" y="28"/>
                    <a:pt x="1635" y="31"/>
                    <a:pt x="1638" y="37"/>
                  </a:cubicBezTo>
                  <a:cubicBezTo>
                    <a:pt x="1640" y="37"/>
                    <a:pt x="1641" y="37"/>
                    <a:pt x="1643" y="37"/>
                  </a:cubicBezTo>
                  <a:cubicBezTo>
                    <a:pt x="1642" y="36"/>
                    <a:pt x="1642" y="35"/>
                    <a:pt x="1641" y="34"/>
                  </a:cubicBezTo>
                  <a:cubicBezTo>
                    <a:pt x="1649" y="31"/>
                    <a:pt x="1649" y="39"/>
                    <a:pt x="1649" y="42"/>
                  </a:cubicBezTo>
                  <a:close/>
                  <a:moveTo>
                    <a:pt x="1647" y="155"/>
                  </a:moveTo>
                  <a:cubicBezTo>
                    <a:pt x="1638" y="164"/>
                    <a:pt x="1635" y="149"/>
                    <a:pt x="1647" y="155"/>
                  </a:cubicBezTo>
                  <a:close/>
                  <a:moveTo>
                    <a:pt x="1633" y="73"/>
                  </a:moveTo>
                  <a:cubicBezTo>
                    <a:pt x="1633" y="70"/>
                    <a:pt x="1638" y="68"/>
                    <a:pt x="1641" y="68"/>
                  </a:cubicBezTo>
                  <a:cubicBezTo>
                    <a:pt x="1641" y="70"/>
                    <a:pt x="1635" y="73"/>
                    <a:pt x="1633" y="73"/>
                  </a:cubicBezTo>
                  <a:close/>
                  <a:moveTo>
                    <a:pt x="1638" y="65"/>
                  </a:moveTo>
                  <a:cubicBezTo>
                    <a:pt x="1638" y="59"/>
                    <a:pt x="1647" y="70"/>
                    <a:pt x="1638" y="65"/>
                  </a:cubicBezTo>
                  <a:close/>
                  <a:moveTo>
                    <a:pt x="1635" y="54"/>
                  </a:moveTo>
                  <a:cubicBezTo>
                    <a:pt x="1633" y="56"/>
                    <a:pt x="1635" y="62"/>
                    <a:pt x="1630" y="62"/>
                  </a:cubicBezTo>
                  <a:cubicBezTo>
                    <a:pt x="1630" y="59"/>
                    <a:pt x="1630" y="56"/>
                    <a:pt x="1627" y="56"/>
                  </a:cubicBezTo>
                  <a:cubicBezTo>
                    <a:pt x="1630" y="56"/>
                    <a:pt x="1633" y="56"/>
                    <a:pt x="1635" y="54"/>
                  </a:cubicBezTo>
                  <a:close/>
                  <a:moveTo>
                    <a:pt x="1604" y="20"/>
                  </a:moveTo>
                  <a:cubicBezTo>
                    <a:pt x="1610" y="17"/>
                    <a:pt x="1610" y="31"/>
                    <a:pt x="1618" y="28"/>
                  </a:cubicBezTo>
                  <a:cubicBezTo>
                    <a:pt x="1618" y="34"/>
                    <a:pt x="1616" y="37"/>
                    <a:pt x="1610" y="37"/>
                  </a:cubicBezTo>
                  <a:lnTo>
                    <a:pt x="1607" y="37"/>
                  </a:lnTo>
                  <a:cubicBezTo>
                    <a:pt x="1601" y="34"/>
                    <a:pt x="1601" y="23"/>
                    <a:pt x="1604" y="20"/>
                  </a:cubicBezTo>
                  <a:close/>
                  <a:moveTo>
                    <a:pt x="1607" y="144"/>
                  </a:moveTo>
                  <a:cubicBezTo>
                    <a:pt x="1610" y="152"/>
                    <a:pt x="1624" y="149"/>
                    <a:pt x="1630" y="144"/>
                  </a:cubicBezTo>
                  <a:cubicBezTo>
                    <a:pt x="1635" y="149"/>
                    <a:pt x="1618" y="155"/>
                    <a:pt x="1613" y="161"/>
                  </a:cubicBezTo>
                  <a:cubicBezTo>
                    <a:pt x="1613" y="152"/>
                    <a:pt x="1599" y="158"/>
                    <a:pt x="1599" y="149"/>
                  </a:cubicBezTo>
                  <a:cubicBezTo>
                    <a:pt x="1604" y="147"/>
                    <a:pt x="1607" y="147"/>
                    <a:pt x="1607" y="144"/>
                  </a:cubicBezTo>
                  <a:close/>
                  <a:moveTo>
                    <a:pt x="1621" y="220"/>
                  </a:moveTo>
                  <a:cubicBezTo>
                    <a:pt x="1624" y="215"/>
                    <a:pt x="1632" y="222"/>
                    <a:pt x="1623" y="220"/>
                  </a:cubicBezTo>
                  <a:cubicBezTo>
                    <a:pt x="1622" y="220"/>
                    <a:pt x="1622" y="220"/>
                    <a:pt x="1621" y="220"/>
                  </a:cubicBezTo>
                  <a:close/>
                  <a:moveTo>
                    <a:pt x="1621" y="220"/>
                  </a:moveTo>
                  <a:cubicBezTo>
                    <a:pt x="1623" y="222"/>
                    <a:pt x="1624" y="221"/>
                    <a:pt x="1623" y="220"/>
                  </a:cubicBezTo>
                  <a:cubicBezTo>
                    <a:pt x="1622" y="220"/>
                    <a:pt x="1622" y="220"/>
                    <a:pt x="1621" y="220"/>
                  </a:cubicBezTo>
                  <a:close/>
                  <a:moveTo>
                    <a:pt x="1624" y="155"/>
                  </a:moveTo>
                  <a:cubicBezTo>
                    <a:pt x="1627" y="149"/>
                    <a:pt x="1621" y="164"/>
                    <a:pt x="1624" y="155"/>
                  </a:cubicBezTo>
                  <a:close/>
                  <a:moveTo>
                    <a:pt x="1618" y="226"/>
                  </a:moveTo>
                  <a:cubicBezTo>
                    <a:pt x="1618" y="220"/>
                    <a:pt x="1627" y="228"/>
                    <a:pt x="1618" y="226"/>
                  </a:cubicBezTo>
                  <a:close/>
                  <a:moveTo>
                    <a:pt x="1607" y="2653"/>
                  </a:moveTo>
                  <a:cubicBezTo>
                    <a:pt x="1601" y="2659"/>
                    <a:pt x="1593" y="2651"/>
                    <a:pt x="1607" y="2653"/>
                  </a:cubicBezTo>
                  <a:close/>
                  <a:moveTo>
                    <a:pt x="1596" y="2761"/>
                  </a:moveTo>
                  <a:cubicBezTo>
                    <a:pt x="1596" y="2755"/>
                    <a:pt x="1607" y="2763"/>
                    <a:pt x="1596" y="2761"/>
                  </a:cubicBezTo>
                  <a:close/>
                  <a:moveTo>
                    <a:pt x="1601" y="209"/>
                  </a:moveTo>
                  <a:cubicBezTo>
                    <a:pt x="1601" y="203"/>
                    <a:pt x="1613" y="212"/>
                    <a:pt x="1601" y="209"/>
                  </a:cubicBezTo>
                  <a:close/>
                  <a:moveTo>
                    <a:pt x="1607" y="2735"/>
                  </a:moveTo>
                  <a:cubicBezTo>
                    <a:pt x="1613" y="2738"/>
                    <a:pt x="1604" y="2746"/>
                    <a:pt x="1601" y="2746"/>
                  </a:cubicBezTo>
                  <a:cubicBezTo>
                    <a:pt x="1599" y="2741"/>
                    <a:pt x="1607" y="2741"/>
                    <a:pt x="1607" y="2735"/>
                  </a:cubicBezTo>
                  <a:close/>
                  <a:moveTo>
                    <a:pt x="1599" y="147"/>
                  </a:moveTo>
                  <a:cubicBezTo>
                    <a:pt x="1596" y="141"/>
                    <a:pt x="1607" y="147"/>
                    <a:pt x="1599" y="147"/>
                  </a:cubicBezTo>
                  <a:close/>
                  <a:moveTo>
                    <a:pt x="1604" y="155"/>
                  </a:moveTo>
                  <a:cubicBezTo>
                    <a:pt x="1601" y="158"/>
                    <a:pt x="1601" y="164"/>
                    <a:pt x="1599" y="164"/>
                  </a:cubicBezTo>
                  <a:cubicBezTo>
                    <a:pt x="1599" y="161"/>
                    <a:pt x="1599" y="158"/>
                    <a:pt x="1596" y="155"/>
                  </a:cubicBezTo>
                  <a:lnTo>
                    <a:pt x="1604" y="155"/>
                  </a:lnTo>
                  <a:close/>
                  <a:moveTo>
                    <a:pt x="1590" y="217"/>
                  </a:moveTo>
                  <a:cubicBezTo>
                    <a:pt x="1593" y="209"/>
                    <a:pt x="1596" y="223"/>
                    <a:pt x="1590" y="217"/>
                  </a:cubicBezTo>
                  <a:close/>
                  <a:moveTo>
                    <a:pt x="1590" y="189"/>
                  </a:moveTo>
                  <a:cubicBezTo>
                    <a:pt x="1585" y="192"/>
                    <a:pt x="1573" y="192"/>
                    <a:pt x="1573" y="183"/>
                  </a:cubicBezTo>
                  <a:cubicBezTo>
                    <a:pt x="1576" y="189"/>
                    <a:pt x="1590" y="183"/>
                    <a:pt x="1590" y="189"/>
                  </a:cubicBezTo>
                  <a:close/>
                  <a:moveTo>
                    <a:pt x="1582" y="2583"/>
                  </a:moveTo>
                  <a:cubicBezTo>
                    <a:pt x="1582" y="2577"/>
                    <a:pt x="1590" y="2586"/>
                    <a:pt x="1582" y="2583"/>
                  </a:cubicBezTo>
                  <a:close/>
                  <a:moveTo>
                    <a:pt x="1579" y="217"/>
                  </a:moveTo>
                  <a:cubicBezTo>
                    <a:pt x="1579" y="212"/>
                    <a:pt x="1587" y="220"/>
                    <a:pt x="1579" y="217"/>
                  </a:cubicBezTo>
                  <a:close/>
                  <a:moveTo>
                    <a:pt x="1579" y="155"/>
                  </a:moveTo>
                  <a:cubicBezTo>
                    <a:pt x="1587" y="158"/>
                    <a:pt x="1587" y="175"/>
                    <a:pt x="1587" y="183"/>
                  </a:cubicBezTo>
                  <a:cubicBezTo>
                    <a:pt x="1573" y="186"/>
                    <a:pt x="1556" y="161"/>
                    <a:pt x="1579" y="155"/>
                  </a:cubicBezTo>
                  <a:close/>
                  <a:moveTo>
                    <a:pt x="1562" y="178"/>
                  </a:moveTo>
                  <a:cubicBezTo>
                    <a:pt x="1565" y="169"/>
                    <a:pt x="1570" y="183"/>
                    <a:pt x="1562" y="178"/>
                  </a:cubicBezTo>
                  <a:close/>
                  <a:moveTo>
                    <a:pt x="1565" y="99"/>
                  </a:moveTo>
                  <a:cubicBezTo>
                    <a:pt x="1565" y="96"/>
                    <a:pt x="1573" y="102"/>
                    <a:pt x="1565" y="99"/>
                  </a:cubicBezTo>
                  <a:close/>
                  <a:moveTo>
                    <a:pt x="1579" y="11"/>
                  </a:moveTo>
                  <a:cubicBezTo>
                    <a:pt x="1582" y="11"/>
                    <a:pt x="1585" y="14"/>
                    <a:pt x="1585" y="17"/>
                  </a:cubicBezTo>
                  <a:cubicBezTo>
                    <a:pt x="1579" y="20"/>
                    <a:pt x="1576" y="14"/>
                    <a:pt x="1579" y="11"/>
                  </a:cubicBezTo>
                  <a:close/>
                  <a:moveTo>
                    <a:pt x="1576" y="28"/>
                  </a:moveTo>
                  <a:cubicBezTo>
                    <a:pt x="1579" y="31"/>
                    <a:pt x="1585" y="31"/>
                    <a:pt x="1585" y="39"/>
                  </a:cubicBezTo>
                  <a:cubicBezTo>
                    <a:pt x="1576" y="51"/>
                    <a:pt x="1568" y="37"/>
                    <a:pt x="1565" y="39"/>
                  </a:cubicBezTo>
                  <a:cubicBezTo>
                    <a:pt x="1562" y="34"/>
                    <a:pt x="1570" y="34"/>
                    <a:pt x="1576" y="28"/>
                  </a:cubicBezTo>
                  <a:close/>
                  <a:moveTo>
                    <a:pt x="1573" y="51"/>
                  </a:moveTo>
                  <a:cubicBezTo>
                    <a:pt x="1579" y="54"/>
                    <a:pt x="1562" y="54"/>
                    <a:pt x="1573" y="51"/>
                  </a:cubicBezTo>
                  <a:close/>
                  <a:moveTo>
                    <a:pt x="1562" y="56"/>
                  </a:moveTo>
                  <a:cubicBezTo>
                    <a:pt x="1579" y="56"/>
                    <a:pt x="1576" y="79"/>
                    <a:pt x="1582" y="87"/>
                  </a:cubicBezTo>
                  <a:cubicBezTo>
                    <a:pt x="1576" y="96"/>
                    <a:pt x="1568" y="96"/>
                    <a:pt x="1562" y="96"/>
                  </a:cubicBezTo>
                  <a:cubicBezTo>
                    <a:pt x="1562" y="99"/>
                    <a:pt x="1565" y="104"/>
                    <a:pt x="1568" y="104"/>
                  </a:cubicBezTo>
                  <a:cubicBezTo>
                    <a:pt x="1562" y="107"/>
                    <a:pt x="1562" y="96"/>
                    <a:pt x="1556" y="96"/>
                  </a:cubicBezTo>
                  <a:cubicBezTo>
                    <a:pt x="1551" y="96"/>
                    <a:pt x="1554" y="104"/>
                    <a:pt x="1548" y="107"/>
                  </a:cubicBezTo>
                  <a:cubicBezTo>
                    <a:pt x="1548" y="104"/>
                    <a:pt x="1548" y="104"/>
                    <a:pt x="1545" y="102"/>
                  </a:cubicBezTo>
                  <a:cubicBezTo>
                    <a:pt x="1537" y="110"/>
                    <a:pt x="1520" y="102"/>
                    <a:pt x="1517" y="85"/>
                  </a:cubicBezTo>
                  <a:cubicBezTo>
                    <a:pt x="1522" y="85"/>
                    <a:pt x="1528" y="82"/>
                    <a:pt x="1534" y="79"/>
                  </a:cubicBezTo>
                  <a:cubicBezTo>
                    <a:pt x="1537" y="93"/>
                    <a:pt x="1542" y="90"/>
                    <a:pt x="1551" y="96"/>
                  </a:cubicBezTo>
                  <a:cubicBezTo>
                    <a:pt x="1556" y="93"/>
                    <a:pt x="1548" y="90"/>
                    <a:pt x="1551" y="87"/>
                  </a:cubicBezTo>
                  <a:cubicBezTo>
                    <a:pt x="1553" y="87"/>
                    <a:pt x="1553" y="87"/>
                    <a:pt x="1554" y="89"/>
                  </a:cubicBezTo>
                  <a:cubicBezTo>
                    <a:pt x="1553" y="79"/>
                    <a:pt x="1550" y="76"/>
                    <a:pt x="1542" y="79"/>
                  </a:cubicBezTo>
                  <a:cubicBezTo>
                    <a:pt x="1551" y="56"/>
                    <a:pt x="1559" y="70"/>
                    <a:pt x="1562" y="56"/>
                  </a:cubicBezTo>
                  <a:close/>
                  <a:moveTo>
                    <a:pt x="1525" y="2777"/>
                  </a:moveTo>
                  <a:cubicBezTo>
                    <a:pt x="1525" y="2783"/>
                    <a:pt x="1520" y="2783"/>
                    <a:pt x="1517" y="2786"/>
                  </a:cubicBezTo>
                  <a:cubicBezTo>
                    <a:pt x="1517" y="2780"/>
                    <a:pt x="1522" y="2777"/>
                    <a:pt x="1525" y="2777"/>
                  </a:cubicBezTo>
                  <a:close/>
                  <a:moveTo>
                    <a:pt x="1517" y="180"/>
                  </a:moveTo>
                  <a:cubicBezTo>
                    <a:pt x="1525" y="178"/>
                    <a:pt x="1517" y="192"/>
                    <a:pt x="1517" y="180"/>
                  </a:cubicBezTo>
                  <a:close/>
                  <a:moveTo>
                    <a:pt x="1539" y="82"/>
                  </a:moveTo>
                  <a:cubicBezTo>
                    <a:pt x="1542" y="76"/>
                    <a:pt x="1551" y="87"/>
                    <a:pt x="1539" y="82"/>
                  </a:cubicBezTo>
                  <a:close/>
                  <a:moveTo>
                    <a:pt x="1554" y="62"/>
                  </a:moveTo>
                  <a:cubicBezTo>
                    <a:pt x="1554" y="68"/>
                    <a:pt x="1542" y="62"/>
                    <a:pt x="1542" y="59"/>
                  </a:cubicBezTo>
                  <a:cubicBezTo>
                    <a:pt x="1539" y="65"/>
                    <a:pt x="1528" y="68"/>
                    <a:pt x="1528" y="76"/>
                  </a:cubicBezTo>
                  <a:cubicBezTo>
                    <a:pt x="1520" y="73"/>
                    <a:pt x="1520" y="68"/>
                    <a:pt x="1508" y="76"/>
                  </a:cubicBezTo>
                  <a:cubicBezTo>
                    <a:pt x="1511" y="70"/>
                    <a:pt x="1511" y="62"/>
                    <a:pt x="1520" y="62"/>
                  </a:cubicBezTo>
                  <a:cubicBezTo>
                    <a:pt x="1520" y="63"/>
                    <a:pt x="1520" y="63"/>
                    <a:pt x="1521" y="64"/>
                  </a:cubicBezTo>
                  <a:cubicBezTo>
                    <a:pt x="1522" y="60"/>
                    <a:pt x="1525" y="58"/>
                    <a:pt x="1522" y="54"/>
                  </a:cubicBezTo>
                  <a:cubicBezTo>
                    <a:pt x="1528" y="45"/>
                    <a:pt x="1542" y="45"/>
                    <a:pt x="1548" y="54"/>
                  </a:cubicBezTo>
                  <a:cubicBezTo>
                    <a:pt x="1551" y="56"/>
                    <a:pt x="1551" y="59"/>
                    <a:pt x="1554" y="62"/>
                  </a:cubicBezTo>
                  <a:close/>
                  <a:moveTo>
                    <a:pt x="1517" y="68"/>
                  </a:moveTo>
                  <a:cubicBezTo>
                    <a:pt x="1517" y="70"/>
                    <a:pt x="1517" y="70"/>
                    <a:pt x="1520" y="68"/>
                  </a:cubicBezTo>
                  <a:cubicBezTo>
                    <a:pt x="1520" y="67"/>
                    <a:pt x="1520" y="67"/>
                    <a:pt x="1520" y="66"/>
                  </a:cubicBezTo>
                  <a:cubicBezTo>
                    <a:pt x="1519" y="66"/>
                    <a:pt x="1518" y="67"/>
                    <a:pt x="1517" y="68"/>
                  </a:cubicBezTo>
                  <a:close/>
                  <a:moveTo>
                    <a:pt x="1508" y="223"/>
                  </a:moveTo>
                  <a:cubicBezTo>
                    <a:pt x="1508" y="220"/>
                    <a:pt x="1514" y="217"/>
                    <a:pt x="1517" y="220"/>
                  </a:cubicBezTo>
                  <a:cubicBezTo>
                    <a:pt x="1517" y="223"/>
                    <a:pt x="1517" y="226"/>
                    <a:pt x="1514" y="226"/>
                  </a:cubicBezTo>
                  <a:lnTo>
                    <a:pt x="1514" y="228"/>
                  </a:lnTo>
                  <a:cubicBezTo>
                    <a:pt x="1512" y="228"/>
                    <a:pt x="1511" y="225"/>
                    <a:pt x="1510" y="223"/>
                  </a:cubicBezTo>
                  <a:cubicBezTo>
                    <a:pt x="1510" y="224"/>
                    <a:pt x="1508" y="225"/>
                    <a:pt x="1508" y="223"/>
                  </a:cubicBezTo>
                  <a:close/>
                  <a:moveTo>
                    <a:pt x="1508" y="2391"/>
                  </a:moveTo>
                  <a:lnTo>
                    <a:pt x="1508" y="2390"/>
                  </a:lnTo>
                  <a:cubicBezTo>
                    <a:pt x="1510" y="2391"/>
                    <a:pt x="1511" y="2392"/>
                    <a:pt x="1508" y="2391"/>
                  </a:cubicBezTo>
                  <a:cubicBezTo>
                    <a:pt x="1506" y="2388"/>
                    <a:pt x="1507" y="2389"/>
                    <a:pt x="1508" y="2390"/>
                  </a:cubicBezTo>
                  <a:lnTo>
                    <a:pt x="1508" y="2391"/>
                  </a:lnTo>
                  <a:close/>
                  <a:moveTo>
                    <a:pt x="1531" y="14"/>
                  </a:moveTo>
                  <a:cubicBezTo>
                    <a:pt x="1528" y="8"/>
                    <a:pt x="1522" y="8"/>
                    <a:pt x="1517" y="6"/>
                  </a:cubicBezTo>
                  <a:cubicBezTo>
                    <a:pt x="1520" y="0"/>
                    <a:pt x="1537" y="11"/>
                    <a:pt x="1531" y="14"/>
                  </a:cubicBezTo>
                  <a:close/>
                  <a:moveTo>
                    <a:pt x="1520" y="56"/>
                  </a:moveTo>
                  <a:lnTo>
                    <a:pt x="1506" y="56"/>
                  </a:lnTo>
                  <a:cubicBezTo>
                    <a:pt x="1506" y="54"/>
                    <a:pt x="1520" y="51"/>
                    <a:pt x="1520" y="56"/>
                  </a:cubicBezTo>
                  <a:close/>
                  <a:moveTo>
                    <a:pt x="1497" y="65"/>
                  </a:moveTo>
                  <a:cubicBezTo>
                    <a:pt x="1500" y="65"/>
                    <a:pt x="1503" y="68"/>
                    <a:pt x="1506" y="73"/>
                  </a:cubicBezTo>
                  <a:cubicBezTo>
                    <a:pt x="1500" y="76"/>
                    <a:pt x="1497" y="70"/>
                    <a:pt x="1497" y="65"/>
                  </a:cubicBezTo>
                  <a:close/>
                  <a:moveTo>
                    <a:pt x="1494" y="2402"/>
                  </a:moveTo>
                  <a:cubicBezTo>
                    <a:pt x="1494" y="2397"/>
                    <a:pt x="1506" y="2405"/>
                    <a:pt x="1494" y="2402"/>
                  </a:cubicBezTo>
                  <a:close/>
                  <a:moveTo>
                    <a:pt x="1494" y="8"/>
                  </a:moveTo>
                  <a:cubicBezTo>
                    <a:pt x="1494" y="11"/>
                    <a:pt x="1486" y="14"/>
                    <a:pt x="1483" y="14"/>
                  </a:cubicBezTo>
                  <a:cubicBezTo>
                    <a:pt x="1483" y="11"/>
                    <a:pt x="1491" y="11"/>
                    <a:pt x="1494" y="8"/>
                  </a:cubicBezTo>
                  <a:close/>
                  <a:moveTo>
                    <a:pt x="1472" y="11"/>
                  </a:moveTo>
                  <a:cubicBezTo>
                    <a:pt x="1477" y="11"/>
                    <a:pt x="1483" y="14"/>
                    <a:pt x="1486" y="20"/>
                  </a:cubicBezTo>
                  <a:cubicBezTo>
                    <a:pt x="1480" y="20"/>
                    <a:pt x="1480" y="25"/>
                    <a:pt x="1475" y="25"/>
                  </a:cubicBezTo>
                  <a:cubicBezTo>
                    <a:pt x="1469" y="17"/>
                    <a:pt x="1475" y="23"/>
                    <a:pt x="1472" y="11"/>
                  </a:cubicBezTo>
                  <a:close/>
                  <a:moveTo>
                    <a:pt x="1486" y="2459"/>
                  </a:moveTo>
                  <a:cubicBezTo>
                    <a:pt x="1483" y="2467"/>
                    <a:pt x="1477" y="2450"/>
                    <a:pt x="1486" y="2453"/>
                  </a:cubicBezTo>
                  <a:cubicBezTo>
                    <a:pt x="1486" y="2453"/>
                    <a:pt x="1483" y="2459"/>
                    <a:pt x="1486" y="2459"/>
                  </a:cubicBezTo>
                  <a:close/>
                  <a:moveTo>
                    <a:pt x="1475" y="2651"/>
                  </a:moveTo>
                  <a:cubicBezTo>
                    <a:pt x="1466" y="2648"/>
                    <a:pt x="1477" y="2636"/>
                    <a:pt x="1483" y="2634"/>
                  </a:cubicBezTo>
                  <a:cubicBezTo>
                    <a:pt x="1483" y="2642"/>
                    <a:pt x="1475" y="2645"/>
                    <a:pt x="1475" y="2651"/>
                  </a:cubicBezTo>
                  <a:close/>
                  <a:moveTo>
                    <a:pt x="1480" y="2786"/>
                  </a:moveTo>
                  <a:cubicBezTo>
                    <a:pt x="1480" y="2789"/>
                    <a:pt x="1475" y="2792"/>
                    <a:pt x="1472" y="2792"/>
                  </a:cubicBezTo>
                  <a:cubicBezTo>
                    <a:pt x="1472" y="2789"/>
                    <a:pt x="1477" y="2786"/>
                    <a:pt x="1480" y="2786"/>
                  </a:cubicBezTo>
                  <a:close/>
                  <a:moveTo>
                    <a:pt x="1480" y="226"/>
                  </a:moveTo>
                  <a:cubicBezTo>
                    <a:pt x="1489" y="231"/>
                    <a:pt x="1469" y="231"/>
                    <a:pt x="1480" y="226"/>
                  </a:cubicBezTo>
                  <a:close/>
                  <a:moveTo>
                    <a:pt x="1480" y="82"/>
                  </a:moveTo>
                  <a:cubicBezTo>
                    <a:pt x="1480" y="82"/>
                    <a:pt x="1477" y="79"/>
                    <a:pt x="1477" y="76"/>
                  </a:cubicBezTo>
                  <a:lnTo>
                    <a:pt x="1480" y="76"/>
                  </a:lnTo>
                  <a:lnTo>
                    <a:pt x="1480" y="82"/>
                  </a:lnTo>
                  <a:close/>
                  <a:moveTo>
                    <a:pt x="1469" y="203"/>
                  </a:moveTo>
                  <a:cubicBezTo>
                    <a:pt x="1469" y="200"/>
                    <a:pt x="1466" y="195"/>
                    <a:pt x="1463" y="195"/>
                  </a:cubicBezTo>
                  <a:cubicBezTo>
                    <a:pt x="1466" y="189"/>
                    <a:pt x="1480" y="203"/>
                    <a:pt x="1469" y="203"/>
                  </a:cubicBezTo>
                  <a:close/>
                  <a:moveTo>
                    <a:pt x="1459" y="2329"/>
                  </a:moveTo>
                  <a:lnTo>
                    <a:pt x="1459" y="2320"/>
                  </a:lnTo>
                  <a:cubicBezTo>
                    <a:pt x="1463" y="2318"/>
                    <a:pt x="1463" y="2332"/>
                    <a:pt x="1459" y="2329"/>
                  </a:cubicBezTo>
                  <a:close/>
                  <a:moveTo>
                    <a:pt x="1459" y="2244"/>
                  </a:moveTo>
                  <a:cubicBezTo>
                    <a:pt x="1459" y="2239"/>
                    <a:pt x="1469" y="2247"/>
                    <a:pt x="1459" y="2244"/>
                  </a:cubicBezTo>
                  <a:close/>
                  <a:moveTo>
                    <a:pt x="1466" y="2538"/>
                  </a:moveTo>
                  <a:cubicBezTo>
                    <a:pt x="1460" y="2543"/>
                    <a:pt x="1459" y="2529"/>
                    <a:pt x="1466" y="2538"/>
                  </a:cubicBezTo>
                  <a:close/>
                  <a:moveTo>
                    <a:pt x="1456" y="226"/>
                  </a:moveTo>
                  <a:cubicBezTo>
                    <a:pt x="1460" y="226"/>
                    <a:pt x="1463" y="231"/>
                    <a:pt x="1469" y="231"/>
                  </a:cubicBezTo>
                  <a:cubicBezTo>
                    <a:pt x="1466" y="237"/>
                    <a:pt x="1456" y="231"/>
                    <a:pt x="1456" y="226"/>
                  </a:cubicBezTo>
                  <a:close/>
                  <a:moveTo>
                    <a:pt x="1469" y="186"/>
                  </a:moveTo>
                  <a:cubicBezTo>
                    <a:pt x="1466" y="186"/>
                    <a:pt x="1463" y="180"/>
                    <a:pt x="1463" y="180"/>
                  </a:cubicBezTo>
                  <a:cubicBezTo>
                    <a:pt x="1477" y="180"/>
                    <a:pt x="1469" y="183"/>
                    <a:pt x="1469" y="186"/>
                  </a:cubicBezTo>
                  <a:close/>
                  <a:moveTo>
                    <a:pt x="1460" y="59"/>
                  </a:moveTo>
                  <a:cubicBezTo>
                    <a:pt x="1460" y="54"/>
                    <a:pt x="1469" y="62"/>
                    <a:pt x="1460" y="59"/>
                  </a:cubicBezTo>
                  <a:close/>
                  <a:moveTo>
                    <a:pt x="1463" y="54"/>
                  </a:moveTo>
                  <a:lnTo>
                    <a:pt x="1456" y="54"/>
                  </a:lnTo>
                  <a:cubicBezTo>
                    <a:pt x="1453" y="45"/>
                    <a:pt x="1459" y="42"/>
                    <a:pt x="1463" y="42"/>
                  </a:cubicBezTo>
                  <a:lnTo>
                    <a:pt x="1463" y="54"/>
                  </a:lnTo>
                  <a:close/>
                  <a:moveTo>
                    <a:pt x="1456" y="14"/>
                  </a:moveTo>
                  <a:cubicBezTo>
                    <a:pt x="1459" y="14"/>
                    <a:pt x="1460" y="17"/>
                    <a:pt x="1463" y="17"/>
                  </a:cubicBezTo>
                  <a:cubicBezTo>
                    <a:pt x="1460" y="23"/>
                    <a:pt x="1459" y="25"/>
                    <a:pt x="1453" y="31"/>
                  </a:cubicBezTo>
                  <a:cubicBezTo>
                    <a:pt x="1453" y="25"/>
                    <a:pt x="1453" y="20"/>
                    <a:pt x="1456" y="14"/>
                  </a:cubicBezTo>
                  <a:close/>
                  <a:moveTo>
                    <a:pt x="1456" y="155"/>
                  </a:moveTo>
                  <a:cubicBezTo>
                    <a:pt x="1463" y="158"/>
                    <a:pt x="1459" y="172"/>
                    <a:pt x="1460" y="180"/>
                  </a:cubicBezTo>
                  <a:cubicBezTo>
                    <a:pt x="1459" y="178"/>
                    <a:pt x="1453" y="172"/>
                    <a:pt x="1450" y="166"/>
                  </a:cubicBezTo>
                  <a:cubicBezTo>
                    <a:pt x="1456" y="166"/>
                    <a:pt x="1456" y="161"/>
                    <a:pt x="1456" y="155"/>
                  </a:cubicBezTo>
                  <a:close/>
                  <a:moveTo>
                    <a:pt x="1456" y="1990"/>
                  </a:moveTo>
                  <a:cubicBezTo>
                    <a:pt x="1453" y="1990"/>
                    <a:pt x="1450" y="1988"/>
                    <a:pt x="1447" y="1985"/>
                  </a:cubicBezTo>
                  <a:cubicBezTo>
                    <a:pt x="1447" y="1982"/>
                    <a:pt x="1456" y="1985"/>
                    <a:pt x="1456" y="1990"/>
                  </a:cubicBezTo>
                  <a:close/>
                  <a:moveTo>
                    <a:pt x="1450" y="93"/>
                  </a:moveTo>
                  <a:cubicBezTo>
                    <a:pt x="1453" y="99"/>
                    <a:pt x="1447" y="102"/>
                    <a:pt x="1442" y="104"/>
                  </a:cubicBezTo>
                  <a:cubicBezTo>
                    <a:pt x="1442" y="96"/>
                    <a:pt x="1444" y="93"/>
                    <a:pt x="1450" y="93"/>
                  </a:cubicBezTo>
                  <a:close/>
                  <a:moveTo>
                    <a:pt x="1439" y="2529"/>
                  </a:moveTo>
                  <a:cubicBezTo>
                    <a:pt x="1444" y="2521"/>
                    <a:pt x="1442" y="2538"/>
                    <a:pt x="1439" y="2529"/>
                  </a:cubicBezTo>
                  <a:close/>
                  <a:moveTo>
                    <a:pt x="1439" y="192"/>
                  </a:moveTo>
                  <a:cubicBezTo>
                    <a:pt x="1433" y="186"/>
                    <a:pt x="1450" y="186"/>
                    <a:pt x="1439" y="192"/>
                  </a:cubicBezTo>
                  <a:close/>
                  <a:moveTo>
                    <a:pt x="1436" y="144"/>
                  </a:moveTo>
                  <a:cubicBezTo>
                    <a:pt x="1442" y="141"/>
                    <a:pt x="1442" y="149"/>
                    <a:pt x="1444" y="152"/>
                  </a:cubicBezTo>
                  <a:cubicBezTo>
                    <a:pt x="1442" y="152"/>
                    <a:pt x="1436" y="149"/>
                    <a:pt x="1436" y="144"/>
                  </a:cubicBezTo>
                  <a:close/>
                  <a:moveTo>
                    <a:pt x="1436" y="65"/>
                  </a:moveTo>
                  <a:lnTo>
                    <a:pt x="1436" y="59"/>
                  </a:lnTo>
                  <a:cubicBezTo>
                    <a:pt x="1439" y="59"/>
                    <a:pt x="1442" y="62"/>
                    <a:pt x="1442" y="65"/>
                  </a:cubicBezTo>
                  <a:lnTo>
                    <a:pt x="1436" y="65"/>
                  </a:lnTo>
                  <a:close/>
                  <a:moveTo>
                    <a:pt x="1433" y="28"/>
                  </a:moveTo>
                  <a:cubicBezTo>
                    <a:pt x="1436" y="28"/>
                    <a:pt x="1436" y="28"/>
                    <a:pt x="1439" y="31"/>
                  </a:cubicBezTo>
                  <a:cubicBezTo>
                    <a:pt x="1439" y="31"/>
                    <a:pt x="1442" y="31"/>
                    <a:pt x="1442" y="34"/>
                  </a:cubicBezTo>
                  <a:cubicBezTo>
                    <a:pt x="1444" y="37"/>
                    <a:pt x="1444" y="42"/>
                    <a:pt x="1436" y="45"/>
                  </a:cubicBezTo>
                  <a:cubicBezTo>
                    <a:pt x="1433" y="39"/>
                    <a:pt x="1433" y="34"/>
                    <a:pt x="1433" y="28"/>
                  </a:cubicBezTo>
                  <a:close/>
                  <a:moveTo>
                    <a:pt x="1428" y="2013"/>
                  </a:moveTo>
                  <a:cubicBezTo>
                    <a:pt x="1428" y="2005"/>
                    <a:pt x="1439" y="2016"/>
                    <a:pt x="1428" y="2013"/>
                  </a:cubicBezTo>
                  <a:close/>
                  <a:moveTo>
                    <a:pt x="1416" y="231"/>
                  </a:moveTo>
                  <a:cubicBezTo>
                    <a:pt x="1428" y="231"/>
                    <a:pt x="1411" y="245"/>
                    <a:pt x="1416" y="231"/>
                  </a:cubicBezTo>
                  <a:close/>
                  <a:moveTo>
                    <a:pt x="1413" y="85"/>
                  </a:moveTo>
                  <a:cubicBezTo>
                    <a:pt x="1416" y="85"/>
                    <a:pt x="1422" y="87"/>
                    <a:pt x="1422" y="93"/>
                  </a:cubicBezTo>
                  <a:cubicBezTo>
                    <a:pt x="1419" y="93"/>
                    <a:pt x="1416" y="93"/>
                    <a:pt x="1416" y="96"/>
                  </a:cubicBezTo>
                  <a:cubicBezTo>
                    <a:pt x="1416" y="93"/>
                    <a:pt x="1413" y="87"/>
                    <a:pt x="1413" y="85"/>
                  </a:cubicBezTo>
                  <a:close/>
                  <a:moveTo>
                    <a:pt x="1430" y="2597"/>
                  </a:moveTo>
                  <a:cubicBezTo>
                    <a:pt x="1428" y="2600"/>
                    <a:pt x="1425" y="2603"/>
                    <a:pt x="1422" y="2603"/>
                  </a:cubicBezTo>
                  <a:cubicBezTo>
                    <a:pt x="1419" y="2597"/>
                    <a:pt x="1428" y="2597"/>
                    <a:pt x="1430" y="2597"/>
                  </a:cubicBezTo>
                  <a:close/>
                  <a:moveTo>
                    <a:pt x="1422" y="228"/>
                  </a:moveTo>
                  <a:cubicBezTo>
                    <a:pt x="1428" y="220"/>
                    <a:pt x="1428" y="234"/>
                    <a:pt x="1422" y="228"/>
                  </a:cubicBezTo>
                  <a:close/>
                  <a:moveTo>
                    <a:pt x="1425" y="2148"/>
                  </a:moveTo>
                  <a:cubicBezTo>
                    <a:pt x="1425" y="2143"/>
                    <a:pt x="1433" y="2151"/>
                    <a:pt x="1425" y="2148"/>
                  </a:cubicBezTo>
                  <a:close/>
                  <a:moveTo>
                    <a:pt x="1433" y="6"/>
                  </a:moveTo>
                  <a:cubicBezTo>
                    <a:pt x="1433" y="20"/>
                    <a:pt x="1428" y="17"/>
                    <a:pt x="1422" y="8"/>
                  </a:cubicBezTo>
                  <a:cubicBezTo>
                    <a:pt x="1425" y="8"/>
                    <a:pt x="1430" y="8"/>
                    <a:pt x="1433" y="6"/>
                  </a:cubicBezTo>
                  <a:close/>
                  <a:moveTo>
                    <a:pt x="1425" y="48"/>
                  </a:moveTo>
                  <a:cubicBezTo>
                    <a:pt x="1433" y="42"/>
                    <a:pt x="1422" y="56"/>
                    <a:pt x="1425" y="48"/>
                  </a:cubicBezTo>
                  <a:close/>
                  <a:moveTo>
                    <a:pt x="1433" y="23"/>
                  </a:moveTo>
                  <a:cubicBezTo>
                    <a:pt x="1428" y="28"/>
                    <a:pt x="1419" y="20"/>
                    <a:pt x="1433" y="23"/>
                  </a:cubicBezTo>
                  <a:close/>
                  <a:moveTo>
                    <a:pt x="1425" y="68"/>
                  </a:moveTo>
                  <a:lnTo>
                    <a:pt x="1426" y="69"/>
                  </a:lnTo>
                  <a:cubicBezTo>
                    <a:pt x="1430" y="75"/>
                    <a:pt x="1428" y="82"/>
                    <a:pt x="1433" y="85"/>
                  </a:cubicBezTo>
                  <a:cubicBezTo>
                    <a:pt x="1425" y="87"/>
                    <a:pt x="1413" y="85"/>
                    <a:pt x="1408" y="79"/>
                  </a:cubicBezTo>
                  <a:cubicBezTo>
                    <a:pt x="1411" y="76"/>
                    <a:pt x="1422" y="73"/>
                    <a:pt x="1425" y="68"/>
                  </a:cubicBezTo>
                  <a:close/>
                  <a:moveTo>
                    <a:pt x="1397" y="2509"/>
                  </a:moveTo>
                  <a:cubicBezTo>
                    <a:pt x="1397" y="2501"/>
                    <a:pt x="1405" y="2512"/>
                    <a:pt x="1397" y="2509"/>
                  </a:cubicBezTo>
                  <a:close/>
                  <a:moveTo>
                    <a:pt x="1397" y="2594"/>
                  </a:moveTo>
                  <a:cubicBezTo>
                    <a:pt x="1397" y="2588"/>
                    <a:pt x="1405" y="2597"/>
                    <a:pt x="1397" y="2594"/>
                  </a:cubicBezTo>
                  <a:close/>
                  <a:moveTo>
                    <a:pt x="1397" y="209"/>
                  </a:moveTo>
                  <a:cubicBezTo>
                    <a:pt x="1397" y="203"/>
                    <a:pt x="1408" y="209"/>
                    <a:pt x="1397" y="209"/>
                  </a:cubicBezTo>
                  <a:close/>
                  <a:moveTo>
                    <a:pt x="1411" y="214"/>
                  </a:moveTo>
                  <a:cubicBezTo>
                    <a:pt x="1411" y="217"/>
                    <a:pt x="1405" y="223"/>
                    <a:pt x="1405" y="226"/>
                  </a:cubicBezTo>
                  <a:cubicBezTo>
                    <a:pt x="1399" y="223"/>
                    <a:pt x="1408" y="214"/>
                    <a:pt x="1411" y="214"/>
                  </a:cubicBezTo>
                  <a:close/>
                  <a:moveTo>
                    <a:pt x="1397" y="147"/>
                  </a:moveTo>
                  <a:cubicBezTo>
                    <a:pt x="1397" y="144"/>
                    <a:pt x="1399" y="141"/>
                    <a:pt x="1402" y="138"/>
                  </a:cubicBezTo>
                  <a:cubicBezTo>
                    <a:pt x="1405" y="144"/>
                    <a:pt x="1399" y="147"/>
                    <a:pt x="1397" y="147"/>
                  </a:cubicBezTo>
                  <a:close/>
                  <a:moveTo>
                    <a:pt x="1402" y="45"/>
                  </a:moveTo>
                  <a:cubicBezTo>
                    <a:pt x="1399" y="45"/>
                    <a:pt x="1397" y="39"/>
                    <a:pt x="1397" y="37"/>
                  </a:cubicBezTo>
                  <a:cubicBezTo>
                    <a:pt x="1399" y="37"/>
                    <a:pt x="1402" y="42"/>
                    <a:pt x="1402" y="45"/>
                  </a:cubicBezTo>
                  <a:close/>
                  <a:moveTo>
                    <a:pt x="1394" y="99"/>
                  </a:moveTo>
                  <a:cubicBezTo>
                    <a:pt x="1398" y="99"/>
                    <a:pt x="1401" y="104"/>
                    <a:pt x="1400" y="107"/>
                  </a:cubicBezTo>
                  <a:lnTo>
                    <a:pt x="1402" y="107"/>
                  </a:lnTo>
                  <a:cubicBezTo>
                    <a:pt x="1402" y="113"/>
                    <a:pt x="1394" y="116"/>
                    <a:pt x="1391" y="107"/>
                  </a:cubicBezTo>
                  <a:lnTo>
                    <a:pt x="1396" y="107"/>
                  </a:lnTo>
                  <a:cubicBezTo>
                    <a:pt x="1395" y="105"/>
                    <a:pt x="1394" y="102"/>
                    <a:pt x="1394" y="99"/>
                  </a:cubicBezTo>
                  <a:close/>
                  <a:moveTo>
                    <a:pt x="1391" y="2137"/>
                  </a:moveTo>
                  <a:cubicBezTo>
                    <a:pt x="1391" y="2129"/>
                    <a:pt x="1399" y="2140"/>
                    <a:pt x="1391" y="2137"/>
                  </a:cubicBezTo>
                  <a:close/>
                  <a:moveTo>
                    <a:pt x="1388" y="183"/>
                  </a:moveTo>
                  <a:cubicBezTo>
                    <a:pt x="1388" y="178"/>
                    <a:pt x="1397" y="186"/>
                    <a:pt x="1388" y="183"/>
                  </a:cubicBezTo>
                  <a:close/>
                  <a:moveTo>
                    <a:pt x="1388" y="104"/>
                  </a:moveTo>
                  <a:lnTo>
                    <a:pt x="1388" y="110"/>
                  </a:lnTo>
                  <a:lnTo>
                    <a:pt x="1383" y="110"/>
                  </a:lnTo>
                  <a:cubicBezTo>
                    <a:pt x="1382" y="113"/>
                    <a:pt x="1378" y="117"/>
                    <a:pt x="1380" y="107"/>
                  </a:cubicBezTo>
                  <a:lnTo>
                    <a:pt x="1380" y="107"/>
                  </a:lnTo>
                  <a:cubicBezTo>
                    <a:pt x="1380" y="106"/>
                    <a:pt x="1380" y="105"/>
                    <a:pt x="1380" y="104"/>
                  </a:cubicBezTo>
                  <a:lnTo>
                    <a:pt x="1388" y="104"/>
                  </a:lnTo>
                  <a:close/>
                  <a:moveTo>
                    <a:pt x="1388" y="2817"/>
                  </a:moveTo>
                  <a:cubicBezTo>
                    <a:pt x="1385" y="2814"/>
                    <a:pt x="1377" y="2814"/>
                    <a:pt x="1371" y="2814"/>
                  </a:cubicBezTo>
                  <a:cubicBezTo>
                    <a:pt x="1374" y="2808"/>
                    <a:pt x="1391" y="2808"/>
                    <a:pt x="1388" y="2817"/>
                  </a:cubicBezTo>
                  <a:close/>
                  <a:moveTo>
                    <a:pt x="1374" y="2777"/>
                  </a:moveTo>
                  <a:cubicBezTo>
                    <a:pt x="1373" y="2777"/>
                    <a:pt x="1372" y="2776"/>
                    <a:pt x="1371" y="2775"/>
                  </a:cubicBezTo>
                  <a:cubicBezTo>
                    <a:pt x="1371" y="2780"/>
                    <a:pt x="1363" y="2778"/>
                    <a:pt x="1360" y="2783"/>
                  </a:cubicBezTo>
                  <a:cubicBezTo>
                    <a:pt x="1354" y="2780"/>
                    <a:pt x="1367" y="2775"/>
                    <a:pt x="1371" y="2775"/>
                  </a:cubicBezTo>
                  <a:cubicBezTo>
                    <a:pt x="1362" y="2766"/>
                    <a:pt x="1357" y="2754"/>
                    <a:pt x="1360" y="2744"/>
                  </a:cubicBezTo>
                  <a:cubicBezTo>
                    <a:pt x="1374" y="2741"/>
                    <a:pt x="1377" y="2761"/>
                    <a:pt x="1374" y="2777"/>
                  </a:cubicBezTo>
                  <a:close/>
                  <a:moveTo>
                    <a:pt x="1380" y="290"/>
                  </a:moveTo>
                  <a:lnTo>
                    <a:pt x="1380" y="296"/>
                  </a:lnTo>
                  <a:lnTo>
                    <a:pt x="1374" y="296"/>
                  </a:lnTo>
                  <a:cubicBezTo>
                    <a:pt x="1374" y="296"/>
                    <a:pt x="1371" y="293"/>
                    <a:pt x="1371" y="290"/>
                  </a:cubicBezTo>
                  <a:cubicBezTo>
                    <a:pt x="1374" y="293"/>
                    <a:pt x="1377" y="293"/>
                    <a:pt x="1380" y="290"/>
                  </a:cubicBezTo>
                  <a:close/>
                  <a:moveTo>
                    <a:pt x="1374" y="226"/>
                  </a:moveTo>
                  <a:cubicBezTo>
                    <a:pt x="1377" y="226"/>
                    <a:pt x="1377" y="231"/>
                    <a:pt x="1377" y="234"/>
                  </a:cubicBezTo>
                  <a:cubicBezTo>
                    <a:pt x="1374" y="234"/>
                    <a:pt x="1374" y="228"/>
                    <a:pt x="1374" y="226"/>
                  </a:cubicBezTo>
                  <a:close/>
                  <a:moveTo>
                    <a:pt x="1385" y="2752"/>
                  </a:moveTo>
                  <a:cubicBezTo>
                    <a:pt x="1385" y="2755"/>
                    <a:pt x="1382" y="2758"/>
                    <a:pt x="1382" y="2763"/>
                  </a:cubicBezTo>
                  <a:cubicBezTo>
                    <a:pt x="1377" y="2761"/>
                    <a:pt x="1380" y="2749"/>
                    <a:pt x="1385" y="2752"/>
                  </a:cubicBezTo>
                  <a:close/>
                  <a:moveTo>
                    <a:pt x="1374" y="2603"/>
                  </a:moveTo>
                  <a:lnTo>
                    <a:pt x="1375" y="2603"/>
                  </a:lnTo>
                  <a:cubicBezTo>
                    <a:pt x="1374" y="2604"/>
                    <a:pt x="1373" y="2605"/>
                    <a:pt x="1374" y="2603"/>
                  </a:cubicBezTo>
                  <a:cubicBezTo>
                    <a:pt x="1377" y="2600"/>
                    <a:pt x="1376" y="2601"/>
                    <a:pt x="1375" y="2603"/>
                  </a:cubicBezTo>
                  <a:lnTo>
                    <a:pt x="1374" y="2603"/>
                  </a:lnTo>
                  <a:close/>
                  <a:moveTo>
                    <a:pt x="1377" y="14"/>
                  </a:moveTo>
                  <a:cubicBezTo>
                    <a:pt x="1380" y="14"/>
                    <a:pt x="1382" y="17"/>
                    <a:pt x="1385" y="20"/>
                  </a:cubicBezTo>
                  <a:lnTo>
                    <a:pt x="1380" y="20"/>
                  </a:lnTo>
                  <a:cubicBezTo>
                    <a:pt x="1377" y="20"/>
                    <a:pt x="1377" y="17"/>
                    <a:pt x="1377" y="14"/>
                  </a:cubicBezTo>
                  <a:close/>
                  <a:moveTo>
                    <a:pt x="1368" y="39"/>
                  </a:moveTo>
                  <a:lnTo>
                    <a:pt x="1380" y="39"/>
                  </a:lnTo>
                  <a:cubicBezTo>
                    <a:pt x="1377" y="42"/>
                    <a:pt x="1374" y="51"/>
                    <a:pt x="1368" y="48"/>
                  </a:cubicBezTo>
                  <a:lnTo>
                    <a:pt x="1368" y="39"/>
                  </a:lnTo>
                  <a:close/>
                  <a:moveTo>
                    <a:pt x="1365" y="31"/>
                  </a:moveTo>
                  <a:cubicBezTo>
                    <a:pt x="1374" y="34"/>
                    <a:pt x="1360" y="39"/>
                    <a:pt x="1365" y="31"/>
                  </a:cubicBezTo>
                  <a:close/>
                  <a:moveTo>
                    <a:pt x="1374" y="99"/>
                  </a:moveTo>
                  <a:cubicBezTo>
                    <a:pt x="1374" y="107"/>
                    <a:pt x="1363" y="110"/>
                    <a:pt x="1365" y="118"/>
                  </a:cubicBezTo>
                  <a:cubicBezTo>
                    <a:pt x="1357" y="116"/>
                    <a:pt x="1363" y="104"/>
                    <a:pt x="1357" y="96"/>
                  </a:cubicBezTo>
                  <a:cubicBezTo>
                    <a:pt x="1363" y="96"/>
                    <a:pt x="1365" y="99"/>
                    <a:pt x="1374" y="99"/>
                  </a:cubicBezTo>
                  <a:close/>
                  <a:moveTo>
                    <a:pt x="1365" y="2061"/>
                  </a:moveTo>
                  <a:cubicBezTo>
                    <a:pt x="1365" y="2055"/>
                    <a:pt x="1374" y="2064"/>
                    <a:pt x="1365" y="2061"/>
                  </a:cubicBezTo>
                  <a:close/>
                  <a:moveTo>
                    <a:pt x="1354" y="172"/>
                  </a:moveTo>
                  <a:lnTo>
                    <a:pt x="1360" y="172"/>
                  </a:lnTo>
                  <a:lnTo>
                    <a:pt x="1360" y="178"/>
                  </a:lnTo>
                  <a:cubicBezTo>
                    <a:pt x="1358" y="178"/>
                    <a:pt x="1356" y="179"/>
                    <a:pt x="1354" y="180"/>
                  </a:cubicBezTo>
                  <a:cubicBezTo>
                    <a:pt x="1358" y="196"/>
                    <a:pt x="1353" y="193"/>
                    <a:pt x="1343" y="200"/>
                  </a:cubicBezTo>
                  <a:cubicBezTo>
                    <a:pt x="1329" y="200"/>
                    <a:pt x="1332" y="183"/>
                    <a:pt x="1334" y="172"/>
                  </a:cubicBezTo>
                  <a:cubicBezTo>
                    <a:pt x="1343" y="172"/>
                    <a:pt x="1346" y="175"/>
                    <a:pt x="1351" y="172"/>
                  </a:cubicBezTo>
                  <a:cubicBezTo>
                    <a:pt x="1352" y="174"/>
                    <a:pt x="1352" y="175"/>
                    <a:pt x="1353" y="176"/>
                  </a:cubicBezTo>
                  <a:cubicBezTo>
                    <a:pt x="1353" y="175"/>
                    <a:pt x="1354" y="173"/>
                    <a:pt x="1354" y="172"/>
                  </a:cubicBezTo>
                  <a:close/>
                  <a:moveTo>
                    <a:pt x="1351" y="144"/>
                  </a:moveTo>
                  <a:cubicBezTo>
                    <a:pt x="1360" y="149"/>
                    <a:pt x="1349" y="144"/>
                    <a:pt x="1351" y="144"/>
                  </a:cubicBezTo>
                  <a:close/>
                  <a:moveTo>
                    <a:pt x="1357" y="2033"/>
                  </a:moveTo>
                  <a:cubicBezTo>
                    <a:pt x="1357" y="2027"/>
                    <a:pt x="1365" y="2036"/>
                    <a:pt x="1357" y="2033"/>
                  </a:cubicBezTo>
                  <a:close/>
                  <a:moveTo>
                    <a:pt x="1365" y="2055"/>
                  </a:moveTo>
                  <a:cubicBezTo>
                    <a:pt x="1365" y="2061"/>
                    <a:pt x="1357" y="2061"/>
                    <a:pt x="1354" y="2058"/>
                  </a:cubicBezTo>
                  <a:cubicBezTo>
                    <a:pt x="1357" y="2055"/>
                    <a:pt x="1363" y="2055"/>
                    <a:pt x="1365" y="2055"/>
                  </a:cubicBezTo>
                  <a:close/>
                  <a:moveTo>
                    <a:pt x="1360" y="28"/>
                  </a:moveTo>
                  <a:cubicBezTo>
                    <a:pt x="1357" y="28"/>
                    <a:pt x="1354" y="28"/>
                    <a:pt x="1351" y="31"/>
                  </a:cubicBezTo>
                  <a:lnTo>
                    <a:pt x="1351" y="25"/>
                  </a:lnTo>
                  <a:cubicBezTo>
                    <a:pt x="1354" y="23"/>
                    <a:pt x="1357" y="23"/>
                    <a:pt x="1360" y="28"/>
                  </a:cubicBezTo>
                  <a:close/>
                  <a:moveTo>
                    <a:pt x="1349" y="65"/>
                  </a:moveTo>
                  <a:cubicBezTo>
                    <a:pt x="1349" y="59"/>
                    <a:pt x="1357" y="68"/>
                    <a:pt x="1349" y="65"/>
                  </a:cubicBezTo>
                  <a:close/>
                  <a:moveTo>
                    <a:pt x="1346" y="59"/>
                  </a:moveTo>
                  <a:lnTo>
                    <a:pt x="1346" y="65"/>
                  </a:lnTo>
                  <a:lnTo>
                    <a:pt x="1340" y="65"/>
                  </a:lnTo>
                  <a:cubicBezTo>
                    <a:pt x="1340" y="65"/>
                    <a:pt x="1337" y="62"/>
                    <a:pt x="1337" y="59"/>
                  </a:cubicBezTo>
                  <a:cubicBezTo>
                    <a:pt x="1340" y="62"/>
                    <a:pt x="1346" y="59"/>
                    <a:pt x="1346" y="59"/>
                  </a:cubicBezTo>
                  <a:close/>
                  <a:moveTo>
                    <a:pt x="1337" y="37"/>
                  </a:moveTo>
                  <a:cubicBezTo>
                    <a:pt x="1343" y="39"/>
                    <a:pt x="1332" y="54"/>
                    <a:pt x="1332" y="42"/>
                  </a:cubicBezTo>
                  <a:cubicBezTo>
                    <a:pt x="1334" y="39"/>
                    <a:pt x="1337" y="39"/>
                    <a:pt x="1337" y="37"/>
                  </a:cubicBezTo>
                  <a:close/>
                  <a:moveTo>
                    <a:pt x="1343" y="113"/>
                  </a:moveTo>
                  <a:cubicBezTo>
                    <a:pt x="1337" y="118"/>
                    <a:pt x="1329" y="107"/>
                    <a:pt x="1343" y="113"/>
                  </a:cubicBezTo>
                  <a:close/>
                  <a:moveTo>
                    <a:pt x="1326" y="54"/>
                  </a:moveTo>
                  <a:cubicBezTo>
                    <a:pt x="1326" y="48"/>
                    <a:pt x="1337" y="56"/>
                    <a:pt x="1326" y="54"/>
                  </a:cubicBezTo>
                  <a:close/>
                  <a:moveTo>
                    <a:pt x="1323" y="8"/>
                  </a:moveTo>
                  <a:cubicBezTo>
                    <a:pt x="1323" y="3"/>
                    <a:pt x="1332" y="11"/>
                    <a:pt x="1323" y="8"/>
                  </a:cubicBezTo>
                  <a:close/>
                  <a:moveTo>
                    <a:pt x="1318" y="51"/>
                  </a:moveTo>
                  <a:cubicBezTo>
                    <a:pt x="1315" y="45"/>
                    <a:pt x="1326" y="51"/>
                    <a:pt x="1318" y="51"/>
                  </a:cubicBezTo>
                  <a:close/>
                  <a:moveTo>
                    <a:pt x="1303" y="8"/>
                  </a:moveTo>
                  <a:cubicBezTo>
                    <a:pt x="1303" y="11"/>
                    <a:pt x="1298" y="14"/>
                    <a:pt x="1295" y="14"/>
                  </a:cubicBezTo>
                  <a:cubicBezTo>
                    <a:pt x="1298" y="14"/>
                    <a:pt x="1303" y="17"/>
                    <a:pt x="1303" y="20"/>
                  </a:cubicBezTo>
                  <a:cubicBezTo>
                    <a:pt x="1301" y="23"/>
                    <a:pt x="1298" y="20"/>
                    <a:pt x="1295" y="17"/>
                  </a:cubicBezTo>
                  <a:lnTo>
                    <a:pt x="1295" y="14"/>
                  </a:lnTo>
                  <a:cubicBezTo>
                    <a:pt x="1298" y="11"/>
                    <a:pt x="1301" y="11"/>
                    <a:pt x="1303" y="8"/>
                  </a:cubicBezTo>
                  <a:close/>
                  <a:moveTo>
                    <a:pt x="1303" y="23"/>
                  </a:moveTo>
                  <a:cubicBezTo>
                    <a:pt x="1303" y="25"/>
                    <a:pt x="1301" y="31"/>
                    <a:pt x="1295" y="31"/>
                  </a:cubicBezTo>
                  <a:cubicBezTo>
                    <a:pt x="1295" y="28"/>
                    <a:pt x="1295" y="25"/>
                    <a:pt x="1292" y="25"/>
                  </a:cubicBezTo>
                  <a:cubicBezTo>
                    <a:pt x="1298" y="23"/>
                    <a:pt x="1301" y="23"/>
                    <a:pt x="1303" y="23"/>
                  </a:cubicBezTo>
                  <a:close/>
                  <a:moveTo>
                    <a:pt x="1284" y="28"/>
                  </a:moveTo>
                  <a:cubicBezTo>
                    <a:pt x="1286" y="20"/>
                    <a:pt x="1292" y="37"/>
                    <a:pt x="1284" y="28"/>
                  </a:cubicBezTo>
                  <a:close/>
                  <a:moveTo>
                    <a:pt x="1281" y="189"/>
                  </a:moveTo>
                  <a:cubicBezTo>
                    <a:pt x="1278" y="189"/>
                    <a:pt x="1278" y="186"/>
                    <a:pt x="1278" y="186"/>
                  </a:cubicBezTo>
                  <a:lnTo>
                    <a:pt x="1282" y="186"/>
                  </a:lnTo>
                  <a:cubicBezTo>
                    <a:pt x="1281" y="184"/>
                    <a:pt x="1280" y="182"/>
                    <a:pt x="1281" y="180"/>
                  </a:cubicBezTo>
                  <a:cubicBezTo>
                    <a:pt x="1284" y="183"/>
                    <a:pt x="1292" y="183"/>
                    <a:pt x="1295" y="192"/>
                  </a:cubicBezTo>
                  <a:cubicBezTo>
                    <a:pt x="1291" y="192"/>
                    <a:pt x="1285" y="189"/>
                    <a:pt x="1282" y="186"/>
                  </a:cubicBezTo>
                  <a:cubicBezTo>
                    <a:pt x="1281" y="187"/>
                    <a:pt x="1281" y="189"/>
                    <a:pt x="1281" y="189"/>
                  </a:cubicBezTo>
                  <a:close/>
                  <a:moveTo>
                    <a:pt x="1278" y="2154"/>
                  </a:moveTo>
                  <a:cubicBezTo>
                    <a:pt x="1278" y="2148"/>
                    <a:pt x="1289" y="2157"/>
                    <a:pt x="1278" y="2154"/>
                  </a:cubicBezTo>
                  <a:close/>
                  <a:moveTo>
                    <a:pt x="1281" y="28"/>
                  </a:moveTo>
                  <a:cubicBezTo>
                    <a:pt x="1284" y="31"/>
                    <a:pt x="1272" y="34"/>
                    <a:pt x="1272" y="28"/>
                  </a:cubicBezTo>
                  <a:lnTo>
                    <a:pt x="1281" y="28"/>
                  </a:lnTo>
                  <a:close/>
                  <a:moveTo>
                    <a:pt x="1275" y="302"/>
                  </a:moveTo>
                  <a:lnTo>
                    <a:pt x="1275" y="307"/>
                  </a:lnTo>
                  <a:lnTo>
                    <a:pt x="1270" y="307"/>
                  </a:lnTo>
                  <a:cubicBezTo>
                    <a:pt x="1270" y="307"/>
                    <a:pt x="1267" y="305"/>
                    <a:pt x="1267" y="302"/>
                  </a:cubicBezTo>
                  <a:lnTo>
                    <a:pt x="1275" y="302"/>
                  </a:lnTo>
                  <a:close/>
                  <a:moveTo>
                    <a:pt x="1270" y="2160"/>
                  </a:moveTo>
                  <a:cubicBezTo>
                    <a:pt x="1270" y="2154"/>
                    <a:pt x="1278" y="2163"/>
                    <a:pt x="1270" y="2160"/>
                  </a:cubicBezTo>
                  <a:close/>
                  <a:moveTo>
                    <a:pt x="1267" y="2662"/>
                  </a:moveTo>
                  <a:cubicBezTo>
                    <a:pt x="1275" y="2656"/>
                    <a:pt x="1264" y="2667"/>
                    <a:pt x="1267" y="2662"/>
                  </a:cubicBezTo>
                  <a:close/>
                  <a:moveTo>
                    <a:pt x="1261" y="2698"/>
                  </a:moveTo>
                  <a:cubicBezTo>
                    <a:pt x="1272" y="2698"/>
                    <a:pt x="1264" y="2713"/>
                    <a:pt x="1258" y="2713"/>
                  </a:cubicBezTo>
                  <a:cubicBezTo>
                    <a:pt x="1258" y="2707"/>
                    <a:pt x="1264" y="2704"/>
                    <a:pt x="1261" y="2698"/>
                  </a:cubicBezTo>
                  <a:close/>
                  <a:moveTo>
                    <a:pt x="1270" y="17"/>
                  </a:moveTo>
                  <a:cubicBezTo>
                    <a:pt x="1270" y="23"/>
                    <a:pt x="1261" y="20"/>
                    <a:pt x="1261" y="20"/>
                  </a:cubicBezTo>
                  <a:cubicBezTo>
                    <a:pt x="1261" y="14"/>
                    <a:pt x="1270" y="17"/>
                    <a:pt x="1270" y="17"/>
                  </a:cubicBezTo>
                  <a:close/>
                  <a:moveTo>
                    <a:pt x="1264" y="265"/>
                  </a:moveTo>
                  <a:cubicBezTo>
                    <a:pt x="1261" y="265"/>
                    <a:pt x="1258" y="262"/>
                    <a:pt x="1255" y="259"/>
                  </a:cubicBezTo>
                  <a:cubicBezTo>
                    <a:pt x="1261" y="257"/>
                    <a:pt x="1264" y="262"/>
                    <a:pt x="1264" y="265"/>
                  </a:cubicBezTo>
                  <a:close/>
                  <a:moveTo>
                    <a:pt x="1244" y="192"/>
                  </a:moveTo>
                  <a:lnTo>
                    <a:pt x="1250" y="192"/>
                  </a:lnTo>
                  <a:lnTo>
                    <a:pt x="1250" y="197"/>
                  </a:lnTo>
                  <a:cubicBezTo>
                    <a:pt x="1248" y="197"/>
                    <a:pt x="1247" y="197"/>
                    <a:pt x="1246" y="198"/>
                  </a:cubicBezTo>
                  <a:cubicBezTo>
                    <a:pt x="1247" y="196"/>
                    <a:pt x="1246" y="194"/>
                    <a:pt x="1244" y="192"/>
                  </a:cubicBezTo>
                  <a:close/>
                  <a:moveTo>
                    <a:pt x="1244" y="200"/>
                  </a:moveTo>
                  <a:cubicBezTo>
                    <a:pt x="1245" y="199"/>
                    <a:pt x="1246" y="199"/>
                    <a:pt x="1246" y="198"/>
                  </a:cubicBezTo>
                  <a:cubicBezTo>
                    <a:pt x="1245" y="198"/>
                    <a:pt x="1244" y="199"/>
                    <a:pt x="1244" y="200"/>
                  </a:cubicBezTo>
                  <a:close/>
                  <a:moveTo>
                    <a:pt x="1244" y="130"/>
                  </a:moveTo>
                  <a:lnTo>
                    <a:pt x="1233" y="130"/>
                  </a:lnTo>
                  <a:cubicBezTo>
                    <a:pt x="1233" y="127"/>
                    <a:pt x="1233" y="121"/>
                    <a:pt x="1238" y="118"/>
                  </a:cubicBezTo>
                  <a:cubicBezTo>
                    <a:pt x="1241" y="124"/>
                    <a:pt x="1244" y="127"/>
                    <a:pt x="1244" y="130"/>
                  </a:cubicBezTo>
                  <a:close/>
                  <a:moveTo>
                    <a:pt x="1238" y="231"/>
                  </a:moveTo>
                  <a:cubicBezTo>
                    <a:pt x="1233" y="228"/>
                    <a:pt x="1230" y="223"/>
                    <a:pt x="1227" y="217"/>
                  </a:cubicBezTo>
                  <a:cubicBezTo>
                    <a:pt x="1233" y="220"/>
                    <a:pt x="1241" y="226"/>
                    <a:pt x="1238" y="231"/>
                  </a:cubicBezTo>
                  <a:close/>
                  <a:moveTo>
                    <a:pt x="1230" y="189"/>
                  </a:moveTo>
                  <a:cubicBezTo>
                    <a:pt x="1227" y="183"/>
                    <a:pt x="1238" y="189"/>
                    <a:pt x="1230" y="189"/>
                  </a:cubicBezTo>
                  <a:close/>
                  <a:moveTo>
                    <a:pt x="1236" y="259"/>
                  </a:moveTo>
                  <a:cubicBezTo>
                    <a:pt x="1238" y="254"/>
                    <a:pt x="1247" y="262"/>
                    <a:pt x="1236" y="259"/>
                  </a:cubicBezTo>
                  <a:close/>
                  <a:moveTo>
                    <a:pt x="1222" y="2422"/>
                  </a:moveTo>
                  <a:cubicBezTo>
                    <a:pt x="1224" y="2416"/>
                    <a:pt x="1236" y="2428"/>
                    <a:pt x="1222" y="2422"/>
                  </a:cubicBezTo>
                  <a:close/>
                  <a:moveTo>
                    <a:pt x="1230" y="2298"/>
                  </a:moveTo>
                  <a:lnTo>
                    <a:pt x="1224" y="2298"/>
                  </a:lnTo>
                  <a:cubicBezTo>
                    <a:pt x="1224" y="2295"/>
                    <a:pt x="1224" y="2295"/>
                    <a:pt x="1222" y="2295"/>
                  </a:cubicBezTo>
                  <a:cubicBezTo>
                    <a:pt x="1222" y="2289"/>
                    <a:pt x="1233" y="2292"/>
                    <a:pt x="1230" y="2298"/>
                  </a:cubicBezTo>
                  <a:close/>
                  <a:moveTo>
                    <a:pt x="1236" y="2515"/>
                  </a:moveTo>
                  <a:cubicBezTo>
                    <a:pt x="1238" y="2518"/>
                    <a:pt x="1238" y="2524"/>
                    <a:pt x="1236" y="2526"/>
                  </a:cubicBezTo>
                  <a:cubicBezTo>
                    <a:pt x="1233" y="2526"/>
                    <a:pt x="1227" y="2526"/>
                    <a:pt x="1224" y="2529"/>
                  </a:cubicBezTo>
                  <a:cubicBezTo>
                    <a:pt x="1224" y="2526"/>
                    <a:pt x="1222" y="2521"/>
                    <a:pt x="1222" y="2518"/>
                  </a:cubicBezTo>
                  <a:cubicBezTo>
                    <a:pt x="1224" y="2515"/>
                    <a:pt x="1230" y="2515"/>
                    <a:pt x="1236" y="2515"/>
                  </a:cubicBezTo>
                  <a:close/>
                  <a:moveTo>
                    <a:pt x="1233" y="2704"/>
                  </a:moveTo>
                  <a:lnTo>
                    <a:pt x="1244" y="2704"/>
                  </a:lnTo>
                  <a:cubicBezTo>
                    <a:pt x="1247" y="2710"/>
                    <a:pt x="1238" y="2707"/>
                    <a:pt x="1233" y="2710"/>
                  </a:cubicBezTo>
                  <a:lnTo>
                    <a:pt x="1233" y="2704"/>
                  </a:lnTo>
                  <a:close/>
                  <a:moveTo>
                    <a:pt x="1241" y="56"/>
                  </a:moveTo>
                  <a:cubicBezTo>
                    <a:pt x="1236" y="59"/>
                    <a:pt x="1236" y="54"/>
                    <a:pt x="1230" y="54"/>
                  </a:cubicBezTo>
                  <a:cubicBezTo>
                    <a:pt x="1230" y="51"/>
                    <a:pt x="1241" y="51"/>
                    <a:pt x="1241" y="56"/>
                  </a:cubicBezTo>
                  <a:close/>
                  <a:moveTo>
                    <a:pt x="1233" y="42"/>
                  </a:moveTo>
                  <a:lnTo>
                    <a:pt x="1233" y="48"/>
                  </a:lnTo>
                  <a:lnTo>
                    <a:pt x="1227" y="48"/>
                  </a:lnTo>
                  <a:cubicBezTo>
                    <a:pt x="1227" y="48"/>
                    <a:pt x="1224" y="45"/>
                    <a:pt x="1224" y="42"/>
                  </a:cubicBezTo>
                  <a:lnTo>
                    <a:pt x="1233" y="42"/>
                  </a:lnTo>
                  <a:close/>
                  <a:moveTo>
                    <a:pt x="1224" y="178"/>
                  </a:moveTo>
                  <a:cubicBezTo>
                    <a:pt x="1227" y="169"/>
                    <a:pt x="1230" y="186"/>
                    <a:pt x="1224" y="178"/>
                  </a:cubicBezTo>
                  <a:close/>
                  <a:moveTo>
                    <a:pt x="1224" y="169"/>
                  </a:moveTo>
                  <a:lnTo>
                    <a:pt x="1219" y="169"/>
                  </a:lnTo>
                  <a:lnTo>
                    <a:pt x="1219" y="164"/>
                  </a:lnTo>
                  <a:cubicBezTo>
                    <a:pt x="1219" y="164"/>
                    <a:pt x="1222" y="161"/>
                    <a:pt x="1224" y="161"/>
                  </a:cubicBezTo>
                  <a:lnTo>
                    <a:pt x="1224" y="169"/>
                  </a:lnTo>
                  <a:close/>
                  <a:moveTo>
                    <a:pt x="1210" y="195"/>
                  </a:moveTo>
                  <a:lnTo>
                    <a:pt x="1210" y="183"/>
                  </a:lnTo>
                  <a:cubicBezTo>
                    <a:pt x="1213" y="186"/>
                    <a:pt x="1219" y="183"/>
                    <a:pt x="1222" y="189"/>
                  </a:cubicBezTo>
                  <a:cubicBezTo>
                    <a:pt x="1219" y="192"/>
                    <a:pt x="1213" y="195"/>
                    <a:pt x="1210" y="195"/>
                  </a:cubicBezTo>
                  <a:close/>
                  <a:moveTo>
                    <a:pt x="1216" y="2467"/>
                  </a:moveTo>
                  <a:cubicBezTo>
                    <a:pt x="1216" y="2462"/>
                    <a:pt x="1224" y="2470"/>
                    <a:pt x="1216" y="2467"/>
                  </a:cubicBezTo>
                  <a:close/>
                  <a:moveTo>
                    <a:pt x="1191" y="231"/>
                  </a:moveTo>
                  <a:cubicBezTo>
                    <a:pt x="1191" y="220"/>
                    <a:pt x="1199" y="228"/>
                    <a:pt x="1202" y="217"/>
                  </a:cubicBezTo>
                  <a:cubicBezTo>
                    <a:pt x="1205" y="220"/>
                    <a:pt x="1210" y="223"/>
                    <a:pt x="1210" y="228"/>
                  </a:cubicBezTo>
                  <a:cubicBezTo>
                    <a:pt x="1202" y="228"/>
                    <a:pt x="1199" y="234"/>
                    <a:pt x="1191" y="231"/>
                  </a:cubicBezTo>
                  <a:close/>
                  <a:moveTo>
                    <a:pt x="1196" y="310"/>
                  </a:moveTo>
                  <a:lnTo>
                    <a:pt x="1196" y="316"/>
                  </a:lnTo>
                  <a:lnTo>
                    <a:pt x="1191" y="316"/>
                  </a:lnTo>
                  <a:lnTo>
                    <a:pt x="1191" y="310"/>
                  </a:lnTo>
                  <a:lnTo>
                    <a:pt x="1196" y="310"/>
                  </a:lnTo>
                  <a:close/>
                  <a:moveTo>
                    <a:pt x="1199" y="121"/>
                  </a:moveTo>
                  <a:cubicBezTo>
                    <a:pt x="1202" y="124"/>
                    <a:pt x="1210" y="124"/>
                    <a:pt x="1210" y="130"/>
                  </a:cubicBezTo>
                  <a:cubicBezTo>
                    <a:pt x="1207" y="127"/>
                    <a:pt x="1202" y="127"/>
                    <a:pt x="1199" y="121"/>
                  </a:cubicBezTo>
                  <a:close/>
                  <a:moveTo>
                    <a:pt x="1216" y="166"/>
                  </a:moveTo>
                  <a:cubicBezTo>
                    <a:pt x="1210" y="166"/>
                    <a:pt x="1205" y="164"/>
                    <a:pt x="1202" y="158"/>
                  </a:cubicBezTo>
                  <a:cubicBezTo>
                    <a:pt x="1205" y="158"/>
                    <a:pt x="1207" y="158"/>
                    <a:pt x="1207" y="155"/>
                  </a:cubicBezTo>
                  <a:cubicBezTo>
                    <a:pt x="1207" y="164"/>
                    <a:pt x="1216" y="161"/>
                    <a:pt x="1216" y="166"/>
                  </a:cubicBezTo>
                  <a:close/>
                  <a:moveTo>
                    <a:pt x="1205" y="259"/>
                  </a:moveTo>
                  <a:lnTo>
                    <a:pt x="1206" y="259"/>
                  </a:lnTo>
                  <a:cubicBezTo>
                    <a:pt x="1206" y="262"/>
                    <a:pt x="1206" y="266"/>
                    <a:pt x="1205" y="259"/>
                  </a:cubicBezTo>
                  <a:cubicBezTo>
                    <a:pt x="1205" y="256"/>
                    <a:pt x="1205" y="257"/>
                    <a:pt x="1206" y="259"/>
                  </a:cubicBezTo>
                  <a:lnTo>
                    <a:pt x="1205" y="259"/>
                  </a:lnTo>
                  <a:close/>
                  <a:moveTo>
                    <a:pt x="1207" y="296"/>
                  </a:moveTo>
                  <a:lnTo>
                    <a:pt x="1207" y="290"/>
                  </a:lnTo>
                  <a:lnTo>
                    <a:pt x="1210" y="290"/>
                  </a:lnTo>
                  <a:cubicBezTo>
                    <a:pt x="1210" y="293"/>
                    <a:pt x="1213" y="293"/>
                    <a:pt x="1213" y="293"/>
                  </a:cubicBezTo>
                  <a:cubicBezTo>
                    <a:pt x="1210" y="296"/>
                    <a:pt x="1207" y="299"/>
                    <a:pt x="1207" y="296"/>
                  </a:cubicBezTo>
                  <a:close/>
                  <a:moveTo>
                    <a:pt x="1207" y="2800"/>
                  </a:moveTo>
                  <a:cubicBezTo>
                    <a:pt x="1207" y="2806"/>
                    <a:pt x="1202" y="2806"/>
                    <a:pt x="1199" y="2808"/>
                  </a:cubicBezTo>
                  <a:cubicBezTo>
                    <a:pt x="1196" y="2803"/>
                    <a:pt x="1202" y="2800"/>
                    <a:pt x="1207" y="2800"/>
                  </a:cubicBezTo>
                  <a:close/>
                  <a:moveTo>
                    <a:pt x="1205" y="2676"/>
                  </a:moveTo>
                  <a:cubicBezTo>
                    <a:pt x="1222" y="2676"/>
                    <a:pt x="1202" y="2698"/>
                    <a:pt x="1205" y="2676"/>
                  </a:cubicBezTo>
                  <a:close/>
                  <a:moveTo>
                    <a:pt x="1207" y="2442"/>
                  </a:moveTo>
                  <a:cubicBezTo>
                    <a:pt x="1213" y="2442"/>
                    <a:pt x="1216" y="2456"/>
                    <a:pt x="1219" y="2462"/>
                  </a:cubicBezTo>
                  <a:cubicBezTo>
                    <a:pt x="1210" y="2462"/>
                    <a:pt x="1207" y="2450"/>
                    <a:pt x="1207" y="2442"/>
                  </a:cubicBezTo>
                  <a:close/>
                  <a:moveTo>
                    <a:pt x="1213" y="39"/>
                  </a:moveTo>
                  <a:lnTo>
                    <a:pt x="1219" y="39"/>
                  </a:lnTo>
                  <a:lnTo>
                    <a:pt x="1219" y="45"/>
                  </a:lnTo>
                  <a:lnTo>
                    <a:pt x="1213" y="45"/>
                  </a:lnTo>
                  <a:lnTo>
                    <a:pt x="1213" y="39"/>
                  </a:lnTo>
                  <a:close/>
                  <a:moveTo>
                    <a:pt x="1213" y="73"/>
                  </a:moveTo>
                  <a:cubicBezTo>
                    <a:pt x="1216" y="70"/>
                    <a:pt x="1219" y="70"/>
                    <a:pt x="1219" y="70"/>
                  </a:cubicBezTo>
                  <a:cubicBezTo>
                    <a:pt x="1219" y="73"/>
                    <a:pt x="1222" y="76"/>
                    <a:pt x="1222" y="79"/>
                  </a:cubicBezTo>
                  <a:lnTo>
                    <a:pt x="1219" y="79"/>
                  </a:lnTo>
                  <a:cubicBezTo>
                    <a:pt x="1219" y="82"/>
                    <a:pt x="1216" y="82"/>
                    <a:pt x="1216" y="85"/>
                  </a:cubicBezTo>
                  <a:cubicBezTo>
                    <a:pt x="1210" y="85"/>
                    <a:pt x="1207" y="76"/>
                    <a:pt x="1213" y="73"/>
                  </a:cubicBezTo>
                  <a:close/>
                  <a:moveTo>
                    <a:pt x="1213" y="73"/>
                  </a:moveTo>
                  <a:cubicBezTo>
                    <a:pt x="1213" y="70"/>
                    <a:pt x="1210" y="70"/>
                    <a:pt x="1213" y="73"/>
                  </a:cubicBezTo>
                  <a:close/>
                  <a:moveTo>
                    <a:pt x="1213" y="73"/>
                  </a:moveTo>
                  <a:cubicBezTo>
                    <a:pt x="1213" y="65"/>
                    <a:pt x="1216" y="70"/>
                    <a:pt x="1213" y="73"/>
                  </a:cubicBezTo>
                  <a:close/>
                  <a:moveTo>
                    <a:pt x="1202" y="107"/>
                  </a:moveTo>
                  <a:cubicBezTo>
                    <a:pt x="1205" y="110"/>
                    <a:pt x="1210" y="118"/>
                    <a:pt x="1213" y="121"/>
                  </a:cubicBezTo>
                  <a:cubicBezTo>
                    <a:pt x="1207" y="121"/>
                    <a:pt x="1202" y="116"/>
                    <a:pt x="1196" y="118"/>
                  </a:cubicBezTo>
                  <a:cubicBezTo>
                    <a:pt x="1191" y="113"/>
                    <a:pt x="1202" y="113"/>
                    <a:pt x="1202" y="107"/>
                  </a:cubicBezTo>
                  <a:close/>
                  <a:moveTo>
                    <a:pt x="1193" y="93"/>
                  </a:moveTo>
                  <a:cubicBezTo>
                    <a:pt x="1188" y="90"/>
                    <a:pt x="1202" y="96"/>
                    <a:pt x="1193" y="93"/>
                  </a:cubicBezTo>
                  <a:close/>
                  <a:moveTo>
                    <a:pt x="1165" y="48"/>
                  </a:moveTo>
                  <a:cubicBezTo>
                    <a:pt x="1168" y="42"/>
                    <a:pt x="1162" y="56"/>
                    <a:pt x="1165" y="48"/>
                  </a:cubicBezTo>
                  <a:close/>
                  <a:moveTo>
                    <a:pt x="1159" y="96"/>
                  </a:moveTo>
                  <a:cubicBezTo>
                    <a:pt x="1162" y="90"/>
                    <a:pt x="1165" y="82"/>
                    <a:pt x="1171" y="85"/>
                  </a:cubicBezTo>
                  <a:cubicBezTo>
                    <a:pt x="1171" y="79"/>
                    <a:pt x="1168" y="79"/>
                    <a:pt x="1171" y="73"/>
                  </a:cubicBezTo>
                  <a:cubicBezTo>
                    <a:pt x="1179" y="76"/>
                    <a:pt x="1176" y="68"/>
                    <a:pt x="1185" y="68"/>
                  </a:cubicBezTo>
                  <a:cubicBezTo>
                    <a:pt x="1182" y="70"/>
                    <a:pt x="1185" y="76"/>
                    <a:pt x="1188" y="79"/>
                  </a:cubicBezTo>
                  <a:lnTo>
                    <a:pt x="1188" y="76"/>
                  </a:lnTo>
                  <a:cubicBezTo>
                    <a:pt x="1193" y="73"/>
                    <a:pt x="1202" y="82"/>
                    <a:pt x="1199" y="87"/>
                  </a:cubicBezTo>
                  <a:lnTo>
                    <a:pt x="1196" y="87"/>
                  </a:lnTo>
                  <a:lnTo>
                    <a:pt x="1196" y="90"/>
                  </a:lnTo>
                  <a:cubicBezTo>
                    <a:pt x="1193" y="93"/>
                    <a:pt x="1188" y="76"/>
                    <a:pt x="1179" y="79"/>
                  </a:cubicBezTo>
                  <a:cubicBezTo>
                    <a:pt x="1171" y="79"/>
                    <a:pt x="1176" y="87"/>
                    <a:pt x="1176" y="90"/>
                  </a:cubicBezTo>
                  <a:cubicBezTo>
                    <a:pt x="1179" y="93"/>
                    <a:pt x="1179" y="87"/>
                    <a:pt x="1182" y="87"/>
                  </a:cubicBezTo>
                  <a:cubicBezTo>
                    <a:pt x="1185" y="93"/>
                    <a:pt x="1176" y="93"/>
                    <a:pt x="1176" y="96"/>
                  </a:cubicBezTo>
                  <a:cubicBezTo>
                    <a:pt x="1179" y="102"/>
                    <a:pt x="1182" y="102"/>
                    <a:pt x="1179" y="110"/>
                  </a:cubicBezTo>
                  <a:cubicBezTo>
                    <a:pt x="1174" y="104"/>
                    <a:pt x="1168" y="113"/>
                    <a:pt x="1162" y="107"/>
                  </a:cubicBezTo>
                  <a:cubicBezTo>
                    <a:pt x="1162" y="102"/>
                    <a:pt x="1162" y="104"/>
                    <a:pt x="1159" y="96"/>
                  </a:cubicBezTo>
                  <a:cubicBezTo>
                    <a:pt x="1162" y="96"/>
                    <a:pt x="1168" y="99"/>
                    <a:pt x="1168" y="102"/>
                  </a:cubicBezTo>
                  <a:cubicBezTo>
                    <a:pt x="1171" y="99"/>
                    <a:pt x="1165" y="99"/>
                    <a:pt x="1168" y="96"/>
                  </a:cubicBezTo>
                  <a:lnTo>
                    <a:pt x="1159" y="96"/>
                  </a:lnTo>
                  <a:close/>
                  <a:moveTo>
                    <a:pt x="1185" y="2653"/>
                  </a:moveTo>
                  <a:cubicBezTo>
                    <a:pt x="1185" y="2648"/>
                    <a:pt x="1193" y="2656"/>
                    <a:pt x="1185" y="2653"/>
                  </a:cubicBezTo>
                  <a:close/>
                  <a:moveTo>
                    <a:pt x="1165" y="118"/>
                  </a:moveTo>
                  <a:cubicBezTo>
                    <a:pt x="1162" y="116"/>
                    <a:pt x="1168" y="113"/>
                    <a:pt x="1171" y="110"/>
                  </a:cubicBezTo>
                  <a:cubicBezTo>
                    <a:pt x="1168" y="116"/>
                    <a:pt x="1168" y="118"/>
                    <a:pt x="1165" y="118"/>
                  </a:cubicBezTo>
                  <a:close/>
                  <a:moveTo>
                    <a:pt x="1168" y="226"/>
                  </a:moveTo>
                  <a:cubicBezTo>
                    <a:pt x="1165" y="226"/>
                    <a:pt x="1162" y="226"/>
                    <a:pt x="1159" y="228"/>
                  </a:cubicBezTo>
                  <a:lnTo>
                    <a:pt x="1159" y="223"/>
                  </a:lnTo>
                  <a:cubicBezTo>
                    <a:pt x="1162" y="220"/>
                    <a:pt x="1164" y="220"/>
                    <a:pt x="1167" y="224"/>
                  </a:cubicBezTo>
                  <a:cubicBezTo>
                    <a:pt x="1167" y="223"/>
                    <a:pt x="1168" y="224"/>
                    <a:pt x="1168" y="226"/>
                  </a:cubicBezTo>
                  <a:close/>
                  <a:moveTo>
                    <a:pt x="1171" y="172"/>
                  </a:moveTo>
                  <a:cubicBezTo>
                    <a:pt x="1171" y="175"/>
                    <a:pt x="1176" y="172"/>
                    <a:pt x="1176" y="172"/>
                  </a:cubicBezTo>
                  <a:cubicBezTo>
                    <a:pt x="1176" y="178"/>
                    <a:pt x="1174" y="180"/>
                    <a:pt x="1171" y="183"/>
                  </a:cubicBezTo>
                  <a:cubicBezTo>
                    <a:pt x="1171" y="180"/>
                    <a:pt x="1168" y="169"/>
                    <a:pt x="1171" y="172"/>
                  </a:cubicBezTo>
                  <a:close/>
                  <a:moveTo>
                    <a:pt x="1165" y="2557"/>
                  </a:moveTo>
                  <a:cubicBezTo>
                    <a:pt x="1168" y="2552"/>
                    <a:pt x="1176" y="2559"/>
                    <a:pt x="1167" y="2558"/>
                  </a:cubicBezTo>
                  <a:cubicBezTo>
                    <a:pt x="1166" y="2558"/>
                    <a:pt x="1166" y="2557"/>
                    <a:pt x="1165" y="2557"/>
                  </a:cubicBezTo>
                  <a:close/>
                  <a:moveTo>
                    <a:pt x="1165" y="2557"/>
                  </a:moveTo>
                  <a:cubicBezTo>
                    <a:pt x="1167" y="2560"/>
                    <a:pt x="1168" y="2558"/>
                    <a:pt x="1167" y="2558"/>
                  </a:cubicBezTo>
                  <a:cubicBezTo>
                    <a:pt x="1166" y="2558"/>
                    <a:pt x="1166" y="2558"/>
                    <a:pt x="1165" y="2557"/>
                  </a:cubicBezTo>
                  <a:close/>
                  <a:moveTo>
                    <a:pt x="1168" y="220"/>
                  </a:moveTo>
                  <a:cubicBezTo>
                    <a:pt x="1174" y="220"/>
                    <a:pt x="1176" y="237"/>
                    <a:pt x="1176" y="240"/>
                  </a:cubicBezTo>
                  <a:cubicBezTo>
                    <a:pt x="1171" y="240"/>
                    <a:pt x="1168" y="223"/>
                    <a:pt x="1168" y="220"/>
                  </a:cubicBezTo>
                  <a:close/>
                  <a:moveTo>
                    <a:pt x="1182" y="262"/>
                  </a:moveTo>
                  <a:cubicBezTo>
                    <a:pt x="1185" y="265"/>
                    <a:pt x="1182" y="271"/>
                    <a:pt x="1182" y="274"/>
                  </a:cubicBezTo>
                  <a:cubicBezTo>
                    <a:pt x="1176" y="276"/>
                    <a:pt x="1176" y="271"/>
                    <a:pt x="1171" y="271"/>
                  </a:cubicBezTo>
                  <a:cubicBezTo>
                    <a:pt x="1174" y="268"/>
                    <a:pt x="1176" y="265"/>
                    <a:pt x="1182" y="262"/>
                  </a:cubicBezTo>
                  <a:close/>
                  <a:moveTo>
                    <a:pt x="1176" y="259"/>
                  </a:moveTo>
                  <a:cubicBezTo>
                    <a:pt x="1174" y="257"/>
                    <a:pt x="1176" y="257"/>
                    <a:pt x="1176" y="259"/>
                  </a:cubicBezTo>
                  <a:cubicBezTo>
                    <a:pt x="1176" y="257"/>
                    <a:pt x="1176" y="254"/>
                    <a:pt x="1174" y="254"/>
                  </a:cubicBezTo>
                  <a:cubicBezTo>
                    <a:pt x="1179" y="251"/>
                    <a:pt x="1179" y="259"/>
                    <a:pt x="1179" y="262"/>
                  </a:cubicBezTo>
                  <a:cubicBezTo>
                    <a:pt x="1179" y="259"/>
                    <a:pt x="1176" y="259"/>
                    <a:pt x="1176" y="259"/>
                  </a:cubicBezTo>
                  <a:close/>
                  <a:moveTo>
                    <a:pt x="1176" y="259"/>
                  </a:moveTo>
                  <a:cubicBezTo>
                    <a:pt x="1174" y="259"/>
                    <a:pt x="1171" y="262"/>
                    <a:pt x="1176" y="259"/>
                  </a:cubicBezTo>
                  <a:close/>
                  <a:moveTo>
                    <a:pt x="1157" y="135"/>
                  </a:moveTo>
                  <a:cubicBezTo>
                    <a:pt x="1159" y="127"/>
                    <a:pt x="1162" y="144"/>
                    <a:pt x="1157" y="135"/>
                  </a:cubicBezTo>
                  <a:close/>
                  <a:moveTo>
                    <a:pt x="1159" y="2594"/>
                  </a:moveTo>
                  <a:cubicBezTo>
                    <a:pt x="1179" y="2605"/>
                    <a:pt x="1145" y="2614"/>
                    <a:pt x="1159" y="2594"/>
                  </a:cubicBezTo>
                  <a:close/>
                  <a:moveTo>
                    <a:pt x="1148" y="299"/>
                  </a:moveTo>
                  <a:cubicBezTo>
                    <a:pt x="1146" y="298"/>
                    <a:pt x="1144" y="298"/>
                    <a:pt x="1143" y="299"/>
                  </a:cubicBezTo>
                  <a:cubicBezTo>
                    <a:pt x="1143" y="301"/>
                    <a:pt x="1141" y="303"/>
                    <a:pt x="1140" y="300"/>
                  </a:cubicBezTo>
                  <a:cubicBezTo>
                    <a:pt x="1139" y="300"/>
                    <a:pt x="1137" y="300"/>
                    <a:pt x="1134" y="299"/>
                  </a:cubicBezTo>
                  <a:cubicBezTo>
                    <a:pt x="1134" y="293"/>
                    <a:pt x="1148" y="293"/>
                    <a:pt x="1148" y="299"/>
                  </a:cubicBezTo>
                  <a:close/>
                  <a:moveTo>
                    <a:pt x="1131" y="2526"/>
                  </a:moveTo>
                  <a:cubicBezTo>
                    <a:pt x="1131" y="2521"/>
                    <a:pt x="1143" y="2529"/>
                    <a:pt x="1131" y="2526"/>
                  </a:cubicBezTo>
                  <a:close/>
                  <a:moveTo>
                    <a:pt x="1143" y="34"/>
                  </a:moveTo>
                  <a:lnTo>
                    <a:pt x="1143" y="42"/>
                  </a:lnTo>
                  <a:cubicBezTo>
                    <a:pt x="1140" y="42"/>
                    <a:pt x="1140" y="39"/>
                    <a:pt x="1137" y="39"/>
                  </a:cubicBezTo>
                  <a:cubicBezTo>
                    <a:pt x="1134" y="39"/>
                    <a:pt x="1140" y="37"/>
                    <a:pt x="1143" y="34"/>
                  </a:cubicBezTo>
                  <a:close/>
                  <a:moveTo>
                    <a:pt x="1140" y="62"/>
                  </a:moveTo>
                  <a:cubicBezTo>
                    <a:pt x="1151" y="65"/>
                    <a:pt x="1134" y="73"/>
                    <a:pt x="1126" y="76"/>
                  </a:cubicBezTo>
                  <a:cubicBezTo>
                    <a:pt x="1123" y="68"/>
                    <a:pt x="1143" y="70"/>
                    <a:pt x="1140" y="62"/>
                  </a:cubicBezTo>
                  <a:close/>
                  <a:moveTo>
                    <a:pt x="1134" y="130"/>
                  </a:moveTo>
                  <a:cubicBezTo>
                    <a:pt x="1131" y="130"/>
                    <a:pt x="1128" y="127"/>
                    <a:pt x="1126" y="124"/>
                  </a:cubicBezTo>
                  <a:cubicBezTo>
                    <a:pt x="1131" y="124"/>
                    <a:pt x="1134" y="127"/>
                    <a:pt x="1134" y="130"/>
                  </a:cubicBezTo>
                  <a:close/>
                  <a:moveTo>
                    <a:pt x="1137" y="282"/>
                  </a:moveTo>
                  <a:cubicBezTo>
                    <a:pt x="1137" y="288"/>
                    <a:pt x="1131" y="290"/>
                    <a:pt x="1126" y="290"/>
                  </a:cubicBezTo>
                  <a:cubicBezTo>
                    <a:pt x="1128" y="288"/>
                    <a:pt x="1131" y="282"/>
                    <a:pt x="1137" y="282"/>
                  </a:cubicBezTo>
                  <a:close/>
                  <a:moveTo>
                    <a:pt x="1140" y="2639"/>
                  </a:moveTo>
                  <a:cubicBezTo>
                    <a:pt x="1132" y="2639"/>
                    <a:pt x="1127" y="2637"/>
                    <a:pt x="1125" y="2635"/>
                  </a:cubicBezTo>
                  <a:cubicBezTo>
                    <a:pt x="1124" y="2635"/>
                    <a:pt x="1122" y="2634"/>
                    <a:pt x="1120" y="2634"/>
                  </a:cubicBezTo>
                  <a:cubicBezTo>
                    <a:pt x="1114" y="2631"/>
                    <a:pt x="1112" y="2628"/>
                    <a:pt x="1112" y="2625"/>
                  </a:cubicBezTo>
                  <a:cubicBezTo>
                    <a:pt x="1114" y="2625"/>
                    <a:pt x="1117" y="2625"/>
                    <a:pt x="1120" y="2628"/>
                  </a:cubicBezTo>
                  <a:lnTo>
                    <a:pt x="1123" y="2631"/>
                  </a:lnTo>
                  <a:cubicBezTo>
                    <a:pt x="1122" y="2624"/>
                    <a:pt x="1134" y="2618"/>
                    <a:pt x="1140" y="2639"/>
                  </a:cubicBezTo>
                  <a:close/>
                  <a:moveTo>
                    <a:pt x="1140" y="2605"/>
                  </a:moveTo>
                  <a:cubicBezTo>
                    <a:pt x="1143" y="2603"/>
                    <a:pt x="1143" y="2605"/>
                    <a:pt x="1140" y="2605"/>
                  </a:cubicBezTo>
                  <a:close/>
                  <a:moveTo>
                    <a:pt x="1117" y="141"/>
                  </a:moveTo>
                  <a:cubicBezTo>
                    <a:pt x="1120" y="135"/>
                    <a:pt x="1128" y="144"/>
                    <a:pt x="1117" y="141"/>
                  </a:cubicBezTo>
                  <a:close/>
                  <a:moveTo>
                    <a:pt x="1109" y="2532"/>
                  </a:moveTo>
                  <a:cubicBezTo>
                    <a:pt x="1128" y="2532"/>
                    <a:pt x="1106" y="2574"/>
                    <a:pt x="1123" y="2574"/>
                  </a:cubicBezTo>
                  <a:cubicBezTo>
                    <a:pt x="1103" y="2594"/>
                    <a:pt x="1097" y="2543"/>
                    <a:pt x="1109" y="2532"/>
                  </a:cubicBezTo>
                  <a:close/>
                  <a:moveTo>
                    <a:pt x="1117" y="2586"/>
                  </a:moveTo>
                  <a:cubicBezTo>
                    <a:pt x="1117" y="2588"/>
                    <a:pt x="1112" y="2591"/>
                    <a:pt x="1109" y="2591"/>
                  </a:cubicBezTo>
                  <a:cubicBezTo>
                    <a:pt x="1112" y="2588"/>
                    <a:pt x="1114" y="2586"/>
                    <a:pt x="1117" y="2586"/>
                  </a:cubicBezTo>
                  <a:close/>
                  <a:moveTo>
                    <a:pt x="1083" y="1618"/>
                  </a:moveTo>
                  <a:cubicBezTo>
                    <a:pt x="1069" y="1604"/>
                    <a:pt x="1109" y="1610"/>
                    <a:pt x="1083" y="1618"/>
                  </a:cubicBezTo>
                  <a:close/>
                  <a:moveTo>
                    <a:pt x="1089" y="2541"/>
                  </a:moveTo>
                  <a:cubicBezTo>
                    <a:pt x="1086" y="2546"/>
                    <a:pt x="1092" y="2538"/>
                    <a:pt x="1089" y="2541"/>
                  </a:cubicBezTo>
                  <a:close/>
                  <a:moveTo>
                    <a:pt x="1078" y="2732"/>
                  </a:moveTo>
                  <a:cubicBezTo>
                    <a:pt x="1080" y="2727"/>
                    <a:pt x="1089" y="2735"/>
                    <a:pt x="1078" y="2732"/>
                  </a:cubicBezTo>
                  <a:close/>
                  <a:moveTo>
                    <a:pt x="1078" y="1663"/>
                  </a:moveTo>
                  <a:lnTo>
                    <a:pt x="1079" y="1663"/>
                  </a:lnTo>
                  <a:cubicBezTo>
                    <a:pt x="1078" y="1664"/>
                    <a:pt x="1076" y="1665"/>
                    <a:pt x="1078" y="1663"/>
                  </a:cubicBezTo>
                  <a:cubicBezTo>
                    <a:pt x="1080" y="1662"/>
                    <a:pt x="1080" y="1663"/>
                    <a:pt x="1079" y="1663"/>
                  </a:cubicBezTo>
                  <a:lnTo>
                    <a:pt x="1078" y="1663"/>
                  </a:lnTo>
                  <a:close/>
                  <a:moveTo>
                    <a:pt x="1092" y="1584"/>
                  </a:moveTo>
                  <a:cubicBezTo>
                    <a:pt x="1086" y="1581"/>
                    <a:pt x="1086" y="1579"/>
                    <a:pt x="1086" y="1576"/>
                  </a:cubicBezTo>
                  <a:cubicBezTo>
                    <a:pt x="1085" y="1576"/>
                    <a:pt x="1084" y="1576"/>
                    <a:pt x="1083" y="1577"/>
                  </a:cubicBezTo>
                  <a:cubicBezTo>
                    <a:pt x="1082" y="1579"/>
                    <a:pt x="1077" y="1579"/>
                    <a:pt x="1075" y="1579"/>
                  </a:cubicBezTo>
                  <a:cubicBezTo>
                    <a:pt x="1075" y="1576"/>
                    <a:pt x="1075" y="1573"/>
                    <a:pt x="1078" y="1573"/>
                  </a:cubicBezTo>
                  <a:lnTo>
                    <a:pt x="1075" y="1573"/>
                  </a:lnTo>
                  <a:cubicBezTo>
                    <a:pt x="1078" y="1567"/>
                    <a:pt x="1086" y="1567"/>
                    <a:pt x="1089" y="1562"/>
                  </a:cubicBezTo>
                  <a:cubicBezTo>
                    <a:pt x="1095" y="1565"/>
                    <a:pt x="1095" y="1570"/>
                    <a:pt x="1095" y="1573"/>
                  </a:cubicBezTo>
                  <a:cubicBezTo>
                    <a:pt x="1095" y="1573"/>
                    <a:pt x="1097" y="1576"/>
                    <a:pt x="1092" y="1584"/>
                  </a:cubicBezTo>
                  <a:close/>
                  <a:moveTo>
                    <a:pt x="1052" y="2656"/>
                  </a:moveTo>
                  <a:cubicBezTo>
                    <a:pt x="1055" y="2653"/>
                    <a:pt x="1061" y="2648"/>
                    <a:pt x="1064" y="2651"/>
                  </a:cubicBezTo>
                  <a:cubicBezTo>
                    <a:pt x="1064" y="2656"/>
                    <a:pt x="1058" y="2656"/>
                    <a:pt x="1052" y="2656"/>
                  </a:cubicBezTo>
                  <a:close/>
                  <a:moveTo>
                    <a:pt x="1052" y="2698"/>
                  </a:moveTo>
                  <a:cubicBezTo>
                    <a:pt x="1055" y="2693"/>
                    <a:pt x="1064" y="2701"/>
                    <a:pt x="1052" y="2698"/>
                  </a:cubicBezTo>
                  <a:close/>
                  <a:moveTo>
                    <a:pt x="1055" y="1691"/>
                  </a:moveTo>
                  <a:lnTo>
                    <a:pt x="1055" y="1690"/>
                  </a:lnTo>
                  <a:cubicBezTo>
                    <a:pt x="1063" y="1687"/>
                    <a:pt x="1076" y="1683"/>
                    <a:pt x="1055" y="1691"/>
                  </a:cubicBezTo>
                  <a:cubicBezTo>
                    <a:pt x="1048" y="1694"/>
                    <a:pt x="1050" y="1692"/>
                    <a:pt x="1055" y="1690"/>
                  </a:cubicBezTo>
                  <a:lnTo>
                    <a:pt x="1055" y="1691"/>
                  </a:lnTo>
                  <a:close/>
                  <a:moveTo>
                    <a:pt x="1052" y="2560"/>
                  </a:moveTo>
                  <a:cubicBezTo>
                    <a:pt x="1064" y="2563"/>
                    <a:pt x="1044" y="2572"/>
                    <a:pt x="1052" y="2560"/>
                  </a:cubicBezTo>
                  <a:close/>
                  <a:moveTo>
                    <a:pt x="1030" y="1660"/>
                  </a:moveTo>
                  <a:cubicBezTo>
                    <a:pt x="1047" y="1649"/>
                    <a:pt x="1033" y="1694"/>
                    <a:pt x="1030" y="1660"/>
                  </a:cubicBezTo>
                  <a:close/>
                  <a:moveTo>
                    <a:pt x="1033" y="1756"/>
                  </a:moveTo>
                  <a:cubicBezTo>
                    <a:pt x="1030" y="1756"/>
                    <a:pt x="1035" y="1751"/>
                    <a:pt x="1033" y="1756"/>
                  </a:cubicBezTo>
                  <a:close/>
                  <a:moveTo>
                    <a:pt x="1044" y="1463"/>
                  </a:moveTo>
                  <a:cubicBezTo>
                    <a:pt x="1030" y="1457"/>
                    <a:pt x="1058" y="1444"/>
                    <a:pt x="1044" y="1463"/>
                  </a:cubicBezTo>
                  <a:close/>
                  <a:moveTo>
                    <a:pt x="1044" y="1497"/>
                  </a:moveTo>
                  <a:cubicBezTo>
                    <a:pt x="1047" y="1497"/>
                    <a:pt x="1049" y="1502"/>
                    <a:pt x="1055" y="1502"/>
                  </a:cubicBezTo>
                  <a:lnTo>
                    <a:pt x="1055" y="1508"/>
                  </a:lnTo>
                  <a:cubicBezTo>
                    <a:pt x="1060" y="1512"/>
                    <a:pt x="1063" y="1516"/>
                    <a:pt x="1064" y="1521"/>
                  </a:cubicBezTo>
                  <a:cubicBezTo>
                    <a:pt x="1065" y="1518"/>
                    <a:pt x="1074" y="1525"/>
                    <a:pt x="1064" y="1522"/>
                  </a:cubicBezTo>
                  <a:cubicBezTo>
                    <a:pt x="1064" y="1525"/>
                    <a:pt x="1063" y="1528"/>
                    <a:pt x="1061" y="1531"/>
                  </a:cubicBezTo>
                  <a:lnTo>
                    <a:pt x="1058" y="1533"/>
                  </a:lnTo>
                  <a:cubicBezTo>
                    <a:pt x="1058" y="1533"/>
                    <a:pt x="1058" y="1531"/>
                    <a:pt x="1055" y="1531"/>
                  </a:cubicBezTo>
                  <a:cubicBezTo>
                    <a:pt x="1058" y="1536"/>
                    <a:pt x="1055" y="1542"/>
                    <a:pt x="1052" y="1545"/>
                  </a:cubicBezTo>
                  <a:cubicBezTo>
                    <a:pt x="1041" y="1545"/>
                    <a:pt x="1049" y="1531"/>
                    <a:pt x="1041" y="1528"/>
                  </a:cubicBezTo>
                  <a:cubicBezTo>
                    <a:pt x="1038" y="1525"/>
                    <a:pt x="1035" y="1525"/>
                    <a:pt x="1035" y="1522"/>
                  </a:cubicBezTo>
                  <a:cubicBezTo>
                    <a:pt x="1024" y="1525"/>
                    <a:pt x="1024" y="1517"/>
                    <a:pt x="1030" y="1517"/>
                  </a:cubicBezTo>
                  <a:cubicBezTo>
                    <a:pt x="1030" y="1511"/>
                    <a:pt x="1030" y="1508"/>
                    <a:pt x="1035" y="1502"/>
                  </a:cubicBezTo>
                  <a:cubicBezTo>
                    <a:pt x="1038" y="1502"/>
                    <a:pt x="1041" y="1502"/>
                    <a:pt x="1041" y="1505"/>
                  </a:cubicBezTo>
                  <a:cubicBezTo>
                    <a:pt x="1041" y="1504"/>
                    <a:pt x="1041" y="1502"/>
                    <a:pt x="1042" y="1500"/>
                  </a:cubicBezTo>
                  <a:cubicBezTo>
                    <a:pt x="1040" y="1501"/>
                    <a:pt x="1037" y="1502"/>
                    <a:pt x="1035" y="1502"/>
                  </a:cubicBezTo>
                  <a:cubicBezTo>
                    <a:pt x="1035" y="1497"/>
                    <a:pt x="1041" y="1497"/>
                    <a:pt x="1044" y="1497"/>
                  </a:cubicBezTo>
                  <a:close/>
                  <a:moveTo>
                    <a:pt x="1041" y="1348"/>
                  </a:moveTo>
                  <a:cubicBezTo>
                    <a:pt x="1038" y="1343"/>
                    <a:pt x="1052" y="1348"/>
                    <a:pt x="1052" y="1343"/>
                  </a:cubicBezTo>
                  <a:cubicBezTo>
                    <a:pt x="1058" y="1343"/>
                    <a:pt x="1055" y="1354"/>
                    <a:pt x="1052" y="1357"/>
                  </a:cubicBezTo>
                  <a:cubicBezTo>
                    <a:pt x="1047" y="1357"/>
                    <a:pt x="1047" y="1348"/>
                    <a:pt x="1041" y="1348"/>
                  </a:cubicBezTo>
                  <a:close/>
                  <a:moveTo>
                    <a:pt x="1041" y="1227"/>
                  </a:moveTo>
                  <a:cubicBezTo>
                    <a:pt x="1041" y="1224"/>
                    <a:pt x="1049" y="1224"/>
                    <a:pt x="1049" y="1221"/>
                  </a:cubicBezTo>
                  <a:cubicBezTo>
                    <a:pt x="1055" y="1227"/>
                    <a:pt x="1047" y="1230"/>
                    <a:pt x="1041" y="1227"/>
                  </a:cubicBezTo>
                  <a:close/>
                  <a:moveTo>
                    <a:pt x="1030" y="1408"/>
                  </a:moveTo>
                  <a:cubicBezTo>
                    <a:pt x="1033" y="1405"/>
                    <a:pt x="1038" y="1402"/>
                    <a:pt x="1041" y="1399"/>
                  </a:cubicBezTo>
                  <a:cubicBezTo>
                    <a:pt x="1052" y="1405"/>
                    <a:pt x="1033" y="1422"/>
                    <a:pt x="1030" y="1408"/>
                  </a:cubicBezTo>
                  <a:close/>
                  <a:moveTo>
                    <a:pt x="1033" y="1457"/>
                  </a:moveTo>
                  <a:cubicBezTo>
                    <a:pt x="1021" y="1457"/>
                    <a:pt x="1035" y="1444"/>
                    <a:pt x="1033" y="1457"/>
                  </a:cubicBezTo>
                  <a:close/>
                  <a:moveTo>
                    <a:pt x="1033" y="1267"/>
                  </a:moveTo>
                  <a:cubicBezTo>
                    <a:pt x="1033" y="1261"/>
                    <a:pt x="1041" y="1261"/>
                    <a:pt x="1044" y="1264"/>
                  </a:cubicBezTo>
                  <a:cubicBezTo>
                    <a:pt x="1041" y="1267"/>
                    <a:pt x="1035" y="1267"/>
                    <a:pt x="1033" y="1267"/>
                  </a:cubicBezTo>
                  <a:close/>
                  <a:moveTo>
                    <a:pt x="1041" y="1275"/>
                  </a:moveTo>
                  <a:cubicBezTo>
                    <a:pt x="1041" y="1281"/>
                    <a:pt x="1033" y="1283"/>
                    <a:pt x="1030" y="1281"/>
                  </a:cubicBezTo>
                  <a:cubicBezTo>
                    <a:pt x="1030" y="1278"/>
                    <a:pt x="1035" y="1275"/>
                    <a:pt x="1041" y="1275"/>
                  </a:cubicBezTo>
                  <a:close/>
                  <a:moveTo>
                    <a:pt x="1033" y="1207"/>
                  </a:moveTo>
                  <a:cubicBezTo>
                    <a:pt x="1033" y="1210"/>
                    <a:pt x="1030" y="1213"/>
                    <a:pt x="1030" y="1213"/>
                  </a:cubicBezTo>
                  <a:cubicBezTo>
                    <a:pt x="1027" y="1213"/>
                    <a:pt x="1027" y="1210"/>
                    <a:pt x="1024" y="1210"/>
                  </a:cubicBezTo>
                  <a:cubicBezTo>
                    <a:pt x="1021" y="1210"/>
                    <a:pt x="1018" y="1202"/>
                    <a:pt x="1021" y="1190"/>
                  </a:cubicBezTo>
                  <a:cubicBezTo>
                    <a:pt x="1033" y="1196"/>
                    <a:pt x="1035" y="1204"/>
                    <a:pt x="1033" y="1207"/>
                  </a:cubicBezTo>
                  <a:close/>
                  <a:moveTo>
                    <a:pt x="1027" y="1244"/>
                  </a:moveTo>
                  <a:cubicBezTo>
                    <a:pt x="1041" y="1250"/>
                    <a:pt x="1016" y="1264"/>
                    <a:pt x="1027" y="1244"/>
                  </a:cubicBezTo>
                  <a:close/>
                  <a:moveTo>
                    <a:pt x="1083" y="1439"/>
                  </a:moveTo>
                  <a:cubicBezTo>
                    <a:pt x="1080" y="1444"/>
                    <a:pt x="1078" y="1450"/>
                    <a:pt x="1078" y="1456"/>
                  </a:cubicBezTo>
                  <a:cubicBezTo>
                    <a:pt x="1066" y="1453"/>
                    <a:pt x="1066" y="1447"/>
                    <a:pt x="1058" y="1441"/>
                  </a:cubicBezTo>
                  <a:cubicBezTo>
                    <a:pt x="1061" y="1436"/>
                    <a:pt x="1064" y="1439"/>
                    <a:pt x="1064" y="1441"/>
                  </a:cubicBezTo>
                  <a:cubicBezTo>
                    <a:pt x="1069" y="1441"/>
                    <a:pt x="1072" y="1436"/>
                    <a:pt x="1083" y="1439"/>
                  </a:cubicBezTo>
                  <a:close/>
                  <a:moveTo>
                    <a:pt x="1072" y="1410"/>
                  </a:moveTo>
                  <a:cubicBezTo>
                    <a:pt x="1072" y="1413"/>
                    <a:pt x="1061" y="1413"/>
                    <a:pt x="1064" y="1408"/>
                  </a:cubicBezTo>
                  <a:cubicBezTo>
                    <a:pt x="1069" y="1408"/>
                    <a:pt x="1072" y="1410"/>
                    <a:pt x="1072" y="1410"/>
                  </a:cubicBezTo>
                  <a:close/>
                  <a:moveTo>
                    <a:pt x="1069" y="1241"/>
                  </a:moveTo>
                  <a:cubicBezTo>
                    <a:pt x="1066" y="1244"/>
                    <a:pt x="1075" y="1238"/>
                    <a:pt x="1069" y="1241"/>
                  </a:cubicBezTo>
                  <a:close/>
                  <a:moveTo>
                    <a:pt x="1078" y="1320"/>
                  </a:moveTo>
                  <a:cubicBezTo>
                    <a:pt x="1092" y="1326"/>
                    <a:pt x="1066" y="1340"/>
                    <a:pt x="1078" y="1320"/>
                  </a:cubicBezTo>
                  <a:close/>
                  <a:moveTo>
                    <a:pt x="1078" y="1408"/>
                  </a:moveTo>
                  <a:cubicBezTo>
                    <a:pt x="1075" y="1408"/>
                    <a:pt x="1080" y="1405"/>
                    <a:pt x="1078" y="1408"/>
                  </a:cubicBezTo>
                  <a:close/>
                  <a:moveTo>
                    <a:pt x="1078" y="1252"/>
                  </a:moveTo>
                  <a:cubicBezTo>
                    <a:pt x="1083" y="1252"/>
                    <a:pt x="1075" y="1255"/>
                    <a:pt x="1078" y="1252"/>
                  </a:cubicBezTo>
                  <a:close/>
                  <a:moveTo>
                    <a:pt x="1083" y="1457"/>
                  </a:moveTo>
                  <a:lnTo>
                    <a:pt x="1078" y="1457"/>
                  </a:lnTo>
                  <a:cubicBezTo>
                    <a:pt x="1078" y="1455"/>
                    <a:pt x="1080" y="1455"/>
                    <a:pt x="1083" y="1455"/>
                  </a:cubicBezTo>
                  <a:lnTo>
                    <a:pt x="1083" y="1457"/>
                  </a:lnTo>
                  <a:close/>
                  <a:moveTo>
                    <a:pt x="1080" y="1508"/>
                  </a:moveTo>
                  <a:cubicBezTo>
                    <a:pt x="1078" y="1508"/>
                    <a:pt x="1078" y="1500"/>
                    <a:pt x="1078" y="1494"/>
                  </a:cubicBezTo>
                  <a:cubicBezTo>
                    <a:pt x="1083" y="1494"/>
                    <a:pt x="1080" y="1508"/>
                    <a:pt x="1080" y="1508"/>
                  </a:cubicBezTo>
                  <a:close/>
                  <a:moveTo>
                    <a:pt x="1089" y="1528"/>
                  </a:moveTo>
                  <a:cubicBezTo>
                    <a:pt x="1089" y="1531"/>
                    <a:pt x="1086" y="1533"/>
                    <a:pt x="1080" y="1533"/>
                  </a:cubicBezTo>
                  <a:lnTo>
                    <a:pt x="1078" y="1533"/>
                  </a:lnTo>
                  <a:cubicBezTo>
                    <a:pt x="1078" y="1533"/>
                    <a:pt x="1078" y="1531"/>
                    <a:pt x="1075" y="1531"/>
                  </a:cubicBezTo>
                  <a:cubicBezTo>
                    <a:pt x="1078" y="1528"/>
                    <a:pt x="1083" y="1525"/>
                    <a:pt x="1089" y="1528"/>
                  </a:cubicBezTo>
                  <a:close/>
                  <a:moveTo>
                    <a:pt x="1078" y="1145"/>
                  </a:moveTo>
                  <a:cubicBezTo>
                    <a:pt x="1080" y="1140"/>
                    <a:pt x="1089" y="1148"/>
                    <a:pt x="1078" y="1145"/>
                  </a:cubicBezTo>
                  <a:close/>
                  <a:moveTo>
                    <a:pt x="1072" y="795"/>
                  </a:moveTo>
                  <a:cubicBezTo>
                    <a:pt x="1058" y="776"/>
                    <a:pt x="1095" y="793"/>
                    <a:pt x="1072" y="795"/>
                  </a:cubicBezTo>
                  <a:close/>
                  <a:moveTo>
                    <a:pt x="1058" y="1477"/>
                  </a:moveTo>
                  <a:cubicBezTo>
                    <a:pt x="1066" y="1480"/>
                    <a:pt x="1055" y="1491"/>
                    <a:pt x="1058" y="1477"/>
                  </a:cubicBezTo>
                  <a:close/>
                  <a:moveTo>
                    <a:pt x="1066" y="1627"/>
                  </a:moveTo>
                  <a:cubicBezTo>
                    <a:pt x="1066" y="1629"/>
                    <a:pt x="1061" y="1632"/>
                    <a:pt x="1055" y="1629"/>
                  </a:cubicBezTo>
                  <a:cubicBezTo>
                    <a:pt x="1055" y="1627"/>
                    <a:pt x="1055" y="1624"/>
                    <a:pt x="1058" y="1624"/>
                  </a:cubicBezTo>
                  <a:cubicBezTo>
                    <a:pt x="1061" y="1624"/>
                    <a:pt x="1064" y="1624"/>
                    <a:pt x="1066" y="1627"/>
                  </a:cubicBezTo>
                  <a:close/>
                  <a:moveTo>
                    <a:pt x="1047" y="1629"/>
                  </a:moveTo>
                  <a:cubicBezTo>
                    <a:pt x="1047" y="1624"/>
                    <a:pt x="1058" y="1632"/>
                    <a:pt x="1047" y="1629"/>
                  </a:cubicBezTo>
                  <a:close/>
                  <a:moveTo>
                    <a:pt x="1049" y="1610"/>
                  </a:moveTo>
                  <a:cubicBezTo>
                    <a:pt x="1047" y="1612"/>
                    <a:pt x="1055" y="1607"/>
                    <a:pt x="1049" y="1610"/>
                  </a:cubicBezTo>
                  <a:close/>
                  <a:moveTo>
                    <a:pt x="1035" y="1652"/>
                  </a:moveTo>
                  <a:cubicBezTo>
                    <a:pt x="1028" y="1652"/>
                    <a:pt x="1029" y="1644"/>
                    <a:pt x="1035" y="1643"/>
                  </a:cubicBezTo>
                  <a:cubicBezTo>
                    <a:pt x="1032" y="1640"/>
                    <a:pt x="1030" y="1638"/>
                    <a:pt x="1030" y="1632"/>
                  </a:cubicBezTo>
                  <a:cubicBezTo>
                    <a:pt x="1033" y="1632"/>
                    <a:pt x="1035" y="1632"/>
                    <a:pt x="1038" y="1635"/>
                  </a:cubicBezTo>
                  <a:cubicBezTo>
                    <a:pt x="1038" y="1639"/>
                    <a:pt x="1036" y="1642"/>
                    <a:pt x="1036" y="1643"/>
                  </a:cubicBezTo>
                  <a:cubicBezTo>
                    <a:pt x="1036" y="1643"/>
                    <a:pt x="1037" y="1643"/>
                    <a:pt x="1038" y="1643"/>
                  </a:cubicBezTo>
                  <a:cubicBezTo>
                    <a:pt x="1035" y="1649"/>
                    <a:pt x="1041" y="1649"/>
                    <a:pt x="1035" y="1652"/>
                  </a:cubicBezTo>
                  <a:close/>
                  <a:moveTo>
                    <a:pt x="1041" y="1615"/>
                  </a:moveTo>
                  <a:cubicBezTo>
                    <a:pt x="1052" y="1627"/>
                    <a:pt x="1027" y="1641"/>
                    <a:pt x="1041" y="1615"/>
                  </a:cubicBezTo>
                  <a:close/>
                  <a:moveTo>
                    <a:pt x="1035" y="1584"/>
                  </a:moveTo>
                  <a:cubicBezTo>
                    <a:pt x="1041" y="1584"/>
                    <a:pt x="1038" y="1601"/>
                    <a:pt x="1030" y="1598"/>
                  </a:cubicBezTo>
                  <a:cubicBezTo>
                    <a:pt x="1030" y="1590"/>
                    <a:pt x="1038" y="1593"/>
                    <a:pt x="1035" y="1584"/>
                  </a:cubicBezTo>
                  <a:close/>
                  <a:moveTo>
                    <a:pt x="1038" y="1725"/>
                  </a:moveTo>
                  <a:cubicBezTo>
                    <a:pt x="1047" y="1722"/>
                    <a:pt x="1038" y="1734"/>
                    <a:pt x="1047" y="1734"/>
                  </a:cubicBezTo>
                  <a:cubicBezTo>
                    <a:pt x="1047" y="1739"/>
                    <a:pt x="1035" y="1737"/>
                    <a:pt x="1035" y="1734"/>
                  </a:cubicBezTo>
                  <a:cubicBezTo>
                    <a:pt x="1035" y="1731"/>
                    <a:pt x="1041" y="1731"/>
                    <a:pt x="1038" y="1725"/>
                  </a:cubicBezTo>
                  <a:close/>
                  <a:moveTo>
                    <a:pt x="1038" y="1677"/>
                  </a:moveTo>
                  <a:cubicBezTo>
                    <a:pt x="1035" y="1675"/>
                    <a:pt x="1044" y="1669"/>
                    <a:pt x="1047" y="1666"/>
                  </a:cubicBezTo>
                  <a:cubicBezTo>
                    <a:pt x="1049" y="1669"/>
                    <a:pt x="1044" y="1680"/>
                    <a:pt x="1038" y="1677"/>
                  </a:cubicBezTo>
                  <a:close/>
                  <a:moveTo>
                    <a:pt x="1041" y="1649"/>
                  </a:moveTo>
                  <a:cubicBezTo>
                    <a:pt x="1041" y="1646"/>
                    <a:pt x="1038" y="1643"/>
                    <a:pt x="1041" y="1641"/>
                  </a:cubicBezTo>
                  <a:cubicBezTo>
                    <a:pt x="1044" y="1641"/>
                    <a:pt x="1047" y="1643"/>
                    <a:pt x="1047" y="1643"/>
                  </a:cubicBezTo>
                  <a:cubicBezTo>
                    <a:pt x="1049" y="1643"/>
                    <a:pt x="1049" y="1641"/>
                    <a:pt x="1049" y="1638"/>
                  </a:cubicBezTo>
                  <a:cubicBezTo>
                    <a:pt x="1052" y="1638"/>
                    <a:pt x="1052" y="1643"/>
                    <a:pt x="1058" y="1643"/>
                  </a:cubicBezTo>
                  <a:cubicBezTo>
                    <a:pt x="1055" y="1652"/>
                    <a:pt x="1047" y="1649"/>
                    <a:pt x="1041" y="1649"/>
                  </a:cubicBezTo>
                  <a:close/>
                  <a:moveTo>
                    <a:pt x="1058" y="1714"/>
                  </a:moveTo>
                  <a:cubicBezTo>
                    <a:pt x="1066" y="1708"/>
                    <a:pt x="1055" y="1722"/>
                    <a:pt x="1058" y="1714"/>
                  </a:cubicBezTo>
                  <a:close/>
                  <a:moveTo>
                    <a:pt x="1061" y="2532"/>
                  </a:moveTo>
                  <a:cubicBezTo>
                    <a:pt x="1078" y="2535"/>
                    <a:pt x="1058" y="2560"/>
                    <a:pt x="1061" y="2532"/>
                  </a:cubicBezTo>
                  <a:close/>
                  <a:moveTo>
                    <a:pt x="1066" y="1559"/>
                  </a:moveTo>
                  <a:cubicBezTo>
                    <a:pt x="1049" y="1539"/>
                    <a:pt x="1086" y="1559"/>
                    <a:pt x="1066" y="1559"/>
                  </a:cubicBezTo>
                  <a:close/>
                  <a:moveTo>
                    <a:pt x="1069" y="2555"/>
                  </a:moveTo>
                  <a:cubicBezTo>
                    <a:pt x="1069" y="2555"/>
                    <a:pt x="1072" y="2557"/>
                    <a:pt x="1069" y="2560"/>
                  </a:cubicBezTo>
                  <a:lnTo>
                    <a:pt x="1066" y="2560"/>
                  </a:lnTo>
                  <a:cubicBezTo>
                    <a:pt x="1069" y="2557"/>
                    <a:pt x="1066" y="2557"/>
                    <a:pt x="1069" y="2555"/>
                  </a:cubicBezTo>
                  <a:close/>
                  <a:moveTo>
                    <a:pt x="1075" y="2642"/>
                  </a:moveTo>
                  <a:cubicBezTo>
                    <a:pt x="1075" y="2645"/>
                    <a:pt x="1069" y="2648"/>
                    <a:pt x="1066" y="2648"/>
                  </a:cubicBezTo>
                  <a:cubicBezTo>
                    <a:pt x="1069" y="2645"/>
                    <a:pt x="1072" y="2642"/>
                    <a:pt x="1075" y="2642"/>
                  </a:cubicBezTo>
                  <a:close/>
                  <a:moveTo>
                    <a:pt x="1072" y="2665"/>
                  </a:moveTo>
                  <a:cubicBezTo>
                    <a:pt x="1072" y="2659"/>
                    <a:pt x="1080" y="2667"/>
                    <a:pt x="1072" y="2665"/>
                  </a:cubicBezTo>
                  <a:close/>
                  <a:moveTo>
                    <a:pt x="1103" y="1505"/>
                  </a:moveTo>
                  <a:cubicBezTo>
                    <a:pt x="1117" y="1517"/>
                    <a:pt x="1078" y="1514"/>
                    <a:pt x="1103" y="1505"/>
                  </a:cubicBezTo>
                  <a:close/>
                  <a:moveTo>
                    <a:pt x="1097" y="1457"/>
                  </a:moveTo>
                  <a:cubicBezTo>
                    <a:pt x="1080" y="1444"/>
                    <a:pt x="1120" y="1450"/>
                    <a:pt x="1097" y="1457"/>
                  </a:cubicBezTo>
                  <a:close/>
                  <a:moveTo>
                    <a:pt x="1100" y="1125"/>
                  </a:moveTo>
                  <a:cubicBezTo>
                    <a:pt x="1114" y="1131"/>
                    <a:pt x="1089" y="1145"/>
                    <a:pt x="1100" y="1125"/>
                  </a:cubicBezTo>
                  <a:close/>
                  <a:moveTo>
                    <a:pt x="1100" y="1474"/>
                  </a:moveTo>
                  <a:cubicBezTo>
                    <a:pt x="1103" y="1474"/>
                    <a:pt x="1097" y="1477"/>
                    <a:pt x="1095" y="1474"/>
                  </a:cubicBezTo>
                  <a:cubicBezTo>
                    <a:pt x="1092" y="1471"/>
                    <a:pt x="1097" y="1474"/>
                    <a:pt x="1100" y="1474"/>
                  </a:cubicBezTo>
                  <a:close/>
                  <a:moveTo>
                    <a:pt x="1112" y="127"/>
                  </a:moveTo>
                  <a:cubicBezTo>
                    <a:pt x="1114" y="121"/>
                    <a:pt x="1126" y="130"/>
                    <a:pt x="1112" y="127"/>
                  </a:cubicBezTo>
                  <a:close/>
                  <a:moveTo>
                    <a:pt x="1117" y="113"/>
                  </a:moveTo>
                  <a:cubicBezTo>
                    <a:pt x="1117" y="107"/>
                    <a:pt x="1126" y="116"/>
                    <a:pt x="1117" y="113"/>
                  </a:cubicBezTo>
                  <a:close/>
                  <a:moveTo>
                    <a:pt x="1112" y="104"/>
                  </a:moveTo>
                  <a:cubicBezTo>
                    <a:pt x="1114" y="96"/>
                    <a:pt x="1123" y="107"/>
                    <a:pt x="1112" y="104"/>
                  </a:cubicBezTo>
                  <a:close/>
                  <a:moveTo>
                    <a:pt x="1095" y="293"/>
                  </a:moveTo>
                  <a:cubicBezTo>
                    <a:pt x="1100" y="293"/>
                    <a:pt x="1103" y="290"/>
                    <a:pt x="1109" y="293"/>
                  </a:cubicBezTo>
                  <a:cubicBezTo>
                    <a:pt x="1112" y="299"/>
                    <a:pt x="1095" y="299"/>
                    <a:pt x="1095" y="293"/>
                  </a:cubicBezTo>
                  <a:close/>
                  <a:moveTo>
                    <a:pt x="1103" y="279"/>
                  </a:moveTo>
                  <a:cubicBezTo>
                    <a:pt x="1103" y="274"/>
                    <a:pt x="1112" y="282"/>
                    <a:pt x="1103" y="279"/>
                  </a:cubicBezTo>
                  <a:close/>
                  <a:moveTo>
                    <a:pt x="1103" y="186"/>
                  </a:moveTo>
                  <a:cubicBezTo>
                    <a:pt x="1103" y="189"/>
                    <a:pt x="1097" y="192"/>
                    <a:pt x="1092" y="192"/>
                  </a:cubicBezTo>
                  <a:cubicBezTo>
                    <a:pt x="1095" y="186"/>
                    <a:pt x="1100" y="186"/>
                    <a:pt x="1103" y="186"/>
                  </a:cubicBezTo>
                  <a:close/>
                  <a:moveTo>
                    <a:pt x="1097" y="1345"/>
                  </a:moveTo>
                  <a:cubicBezTo>
                    <a:pt x="1106" y="1365"/>
                    <a:pt x="1086" y="1331"/>
                    <a:pt x="1097" y="1345"/>
                  </a:cubicBezTo>
                  <a:close/>
                  <a:moveTo>
                    <a:pt x="1092" y="1430"/>
                  </a:moveTo>
                  <a:cubicBezTo>
                    <a:pt x="1089" y="1430"/>
                    <a:pt x="1097" y="1427"/>
                    <a:pt x="1092" y="1430"/>
                  </a:cubicBezTo>
                  <a:close/>
                  <a:moveTo>
                    <a:pt x="1092" y="1502"/>
                  </a:moveTo>
                  <a:cubicBezTo>
                    <a:pt x="1078" y="1497"/>
                    <a:pt x="1106" y="1483"/>
                    <a:pt x="1092" y="1502"/>
                  </a:cubicBezTo>
                  <a:close/>
                  <a:moveTo>
                    <a:pt x="1089" y="73"/>
                  </a:moveTo>
                  <a:cubicBezTo>
                    <a:pt x="1086" y="76"/>
                    <a:pt x="1086" y="82"/>
                    <a:pt x="1080" y="82"/>
                  </a:cubicBezTo>
                  <a:cubicBezTo>
                    <a:pt x="1083" y="76"/>
                    <a:pt x="1086" y="73"/>
                    <a:pt x="1089" y="73"/>
                  </a:cubicBezTo>
                  <a:close/>
                  <a:moveTo>
                    <a:pt x="1075" y="279"/>
                  </a:moveTo>
                  <a:cubicBezTo>
                    <a:pt x="1075" y="274"/>
                    <a:pt x="1086" y="282"/>
                    <a:pt x="1075" y="279"/>
                  </a:cubicBezTo>
                  <a:close/>
                  <a:moveTo>
                    <a:pt x="1078" y="739"/>
                  </a:moveTo>
                  <a:cubicBezTo>
                    <a:pt x="1061" y="725"/>
                    <a:pt x="1100" y="731"/>
                    <a:pt x="1078" y="739"/>
                  </a:cubicBezTo>
                  <a:close/>
                  <a:moveTo>
                    <a:pt x="1069" y="116"/>
                  </a:moveTo>
                  <a:cubicBezTo>
                    <a:pt x="1066" y="110"/>
                    <a:pt x="1078" y="116"/>
                    <a:pt x="1069" y="116"/>
                  </a:cubicBezTo>
                  <a:close/>
                  <a:moveTo>
                    <a:pt x="1064" y="62"/>
                  </a:moveTo>
                  <a:cubicBezTo>
                    <a:pt x="1066" y="56"/>
                    <a:pt x="1072" y="68"/>
                    <a:pt x="1064" y="62"/>
                  </a:cubicBezTo>
                  <a:close/>
                  <a:moveTo>
                    <a:pt x="1072" y="189"/>
                  </a:moveTo>
                  <a:cubicBezTo>
                    <a:pt x="1069" y="189"/>
                    <a:pt x="1066" y="192"/>
                    <a:pt x="1066" y="192"/>
                  </a:cubicBezTo>
                  <a:cubicBezTo>
                    <a:pt x="1061" y="192"/>
                    <a:pt x="1058" y="183"/>
                    <a:pt x="1052" y="183"/>
                  </a:cubicBezTo>
                  <a:cubicBezTo>
                    <a:pt x="1058" y="180"/>
                    <a:pt x="1072" y="183"/>
                    <a:pt x="1072" y="189"/>
                  </a:cubicBezTo>
                  <a:close/>
                  <a:moveTo>
                    <a:pt x="1052" y="62"/>
                  </a:moveTo>
                  <a:cubicBezTo>
                    <a:pt x="1055" y="62"/>
                    <a:pt x="1058" y="65"/>
                    <a:pt x="1061" y="65"/>
                  </a:cubicBezTo>
                  <a:cubicBezTo>
                    <a:pt x="1061" y="68"/>
                    <a:pt x="1049" y="65"/>
                    <a:pt x="1052" y="62"/>
                  </a:cubicBezTo>
                  <a:close/>
                  <a:moveTo>
                    <a:pt x="1058" y="773"/>
                  </a:moveTo>
                  <a:cubicBezTo>
                    <a:pt x="1064" y="767"/>
                    <a:pt x="1061" y="767"/>
                    <a:pt x="1066" y="762"/>
                  </a:cubicBezTo>
                  <a:cubicBezTo>
                    <a:pt x="1069" y="764"/>
                    <a:pt x="1072" y="762"/>
                    <a:pt x="1072" y="759"/>
                  </a:cubicBezTo>
                  <a:cubicBezTo>
                    <a:pt x="1086" y="773"/>
                    <a:pt x="1058" y="776"/>
                    <a:pt x="1058" y="790"/>
                  </a:cubicBezTo>
                  <a:cubicBezTo>
                    <a:pt x="1049" y="784"/>
                    <a:pt x="1044" y="776"/>
                    <a:pt x="1038" y="767"/>
                  </a:cubicBezTo>
                  <a:cubicBezTo>
                    <a:pt x="1049" y="750"/>
                    <a:pt x="1052" y="773"/>
                    <a:pt x="1058" y="773"/>
                  </a:cubicBezTo>
                  <a:close/>
                  <a:moveTo>
                    <a:pt x="1049" y="731"/>
                  </a:moveTo>
                  <a:lnTo>
                    <a:pt x="1049" y="730"/>
                  </a:lnTo>
                  <a:cubicBezTo>
                    <a:pt x="1049" y="728"/>
                    <a:pt x="1052" y="726"/>
                    <a:pt x="1049" y="731"/>
                  </a:cubicBezTo>
                  <a:lnTo>
                    <a:pt x="1049" y="730"/>
                  </a:lnTo>
                  <a:lnTo>
                    <a:pt x="1049" y="731"/>
                  </a:lnTo>
                  <a:close/>
                  <a:moveTo>
                    <a:pt x="1044" y="293"/>
                  </a:moveTo>
                  <a:cubicBezTo>
                    <a:pt x="1044" y="288"/>
                    <a:pt x="1052" y="296"/>
                    <a:pt x="1044" y="293"/>
                  </a:cubicBezTo>
                  <a:close/>
                  <a:moveTo>
                    <a:pt x="1049" y="133"/>
                  </a:moveTo>
                  <a:lnTo>
                    <a:pt x="1044" y="133"/>
                  </a:lnTo>
                  <a:lnTo>
                    <a:pt x="1044" y="130"/>
                  </a:lnTo>
                  <a:cubicBezTo>
                    <a:pt x="1047" y="130"/>
                    <a:pt x="1049" y="130"/>
                    <a:pt x="1049" y="133"/>
                  </a:cubicBezTo>
                  <a:close/>
                  <a:moveTo>
                    <a:pt x="1041" y="90"/>
                  </a:moveTo>
                  <a:cubicBezTo>
                    <a:pt x="1047" y="85"/>
                    <a:pt x="1035" y="99"/>
                    <a:pt x="1041" y="90"/>
                  </a:cubicBezTo>
                  <a:close/>
                  <a:moveTo>
                    <a:pt x="1041" y="728"/>
                  </a:moveTo>
                  <a:cubicBezTo>
                    <a:pt x="1047" y="736"/>
                    <a:pt x="1049" y="745"/>
                    <a:pt x="1044" y="753"/>
                  </a:cubicBezTo>
                  <a:cubicBezTo>
                    <a:pt x="1035" y="750"/>
                    <a:pt x="1035" y="739"/>
                    <a:pt x="1041" y="728"/>
                  </a:cubicBezTo>
                  <a:close/>
                  <a:moveTo>
                    <a:pt x="1033" y="214"/>
                  </a:moveTo>
                  <a:cubicBezTo>
                    <a:pt x="1033" y="212"/>
                    <a:pt x="1044" y="217"/>
                    <a:pt x="1033" y="214"/>
                  </a:cubicBezTo>
                  <a:close/>
                  <a:moveTo>
                    <a:pt x="1033" y="195"/>
                  </a:moveTo>
                  <a:cubicBezTo>
                    <a:pt x="1035" y="197"/>
                    <a:pt x="1033" y="197"/>
                    <a:pt x="1033" y="195"/>
                  </a:cubicBezTo>
                  <a:close/>
                  <a:moveTo>
                    <a:pt x="1035" y="220"/>
                  </a:moveTo>
                  <a:cubicBezTo>
                    <a:pt x="1035" y="223"/>
                    <a:pt x="1030" y="226"/>
                    <a:pt x="1027" y="226"/>
                  </a:cubicBezTo>
                  <a:cubicBezTo>
                    <a:pt x="1030" y="223"/>
                    <a:pt x="1033" y="223"/>
                    <a:pt x="1035" y="220"/>
                  </a:cubicBezTo>
                  <a:close/>
                  <a:moveTo>
                    <a:pt x="1021" y="220"/>
                  </a:moveTo>
                  <a:cubicBezTo>
                    <a:pt x="1024" y="212"/>
                    <a:pt x="1030" y="226"/>
                    <a:pt x="1021" y="220"/>
                  </a:cubicBezTo>
                  <a:close/>
                  <a:moveTo>
                    <a:pt x="1018" y="228"/>
                  </a:moveTo>
                  <a:lnTo>
                    <a:pt x="1024" y="228"/>
                  </a:lnTo>
                  <a:lnTo>
                    <a:pt x="1024" y="234"/>
                  </a:lnTo>
                  <a:lnTo>
                    <a:pt x="1018" y="234"/>
                  </a:lnTo>
                  <a:lnTo>
                    <a:pt x="1018" y="228"/>
                  </a:lnTo>
                  <a:close/>
                  <a:moveTo>
                    <a:pt x="1018" y="248"/>
                  </a:moveTo>
                  <a:cubicBezTo>
                    <a:pt x="1018" y="245"/>
                    <a:pt x="1021" y="248"/>
                    <a:pt x="1024" y="248"/>
                  </a:cubicBezTo>
                  <a:cubicBezTo>
                    <a:pt x="1021" y="248"/>
                    <a:pt x="1018" y="251"/>
                    <a:pt x="1018" y="248"/>
                  </a:cubicBezTo>
                  <a:close/>
                  <a:moveTo>
                    <a:pt x="1038" y="2552"/>
                  </a:moveTo>
                  <a:cubicBezTo>
                    <a:pt x="1033" y="2566"/>
                    <a:pt x="1004" y="2543"/>
                    <a:pt x="1010" y="2524"/>
                  </a:cubicBezTo>
                  <a:cubicBezTo>
                    <a:pt x="1024" y="2526"/>
                    <a:pt x="1024" y="2546"/>
                    <a:pt x="1038" y="2552"/>
                  </a:cubicBezTo>
                  <a:close/>
                  <a:moveTo>
                    <a:pt x="1013" y="2614"/>
                  </a:moveTo>
                  <a:cubicBezTo>
                    <a:pt x="1007" y="2614"/>
                    <a:pt x="999" y="2608"/>
                    <a:pt x="999" y="2603"/>
                  </a:cubicBezTo>
                  <a:cubicBezTo>
                    <a:pt x="1001" y="2597"/>
                    <a:pt x="1013" y="2603"/>
                    <a:pt x="1016" y="2608"/>
                  </a:cubicBezTo>
                  <a:cubicBezTo>
                    <a:pt x="1016" y="2608"/>
                    <a:pt x="1018" y="2608"/>
                    <a:pt x="1018" y="2605"/>
                  </a:cubicBezTo>
                  <a:cubicBezTo>
                    <a:pt x="1021" y="2605"/>
                    <a:pt x="1024" y="2603"/>
                    <a:pt x="1024" y="2603"/>
                  </a:cubicBezTo>
                  <a:lnTo>
                    <a:pt x="1024" y="2605"/>
                  </a:lnTo>
                  <a:cubicBezTo>
                    <a:pt x="1033" y="2608"/>
                    <a:pt x="1038" y="2617"/>
                    <a:pt x="1035" y="2628"/>
                  </a:cubicBezTo>
                  <a:cubicBezTo>
                    <a:pt x="1024" y="2628"/>
                    <a:pt x="1016" y="2622"/>
                    <a:pt x="1013" y="2614"/>
                  </a:cubicBezTo>
                  <a:close/>
                  <a:moveTo>
                    <a:pt x="1027" y="2642"/>
                  </a:moveTo>
                  <a:cubicBezTo>
                    <a:pt x="1044" y="2645"/>
                    <a:pt x="1024" y="2670"/>
                    <a:pt x="1027" y="2642"/>
                  </a:cubicBezTo>
                  <a:close/>
                  <a:moveTo>
                    <a:pt x="1018" y="2651"/>
                  </a:moveTo>
                  <a:cubicBezTo>
                    <a:pt x="1007" y="2651"/>
                    <a:pt x="1016" y="2631"/>
                    <a:pt x="1027" y="2634"/>
                  </a:cubicBezTo>
                  <a:cubicBezTo>
                    <a:pt x="1024" y="2639"/>
                    <a:pt x="1016" y="2642"/>
                    <a:pt x="1018" y="2651"/>
                  </a:cubicBezTo>
                  <a:close/>
                  <a:moveTo>
                    <a:pt x="1013" y="310"/>
                  </a:moveTo>
                  <a:cubicBezTo>
                    <a:pt x="1010" y="313"/>
                    <a:pt x="1004" y="316"/>
                    <a:pt x="1001" y="316"/>
                  </a:cubicBezTo>
                  <a:cubicBezTo>
                    <a:pt x="999" y="310"/>
                    <a:pt x="1007" y="310"/>
                    <a:pt x="1013" y="310"/>
                  </a:cubicBezTo>
                  <a:close/>
                  <a:moveTo>
                    <a:pt x="1001" y="282"/>
                  </a:moveTo>
                  <a:cubicBezTo>
                    <a:pt x="999" y="276"/>
                    <a:pt x="1010" y="282"/>
                    <a:pt x="1001" y="282"/>
                  </a:cubicBezTo>
                  <a:close/>
                  <a:moveTo>
                    <a:pt x="1001" y="350"/>
                  </a:moveTo>
                  <a:cubicBezTo>
                    <a:pt x="1004" y="344"/>
                    <a:pt x="1012" y="352"/>
                    <a:pt x="1003" y="350"/>
                  </a:cubicBezTo>
                  <a:cubicBezTo>
                    <a:pt x="1003" y="350"/>
                    <a:pt x="1002" y="350"/>
                    <a:pt x="1001" y="350"/>
                  </a:cubicBezTo>
                  <a:close/>
                  <a:moveTo>
                    <a:pt x="1001" y="350"/>
                  </a:moveTo>
                  <a:cubicBezTo>
                    <a:pt x="1004" y="352"/>
                    <a:pt x="1004" y="351"/>
                    <a:pt x="1003" y="350"/>
                  </a:cubicBezTo>
                  <a:cubicBezTo>
                    <a:pt x="1002" y="350"/>
                    <a:pt x="1002" y="350"/>
                    <a:pt x="1001" y="350"/>
                  </a:cubicBezTo>
                  <a:close/>
                  <a:moveTo>
                    <a:pt x="1001" y="2555"/>
                  </a:moveTo>
                  <a:cubicBezTo>
                    <a:pt x="1004" y="2549"/>
                    <a:pt x="1013" y="2560"/>
                    <a:pt x="1001" y="2555"/>
                  </a:cubicBezTo>
                  <a:close/>
                  <a:moveTo>
                    <a:pt x="1007" y="2667"/>
                  </a:moveTo>
                  <a:cubicBezTo>
                    <a:pt x="1004" y="2667"/>
                    <a:pt x="999" y="2665"/>
                    <a:pt x="999" y="2665"/>
                  </a:cubicBezTo>
                  <a:cubicBezTo>
                    <a:pt x="996" y="2662"/>
                    <a:pt x="1010" y="2662"/>
                    <a:pt x="1007" y="2667"/>
                  </a:cubicBezTo>
                  <a:close/>
                  <a:moveTo>
                    <a:pt x="1016" y="2583"/>
                  </a:moveTo>
                  <a:cubicBezTo>
                    <a:pt x="1016" y="2577"/>
                    <a:pt x="1027" y="2586"/>
                    <a:pt x="1016" y="2583"/>
                  </a:cubicBezTo>
                  <a:close/>
                  <a:moveTo>
                    <a:pt x="1021" y="2583"/>
                  </a:moveTo>
                  <a:cubicBezTo>
                    <a:pt x="1024" y="2580"/>
                    <a:pt x="1027" y="2577"/>
                    <a:pt x="1030" y="2577"/>
                  </a:cubicBezTo>
                  <a:cubicBezTo>
                    <a:pt x="1030" y="2580"/>
                    <a:pt x="1027" y="2583"/>
                    <a:pt x="1021" y="2583"/>
                  </a:cubicBezTo>
                  <a:close/>
                  <a:moveTo>
                    <a:pt x="1018" y="268"/>
                  </a:moveTo>
                  <a:cubicBezTo>
                    <a:pt x="1018" y="274"/>
                    <a:pt x="1010" y="271"/>
                    <a:pt x="1010" y="265"/>
                  </a:cubicBezTo>
                  <a:cubicBezTo>
                    <a:pt x="1013" y="259"/>
                    <a:pt x="1013" y="268"/>
                    <a:pt x="1018" y="268"/>
                  </a:cubicBezTo>
                  <a:close/>
                  <a:moveTo>
                    <a:pt x="1007" y="237"/>
                  </a:moveTo>
                  <a:cubicBezTo>
                    <a:pt x="1007" y="231"/>
                    <a:pt x="1016" y="240"/>
                    <a:pt x="1007" y="237"/>
                  </a:cubicBezTo>
                  <a:close/>
                  <a:moveTo>
                    <a:pt x="1004" y="200"/>
                  </a:moveTo>
                  <a:cubicBezTo>
                    <a:pt x="1010" y="195"/>
                    <a:pt x="1007" y="209"/>
                    <a:pt x="1004" y="200"/>
                  </a:cubicBezTo>
                  <a:close/>
                  <a:moveTo>
                    <a:pt x="1004" y="265"/>
                  </a:moveTo>
                  <a:cubicBezTo>
                    <a:pt x="1008" y="261"/>
                    <a:pt x="1008" y="267"/>
                    <a:pt x="1007" y="268"/>
                  </a:cubicBezTo>
                  <a:lnTo>
                    <a:pt x="1007" y="268"/>
                  </a:lnTo>
                  <a:cubicBezTo>
                    <a:pt x="1004" y="276"/>
                    <a:pt x="999" y="268"/>
                    <a:pt x="996" y="268"/>
                  </a:cubicBezTo>
                  <a:cubicBezTo>
                    <a:pt x="994" y="264"/>
                    <a:pt x="1002" y="266"/>
                    <a:pt x="1005" y="267"/>
                  </a:cubicBezTo>
                  <a:cubicBezTo>
                    <a:pt x="1005" y="267"/>
                    <a:pt x="1005" y="266"/>
                    <a:pt x="1004" y="265"/>
                  </a:cubicBezTo>
                  <a:close/>
                  <a:moveTo>
                    <a:pt x="985" y="2645"/>
                  </a:moveTo>
                  <a:cubicBezTo>
                    <a:pt x="985" y="2648"/>
                    <a:pt x="982" y="2651"/>
                    <a:pt x="979" y="2651"/>
                  </a:cubicBezTo>
                  <a:cubicBezTo>
                    <a:pt x="973" y="2659"/>
                    <a:pt x="965" y="2670"/>
                    <a:pt x="954" y="2667"/>
                  </a:cubicBezTo>
                  <a:cubicBezTo>
                    <a:pt x="954" y="2651"/>
                    <a:pt x="965" y="2653"/>
                    <a:pt x="968" y="2642"/>
                  </a:cubicBezTo>
                  <a:cubicBezTo>
                    <a:pt x="962" y="2639"/>
                    <a:pt x="962" y="2636"/>
                    <a:pt x="959" y="2628"/>
                  </a:cubicBezTo>
                  <a:cubicBezTo>
                    <a:pt x="965" y="2628"/>
                    <a:pt x="968" y="2628"/>
                    <a:pt x="970" y="2634"/>
                  </a:cubicBezTo>
                  <a:cubicBezTo>
                    <a:pt x="970" y="2631"/>
                    <a:pt x="965" y="2628"/>
                    <a:pt x="962" y="2622"/>
                  </a:cubicBezTo>
                  <a:cubicBezTo>
                    <a:pt x="968" y="2622"/>
                    <a:pt x="973" y="2620"/>
                    <a:pt x="979" y="2617"/>
                  </a:cubicBezTo>
                  <a:cubicBezTo>
                    <a:pt x="985" y="2620"/>
                    <a:pt x="987" y="2631"/>
                    <a:pt x="987" y="2636"/>
                  </a:cubicBezTo>
                  <a:cubicBezTo>
                    <a:pt x="985" y="2636"/>
                    <a:pt x="979" y="2639"/>
                    <a:pt x="979" y="2639"/>
                  </a:cubicBezTo>
                  <a:cubicBezTo>
                    <a:pt x="982" y="2645"/>
                    <a:pt x="985" y="2645"/>
                    <a:pt x="985" y="2645"/>
                  </a:cubicBezTo>
                  <a:close/>
                  <a:moveTo>
                    <a:pt x="970" y="2730"/>
                  </a:moveTo>
                  <a:lnTo>
                    <a:pt x="970" y="2744"/>
                  </a:lnTo>
                  <a:lnTo>
                    <a:pt x="956" y="2744"/>
                  </a:lnTo>
                  <a:lnTo>
                    <a:pt x="956" y="2730"/>
                  </a:lnTo>
                  <a:lnTo>
                    <a:pt x="970" y="2730"/>
                  </a:lnTo>
                  <a:close/>
                  <a:moveTo>
                    <a:pt x="959" y="2701"/>
                  </a:moveTo>
                  <a:cubicBezTo>
                    <a:pt x="976" y="2701"/>
                    <a:pt x="956" y="2724"/>
                    <a:pt x="959" y="2701"/>
                  </a:cubicBezTo>
                  <a:close/>
                  <a:moveTo>
                    <a:pt x="948" y="2713"/>
                  </a:moveTo>
                  <a:cubicBezTo>
                    <a:pt x="962" y="2713"/>
                    <a:pt x="945" y="2735"/>
                    <a:pt x="948" y="2713"/>
                  </a:cubicBezTo>
                  <a:close/>
                  <a:moveTo>
                    <a:pt x="948" y="2707"/>
                  </a:moveTo>
                  <a:cubicBezTo>
                    <a:pt x="948" y="2701"/>
                    <a:pt x="956" y="2710"/>
                    <a:pt x="948" y="2707"/>
                  </a:cubicBezTo>
                  <a:close/>
                  <a:moveTo>
                    <a:pt x="956" y="2560"/>
                  </a:moveTo>
                  <a:cubicBezTo>
                    <a:pt x="955" y="2559"/>
                    <a:pt x="956" y="2559"/>
                    <a:pt x="956" y="2559"/>
                  </a:cubicBezTo>
                  <a:cubicBezTo>
                    <a:pt x="956" y="2560"/>
                    <a:pt x="956" y="2560"/>
                    <a:pt x="956" y="2560"/>
                  </a:cubicBezTo>
                  <a:close/>
                  <a:moveTo>
                    <a:pt x="957" y="2560"/>
                  </a:moveTo>
                  <a:cubicBezTo>
                    <a:pt x="958" y="2558"/>
                    <a:pt x="957" y="2558"/>
                    <a:pt x="956" y="2559"/>
                  </a:cubicBezTo>
                  <a:cubicBezTo>
                    <a:pt x="957" y="2559"/>
                    <a:pt x="957" y="2559"/>
                    <a:pt x="957" y="2560"/>
                  </a:cubicBezTo>
                  <a:close/>
                  <a:moveTo>
                    <a:pt x="956" y="2560"/>
                  </a:moveTo>
                  <a:cubicBezTo>
                    <a:pt x="957" y="2560"/>
                    <a:pt x="957" y="2560"/>
                    <a:pt x="957" y="2560"/>
                  </a:cubicBezTo>
                  <a:cubicBezTo>
                    <a:pt x="957" y="2560"/>
                    <a:pt x="957" y="2560"/>
                    <a:pt x="956" y="2560"/>
                  </a:cubicBezTo>
                  <a:close/>
                  <a:moveTo>
                    <a:pt x="968" y="2580"/>
                  </a:moveTo>
                  <a:cubicBezTo>
                    <a:pt x="965" y="2574"/>
                    <a:pt x="976" y="2574"/>
                    <a:pt x="979" y="2574"/>
                  </a:cubicBezTo>
                  <a:cubicBezTo>
                    <a:pt x="976" y="2580"/>
                    <a:pt x="970" y="2580"/>
                    <a:pt x="968" y="2580"/>
                  </a:cubicBezTo>
                  <a:close/>
                  <a:moveTo>
                    <a:pt x="959" y="296"/>
                  </a:moveTo>
                  <a:lnTo>
                    <a:pt x="970" y="296"/>
                  </a:lnTo>
                  <a:cubicBezTo>
                    <a:pt x="973" y="302"/>
                    <a:pt x="956" y="305"/>
                    <a:pt x="959" y="296"/>
                  </a:cubicBezTo>
                  <a:close/>
                  <a:moveTo>
                    <a:pt x="962" y="1754"/>
                  </a:moveTo>
                  <a:cubicBezTo>
                    <a:pt x="965" y="1754"/>
                    <a:pt x="962" y="1756"/>
                    <a:pt x="962" y="1754"/>
                  </a:cubicBezTo>
                  <a:close/>
                  <a:moveTo>
                    <a:pt x="982" y="319"/>
                  </a:moveTo>
                  <a:cubicBezTo>
                    <a:pt x="976" y="316"/>
                    <a:pt x="984" y="308"/>
                    <a:pt x="987" y="310"/>
                  </a:cubicBezTo>
                  <a:cubicBezTo>
                    <a:pt x="987" y="309"/>
                    <a:pt x="987" y="308"/>
                    <a:pt x="987" y="307"/>
                  </a:cubicBezTo>
                  <a:cubicBezTo>
                    <a:pt x="993" y="307"/>
                    <a:pt x="993" y="322"/>
                    <a:pt x="987" y="322"/>
                  </a:cubicBezTo>
                  <a:cubicBezTo>
                    <a:pt x="986" y="318"/>
                    <a:pt x="986" y="314"/>
                    <a:pt x="987" y="312"/>
                  </a:cubicBezTo>
                  <a:cubicBezTo>
                    <a:pt x="985" y="313"/>
                    <a:pt x="979" y="314"/>
                    <a:pt x="982" y="319"/>
                  </a:cubicBezTo>
                  <a:close/>
                  <a:moveTo>
                    <a:pt x="982" y="209"/>
                  </a:moveTo>
                  <a:lnTo>
                    <a:pt x="987" y="209"/>
                  </a:lnTo>
                  <a:lnTo>
                    <a:pt x="987" y="214"/>
                  </a:lnTo>
                  <a:cubicBezTo>
                    <a:pt x="987" y="214"/>
                    <a:pt x="985" y="217"/>
                    <a:pt x="982" y="217"/>
                  </a:cubicBezTo>
                  <a:lnTo>
                    <a:pt x="982" y="209"/>
                  </a:lnTo>
                  <a:close/>
                  <a:moveTo>
                    <a:pt x="985" y="279"/>
                  </a:moveTo>
                  <a:cubicBezTo>
                    <a:pt x="985" y="276"/>
                    <a:pt x="993" y="276"/>
                    <a:pt x="996" y="276"/>
                  </a:cubicBezTo>
                  <a:cubicBezTo>
                    <a:pt x="996" y="279"/>
                    <a:pt x="987" y="279"/>
                    <a:pt x="985" y="279"/>
                  </a:cubicBezTo>
                  <a:close/>
                  <a:moveTo>
                    <a:pt x="993" y="195"/>
                  </a:moveTo>
                  <a:cubicBezTo>
                    <a:pt x="990" y="195"/>
                    <a:pt x="987" y="189"/>
                    <a:pt x="990" y="189"/>
                  </a:cubicBezTo>
                  <a:cubicBezTo>
                    <a:pt x="990" y="189"/>
                    <a:pt x="990" y="186"/>
                    <a:pt x="987" y="183"/>
                  </a:cubicBezTo>
                  <a:cubicBezTo>
                    <a:pt x="990" y="180"/>
                    <a:pt x="996" y="183"/>
                    <a:pt x="996" y="186"/>
                  </a:cubicBezTo>
                  <a:lnTo>
                    <a:pt x="996" y="189"/>
                  </a:lnTo>
                  <a:cubicBezTo>
                    <a:pt x="999" y="192"/>
                    <a:pt x="993" y="189"/>
                    <a:pt x="993" y="195"/>
                  </a:cubicBezTo>
                  <a:close/>
                  <a:moveTo>
                    <a:pt x="1004" y="257"/>
                  </a:moveTo>
                  <a:cubicBezTo>
                    <a:pt x="999" y="259"/>
                    <a:pt x="993" y="257"/>
                    <a:pt x="990" y="251"/>
                  </a:cubicBezTo>
                  <a:cubicBezTo>
                    <a:pt x="996" y="251"/>
                    <a:pt x="1004" y="248"/>
                    <a:pt x="1004" y="257"/>
                  </a:cubicBezTo>
                  <a:close/>
                  <a:moveTo>
                    <a:pt x="990" y="2617"/>
                  </a:moveTo>
                  <a:cubicBezTo>
                    <a:pt x="990" y="2611"/>
                    <a:pt x="1001" y="2620"/>
                    <a:pt x="990" y="2617"/>
                  </a:cubicBezTo>
                  <a:close/>
                  <a:moveTo>
                    <a:pt x="987" y="302"/>
                  </a:moveTo>
                  <a:cubicBezTo>
                    <a:pt x="990" y="302"/>
                    <a:pt x="993" y="302"/>
                    <a:pt x="996" y="299"/>
                  </a:cubicBezTo>
                  <a:lnTo>
                    <a:pt x="996" y="305"/>
                  </a:lnTo>
                  <a:cubicBezTo>
                    <a:pt x="993" y="307"/>
                    <a:pt x="990" y="305"/>
                    <a:pt x="987" y="305"/>
                  </a:cubicBezTo>
                  <a:lnTo>
                    <a:pt x="987" y="302"/>
                  </a:lnTo>
                  <a:close/>
                  <a:moveTo>
                    <a:pt x="993" y="220"/>
                  </a:moveTo>
                  <a:cubicBezTo>
                    <a:pt x="993" y="214"/>
                    <a:pt x="1001" y="214"/>
                    <a:pt x="1004" y="217"/>
                  </a:cubicBezTo>
                  <a:cubicBezTo>
                    <a:pt x="1004" y="220"/>
                    <a:pt x="999" y="220"/>
                    <a:pt x="993" y="220"/>
                  </a:cubicBezTo>
                  <a:close/>
                  <a:moveTo>
                    <a:pt x="1004" y="116"/>
                  </a:moveTo>
                  <a:lnTo>
                    <a:pt x="999" y="116"/>
                  </a:lnTo>
                  <a:lnTo>
                    <a:pt x="999" y="110"/>
                  </a:lnTo>
                  <a:lnTo>
                    <a:pt x="1004" y="110"/>
                  </a:lnTo>
                  <a:lnTo>
                    <a:pt x="1004" y="116"/>
                  </a:lnTo>
                  <a:close/>
                  <a:moveTo>
                    <a:pt x="1004" y="96"/>
                  </a:moveTo>
                  <a:cubicBezTo>
                    <a:pt x="1001" y="102"/>
                    <a:pt x="990" y="90"/>
                    <a:pt x="1004" y="96"/>
                  </a:cubicBezTo>
                  <a:close/>
                  <a:moveTo>
                    <a:pt x="990" y="104"/>
                  </a:moveTo>
                  <a:cubicBezTo>
                    <a:pt x="996" y="102"/>
                    <a:pt x="985" y="113"/>
                    <a:pt x="990" y="104"/>
                  </a:cubicBezTo>
                  <a:close/>
                  <a:moveTo>
                    <a:pt x="985" y="118"/>
                  </a:moveTo>
                  <a:cubicBezTo>
                    <a:pt x="987" y="116"/>
                    <a:pt x="985" y="113"/>
                    <a:pt x="990" y="110"/>
                  </a:cubicBezTo>
                  <a:cubicBezTo>
                    <a:pt x="993" y="110"/>
                    <a:pt x="993" y="116"/>
                    <a:pt x="996" y="116"/>
                  </a:cubicBezTo>
                  <a:cubicBezTo>
                    <a:pt x="996" y="121"/>
                    <a:pt x="985" y="121"/>
                    <a:pt x="987" y="127"/>
                  </a:cubicBezTo>
                  <a:cubicBezTo>
                    <a:pt x="993" y="130"/>
                    <a:pt x="996" y="135"/>
                    <a:pt x="996" y="141"/>
                  </a:cubicBezTo>
                  <a:cubicBezTo>
                    <a:pt x="993" y="147"/>
                    <a:pt x="990" y="147"/>
                    <a:pt x="990" y="149"/>
                  </a:cubicBezTo>
                  <a:cubicBezTo>
                    <a:pt x="982" y="147"/>
                    <a:pt x="982" y="130"/>
                    <a:pt x="970" y="135"/>
                  </a:cubicBezTo>
                  <a:cubicBezTo>
                    <a:pt x="970" y="127"/>
                    <a:pt x="970" y="121"/>
                    <a:pt x="973" y="113"/>
                  </a:cubicBezTo>
                  <a:cubicBezTo>
                    <a:pt x="979" y="113"/>
                    <a:pt x="985" y="116"/>
                    <a:pt x="985" y="118"/>
                  </a:cubicBezTo>
                  <a:close/>
                  <a:moveTo>
                    <a:pt x="976" y="99"/>
                  </a:moveTo>
                  <a:lnTo>
                    <a:pt x="976" y="110"/>
                  </a:lnTo>
                  <a:cubicBezTo>
                    <a:pt x="970" y="110"/>
                    <a:pt x="968" y="102"/>
                    <a:pt x="976" y="99"/>
                  </a:cubicBezTo>
                  <a:close/>
                  <a:moveTo>
                    <a:pt x="973" y="274"/>
                  </a:moveTo>
                  <a:cubicBezTo>
                    <a:pt x="973" y="276"/>
                    <a:pt x="968" y="279"/>
                    <a:pt x="965" y="279"/>
                  </a:cubicBezTo>
                  <a:cubicBezTo>
                    <a:pt x="965" y="276"/>
                    <a:pt x="970" y="274"/>
                    <a:pt x="973" y="274"/>
                  </a:cubicBezTo>
                  <a:close/>
                  <a:moveTo>
                    <a:pt x="956" y="268"/>
                  </a:moveTo>
                  <a:cubicBezTo>
                    <a:pt x="959" y="262"/>
                    <a:pt x="968" y="271"/>
                    <a:pt x="956" y="268"/>
                  </a:cubicBezTo>
                  <a:close/>
                  <a:moveTo>
                    <a:pt x="951" y="1694"/>
                  </a:moveTo>
                  <a:cubicBezTo>
                    <a:pt x="951" y="1689"/>
                    <a:pt x="954" y="1683"/>
                    <a:pt x="959" y="1686"/>
                  </a:cubicBezTo>
                  <a:cubicBezTo>
                    <a:pt x="959" y="1689"/>
                    <a:pt x="956" y="1694"/>
                    <a:pt x="951" y="1694"/>
                  </a:cubicBezTo>
                  <a:close/>
                  <a:moveTo>
                    <a:pt x="948" y="138"/>
                  </a:moveTo>
                  <a:cubicBezTo>
                    <a:pt x="951" y="138"/>
                    <a:pt x="956" y="141"/>
                    <a:pt x="959" y="141"/>
                  </a:cubicBezTo>
                  <a:cubicBezTo>
                    <a:pt x="954" y="141"/>
                    <a:pt x="948" y="149"/>
                    <a:pt x="948" y="138"/>
                  </a:cubicBezTo>
                  <a:close/>
                  <a:moveTo>
                    <a:pt x="952" y="2532"/>
                  </a:moveTo>
                  <a:cubicBezTo>
                    <a:pt x="952" y="2531"/>
                    <a:pt x="954" y="2528"/>
                    <a:pt x="954" y="2532"/>
                  </a:cubicBezTo>
                  <a:cubicBezTo>
                    <a:pt x="953" y="2533"/>
                    <a:pt x="952" y="2533"/>
                    <a:pt x="952" y="2532"/>
                  </a:cubicBezTo>
                  <a:close/>
                  <a:moveTo>
                    <a:pt x="951" y="2636"/>
                  </a:moveTo>
                  <a:cubicBezTo>
                    <a:pt x="973" y="2659"/>
                    <a:pt x="928" y="2662"/>
                    <a:pt x="951" y="2636"/>
                  </a:cubicBezTo>
                  <a:close/>
                  <a:moveTo>
                    <a:pt x="942" y="110"/>
                  </a:moveTo>
                  <a:cubicBezTo>
                    <a:pt x="942" y="107"/>
                    <a:pt x="942" y="104"/>
                    <a:pt x="939" y="102"/>
                  </a:cubicBezTo>
                  <a:cubicBezTo>
                    <a:pt x="945" y="99"/>
                    <a:pt x="948" y="110"/>
                    <a:pt x="942" y="110"/>
                  </a:cubicBezTo>
                  <a:close/>
                  <a:moveTo>
                    <a:pt x="939" y="118"/>
                  </a:moveTo>
                  <a:lnTo>
                    <a:pt x="942" y="118"/>
                  </a:lnTo>
                  <a:lnTo>
                    <a:pt x="942" y="116"/>
                  </a:lnTo>
                  <a:cubicBezTo>
                    <a:pt x="942" y="116"/>
                    <a:pt x="942" y="118"/>
                    <a:pt x="945" y="118"/>
                  </a:cubicBezTo>
                  <a:cubicBezTo>
                    <a:pt x="942" y="118"/>
                    <a:pt x="945" y="121"/>
                    <a:pt x="942" y="121"/>
                  </a:cubicBezTo>
                  <a:cubicBezTo>
                    <a:pt x="939" y="127"/>
                    <a:pt x="931" y="124"/>
                    <a:pt x="925" y="124"/>
                  </a:cubicBezTo>
                  <a:cubicBezTo>
                    <a:pt x="925" y="121"/>
                    <a:pt x="934" y="118"/>
                    <a:pt x="939" y="118"/>
                  </a:cubicBezTo>
                  <a:close/>
                  <a:moveTo>
                    <a:pt x="931" y="158"/>
                  </a:moveTo>
                  <a:cubicBezTo>
                    <a:pt x="934" y="152"/>
                    <a:pt x="939" y="166"/>
                    <a:pt x="931" y="158"/>
                  </a:cubicBezTo>
                  <a:close/>
                  <a:moveTo>
                    <a:pt x="925" y="166"/>
                  </a:moveTo>
                  <a:cubicBezTo>
                    <a:pt x="934" y="161"/>
                    <a:pt x="922" y="175"/>
                    <a:pt x="925" y="166"/>
                  </a:cubicBezTo>
                  <a:close/>
                  <a:moveTo>
                    <a:pt x="920" y="144"/>
                  </a:moveTo>
                  <a:cubicBezTo>
                    <a:pt x="922" y="138"/>
                    <a:pt x="931" y="147"/>
                    <a:pt x="920" y="144"/>
                  </a:cubicBezTo>
                  <a:close/>
                  <a:moveTo>
                    <a:pt x="906" y="113"/>
                  </a:moveTo>
                  <a:cubicBezTo>
                    <a:pt x="911" y="116"/>
                    <a:pt x="894" y="118"/>
                    <a:pt x="906" y="113"/>
                  </a:cubicBezTo>
                  <a:close/>
                  <a:moveTo>
                    <a:pt x="903" y="183"/>
                  </a:moveTo>
                  <a:cubicBezTo>
                    <a:pt x="897" y="180"/>
                    <a:pt x="911" y="186"/>
                    <a:pt x="903" y="183"/>
                  </a:cubicBezTo>
                  <a:close/>
                  <a:moveTo>
                    <a:pt x="897" y="169"/>
                  </a:moveTo>
                  <a:cubicBezTo>
                    <a:pt x="903" y="164"/>
                    <a:pt x="894" y="178"/>
                    <a:pt x="897" y="169"/>
                  </a:cubicBezTo>
                  <a:close/>
                  <a:moveTo>
                    <a:pt x="894" y="200"/>
                  </a:moveTo>
                  <a:cubicBezTo>
                    <a:pt x="894" y="195"/>
                    <a:pt x="903" y="200"/>
                    <a:pt x="894" y="200"/>
                  </a:cubicBezTo>
                  <a:close/>
                  <a:moveTo>
                    <a:pt x="897" y="141"/>
                  </a:moveTo>
                  <a:cubicBezTo>
                    <a:pt x="894" y="141"/>
                    <a:pt x="891" y="133"/>
                    <a:pt x="891" y="130"/>
                  </a:cubicBezTo>
                  <a:cubicBezTo>
                    <a:pt x="897" y="124"/>
                    <a:pt x="900" y="138"/>
                    <a:pt x="897" y="141"/>
                  </a:cubicBezTo>
                  <a:close/>
                  <a:moveTo>
                    <a:pt x="906" y="2620"/>
                  </a:moveTo>
                  <a:cubicBezTo>
                    <a:pt x="906" y="2620"/>
                    <a:pt x="903" y="2622"/>
                    <a:pt x="903" y="2620"/>
                  </a:cubicBezTo>
                  <a:lnTo>
                    <a:pt x="903" y="2622"/>
                  </a:lnTo>
                  <a:cubicBezTo>
                    <a:pt x="906" y="2622"/>
                    <a:pt x="906" y="2620"/>
                    <a:pt x="906" y="2620"/>
                  </a:cubicBezTo>
                  <a:close/>
                  <a:moveTo>
                    <a:pt x="897" y="2617"/>
                  </a:moveTo>
                  <a:lnTo>
                    <a:pt x="894" y="2617"/>
                  </a:lnTo>
                  <a:cubicBezTo>
                    <a:pt x="894" y="2620"/>
                    <a:pt x="891" y="2617"/>
                    <a:pt x="891" y="2617"/>
                  </a:cubicBezTo>
                  <a:cubicBezTo>
                    <a:pt x="886" y="2614"/>
                    <a:pt x="891" y="2605"/>
                    <a:pt x="894" y="2603"/>
                  </a:cubicBezTo>
                  <a:cubicBezTo>
                    <a:pt x="897" y="2605"/>
                    <a:pt x="900" y="2608"/>
                    <a:pt x="897" y="2614"/>
                  </a:cubicBezTo>
                  <a:lnTo>
                    <a:pt x="900" y="2614"/>
                  </a:lnTo>
                  <a:lnTo>
                    <a:pt x="903" y="2617"/>
                  </a:lnTo>
                  <a:lnTo>
                    <a:pt x="903" y="2620"/>
                  </a:lnTo>
                  <a:cubicBezTo>
                    <a:pt x="900" y="2620"/>
                    <a:pt x="900" y="2617"/>
                    <a:pt x="897" y="2617"/>
                  </a:cubicBezTo>
                  <a:close/>
                  <a:moveTo>
                    <a:pt x="911" y="2614"/>
                  </a:moveTo>
                  <a:cubicBezTo>
                    <a:pt x="903" y="2625"/>
                    <a:pt x="917" y="2603"/>
                    <a:pt x="911" y="2614"/>
                  </a:cubicBezTo>
                  <a:close/>
                  <a:moveTo>
                    <a:pt x="875" y="2636"/>
                  </a:moveTo>
                  <a:lnTo>
                    <a:pt x="876" y="2636"/>
                  </a:lnTo>
                  <a:cubicBezTo>
                    <a:pt x="875" y="2638"/>
                    <a:pt x="873" y="2639"/>
                    <a:pt x="875" y="2636"/>
                  </a:cubicBezTo>
                  <a:cubicBezTo>
                    <a:pt x="877" y="2634"/>
                    <a:pt x="877" y="2635"/>
                    <a:pt x="876" y="2636"/>
                  </a:cubicBezTo>
                  <a:lnTo>
                    <a:pt x="875" y="2636"/>
                  </a:lnTo>
                  <a:close/>
                  <a:moveTo>
                    <a:pt x="872" y="2667"/>
                  </a:moveTo>
                  <a:cubicBezTo>
                    <a:pt x="875" y="2659"/>
                    <a:pt x="875" y="2651"/>
                    <a:pt x="875" y="2642"/>
                  </a:cubicBezTo>
                  <a:cubicBezTo>
                    <a:pt x="880" y="2642"/>
                    <a:pt x="886" y="2642"/>
                    <a:pt x="889" y="2648"/>
                  </a:cubicBezTo>
                  <a:cubicBezTo>
                    <a:pt x="880" y="2651"/>
                    <a:pt x="894" y="2662"/>
                    <a:pt x="889" y="2670"/>
                  </a:cubicBezTo>
                  <a:cubicBezTo>
                    <a:pt x="883" y="2670"/>
                    <a:pt x="877" y="2670"/>
                    <a:pt x="872" y="2667"/>
                  </a:cubicBezTo>
                  <a:close/>
                  <a:moveTo>
                    <a:pt x="889" y="2704"/>
                  </a:moveTo>
                  <a:cubicBezTo>
                    <a:pt x="880" y="2701"/>
                    <a:pt x="875" y="2696"/>
                    <a:pt x="875" y="2690"/>
                  </a:cubicBezTo>
                  <a:cubicBezTo>
                    <a:pt x="880" y="2690"/>
                    <a:pt x="886" y="2696"/>
                    <a:pt x="889" y="2704"/>
                  </a:cubicBezTo>
                  <a:close/>
                  <a:moveTo>
                    <a:pt x="889" y="2715"/>
                  </a:moveTo>
                  <a:cubicBezTo>
                    <a:pt x="886" y="2715"/>
                    <a:pt x="886" y="2711"/>
                    <a:pt x="886" y="2708"/>
                  </a:cubicBezTo>
                  <a:cubicBezTo>
                    <a:pt x="887" y="2710"/>
                    <a:pt x="889" y="2712"/>
                    <a:pt x="890" y="2714"/>
                  </a:cubicBezTo>
                  <a:cubicBezTo>
                    <a:pt x="912" y="2752"/>
                    <a:pt x="821" y="2735"/>
                    <a:pt x="880" y="2701"/>
                  </a:cubicBezTo>
                  <a:cubicBezTo>
                    <a:pt x="882" y="2704"/>
                    <a:pt x="884" y="2706"/>
                    <a:pt x="886" y="2708"/>
                  </a:cubicBezTo>
                  <a:lnTo>
                    <a:pt x="886" y="2707"/>
                  </a:lnTo>
                  <a:cubicBezTo>
                    <a:pt x="891" y="2705"/>
                    <a:pt x="891" y="2710"/>
                    <a:pt x="890" y="2714"/>
                  </a:cubicBezTo>
                  <a:cubicBezTo>
                    <a:pt x="889" y="2714"/>
                    <a:pt x="889" y="2715"/>
                    <a:pt x="889" y="2715"/>
                  </a:cubicBezTo>
                  <a:close/>
                  <a:moveTo>
                    <a:pt x="900" y="257"/>
                  </a:moveTo>
                  <a:lnTo>
                    <a:pt x="900" y="251"/>
                  </a:lnTo>
                  <a:lnTo>
                    <a:pt x="906" y="251"/>
                  </a:lnTo>
                  <a:cubicBezTo>
                    <a:pt x="906" y="251"/>
                    <a:pt x="908" y="254"/>
                    <a:pt x="908" y="257"/>
                  </a:cubicBezTo>
                  <a:cubicBezTo>
                    <a:pt x="903" y="254"/>
                    <a:pt x="900" y="257"/>
                    <a:pt x="900" y="257"/>
                  </a:cubicBezTo>
                  <a:close/>
                  <a:moveTo>
                    <a:pt x="894" y="265"/>
                  </a:moveTo>
                  <a:cubicBezTo>
                    <a:pt x="897" y="257"/>
                    <a:pt x="903" y="271"/>
                    <a:pt x="894" y="265"/>
                  </a:cubicBezTo>
                  <a:close/>
                  <a:moveTo>
                    <a:pt x="891" y="2555"/>
                  </a:moveTo>
                  <a:lnTo>
                    <a:pt x="891" y="2557"/>
                  </a:lnTo>
                  <a:cubicBezTo>
                    <a:pt x="872" y="2557"/>
                    <a:pt x="880" y="2572"/>
                    <a:pt x="877" y="2580"/>
                  </a:cubicBezTo>
                  <a:cubicBezTo>
                    <a:pt x="872" y="2579"/>
                    <a:pt x="870" y="2573"/>
                    <a:pt x="869" y="2567"/>
                  </a:cubicBezTo>
                  <a:cubicBezTo>
                    <a:pt x="865" y="2572"/>
                    <a:pt x="847" y="2573"/>
                    <a:pt x="863" y="2557"/>
                  </a:cubicBezTo>
                  <a:cubicBezTo>
                    <a:pt x="866" y="2559"/>
                    <a:pt x="868" y="2560"/>
                    <a:pt x="869" y="2562"/>
                  </a:cubicBezTo>
                  <a:cubicBezTo>
                    <a:pt x="869" y="2550"/>
                    <a:pt x="876" y="2538"/>
                    <a:pt x="889" y="2538"/>
                  </a:cubicBezTo>
                  <a:lnTo>
                    <a:pt x="889" y="2549"/>
                  </a:lnTo>
                  <a:cubicBezTo>
                    <a:pt x="889" y="2546"/>
                    <a:pt x="891" y="2543"/>
                    <a:pt x="891" y="2543"/>
                  </a:cubicBezTo>
                  <a:cubicBezTo>
                    <a:pt x="906" y="2543"/>
                    <a:pt x="897" y="2555"/>
                    <a:pt x="891" y="2555"/>
                  </a:cubicBezTo>
                  <a:close/>
                  <a:moveTo>
                    <a:pt x="855" y="2645"/>
                  </a:moveTo>
                  <a:lnTo>
                    <a:pt x="863" y="2645"/>
                  </a:lnTo>
                  <a:lnTo>
                    <a:pt x="866" y="2645"/>
                  </a:lnTo>
                  <a:cubicBezTo>
                    <a:pt x="866" y="2645"/>
                    <a:pt x="869" y="2648"/>
                    <a:pt x="869" y="2651"/>
                  </a:cubicBezTo>
                  <a:lnTo>
                    <a:pt x="866" y="2651"/>
                  </a:lnTo>
                  <a:cubicBezTo>
                    <a:pt x="863" y="2656"/>
                    <a:pt x="849" y="2665"/>
                    <a:pt x="855" y="2645"/>
                  </a:cubicBezTo>
                  <a:close/>
                  <a:moveTo>
                    <a:pt x="858" y="2769"/>
                  </a:moveTo>
                  <a:cubicBezTo>
                    <a:pt x="863" y="2763"/>
                    <a:pt x="852" y="2777"/>
                    <a:pt x="858" y="2769"/>
                  </a:cubicBezTo>
                  <a:close/>
                  <a:moveTo>
                    <a:pt x="858" y="2611"/>
                  </a:moveTo>
                  <a:cubicBezTo>
                    <a:pt x="877" y="2620"/>
                    <a:pt x="829" y="2628"/>
                    <a:pt x="858" y="2611"/>
                  </a:cubicBezTo>
                  <a:close/>
                  <a:moveTo>
                    <a:pt x="855" y="2594"/>
                  </a:moveTo>
                  <a:cubicBezTo>
                    <a:pt x="860" y="2594"/>
                    <a:pt x="860" y="2600"/>
                    <a:pt x="858" y="2603"/>
                  </a:cubicBezTo>
                  <a:cubicBezTo>
                    <a:pt x="855" y="2603"/>
                    <a:pt x="855" y="2597"/>
                    <a:pt x="855" y="2594"/>
                  </a:cubicBezTo>
                  <a:close/>
                  <a:moveTo>
                    <a:pt x="860" y="2526"/>
                  </a:moveTo>
                  <a:cubicBezTo>
                    <a:pt x="863" y="2521"/>
                    <a:pt x="872" y="2529"/>
                    <a:pt x="860" y="2526"/>
                  </a:cubicBezTo>
                  <a:close/>
                  <a:moveTo>
                    <a:pt x="866" y="302"/>
                  </a:moveTo>
                  <a:cubicBezTo>
                    <a:pt x="863" y="296"/>
                    <a:pt x="875" y="302"/>
                    <a:pt x="875" y="299"/>
                  </a:cubicBezTo>
                  <a:cubicBezTo>
                    <a:pt x="869" y="288"/>
                    <a:pt x="880" y="290"/>
                    <a:pt x="877" y="276"/>
                  </a:cubicBezTo>
                  <a:lnTo>
                    <a:pt x="886" y="276"/>
                  </a:lnTo>
                  <a:cubicBezTo>
                    <a:pt x="891" y="290"/>
                    <a:pt x="877" y="305"/>
                    <a:pt x="866" y="302"/>
                  </a:cubicBezTo>
                  <a:close/>
                  <a:moveTo>
                    <a:pt x="886" y="2526"/>
                  </a:moveTo>
                  <a:cubicBezTo>
                    <a:pt x="900" y="2526"/>
                    <a:pt x="883" y="2549"/>
                    <a:pt x="886" y="2526"/>
                  </a:cubicBezTo>
                  <a:close/>
                  <a:moveTo>
                    <a:pt x="894" y="240"/>
                  </a:moveTo>
                  <a:cubicBezTo>
                    <a:pt x="900" y="243"/>
                    <a:pt x="886" y="251"/>
                    <a:pt x="894" y="240"/>
                  </a:cubicBezTo>
                  <a:close/>
                  <a:moveTo>
                    <a:pt x="889" y="234"/>
                  </a:moveTo>
                  <a:cubicBezTo>
                    <a:pt x="889" y="228"/>
                    <a:pt x="897" y="237"/>
                    <a:pt x="889" y="234"/>
                  </a:cubicBezTo>
                  <a:close/>
                  <a:moveTo>
                    <a:pt x="891" y="214"/>
                  </a:moveTo>
                  <a:cubicBezTo>
                    <a:pt x="891" y="217"/>
                    <a:pt x="889" y="223"/>
                    <a:pt x="883" y="223"/>
                  </a:cubicBezTo>
                  <a:cubicBezTo>
                    <a:pt x="883" y="220"/>
                    <a:pt x="883" y="217"/>
                    <a:pt x="880" y="217"/>
                  </a:cubicBezTo>
                  <a:cubicBezTo>
                    <a:pt x="883" y="214"/>
                    <a:pt x="889" y="214"/>
                    <a:pt x="891" y="214"/>
                  </a:cubicBezTo>
                  <a:close/>
                  <a:moveTo>
                    <a:pt x="877" y="186"/>
                  </a:moveTo>
                  <a:cubicBezTo>
                    <a:pt x="883" y="192"/>
                    <a:pt x="886" y="200"/>
                    <a:pt x="880" y="203"/>
                  </a:cubicBezTo>
                  <a:cubicBezTo>
                    <a:pt x="875" y="203"/>
                    <a:pt x="877" y="192"/>
                    <a:pt x="872" y="192"/>
                  </a:cubicBezTo>
                  <a:cubicBezTo>
                    <a:pt x="872" y="189"/>
                    <a:pt x="877" y="189"/>
                    <a:pt x="877" y="186"/>
                  </a:cubicBezTo>
                  <a:close/>
                  <a:moveTo>
                    <a:pt x="880" y="206"/>
                  </a:moveTo>
                  <a:cubicBezTo>
                    <a:pt x="877" y="231"/>
                    <a:pt x="852" y="214"/>
                    <a:pt x="846" y="200"/>
                  </a:cubicBezTo>
                  <a:cubicBezTo>
                    <a:pt x="855" y="195"/>
                    <a:pt x="858" y="200"/>
                    <a:pt x="866" y="203"/>
                  </a:cubicBezTo>
                  <a:cubicBezTo>
                    <a:pt x="869" y="206"/>
                    <a:pt x="877" y="203"/>
                    <a:pt x="880" y="206"/>
                  </a:cubicBezTo>
                  <a:close/>
                  <a:moveTo>
                    <a:pt x="846" y="2526"/>
                  </a:moveTo>
                  <a:cubicBezTo>
                    <a:pt x="846" y="2529"/>
                    <a:pt x="846" y="2529"/>
                    <a:pt x="843" y="2529"/>
                  </a:cubicBezTo>
                  <a:cubicBezTo>
                    <a:pt x="852" y="2540"/>
                    <a:pt x="818" y="2533"/>
                    <a:pt x="833" y="2525"/>
                  </a:cubicBezTo>
                  <a:cubicBezTo>
                    <a:pt x="832" y="2524"/>
                    <a:pt x="832" y="2524"/>
                    <a:pt x="835" y="2524"/>
                  </a:cubicBezTo>
                  <a:cubicBezTo>
                    <a:pt x="841" y="2524"/>
                    <a:pt x="846" y="2524"/>
                    <a:pt x="846" y="2526"/>
                  </a:cubicBezTo>
                  <a:close/>
                  <a:moveTo>
                    <a:pt x="832" y="1731"/>
                  </a:moveTo>
                  <a:cubicBezTo>
                    <a:pt x="827" y="1728"/>
                    <a:pt x="835" y="1720"/>
                    <a:pt x="838" y="1725"/>
                  </a:cubicBezTo>
                  <a:cubicBezTo>
                    <a:pt x="838" y="1728"/>
                    <a:pt x="832" y="1728"/>
                    <a:pt x="832" y="1731"/>
                  </a:cubicBezTo>
                  <a:close/>
                  <a:moveTo>
                    <a:pt x="843" y="1711"/>
                  </a:moveTo>
                  <a:cubicBezTo>
                    <a:pt x="843" y="1706"/>
                    <a:pt x="852" y="1714"/>
                    <a:pt x="843" y="1711"/>
                  </a:cubicBezTo>
                  <a:close/>
                  <a:moveTo>
                    <a:pt x="852" y="1697"/>
                  </a:moveTo>
                  <a:cubicBezTo>
                    <a:pt x="852" y="1694"/>
                    <a:pt x="841" y="1694"/>
                    <a:pt x="843" y="1689"/>
                  </a:cubicBezTo>
                  <a:cubicBezTo>
                    <a:pt x="842" y="1689"/>
                    <a:pt x="840" y="1689"/>
                    <a:pt x="838" y="1689"/>
                  </a:cubicBezTo>
                  <a:cubicBezTo>
                    <a:pt x="838" y="1680"/>
                    <a:pt x="849" y="1680"/>
                    <a:pt x="855" y="1680"/>
                  </a:cubicBezTo>
                  <a:cubicBezTo>
                    <a:pt x="853" y="1682"/>
                    <a:pt x="851" y="1687"/>
                    <a:pt x="845" y="1689"/>
                  </a:cubicBezTo>
                  <a:cubicBezTo>
                    <a:pt x="849" y="1690"/>
                    <a:pt x="854" y="1692"/>
                    <a:pt x="852" y="1697"/>
                  </a:cubicBezTo>
                  <a:close/>
                  <a:moveTo>
                    <a:pt x="846" y="1643"/>
                  </a:moveTo>
                  <a:cubicBezTo>
                    <a:pt x="855" y="1646"/>
                    <a:pt x="843" y="1658"/>
                    <a:pt x="846" y="1643"/>
                  </a:cubicBezTo>
                  <a:close/>
                  <a:moveTo>
                    <a:pt x="841" y="147"/>
                  </a:moveTo>
                  <a:cubicBezTo>
                    <a:pt x="843" y="141"/>
                    <a:pt x="852" y="152"/>
                    <a:pt x="841" y="147"/>
                  </a:cubicBezTo>
                  <a:close/>
                  <a:moveTo>
                    <a:pt x="827" y="220"/>
                  </a:moveTo>
                  <a:cubicBezTo>
                    <a:pt x="841" y="209"/>
                    <a:pt x="855" y="223"/>
                    <a:pt x="827" y="220"/>
                  </a:cubicBezTo>
                  <a:close/>
                  <a:moveTo>
                    <a:pt x="829" y="245"/>
                  </a:moveTo>
                  <a:cubicBezTo>
                    <a:pt x="829" y="248"/>
                    <a:pt x="824" y="251"/>
                    <a:pt x="821" y="251"/>
                  </a:cubicBezTo>
                  <a:cubicBezTo>
                    <a:pt x="821" y="248"/>
                    <a:pt x="824" y="245"/>
                    <a:pt x="829" y="245"/>
                  </a:cubicBezTo>
                  <a:close/>
                  <a:moveTo>
                    <a:pt x="827" y="1706"/>
                  </a:moveTo>
                  <a:cubicBezTo>
                    <a:pt x="827" y="1708"/>
                    <a:pt x="812" y="1708"/>
                    <a:pt x="815" y="1703"/>
                  </a:cubicBezTo>
                  <a:cubicBezTo>
                    <a:pt x="818" y="1703"/>
                    <a:pt x="824" y="1703"/>
                    <a:pt x="827" y="1706"/>
                  </a:cubicBezTo>
                  <a:close/>
                  <a:moveTo>
                    <a:pt x="821" y="2529"/>
                  </a:moveTo>
                  <a:cubicBezTo>
                    <a:pt x="818" y="2543"/>
                    <a:pt x="812" y="2518"/>
                    <a:pt x="821" y="2529"/>
                  </a:cubicBezTo>
                  <a:close/>
                  <a:moveTo>
                    <a:pt x="812" y="2591"/>
                  </a:moveTo>
                  <a:cubicBezTo>
                    <a:pt x="812" y="2594"/>
                    <a:pt x="807" y="2597"/>
                    <a:pt x="804" y="2597"/>
                  </a:cubicBezTo>
                  <a:cubicBezTo>
                    <a:pt x="807" y="2594"/>
                    <a:pt x="810" y="2591"/>
                    <a:pt x="812" y="2591"/>
                  </a:cubicBezTo>
                  <a:close/>
                  <a:moveTo>
                    <a:pt x="807" y="2591"/>
                  </a:moveTo>
                  <a:lnTo>
                    <a:pt x="807" y="2583"/>
                  </a:lnTo>
                  <a:lnTo>
                    <a:pt x="812" y="2583"/>
                  </a:lnTo>
                  <a:cubicBezTo>
                    <a:pt x="812" y="2584"/>
                    <a:pt x="813" y="2585"/>
                    <a:pt x="813" y="2585"/>
                  </a:cubicBezTo>
                  <a:cubicBezTo>
                    <a:pt x="815" y="2568"/>
                    <a:pt x="791" y="2557"/>
                    <a:pt x="812" y="2549"/>
                  </a:cubicBezTo>
                  <a:cubicBezTo>
                    <a:pt x="815" y="2560"/>
                    <a:pt x="818" y="2569"/>
                    <a:pt x="821" y="2577"/>
                  </a:cubicBezTo>
                  <a:cubicBezTo>
                    <a:pt x="827" y="2574"/>
                    <a:pt x="835" y="2574"/>
                    <a:pt x="829" y="2560"/>
                  </a:cubicBezTo>
                  <a:cubicBezTo>
                    <a:pt x="841" y="2563"/>
                    <a:pt x="846" y="2572"/>
                    <a:pt x="843" y="2577"/>
                  </a:cubicBezTo>
                  <a:cubicBezTo>
                    <a:pt x="849" y="2577"/>
                    <a:pt x="852" y="2574"/>
                    <a:pt x="855" y="2574"/>
                  </a:cubicBezTo>
                  <a:cubicBezTo>
                    <a:pt x="852" y="2580"/>
                    <a:pt x="843" y="2583"/>
                    <a:pt x="846" y="2591"/>
                  </a:cubicBezTo>
                  <a:cubicBezTo>
                    <a:pt x="841" y="2591"/>
                    <a:pt x="841" y="2583"/>
                    <a:pt x="838" y="2577"/>
                  </a:cubicBezTo>
                  <a:cubicBezTo>
                    <a:pt x="838" y="2580"/>
                    <a:pt x="831" y="2587"/>
                    <a:pt x="823" y="2588"/>
                  </a:cubicBezTo>
                  <a:cubicBezTo>
                    <a:pt x="830" y="2596"/>
                    <a:pt x="832" y="2607"/>
                    <a:pt x="827" y="2617"/>
                  </a:cubicBezTo>
                  <a:cubicBezTo>
                    <a:pt x="829" y="2614"/>
                    <a:pt x="829" y="2614"/>
                    <a:pt x="835" y="2617"/>
                  </a:cubicBezTo>
                  <a:cubicBezTo>
                    <a:pt x="825" y="2617"/>
                    <a:pt x="821" y="2626"/>
                    <a:pt x="814" y="2630"/>
                  </a:cubicBezTo>
                  <a:cubicBezTo>
                    <a:pt x="815" y="2629"/>
                    <a:pt x="815" y="2627"/>
                    <a:pt x="815" y="2625"/>
                  </a:cubicBezTo>
                  <a:cubicBezTo>
                    <a:pt x="812" y="2625"/>
                    <a:pt x="812" y="2622"/>
                    <a:pt x="812" y="2620"/>
                  </a:cubicBezTo>
                  <a:cubicBezTo>
                    <a:pt x="810" y="2620"/>
                    <a:pt x="804" y="2617"/>
                    <a:pt x="807" y="2605"/>
                  </a:cubicBezTo>
                  <a:cubicBezTo>
                    <a:pt x="810" y="2605"/>
                    <a:pt x="810" y="2605"/>
                    <a:pt x="812" y="2608"/>
                  </a:cubicBezTo>
                  <a:cubicBezTo>
                    <a:pt x="815" y="2600"/>
                    <a:pt x="818" y="2591"/>
                    <a:pt x="821" y="2586"/>
                  </a:cubicBezTo>
                  <a:cubicBezTo>
                    <a:pt x="819" y="2586"/>
                    <a:pt x="817" y="2587"/>
                    <a:pt x="814" y="2588"/>
                  </a:cubicBezTo>
                  <a:cubicBezTo>
                    <a:pt x="815" y="2589"/>
                    <a:pt x="815" y="2590"/>
                    <a:pt x="815" y="2591"/>
                  </a:cubicBezTo>
                  <a:lnTo>
                    <a:pt x="812" y="2591"/>
                  </a:lnTo>
                  <a:cubicBezTo>
                    <a:pt x="813" y="2591"/>
                    <a:pt x="813" y="2591"/>
                    <a:pt x="812" y="2591"/>
                  </a:cubicBezTo>
                  <a:lnTo>
                    <a:pt x="807" y="2591"/>
                  </a:lnTo>
                  <a:close/>
                  <a:moveTo>
                    <a:pt x="815" y="276"/>
                  </a:moveTo>
                  <a:cubicBezTo>
                    <a:pt x="812" y="279"/>
                    <a:pt x="810" y="282"/>
                    <a:pt x="807" y="282"/>
                  </a:cubicBezTo>
                  <a:cubicBezTo>
                    <a:pt x="801" y="276"/>
                    <a:pt x="810" y="276"/>
                    <a:pt x="815" y="276"/>
                  </a:cubicBezTo>
                  <a:close/>
                  <a:moveTo>
                    <a:pt x="818" y="2639"/>
                  </a:moveTo>
                  <a:cubicBezTo>
                    <a:pt x="821" y="2653"/>
                    <a:pt x="815" y="2662"/>
                    <a:pt x="804" y="2662"/>
                  </a:cubicBezTo>
                  <a:lnTo>
                    <a:pt x="804" y="2642"/>
                  </a:lnTo>
                  <a:cubicBezTo>
                    <a:pt x="807" y="2639"/>
                    <a:pt x="812" y="2639"/>
                    <a:pt x="818" y="2639"/>
                  </a:cubicBezTo>
                  <a:close/>
                  <a:moveTo>
                    <a:pt x="810" y="186"/>
                  </a:moveTo>
                  <a:cubicBezTo>
                    <a:pt x="795" y="189"/>
                    <a:pt x="812" y="172"/>
                    <a:pt x="810" y="186"/>
                  </a:cubicBezTo>
                  <a:close/>
                  <a:moveTo>
                    <a:pt x="798" y="2541"/>
                  </a:moveTo>
                  <a:cubicBezTo>
                    <a:pt x="798" y="2535"/>
                    <a:pt x="807" y="2543"/>
                    <a:pt x="798" y="2541"/>
                  </a:cubicBezTo>
                  <a:close/>
                  <a:moveTo>
                    <a:pt x="798" y="276"/>
                  </a:moveTo>
                  <a:cubicBezTo>
                    <a:pt x="801" y="271"/>
                    <a:pt x="804" y="288"/>
                    <a:pt x="798" y="276"/>
                  </a:cubicBezTo>
                  <a:close/>
                  <a:moveTo>
                    <a:pt x="797" y="313"/>
                  </a:moveTo>
                  <a:cubicBezTo>
                    <a:pt x="799" y="315"/>
                    <a:pt x="801" y="319"/>
                    <a:pt x="801" y="322"/>
                  </a:cubicBezTo>
                  <a:lnTo>
                    <a:pt x="793" y="322"/>
                  </a:lnTo>
                  <a:cubicBezTo>
                    <a:pt x="795" y="322"/>
                    <a:pt x="795" y="316"/>
                    <a:pt x="795" y="313"/>
                  </a:cubicBezTo>
                  <a:cubicBezTo>
                    <a:pt x="795" y="308"/>
                    <a:pt x="803" y="315"/>
                    <a:pt x="797" y="313"/>
                  </a:cubicBezTo>
                  <a:close/>
                  <a:moveTo>
                    <a:pt x="787" y="243"/>
                  </a:moveTo>
                  <a:cubicBezTo>
                    <a:pt x="790" y="243"/>
                    <a:pt x="793" y="245"/>
                    <a:pt x="795" y="248"/>
                  </a:cubicBezTo>
                  <a:lnTo>
                    <a:pt x="790" y="248"/>
                  </a:lnTo>
                  <a:cubicBezTo>
                    <a:pt x="787" y="248"/>
                    <a:pt x="787" y="245"/>
                    <a:pt x="787" y="243"/>
                  </a:cubicBezTo>
                  <a:close/>
                  <a:moveTo>
                    <a:pt x="779" y="254"/>
                  </a:moveTo>
                  <a:lnTo>
                    <a:pt x="784" y="254"/>
                  </a:lnTo>
                  <a:lnTo>
                    <a:pt x="784" y="259"/>
                  </a:lnTo>
                  <a:lnTo>
                    <a:pt x="779" y="259"/>
                  </a:lnTo>
                  <a:cubicBezTo>
                    <a:pt x="776" y="259"/>
                    <a:pt x="779" y="257"/>
                    <a:pt x="779" y="254"/>
                  </a:cubicBezTo>
                  <a:close/>
                  <a:moveTo>
                    <a:pt x="790" y="279"/>
                  </a:moveTo>
                  <a:cubicBezTo>
                    <a:pt x="787" y="285"/>
                    <a:pt x="779" y="282"/>
                    <a:pt x="776" y="282"/>
                  </a:cubicBezTo>
                  <a:cubicBezTo>
                    <a:pt x="776" y="279"/>
                    <a:pt x="787" y="282"/>
                    <a:pt x="790" y="279"/>
                  </a:cubicBezTo>
                  <a:close/>
                  <a:moveTo>
                    <a:pt x="776" y="2552"/>
                  </a:moveTo>
                  <a:cubicBezTo>
                    <a:pt x="795" y="2552"/>
                    <a:pt x="767" y="2580"/>
                    <a:pt x="776" y="2552"/>
                  </a:cubicBezTo>
                  <a:close/>
                  <a:moveTo>
                    <a:pt x="779" y="2569"/>
                  </a:moveTo>
                  <a:lnTo>
                    <a:pt x="779" y="2572"/>
                  </a:lnTo>
                  <a:cubicBezTo>
                    <a:pt x="793" y="2574"/>
                    <a:pt x="770" y="2597"/>
                    <a:pt x="776" y="2574"/>
                  </a:cubicBezTo>
                  <a:cubicBezTo>
                    <a:pt x="773" y="2574"/>
                    <a:pt x="770" y="2569"/>
                    <a:pt x="779" y="2569"/>
                  </a:cubicBezTo>
                  <a:close/>
                  <a:moveTo>
                    <a:pt x="767" y="1756"/>
                  </a:moveTo>
                  <a:cubicBezTo>
                    <a:pt x="770" y="1765"/>
                    <a:pt x="753" y="1759"/>
                    <a:pt x="756" y="1754"/>
                  </a:cubicBezTo>
                  <a:cubicBezTo>
                    <a:pt x="759" y="1754"/>
                    <a:pt x="767" y="1751"/>
                    <a:pt x="767" y="1756"/>
                  </a:cubicBezTo>
                  <a:close/>
                  <a:moveTo>
                    <a:pt x="750" y="2549"/>
                  </a:moveTo>
                  <a:cubicBezTo>
                    <a:pt x="753" y="2549"/>
                    <a:pt x="759" y="2546"/>
                    <a:pt x="762" y="2546"/>
                  </a:cubicBezTo>
                  <a:cubicBezTo>
                    <a:pt x="764" y="2555"/>
                    <a:pt x="753" y="2566"/>
                    <a:pt x="750" y="2549"/>
                  </a:cubicBezTo>
                  <a:close/>
                  <a:moveTo>
                    <a:pt x="756" y="2560"/>
                  </a:moveTo>
                  <a:cubicBezTo>
                    <a:pt x="759" y="2555"/>
                    <a:pt x="767" y="2563"/>
                    <a:pt x="756" y="2560"/>
                  </a:cubicBezTo>
                  <a:close/>
                  <a:moveTo>
                    <a:pt x="731" y="2524"/>
                  </a:moveTo>
                  <a:cubicBezTo>
                    <a:pt x="739" y="2524"/>
                    <a:pt x="753" y="2524"/>
                    <a:pt x="753" y="2538"/>
                  </a:cubicBezTo>
                  <a:cubicBezTo>
                    <a:pt x="742" y="2541"/>
                    <a:pt x="731" y="2538"/>
                    <a:pt x="731" y="2524"/>
                  </a:cubicBezTo>
                  <a:close/>
                  <a:moveTo>
                    <a:pt x="736" y="2538"/>
                  </a:moveTo>
                  <a:cubicBezTo>
                    <a:pt x="756" y="2538"/>
                    <a:pt x="728" y="2566"/>
                    <a:pt x="736" y="2538"/>
                  </a:cubicBezTo>
                  <a:close/>
                  <a:moveTo>
                    <a:pt x="743" y="2447"/>
                  </a:moveTo>
                  <a:cubicBezTo>
                    <a:pt x="743" y="2446"/>
                    <a:pt x="745" y="2446"/>
                    <a:pt x="745" y="2447"/>
                  </a:cubicBezTo>
                  <a:cubicBezTo>
                    <a:pt x="741" y="2451"/>
                    <a:pt x="741" y="2449"/>
                    <a:pt x="743" y="2447"/>
                  </a:cubicBezTo>
                  <a:close/>
                  <a:moveTo>
                    <a:pt x="739" y="2363"/>
                  </a:moveTo>
                  <a:cubicBezTo>
                    <a:pt x="753" y="2363"/>
                    <a:pt x="736" y="2385"/>
                    <a:pt x="739" y="2363"/>
                  </a:cubicBezTo>
                  <a:close/>
                  <a:moveTo>
                    <a:pt x="736" y="2388"/>
                  </a:moveTo>
                  <a:cubicBezTo>
                    <a:pt x="753" y="2388"/>
                    <a:pt x="733" y="2411"/>
                    <a:pt x="736" y="2388"/>
                  </a:cubicBezTo>
                  <a:close/>
                  <a:moveTo>
                    <a:pt x="745" y="2405"/>
                  </a:moveTo>
                  <a:cubicBezTo>
                    <a:pt x="742" y="2411"/>
                    <a:pt x="748" y="2402"/>
                    <a:pt x="745" y="2405"/>
                  </a:cubicBezTo>
                  <a:close/>
                  <a:moveTo>
                    <a:pt x="764" y="2504"/>
                  </a:moveTo>
                  <a:lnTo>
                    <a:pt x="764" y="2518"/>
                  </a:lnTo>
                  <a:lnTo>
                    <a:pt x="750" y="2518"/>
                  </a:lnTo>
                  <a:lnTo>
                    <a:pt x="750" y="2504"/>
                  </a:lnTo>
                  <a:lnTo>
                    <a:pt x="764" y="2504"/>
                  </a:lnTo>
                  <a:close/>
                  <a:moveTo>
                    <a:pt x="750" y="2388"/>
                  </a:moveTo>
                  <a:cubicBezTo>
                    <a:pt x="767" y="2385"/>
                    <a:pt x="750" y="2411"/>
                    <a:pt x="750" y="2388"/>
                  </a:cubicBezTo>
                  <a:close/>
                  <a:moveTo>
                    <a:pt x="753" y="1722"/>
                  </a:moveTo>
                  <a:cubicBezTo>
                    <a:pt x="756" y="1720"/>
                    <a:pt x="756" y="1711"/>
                    <a:pt x="762" y="1711"/>
                  </a:cubicBezTo>
                  <a:cubicBezTo>
                    <a:pt x="762" y="1714"/>
                    <a:pt x="759" y="1722"/>
                    <a:pt x="753" y="1722"/>
                  </a:cubicBezTo>
                  <a:close/>
                  <a:moveTo>
                    <a:pt x="759" y="1610"/>
                  </a:moveTo>
                  <a:cubicBezTo>
                    <a:pt x="764" y="1618"/>
                    <a:pt x="762" y="1621"/>
                    <a:pt x="762" y="1632"/>
                  </a:cubicBezTo>
                  <a:cubicBezTo>
                    <a:pt x="756" y="1632"/>
                    <a:pt x="756" y="1627"/>
                    <a:pt x="750" y="1627"/>
                  </a:cubicBezTo>
                  <a:lnTo>
                    <a:pt x="759" y="1610"/>
                  </a:lnTo>
                  <a:close/>
                  <a:moveTo>
                    <a:pt x="748" y="1739"/>
                  </a:moveTo>
                  <a:cubicBezTo>
                    <a:pt x="748" y="1734"/>
                    <a:pt x="756" y="1742"/>
                    <a:pt x="748" y="1739"/>
                  </a:cubicBezTo>
                  <a:close/>
                  <a:moveTo>
                    <a:pt x="750" y="2464"/>
                  </a:moveTo>
                  <a:cubicBezTo>
                    <a:pt x="770" y="2464"/>
                    <a:pt x="742" y="2493"/>
                    <a:pt x="750" y="2464"/>
                  </a:cubicBezTo>
                  <a:close/>
                  <a:moveTo>
                    <a:pt x="748" y="1748"/>
                  </a:moveTo>
                  <a:lnTo>
                    <a:pt x="748" y="1759"/>
                  </a:lnTo>
                  <a:cubicBezTo>
                    <a:pt x="739" y="1759"/>
                    <a:pt x="739" y="1748"/>
                    <a:pt x="748" y="1748"/>
                  </a:cubicBezTo>
                  <a:close/>
                  <a:moveTo>
                    <a:pt x="742" y="322"/>
                  </a:moveTo>
                  <a:cubicBezTo>
                    <a:pt x="748" y="319"/>
                    <a:pt x="736" y="330"/>
                    <a:pt x="742" y="322"/>
                  </a:cubicBezTo>
                  <a:close/>
                  <a:moveTo>
                    <a:pt x="739" y="209"/>
                  </a:moveTo>
                  <a:cubicBezTo>
                    <a:pt x="745" y="206"/>
                    <a:pt x="733" y="217"/>
                    <a:pt x="739" y="209"/>
                  </a:cubicBezTo>
                  <a:close/>
                  <a:moveTo>
                    <a:pt x="731" y="1734"/>
                  </a:moveTo>
                  <a:cubicBezTo>
                    <a:pt x="731" y="1731"/>
                    <a:pt x="736" y="1728"/>
                    <a:pt x="739" y="1728"/>
                  </a:cubicBezTo>
                  <a:cubicBezTo>
                    <a:pt x="739" y="1731"/>
                    <a:pt x="733" y="1734"/>
                    <a:pt x="731" y="1734"/>
                  </a:cubicBezTo>
                  <a:close/>
                  <a:moveTo>
                    <a:pt x="733" y="285"/>
                  </a:moveTo>
                  <a:cubicBezTo>
                    <a:pt x="733" y="279"/>
                    <a:pt x="742" y="288"/>
                    <a:pt x="733" y="285"/>
                  </a:cubicBezTo>
                  <a:close/>
                  <a:moveTo>
                    <a:pt x="739" y="299"/>
                  </a:moveTo>
                  <a:cubicBezTo>
                    <a:pt x="731" y="307"/>
                    <a:pt x="731" y="293"/>
                    <a:pt x="739" y="299"/>
                  </a:cubicBezTo>
                  <a:close/>
                  <a:moveTo>
                    <a:pt x="745" y="2431"/>
                  </a:moveTo>
                  <a:lnTo>
                    <a:pt x="745" y="2436"/>
                  </a:lnTo>
                  <a:cubicBezTo>
                    <a:pt x="742" y="2439"/>
                    <a:pt x="739" y="2442"/>
                    <a:pt x="736" y="2442"/>
                  </a:cubicBezTo>
                  <a:cubicBezTo>
                    <a:pt x="733" y="2442"/>
                    <a:pt x="728" y="2439"/>
                    <a:pt x="725" y="2439"/>
                  </a:cubicBezTo>
                  <a:cubicBezTo>
                    <a:pt x="716" y="2414"/>
                    <a:pt x="742" y="2419"/>
                    <a:pt x="745" y="2431"/>
                  </a:cubicBezTo>
                  <a:close/>
                  <a:moveTo>
                    <a:pt x="722" y="2518"/>
                  </a:moveTo>
                  <a:cubicBezTo>
                    <a:pt x="725" y="2524"/>
                    <a:pt x="725" y="2529"/>
                    <a:pt x="725" y="2535"/>
                  </a:cubicBezTo>
                  <a:lnTo>
                    <a:pt x="722" y="2535"/>
                  </a:lnTo>
                  <a:lnTo>
                    <a:pt x="722" y="2518"/>
                  </a:lnTo>
                  <a:close/>
                  <a:moveTo>
                    <a:pt x="716" y="463"/>
                  </a:moveTo>
                  <a:cubicBezTo>
                    <a:pt x="716" y="457"/>
                    <a:pt x="728" y="465"/>
                    <a:pt x="716" y="463"/>
                  </a:cubicBezTo>
                  <a:close/>
                  <a:moveTo>
                    <a:pt x="714" y="2433"/>
                  </a:moveTo>
                  <a:cubicBezTo>
                    <a:pt x="733" y="2439"/>
                    <a:pt x="700" y="2450"/>
                    <a:pt x="714" y="2433"/>
                  </a:cubicBezTo>
                  <a:close/>
                  <a:moveTo>
                    <a:pt x="722" y="2385"/>
                  </a:moveTo>
                  <a:cubicBezTo>
                    <a:pt x="736" y="2385"/>
                    <a:pt x="719" y="2408"/>
                    <a:pt x="722" y="2385"/>
                  </a:cubicBezTo>
                  <a:close/>
                  <a:moveTo>
                    <a:pt x="722" y="302"/>
                  </a:moveTo>
                  <a:cubicBezTo>
                    <a:pt x="728" y="293"/>
                    <a:pt x="728" y="310"/>
                    <a:pt x="722" y="302"/>
                  </a:cubicBezTo>
                  <a:close/>
                  <a:moveTo>
                    <a:pt x="716" y="234"/>
                  </a:moveTo>
                  <a:cubicBezTo>
                    <a:pt x="716" y="228"/>
                    <a:pt x="728" y="237"/>
                    <a:pt x="716" y="234"/>
                  </a:cubicBezTo>
                  <a:close/>
                  <a:moveTo>
                    <a:pt x="731" y="293"/>
                  </a:moveTo>
                  <a:cubicBezTo>
                    <a:pt x="725" y="296"/>
                    <a:pt x="719" y="296"/>
                    <a:pt x="714" y="299"/>
                  </a:cubicBezTo>
                  <a:cubicBezTo>
                    <a:pt x="714" y="296"/>
                    <a:pt x="711" y="290"/>
                    <a:pt x="711" y="288"/>
                  </a:cubicBezTo>
                  <a:cubicBezTo>
                    <a:pt x="719" y="282"/>
                    <a:pt x="728" y="282"/>
                    <a:pt x="731" y="293"/>
                  </a:cubicBezTo>
                  <a:close/>
                  <a:moveTo>
                    <a:pt x="716" y="415"/>
                  </a:moveTo>
                  <a:cubicBezTo>
                    <a:pt x="716" y="420"/>
                    <a:pt x="708" y="423"/>
                    <a:pt x="705" y="423"/>
                  </a:cubicBezTo>
                  <a:cubicBezTo>
                    <a:pt x="705" y="420"/>
                    <a:pt x="711" y="417"/>
                    <a:pt x="716" y="415"/>
                  </a:cubicBezTo>
                  <a:close/>
                  <a:moveTo>
                    <a:pt x="702" y="2445"/>
                  </a:moveTo>
                  <a:lnTo>
                    <a:pt x="725" y="2445"/>
                  </a:lnTo>
                  <a:cubicBezTo>
                    <a:pt x="728" y="2456"/>
                    <a:pt x="719" y="2456"/>
                    <a:pt x="719" y="2464"/>
                  </a:cubicBezTo>
                  <a:cubicBezTo>
                    <a:pt x="714" y="2464"/>
                    <a:pt x="711" y="2459"/>
                    <a:pt x="705" y="2459"/>
                  </a:cubicBezTo>
                  <a:cubicBezTo>
                    <a:pt x="702" y="2456"/>
                    <a:pt x="702" y="2450"/>
                    <a:pt x="702" y="2445"/>
                  </a:cubicBezTo>
                  <a:close/>
                  <a:moveTo>
                    <a:pt x="702" y="2535"/>
                  </a:moveTo>
                  <a:cubicBezTo>
                    <a:pt x="711" y="2532"/>
                    <a:pt x="714" y="2546"/>
                    <a:pt x="716" y="2555"/>
                  </a:cubicBezTo>
                  <a:cubicBezTo>
                    <a:pt x="705" y="2555"/>
                    <a:pt x="702" y="2543"/>
                    <a:pt x="702" y="2535"/>
                  </a:cubicBezTo>
                  <a:close/>
                  <a:moveTo>
                    <a:pt x="711" y="2557"/>
                  </a:moveTo>
                  <a:cubicBezTo>
                    <a:pt x="708" y="2563"/>
                    <a:pt x="708" y="2569"/>
                    <a:pt x="711" y="2574"/>
                  </a:cubicBezTo>
                  <a:cubicBezTo>
                    <a:pt x="714" y="2572"/>
                    <a:pt x="714" y="2572"/>
                    <a:pt x="716" y="2572"/>
                  </a:cubicBezTo>
                  <a:cubicBezTo>
                    <a:pt x="714" y="2574"/>
                    <a:pt x="716" y="2577"/>
                    <a:pt x="714" y="2580"/>
                  </a:cubicBezTo>
                  <a:cubicBezTo>
                    <a:pt x="719" y="2586"/>
                    <a:pt x="728" y="2580"/>
                    <a:pt x="731" y="2566"/>
                  </a:cubicBezTo>
                  <a:cubicBezTo>
                    <a:pt x="750" y="2591"/>
                    <a:pt x="705" y="2597"/>
                    <a:pt x="697" y="2600"/>
                  </a:cubicBezTo>
                  <a:cubicBezTo>
                    <a:pt x="683" y="2594"/>
                    <a:pt x="688" y="2550"/>
                    <a:pt x="710" y="2557"/>
                  </a:cubicBezTo>
                  <a:cubicBezTo>
                    <a:pt x="710" y="2558"/>
                    <a:pt x="709" y="2561"/>
                    <a:pt x="711" y="2557"/>
                  </a:cubicBezTo>
                  <a:close/>
                  <a:moveTo>
                    <a:pt x="710" y="2557"/>
                  </a:moveTo>
                  <a:lnTo>
                    <a:pt x="711" y="2557"/>
                  </a:lnTo>
                  <a:cubicBezTo>
                    <a:pt x="711" y="2557"/>
                    <a:pt x="711" y="2557"/>
                    <a:pt x="710" y="2557"/>
                  </a:cubicBezTo>
                  <a:close/>
                  <a:moveTo>
                    <a:pt x="669" y="2586"/>
                  </a:moveTo>
                  <a:cubicBezTo>
                    <a:pt x="666" y="2586"/>
                    <a:pt x="663" y="2583"/>
                    <a:pt x="660" y="2583"/>
                  </a:cubicBezTo>
                  <a:cubicBezTo>
                    <a:pt x="666" y="2583"/>
                    <a:pt x="683" y="2586"/>
                    <a:pt x="669" y="2586"/>
                  </a:cubicBezTo>
                  <a:close/>
                  <a:moveTo>
                    <a:pt x="666" y="2603"/>
                  </a:moveTo>
                  <a:cubicBezTo>
                    <a:pt x="666" y="2597"/>
                    <a:pt x="677" y="2605"/>
                    <a:pt x="666" y="2603"/>
                  </a:cubicBezTo>
                  <a:close/>
                  <a:moveTo>
                    <a:pt x="671" y="2484"/>
                  </a:moveTo>
                  <a:cubicBezTo>
                    <a:pt x="685" y="2487"/>
                    <a:pt x="669" y="2498"/>
                    <a:pt x="671" y="2484"/>
                  </a:cubicBezTo>
                  <a:close/>
                  <a:moveTo>
                    <a:pt x="683" y="2445"/>
                  </a:moveTo>
                  <a:cubicBezTo>
                    <a:pt x="705" y="2453"/>
                    <a:pt x="657" y="2462"/>
                    <a:pt x="683" y="2445"/>
                  </a:cubicBezTo>
                  <a:close/>
                  <a:moveTo>
                    <a:pt x="680" y="2512"/>
                  </a:moveTo>
                  <a:cubicBezTo>
                    <a:pt x="680" y="2513"/>
                    <a:pt x="680" y="2514"/>
                    <a:pt x="679" y="2515"/>
                  </a:cubicBezTo>
                  <a:cubicBezTo>
                    <a:pt x="680" y="2514"/>
                    <a:pt x="681" y="2513"/>
                    <a:pt x="683" y="2512"/>
                  </a:cubicBezTo>
                  <a:cubicBezTo>
                    <a:pt x="708" y="2542"/>
                    <a:pt x="660" y="2539"/>
                    <a:pt x="674" y="2520"/>
                  </a:cubicBezTo>
                  <a:cubicBezTo>
                    <a:pt x="673" y="2521"/>
                    <a:pt x="672" y="2521"/>
                    <a:pt x="671" y="2521"/>
                  </a:cubicBezTo>
                  <a:lnTo>
                    <a:pt x="671" y="2515"/>
                  </a:lnTo>
                  <a:cubicBezTo>
                    <a:pt x="674" y="2512"/>
                    <a:pt x="677" y="2512"/>
                    <a:pt x="680" y="2512"/>
                  </a:cubicBezTo>
                  <a:close/>
                  <a:moveTo>
                    <a:pt x="688" y="2507"/>
                  </a:moveTo>
                  <a:cubicBezTo>
                    <a:pt x="702" y="2504"/>
                    <a:pt x="685" y="2529"/>
                    <a:pt x="688" y="2507"/>
                  </a:cubicBezTo>
                  <a:close/>
                  <a:moveTo>
                    <a:pt x="694" y="288"/>
                  </a:moveTo>
                  <a:cubicBezTo>
                    <a:pt x="688" y="288"/>
                    <a:pt x="691" y="274"/>
                    <a:pt x="697" y="276"/>
                  </a:cubicBezTo>
                  <a:cubicBezTo>
                    <a:pt x="697" y="279"/>
                    <a:pt x="697" y="285"/>
                    <a:pt x="694" y="288"/>
                  </a:cubicBezTo>
                  <a:close/>
                  <a:moveTo>
                    <a:pt x="694" y="293"/>
                  </a:moveTo>
                  <a:cubicBezTo>
                    <a:pt x="691" y="293"/>
                    <a:pt x="700" y="296"/>
                    <a:pt x="694" y="293"/>
                  </a:cubicBezTo>
                  <a:close/>
                  <a:moveTo>
                    <a:pt x="691" y="1739"/>
                  </a:moveTo>
                  <a:cubicBezTo>
                    <a:pt x="691" y="1734"/>
                    <a:pt x="702" y="1742"/>
                    <a:pt x="691" y="1739"/>
                  </a:cubicBezTo>
                  <a:close/>
                  <a:moveTo>
                    <a:pt x="694" y="2473"/>
                  </a:moveTo>
                  <a:cubicBezTo>
                    <a:pt x="705" y="2476"/>
                    <a:pt x="711" y="2487"/>
                    <a:pt x="708" y="2501"/>
                  </a:cubicBezTo>
                  <a:cubicBezTo>
                    <a:pt x="691" y="2507"/>
                    <a:pt x="697" y="2484"/>
                    <a:pt x="694" y="2473"/>
                  </a:cubicBezTo>
                  <a:close/>
                  <a:moveTo>
                    <a:pt x="697" y="271"/>
                  </a:moveTo>
                  <a:cubicBezTo>
                    <a:pt x="697" y="265"/>
                    <a:pt x="705" y="274"/>
                    <a:pt x="697" y="271"/>
                  </a:cubicBezTo>
                  <a:close/>
                  <a:moveTo>
                    <a:pt x="700" y="217"/>
                  </a:moveTo>
                  <a:cubicBezTo>
                    <a:pt x="705" y="228"/>
                    <a:pt x="694" y="231"/>
                    <a:pt x="685" y="234"/>
                  </a:cubicBezTo>
                  <a:cubicBezTo>
                    <a:pt x="685" y="226"/>
                    <a:pt x="691" y="220"/>
                    <a:pt x="700" y="217"/>
                  </a:cubicBezTo>
                  <a:close/>
                  <a:moveTo>
                    <a:pt x="688" y="285"/>
                  </a:moveTo>
                  <a:cubicBezTo>
                    <a:pt x="685" y="293"/>
                    <a:pt x="677" y="282"/>
                    <a:pt x="688" y="285"/>
                  </a:cubicBezTo>
                  <a:close/>
                  <a:moveTo>
                    <a:pt x="683" y="2363"/>
                  </a:moveTo>
                  <a:cubicBezTo>
                    <a:pt x="700" y="2366"/>
                    <a:pt x="680" y="2391"/>
                    <a:pt x="683" y="2363"/>
                  </a:cubicBezTo>
                  <a:close/>
                  <a:moveTo>
                    <a:pt x="680" y="322"/>
                  </a:moveTo>
                  <a:lnTo>
                    <a:pt x="685" y="322"/>
                  </a:lnTo>
                  <a:lnTo>
                    <a:pt x="685" y="327"/>
                  </a:lnTo>
                  <a:lnTo>
                    <a:pt x="680" y="327"/>
                  </a:lnTo>
                  <a:lnTo>
                    <a:pt x="680" y="322"/>
                  </a:lnTo>
                  <a:close/>
                  <a:moveTo>
                    <a:pt x="691" y="2422"/>
                  </a:moveTo>
                  <a:cubicBezTo>
                    <a:pt x="671" y="2425"/>
                    <a:pt x="674" y="2399"/>
                    <a:pt x="669" y="2388"/>
                  </a:cubicBezTo>
                  <a:cubicBezTo>
                    <a:pt x="683" y="2394"/>
                    <a:pt x="691" y="2405"/>
                    <a:pt x="691" y="2422"/>
                  </a:cubicBezTo>
                  <a:close/>
                  <a:moveTo>
                    <a:pt x="669" y="2439"/>
                  </a:moveTo>
                  <a:cubicBezTo>
                    <a:pt x="669" y="2436"/>
                    <a:pt x="666" y="2445"/>
                    <a:pt x="669" y="2439"/>
                  </a:cubicBezTo>
                  <a:close/>
                  <a:moveTo>
                    <a:pt x="660" y="2366"/>
                  </a:moveTo>
                  <a:cubicBezTo>
                    <a:pt x="677" y="2380"/>
                    <a:pt x="643" y="2354"/>
                    <a:pt x="660" y="2366"/>
                  </a:cubicBezTo>
                  <a:close/>
                  <a:moveTo>
                    <a:pt x="657" y="2464"/>
                  </a:moveTo>
                  <a:cubicBezTo>
                    <a:pt x="656" y="2464"/>
                    <a:pt x="655" y="2463"/>
                    <a:pt x="655" y="2463"/>
                  </a:cubicBezTo>
                  <a:cubicBezTo>
                    <a:pt x="652" y="2461"/>
                    <a:pt x="651" y="2459"/>
                    <a:pt x="649" y="2459"/>
                  </a:cubicBezTo>
                  <a:cubicBezTo>
                    <a:pt x="649" y="2459"/>
                    <a:pt x="652" y="2456"/>
                    <a:pt x="654" y="2459"/>
                  </a:cubicBezTo>
                  <a:cubicBezTo>
                    <a:pt x="657" y="2459"/>
                    <a:pt x="660" y="2464"/>
                    <a:pt x="660" y="2464"/>
                  </a:cubicBezTo>
                  <a:lnTo>
                    <a:pt x="657" y="2464"/>
                  </a:lnTo>
                  <a:close/>
                  <a:moveTo>
                    <a:pt x="654" y="2529"/>
                  </a:moveTo>
                  <a:cubicBezTo>
                    <a:pt x="654" y="2524"/>
                    <a:pt x="663" y="2532"/>
                    <a:pt x="654" y="2529"/>
                  </a:cubicBezTo>
                  <a:close/>
                  <a:moveTo>
                    <a:pt x="654" y="2397"/>
                  </a:moveTo>
                  <a:cubicBezTo>
                    <a:pt x="669" y="2394"/>
                    <a:pt x="652" y="2419"/>
                    <a:pt x="654" y="2397"/>
                  </a:cubicBezTo>
                  <a:close/>
                  <a:moveTo>
                    <a:pt x="649" y="440"/>
                  </a:moveTo>
                  <a:cubicBezTo>
                    <a:pt x="649" y="434"/>
                    <a:pt x="660" y="443"/>
                    <a:pt x="649" y="440"/>
                  </a:cubicBezTo>
                  <a:close/>
                  <a:moveTo>
                    <a:pt x="652" y="262"/>
                  </a:moveTo>
                  <a:cubicBezTo>
                    <a:pt x="649" y="262"/>
                    <a:pt x="654" y="265"/>
                    <a:pt x="652" y="262"/>
                  </a:cubicBezTo>
                  <a:close/>
                  <a:moveTo>
                    <a:pt x="643" y="310"/>
                  </a:moveTo>
                  <a:cubicBezTo>
                    <a:pt x="640" y="307"/>
                    <a:pt x="649" y="310"/>
                    <a:pt x="643" y="310"/>
                  </a:cubicBezTo>
                  <a:close/>
                  <a:moveTo>
                    <a:pt x="646" y="1687"/>
                  </a:moveTo>
                  <a:cubicBezTo>
                    <a:pt x="645" y="1687"/>
                    <a:pt x="642" y="1686"/>
                    <a:pt x="646" y="1686"/>
                  </a:cubicBezTo>
                  <a:cubicBezTo>
                    <a:pt x="647" y="1687"/>
                    <a:pt x="647" y="1687"/>
                    <a:pt x="646" y="1687"/>
                  </a:cubicBezTo>
                  <a:close/>
                  <a:moveTo>
                    <a:pt x="640" y="1573"/>
                  </a:moveTo>
                  <a:cubicBezTo>
                    <a:pt x="643" y="1573"/>
                    <a:pt x="635" y="1570"/>
                    <a:pt x="640" y="1573"/>
                  </a:cubicBezTo>
                  <a:close/>
                  <a:moveTo>
                    <a:pt x="654" y="2416"/>
                  </a:moveTo>
                  <a:cubicBezTo>
                    <a:pt x="643" y="2436"/>
                    <a:pt x="632" y="2399"/>
                    <a:pt x="637" y="2388"/>
                  </a:cubicBezTo>
                  <a:cubicBezTo>
                    <a:pt x="650" y="2386"/>
                    <a:pt x="643" y="2410"/>
                    <a:pt x="650" y="2415"/>
                  </a:cubicBezTo>
                  <a:cubicBezTo>
                    <a:pt x="651" y="2416"/>
                    <a:pt x="652" y="2417"/>
                    <a:pt x="654" y="2416"/>
                  </a:cubicBezTo>
                  <a:close/>
                  <a:moveTo>
                    <a:pt x="601" y="2447"/>
                  </a:moveTo>
                  <a:cubicBezTo>
                    <a:pt x="604" y="2439"/>
                    <a:pt x="621" y="2442"/>
                    <a:pt x="629" y="2439"/>
                  </a:cubicBezTo>
                  <a:cubicBezTo>
                    <a:pt x="629" y="2447"/>
                    <a:pt x="629" y="2459"/>
                    <a:pt x="635" y="2459"/>
                  </a:cubicBezTo>
                  <a:cubicBezTo>
                    <a:pt x="623" y="2481"/>
                    <a:pt x="606" y="2453"/>
                    <a:pt x="601" y="2447"/>
                  </a:cubicBezTo>
                  <a:close/>
                  <a:moveTo>
                    <a:pt x="616" y="2566"/>
                  </a:moveTo>
                  <a:cubicBezTo>
                    <a:pt x="616" y="2567"/>
                    <a:pt x="615" y="2570"/>
                    <a:pt x="615" y="2566"/>
                  </a:cubicBezTo>
                  <a:cubicBezTo>
                    <a:pt x="616" y="2565"/>
                    <a:pt x="616" y="2565"/>
                    <a:pt x="616" y="2566"/>
                  </a:cubicBezTo>
                  <a:close/>
                  <a:moveTo>
                    <a:pt x="558" y="1300"/>
                  </a:moveTo>
                  <a:cubicBezTo>
                    <a:pt x="550" y="1320"/>
                    <a:pt x="561" y="1281"/>
                    <a:pt x="558" y="1300"/>
                  </a:cubicBezTo>
                  <a:close/>
                  <a:moveTo>
                    <a:pt x="539" y="801"/>
                  </a:moveTo>
                  <a:cubicBezTo>
                    <a:pt x="550" y="790"/>
                    <a:pt x="556" y="801"/>
                    <a:pt x="564" y="801"/>
                  </a:cubicBezTo>
                  <a:cubicBezTo>
                    <a:pt x="570" y="807"/>
                    <a:pt x="542" y="815"/>
                    <a:pt x="539" y="801"/>
                  </a:cubicBezTo>
                  <a:close/>
                  <a:moveTo>
                    <a:pt x="508" y="810"/>
                  </a:moveTo>
                  <a:cubicBezTo>
                    <a:pt x="502" y="832"/>
                    <a:pt x="485" y="804"/>
                    <a:pt x="508" y="810"/>
                  </a:cubicBezTo>
                  <a:close/>
                  <a:moveTo>
                    <a:pt x="499" y="2383"/>
                  </a:moveTo>
                  <a:cubicBezTo>
                    <a:pt x="498" y="2383"/>
                    <a:pt x="498" y="2382"/>
                    <a:pt x="497" y="2382"/>
                  </a:cubicBezTo>
                  <a:cubicBezTo>
                    <a:pt x="497" y="2381"/>
                    <a:pt x="497" y="2381"/>
                    <a:pt x="499" y="2383"/>
                  </a:cubicBezTo>
                  <a:cubicBezTo>
                    <a:pt x="498" y="2383"/>
                    <a:pt x="498" y="2382"/>
                    <a:pt x="497" y="2382"/>
                  </a:cubicBezTo>
                  <a:cubicBezTo>
                    <a:pt x="496" y="2381"/>
                    <a:pt x="496" y="2380"/>
                    <a:pt x="496" y="2380"/>
                  </a:cubicBezTo>
                  <a:cubicBezTo>
                    <a:pt x="496" y="2377"/>
                    <a:pt x="499" y="2380"/>
                    <a:pt x="499" y="2383"/>
                  </a:cubicBezTo>
                  <a:close/>
                  <a:moveTo>
                    <a:pt x="488" y="795"/>
                  </a:moveTo>
                  <a:cubicBezTo>
                    <a:pt x="491" y="795"/>
                    <a:pt x="494" y="798"/>
                    <a:pt x="496" y="798"/>
                  </a:cubicBezTo>
                  <a:cubicBezTo>
                    <a:pt x="496" y="801"/>
                    <a:pt x="485" y="801"/>
                    <a:pt x="488" y="795"/>
                  </a:cubicBezTo>
                  <a:close/>
                  <a:moveTo>
                    <a:pt x="494" y="1345"/>
                  </a:moveTo>
                  <a:cubicBezTo>
                    <a:pt x="496" y="1345"/>
                    <a:pt x="488" y="1343"/>
                    <a:pt x="494" y="1345"/>
                  </a:cubicBezTo>
                  <a:close/>
                  <a:moveTo>
                    <a:pt x="491" y="2326"/>
                  </a:moveTo>
                  <a:cubicBezTo>
                    <a:pt x="488" y="2332"/>
                    <a:pt x="491" y="2323"/>
                    <a:pt x="491" y="2326"/>
                  </a:cubicBezTo>
                  <a:close/>
                  <a:moveTo>
                    <a:pt x="496" y="587"/>
                  </a:moveTo>
                  <a:cubicBezTo>
                    <a:pt x="502" y="601"/>
                    <a:pt x="474" y="592"/>
                    <a:pt x="496" y="587"/>
                  </a:cubicBezTo>
                  <a:close/>
                  <a:moveTo>
                    <a:pt x="454" y="2380"/>
                  </a:moveTo>
                  <a:cubicBezTo>
                    <a:pt x="460" y="2371"/>
                    <a:pt x="463" y="2354"/>
                    <a:pt x="477" y="2357"/>
                  </a:cubicBezTo>
                  <a:cubicBezTo>
                    <a:pt x="477" y="2357"/>
                    <a:pt x="479" y="2354"/>
                    <a:pt x="477" y="2357"/>
                  </a:cubicBezTo>
                  <a:lnTo>
                    <a:pt x="477" y="2354"/>
                  </a:lnTo>
                  <a:cubicBezTo>
                    <a:pt x="479" y="2354"/>
                    <a:pt x="479" y="2357"/>
                    <a:pt x="482" y="2357"/>
                  </a:cubicBezTo>
                  <a:cubicBezTo>
                    <a:pt x="482" y="2363"/>
                    <a:pt x="485" y="2371"/>
                    <a:pt x="485" y="2380"/>
                  </a:cubicBezTo>
                  <a:cubicBezTo>
                    <a:pt x="477" y="2383"/>
                    <a:pt x="463" y="2380"/>
                    <a:pt x="454" y="2380"/>
                  </a:cubicBezTo>
                  <a:close/>
                  <a:moveTo>
                    <a:pt x="460" y="2433"/>
                  </a:moveTo>
                  <a:cubicBezTo>
                    <a:pt x="479" y="2439"/>
                    <a:pt x="446" y="2453"/>
                    <a:pt x="460" y="2433"/>
                  </a:cubicBezTo>
                  <a:close/>
                  <a:moveTo>
                    <a:pt x="446" y="2422"/>
                  </a:moveTo>
                  <a:lnTo>
                    <a:pt x="440" y="2422"/>
                  </a:lnTo>
                  <a:cubicBezTo>
                    <a:pt x="426" y="2425"/>
                    <a:pt x="432" y="2402"/>
                    <a:pt x="429" y="2391"/>
                  </a:cubicBezTo>
                  <a:cubicBezTo>
                    <a:pt x="437" y="2396"/>
                    <a:pt x="442" y="2407"/>
                    <a:pt x="445" y="2421"/>
                  </a:cubicBezTo>
                  <a:cubicBezTo>
                    <a:pt x="445" y="2421"/>
                    <a:pt x="446" y="2421"/>
                    <a:pt x="446" y="2422"/>
                  </a:cubicBezTo>
                  <a:close/>
                  <a:moveTo>
                    <a:pt x="440" y="2431"/>
                  </a:moveTo>
                  <a:lnTo>
                    <a:pt x="440" y="2429"/>
                  </a:lnTo>
                  <a:cubicBezTo>
                    <a:pt x="441" y="2428"/>
                    <a:pt x="441" y="2428"/>
                    <a:pt x="440" y="2431"/>
                  </a:cubicBezTo>
                  <a:cubicBezTo>
                    <a:pt x="439" y="2432"/>
                    <a:pt x="439" y="2431"/>
                    <a:pt x="440" y="2429"/>
                  </a:cubicBezTo>
                  <a:lnTo>
                    <a:pt x="440" y="2431"/>
                  </a:lnTo>
                  <a:close/>
                  <a:moveTo>
                    <a:pt x="457" y="2354"/>
                  </a:moveTo>
                  <a:cubicBezTo>
                    <a:pt x="423" y="2343"/>
                    <a:pt x="448" y="2320"/>
                    <a:pt x="457" y="2354"/>
                  </a:cubicBezTo>
                  <a:close/>
                  <a:moveTo>
                    <a:pt x="417" y="2185"/>
                  </a:moveTo>
                  <a:cubicBezTo>
                    <a:pt x="406" y="2177"/>
                    <a:pt x="426" y="2157"/>
                    <a:pt x="432" y="2157"/>
                  </a:cubicBezTo>
                  <a:lnTo>
                    <a:pt x="423" y="2157"/>
                  </a:lnTo>
                  <a:cubicBezTo>
                    <a:pt x="426" y="2146"/>
                    <a:pt x="420" y="2146"/>
                    <a:pt x="423" y="2137"/>
                  </a:cubicBezTo>
                  <a:cubicBezTo>
                    <a:pt x="426" y="2137"/>
                    <a:pt x="432" y="2140"/>
                    <a:pt x="432" y="2146"/>
                  </a:cubicBezTo>
                  <a:cubicBezTo>
                    <a:pt x="448" y="2143"/>
                    <a:pt x="443" y="2160"/>
                    <a:pt x="457" y="2160"/>
                  </a:cubicBezTo>
                  <a:cubicBezTo>
                    <a:pt x="455" y="2168"/>
                    <a:pt x="443" y="2167"/>
                    <a:pt x="436" y="2162"/>
                  </a:cubicBezTo>
                  <a:cubicBezTo>
                    <a:pt x="438" y="2170"/>
                    <a:pt x="422" y="2181"/>
                    <a:pt x="417" y="2185"/>
                  </a:cubicBezTo>
                  <a:close/>
                  <a:moveTo>
                    <a:pt x="406" y="2346"/>
                  </a:moveTo>
                  <a:cubicBezTo>
                    <a:pt x="398" y="2343"/>
                    <a:pt x="403" y="2326"/>
                    <a:pt x="395" y="2326"/>
                  </a:cubicBezTo>
                  <a:cubicBezTo>
                    <a:pt x="392" y="2329"/>
                    <a:pt x="386" y="2326"/>
                    <a:pt x="389" y="2312"/>
                  </a:cubicBezTo>
                  <a:cubicBezTo>
                    <a:pt x="395" y="2312"/>
                    <a:pt x="400" y="2318"/>
                    <a:pt x="398" y="2320"/>
                  </a:cubicBezTo>
                  <a:cubicBezTo>
                    <a:pt x="403" y="2315"/>
                    <a:pt x="415" y="2332"/>
                    <a:pt x="423" y="2329"/>
                  </a:cubicBezTo>
                  <a:cubicBezTo>
                    <a:pt x="420" y="2337"/>
                    <a:pt x="415" y="2343"/>
                    <a:pt x="406" y="2346"/>
                  </a:cubicBezTo>
                  <a:close/>
                  <a:moveTo>
                    <a:pt x="415" y="2346"/>
                  </a:moveTo>
                  <a:lnTo>
                    <a:pt x="415" y="2345"/>
                  </a:lnTo>
                  <a:cubicBezTo>
                    <a:pt x="415" y="2346"/>
                    <a:pt x="416" y="2346"/>
                    <a:pt x="415" y="2346"/>
                  </a:cubicBezTo>
                  <a:cubicBezTo>
                    <a:pt x="411" y="2344"/>
                    <a:pt x="413" y="2345"/>
                    <a:pt x="415" y="2345"/>
                  </a:cubicBezTo>
                  <a:lnTo>
                    <a:pt x="415" y="2346"/>
                  </a:lnTo>
                  <a:close/>
                  <a:moveTo>
                    <a:pt x="398" y="2354"/>
                  </a:moveTo>
                  <a:cubicBezTo>
                    <a:pt x="407" y="2352"/>
                    <a:pt x="415" y="2355"/>
                    <a:pt x="423" y="2360"/>
                  </a:cubicBezTo>
                  <a:cubicBezTo>
                    <a:pt x="426" y="2357"/>
                    <a:pt x="434" y="2357"/>
                    <a:pt x="429" y="2346"/>
                  </a:cubicBezTo>
                  <a:cubicBezTo>
                    <a:pt x="446" y="2340"/>
                    <a:pt x="437" y="2363"/>
                    <a:pt x="426" y="2366"/>
                  </a:cubicBezTo>
                  <a:lnTo>
                    <a:pt x="429" y="2368"/>
                  </a:lnTo>
                  <a:cubicBezTo>
                    <a:pt x="417" y="2377"/>
                    <a:pt x="415" y="2368"/>
                    <a:pt x="403" y="2380"/>
                  </a:cubicBezTo>
                  <a:cubicBezTo>
                    <a:pt x="400" y="2374"/>
                    <a:pt x="392" y="2363"/>
                    <a:pt x="398" y="2354"/>
                  </a:cubicBezTo>
                  <a:close/>
                  <a:moveTo>
                    <a:pt x="384" y="2247"/>
                  </a:moveTo>
                  <a:lnTo>
                    <a:pt x="372" y="2247"/>
                  </a:lnTo>
                  <a:lnTo>
                    <a:pt x="372" y="2236"/>
                  </a:lnTo>
                  <a:cubicBezTo>
                    <a:pt x="375" y="2236"/>
                    <a:pt x="381" y="2233"/>
                    <a:pt x="384" y="2233"/>
                  </a:cubicBezTo>
                  <a:lnTo>
                    <a:pt x="384" y="2242"/>
                  </a:lnTo>
                  <a:cubicBezTo>
                    <a:pt x="384" y="2239"/>
                    <a:pt x="386" y="2233"/>
                    <a:pt x="392" y="2236"/>
                  </a:cubicBezTo>
                  <a:cubicBezTo>
                    <a:pt x="395" y="2242"/>
                    <a:pt x="392" y="2244"/>
                    <a:pt x="392" y="2250"/>
                  </a:cubicBezTo>
                  <a:cubicBezTo>
                    <a:pt x="389" y="2250"/>
                    <a:pt x="381" y="2250"/>
                    <a:pt x="384" y="2247"/>
                  </a:cubicBezTo>
                  <a:close/>
                  <a:moveTo>
                    <a:pt x="381" y="2278"/>
                  </a:moveTo>
                  <a:lnTo>
                    <a:pt x="379" y="2278"/>
                  </a:lnTo>
                  <a:cubicBezTo>
                    <a:pt x="380" y="2285"/>
                    <a:pt x="370" y="2293"/>
                    <a:pt x="372" y="2273"/>
                  </a:cubicBezTo>
                  <a:cubicBezTo>
                    <a:pt x="377" y="2273"/>
                    <a:pt x="379" y="2276"/>
                    <a:pt x="379" y="2278"/>
                  </a:cubicBezTo>
                  <a:cubicBezTo>
                    <a:pt x="380" y="2278"/>
                    <a:pt x="382" y="2278"/>
                    <a:pt x="381" y="2278"/>
                  </a:cubicBezTo>
                  <a:close/>
                  <a:moveTo>
                    <a:pt x="364" y="2098"/>
                  </a:moveTo>
                  <a:cubicBezTo>
                    <a:pt x="378" y="2098"/>
                    <a:pt x="386" y="2106"/>
                    <a:pt x="384" y="2120"/>
                  </a:cubicBezTo>
                  <a:cubicBezTo>
                    <a:pt x="372" y="2120"/>
                    <a:pt x="364" y="2115"/>
                    <a:pt x="364" y="2106"/>
                  </a:cubicBezTo>
                  <a:lnTo>
                    <a:pt x="361" y="2109"/>
                  </a:lnTo>
                  <a:cubicBezTo>
                    <a:pt x="361" y="2106"/>
                    <a:pt x="364" y="2103"/>
                    <a:pt x="364" y="2103"/>
                  </a:cubicBezTo>
                  <a:lnTo>
                    <a:pt x="364" y="2098"/>
                  </a:lnTo>
                  <a:close/>
                  <a:moveTo>
                    <a:pt x="378" y="2084"/>
                  </a:moveTo>
                  <a:lnTo>
                    <a:pt x="377" y="2084"/>
                  </a:lnTo>
                  <a:cubicBezTo>
                    <a:pt x="378" y="2083"/>
                    <a:pt x="378" y="2083"/>
                    <a:pt x="378" y="2084"/>
                  </a:cubicBezTo>
                  <a:cubicBezTo>
                    <a:pt x="376" y="2087"/>
                    <a:pt x="377" y="2085"/>
                    <a:pt x="377" y="2084"/>
                  </a:cubicBezTo>
                  <a:lnTo>
                    <a:pt x="378" y="2084"/>
                  </a:lnTo>
                  <a:close/>
                  <a:moveTo>
                    <a:pt x="437" y="2117"/>
                  </a:moveTo>
                  <a:cubicBezTo>
                    <a:pt x="440" y="2123"/>
                    <a:pt x="434" y="2126"/>
                    <a:pt x="437" y="2129"/>
                  </a:cubicBezTo>
                  <a:cubicBezTo>
                    <a:pt x="429" y="2134"/>
                    <a:pt x="429" y="2115"/>
                    <a:pt x="437" y="2117"/>
                  </a:cubicBezTo>
                  <a:close/>
                  <a:moveTo>
                    <a:pt x="443" y="2051"/>
                  </a:moveTo>
                  <a:cubicBezTo>
                    <a:pt x="444" y="2051"/>
                    <a:pt x="447" y="2053"/>
                    <a:pt x="443" y="2053"/>
                  </a:cubicBezTo>
                  <a:cubicBezTo>
                    <a:pt x="442" y="2052"/>
                    <a:pt x="442" y="2051"/>
                    <a:pt x="443" y="2051"/>
                  </a:cubicBezTo>
                  <a:close/>
                  <a:moveTo>
                    <a:pt x="485" y="536"/>
                  </a:moveTo>
                  <a:cubicBezTo>
                    <a:pt x="482" y="536"/>
                    <a:pt x="479" y="539"/>
                    <a:pt x="474" y="536"/>
                  </a:cubicBezTo>
                  <a:cubicBezTo>
                    <a:pt x="474" y="530"/>
                    <a:pt x="477" y="525"/>
                    <a:pt x="479" y="519"/>
                  </a:cubicBezTo>
                  <a:cubicBezTo>
                    <a:pt x="488" y="522"/>
                    <a:pt x="485" y="533"/>
                    <a:pt x="485" y="536"/>
                  </a:cubicBezTo>
                  <a:close/>
                  <a:moveTo>
                    <a:pt x="482" y="728"/>
                  </a:moveTo>
                  <a:cubicBezTo>
                    <a:pt x="488" y="742"/>
                    <a:pt x="460" y="733"/>
                    <a:pt x="482" y="728"/>
                  </a:cubicBezTo>
                  <a:close/>
                  <a:moveTo>
                    <a:pt x="454" y="2275"/>
                  </a:moveTo>
                  <a:cubicBezTo>
                    <a:pt x="451" y="2289"/>
                    <a:pt x="457" y="2289"/>
                    <a:pt x="451" y="2304"/>
                  </a:cubicBezTo>
                  <a:cubicBezTo>
                    <a:pt x="443" y="2298"/>
                    <a:pt x="448" y="2287"/>
                    <a:pt x="454" y="2275"/>
                  </a:cubicBezTo>
                  <a:lnTo>
                    <a:pt x="453" y="2274"/>
                  </a:lnTo>
                  <a:cubicBezTo>
                    <a:pt x="451" y="2279"/>
                    <a:pt x="448" y="2281"/>
                    <a:pt x="443" y="2284"/>
                  </a:cubicBezTo>
                  <a:cubicBezTo>
                    <a:pt x="437" y="2273"/>
                    <a:pt x="437" y="2262"/>
                    <a:pt x="440" y="2251"/>
                  </a:cubicBezTo>
                  <a:cubicBezTo>
                    <a:pt x="438" y="2255"/>
                    <a:pt x="424" y="2250"/>
                    <a:pt x="440" y="2244"/>
                  </a:cubicBezTo>
                  <a:lnTo>
                    <a:pt x="440" y="2250"/>
                  </a:lnTo>
                  <a:cubicBezTo>
                    <a:pt x="442" y="2244"/>
                    <a:pt x="444" y="2239"/>
                    <a:pt x="445" y="2234"/>
                  </a:cubicBezTo>
                  <a:cubicBezTo>
                    <a:pt x="441" y="2238"/>
                    <a:pt x="428" y="2232"/>
                    <a:pt x="446" y="2227"/>
                  </a:cubicBezTo>
                  <a:cubicBezTo>
                    <a:pt x="454" y="2239"/>
                    <a:pt x="454" y="2253"/>
                    <a:pt x="451" y="2267"/>
                  </a:cubicBezTo>
                  <a:cubicBezTo>
                    <a:pt x="454" y="2270"/>
                    <a:pt x="457" y="2273"/>
                    <a:pt x="454" y="2275"/>
                  </a:cubicBezTo>
                  <a:close/>
                  <a:moveTo>
                    <a:pt x="454" y="2273"/>
                  </a:moveTo>
                  <a:cubicBezTo>
                    <a:pt x="454" y="2273"/>
                    <a:pt x="456" y="2273"/>
                    <a:pt x="454" y="2273"/>
                  </a:cubicBezTo>
                  <a:close/>
                  <a:moveTo>
                    <a:pt x="451" y="2332"/>
                  </a:moveTo>
                  <a:cubicBezTo>
                    <a:pt x="448" y="2337"/>
                    <a:pt x="454" y="2329"/>
                    <a:pt x="451" y="2332"/>
                  </a:cubicBezTo>
                  <a:close/>
                  <a:moveTo>
                    <a:pt x="437" y="2185"/>
                  </a:moveTo>
                  <a:cubicBezTo>
                    <a:pt x="440" y="2182"/>
                    <a:pt x="443" y="2179"/>
                    <a:pt x="443" y="2174"/>
                  </a:cubicBezTo>
                  <a:cubicBezTo>
                    <a:pt x="446" y="2175"/>
                    <a:pt x="450" y="2177"/>
                    <a:pt x="454" y="2179"/>
                  </a:cubicBezTo>
                  <a:cubicBezTo>
                    <a:pt x="454" y="2178"/>
                    <a:pt x="456" y="2176"/>
                    <a:pt x="454" y="2179"/>
                  </a:cubicBezTo>
                  <a:lnTo>
                    <a:pt x="454" y="2180"/>
                  </a:lnTo>
                  <a:cubicBezTo>
                    <a:pt x="466" y="2187"/>
                    <a:pt x="478" y="2200"/>
                    <a:pt x="463" y="2213"/>
                  </a:cubicBezTo>
                  <a:cubicBezTo>
                    <a:pt x="463" y="2213"/>
                    <a:pt x="463" y="2212"/>
                    <a:pt x="463" y="2211"/>
                  </a:cubicBezTo>
                  <a:cubicBezTo>
                    <a:pt x="464" y="2210"/>
                    <a:pt x="465" y="2209"/>
                    <a:pt x="463" y="2205"/>
                  </a:cubicBezTo>
                  <a:cubicBezTo>
                    <a:pt x="460" y="2207"/>
                    <a:pt x="458" y="2209"/>
                    <a:pt x="455" y="2211"/>
                  </a:cubicBezTo>
                  <a:cubicBezTo>
                    <a:pt x="456" y="2211"/>
                    <a:pt x="457" y="2213"/>
                    <a:pt x="457" y="2214"/>
                  </a:cubicBezTo>
                  <a:cubicBezTo>
                    <a:pt x="458" y="2213"/>
                    <a:pt x="460" y="2212"/>
                    <a:pt x="461" y="2212"/>
                  </a:cubicBezTo>
                  <a:lnTo>
                    <a:pt x="458" y="2215"/>
                  </a:lnTo>
                  <a:cubicBezTo>
                    <a:pt x="458" y="2216"/>
                    <a:pt x="459" y="2216"/>
                    <a:pt x="460" y="2216"/>
                  </a:cubicBezTo>
                  <a:cubicBezTo>
                    <a:pt x="459" y="2216"/>
                    <a:pt x="458" y="2216"/>
                    <a:pt x="457" y="2216"/>
                  </a:cubicBezTo>
                  <a:lnTo>
                    <a:pt x="457" y="2216"/>
                  </a:lnTo>
                  <a:cubicBezTo>
                    <a:pt x="457" y="2216"/>
                    <a:pt x="457" y="2216"/>
                    <a:pt x="457" y="2215"/>
                  </a:cubicBezTo>
                  <a:cubicBezTo>
                    <a:pt x="456" y="2215"/>
                    <a:pt x="455" y="2214"/>
                    <a:pt x="454" y="2213"/>
                  </a:cubicBezTo>
                  <a:lnTo>
                    <a:pt x="452" y="2212"/>
                  </a:lnTo>
                  <a:cubicBezTo>
                    <a:pt x="446" y="2214"/>
                    <a:pt x="439" y="2214"/>
                    <a:pt x="432" y="2210"/>
                  </a:cubicBezTo>
                  <a:cubicBezTo>
                    <a:pt x="429" y="2199"/>
                    <a:pt x="432" y="2191"/>
                    <a:pt x="437" y="2185"/>
                  </a:cubicBezTo>
                  <a:close/>
                  <a:moveTo>
                    <a:pt x="465" y="2213"/>
                  </a:moveTo>
                  <a:cubicBezTo>
                    <a:pt x="464" y="2215"/>
                    <a:pt x="463" y="2215"/>
                    <a:pt x="463" y="2213"/>
                  </a:cubicBezTo>
                  <a:lnTo>
                    <a:pt x="465" y="2213"/>
                  </a:lnTo>
                  <a:close/>
                  <a:moveTo>
                    <a:pt x="463" y="2210"/>
                  </a:moveTo>
                  <a:lnTo>
                    <a:pt x="461" y="2212"/>
                  </a:lnTo>
                  <a:cubicBezTo>
                    <a:pt x="462" y="2212"/>
                    <a:pt x="462" y="2211"/>
                    <a:pt x="463" y="2211"/>
                  </a:cubicBezTo>
                  <a:cubicBezTo>
                    <a:pt x="463" y="2211"/>
                    <a:pt x="463" y="2211"/>
                    <a:pt x="463" y="2210"/>
                  </a:cubicBezTo>
                  <a:close/>
                  <a:moveTo>
                    <a:pt x="457" y="2216"/>
                  </a:moveTo>
                  <a:lnTo>
                    <a:pt x="457" y="2215"/>
                  </a:lnTo>
                  <a:cubicBezTo>
                    <a:pt x="457" y="2215"/>
                    <a:pt x="457" y="2215"/>
                    <a:pt x="457" y="2214"/>
                  </a:cubicBezTo>
                  <a:cubicBezTo>
                    <a:pt x="458" y="2215"/>
                    <a:pt x="458" y="2215"/>
                    <a:pt x="458" y="2215"/>
                  </a:cubicBezTo>
                  <a:cubicBezTo>
                    <a:pt x="458" y="2215"/>
                    <a:pt x="458" y="2215"/>
                    <a:pt x="457" y="2216"/>
                  </a:cubicBezTo>
                  <a:close/>
                  <a:moveTo>
                    <a:pt x="468" y="2120"/>
                  </a:moveTo>
                  <a:cubicBezTo>
                    <a:pt x="468" y="2115"/>
                    <a:pt x="471" y="2115"/>
                    <a:pt x="474" y="2112"/>
                  </a:cubicBezTo>
                  <a:cubicBezTo>
                    <a:pt x="477" y="2109"/>
                    <a:pt x="474" y="2109"/>
                    <a:pt x="477" y="2106"/>
                  </a:cubicBezTo>
                  <a:cubicBezTo>
                    <a:pt x="477" y="2109"/>
                    <a:pt x="479" y="2112"/>
                    <a:pt x="477" y="2115"/>
                  </a:cubicBezTo>
                  <a:cubicBezTo>
                    <a:pt x="474" y="2120"/>
                    <a:pt x="468" y="2120"/>
                    <a:pt x="471" y="2126"/>
                  </a:cubicBezTo>
                  <a:cubicBezTo>
                    <a:pt x="494" y="2137"/>
                    <a:pt x="448" y="2129"/>
                    <a:pt x="468" y="2120"/>
                  </a:cubicBezTo>
                  <a:close/>
                  <a:moveTo>
                    <a:pt x="465" y="2275"/>
                  </a:moveTo>
                  <a:cubicBezTo>
                    <a:pt x="465" y="2270"/>
                    <a:pt x="477" y="2281"/>
                    <a:pt x="465" y="2275"/>
                  </a:cubicBezTo>
                  <a:close/>
                  <a:moveTo>
                    <a:pt x="465" y="770"/>
                  </a:moveTo>
                  <a:cubicBezTo>
                    <a:pt x="465" y="762"/>
                    <a:pt x="477" y="773"/>
                    <a:pt x="465" y="770"/>
                  </a:cubicBezTo>
                  <a:close/>
                  <a:moveTo>
                    <a:pt x="468" y="1928"/>
                  </a:moveTo>
                  <a:cubicBezTo>
                    <a:pt x="468" y="1931"/>
                    <a:pt x="465" y="1934"/>
                    <a:pt x="463" y="1937"/>
                  </a:cubicBezTo>
                  <a:cubicBezTo>
                    <a:pt x="460" y="1940"/>
                    <a:pt x="460" y="1943"/>
                    <a:pt x="454" y="1943"/>
                  </a:cubicBezTo>
                  <a:cubicBezTo>
                    <a:pt x="454" y="1940"/>
                    <a:pt x="457" y="1934"/>
                    <a:pt x="460" y="1934"/>
                  </a:cubicBezTo>
                  <a:cubicBezTo>
                    <a:pt x="463" y="1931"/>
                    <a:pt x="463" y="1931"/>
                    <a:pt x="468" y="1928"/>
                  </a:cubicBezTo>
                  <a:close/>
                  <a:moveTo>
                    <a:pt x="463" y="2067"/>
                  </a:moveTo>
                  <a:cubicBezTo>
                    <a:pt x="460" y="2072"/>
                    <a:pt x="465" y="2064"/>
                    <a:pt x="463" y="2067"/>
                  </a:cubicBezTo>
                  <a:close/>
                  <a:moveTo>
                    <a:pt x="457" y="2225"/>
                  </a:moveTo>
                  <a:cubicBezTo>
                    <a:pt x="454" y="2225"/>
                    <a:pt x="448" y="2227"/>
                    <a:pt x="446" y="2227"/>
                  </a:cubicBezTo>
                  <a:cubicBezTo>
                    <a:pt x="440" y="2213"/>
                    <a:pt x="451" y="2210"/>
                    <a:pt x="457" y="2225"/>
                  </a:cubicBezTo>
                  <a:close/>
                  <a:moveTo>
                    <a:pt x="454" y="2242"/>
                  </a:moveTo>
                  <a:lnTo>
                    <a:pt x="454" y="2240"/>
                  </a:lnTo>
                  <a:cubicBezTo>
                    <a:pt x="455" y="2241"/>
                    <a:pt x="455" y="2242"/>
                    <a:pt x="454" y="2242"/>
                  </a:cubicBezTo>
                  <a:cubicBezTo>
                    <a:pt x="453" y="2240"/>
                    <a:pt x="453" y="2240"/>
                    <a:pt x="454" y="2240"/>
                  </a:cubicBezTo>
                  <a:lnTo>
                    <a:pt x="454" y="2242"/>
                  </a:lnTo>
                  <a:close/>
                  <a:moveTo>
                    <a:pt x="457" y="2264"/>
                  </a:moveTo>
                  <a:cubicBezTo>
                    <a:pt x="477" y="2267"/>
                    <a:pt x="448" y="2295"/>
                    <a:pt x="457" y="2264"/>
                  </a:cubicBezTo>
                  <a:close/>
                  <a:moveTo>
                    <a:pt x="460" y="2304"/>
                  </a:moveTo>
                  <a:cubicBezTo>
                    <a:pt x="465" y="2304"/>
                    <a:pt x="471" y="2304"/>
                    <a:pt x="477" y="2301"/>
                  </a:cubicBezTo>
                  <a:cubicBezTo>
                    <a:pt x="485" y="2315"/>
                    <a:pt x="454" y="2320"/>
                    <a:pt x="460" y="2304"/>
                  </a:cubicBezTo>
                  <a:close/>
                  <a:moveTo>
                    <a:pt x="474" y="2092"/>
                  </a:moveTo>
                  <a:cubicBezTo>
                    <a:pt x="474" y="2086"/>
                    <a:pt x="482" y="2098"/>
                    <a:pt x="474" y="2092"/>
                  </a:cubicBezTo>
                  <a:close/>
                  <a:moveTo>
                    <a:pt x="478" y="2078"/>
                  </a:moveTo>
                  <a:cubicBezTo>
                    <a:pt x="478" y="2079"/>
                    <a:pt x="477" y="2082"/>
                    <a:pt x="477" y="2078"/>
                  </a:cubicBezTo>
                  <a:cubicBezTo>
                    <a:pt x="478" y="2077"/>
                    <a:pt x="478" y="2077"/>
                    <a:pt x="478" y="2078"/>
                  </a:cubicBezTo>
                  <a:close/>
                  <a:moveTo>
                    <a:pt x="479" y="742"/>
                  </a:moveTo>
                  <a:cubicBezTo>
                    <a:pt x="482" y="747"/>
                    <a:pt x="471" y="747"/>
                    <a:pt x="468" y="747"/>
                  </a:cubicBezTo>
                  <a:cubicBezTo>
                    <a:pt x="471" y="745"/>
                    <a:pt x="474" y="742"/>
                    <a:pt x="479" y="742"/>
                  </a:cubicBezTo>
                  <a:close/>
                  <a:moveTo>
                    <a:pt x="463" y="536"/>
                  </a:moveTo>
                  <a:cubicBezTo>
                    <a:pt x="457" y="533"/>
                    <a:pt x="468" y="525"/>
                    <a:pt x="474" y="527"/>
                  </a:cubicBezTo>
                  <a:cubicBezTo>
                    <a:pt x="471" y="530"/>
                    <a:pt x="463" y="530"/>
                    <a:pt x="463" y="536"/>
                  </a:cubicBezTo>
                  <a:close/>
                  <a:moveTo>
                    <a:pt x="465" y="742"/>
                  </a:moveTo>
                  <a:cubicBezTo>
                    <a:pt x="468" y="742"/>
                    <a:pt x="460" y="739"/>
                    <a:pt x="465" y="742"/>
                  </a:cubicBezTo>
                  <a:close/>
                  <a:moveTo>
                    <a:pt x="465" y="1830"/>
                  </a:moveTo>
                  <a:cubicBezTo>
                    <a:pt x="465" y="1835"/>
                    <a:pt x="463" y="1841"/>
                    <a:pt x="463" y="1847"/>
                  </a:cubicBezTo>
                  <a:cubicBezTo>
                    <a:pt x="454" y="1847"/>
                    <a:pt x="454" y="1827"/>
                    <a:pt x="465" y="1830"/>
                  </a:cubicBezTo>
                  <a:close/>
                  <a:moveTo>
                    <a:pt x="460" y="790"/>
                  </a:moveTo>
                  <a:lnTo>
                    <a:pt x="451" y="787"/>
                  </a:lnTo>
                  <a:cubicBezTo>
                    <a:pt x="451" y="784"/>
                    <a:pt x="465" y="784"/>
                    <a:pt x="460" y="790"/>
                  </a:cubicBezTo>
                  <a:close/>
                  <a:moveTo>
                    <a:pt x="429" y="2081"/>
                  </a:moveTo>
                  <a:cubicBezTo>
                    <a:pt x="423" y="2084"/>
                    <a:pt x="420" y="2078"/>
                    <a:pt x="417" y="2081"/>
                  </a:cubicBezTo>
                  <a:cubicBezTo>
                    <a:pt x="412" y="2075"/>
                    <a:pt x="432" y="2072"/>
                    <a:pt x="429" y="2081"/>
                  </a:cubicBezTo>
                  <a:close/>
                  <a:moveTo>
                    <a:pt x="403" y="2182"/>
                  </a:moveTo>
                  <a:cubicBezTo>
                    <a:pt x="437" y="2182"/>
                    <a:pt x="415" y="2216"/>
                    <a:pt x="403" y="2182"/>
                  </a:cubicBezTo>
                  <a:close/>
                  <a:moveTo>
                    <a:pt x="412" y="2250"/>
                  </a:moveTo>
                  <a:cubicBezTo>
                    <a:pt x="415" y="2250"/>
                    <a:pt x="409" y="2256"/>
                    <a:pt x="412" y="2250"/>
                  </a:cubicBezTo>
                  <a:close/>
                  <a:moveTo>
                    <a:pt x="409" y="2222"/>
                  </a:moveTo>
                  <a:cubicBezTo>
                    <a:pt x="409" y="2219"/>
                    <a:pt x="406" y="2227"/>
                    <a:pt x="409" y="2222"/>
                  </a:cubicBezTo>
                  <a:close/>
                  <a:moveTo>
                    <a:pt x="412" y="1759"/>
                  </a:moveTo>
                  <a:cubicBezTo>
                    <a:pt x="406" y="1773"/>
                    <a:pt x="403" y="1748"/>
                    <a:pt x="412" y="1759"/>
                  </a:cubicBezTo>
                  <a:close/>
                  <a:moveTo>
                    <a:pt x="409" y="702"/>
                  </a:moveTo>
                  <a:cubicBezTo>
                    <a:pt x="409" y="702"/>
                    <a:pt x="410" y="702"/>
                    <a:pt x="409" y="702"/>
                  </a:cubicBezTo>
                  <a:close/>
                  <a:moveTo>
                    <a:pt x="417" y="2157"/>
                  </a:moveTo>
                  <a:cubicBezTo>
                    <a:pt x="412" y="2171"/>
                    <a:pt x="403" y="2148"/>
                    <a:pt x="417" y="2157"/>
                  </a:cubicBezTo>
                  <a:close/>
                  <a:moveTo>
                    <a:pt x="409" y="2126"/>
                  </a:moveTo>
                  <a:cubicBezTo>
                    <a:pt x="412" y="2126"/>
                    <a:pt x="409" y="2131"/>
                    <a:pt x="409" y="2126"/>
                  </a:cubicBezTo>
                  <a:close/>
                  <a:moveTo>
                    <a:pt x="415" y="1999"/>
                  </a:moveTo>
                  <a:cubicBezTo>
                    <a:pt x="417" y="1990"/>
                    <a:pt x="420" y="2007"/>
                    <a:pt x="415" y="1999"/>
                  </a:cubicBezTo>
                  <a:close/>
                  <a:moveTo>
                    <a:pt x="423" y="1993"/>
                  </a:moveTo>
                  <a:cubicBezTo>
                    <a:pt x="420" y="1993"/>
                    <a:pt x="417" y="1993"/>
                    <a:pt x="415" y="1988"/>
                  </a:cubicBezTo>
                  <a:lnTo>
                    <a:pt x="415" y="1985"/>
                  </a:lnTo>
                  <a:lnTo>
                    <a:pt x="420" y="1985"/>
                  </a:lnTo>
                  <a:cubicBezTo>
                    <a:pt x="423" y="1988"/>
                    <a:pt x="423" y="1990"/>
                    <a:pt x="423" y="1993"/>
                  </a:cubicBezTo>
                  <a:close/>
                  <a:moveTo>
                    <a:pt x="415" y="1974"/>
                  </a:moveTo>
                  <a:cubicBezTo>
                    <a:pt x="415" y="1968"/>
                    <a:pt x="423" y="1976"/>
                    <a:pt x="415" y="1974"/>
                  </a:cubicBezTo>
                  <a:close/>
                  <a:moveTo>
                    <a:pt x="417" y="812"/>
                  </a:moveTo>
                  <a:lnTo>
                    <a:pt x="420" y="815"/>
                  </a:lnTo>
                  <a:lnTo>
                    <a:pt x="417" y="815"/>
                  </a:lnTo>
                  <a:lnTo>
                    <a:pt x="417" y="812"/>
                  </a:lnTo>
                  <a:close/>
                  <a:moveTo>
                    <a:pt x="409" y="553"/>
                  </a:moveTo>
                  <a:cubicBezTo>
                    <a:pt x="409" y="548"/>
                    <a:pt x="414" y="547"/>
                    <a:pt x="414" y="545"/>
                  </a:cubicBezTo>
                  <a:cubicBezTo>
                    <a:pt x="413" y="546"/>
                    <a:pt x="409" y="546"/>
                    <a:pt x="403" y="544"/>
                  </a:cubicBezTo>
                  <a:cubicBezTo>
                    <a:pt x="405" y="539"/>
                    <a:pt x="407" y="536"/>
                    <a:pt x="409" y="536"/>
                  </a:cubicBezTo>
                  <a:lnTo>
                    <a:pt x="409" y="536"/>
                  </a:lnTo>
                  <a:cubicBezTo>
                    <a:pt x="406" y="527"/>
                    <a:pt x="417" y="530"/>
                    <a:pt x="417" y="527"/>
                  </a:cubicBezTo>
                  <a:cubicBezTo>
                    <a:pt x="425" y="530"/>
                    <a:pt x="419" y="537"/>
                    <a:pt x="412" y="536"/>
                  </a:cubicBezTo>
                  <a:cubicBezTo>
                    <a:pt x="415" y="538"/>
                    <a:pt x="417" y="543"/>
                    <a:pt x="415" y="545"/>
                  </a:cubicBezTo>
                  <a:cubicBezTo>
                    <a:pt x="417" y="550"/>
                    <a:pt x="418" y="550"/>
                    <a:pt x="423" y="556"/>
                  </a:cubicBezTo>
                  <a:cubicBezTo>
                    <a:pt x="417" y="556"/>
                    <a:pt x="417" y="550"/>
                    <a:pt x="409" y="553"/>
                  </a:cubicBezTo>
                  <a:close/>
                  <a:moveTo>
                    <a:pt x="415" y="652"/>
                  </a:moveTo>
                  <a:cubicBezTo>
                    <a:pt x="415" y="671"/>
                    <a:pt x="395" y="640"/>
                    <a:pt x="415" y="652"/>
                  </a:cubicBezTo>
                  <a:close/>
                  <a:moveTo>
                    <a:pt x="409" y="691"/>
                  </a:moveTo>
                  <a:lnTo>
                    <a:pt x="403" y="691"/>
                  </a:lnTo>
                  <a:cubicBezTo>
                    <a:pt x="403" y="688"/>
                    <a:pt x="403" y="688"/>
                    <a:pt x="400" y="688"/>
                  </a:cubicBezTo>
                  <a:cubicBezTo>
                    <a:pt x="400" y="685"/>
                    <a:pt x="412" y="685"/>
                    <a:pt x="409" y="691"/>
                  </a:cubicBezTo>
                  <a:close/>
                  <a:moveTo>
                    <a:pt x="398" y="1878"/>
                  </a:moveTo>
                  <a:cubicBezTo>
                    <a:pt x="400" y="1869"/>
                    <a:pt x="412" y="1880"/>
                    <a:pt x="398" y="1878"/>
                  </a:cubicBezTo>
                  <a:close/>
                  <a:moveTo>
                    <a:pt x="398" y="1985"/>
                  </a:moveTo>
                  <a:cubicBezTo>
                    <a:pt x="403" y="1982"/>
                    <a:pt x="392" y="1993"/>
                    <a:pt x="398" y="1985"/>
                  </a:cubicBezTo>
                  <a:close/>
                  <a:moveTo>
                    <a:pt x="403" y="2287"/>
                  </a:moveTo>
                  <a:cubicBezTo>
                    <a:pt x="403" y="2292"/>
                    <a:pt x="403" y="2295"/>
                    <a:pt x="400" y="2301"/>
                  </a:cubicBezTo>
                  <a:lnTo>
                    <a:pt x="406" y="2301"/>
                  </a:lnTo>
                  <a:cubicBezTo>
                    <a:pt x="406" y="2304"/>
                    <a:pt x="403" y="2304"/>
                    <a:pt x="403" y="2306"/>
                  </a:cubicBezTo>
                  <a:lnTo>
                    <a:pt x="400" y="2306"/>
                  </a:lnTo>
                  <a:cubicBezTo>
                    <a:pt x="392" y="2309"/>
                    <a:pt x="386" y="2304"/>
                    <a:pt x="386" y="2298"/>
                  </a:cubicBezTo>
                  <a:lnTo>
                    <a:pt x="386" y="2289"/>
                  </a:lnTo>
                  <a:lnTo>
                    <a:pt x="395" y="2289"/>
                  </a:lnTo>
                  <a:cubicBezTo>
                    <a:pt x="398" y="2289"/>
                    <a:pt x="400" y="2287"/>
                    <a:pt x="403" y="2287"/>
                  </a:cubicBezTo>
                  <a:close/>
                  <a:moveTo>
                    <a:pt x="369" y="2140"/>
                  </a:moveTo>
                  <a:cubicBezTo>
                    <a:pt x="375" y="2120"/>
                    <a:pt x="386" y="2146"/>
                    <a:pt x="398" y="2140"/>
                  </a:cubicBezTo>
                  <a:cubicBezTo>
                    <a:pt x="398" y="2157"/>
                    <a:pt x="372" y="2143"/>
                    <a:pt x="369" y="2140"/>
                  </a:cubicBezTo>
                  <a:close/>
                  <a:moveTo>
                    <a:pt x="381" y="2160"/>
                  </a:moveTo>
                  <a:cubicBezTo>
                    <a:pt x="381" y="2160"/>
                    <a:pt x="379" y="2163"/>
                    <a:pt x="381" y="2160"/>
                  </a:cubicBezTo>
                  <a:close/>
                  <a:moveTo>
                    <a:pt x="384" y="2021"/>
                  </a:moveTo>
                  <a:cubicBezTo>
                    <a:pt x="386" y="2016"/>
                    <a:pt x="395" y="2024"/>
                    <a:pt x="384" y="2021"/>
                  </a:cubicBezTo>
                  <a:close/>
                  <a:moveTo>
                    <a:pt x="386" y="1945"/>
                  </a:moveTo>
                  <a:cubicBezTo>
                    <a:pt x="386" y="1940"/>
                    <a:pt x="398" y="1948"/>
                    <a:pt x="386" y="1945"/>
                  </a:cubicBezTo>
                  <a:close/>
                  <a:moveTo>
                    <a:pt x="386" y="2134"/>
                  </a:moveTo>
                  <a:cubicBezTo>
                    <a:pt x="372" y="2129"/>
                    <a:pt x="403" y="2120"/>
                    <a:pt x="386" y="2134"/>
                  </a:cubicBezTo>
                  <a:close/>
                  <a:moveTo>
                    <a:pt x="398" y="2163"/>
                  </a:moveTo>
                  <a:cubicBezTo>
                    <a:pt x="395" y="2165"/>
                    <a:pt x="398" y="2157"/>
                    <a:pt x="398" y="2163"/>
                  </a:cubicBezTo>
                  <a:close/>
                  <a:moveTo>
                    <a:pt x="398" y="1889"/>
                  </a:moveTo>
                  <a:cubicBezTo>
                    <a:pt x="398" y="1895"/>
                    <a:pt x="392" y="1897"/>
                    <a:pt x="386" y="1897"/>
                  </a:cubicBezTo>
                  <a:cubicBezTo>
                    <a:pt x="386" y="1892"/>
                    <a:pt x="392" y="1889"/>
                    <a:pt x="398" y="1889"/>
                  </a:cubicBezTo>
                  <a:close/>
                  <a:moveTo>
                    <a:pt x="389" y="635"/>
                  </a:moveTo>
                  <a:lnTo>
                    <a:pt x="389" y="623"/>
                  </a:lnTo>
                  <a:cubicBezTo>
                    <a:pt x="392" y="623"/>
                    <a:pt x="395" y="626"/>
                    <a:pt x="398" y="626"/>
                  </a:cubicBezTo>
                  <a:cubicBezTo>
                    <a:pt x="395" y="629"/>
                    <a:pt x="395" y="635"/>
                    <a:pt x="389" y="635"/>
                  </a:cubicBezTo>
                  <a:close/>
                  <a:moveTo>
                    <a:pt x="398" y="1920"/>
                  </a:moveTo>
                  <a:cubicBezTo>
                    <a:pt x="392" y="1926"/>
                    <a:pt x="389" y="1934"/>
                    <a:pt x="389" y="1943"/>
                  </a:cubicBezTo>
                  <a:cubicBezTo>
                    <a:pt x="384" y="1943"/>
                    <a:pt x="381" y="1937"/>
                    <a:pt x="375" y="1937"/>
                  </a:cubicBezTo>
                  <a:lnTo>
                    <a:pt x="375" y="1920"/>
                  </a:lnTo>
                  <a:lnTo>
                    <a:pt x="398" y="1920"/>
                  </a:lnTo>
                  <a:close/>
                  <a:moveTo>
                    <a:pt x="361" y="2227"/>
                  </a:moveTo>
                  <a:cubicBezTo>
                    <a:pt x="375" y="2227"/>
                    <a:pt x="358" y="2250"/>
                    <a:pt x="361" y="2227"/>
                  </a:cubicBezTo>
                  <a:close/>
                  <a:moveTo>
                    <a:pt x="367" y="2292"/>
                  </a:moveTo>
                  <a:cubicBezTo>
                    <a:pt x="352" y="2295"/>
                    <a:pt x="367" y="2273"/>
                    <a:pt x="367" y="2292"/>
                  </a:cubicBezTo>
                  <a:close/>
                  <a:moveTo>
                    <a:pt x="369" y="2264"/>
                  </a:moveTo>
                  <a:cubicBezTo>
                    <a:pt x="372" y="2270"/>
                    <a:pt x="367" y="2273"/>
                    <a:pt x="369" y="2275"/>
                  </a:cubicBezTo>
                  <a:cubicBezTo>
                    <a:pt x="361" y="2281"/>
                    <a:pt x="361" y="2261"/>
                    <a:pt x="369" y="2264"/>
                  </a:cubicBezTo>
                  <a:close/>
                  <a:moveTo>
                    <a:pt x="367" y="2202"/>
                  </a:moveTo>
                  <a:lnTo>
                    <a:pt x="375" y="2202"/>
                  </a:lnTo>
                  <a:cubicBezTo>
                    <a:pt x="372" y="2196"/>
                    <a:pt x="381" y="2182"/>
                    <a:pt x="384" y="2179"/>
                  </a:cubicBezTo>
                  <a:cubicBezTo>
                    <a:pt x="398" y="2182"/>
                    <a:pt x="381" y="2188"/>
                    <a:pt x="384" y="2202"/>
                  </a:cubicBezTo>
                  <a:cubicBezTo>
                    <a:pt x="384" y="2199"/>
                    <a:pt x="386" y="2196"/>
                    <a:pt x="386" y="2194"/>
                  </a:cubicBezTo>
                  <a:cubicBezTo>
                    <a:pt x="400" y="2185"/>
                    <a:pt x="384" y="2216"/>
                    <a:pt x="389" y="2230"/>
                  </a:cubicBezTo>
                  <a:cubicBezTo>
                    <a:pt x="381" y="2227"/>
                    <a:pt x="375" y="2222"/>
                    <a:pt x="378" y="2216"/>
                  </a:cubicBezTo>
                  <a:cubicBezTo>
                    <a:pt x="372" y="2213"/>
                    <a:pt x="369" y="2205"/>
                    <a:pt x="367" y="2202"/>
                  </a:cubicBezTo>
                  <a:close/>
                  <a:moveTo>
                    <a:pt x="412" y="2289"/>
                  </a:moveTo>
                  <a:lnTo>
                    <a:pt x="412" y="2278"/>
                  </a:lnTo>
                  <a:lnTo>
                    <a:pt x="423" y="2278"/>
                  </a:lnTo>
                  <a:cubicBezTo>
                    <a:pt x="423" y="2281"/>
                    <a:pt x="426" y="2287"/>
                    <a:pt x="426" y="2289"/>
                  </a:cubicBezTo>
                  <a:cubicBezTo>
                    <a:pt x="423" y="2287"/>
                    <a:pt x="415" y="2289"/>
                    <a:pt x="412" y="2289"/>
                  </a:cubicBezTo>
                  <a:close/>
                  <a:moveTo>
                    <a:pt x="420" y="2295"/>
                  </a:moveTo>
                  <a:cubicBezTo>
                    <a:pt x="434" y="2292"/>
                    <a:pt x="417" y="2318"/>
                    <a:pt x="420" y="2295"/>
                  </a:cubicBezTo>
                  <a:close/>
                  <a:moveTo>
                    <a:pt x="429" y="2312"/>
                  </a:moveTo>
                  <a:lnTo>
                    <a:pt x="434" y="2312"/>
                  </a:lnTo>
                  <a:cubicBezTo>
                    <a:pt x="437" y="2306"/>
                    <a:pt x="443" y="2306"/>
                    <a:pt x="446" y="2306"/>
                  </a:cubicBezTo>
                  <a:cubicBezTo>
                    <a:pt x="448" y="2315"/>
                    <a:pt x="443" y="2318"/>
                    <a:pt x="437" y="2320"/>
                  </a:cubicBezTo>
                  <a:cubicBezTo>
                    <a:pt x="440" y="2326"/>
                    <a:pt x="423" y="2332"/>
                    <a:pt x="429" y="2312"/>
                  </a:cubicBezTo>
                  <a:close/>
                  <a:moveTo>
                    <a:pt x="474" y="2397"/>
                  </a:moveTo>
                  <a:cubicBezTo>
                    <a:pt x="494" y="2402"/>
                    <a:pt x="460" y="2416"/>
                    <a:pt x="474" y="2397"/>
                  </a:cubicBezTo>
                  <a:close/>
                  <a:moveTo>
                    <a:pt x="468" y="2419"/>
                  </a:moveTo>
                  <a:cubicBezTo>
                    <a:pt x="474" y="2419"/>
                    <a:pt x="474" y="2416"/>
                    <a:pt x="477" y="2414"/>
                  </a:cubicBezTo>
                  <a:cubicBezTo>
                    <a:pt x="488" y="2411"/>
                    <a:pt x="487" y="2432"/>
                    <a:pt x="478" y="2437"/>
                  </a:cubicBezTo>
                  <a:cubicBezTo>
                    <a:pt x="487" y="2437"/>
                    <a:pt x="494" y="2451"/>
                    <a:pt x="479" y="2473"/>
                  </a:cubicBezTo>
                  <a:cubicBezTo>
                    <a:pt x="474" y="2476"/>
                    <a:pt x="468" y="2470"/>
                    <a:pt x="463" y="2473"/>
                  </a:cubicBezTo>
                  <a:cubicBezTo>
                    <a:pt x="460" y="2451"/>
                    <a:pt x="467" y="2440"/>
                    <a:pt x="474" y="2437"/>
                  </a:cubicBezTo>
                  <a:cubicBezTo>
                    <a:pt x="473" y="2437"/>
                    <a:pt x="472" y="2437"/>
                    <a:pt x="471" y="2436"/>
                  </a:cubicBezTo>
                  <a:cubicBezTo>
                    <a:pt x="468" y="2428"/>
                    <a:pt x="468" y="2422"/>
                    <a:pt x="468" y="2419"/>
                  </a:cubicBezTo>
                  <a:close/>
                  <a:moveTo>
                    <a:pt x="479" y="1835"/>
                  </a:moveTo>
                  <a:lnTo>
                    <a:pt x="479" y="1827"/>
                  </a:lnTo>
                  <a:cubicBezTo>
                    <a:pt x="485" y="1824"/>
                    <a:pt x="485" y="1838"/>
                    <a:pt x="479" y="1835"/>
                  </a:cubicBezTo>
                  <a:close/>
                  <a:moveTo>
                    <a:pt x="474" y="485"/>
                  </a:moveTo>
                  <a:cubicBezTo>
                    <a:pt x="468" y="471"/>
                    <a:pt x="491" y="468"/>
                    <a:pt x="479" y="454"/>
                  </a:cubicBezTo>
                  <a:cubicBezTo>
                    <a:pt x="482" y="451"/>
                    <a:pt x="485" y="451"/>
                    <a:pt x="485" y="454"/>
                  </a:cubicBezTo>
                  <a:lnTo>
                    <a:pt x="485" y="457"/>
                  </a:lnTo>
                  <a:cubicBezTo>
                    <a:pt x="488" y="454"/>
                    <a:pt x="494" y="454"/>
                    <a:pt x="496" y="451"/>
                  </a:cubicBezTo>
                  <a:cubicBezTo>
                    <a:pt x="499" y="465"/>
                    <a:pt x="488" y="479"/>
                    <a:pt x="474" y="485"/>
                  </a:cubicBezTo>
                  <a:close/>
                  <a:moveTo>
                    <a:pt x="499" y="750"/>
                  </a:moveTo>
                  <a:cubicBezTo>
                    <a:pt x="499" y="751"/>
                    <a:pt x="498" y="752"/>
                    <a:pt x="498" y="752"/>
                  </a:cubicBezTo>
                  <a:cubicBezTo>
                    <a:pt x="498" y="753"/>
                    <a:pt x="499" y="752"/>
                    <a:pt x="499" y="750"/>
                  </a:cubicBezTo>
                  <a:close/>
                  <a:moveTo>
                    <a:pt x="505" y="773"/>
                  </a:moveTo>
                  <a:cubicBezTo>
                    <a:pt x="496" y="764"/>
                    <a:pt x="499" y="759"/>
                    <a:pt x="499" y="750"/>
                  </a:cubicBezTo>
                  <a:cubicBezTo>
                    <a:pt x="513" y="745"/>
                    <a:pt x="522" y="767"/>
                    <a:pt x="505" y="773"/>
                  </a:cubicBezTo>
                  <a:close/>
                  <a:moveTo>
                    <a:pt x="499" y="750"/>
                  </a:moveTo>
                  <a:cubicBezTo>
                    <a:pt x="498" y="751"/>
                    <a:pt x="498" y="752"/>
                    <a:pt x="498" y="752"/>
                  </a:cubicBezTo>
                  <a:cubicBezTo>
                    <a:pt x="495" y="756"/>
                    <a:pt x="492" y="755"/>
                    <a:pt x="499" y="750"/>
                  </a:cubicBezTo>
                  <a:close/>
                  <a:moveTo>
                    <a:pt x="513" y="1357"/>
                  </a:moveTo>
                  <a:cubicBezTo>
                    <a:pt x="513" y="1362"/>
                    <a:pt x="505" y="1362"/>
                    <a:pt x="499" y="1365"/>
                  </a:cubicBezTo>
                  <a:cubicBezTo>
                    <a:pt x="499" y="1360"/>
                    <a:pt x="511" y="1351"/>
                    <a:pt x="513" y="1357"/>
                  </a:cubicBezTo>
                  <a:close/>
                  <a:moveTo>
                    <a:pt x="511" y="1745"/>
                  </a:moveTo>
                  <a:cubicBezTo>
                    <a:pt x="519" y="1745"/>
                    <a:pt x="511" y="1756"/>
                    <a:pt x="502" y="1754"/>
                  </a:cubicBezTo>
                  <a:cubicBezTo>
                    <a:pt x="502" y="1748"/>
                    <a:pt x="513" y="1751"/>
                    <a:pt x="511" y="1745"/>
                  </a:cubicBezTo>
                  <a:close/>
                  <a:moveTo>
                    <a:pt x="513" y="2419"/>
                  </a:moveTo>
                  <a:cubicBezTo>
                    <a:pt x="511" y="2422"/>
                    <a:pt x="513" y="2416"/>
                    <a:pt x="513" y="2419"/>
                  </a:cubicBezTo>
                  <a:close/>
                  <a:moveTo>
                    <a:pt x="522" y="2385"/>
                  </a:moveTo>
                  <a:cubicBezTo>
                    <a:pt x="542" y="2397"/>
                    <a:pt x="530" y="2419"/>
                    <a:pt x="530" y="2442"/>
                  </a:cubicBezTo>
                  <a:lnTo>
                    <a:pt x="508" y="2442"/>
                  </a:lnTo>
                  <a:cubicBezTo>
                    <a:pt x="525" y="2416"/>
                    <a:pt x="513" y="2405"/>
                    <a:pt x="522" y="2385"/>
                  </a:cubicBezTo>
                  <a:close/>
                  <a:moveTo>
                    <a:pt x="525" y="516"/>
                  </a:moveTo>
                  <a:cubicBezTo>
                    <a:pt x="530" y="513"/>
                    <a:pt x="533" y="542"/>
                    <a:pt x="519" y="544"/>
                  </a:cubicBezTo>
                  <a:cubicBezTo>
                    <a:pt x="513" y="533"/>
                    <a:pt x="525" y="525"/>
                    <a:pt x="525" y="516"/>
                  </a:cubicBezTo>
                  <a:close/>
                  <a:moveTo>
                    <a:pt x="536" y="1731"/>
                  </a:moveTo>
                  <a:cubicBezTo>
                    <a:pt x="536" y="1745"/>
                    <a:pt x="508" y="1737"/>
                    <a:pt x="536" y="1731"/>
                  </a:cubicBezTo>
                  <a:close/>
                  <a:moveTo>
                    <a:pt x="522" y="2385"/>
                  </a:moveTo>
                  <a:cubicBezTo>
                    <a:pt x="522" y="2383"/>
                    <a:pt x="519" y="2391"/>
                    <a:pt x="522" y="2385"/>
                  </a:cubicBezTo>
                  <a:close/>
                  <a:moveTo>
                    <a:pt x="519" y="2377"/>
                  </a:moveTo>
                  <a:cubicBezTo>
                    <a:pt x="519" y="2368"/>
                    <a:pt x="522" y="2363"/>
                    <a:pt x="530" y="2360"/>
                  </a:cubicBezTo>
                  <a:cubicBezTo>
                    <a:pt x="533" y="2360"/>
                    <a:pt x="536" y="2360"/>
                    <a:pt x="539" y="2363"/>
                  </a:cubicBezTo>
                  <a:cubicBezTo>
                    <a:pt x="536" y="2371"/>
                    <a:pt x="527" y="2377"/>
                    <a:pt x="519" y="2377"/>
                  </a:cubicBezTo>
                  <a:close/>
                  <a:moveTo>
                    <a:pt x="544" y="1329"/>
                  </a:moveTo>
                  <a:cubicBezTo>
                    <a:pt x="539" y="1329"/>
                    <a:pt x="539" y="1326"/>
                    <a:pt x="533" y="1329"/>
                  </a:cubicBezTo>
                  <a:cubicBezTo>
                    <a:pt x="533" y="1326"/>
                    <a:pt x="547" y="1323"/>
                    <a:pt x="544" y="1329"/>
                  </a:cubicBezTo>
                  <a:close/>
                  <a:moveTo>
                    <a:pt x="542" y="1312"/>
                  </a:moveTo>
                  <a:cubicBezTo>
                    <a:pt x="542" y="1314"/>
                    <a:pt x="539" y="1317"/>
                    <a:pt x="536" y="1320"/>
                  </a:cubicBezTo>
                  <a:cubicBezTo>
                    <a:pt x="533" y="1320"/>
                    <a:pt x="539" y="1309"/>
                    <a:pt x="542" y="1312"/>
                  </a:cubicBezTo>
                  <a:close/>
                  <a:moveTo>
                    <a:pt x="544" y="2385"/>
                  </a:moveTo>
                  <a:cubicBezTo>
                    <a:pt x="564" y="2397"/>
                    <a:pt x="527" y="2397"/>
                    <a:pt x="544" y="2385"/>
                  </a:cubicBezTo>
                  <a:close/>
                  <a:moveTo>
                    <a:pt x="567" y="465"/>
                  </a:moveTo>
                  <a:cubicBezTo>
                    <a:pt x="550" y="463"/>
                    <a:pt x="564" y="448"/>
                    <a:pt x="567" y="465"/>
                  </a:cubicBezTo>
                  <a:close/>
                  <a:moveTo>
                    <a:pt x="558" y="1131"/>
                  </a:moveTo>
                  <a:cubicBezTo>
                    <a:pt x="558" y="1125"/>
                    <a:pt x="567" y="1134"/>
                    <a:pt x="558" y="1131"/>
                  </a:cubicBezTo>
                  <a:close/>
                  <a:moveTo>
                    <a:pt x="564" y="1142"/>
                  </a:moveTo>
                  <a:lnTo>
                    <a:pt x="567" y="1140"/>
                  </a:lnTo>
                  <a:cubicBezTo>
                    <a:pt x="570" y="1134"/>
                    <a:pt x="570" y="1148"/>
                    <a:pt x="567" y="1148"/>
                  </a:cubicBezTo>
                  <a:lnTo>
                    <a:pt x="564" y="1145"/>
                  </a:lnTo>
                  <a:cubicBezTo>
                    <a:pt x="567" y="1156"/>
                    <a:pt x="550" y="1148"/>
                    <a:pt x="564" y="1142"/>
                  </a:cubicBezTo>
                  <a:close/>
                  <a:moveTo>
                    <a:pt x="561" y="2380"/>
                  </a:moveTo>
                  <a:cubicBezTo>
                    <a:pt x="575" y="2377"/>
                    <a:pt x="558" y="2402"/>
                    <a:pt x="561" y="2380"/>
                  </a:cubicBezTo>
                  <a:close/>
                  <a:moveTo>
                    <a:pt x="587" y="2411"/>
                  </a:moveTo>
                  <a:cubicBezTo>
                    <a:pt x="584" y="2422"/>
                    <a:pt x="561" y="2408"/>
                    <a:pt x="561" y="2394"/>
                  </a:cubicBezTo>
                  <a:cubicBezTo>
                    <a:pt x="575" y="2394"/>
                    <a:pt x="578" y="2408"/>
                    <a:pt x="587" y="2411"/>
                  </a:cubicBezTo>
                  <a:close/>
                  <a:moveTo>
                    <a:pt x="573" y="1621"/>
                  </a:moveTo>
                  <a:cubicBezTo>
                    <a:pt x="575" y="1621"/>
                    <a:pt x="567" y="1618"/>
                    <a:pt x="573" y="1621"/>
                  </a:cubicBezTo>
                  <a:close/>
                  <a:moveTo>
                    <a:pt x="595" y="1708"/>
                  </a:moveTo>
                  <a:cubicBezTo>
                    <a:pt x="601" y="1722"/>
                    <a:pt x="573" y="1714"/>
                    <a:pt x="595" y="1708"/>
                  </a:cubicBezTo>
                  <a:close/>
                  <a:moveTo>
                    <a:pt x="595" y="2385"/>
                  </a:moveTo>
                  <a:cubicBezTo>
                    <a:pt x="595" y="2384"/>
                    <a:pt x="593" y="2379"/>
                    <a:pt x="590" y="2376"/>
                  </a:cubicBezTo>
                  <a:cubicBezTo>
                    <a:pt x="592" y="2380"/>
                    <a:pt x="593" y="2383"/>
                    <a:pt x="595" y="2385"/>
                  </a:cubicBezTo>
                  <a:close/>
                  <a:moveTo>
                    <a:pt x="587" y="2371"/>
                  </a:moveTo>
                  <a:lnTo>
                    <a:pt x="587" y="2368"/>
                  </a:lnTo>
                  <a:lnTo>
                    <a:pt x="590" y="2368"/>
                  </a:lnTo>
                  <a:lnTo>
                    <a:pt x="590" y="2374"/>
                  </a:lnTo>
                  <a:cubicBezTo>
                    <a:pt x="590" y="2375"/>
                    <a:pt x="590" y="2375"/>
                    <a:pt x="590" y="2376"/>
                  </a:cubicBezTo>
                  <a:cubicBezTo>
                    <a:pt x="589" y="2374"/>
                    <a:pt x="588" y="2372"/>
                    <a:pt x="587" y="2371"/>
                  </a:cubicBezTo>
                  <a:close/>
                  <a:moveTo>
                    <a:pt x="584" y="587"/>
                  </a:moveTo>
                  <a:cubicBezTo>
                    <a:pt x="581" y="587"/>
                    <a:pt x="581" y="581"/>
                    <a:pt x="581" y="578"/>
                  </a:cubicBezTo>
                  <a:cubicBezTo>
                    <a:pt x="587" y="575"/>
                    <a:pt x="587" y="584"/>
                    <a:pt x="584" y="587"/>
                  </a:cubicBezTo>
                  <a:close/>
                  <a:moveTo>
                    <a:pt x="578" y="1567"/>
                  </a:moveTo>
                  <a:lnTo>
                    <a:pt x="578" y="1559"/>
                  </a:lnTo>
                  <a:cubicBezTo>
                    <a:pt x="581" y="1565"/>
                    <a:pt x="584" y="1579"/>
                    <a:pt x="578" y="1567"/>
                  </a:cubicBezTo>
                  <a:close/>
                  <a:moveTo>
                    <a:pt x="581" y="1711"/>
                  </a:moveTo>
                  <a:cubicBezTo>
                    <a:pt x="584" y="1711"/>
                    <a:pt x="575" y="1708"/>
                    <a:pt x="581" y="1711"/>
                  </a:cubicBezTo>
                  <a:close/>
                  <a:moveTo>
                    <a:pt x="595" y="2467"/>
                  </a:moveTo>
                  <a:cubicBezTo>
                    <a:pt x="587" y="2470"/>
                    <a:pt x="578" y="2464"/>
                    <a:pt x="578" y="2459"/>
                  </a:cubicBezTo>
                  <a:lnTo>
                    <a:pt x="578" y="2453"/>
                  </a:lnTo>
                  <a:cubicBezTo>
                    <a:pt x="587" y="2450"/>
                    <a:pt x="595" y="2456"/>
                    <a:pt x="595" y="2462"/>
                  </a:cubicBezTo>
                  <a:lnTo>
                    <a:pt x="595" y="2467"/>
                  </a:lnTo>
                  <a:close/>
                  <a:moveTo>
                    <a:pt x="590" y="2408"/>
                  </a:moveTo>
                  <a:lnTo>
                    <a:pt x="590" y="2385"/>
                  </a:lnTo>
                  <a:lnTo>
                    <a:pt x="595" y="2385"/>
                  </a:lnTo>
                  <a:lnTo>
                    <a:pt x="604" y="2385"/>
                  </a:lnTo>
                  <a:cubicBezTo>
                    <a:pt x="606" y="2399"/>
                    <a:pt x="601" y="2408"/>
                    <a:pt x="590" y="2408"/>
                  </a:cubicBezTo>
                  <a:close/>
                  <a:moveTo>
                    <a:pt x="606" y="1632"/>
                  </a:moveTo>
                  <a:cubicBezTo>
                    <a:pt x="598" y="1652"/>
                    <a:pt x="609" y="1612"/>
                    <a:pt x="606" y="1632"/>
                  </a:cubicBezTo>
                  <a:close/>
                  <a:moveTo>
                    <a:pt x="604" y="2363"/>
                  </a:moveTo>
                  <a:cubicBezTo>
                    <a:pt x="604" y="2366"/>
                    <a:pt x="598" y="2363"/>
                    <a:pt x="604" y="2363"/>
                  </a:cubicBezTo>
                  <a:close/>
                  <a:moveTo>
                    <a:pt x="606" y="1598"/>
                  </a:moveTo>
                  <a:cubicBezTo>
                    <a:pt x="595" y="1618"/>
                    <a:pt x="606" y="1579"/>
                    <a:pt x="606" y="1598"/>
                  </a:cubicBezTo>
                  <a:close/>
                  <a:moveTo>
                    <a:pt x="598" y="1754"/>
                  </a:moveTo>
                  <a:cubicBezTo>
                    <a:pt x="595" y="1751"/>
                    <a:pt x="604" y="1754"/>
                    <a:pt x="598" y="1754"/>
                  </a:cubicBezTo>
                  <a:close/>
                  <a:moveTo>
                    <a:pt x="609" y="2419"/>
                  </a:moveTo>
                  <a:cubicBezTo>
                    <a:pt x="609" y="2422"/>
                    <a:pt x="612" y="2422"/>
                    <a:pt x="612" y="2425"/>
                  </a:cubicBezTo>
                  <a:cubicBezTo>
                    <a:pt x="615" y="2425"/>
                    <a:pt x="615" y="2422"/>
                    <a:pt x="615" y="2419"/>
                  </a:cubicBezTo>
                  <a:cubicBezTo>
                    <a:pt x="623" y="2419"/>
                    <a:pt x="615" y="2442"/>
                    <a:pt x="606" y="2433"/>
                  </a:cubicBezTo>
                  <a:cubicBezTo>
                    <a:pt x="606" y="2431"/>
                    <a:pt x="609" y="2428"/>
                    <a:pt x="609" y="2428"/>
                  </a:cubicBezTo>
                  <a:cubicBezTo>
                    <a:pt x="609" y="2425"/>
                    <a:pt x="595" y="2408"/>
                    <a:pt x="609" y="2419"/>
                  </a:cubicBezTo>
                  <a:close/>
                  <a:moveTo>
                    <a:pt x="615" y="2388"/>
                  </a:moveTo>
                  <a:cubicBezTo>
                    <a:pt x="629" y="2402"/>
                    <a:pt x="595" y="2377"/>
                    <a:pt x="615" y="2388"/>
                  </a:cubicBezTo>
                  <a:close/>
                  <a:moveTo>
                    <a:pt x="606" y="578"/>
                  </a:moveTo>
                  <a:cubicBezTo>
                    <a:pt x="606" y="573"/>
                    <a:pt x="618" y="581"/>
                    <a:pt x="606" y="578"/>
                  </a:cubicBezTo>
                  <a:close/>
                  <a:moveTo>
                    <a:pt x="629" y="1643"/>
                  </a:moveTo>
                  <a:cubicBezTo>
                    <a:pt x="626" y="1649"/>
                    <a:pt x="618" y="1641"/>
                    <a:pt x="612" y="1643"/>
                  </a:cubicBezTo>
                  <a:cubicBezTo>
                    <a:pt x="609" y="1638"/>
                    <a:pt x="621" y="1641"/>
                    <a:pt x="623" y="1638"/>
                  </a:cubicBezTo>
                  <a:lnTo>
                    <a:pt x="623" y="1641"/>
                  </a:lnTo>
                  <a:cubicBezTo>
                    <a:pt x="626" y="1641"/>
                    <a:pt x="629" y="1643"/>
                    <a:pt x="629" y="1643"/>
                  </a:cubicBezTo>
                  <a:close/>
                  <a:moveTo>
                    <a:pt x="623" y="1687"/>
                  </a:moveTo>
                  <a:cubicBezTo>
                    <a:pt x="622" y="1687"/>
                    <a:pt x="620" y="1686"/>
                    <a:pt x="623" y="1686"/>
                  </a:cubicBezTo>
                  <a:cubicBezTo>
                    <a:pt x="624" y="1687"/>
                    <a:pt x="624" y="1687"/>
                    <a:pt x="623" y="1687"/>
                  </a:cubicBezTo>
                  <a:close/>
                  <a:moveTo>
                    <a:pt x="623" y="1737"/>
                  </a:moveTo>
                  <a:cubicBezTo>
                    <a:pt x="621" y="1739"/>
                    <a:pt x="618" y="1742"/>
                    <a:pt x="615" y="1742"/>
                  </a:cubicBezTo>
                  <a:cubicBezTo>
                    <a:pt x="615" y="1737"/>
                    <a:pt x="621" y="1734"/>
                    <a:pt x="623" y="1737"/>
                  </a:cubicBezTo>
                  <a:close/>
                  <a:moveTo>
                    <a:pt x="626" y="2399"/>
                  </a:moveTo>
                  <a:lnTo>
                    <a:pt x="625" y="2398"/>
                  </a:lnTo>
                  <a:cubicBezTo>
                    <a:pt x="625" y="2397"/>
                    <a:pt x="626" y="2397"/>
                    <a:pt x="626" y="2399"/>
                  </a:cubicBezTo>
                  <a:cubicBezTo>
                    <a:pt x="625" y="2401"/>
                    <a:pt x="625" y="2399"/>
                    <a:pt x="625" y="2398"/>
                  </a:cubicBezTo>
                  <a:lnTo>
                    <a:pt x="626" y="2399"/>
                  </a:lnTo>
                  <a:close/>
                  <a:moveTo>
                    <a:pt x="609" y="2411"/>
                  </a:moveTo>
                  <a:lnTo>
                    <a:pt x="612" y="2414"/>
                  </a:lnTo>
                  <a:lnTo>
                    <a:pt x="609" y="2414"/>
                  </a:lnTo>
                  <a:cubicBezTo>
                    <a:pt x="612" y="2414"/>
                    <a:pt x="609" y="2411"/>
                    <a:pt x="609" y="2411"/>
                  </a:cubicBezTo>
                  <a:close/>
                  <a:moveTo>
                    <a:pt x="635" y="2518"/>
                  </a:moveTo>
                  <a:cubicBezTo>
                    <a:pt x="637" y="2515"/>
                    <a:pt x="632" y="2524"/>
                    <a:pt x="635" y="2518"/>
                  </a:cubicBezTo>
                  <a:close/>
                  <a:moveTo>
                    <a:pt x="629" y="2368"/>
                  </a:moveTo>
                  <a:cubicBezTo>
                    <a:pt x="643" y="2368"/>
                    <a:pt x="626" y="2391"/>
                    <a:pt x="629" y="2368"/>
                  </a:cubicBezTo>
                  <a:close/>
                  <a:moveTo>
                    <a:pt x="629" y="1587"/>
                  </a:moveTo>
                  <a:cubicBezTo>
                    <a:pt x="629" y="1581"/>
                    <a:pt x="635" y="1581"/>
                    <a:pt x="635" y="1579"/>
                  </a:cubicBezTo>
                  <a:cubicBezTo>
                    <a:pt x="637" y="1581"/>
                    <a:pt x="632" y="1590"/>
                    <a:pt x="629" y="1587"/>
                  </a:cubicBezTo>
                  <a:close/>
                  <a:moveTo>
                    <a:pt x="629" y="392"/>
                  </a:moveTo>
                  <a:cubicBezTo>
                    <a:pt x="632" y="386"/>
                    <a:pt x="640" y="395"/>
                    <a:pt x="629" y="392"/>
                  </a:cubicBezTo>
                  <a:close/>
                  <a:moveTo>
                    <a:pt x="635" y="401"/>
                  </a:moveTo>
                  <a:cubicBezTo>
                    <a:pt x="635" y="406"/>
                    <a:pt x="626" y="406"/>
                    <a:pt x="621" y="406"/>
                  </a:cubicBezTo>
                  <a:cubicBezTo>
                    <a:pt x="621" y="401"/>
                    <a:pt x="629" y="398"/>
                    <a:pt x="635" y="401"/>
                  </a:cubicBezTo>
                  <a:close/>
                  <a:moveTo>
                    <a:pt x="618" y="322"/>
                  </a:moveTo>
                  <a:cubicBezTo>
                    <a:pt x="621" y="313"/>
                    <a:pt x="621" y="330"/>
                    <a:pt x="618" y="322"/>
                  </a:cubicBezTo>
                  <a:close/>
                  <a:moveTo>
                    <a:pt x="618" y="288"/>
                  </a:moveTo>
                  <a:cubicBezTo>
                    <a:pt x="621" y="290"/>
                    <a:pt x="612" y="288"/>
                    <a:pt x="618" y="288"/>
                  </a:cubicBezTo>
                  <a:close/>
                  <a:moveTo>
                    <a:pt x="609" y="502"/>
                  </a:moveTo>
                  <a:cubicBezTo>
                    <a:pt x="609" y="496"/>
                    <a:pt x="618" y="505"/>
                    <a:pt x="609" y="502"/>
                  </a:cubicBezTo>
                  <a:close/>
                  <a:moveTo>
                    <a:pt x="615" y="542"/>
                  </a:moveTo>
                  <a:cubicBezTo>
                    <a:pt x="612" y="542"/>
                    <a:pt x="606" y="542"/>
                    <a:pt x="604" y="539"/>
                  </a:cubicBezTo>
                  <a:cubicBezTo>
                    <a:pt x="601" y="536"/>
                    <a:pt x="618" y="536"/>
                    <a:pt x="615" y="542"/>
                  </a:cubicBezTo>
                  <a:close/>
                  <a:moveTo>
                    <a:pt x="609" y="313"/>
                  </a:moveTo>
                  <a:cubicBezTo>
                    <a:pt x="609" y="316"/>
                    <a:pt x="601" y="316"/>
                    <a:pt x="598" y="316"/>
                  </a:cubicBezTo>
                  <a:cubicBezTo>
                    <a:pt x="598" y="313"/>
                    <a:pt x="606" y="313"/>
                    <a:pt x="609" y="313"/>
                  </a:cubicBezTo>
                  <a:close/>
                  <a:moveTo>
                    <a:pt x="592" y="293"/>
                  </a:moveTo>
                  <a:cubicBezTo>
                    <a:pt x="600" y="288"/>
                    <a:pt x="608" y="310"/>
                    <a:pt x="597" y="313"/>
                  </a:cubicBezTo>
                  <a:cubicBezTo>
                    <a:pt x="596" y="313"/>
                    <a:pt x="594" y="313"/>
                    <a:pt x="592" y="313"/>
                  </a:cubicBezTo>
                  <a:lnTo>
                    <a:pt x="592" y="312"/>
                  </a:lnTo>
                  <a:cubicBezTo>
                    <a:pt x="594" y="312"/>
                    <a:pt x="596" y="311"/>
                    <a:pt x="598" y="310"/>
                  </a:cubicBezTo>
                  <a:cubicBezTo>
                    <a:pt x="598" y="311"/>
                    <a:pt x="598" y="312"/>
                    <a:pt x="597" y="313"/>
                  </a:cubicBezTo>
                  <a:cubicBezTo>
                    <a:pt x="594" y="316"/>
                    <a:pt x="586" y="316"/>
                    <a:pt x="581" y="319"/>
                  </a:cubicBezTo>
                  <a:cubicBezTo>
                    <a:pt x="581" y="315"/>
                    <a:pt x="587" y="314"/>
                    <a:pt x="592" y="312"/>
                  </a:cubicBezTo>
                  <a:cubicBezTo>
                    <a:pt x="590" y="304"/>
                    <a:pt x="592" y="299"/>
                    <a:pt x="592" y="293"/>
                  </a:cubicBezTo>
                  <a:close/>
                  <a:moveTo>
                    <a:pt x="587" y="375"/>
                  </a:moveTo>
                  <a:cubicBezTo>
                    <a:pt x="584" y="378"/>
                    <a:pt x="581" y="381"/>
                    <a:pt x="578" y="381"/>
                  </a:cubicBezTo>
                  <a:cubicBezTo>
                    <a:pt x="578" y="375"/>
                    <a:pt x="584" y="375"/>
                    <a:pt x="587" y="375"/>
                  </a:cubicBezTo>
                  <a:close/>
                  <a:moveTo>
                    <a:pt x="575" y="584"/>
                  </a:moveTo>
                  <a:cubicBezTo>
                    <a:pt x="575" y="578"/>
                    <a:pt x="584" y="587"/>
                    <a:pt x="575" y="584"/>
                  </a:cubicBezTo>
                  <a:close/>
                  <a:moveTo>
                    <a:pt x="575" y="1573"/>
                  </a:moveTo>
                  <a:cubicBezTo>
                    <a:pt x="581" y="1587"/>
                    <a:pt x="553" y="1579"/>
                    <a:pt x="575" y="1573"/>
                  </a:cubicBezTo>
                  <a:close/>
                  <a:moveTo>
                    <a:pt x="567" y="544"/>
                  </a:moveTo>
                  <a:cubicBezTo>
                    <a:pt x="567" y="539"/>
                    <a:pt x="575" y="547"/>
                    <a:pt x="567" y="544"/>
                  </a:cubicBezTo>
                  <a:close/>
                  <a:moveTo>
                    <a:pt x="570" y="319"/>
                  </a:moveTo>
                  <a:cubicBezTo>
                    <a:pt x="570" y="322"/>
                    <a:pt x="573" y="327"/>
                    <a:pt x="573" y="330"/>
                  </a:cubicBezTo>
                  <a:cubicBezTo>
                    <a:pt x="570" y="330"/>
                    <a:pt x="564" y="333"/>
                    <a:pt x="561" y="333"/>
                  </a:cubicBezTo>
                  <a:cubicBezTo>
                    <a:pt x="561" y="330"/>
                    <a:pt x="558" y="324"/>
                    <a:pt x="556" y="322"/>
                  </a:cubicBezTo>
                  <a:cubicBezTo>
                    <a:pt x="558" y="322"/>
                    <a:pt x="564" y="319"/>
                    <a:pt x="570" y="319"/>
                  </a:cubicBezTo>
                  <a:close/>
                  <a:moveTo>
                    <a:pt x="567" y="406"/>
                  </a:moveTo>
                  <a:cubicBezTo>
                    <a:pt x="567" y="412"/>
                    <a:pt x="561" y="417"/>
                    <a:pt x="556" y="415"/>
                  </a:cubicBezTo>
                  <a:cubicBezTo>
                    <a:pt x="553" y="412"/>
                    <a:pt x="558" y="406"/>
                    <a:pt x="567" y="406"/>
                  </a:cubicBezTo>
                  <a:close/>
                  <a:moveTo>
                    <a:pt x="561" y="477"/>
                  </a:moveTo>
                  <a:cubicBezTo>
                    <a:pt x="558" y="477"/>
                    <a:pt x="556" y="477"/>
                    <a:pt x="553" y="471"/>
                  </a:cubicBezTo>
                  <a:lnTo>
                    <a:pt x="553" y="468"/>
                  </a:lnTo>
                  <a:cubicBezTo>
                    <a:pt x="556" y="468"/>
                    <a:pt x="558" y="474"/>
                    <a:pt x="561" y="477"/>
                  </a:cubicBezTo>
                  <a:close/>
                  <a:moveTo>
                    <a:pt x="556" y="499"/>
                  </a:moveTo>
                  <a:cubicBezTo>
                    <a:pt x="564" y="499"/>
                    <a:pt x="556" y="511"/>
                    <a:pt x="550" y="505"/>
                  </a:cubicBezTo>
                  <a:cubicBezTo>
                    <a:pt x="553" y="502"/>
                    <a:pt x="556" y="502"/>
                    <a:pt x="556" y="499"/>
                  </a:cubicBezTo>
                  <a:close/>
                  <a:moveTo>
                    <a:pt x="547" y="499"/>
                  </a:moveTo>
                  <a:cubicBezTo>
                    <a:pt x="547" y="494"/>
                    <a:pt x="556" y="502"/>
                    <a:pt x="547" y="499"/>
                  </a:cubicBezTo>
                  <a:close/>
                  <a:moveTo>
                    <a:pt x="547" y="508"/>
                  </a:moveTo>
                  <a:cubicBezTo>
                    <a:pt x="547" y="502"/>
                    <a:pt x="556" y="511"/>
                    <a:pt x="547" y="508"/>
                  </a:cubicBezTo>
                  <a:close/>
                  <a:moveTo>
                    <a:pt x="558" y="601"/>
                  </a:moveTo>
                  <a:cubicBezTo>
                    <a:pt x="556" y="606"/>
                    <a:pt x="550" y="601"/>
                    <a:pt x="544" y="601"/>
                  </a:cubicBezTo>
                  <a:cubicBezTo>
                    <a:pt x="547" y="598"/>
                    <a:pt x="556" y="601"/>
                    <a:pt x="558" y="601"/>
                  </a:cubicBezTo>
                  <a:close/>
                  <a:moveTo>
                    <a:pt x="536" y="587"/>
                  </a:moveTo>
                  <a:cubicBezTo>
                    <a:pt x="539" y="581"/>
                    <a:pt x="547" y="592"/>
                    <a:pt x="536" y="587"/>
                  </a:cubicBezTo>
                  <a:close/>
                  <a:moveTo>
                    <a:pt x="536" y="575"/>
                  </a:moveTo>
                  <a:cubicBezTo>
                    <a:pt x="536" y="570"/>
                    <a:pt x="544" y="578"/>
                    <a:pt x="536" y="575"/>
                  </a:cubicBezTo>
                  <a:close/>
                  <a:moveTo>
                    <a:pt x="533" y="338"/>
                  </a:moveTo>
                  <a:cubicBezTo>
                    <a:pt x="536" y="338"/>
                    <a:pt x="539" y="341"/>
                    <a:pt x="542" y="341"/>
                  </a:cubicBezTo>
                  <a:cubicBezTo>
                    <a:pt x="542" y="344"/>
                    <a:pt x="530" y="341"/>
                    <a:pt x="533" y="338"/>
                  </a:cubicBezTo>
                  <a:close/>
                  <a:moveTo>
                    <a:pt x="536" y="471"/>
                  </a:moveTo>
                  <a:cubicBezTo>
                    <a:pt x="539" y="488"/>
                    <a:pt x="516" y="477"/>
                    <a:pt x="511" y="479"/>
                  </a:cubicBezTo>
                  <a:cubicBezTo>
                    <a:pt x="508" y="463"/>
                    <a:pt x="530" y="474"/>
                    <a:pt x="536" y="471"/>
                  </a:cubicBezTo>
                  <a:close/>
                  <a:moveTo>
                    <a:pt x="525" y="437"/>
                  </a:moveTo>
                  <a:cubicBezTo>
                    <a:pt x="522" y="440"/>
                    <a:pt x="516" y="443"/>
                    <a:pt x="511" y="443"/>
                  </a:cubicBezTo>
                  <a:cubicBezTo>
                    <a:pt x="511" y="437"/>
                    <a:pt x="519" y="437"/>
                    <a:pt x="525" y="437"/>
                  </a:cubicBezTo>
                  <a:close/>
                  <a:moveTo>
                    <a:pt x="485" y="384"/>
                  </a:moveTo>
                  <a:cubicBezTo>
                    <a:pt x="491" y="401"/>
                    <a:pt x="499" y="415"/>
                    <a:pt x="513" y="426"/>
                  </a:cubicBezTo>
                  <a:cubicBezTo>
                    <a:pt x="496" y="426"/>
                    <a:pt x="485" y="412"/>
                    <a:pt x="477" y="398"/>
                  </a:cubicBezTo>
                  <a:cubicBezTo>
                    <a:pt x="479" y="395"/>
                    <a:pt x="485" y="392"/>
                    <a:pt x="485" y="384"/>
                  </a:cubicBezTo>
                  <a:close/>
                  <a:moveTo>
                    <a:pt x="479" y="384"/>
                  </a:moveTo>
                  <a:cubicBezTo>
                    <a:pt x="485" y="392"/>
                    <a:pt x="477" y="398"/>
                    <a:pt x="471" y="401"/>
                  </a:cubicBezTo>
                  <a:cubicBezTo>
                    <a:pt x="468" y="395"/>
                    <a:pt x="471" y="386"/>
                    <a:pt x="479" y="384"/>
                  </a:cubicBezTo>
                  <a:close/>
                  <a:moveTo>
                    <a:pt x="471" y="448"/>
                  </a:moveTo>
                  <a:cubicBezTo>
                    <a:pt x="474" y="448"/>
                    <a:pt x="474" y="454"/>
                    <a:pt x="474" y="457"/>
                  </a:cubicBezTo>
                  <a:lnTo>
                    <a:pt x="468" y="457"/>
                  </a:lnTo>
                  <a:cubicBezTo>
                    <a:pt x="468" y="451"/>
                    <a:pt x="471" y="451"/>
                    <a:pt x="471" y="448"/>
                  </a:cubicBezTo>
                  <a:close/>
                  <a:moveTo>
                    <a:pt x="479" y="499"/>
                  </a:moveTo>
                  <a:cubicBezTo>
                    <a:pt x="482" y="505"/>
                    <a:pt x="477" y="505"/>
                    <a:pt x="474" y="505"/>
                  </a:cubicBezTo>
                  <a:cubicBezTo>
                    <a:pt x="471" y="513"/>
                    <a:pt x="471" y="522"/>
                    <a:pt x="457" y="519"/>
                  </a:cubicBezTo>
                  <a:cubicBezTo>
                    <a:pt x="454" y="508"/>
                    <a:pt x="471" y="496"/>
                    <a:pt x="479" y="499"/>
                  </a:cubicBezTo>
                  <a:close/>
                  <a:moveTo>
                    <a:pt x="457" y="440"/>
                  </a:moveTo>
                  <a:cubicBezTo>
                    <a:pt x="460" y="440"/>
                    <a:pt x="454" y="437"/>
                    <a:pt x="457" y="440"/>
                  </a:cubicBezTo>
                  <a:close/>
                  <a:moveTo>
                    <a:pt x="448" y="513"/>
                  </a:moveTo>
                  <a:cubicBezTo>
                    <a:pt x="451" y="508"/>
                    <a:pt x="460" y="519"/>
                    <a:pt x="448" y="513"/>
                  </a:cubicBezTo>
                  <a:close/>
                  <a:moveTo>
                    <a:pt x="451" y="573"/>
                  </a:moveTo>
                  <a:cubicBezTo>
                    <a:pt x="448" y="570"/>
                    <a:pt x="457" y="573"/>
                    <a:pt x="451" y="573"/>
                  </a:cubicBezTo>
                  <a:close/>
                  <a:moveTo>
                    <a:pt x="457" y="680"/>
                  </a:moveTo>
                  <a:cubicBezTo>
                    <a:pt x="460" y="700"/>
                    <a:pt x="437" y="668"/>
                    <a:pt x="457" y="680"/>
                  </a:cubicBezTo>
                  <a:close/>
                  <a:moveTo>
                    <a:pt x="454" y="747"/>
                  </a:moveTo>
                  <a:cubicBezTo>
                    <a:pt x="460" y="762"/>
                    <a:pt x="432" y="753"/>
                    <a:pt x="454" y="747"/>
                  </a:cubicBezTo>
                  <a:close/>
                  <a:moveTo>
                    <a:pt x="451" y="767"/>
                  </a:moveTo>
                  <a:lnTo>
                    <a:pt x="451" y="773"/>
                  </a:lnTo>
                  <a:lnTo>
                    <a:pt x="446" y="773"/>
                  </a:lnTo>
                  <a:lnTo>
                    <a:pt x="446" y="767"/>
                  </a:lnTo>
                  <a:lnTo>
                    <a:pt x="451" y="767"/>
                  </a:lnTo>
                  <a:close/>
                  <a:moveTo>
                    <a:pt x="443" y="1974"/>
                  </a:moveTo>
                  <a:cubicBezTo>
                    <a:pt x="460" y="1974"/>
                    <a:pt x="443" y="1993"/>
                    <a:pt x="440" y="1982"/>
                  </a:cubicBezTo>
                  <a:cubicBezTo>
                    <a:pt x="434" y="1979"/>
                    <a:pt x="432" y="1974"/>
                    <a:pt x="429" y="1968"/>
                  </a:cubicBezTo>
                  <a:cubicBezTo>
                    <a:pt x="437" y="1971"/>
                    <a:pt x="440" y="1971"/>
                    <a:pt x="443" y="1974"/>
                  </a:cubicBezTo>
                  <a:close/>
                  <a:moveTo>
                    <a:pt x="437" y="1799"/>
                  </a:moveTo>
                  <a:cubicBezTo>
                    <a:pt x="437" y="1810"/>
                    <a:pt x="420" y="1799"/>
                    <a:pt x="437" y="1799"/>
                  </a:cubicBezTo>
                  <a:close/>
                  <a:moveTo>
                    <a:pt x="434" y="781"/>
                  </a:moveTo>
                  <a:cubicBezTo>
                    <a:pt x="434" y="784"/>
                    <a:pt x="429" y="787"/>
                    <a:pt x="426" y="787"/>
                  </a:cubicBezTo>
                  <a:cubicBezTo>
                    <a:pt x="429" y="784"/>
                    <a:pt x="432" y="781"/>
                    <a:pt x="434" y="781"/>
                  </a:cubicBezTo>
                  <a:close/>
                  <a:moveTo>
                    <a:pt x="429" y="1864"/>
                  </a:moveTo>
                  <a:cubicBezTo>
                    <a:pt x="429" y="1866"/>
                    <a:pt x="423" y="1869"/>
                    <a:pt x="420" y="1869"/>
                  </a:cubicBezTo>
                  <a:cubicBezTo>
                    <a:pt x="423" y="1866"/>
                    <a:pt x="426" y="1864"/>
                    <a:pt x="429" y="1864"/>
                  </a:cubicBezTo>
                  <a:close/>
                  <a:moveTo>
                    <a:pt x="417" y="508"/>
                  </a:moveTo>
                  <a:cubicBezTo>
                    <a:pt x="417" y="502"/>
                    <a:pt x="429" y="511"/>
                    <a:pt x="417" y="508"/>
                  </a:cubicBezTo>
                  <a:close/>
                  <a:moveTo>
                    <a:pt x="415" y="474"/>
                  </a:moveTo>
                  <a:cubicBezTo>
                    <a:pt x="417" y="474"/>
                    <a:pt x="409" y="471"/>
                    <a:pt x="415" y="474"/>
                  </a:cubicBezTo>
                  <a:close/>
                  <a:moveTo>
                    <a:pt x="417" y="454"/>
                  </a:moveTo>
                  <a:cubicBezTo>
                    <a:pt x="420" y="460"/>
                    <a:pt x="403" y="465"/>
                    <a:pt x="403" y="457"/>
                  </a:cubicBezTo>
                  <a:cubicBezTo>
                    <a:pt x="409" y="457"/>
                    <a:pt x="412" y="454"/>
                    <a:pt x="417" y="454"/>
                  </a:cubicBezTo>
                  <a:close/>
                  <a:moveTo>
                    <a:pt x="406" y="668"/>
                  </a:moveTo>
                  <a:cubicBezTo>
                    <a:pt x="412" y="683"/>
                    <a:pt x="384" y="674"/>
                    <a:pt x="406" y="668"/>
                  </a:cubicBezTo>
                  <a:close/>
                  <a:moveTo>
                    <a:pt x="403" y="621"/>
                  </a:moveTo>
                  <a:cubicBezTo>
                    <a:pt x="395" y="640"/>
                    <a:pt x="406" y="601"/>
                    <a:pt x="403" y="621"/>
                  </a:cubicBezTo>
                  <a:close/>
                  <a:moveTo>
                    <a:pt x="403" y="502"/>
                  </a:moveTo>
                  <a:cubicBezTo>
                    <a:pt x="409" y="516"/>
                    <a:pt x="381" y="508"/>
                    <a:pt x="403" y="502"/>
                  </a:cubicBezTo>
                  <a:close/>
                  <a:moveTo>
                    <a:pt x="398" y="522"/>
                  </a:moveTo>
                  <a:cubicBezTo>
                    <a:pt x="406" y="527"/>
                    <a:pt x="392" y="533"/>
                    <a:pt x="386" y="530"/>
                  </a:cubicBezTo>
                  <a:cubicBezTo>
                    <a:pt x="384" y="525"/>
                    <a:pt x="395" y="527"/>
                    <a:pt x="398" y="522"/>
                  </a:cubicBezTo>
                  <a:close/>
                  <a:moveTo>
                    <a:pt x="392" y="1832"/>
                  </a:moveTo>
                  <a:cubicBezTo>
                    <a:pt x="406" y="1855"/>
                    <a:pt x="369" y="1818"/>
                    <a:pt x="392" y="1832"/>
                  </a:cubicBezTo>
                  <a:close/>
                  <a:moveTo>
                    <a:pt x="384" y="1869"/>
                  </a:moveTo>
                  <a:cubicBezTo>
                    <a:pt x="386" y="1869"/>
                    <a:pt x="378" y="1866"/>
                    <a:pt x="384" y="1869"/>
                  </a:cubicBezTo>
                  <a:close/>
                  <a:moveTo>
                    <a:pt x="381" y="632"/>
                  </a:moveTo>
                  <a:cubicBezTo>
                    <a:pt x="378" y="637"/>
                    <a:pt x="367" y="626"/>
                    <a:pt x="381" y="632"/>
                  </a:cubicBezTo>
                  <a:close/>
                  <a:moveTo>
                    <a:pt x="372" y="2067"/>
                  </a:moveTo>
                  <a:cubicBezTo>
                    <a:pt x="369" y="2089"/>
                    <a:pt x="355" y="2055"/>
                    <a:pt x="372" y="2067"/>
                  </a:cubicBezTo>
                  <a:close/>
                  <a:moveTo>
                    <a:pt x="364" y="2027"/>
                  </a:moveTo>
                  <a:cubicBezTo>
                    <a:pt x="361" y="2024"/>
                    <a:pt x="367" y="2027"/>
                    <a:pt x="364" y="2027"/>
                  </a:cubicBezTo>
                  <a:close/>
                  <a:moveTo>
                    <a:pt x="369" y="2005"/>
                  </a:moveTo>
                  <a:cubicBezTo>
                    <a:pt x="361" y="2002"/>
                    <a:pt x="347" y="2002"/>
                    <a:pt x="350" y="1985"/>
                  </a:cubicBezTo>
                  <a:cubicBezTo>
                    <a:pt x="358" y="1990"/>
                    <a:pt x="369" y="1993"/>
                    <a:pt x="369" y="2005"/>
                  </a:cubicBezTo>
                  <a:close/>
                  <a:moveTo>
                    <a:pt x="347" y="1801"/>
                  </a:moveTo>
                  <a:cubicBezTo>
                    <a:pt x="347" y="1813"/>
                    <a:pt x="330" y="1807"/>
                    <a:pt x="324" y="1807"/>
                  </a:cubicBezTo>
                  <a:cubicBezTo>
                    <a:pt x="327" y="1793"/>
                    <a:pt x="338" y="1807"/>
                    <a:pt x="347" y="1801"/>
                  </a:cubicBezTo>
                  <a:close/>
                  <a:moveTo>
                    <a:pt x="333" y="1773"/>
                  </a:moveTo>
                  <a:cubicBezTo>
                    <a:pt x="333" y="1768"/>
                    <a:pt x="341" y="1776"/>
                    <a:pt x="333" y="1773"/>
                  </a:cubicBezTo>
                  <a:close/>
                  <a:moveTo>
                    <a:pt x="344" y="1957"/>
                  </a:moveTo>
                  <a:cubicBezTo>
                    <a:pt x="347" y="1951"/>
                    <a:pt x="355" y="1948"/>
                    <a:pt x="361" y="1948"/>
                  </a:cubicBezTo>
                  <a:cubicBezTo>
                    <a:pt x="364" y="1957"/>
                    <a:pt x="352" y="1957"/>
                    <a:pt x="344" y="1957"/>
                  </a:cubicBezTo>
                  <a:close/>
                  <a:moveTo>
                    <a:pt x="350" y="2010"/>
                  </a:moveTo>
                  <a:cubicBezTo>
                    <a:pt x="350" y="2030"/>
                    <a:pt x="327" y="1999"/>
                    <a:pt x="350" y="2010"/>
                  </a:cubicBezTo>
                  <a:close/>
                  <a:moveTo>
                    <a:pt x="352" y="1790"/>
                  </a:moveTo>
                  <a:cubicBezTo>
                    <a:pt x="369" y="1790"/>
                    <a:pt x="352" y="1813"/>
                    <a:pt x="352" y="1790"/>
                  </a:cubicBezTo>
                  <a:close/>
                  <a:moveTo>
                    <a:pt x="364" y="1810"/>
                  </a:moveTo>
                  <a:cubicBezTo>
                    <a:pt x="364" y="1832"/>
                    <a:pt x="350" y="1796"/>
                    <a:pt x="364" y="1810"/>
                  </a:cubicBezTo>
                  <a:close/>
                  <a:moveTo>
                    <a:pt x="361" y="570"/>
                  </a:moveTo>
                  <a:cubicBezTo>
                    <a:pt x="367" y="584"/>
                    <a:pt x="338" y="575"/>
                    <a:pt x="361" y="570"/>
                  </a:cubicBezTo>
                  <a:close/>
                  <a:moveTo>
                    <a:pt x="350" y="556"/>
                  </a:moveTo>
                  <a:cubicBezTo>
                    <a:pt x="352" y="553"/>
                    <a:pt x="355" y="544"/>
                    <a:pt x="358" y="547"/>
                  </a:cubicBezTo>
                  <a:cubicBezTo>
                    <a:pt x="358" y="547"/>
                    <a:pt x="358" y="556"/>
                    <a:pt x="350" y="556"/>
                  </a:cubicBezTo>
                  <a:close/>
                  <a:moveTo>
                    <a:pt x="364" y="683"/>
                  </a:moveTo>
                  <a:cubicBezTo>
                    <a:pt x="358" y="683"/>
                    <a:pt x="358" y="677"/>
                    <a:pt x="355" y="677"/>
                  </a:cubicBezTo>
                  <a:cubicBezTo>
                    <a:pt x="355" y="674"/>
                    <a:pt x="367" y="677"/>
                    <a:pt x="364" y="683"/>
                  </a:cubicBezTo>
                  <a:close/>
                  <a:moveTo>
                    <a:pt x="364" y="711"/>
                  </a:moveTo>
                  <a:cubicBezTo>
                    <a:pt x="364" y="719"/>
                    <a:pt x="350" y="719"/>
                    <a:pt x="344" y="722"/>
                  </a:cubicBezTo>
                  <a:cubicBezTo>
                    <a:pt x="344" y="719"/>
                    <a:pt x="344" y="719"/>
                    <a:pt x="341" y="716"/>
                  </a:cubicBezTo>
                  <a:cubicBezTo>
                    <a:pt x="352" y="705"/>
                    <a:pt x="350" y="711"/>
                    <a:pt x="364" y="711"/>
                  </a:cubicBezTo>
                  <a:close/>
                  <a:moveTo>
                    <a:pt x="352" y="793"/>
                  </a:moveTo>
                  <a:cubicBezTo>
                    <a:pt x="344" y="810"/>
                    <a:pt x="355" y="770"/>
                    <a:pt x="352" y="793"/>
                  </a:cubicBezTo>
                  <a:close/>
                  <a:moveTo>
                    <a:pt x="347" y="733"/>
                  </a:moveTo>
                  <a:cubicBezTo>
                    <a:pt x="344" y="731"/>
                    <a:pt x="352" y="733"/>
                    <a:pt x="347" y="733"/>
                  </a:cubicBezTo>
                  <a:close/>
                  <a:moveTo>
                    <a:pt x="347" y="1785"/>
                  </a:moveTo>
                  <a:cubicBezTo>
                    <a:pt x="344" y="1785"/>
                    <a:pt x="341" y="1782"/>
                    <a:pt x="338" y="1782"/>
                  </a:cubicBezTo>
                  <a:cubicBezTo>
                    <a:pt x="344" y="1782"/>
                    <a:pt x="361" y="1785"/>
                    <a:pt x="347" y="1785"/>
                  </a:cubicBezTo>
                  <a:close/>
                  <a:moveTo>
                    <a:pt x="341" y="1832"/>
                  </a:moveTo>
                  <a:cubicBezTo>
                    <a:pt x="341" y="1838"/>
                    <a:pt x="338" y="1844"/>
                    <a:pt x="333" y="1841"/>
                  </a:cubicBezTo>
                  <a:cubicBezTo>
                    <a:pt x="333" y="1838"/>
                    <a:pt x="333" y="1835"/>
                    <a:pt x="330" y="1835"/>
                  </a:cubicBezTo>
                  <a:cubicBezTo>
                    <a:pt x="333" y="1832"/>
                    <a:pt x="338" y="1832"/>
                    <a:pt x="341" y="1832"/>
                  </a:cubicBezTo>
                  <a:close/>
                  <a:moveTo>
                    <a:pt x="355" y="2081"/>
                  </a:moveTo>
                  <a:cubicBezTo>
                    <a:pt x="361" y="2098"/>
                    <a:pt x="344" y="2100"/>
                    <a:pt x="341" y="2112"/>
                  </a:cubicBezTo>
                  <a:cubicBezTo>
                    <a:pt x="330" y="2109"/>
                    <a:pt x="336" y="2100"/>
                    <a:pt x="330" y="2092"/>
                  </a:cubicBezTo>
                  <a:cubicBezTo>
                    <a:pt x="336" y="2081"/>
                    <a:pt x="344" y="2078"/>
                    <a:pt x="355" y="2081"/>
                  </a:cubicBezTo>
                  <a:close/>
                  <a:moveTo>
                    <a:pt x="330" y="2112"/>
                  </a:moveTo>
                  <a:cubicBezTo>
                    <a:pt x="344" y="2112"/>
                    <a:pt x="327" y="2134"/>
                    <a:pt x="330" y="2112"/>
                  </a:cubicBezTo>
                  <a:close/>
                  <a:moveTo>
                    <a:pt x="336" y="2264"/>
                  </a:moveTo>
                  <a:cubicBezTo>
                    <a:pt x="338" y="2261"/>
                    <a:pt x="333" y="2270"/>
                    <a:pt x="336" y="2264"/>
                  </a:cubicBezTo>
                  <a:close/>
                  <a:moveTo>
                    <a:pt x="338" y="2273"/>
                  </a:moveTo>
                  <a:cubicBezTo>
                    <a:pt x="336" y="2270"/>
                    <a:pt x="341" y="2273"/>
                    <a:pt x="338" y="2273"/>
                  </a:cubicBezTo>
                  <a:close/>
                  <a:moveTo>
                    <a:pt x="330" y="2304"/>
                  </a:moveTo>
                  <a:cubicBezTo>
                    <a:pt x="330" y="2298"/>
                    <a:pt x="336" y="2292"/>
                    <a:pt x="344" y="2292"/>
                  </a:cubicBezTo>
                  <a:cubicBezTo>
                    <a:pt x="341" y="2298"/>
                    <a:pt x="338" y="2304"/>
                    <a:pt x="330" y="2304"/>
                  </a:cubicBezTo>
                  <a:close/>
                  <a:moveTo>
                    <a:pt x="341" y="2315"/>
                  </a:moveTo>
                  <a:cubicBezTo>
                    <a:pt x="347" y="2329"/>
                    <a:pt x="319" y="2320"/>
                    <a:pt x="341" y="2315"/>
                  </a:cubicBezTo>
                  <a:close/>
                  <a:moveTo>
                    <a:pt x="341" y="2278"/>
                  </a:moveTo>
                  <a:lnTo>
                    <a:pt x="341" y="2264"/>
                  </a:lnTo>
                  <a:cubicBezTo>
                    <a:pt x="344" y="2267"/>
                    <a:pt x="344" y="2273"/>
                    <a:pt x="344" y="2275"/>
                  </a:cubicBezTo>
                  <a:lnTo>
                    <a:pt x="341" y="2278"/>
                  </a:lnTo>
                  <a:lnTo>
                    <a:pt x="344" y="2278"/>
                  </a:lnTo>
                  <a:cubicBezTo>
                    <a:pt x="344" y="2280"/>
                    <a:pt x="344" y="2280"/>
                    <a:pt x="345" y="2281"/>
                  </a:cubicBezTo>
                  <a:cubicBezTo>
                    <a:pt x="343" y="2280"/>
                    <a:pt x="341" y="2280"/>
                    <a:pt x="341" y="2278"/>
                  </a:cubicBezTo>
                  <a:close/>
                  <a:moveTo>
                    <a:pt x="347" y="2284"/>
                  </a:moveTo>
                  <a:cubicBezTo>
                    <a:pt x="347" y="2283"/>
                    <a:pt x="346" y="2282"/>
                    <a:pt x="345" y="2281"/>
                  </a:cubicBezTo>
                  <a:cubicBezTo>
                    <a:pt x="345" y="2282"/>
                    <a:pt x="346" y="2283"/>
                    <a:pt x="347" y="2284"/>
                  </a:cubicBezTo>
                  <a:close/>
                  <a:moveTo>
                    <a:pt x="336" y="2256"/>
                  </a:moveTo>
                  <a:lnTo>
                    <a:pt x="336" y="2239"/>
                  </a:lnTo>
                  <a:lnTo>
                    <a:pt x="336" y="2236"/>
                  </a:lnTo>
                  <a:cubicBezTo>
                    <a:pt x="336" y="2236"/>
                    <a:pt x="333" y="2233"/>
                    <a:pt x="333" y="2230"/>
                  </a:cubicBezTo>
                  <a:lnTo>
                    <a:pt x="336" y="2230"/>
                  </a:lnTo>
                  <a:cubicBezTo>
                    <a:pt x="336" y="2227"/>
                    <a:pt x="338" y="2225"/>
                    <a:pt x="338" y="2222"/>
                  </a:cubicBezTo>
                  <a:cubicBezTo>
                    <a:pt x="344" y="2222"/>
                    <a:pt x="347" y="2225"/>
                    <a:pt x="347" y="2227"/>
                  </a:cubicBezTo>
                  <a:lnTo>
                    <a:pt x="350" y="2227"/>
                  </a:lnTo>
                  <a:cubicBezTo>
                    <a:pt x="355" y="2247"/>
                    <a:pt x="347" y="2256"/>
                    <a:pt x="336" y="2256"/>
                  </a:cubicBezTo>
                  <a:close/>
                  <a:moveTo>
                    <a:pt x="341" y="2179"/>
                  </a:moveTo>
                  <a:cubicBezTo>
                    <a:pt x="344" y="2177"/>
                    <a:pt x="352" y="2177"/>
                    <a:pt x="355" y="2182"/>
                  </a:cubicBezTo>
                  <a:cubicBezTo>
                    <a:pt x="358" y="2185"/>
                    <a:pt x="358" y="2188"/>
                    <a:pt x="358" y="2188"/>
                  </a:cubicBezTo>
                  <a:cubicBezTo>
                    <a:pt x="350" y="2191"/>
                    <a:pt x="344" y="2188"/>
                    <a:pt x="341" y="2179"/>
                  </a:cubicBezTo>
                  <a:close/>
                  <a:moveTo>
                    <a:pt x="352" y="2126"/>
                  </a:moveTo>
                  <a:cubicBezTo>
                    <a:pt x="367" y="2129"/>
                    <a:pt x="350" y="2154"/>
                    <a:pt x="352" y="2126"/>
                  </a:cubicBezTo>
                  <a:close/>
                  <a:moveTo>
                    <a:pt x="367" y="527"/>
                  </a:moveTo>
                  <a:cubicBezTo>
                    <a:pt x="367" y="547"/>
                    <a:pt x="344" y="516"/>
                    <a:pt x="367" y="527"/>
                  </a:cubicBezTo>
                  <a:close/>
                  <a:moveTo>
                    <a:pt x="355" y="522"/>
                  </a:moveTo>
                  <a:cubicBezTo>
                    <a:pt x="352" y="525"/>
                    <a:pt x="350" y="527"/>
                    <a:pt x="347" y="527"/>
                  </a:cubicBezTo>
                  <a:cubicBezTo>
                    <a:pt x="347" y="525"/>
                    <a:pt x="352" y="522"/>
                    <a:pt x="355" y="522"/>
                  </a:cubicBezTo>
                  <a:close/>
                  <a:moveTo>
                    <a:pt x="350" y="697"/>
                  </a:moveTo>
                  <a:cubicBezTo>
                    <a:pt x="352" y="714"/>
                    <a:pt x="321" y="705"/>
                    <a:pt x="350" y="697"/>
                  </a:cubicBezTo>
                  <a:close/>
                  <a:moveTo>
                    <a:pt x="333" y="1675"/>
                  </a:moveTo>
                  <a:cubicBezTo>
                    <a:pt x="330" y="1686"/>
                    <a:pt x="321" y="1663"/>
                    <a:pt x="333" y="1675"/>
                  </a:cubicBezTo>
                  <a:close/>
                  <a:moveTo>
                    <a:pt x="330" y="652"/>
                  </a:moveTo>
                  <a:cubicBezTo>
                    <a:pt x="333" y="652"/>
                    <a:pt x="324" y="649"/>
                    <a:pt x="330" y="652"/>
                  </a:cubicBezTo>
                  <a:close/>
                  <a:moveTo>
                    <a:pt x="321" y="601"/>
                  </a:moveTo>
                  <a:cubicBezTo>
                    <a:pt x="321" y="595"/>
                    <a:pt x="330" y="604"/>
                    <a:pt x="321" y="601"/>
                  </a:cubicBezTo>
                  <a:close/>
                  <a:moveTo>
                    <a:pt x="321" y="1658"/>
                  </a:moveTo>
                  <a:cubicBezTo>
                    <a:pt x="324" y="1669"/>
                    <a:pt x="307" y="1658"/>
                    <a:pt x="321" y="1658"/>
                  </a:cubicBezTo>
                  <a:close/>
                  <a:moveTo>
                    <a:pt x="305" y="2067"/>
                  </a:moveTo>
                  <a:cubicBezTo>
                    <a:pt x="310" y="2067"/>
                    <a:pt x="313" y="2072"/>
                    <a:pt x="316" y="2072"/>
                  </a:cubicBezTo>
                  <a:cubicBezTo>
                    <a:pt x="318" y="2072"/>
                    <a:pt x="312" y="2074"/>
                    <a:pt x="309" y="2077"/>
                  </a:cubicBezTo>
                  <a:cubicBezTo>
                    <a:pt x="307" y="2079"/>
                    <a:pt x="304" y="2081"/>
                    <a:pt x="302" y="2081"/>
                  </a:cubicBezTo>
                  <a:cubicBezTo>
                    <a:pt x="302" y="2079"/>
                    <a:pt x="303" y="2075"/>
                    <a:pt x="306" y="2073"/>
                  </a:cubicBezTo>
                  <a:cubicBezTo>
                    <a:pt x="305" y="2071"/>
                    <a:pt x="305" y="2068"/>
                    <a:pt x="305" y="2067"/>
                  </a:cubicBezTo>
                  <a:close/>
                  <a:moveTo>
                    <a:pt x="316" y="2188"/>
                  </a:moveTo>
                  <a:cubicBezTo>
                    <a:pt x="319" y="2191"/>
                    <a:pt x="313" y="2188"/>
                    <a:pt x="316" y="2188"/>
                  </a:cubicBezTo>
                  <a:close/>
                  <a:moveTo>
                    <a:pt x="307" y="2129"/>
                  </a:moveTo>
                  <a:cubicBezTo>
                    <a:pt x="288" y="2126"/>
                    <a:pt x="307" y="2115"/>
                    <a:pt x="302" y="2100"/>
                  </a:cubicBezTo>
                  <a:cubicBezTo>
                    <a:pt x="319" y="2106"/>
                    <a:pt x="302" y="2120"/>
                    <a:pt x="307" y="2129"/>
                  </a:cubicBezTo>
                  <a:close/>
                  <a:moveTo>
                    <a:pt x="293" y="2095"/>
                  </a:moveTo>
                  <a:cubicBezTo>
                    <a:pt x="290" y="2100"/>
                    <a:pt x="288" y="2103"/>
                    <a:pt x="282" y="2100"/>
                  </a:cubicBezTo>
                  <a:cubicBezTo>
                    <a:pt x="282" y="2100"/>
                    <a:pt x="279" y="2100"/>
                    <a:pt x="279" y="2098"/>
                  </a:cubicBezTo>
                  <a:lnTo>
                    <a:pt x="276" y="2098"/>
                  </a:lnTo>
                  <a:cubicBezTo>
                    <a:pt x="276" y="2095"/>
                    <a:pt x="273" y="2095"/>
                    <a:pt x="273" y="2095"/>
                  </a:cubicBezTo>
                  <a:cubicBezTo>
                    <a:pt x="273" y="2095"/>
                    <a:pt x="273" y="2092"/>
                    <a:pt x="271" y="2092"/>
                  </a:cubicBezTo>
                  <a:cubicBezTo>
                    <a:pt x="273" y="2086"/>
                    <a:pt x="273" y="2084"/>
                    <a:pt x="276" y="2084"/>
                  </a:cubicBezTo>
                  <a:cubicBezTo>
                    <a:pt x="279" y="2081"/>
                    <a:pt x="282" y="2081"/>
                    <a:pt x="285" y="2078"/>
                  </a:cubicBezTo>
                  <a:lnTo>
                    <a:pt x="285" y="2086"/>
                  </a:lnTo>
                  <a:cubicBezTo>
                    <a:pt x="288" y="2092"/>
                    <a:pt x="290" y="2095"/>
                    <a:pt x="293" y="2095"/>
                  </a:cubicBezTo>
                  <a:close/>
                  <a:moveTo>
                    <a:pt x="290" y="2145"/>
                  </a:moveTo>
                  <a:cubicBezTo>
                    <a:pt x="289" y="2145"/>
                    <a:pt x="289" y="2146"/>
                    <a:pt x="288" y="2146"/>
                  </a:cubicBezTo>
                  <a:cubicBezTo>
                    <a:pt x="288" y="2146"/>
                    <a:pt x="289" y="2146"/>
                    <a:pt x="290" y="2145"/>
                  </a:cubicBezTo>
                  <a:close/>
                  <a:moveTo>
                    <a:pt x="290" y="2143"/>
                  </a:moveTo>
                  <a:cubicBezTo>
                    <a:pt x="290" y="2143"/>
                    <a:pt x="290" y="2144"/>
                    <a:pt x="290" y="2145"/>
                  </a:cubicBezTo>
                  <a:cubicBezTo>
                    <a:pt x="290" y="2144"/>
                    <a:pt x="290" y="2144"/>
                    <a:pt x="290" y="2143"/>
                  </a:cubicBezTo>
                  <a:close/>
                  <a:moveTo>
                    <a:pt x="273" y="2050"/>
                  </a:moveTo>
                  <a:cubicBezTo>
                    <a:pt x="268" y="2058"/>
                    <a:pt x="268" y="2067"/>
                    <a:pt x="262" y="2072"/>
                  </a:cubicBezTo>
                  <a:cubicBezTo>
                    <a:pt x="257" y="2061"/>
                    <a:pt x="248" y="2053"/>
                    <a:pt x="240" y="2047"/>
                  </a:cubicBezTo>
                  <a:cubicBezTo>
                    <a:pt x="242" y="2033"/>
                    <a:pt x="254" y="2019"/>
                    <a:pt x="268" y="2013"/>
                  </a:cubicBezTo>
                  <a:lnTo>
                    <a:pt x="265" y="2013"/>
                  </a:lnTo>
                  <a:cubicBezTo>
                    <a:pt x="262" y="2013"/>
                    <a:pt x="259" y="2016"/>
                    <a:pt x="257" y="2016"/>
                  </a:cubicBezTo>
                  <a:cubicBezTo>
                    <a:pt x="259" y="2013"/>
                    <a:pt x="262" y="2010"/>
                    <a:pt x="268" y="2007"/>
                  </a:cubicBezTo>
                  <a:lnTo>
                    <a:pt x="268" y="2010"/>
                  </a:lnTo>
                  <a:cubicBezTo>
                    <a:pt x="268" y="2010"/>
                    <a:pt x="268" y="2013"/>
                    <a:pt x="271" y="2013"/>
                  </a:cubicBezTo>
                  <a:lnTo>
                    <a:pt x="271" y="2019"/>
                  </a:lnTo>
                  <a:cubicBezTo>
                    <a:pt x="276" y="2016"/>
                    <a:pt x="279" y="2016"/>
                    <a:pt x="285" y="2013"/>
                  </a:cubicBezTo>
                  <a:cubicBezTo>
                    <a:pt x="276" y="2033"/>
                    <a:pt x="305" y="2041"/>
                    <a:pt x="299" y="2058"/>
                  </a:cubicBezTo>
                  <a:cubicBezTo>
                    <a:pt x="290" y="2058"/>
                    <a:pt x="282" y="2055"/>
                    <a:pt x="273" y="2050"/>
                  </a:cubicBezTo>
                  <a:close/>
                  <a:moveTo>
                    <a:pt x="254" y="2103"/>
                  </a:moveTo>
                  <a:lnTo>
                    <a:pt x="254" y="2102"/>
                  </a:lnTo>
                  <a:cubicBezTo>
                    <a:pt x="254" y="2101"/>
                    <a:pt x="255" y="2100"/>
                    <a:pt x="254" y="2103"/>
                  </a:cubicBezTo>
                  <a:cubicBezTo>
                    <a:pt x="252" y="2105"/>
                    <a:pt x="253" y="2103"/>
                    <a:pt x="254" y="2102"/>
                  </a:cubicBezTo>
                  <a:lnTo>
                    <a:pt x="254" y="2103"/>
                  </a:lnTo>
                  <a:close/>
                  <a:moveTo>
                    <a:pt x="228" y="1943"/>
                  </a:moveTo>
                  <a:cubicBezTo>
                    <a:pt x="220" y="1943"/>
                    <a:pt x="217" y="1917"/>
                    <a:pt x="231" y="1920"/>
                  </a:cubicBezTo>
                  <a:cubicBezTo>
                    <a:pt x="231" y="1928"/>
                    <a:pt x="240" y="1926"/>
                    <a:pt x="237" y="1937"/>
                  </a:cubicBezTo>
                  <a:cubicBezTo>
                    <a:pt x="231" y="1934"/>
                    <a:pt x="228" y="1937"/>
                    <a:pt x="228" y="1943"/>
                  </a:cubicBezTo>
                  <a:close/>
                  <a:moveTo>
                    <a:pt x="220" y="2016"/>
                  </a:moveTo>
                  <a:cubicBezTo>
                    <a:pt x="209" y="2010"/>
                    <a:pt x="200" y="1976"/>
                    <a:pt x="223" y="1974"/>
                  </a:cubicBezTo>
                  <a:cubicBezTo>
                    <a:pt x="226" y="1988"/>
                    <a:pt x="211" y="1996"/>
                    <a:pt x="220" y="2016"/>
                  </a:cubicBezTo>
                  <a:close/>
                  <a:moveTo>
                    <a:pt x="211" y="2095"/>
                  </a:moveTo>
                  <a:cubicBezTo>
                    <a:pt x="192" y="2103"/>
                    <a:pt x="203" y="2067"/>
                    <a:pt x="211" y="2095"/>
                  </a:cubicBezTo>
                  <a:close/>
                  <a:moveTo>
                    <a:pt x="189" y="1570"/>
                  </a:moveTo>
                  <a:cubicBezTo>
                    <a:pt x="191" y="1577"/>
                    <a:pt x="186" y="1580"/>
                    <a:pt x="183" y="1580"/>
                  </a:cubicBezTo>
                  <a:lnTo>
                    <a:pt x="183" y="1581"/>
                  </a:lnTo>
                  <a:cubicBezTo>
                    <a:pt x="180" y="1581"/>
                    <a:pt x="178" y="1584"/>
                    <a:pt x="175" y="1584"/>
                  </a:cubicBezTo>
                  <a:lnTo>
                    <a:pt x="178" y="1579"/>
                  </a:lnTo>
                  <a:cubicBezTo>
                    <a:pt x="180" y="1579"/>
                    <a:pt x="178" y="1576"/>
                    <a:pt x="180" y="1579"/>
                  </a:cubicBezTo>
                  <a:cubicBezTo>
                    <a:pt x="178" y="1573"/>
                    <a:pt x="183" y="1573"/>
                    <a:pt x="189" y="1570"/>
                  </a:cubicBezTo>
                  <a:close/>
                  <a:moveTo>
                    <a:pt x="186" y="1799"/>
                  </a:moveTo>
                  <a:cubicBezTo>
                    <a:pt x="200" y="1799"/>
                    <a:pt x="183" y="1821"/>
                    <a:pt x="186" y="1799"/>
                  </a:cubicBezTo>
                  <a:close/>
                  <a:moveTo>
                    <a:pt x="186" y="1708"/>
                  </a:moveTo>
                  <a:cubicBezTo>
                    <a:pt x="200" y="1728"/>
                    <a:pt x="161" y="1691"/>
                    <a:pt x="186" y="1708"/>
                  </a:cubicBezTo>
                  <a:close/>
                  <a:moveTo>
                    <a:pt x="183" y="1847"/>
                  </a:moveTo>
                  <a:cubicBezTo>
                    <a:pt x="186" y="1847"/>
                    <a:pt x="178" y="1844"/>
                    <a:pt x="183" y="1847"/>
                  </a:cubicBezTo>
                  <a:close/>
                  <a:moveTo>
                    <a:pt x="180" y="1911"/>
                  </a:moveTo>
                  <a:cubicBezTo>
                    <a:pt x="178" y="1909"/>
                    <a:pt x="186" y="1911"/>
                    <a:pt x="180" y="1911"/>
                  </a:cubicBezTo>
                  <a:close/>
                  <a:moveTo>
                    <a:pt x="183" y="1694"/>
                  </a:moveTo>
                  <a:cubicBezTo>
                    <a:pt x="180" y="1703"/>
                    <a:pt x="163" y="1691"/>
                    <a:pt x="183" y="1694"/>
                  </a:cubicBezTo>
                  <a:close/>
                  <a:moveTo>
                    <a:pt x="179" y="1680"/>
                  </a:moveTo>
                  <a:cubicBezTo>
                    <a:pt x="175" y="1682"/>
                    <a:pt x="169" y="1682"/>
                    <a:pt x="169" y="1675"/>
                  </a:cubicBezTo>
                  <a:lnTo>
                    <a:pt x="183" y="1675"/>
                  </a:lnTo>
                  <a:cubicBezTo>
                    <a:pt x="198" y="1679"/>
                    <a:pt x="174" y="1689"/>
                    <a:pt x="179" y="1680"/>
                  </a:cubicBezTo>
                  <a:close/>
                  <a:moveTo>
                    <a:pt x="178" y="1607"/>
                  </a:moveTo>
                  <a:cubicBezTo>
                    <a:pt x="172" y="1607"/>
                    <a:pt x="178" y="1601"/>
                    <a:pt x="178" y="1596"/>
                  </a:cubicBezTo>
                  <a:cubicBezTo>
                    <a:pt x="180" y="1598"/>
                    <a:pt x="178" y="1607"/>
                    <a:pt x="178" y="1607"/>
                  </a:cubicBezTo>
                  <a:close/>
                  <a:moveTo>
                    <a:pt x="178" y="1624"/>
                  </a:moveTo>
                  <a:cubicBezTo>
                    <a:pt x="175" y="1627"/>
                    <a:pt x="180" y="1618"/>
                    <a:pt x="178" y="1624"/>
                  </a:cubicBezTo>
                  <a:close/>
                  <a:moveTo>
                    <a:pt x="178" y="1689"/>
                  </a:moveTo>
                  <a:cubicBezTo>
                    <a:pt x="175" y="1691"/>
                    <a:pt x="172" y="1694"/>
                    <a:pt x="169" y="1694"/>
                  </a:cubicBezTo>
                  <a:cubicBezTo>
                    <a:pt x="166" y="1689"/>
                    <a:pt x="175" y="1689"/>
                    <a:pt x="178" y="1689"/>
                  </a:cubicBezTo>
                  <a:close/>
                  <a:moveTo>
                    <a:pt x="172" y="1838"/>
                  </a:moveTo>
                  <a:cubicBezTo>
                    <a:pt x="175" y="1838"/>
                    <a:pt x="175" y="1844"/>
                    <a:pt x="175" y="1847"/>
                  </a:cubicBezTo>
                  <a:lnTo>
                    <a:pt x="169" y="1847"/>
                  </a:lnTo>
                  <a:cubicBezTo>
                    <a:pt x="166" y="1844"/>
                    <a:pt x="172" y="1844"/>
                    <a:pt x="172" y="1838"/>
                  </a:cubicBezTo>
                  <a:close/>
                  <a:moveTo>
                    <a:pt x="172" y="1700"/>
                  </a:moveTo>
                  <a:cubicBezTo>
                    <a:pt x="175" y="1700"/>
                    <a:pt x="178" y="1708"/>
                    <a:pt x="180" y="1711"/>
                  </a:cubicBezTo>
                  <a:cubicBezTo>
                    <a:pt x="169" y="1717"/>
                    <a:pt x="169" y="1703"/>
                    <a:pt x="172" y="1700"/>
                  </a:cubicBezTo>
                  <a:close/>
                  <a:moveTo>
                    <a:pt x="183" y="1717"/>
                  </a:moveTo>
                  <a:cubicBezTo>
                    <a:pt x="178" y="1734"/>
                    <a:pt x="175" y="1706"/>
                    <a:pt x="183" y="1717"/>
                  </a:cubicBezTo>
                  <a:close/>
                  <a:moveTo>
                    <a:pt x="186" y="2060"/>
                  </a:moveTo>
                  <a:cubicBezTo>
                    <a:pt x="189" y="2059"/>
                    <a:pt x="192" y="2058"/>
                    <a:pt x="194" y="2058"/>
                  </a:cubicBezTo>
                  <a:lnTo>
                    <a:pt x="192" y="2058"/>
                  </a:lnTo>
                  <a:cubicBezTo>
                    <a:pt x="197" y="2053"/>
                    <a:pt x="200" y="2055"/>
                    <a:pt x="197" y="2061"/>
                  </a:cubicBezTo>
                  <a:cubicBezTo>
                    <a:pt x="197" y="2067"/>
                    <a:pt x="197" y="2069"/>
                    <a:pt x="194" y="2072"/>
                  </a:cubicBezTo>
                  <a:cubicBezTo>
                    <a:pt x="194" y="2075"/>
                    <a:pt x="194" y="2081"/>
                    <a:pt x="197" y="2084"/>
                  </a:cubicBezTo>
                  <a:cubicBezTo>
                    <a:pt x="192" y="2084"/>
                    <a:pt x="189" y="2084"/>
                    <a:pt x="189" y="2089"/>
                  </a:cubicBezTo>
                  <a:cubicBezTo>
                    <a:pt x="183" y="2086"/>
                    <a:pt x="186" y="2084"/>
                    <a:pt x="189" y="2078"/>
                  </a:cubicBezTo>
                  <a:cubicBezTo>
                    <a:pt x="180" y="2081"/>
                    <a:pt x="172" y="2081"/>
                    <a:pt x="163" y="2081"/>
                  </a:cubicBezTo>
                  <a:cubicBezTo>
                    <a:pt x="166" y="2078"/>
                    <a:pt x="166" y="2072"/>
                    <a:pt x="169" y="2069"/>
                  </a:cubicBezTo>
                  <a:lnTo>
                    <a:pt x="166" y="2069"/>
                  </a:lnTo>
                  <a:lnTo>
                    <a:pt x="166" y="2064"/>
                  </a:lnTo>
                  <a:cubicBezTo>
                    <a:pt x="172" y="2061"/>
                    <a:pt x="175" y="2061"/>
                    <a:pt x="175" y="2064"/>
                  </a:cubicBezTo>
                  <a:cubicBezTo>
                    <a:pt x="177" y="2062"/>
                    <a:pt x="181" y="2061"/>
                    <a:pt x="184" y="2060"/>
                  </a:cubicBezTo>
                  <a:cubicBezTo>
                    <a:pt x="162" y="2046"/>
                    <a:pt x="183" y="2020"/>
                    <a:pt x="186" y="2060"/>
                  </a:cubicBezTo>
                  <a:close/>
                  <a:moveTo>
                    <a:pt x="179" y="1959"/>
                  </a:moveTo>
                  <a:lnTo>
                    <a:pt x="179" y="1959"/>
                  </a:lnTo>
                  <a:cubicBezTo>
                    <a:pt x="179" y="1955"/>
                    <a:pt x="179" y="1952"/>
                    <a:pt x="178" y="1951"/>
                  </a:cubicBezTo>
                  <a:cubicBezTo>
                    <a:pt x="186" y="1948"/>
                    <a:pt x="189" y="1957"/>
                    <a:pt x="192" y="1965"/>
                  </a:cubicBezTo>
                  <a:cubicBezTo>
                    <a:pt x="189" y="1965"/>
                    <a:pt x="186" y="1968"/>
                    <a:pt x="186" y="1971"/>
                  </a:cubicBezTo>
                  <a:cubicBezTo>
                    <a:pt x="181" y="1971"/>
                    <a:pt x="180" y="1965"/>
                    <a:pt x="179" y="1960"/>
                  </a:cubicBezTo>
                  <a:cubicBezTo>
                    <a:pt x="179" y="1960"/>
                    <a:pt x="179" y="1960"/>
                    <a:pt x="179" y="1959"/>
                  </a:cubicBezTo>
                  <a:close/>
                  <a:moveTo>
                    <a:pt x="197" y="1990"/>
                  </a:moveTo>
                  <a:cubicBezTo>
                    <a:pt x="192" y="1999"/>
                    <a:pt x="189" y="1982"/>
                    <a:pt x="197" y="1990"/>
                  </a:cubicBezTo>
                  <a:close/>
                  <a:moveTo>
                    <a:pt x="209" y="1770"/>
                  </a:moveTo>
                  <a:cubicBezTo>
                    <a:pt x="200" y="1773"/>
                    <a:pt x="197" y="1765"/>
                    <a:pt x="194" y="1759"/>
                  </a:cubicBezTo>
                  <a:cubicBezTo>
                    <a:pt x="197" y="1759"/>
                    <a:pt x="206" y="1762"/>
                    <a:pt x="209" y="1770"/>
                  </a:cubicBezTo>
                  <a:close/>
                  <a:moveTo>
                    <a:pt x="194" y="1737"/>
                  </a:moveTo>
                  <a:cubicBezTo>
                    <a:pt x="194" y="1731"/>
                    <a:pt x="200" y="1731"/>
                    <a:pt x="200" y="1728"/>
                  </a:cubicBezTo>
                  <a:cubicBezTo>
                    <a:pt x="206" y="1731"/>
                    <a:pt x="200" y="1739"/>
                    <a:pt x="194" y="1737"/>
                  </a:cubicBezTo>
                  <a:close/>
                  <a:moveTo>
                    <a:pt x="217" y="1768"/>
                  </a:moveTo>
                  <a:cubicBezTo>
                    <a:pt x="214" y="1759"/>
                    <a:pt x="211" y="1751"/>
                    <a:pt x="211" y="1742"/>
                  </a:cubicBezTo>
                  <a:lnTo>
                    <a:pt x="206" y="1742"/>
                  </a:lnTo>
                  <a:cubicBezTo>
                    <a:pt x="211" y="1734"/>
                    <a:pt x="240" y="1762"/>
                    <a:pt x="217" y="1768"/>
                  </a:cubicBezTo>
                  <a:close/>
                  <a:moveTo>
                    <a:pt x="206" y="1739"/>
                  </a:moveTo>
                  <a:cubicBezTo>
                    <a:pt x="206" y="1737"/>
                    <a:pt x="209" y="1739"/>
                    <a:pt x="206" y="1739"/>
                  </a:cubicBezTo>
                  <a:close/>
                  <a:moveTo>
                    <a:pt x="211" y="1731"/>
                  </a:moveTo>
                  <a:lnTo>
                    <a:pt x="211" y="1732"/>
                  </a:lnTo>
                  <a:cubicBezTo>
                    <a:pt x="211" y="1732"/>
                    <a:pt x="210" y="1731"/>
                    <a:pt x="211" y="1731"/>
                  </a:cubicBezTo>
                  <a:cubicBezTo>
                    <a:pt x="213" y="1732"/>
                    <a:pt x="212" y="1732"/>
                    <a:pt x="211" y="1732"/>
                  </a:cubicBezTo>
                  <a:lnTo>
                    <a:pt x="211" y="1731"/>
                  </a:lnTo>
                  <a:close/>
                  <a:moveTo>
                    <a:pt x="228" y="1694"/>
                  </a:moveTo>
                  <a:lnTo>
                    <a:pt x="228" y="1706"/>
                  </a:lnTo>
                  <a:lnTo>
                    <a:pt x="217" y="1706"/>
                  </a:lnTo>
                  <a:cubicBezTo>
                    <a:pt x="217" y="1703"/>
                    <a:pt x="214" y="1697"/>
                    <a:pt x="214" y="1694"/>
                  </a:cubicBezTo>
                  <a:cubicBezTo>
                    <a:pt x="217" y="1697"/>
                    <a:pt x="223" y="1694"/>
                    <a:pt x="228" y="1694"/>
                  </a:cubicBezTo>
                  <a:close/>
                  <a:moveTo>
                    <a:pt x="248" y="1598"/>
                  </a:moveTo>
                  <a:cubicBezTo>
                    <a:pt x="245" y="1598"/>
                    <a:pt x="240" y="1601"/>
                    <a:pt x="237" y="1601"/>
                  </a:cubicBezTo>
                  <a:cubicBezTo>
                    <a:pt x="237" y="1596"/>
                    <a:pt x="234" y="1593"/>
                    <a:pt x="234" y="1587"/>
                  </a:cubicBezTo>
                  <a:cubicBezTo>
                    <a:pt x="240" y="1587"/>
                    <a:pt x="251" y="1587"/>
                    <a:pt x="248" y="1598"/>
                  </a:cubicBezTo>
                  <a:close/>
                  <a:moveTo>
                    <a:pt x="240" y="787"/>
                  </a:moveTo>
                  <a:cubicBezTo>
                    <a:pt x="240" y="781"/>
                    <a:pt x="251" y="790"/>
                    <a:pt x="240" y="787"/>
                  </a:cubicBezTo>
                  <a:close/>
                  <a:moveTo>
                    <a:pt x="259" y="1686"/>
                  </a:moveTo>
                  <a:cubicBezTo>
                    <a:pt x="262" y="1700"/>
                    <a:pt x="234" y="1691"/>
                    <a:pt x="259" y="1686"/>
                  </a:cubicBezTo>
                  <a:close/>
                  <a:moveTo>
                    <a:pt x="271" y="1694"/>
                  </a:moveTo>
                  <a:cubicBezTo>
                    <a:pt x="293" y="1703"/>
                    <a:pt x="242" y="1711"/>
                    <a:pt x="271" y="1694"/>
                  </a:cubicBezTo>
                  <a:close/>
                  <a:moveTo>
                    <a:pt x="262" y="1635"/>
                  </a:moveTo>
                  <a:cubicBezTo>
                    <a:pt x="265" y="1629"/>
                    <a:pt x="273" y="1638"/>
                    <a:pt x="262" y="1635"/>
                  </a:cubicBezTo>
                  <a:close/>
                  <a:moveTo>
                    <a:pt x="285" y="1646"/>
                  </a:moveTo>
                  <a:cubicBezTo>
                    <a:pt x="296" y="1641"/>
                    <a:pt x="302" y="1652"/>
                    <a:pt x="310" y="1652"/>
                  </a:cubicBezTo>
                  <a:cubicBezTo>
                    <a:pt x="302" y="1663"/>
                    <a:pt x="290" y="1672"/>
                    <a:pt x="296" y="1691"/>
                  </a:cubicBezTo>
                  <a:cubicBezTo>
                    <a:pt x="282" y="1694"/>
                    <a:pt x="290" y="1675"/>
                    <a:pt x="276" y="1689"/>
                  </a:cubicBezTo>
                  <a:cubicBezTo>
                    <a:pt x="268" y="1666"/>
                    <a:pt x="293" y="1666"/>
                    <a:pt x="285" y="1646"/>
                  </a:cubicBezTo>
                  <a:close/>
                  <a:moveTo>
                    <a:pt x="302" y="779"/>
                  </a:moveTo>
                  <a:cubicBezTo>
                    <a:pt x="307" y="793"/>
                    <a:pt x="279" y="784"/>
                    <a:pt x="302" y="779"/>
                  </a:cubicBezTo>
                  <a:close/>
                  <a:moveTo>
                    <a:pt x="302" y="1782"/>
                  </a:moveTo>
                  <a:cubicBezTo>
                    <a:pt x="302" y="1776"/>
                    <a:pt x="310" y="1785"/>
                    <a:pt x="302" y="1782"/>
                  </a:cubicBezTo>
                  <a:close/>
                  <a:moveTo>
                    <a:pt x="307" y="1816"/>
                  </a:moveTo>
                  <a:cubicBezTo>
                    <a:pt x="305" y="1816"/>
                    <a:pt x="299" y="1813"/>
                    <a:pt x="299" y="1813"/>
                  </a:cubicBezTo>
                  <a:cubicBezTo>
                    <a:pt x="296" y="1810"/>
                    <a:pt x="310" y="1810"/>
                    <a:pt x="307" y="1816"/>
                  </a:cubicBezTo>
                  <a:close/>
                  <a:moveTo>
                    <a:pt x="299" y="1835"/>
                  </a:moveTo>
                  <a:cubicBezTo>
                    <a:pt x="293" y="1835"/>
                    <a:pt x="290" y="1827"/>
                    <a:pt x="285" y="1827"/>
                  </a:cubicBezTo>
                  <a:cubicBezTo>
                    <a:pt x="296" y="1821"/>
                    <a:pt x="299" y="1827"/>
                    <a:pt x="299" y="1835"/>
                  </a:cubicBezTo>
                  <a:close/>
                  <a:moveTo>
                    <a:pt x="288" y="1804"/>
                  </a:moveTo>
                  <a:cubicBezTo>
                    <a:pt x="285" y="1807"/>
                    <a:pt x="288" y="1801"/>
                    <a:pt x="288" y="1804"/>
                  </a:cubicBezTo>
                  <a:close/>
                  <a:moveTo>
                    <a:pt x="280" y="1877"/>
                  </a:moveTo>
                  <a:cubicBezTo>
                    <a:pt x="279" y="1877"/>
                    <a:pt x="277" y="1877"/>
                    <a:pt x="276" y="1878"/>
                  </a:cubicBezTo>
                  <a:cubicBezTo>
                    <a:pt x="273" y="1872"/>
                    <a:pt x="279" y="1869"/>
                    <a:pt x="285" y="1866"/>
                  </a:cubicBezTo>
                  <a:lnTo>
                    <a:pt x="282" y="1864"/>
                  </a:lnTo>
                  <a:cubicBezTo>
                    <a:pt x="285" y="1864"/>
                    <a:pt x="288" y="1864"/>
                    <a:pt x="285" y="1858"/>
                  </a:cubicBezTo>
                  <a:cubicBezTo>
                    <a:pt x="296" y="1861"/>
                    <a:pt x="310" y="1864"/>
                    <a:pt x="324" y="1866"/>
                  </a:cubicBezTo>
                  <a:cubicBezTo>
                    <a:pt x="317" y="1878"/>
                    <a:pt x="300" y="1874"/>
                    <a:pt x="284" y="1876"/>
                  </a:cubicBezTo>
                  <a:cubicBezTo>
                    <a:pt x="294" y="1881"/>
                    <a:pt x="266" y="1890"/>
                    <a:pt x="280" y="1877"/>
                  </a:cubicBezTo>
                  <a:close/>
                  <a:moveTo>
                    <a:pt x="282" y="1962"/>
                  </a:moveTo>
                  <a:cubicBezTo>
                    <a:pt x="273" y="1974"/>
                    <a:pt x="288" y="1948"/>
                    <a:pt x="282" y="1962"/>
                  </a:cubicBezTo>
                  <a:close/>
                  <a:moveTo>
                    <a:pt x="279" y="1796"/>
                  </a:moveTo>
                  <a:cubicBezTo>
                    <a:pt x="276" y="1799"/>
                    <a:pt x="273" y="1801"/>
                    <a:pt x="271" y="1801"/>
                  </a:cubicBezTo>
                  <a:cubicBezTo>
                    <a:pt x="271" y="1799"/>
                    <a:pt x="273" y="1799"/>
                    <a:pt x="279" y="1796"/>
                  </a:cubicBezTo>
                  <a:close/>
                  <a:moveTo>
                    <a:pt x="273" y="1770"/>
                  </a:moveTo>
                  <a:lnTo>
                    <a:pt x="272" y="1770"/>
                  </a:lnTo>
                  <a:cubicBezTo>
                    <a:pt x="273" y="1770"/>
                    <a:pt x="273" y="1769"/>
                    <a:pt x="273" y="1770"/>
                  </a:cubicBezTo>
                  <a:cubicBezTo>
                    <a:pt x="272" y="1772"/>
                    <a:pt x="272" y="1771"/>
                    <a:pt x="272" y="1770"/>
                  </a:cubicBezTo>
                  <a:lnTo>
                    <a:pt x="273" y="1770"/>
                  </a:lnTo>
                  <a:close/>
                  <a:moveTo>
                    <a:pt x="279" y="1739"/>
                  </a:moveTo>
                  <a:cubicBezTo>
                    <a:pt x="282" y="1742"/>
                    <a:pt x="273" y="1739"/>
                    <a:pt x="279" y="1739"/>
                  </a:cubicBezTo>
                  <a:close/>
                  <a:moveTo>
                    <a:pt x="276" y="1722"/>
                  </a:moveTo>
                  <a:cubicBezTo>
                    <a:pt x="296" y="1742"/>
                    <a:pt x="262" y="1745"/>
                    <a:pt x="276" y="1722"/>
                  </a:cubicBezTo>
                  <a:close/>
                  <a:moveTo>
                    <a:pt x="282" y="1717"/>
                  </a:moveTo>
                  <a:cubicBezTo>
                    <a:pt x="276" y="1731"/>
                    <a:pt x="273" y="1706"/>
                    <a:pt x="282" y="1717"/>
                  </a:cubicBezTo>
                  <a:close/>
                  <a:moveTo>
                    <a:pt x="271" y="1852"/>
                  </a:moveTo>
                  <a:cubicBezTo>
                    <a:pt x="276" y="1866"/>
                    <a:pt x="248" y="1858"/>
                    <a:pt x="271" y="1852"/>
                  </a:cubicBezTo>
                  <a:close/>
                  <a:moveTo>
                    <a:pt x="254" y="1773"/>
                  </a:moveTo>
                  <a:cubicBezTo>
                    <a:pt x="257" y="1782"/>
                    <a:pt x="248" y="1793"/>
                    <a:pt x="242" y="1787"/>
                  </a:cubicBezTo>
                  <a:cubicBezTo>
                    <a:pt x="237" y="1782"/>
                    <a:pt x="245" y="1776"/>
                    <a:pt x="254" y="1773"/>
                  </a:cubicBezTo>
                  <a:close/>
                  <a:moveTo>
                    <a:pt x="251" y="1754"/>
                  </a:moveTo>
                  <a:cubicBezTo>
                    <a:pt x="271" y="1754"/>
                    <a:pt x="242" y="1782"/>
                    <a:pt x="251" y="1754"/>
                  </a:cubicBezTo>
                  <a:close/>
                  <a:moveTo>
                    <a:pt x="254" y="1807"/>
                  </a:moveTo>
                  <a:cubicBezTo>
                    <a:pt x="242" y="1816"/>
                    <a:pt x="248" y="1793"/>
                    <a:pt x="237" y="1801"/>
                  </a:cubicBezTo>
                  <a:cubicBezTo>
                    <a:pt x="240" y="1790"/>
                    <a:pt x="257" y="1796"/>
                    <a:pt x="254" y="1807"/>
                  </a:cubicBezTo>
                  <a:close/>
                  <a:moveTo>
                    <a:pt x="240" y="1838"/>
                  </a:moveTo>
                  <a:cubicBezTo>
                    <a:pt x="240" y="1832"/>
                    <a:pt x="251" y="1832"/>
                    <a:pt x="257" y="1830"/>
                  </a:cubicBezTo>
                  <a:cubicBezTo>
                    <a:pt x="257" y="1832"/>
                    <a:pt x="259" y="1835"/>
                    <a:pt x="257" y="1838"/>
                  </a:cubicBezTo>
                  <a:lnTo>
                    <a:pt x="259" y="1841"/>
                  </a:lnTo>
                  <a:cubicBezTo>
                    <a:pt x="245" y="1858"/>
                    <a:pt x="240" y="1847"/>
                    <a:pt x="240" y="1838"/>
                  </a:cubicBezTo>
                  <a:close/>
                  <a:moveTo>
                    <a:pt x="251" y="1878"/>
                  </a:moveTo>
                  <a:cubicBezTo>
                    <a:pt x="257" y="1892"/>
                    <a:pt x="228" y="1883"/>
                    <a:pt x="251" y="1878"/>
                  </a:cubicBezTo>
                  <a:close/>
                  <a:moveTo>
                    <a:pt x="259" y="1945"/>
                  </a:moveTo>
                  <a:cubicBezTo>
                    <a:pt x="273" y="1968"/>
                    <a:pt x="234" y="1931"/>
                    <a:pt x="259" y="1945"/>
                  </a:cubicBezTo>
                  <a:close/>
                  <a:moveTo>
                    <a:pt x="257" y="1954"/>
                  </a:moveTo>
                  <a:cubicBezTo>
                    <a:pt x="273" y="1957"/>
                    <a:pt x="254" y="1982"/>
                    <a:pt x="257" y="1954"/>
                  </a:cubicBezTo>
                  <a:close/>
                  <a:moveTo>
                    <a:pt x="257" y="1799"/>
                  </a:moveTo>
                  <a:cubicBezTo>
                    <a:pt x="271" y="1799"/>
                    <a:pt x="254" y="1824"/>
                    <a:pt x="257" y="1799"/>
                  </a:cubicBezTo>
                  <a:close/>
                  <a:moveTo>
                    <a:pt x="257" y="1714"/>
                  </a:moveTo>
                  <a:cubicBezTo>
                    <a:pt x="251" y="1717"/>
                    <a:pt x="251" y="1700"/>
                    <a:pt x="259" y="1700"/>
                  </a:cubicBezTo>
                  <a:cubicBezTo>
                    <a:pt x="262" y="1708"/>
                    <a:pt x="257" y="1708"/>
                    <a:pt x="257" y="1714"/>
                  </a:cubicBezTo>
                  <a:close/>
                  <a:moveTo>
                    <a:pt x="251" y="1768"/>
                  </a:moveTo>
                  <a:cubicBezTo>
                    <a:pt x="245" y="1770"/>
                    <a:pt x="242" y="1768"/>
                    <a:pt x="234" y="1770"/>
                  </a:cubicBezTo>
                  <a:cubicBezTo>
                    <a:pt x="234" y="1759"/>
                    <a:pt x="248" y="1768"/>
                    <a:pt x="251" y="1768"/>
                  </a:cubicBezTo>
                  <a:close/>
                  <a:moveTo>
                    <a:pt x="240" y="1683"/>
                  </a:moveTo>
                  <a:cubicBezTo>
                    <a:pt x="234" y="1686"/>
                    <a:pt x="240" y="1680"/>
                    <a:pt x="240" y="1683"/>
                  </a:cubicBezTo>
                  <a:close/>
                  <a:moveTo>
                    <a:pt x="237" y="1731"/>
                  </a:moveTo>
                  <a:cubicBezTo>
                    <a:pt x="237" y="1728"/>
                    <a:pt x="242" y="1725"/>
                    <a:pt x="248" y="1725"/>
                  </a:cubicBezTo>
                  <a:cubicBezTo>
                    <a:pt x="251" y="1731"/>
                    <a:pt x="240" y="1728"/>
                    <a:pt x="237" y="1731"/>
                  </a:cubicBezTo>
                  <a:close/>
                  <a:moveTo>
                    <a:pt x="240" y="770"/>
                  </a:moveTo>
                  <a:cubicBezTo>
                    <a:pt x="237" y="770"/>
                    <a:pt x="237" y="767"/>
                    <a:pt x="234" y="767"/>
                  </a:cubicBezTo>
                  <a:cubicBezTo>
                    <a:pt x="237" y="767"/>
                    <a:pt x="242" y="770"/>
                    <a:pt x="240" y="770"/>
                  </a:cubicBezTo>
                  <a:close/>
                  <a:moveTo>
                    <a:pt x="240" y="793"/>
                  </a:moveTo>
                  <a:cubicBezTo>
                    <a:pt x="234" y="801"/>
                    <a:pt x="226" y="790"/>
                    <a:pt x="240" y="793"/>
                  </a:cubicBezTo>
                  <a:close/>
                  <a:moveTo>
                    <a:pt x="231" y="1536"/>
                  </a:moveTo>
                  <a:cubicBezTo>
                    <a:pt x="231" y="1536"/>
                    <a:pt x="234" y="1539"/>
                    <a:pt x="231" y="1542"/>
                  </a:cubicBezTo>
                  <a:lnTo>
                    <a:pt x="228" y="1542"/>
                  </a:lnTo>
                  <a:cubicBezTo>
                    <a:pt x="231" y="1542"/>
                    <a:pt x="231" y="1539"/>
                    <a:pt x="231" y="1536"/>
                  </a:cubicBezTo>
                  <a:close/>
                  <a:moveTo>
                    <a:pt x="231" y="1598"/>
                  </a:moveTo>
                  <a:cubicBezTo>
                    <a:pt x="237" y="1601"/>
                    <a:pt x="231" y="1607"/>
                    <a:pt x="231" y="1610"/>
                  </a:cubicBezTo>
                  <a:cubicBezTo>
                    <a:pt x="223" y="1610"/>
                    <a:pt x="231" y="1601"/>
                    <a:pt x="231" y="1598"/>
                  </a:cubicBezTo>
                  <a:close/>
                  <a:moveTo>
                    <a:pt x="226" y="1748"/>
                  </a:moveTo>
                  <a:cubicBezTo>
                    <a:pt x="226" y="1745"/>
                    <a:pt x="226" y="1742"/>
                    <a:pt x="223" y="1739"/>
                  </a:cubicBezTo>
                  <a:cubicBezTo>
                    <a:pt x="226" y="1739"/>
                    <a:pt x="228" y="1739"/>
                    <a:pt x="231" y="1737"/>
                  </a:cubicBezTo>
                  <a:cubicBezTo>
                    <a:pt x="231" y="1739"/>
                    <a:pt x="234" y="1742"/>
                    <a:pt x="234" y="1745"/>
                  </a:cubicBezTo>
                  <a:cubicBezTo>
                    <a:pt x="231" y="1748"/>
                    <a:pt x="226" y="1748"/>
                    <a:pt x="226" y="1748"/>
                  </a:cubicBezTo>
                  <a:close/>
                  <a:moveTo>
                    <a:pt x="231" y="1776"/>
                  </a:moveTo>
                  <a:lnTo>
                    <a:pt x="231" y="1782"/>
                  </a:lnTo>
                  <a:lnTo>
                    <a:pt x="226" y="1782"/>
                  </a:lnTo>
                  <a:lnTo>
                    <a:pt x="226" y="1776"/>
                  </a:lnTo>
                  <a:lnTo>
                    <a:pt x="231" y="1776"/>
                  </a:lnTo>
                  <a:close/>
                  <a:moveTo>
                    <a:pt x="223" y="1711"/>
                  </a:moveTo>
                  <a:cubicBezTo>
                    <a:pt x="223" y="1708"/>
                    <a:pt x="220" y="1714"/>
                    <a:pt x="223" y="1711"/>
                  </a:cubicBezTo>
                  <a:close/>
                  <a:moveTo>
                    <a:pt x="220" y="1821"/>
                  </a:moveTo>
                  <a:cubicBezTo>
                    <a:pt x="217" y="1827"/>
                    <a:pt x="214" y="1824"/>
                    <a:pt x="209" y="1824"/>
                  </a:cubicBezTo>
                  <a:cubicBezTo>
                    <a:pt x="209" y="1818"/>
                    <a:pt x="217" y="1818"/>
                    <a:pt x="220" y="1821"/>
                  </a:cubicBezTo>
                  <a:close/>
                  <a:moveTo>
                    <a:pt x="214" y="1818"/>
                  </a:moveTo>
                  <a:cubicBezTo>
                    <a:pt x="214" y="1818"/>
                    <a:pt x="211" y="1816"/>
                    <a:pt x="211" y="1813"/>
                  </a:cubicBezTo>
                  <a:lnTo>
                    <a:pt x="211" y="1810"/>
                  </a:lnTo>
                  <a:lnTo>
                    <a:pt x="214" y="1810"/>
                  </a:lnTo>
                  <a:lnTo>
                    <a:pt x="211" y="1813"/>
                  </a:lnTo>
                  <a:cubicBezTo>
                    <a:pt x="211" y="1813"/>
                    <a:pt x="214" y="1816"/>
                    <a:pt x="214" y="1818"/>
                  </a:cubicBezTo>
                  <a:close/>
                  <a:moveTo>
                    <a:pt x="203" y="1847"/>
                  </a:moveTo>
                  <a:cubicBezTo>
                    <a:pt x="203" y="1844"/>
                    <a:pt x="203" y="1841"/>
                    <a:pt x="200" y="1838"/>
                  </a:cubicBezTo>
                  <a:cubicBezTo>
                    <a:pt x="203" y="1838"/>
                    <a:pt x="206" y="1838"/>
                    <a:pt x="209" y="1835"/>
                  </a:cubicBezTo>
                  <a:cubicBezTo>
                    <a:pt x="209" y="1838"/>
                    <a:pt x="211" y="1841"/>
                    <a:pt x="211" y="1844"/>
                  </a:cubicBezTo>
                  <a:cubicBezTo>
                    <a:pt x="211" y="1847"/>
                    <a:pt x="206" y="1847"/>
                    <a:pt x="203" y="1847"/>
                  </a:cubicBezTo>
                  <a:close/>
                  <a:moveTo>
                    <a:pt x="200" y="1928"/>
                  </a:moveTo>
                  <a:cubicBezTo>
                    <a:pt x="214" y="1926"/>
                    <a:pt x="197" y="1951"/>
                    <a:pt x="200" y="1928"/>
                  </a:cubicBezTo>
                  <a:close/>
                  <a:moveTo>
                    <a:pt x="211" y="1816"/>
                  </a:moveTo>
                  <a:cubicBezTo>
                    <a:pt x="192" y="1841"/>
                    <a:pt x="189" y="1793"/>
                    <a:pt x="211" y="1816"/>
                  </a:cubicBezTo>
                  <a:close/>
                  <a:moveTo>
                    <a:pt x="206" y="1903"/>
                  </a:moveTo>
                  <a:cubicBezTo>
                    <a:pt x="223" y="1906"/>
                    <a:pt x="203" y="1931"/>
                    <a:pt x="206" y="1903"/>
                  </a:cubicBezTo>
                  <a:close/>
                  <a:moveTo>
                    <a:pt x="192" y="2019"/>
                  </a:moveTo>
                  <a:cubicBezTo>
                    <a:pt x="206" y="2016"/>
                    <a:pt x="189" y="2041"/>
                    <a:pt x="192" y="2019"/>
                  </a:cubicBezTo>
                  <a:close/>
                  <a:moveTo>
                    <a:pt x="203" y="1940"/>
                  </a:moveTo>
                  <a:cubicBezTo>
                    <a:pt x="206" y="1940"/>
                    <a:pt x="209" y="1948"/>
                    <a:pt x="214" y="1945"/>
                  </a:cubicBezTo>
                  <a:cubicBezTo>
                    <a:pt x="217" y="1957"/>
                    <a:pt x="203" y="1959"/>
                    <a:pt x="206" y="1968"/>
                  </a:cubicBezTo>
                  <a:cubicBezTo>
                    <a:pt x="189" y="1974"/>
                    <a:pt x="192" y="1943"/>
                    <a:pt x="203" y="1940"/>
                  </a:cubicBezTo>
                  <a:close/>
                  <a:moveTo>
                    <a:pt x="228" y="2072"/>
                  </a:moveTo>
                  <a:cubicBezTo>
                    <a:pt x="231" y="2075"/>
                    <a:pt x="231" y="2081"/>
                    <a:pt x="234" y="2084"/>
                  </a:cubicBezTo>
                  <a:cubicBezTo>
                    <a:pt x="231" y="2086"/>
                    <a:pt x="228" y="2086"/>
                    <a:pt x="226" y="2089"/>
                  </a:cubicBezTo>
                  <a:cubicBezTo>
                    <a:pt x="223" y="2084"/>
                    <a:pt x="220" y="2081"/>
                    <a:pt x="217" y="2078"/>
                  </a:cubicBezTo>
                  <a:cubicBezTo>
                    <a:pt x="220" y="2075"/>
                    <a:pt x="226" y="2072"/>
                    <a:pt x="228" y="2072"/>
                  </a:cubicBezTo>
                  <a:close/>
                  <a:moveTo>
                    <a:pt x="226" y="2030"/>
                  </a:moveTo>
                  <a:cubicBezTo>
                    <a:pt x="220" y="2033"/>
                    <a:pt x="228" y="2024"/>
                    <a:pt x="226" y="2030"/>
                  </a:cubicBezTo>
                  <a:close/>
                  <a:moveTo>
                    <a:pt x="228" y="1897"/>
                  </a:moveTo>
                  <a:cubicBezTo>
                    <a:pt x="245" y="1897"/>
                    <a:pt x="226" y="1920"/>
                    <a:pt x="228" y="1897"/>
                  </a:cubicBezTo>
                  <a:close/>
                  <a:moveTo>
                    <a:pt x="237" y="1804"/>
                  </a:moveTo>
                  <a:cubicBezTo>
                    <a:pt x="228" y="1813"/>
                    <a:pt x="217" y="1804"/>
                    <a:pt x="211" y="1799"/>
                  </a:cubicBezTo>
                  <a:lnTo>
                    <a:pt x="237" y="1790"/>
                  </a:lnTo>
                  <a:cubicBezTo>
                    <a:pt x="231" y="1793"/>
                    <a:pt x="231" y="1799"/>
                    <a:pt x="237" y="1804"/>
                  </a:cubicBezTo>
                  <a:close/>
                  <a:moveTo>
                    <a:pt x="240" y="1974"/>
                  </a:moveTo>
                  <a:cubicBezTo>
                    <a:pt x="245" y="1974"/>
                    <a:pt x="240" y="1982"/>
                    <a:pt x="237" y="1982"/>
                  </a:cubicBezTo>
                  <a:cubicBezTo>
                    <a:pt x="237" y="1979"/>
                    <a:pt x="240" y="1976"/>
                    <a:pt x="240" y="1974"/>
                  </a:cubicBezTo>
                  <a:close/>
                  <a:moveTo>
                    <a:pt x="296" y="1982"/>
                  </a:moveTo>
                  <a:cubicBezTo>
                    <a:pt x="296" y="1982"/>
                    <a:pt x="293" y="1979"/>
                    <a:pt x="293" y="1976"/>
                  </a:cubicBezTo>
                  <a:lnTo>
                    <a:pt x="296" y="1976"/>
                  </a:lnTo>
                  <a:cubicBezTo>
                    <a:pt x="293" y="1979"/>
                    <a:pt x="296" y="1979"/>
                    <a:pt x="296" y="1982"/>
                  </a:cubicBezTo>
                  <a:close/>
                  <a:moveTo>
                    <a:pt x="316" y="2013"/>
                  </a:moveTo>
                  <a:cubicBezTo>
                    <a:pt x="319" y="2021"/>
                    <a:pt x="319" y="2027"/>
                    <a:pt x="316" y="2036"/>
                  </a:cubicBezTo>
                  <a:cubicBezTo>
                    <a:pt x="313" y="2033"/>
                    <a:pt x="307" y="2033"/>
                    <a:pt x="305" y="2033"/>
                  </a:cubicBezTo>
                  <a:cubicBezTo>
                    <a:pt x="302" y="2024"/>
                    <a:pt x="302" y="2013"/>
                    <a:pt x="316" y="2013"/>
                  </a:cubicBezTo>
                  <a:close/>
                  <a:moveTo>
                    <a:pt x="316" y="1999"/>
                  </a:moveTo>
                  <a:cubicBezTo>
                    <a:pt x="302" y="1990"/>
                    <a:pt x="321" y="1965"/>
                    <a:pt x="316" y="1999"/>
                  </a:cubicBezTo>
                  <a:close/>
                  <a:moveTo>
                    <a:pt x="316" y="1959"/>
                  </a:moveTo>
                  <a:cubicBezTo>
                    <a:pt x="310" y="1959"/>
                    <a:pt x="316" y="1948"/>
                    <a:pt x="316" y="1943"/>
                  </a:cubicBezTo>
                  <a:cubicBezTo>
                    <a:pt x="319" y="1943"/>
                    <a:pt x="319" y="1959"/>
                    <a:pt x="316" y="1959"/>
                  </a:cubicBezTo>
                  <a:close/>
                  <a:moveTo>
                    <a:pt x="310" y="1931"/>
                  </a:moveTo>
                  <a:cubicBezTo>
                    <a:pt x="299" y="1931"/>
                    <a:pt x="305" y="1906"/>
                    <a:pt x="316" y="1909"/>
                  </a:cubicBezTo>
                  <a:cubicBezTo>
                    <a:pt x="321" y="1920"/>
                    <a:pt x="307" y="1920"/>
                    <a:pt x="310" y="1931"/>
                  </a:cubicBezTo>
                  <a:close/>
                  <a:moveTo>
                    <a:pt x="310" y="1813"/>
                  </a:moveTo>
                  <a:cubicBezTo>
                    <a:pt x="330" y="1813"/>
                    <a:pt x="302" y="1841"/>
                    <a:pt x="310" y="1813"/>
                  </a:cubicBezTo>
                  <a:close/>
                  <a:moveTo>
                    <a:pt x="307" y="1813"/>
                  </a:moveTo>
                  <a:cubicBezTo>
                    <a:pt x="305" y="1807"/>
                    <a:pt x="302" y="1801"/>
                    <a:pt x="299" y="1799"/>
                  </a:cubicBezTo>
                  <a:cubicBezTo>
                    <a:pt x="310" y="1790"/>
                    <a:pt x="313" y="1801"/>
                    <a:pt x="321" y="1799"/>
                  </a:cubicBezTo>
                  <a:cubicBezTo>
                    <a:pt x="324" y="1801"/>
                    <a:pt x="313" y="1807"/>
                    <a:pt x="307" y="1813"/>
                  </a:cubicBezTo>
                  <a:close/>
                  <a:moveTo>
                    <a:pt x="321" y="1751"/>
                  </a:moveTo>
                  <a:cubicBezTo>
                    <a:pt x="293" y="1745"/>
                    <a:pt x="316" y="1714"/>
                    <a:pt x="321" y="1751"/>
                  </a:cubicBezTo>
                  <a:close/>
                  <a:moveTo>
                    <a:pt x="316" y="677"/>
                  </a:moveTo>
                  <a:cubicBezTo>
                    <a:pt x="310" y="677"/>
                    <a:pt x="307" y="671"/>
                    <a:pt x="302" y="674"/>
                  </a:cubicBezTo>
                  <a:lnTo>
                    <a:pt x="302" y="668"/>
                  </a:lnTo>
                  <a:lnTo>
                    <a:pt x="299" y="668"/>
                  </a:lnTo>
                  <a:cubicBezTo>
                    <a:pt x="299" y="666"/>
                    <a:pt x="302" y="666"/>
                    <a:pt x="305" y="666"/>
                  </a:cubicBezTo>
                  <a:cubicBezTo>
                    <a:pt x="305" y="663"/>
                    <a:pt x="316" y="668"/>
                    <a:pt x="316" y="677"/>
                  </a:cubicBezTo>
                  <a:close/>
                  <a:moveTo>
                    <a:pt x="305" y="646"/>
                  </a:moveTo>
                  <a:cubicBezTo>
                    <a:pt x="302" y="649"/>
                    <a:pt x="293" y="646"/>
                    <a:pt x="293" y="637"/>
                  </a:cubicBezTo>
                  <a:cubicBezTo>
                    <a:pt x="302" y="640"/>
                    <a:pt x="307" y="640"/>
                    <a:pt x="305" y="646"/>
                  </a:cubicBezTo>
                  <a:close/>
                  <a:moveTo>
                    <a:pt x="302" y="750"/>
                  </a:moveTo>
                  <a:cubicBezTo>
                    <a:pt x="299" y="753"/>
                    <a:pt x="296" y="759"/>
                    <a:pt x="293" y="759"/>
                  </a:cubicBezTo>
                  <a:cubicBezTo>
                    <a:pt x="290" y="753"/>
                    <a:pt x="299" y="750"/>
                    <a:pt x="302" y="750"/>
                  </a:cubicBezTo>
                  <a:close/>
                  <a:moveTo>
                    <a:pt x="299" y="767"/>
                  </a:moveTo>
                  <a:cubicBezTo>
                    <a:pt x="299" y="773"/>
                    <a:pt x="288" y="776"/>
                    <a:pt x="282" y="776"/>
                  </a:cubicBezTo>
                  <a:cubicBezTo>
                    <a:pt x="285" y="770"/>
                    <a:pt x="288" y="764"/>
                    <a:pt x="299" y="767"/>
                  </a:cubicBezTo>
                  <a:close/>
                  <a:moveTo>
                    <a:pt x="282" y="1649"/>
                  </a:moveTo>
                  <a:cubicBezTo>
                    <a:pt x="282" y="1652"/>
                    <a:pt x="276" y="1655"/>
                    <a:pt x="273" y="1655"/>
                  </a:cubicBezTo>
                  <a:cubicBezTo>
                    <a:pt x="282" y="1655"/>
                    <a:pt x="273" y="1666"/>
                    <a:pt x="268" y="1660"/>
                  </a:cubicBezTo>
                  <a:cubicBezTo>
                    <a:pt x="268" y="1660"/>
                    <a:pt x="273" y="1658"/>
                    <a:pt x="273" y="1655"/>
                  </a:cubicBezTo>
                  <a:cubicBezTo>
                    <a:pt x="276" y="1652"/>
                    <a:pt x="279" y="1652"/>
                    <a:pt x="282" y="1649"/>
                  </a:cubicBezTo>
                  <a:close/>
                  <a:moveTo>
                    <a:pt x="273" y="733"/>
                  </a:moveTo>
                  <a:cubicBezTo>
                    <a:pt x="273" y="753"/>
                    <a:pt x="251" y="725"/>
                    <a:pt x="273" y="733"/>
                  </a:cubicBezTo>
                  <a:close/>
                  <a:moveTo>
                    <a:pt x="265" y="1660"/>
                  </a:moveTo>
                  <a:cubicBezTo>
                    <a:pt x="271" y="1675"/>
                    <a:pt x="242" y="1666"/>
                    <a:pt x="265" y="1660"/>
                  </a:cubicBezTo>
                  <a:close/>
                  <a:moveTo>
                    <a:pt x="262" y="1641"/>
                  </a:moveTo>
                  <a:cubicBezTo>
                    <a:pt x="259" y="1652"/>
                    <a:pt x="251" y="1627"/>
                    <a:pt x="262" y="1641"/>
                  </a:cubicBezTo>
                  <a:close/>
                  <a:moveTo>
                    <a:pt x="257" y="801"/>
                  </a:moveTo>
                  <a:cubicBezTo>
                    <a:pt x="248" y="798"/>
                    <a:pt x="251" y="784"/>
                    <a:pt x="262" y="787"/>
                  </a:cubicBezTo>
                  <a:cubicBezTo>
                    <a:pt x="262" y="793"/>
                    <a:pt x="254" y="795"/>
                    <a:pt x="257" y="801"/>
                  </a:cubicBezTo>
                  <a:close/>
                  <a:moveTo>
                    <a:pt x="262" y="691"/>
                  </a:moveTo>
                  <a:cubicBezTo>
                    <a:pt x="262" y="697"/>
                    <a:pt x="257" y="700"/>
                    <a:pt x="254" y="700"/>
                  </a:cubicBezTo>
                  <a:cubicBezTo>
                    <a:pt x="251" y="694"/>
                    <a:pt x="257" y="691"/>
                    <a:pt x="262" y="691"/>
                  </a:cubicBezTo>
                  <a:close/>
                  <a:moveTo>
                    <a:pt x="251" y="680"/>
                  </a:moveTo>
                  <a:cubicBezTo>
                    <a:pt x="254" y="691"/>
                    <a:pt x="242" y="700"/>
                    <a:pt x="234" y="697"/>
                  </a:cubicBezTo>
                  <a:cubicBezTo>
                    <a:pt x="234" y="691"/>
                    <a:pt x="245" y="685"/>
                    <a:pt x="251" y="680"/>
                  </a:cubicBezTo>
                  <a:close/>
                  <a:moveTo>
                    <a:pt x="228" y="739"/>
                  </a:moveTo>
                  <a:cubicBezTo>
                    <a:pt x="237" y="731"/>
                    <a:pt x="245" y="742"/>
                    <a:pt x="254" y="731"/>
                  </a:cubicBezTo>
                  <a:cubicBezTo>
                    <a:pt x="259" y="745"/>
                    <a:pt x="240" y="750"/>
                    <a:pt x="228" y="756"/>
                  </a:cubicBezTo>
                  <a:cubicBezTo>
                    <a:pt x="228" y="750"/>
                    <a:pt x="234" y="745"/>
                    <a:pt x="228" y="739"/>
                  </a:cubicBezTo>
                  <a:close/>
                  <a:moveTo>
                    <a:pt x="228" y="1573"/>
                  </a:moveTo>
                  <a:cubicBezTo>
                    <a:pt x="237" y="1587"/>
                    <a:pt x="209" y="1579"/>
                    <a:pt x="228" y="1573"/>
                  </a:cubicBezTo>
                  <a:close/>
                  <a:moveTo>
                    <a:pt x="217" y="691"/>
                  </a:moveTo>
                  <a:cubicBezTo>
                    <a:pt x="226" y="685"/>
                    <a:pt x="214" y="700"/>
                    <a:pt x="217" y="691"/>
                  </a:cubicBezTo>
                  <a:close/>
                  <a:moveTo>
                    <a:pt x="220" y="1629"/>
                  </a:moveTo>
                  <a:cubicBezTo>
                    <a:pt x="223" y="1629"/>
                    <a:pt x="223" y="1632"/>
                    <a:pt x="223" y="1632"/>
                  </a:cubicBezTo>
                  <a:cubicBezTo>
                    <a:pt x="223" y="1632"/>
                    <a:pt x="220" y="1635"/>
                    <a:pt x="217" y="1635"/>
                  </a:cubicBezTo>
                  <a:cubicBezTo>
                    <a:pt x="214" y="1635"/>
                    <a:pt x="211" y="1632"/>
                    <a:pt x="211" y="1632"/>
                  </a:cubicBezTo>
                  <a:cubicBezTo>
                    <a:pt x="214" y="1632"/>
                    <a:pt x="217" y="1629"/>
                    <a:pt x="220" y="1629"/>
                  </a:cubicBezTo>
                  <a:close/>
                  <a:moveTo>
                    <a:pt x="214" y="1643"/>
                  </a:moveTo>
                  <a:cubicBezTo>
                    <a:pt x="228" y="1658"/>
                    <a:pt x="194" y="1632"/>
                    <a:pt x="214" y="1643"/>
                  </a:cubicBezTo>
                  <a:close/>
                  <a:moveTo>
                    <a:pt x="203" y="1450"/>
                  </a:moveTo>
                  <a:cubicBezTo>
                    <a:pt x="206" y="1453"/>
                    <a:pt x="203" y="1456"/>
                    <a:pt x="203" y="1457"/>
                  </a:cubicBezTo>
                  <a:cubicBezTo>
                    <a:pt x="200" y="1457"/>
                    <a:pt x="203" y="1453"/>
                    <a:pt x="203" y="1450"/>
                  </a:cubicBezTo>
                  <a:close/>
                  <a:moveTo>
                    <a:pt x="206" y="1553"/>
                  </a:moveTo>
                  <a:cubicBezTo>
                    <a:pt x="200" y="1550"/>
                    <a:pt x="209" y="1553"/>
                    <a:pt x="206" y="1553"/>
                  </a:cubicBezTo>
                  <a:close/>
                  <a:moveTo>
                    <a:pt x="217" y="1725"/>
                  </a:moveTo>
                  <a:cubicBezTo>
                    <a:pt x="209" y="1731"/>
                    <a:pt x="194" y="1714"/>
                    <a:pt x="194" y="1722"/>
                  </a:cubicBezTo>
                  <a:cubicBezTo>
                    <a:pt x="192" y="1714"/>
                    <a:pt x="189" y="1703"/>
                    <a:pt x="186" y="1694"/>
                  </a:cubicBezTo>
                  <a:lnTo>
                    <a:pt x="183" y="1694"/>
                  </a:lnTo>
                  <a:lnTo>
                    <a:pt x="186" y="1691"/>
                  </a:lnTo>
                  <a:cubicBezTo>
                    <a:pt x="186" y="1689"/>
                    <a:pt x="183" y="1686"/>
                    <a:pt x="180" y="1686"/>
                  </a:cubicBezTo>
                  <a:cubicBezTo>
                    <a:pt x="186" y="1686"/>
                    <a:pt x="194" y="1686"/>
                    <a:pt x="194" y="1680"/>
                  </a:cubicBezTo>
                  <a:cubicBezTo>
                    <a:pt x="211" y="1680"/>
                    <a:pt x="220" y="1711"/>
                    <a:pt x="217" y="1725"/>
                  </a:cubicBezTo>
                  <a:close/>
                  <a:moveTo>
                    <a:pt x="200" y="1374"/>
                  </a:moveTo>
                  <a:cubicBezTo>
                    <a:pt x="197" y="1382"/>
                    <a:pt x="189" y="1374"/>
                    <a:pt x="200" y="1374"/>
                  </a:cubicBezTo>
                  <a:close/>
                  <a:moveTo>
                    <a:pt x="192" y="1487"/>
                  </a:moveTo>
                  <a:cubicBezTo>
                    <a:pt x="193" y="1487"/>
                    <a:pt x="195" y="1488"/>
                    <a:pt x="192" y="1488"/>
                  </a:cubicBezTo>
                  <a:cubicBezTo>
                    <a:pt x="191" y="1487"/>
                    <a:pt x="191" y="1487"/>
                    <a:pt x="192" y="1487"/>
                  </a:cubicBezTo>
                  <a:close/>
                  <a:moveTo>
                    <a:pt x="183" y="1466"/>
                  </a:moveTo>
                  <a:cubicBezTo>
                    <a:pt x="186" y="1469"/>
                    <a:pt x="183" y="1469"/>
                    <a:pt x="183" y="1466"/>
                  </a:cubicBezTo>
                  <a:close/>
                  <a:moveTo>
                    <a:pt x="189" y="1522"/>
                  </a:moveTo>
                  <a:cubicBezTo>
                    <a:pt x="189" y="1514"/>
                    <a:pt x="183" y="1505"/>
                    <a:pt x="178" y="1500"/>
                  </a:cubicBezTo>
                  <a:cubicBezTo>
                    <a:pt x="189" y="1494"/>
                    <a:pt x="211" y="1514"/>
                    <a:pt x="189" y="1522"/>
                  </a:cubicBezTo>
                  <a:close/>
                  <a:moveTo>
                    <a:pt x="172" y="1477"/>
                  </a:moveTo>
                  <a:cubicBezTo>
                    <a:pt x="180" y="1477"/>
                    <a:pt x="178" y="1486"/>
                    <a:pt x="180" y="1491"/>
                  </a:cubicBezTo>
                  <a:cubicBezTo>
                    <a:pt x="172" y="1494"/>
                    <a:pt x="175" y="1483"/>
                    <a:pt x="172" y="1477"/>
                  </a:cubicBezTo>
                  <a:close/>
                  <a:moveTo>
                    <a:pt x="183" y="1368"/>
                  </a:moveTo>
                  <a:cubicBezTo>
                    <a:pt x="180" y="1368"/>
                    <a:pt x="178" y="1368"/>
                    <a:pt x="175" y="1362"/>
                  </a:cubicBezTo>
                  <a:lnTo>
                    <a:pt x="175" y="1360"/>
                  </a:lnTo>
                  <a:lnTo>
                    <a:pt x="180" y="1360"/>
                  </a:lnTo>
                  <a:cubicBezTo>
                    <a:pt x="183" y="1360"/>
                    <a:pt x="183" y="1365"/>
                    <a:pt x="183" y="1368"/>
                  </a:cubicBezTo>
                  <a:close/>
                  <a:moveTo>
                    <a:pt x="180" y="804"/>
                  </a:moveTo>
                  <a:cubicBezTo>
                    <a:pt x="180" y="810"/>
                    <a:pt x="175" y="812"/>
                    <a:pt x="169" y="812"/>
                  </a:cubicBezTo>
                  <a:cubicBezTo>
                    <a:pt x="172" y="807"/>
                    <a:pt x="175" y="801"/>
                    <a:pt x="180" y="804"/>
                  </a:cubicBezTo>
                  <a:close/>
                  <a:moveTo>
                    <a:pt x="172" y="1320"/>
                  </a:moveTo>
                  <a:cubicBezTo>
                    <a:pt x="169" y="1312"/>
                    <a:pt x="178" y="1334"/>
                    <a:pt x="169" y="1326"/>
                  </a:cubicBezTo>
                  <a:cubicBezTo>
                    <a:pt x="169" y="1323"/>
                    <a:pt x="172" y="1323"/>
                    <a:pt x="172" y="1320"/>
                  </a:cubicBezTo>
                  <a:close/>
                  <a:moveTo>
                    <a:pt x="166" y="1559"/>
                  </a:moveTo>
                  <a:cubicBezTo>
                    <a:pt x="172" y="1553"/>
                    <a:pt x="175" y="1550"/>
                    <a:pt x="180" y="1548"/>
                  </a:cubicBezTo>
                  <a:cubicBezTo>
                    <a:pt x="180" y="1556"/>
                    <a:pt x="175" y="1565"/>
                    <a:pt x="172" y="1570"/>
                  </a:cubicBezTo>
                  <a:lnTo>
                    <a:pt x="172" y="1579"/>
                  </a:lnTo>
                  <a:cubicBezTo>
                    <a:pt x="169" y="1579"/>
                    <a:pt x="166" y="1576"/>
                    <a:pt x="166" y="1576"/>
                  </a:cubicBezTo>
                  <a:cubicBezTo>
                    <a:pt x="163" y="1579"/>
                    <a:pt x="163" y="1581"/>
                    <a:pt x="161" y="1584"/>
                  </a:cubicBezTo>
                  <a:cubicBezTo>
                    <a:pt x="159" y="1586"/>
                    <a:pt x="158" y="1585"/>
                    <a:pt x="157" y="1584"/>
                  </a:cubicBezTo>
                  <a:cubicBezTo>
                    <a:pt x="157" y="1585"/>
                    <a:pt x="156" y="1586"/>
                    <a:pt x="155" y="1587"/>
                  </a:cubicBezTo>
                  <a:cubicBezTo>
                    <a:pt x="152" y="1596"/>
                    <a:pt x="138" y="1587"/>
                    <a:pt x="155" y="1584"/>
                  </a:cubicBezTo>
                  <a:cubicBezTo>
                    <a:pt x="156" y="1584"/>
                    <a:pt x="156" y="1583"/>
                    <a:pt x="157" y="1583"/>
                  </a:cubicBezTo>
                  <a:cubicBezTo>
                    <a:pt x="157" y="1582"/>
                    <a:pt x="157" y="1581"/>
                    <a:pt x="158" y="1581"/>
                  </a:cubicBezTo>
                  <a:cubicBezTo>
                    <a:pt x="159" y="1580"/>
                    <a:pt x="161" y="1578"/>
                    <a:pt x="161" y="1576"/>
                  </a:cubicBezTo>
                  <a:lnTo>
                    <a:pt x="158" y="1576"/>
                  </a:lnTo>
                  <a:cubicBezTo>
                    <a:pt x="152" y="1570"/>
                    <a:pt x="166" y="1562"/>
                    <a:pt x="155" y="1562"/>
                  </a:cubicBezTo>
                  <a:cubicBezTo>
                    <a:pt x="155" y="1559"/>
                    <a:pt x="161" y="1556"/>
                    <a:pt x="163" y="1556"/>
                  </a:cubicBezTo>
                  <a:cubicBezTo>
                    <a:pt x="166" y="1553"/>
                    <a:pt x="166" y="1553"/>
                    <a:pt x="166" y="1556"/>
                  </a:cubicBezTo>
                  <a:lnTo>
                    <a:pt x="166" y="1559"/>
                  </a:lnTo>
                  <a:close/>
                  <a:moveTo>
                    <a:pt x="155" y="1756"/>
                  </a:moveTo>
                  <a:cubicBezTo>
                    <a:pt x="152" y="1754"/>
                    <a:pt x="152" y="1748"/>
                    <a:pt x="149" y="1745"/>
                  </a:cubicBezTo>
                  <a:cubicBezTo>
                    <a:pt x="155" y="1745"/>
                    <a:pt x="158" y="1742"/>
                    <a:pt x="161" y="1742"/>
                  </a:cubicBezTo>
                  <a:cubicBezTo>
                    <a:pt x="163" y="1745"/>
                    <a:pt x="166" y="1748"/>
                    <a:pt x="166" y="1751"/>
                  </a:cubicBezTo>
                  <a:cubicBezTo>
                    <a:pt x="163" y="1754"/>
                    <a:pt x="158" y="1756"/>
                    <a:pt x="155" y="1756"/>
                  </a:cubicBezTo>
                  <a:close/>
                  <a:moveTo>
                    <a:pt x="118" y="1940"/>
                  </a:moveTo>
                  <a:cubicBezTo>
                    <a:pt x="132" y="1934"/>
                    <a:pt x="135" y="1962"/>
                    <a:pt x="121" y="1968"/>
                  </a:cubicBezTo>
                  <a:cubicBezTo>
                    <a:pt x="124" y="1959"/>
                    <a:pt x="121" y="1948"/>
                    <a:pt x="118" y="1940"/>
                  </a:cubicBezTo>
                  <a:close/>
                  <a:moveTo>
                    <a:pt x="110" y="1864"/>
                  </a:moveTo>
                  <a:cubicBezTo>
                    <a:pt x="90" y="1849"/>
                    <a:pt x="135" y="1832"/>
                    <a:pt x="138" y="1855"/>
                  </a:cubicBezTo>
                  <a:cubicBezTo>
                    <a:pt x="138" y="1858"/>
                    <a:pt x="138" y="1861"/>
                    <a:pt x="135" y="1864"/>
                  </a:cubicBezTo>
                  <a:lnTo>
                    <a:pt x="138" y="1864"/>
                  </a:lnTo>
                  <a:lnTo>
                    <a:pt x="138" y="1864"/>
                  </a:lnTo>
                  <a:cubicBezTo>
                    <a:pt x="143" y="1860"/>
                    <a:pt x="151" y="1866"/>
                    <a:pt x="158" y="1866"/>
                  </a:cubicBezTo>
                  <a:cubicBezTo>
                    <a:pt x="155" y="1869"/>
                    <a:pt x="138" y="1869"/>
                    <a:pt x="135" y="1866"/>
                  </a:cubicBezTo>
                  <a:lnTo>
                    <a:pt x="135" y="1866"/>
                  </a:lnTo>
                  <a:cubicBezTo>
                    <a:pt x="130" y="1869"/>
                    <a:pt x="124" y="1862"/>
                    <a:pt x="121" y="1855"/>
                  </a:cubicBezTo>
                  <a:cubicBezTo>
                    <a:pt x="115" y="1852"/>
                    <a:pt x="110" y="1852"/>
                    <a:pt x="110" y="1864"/>
                  </a:cubicBezTo>
                  <a:close/>
                  <a:moveTo>
                    <a:pt x="118" y="1931"/>
                  </a:moveTo>
                  <a:cubicBezTo>
                    <a:pt x="118" y="1951"/>
                    <a:pt x="96" y="1926"/>
                    <a:pt x="118" y="1931"/>
                  </a:cubicBezTo>
                  <a:close/>
                  <a:moveTo>
                    <a:pt x="118" y="1913"/>
                  </a:moveTo>
                  <a:cubicBezTo>
                    <a:pt x="117" y="1913"/>
                    <a:pt x="115" y="1911"/>
                    <a:pt x="118" y="1911"/>
                  </a:cubicBezTo>
                  <a:cubicBezTo>
                    <a:pt x="119" y="1912"/>
                    <a:pt x="119" y="1913"/>
                    <a:pt x="118" y="1913"/>
                  </a:cubicBezTo>
                  <a:close/>
                  <a:moveTo>
                    <a:pt x="101" y="1697"/>
                  </a:moveTo>
                  <a:cubicBezTo>
                    <a:pt x="115" y="1697"/>
                    <a:pt x="99" y="1720"/>
                    <a:pt x="101" y="1697"/>
                  </a:cubicBezTo>
                  <a:close/>
                  <a:moveTo>
                    <a:pt x="104" y="1821"/>
                  </a:moveTo>
                  <a:cubicBezTo>
                    <a:pt x="101" y="1827"/>
                    <a:pt x="107" y="1818"/>
                    <a:pt x="104" y="1821"/>
                  </a:cubicBezTo>
                  <a:close/>
                  <a:moveTo>
                    <a:pt x="104" y="1672"/>
                  </a:moveTo>
                  <a:cubicBezTo>
                    <a:pt x="110" y="1686"/>
                    <a:pt x="82" y="1677"/>
                    <a:pt x="104" y="1672"/>
                  </a:cubicBezTo>
                  <a:close/>
                  <a:moveTo>
                    <a:pt x="99" y="1849"/>
                  </a:moveTo>
                  <a:cubicBezTo>
                    <a:pt x="99" y="1849"/>
                    <a:pt x="97" y="1848"/>
                    <a:pt x="99" y="1849"/>
                  </a:cubicBezTo>
                  <a:close/>
                  <a:moveTo>
                    <a:pt x="96" y="1883"/>
                  </a:moveTo>
                  <a:cubicBezTo>
                    <a:pt x="96" y="1886"/>
                    <a:pt x="90" y="1889"/>
                    <a:pt x="87" y="1889"/>
                  </a:cubicBezTo>
                  <a:cubicBezTo>
                    <a:pt x="87" y="1886"/>
                    <a:pt x="93" y="1883"/>
                    <a:pt x="96" y="1883"/>
                  </a:cubicBezTo>
                  <a:close/>
                  <a:moveTo>
                    <a:pt x="79" y="1610"/>
                  </a:moveTo>
                  <a:lnTo>
                    <a:pt x="79" y="1609"/>
                  </a:lnTo>
                  <a:cubicBezTo>
                    <a:pt x="79" y="1609"/>
                    <a:pt x="80" y="1610"/>
                    <a:pt x="79" y="1610"/>
                  </a:cubicBezTo>
                  <a:cubicBezTo>
                    <a:pt x="75" y="1608"/>
                    <a:pt x="78" y="1608"/>
                    <a:pt x="79" y="1609"/>
                  </a:cubicBezTo>
                  <a:lnTo>
                    <a:pt x="79" y="1610"/>
                  </a:lnTo>
                  <a:close/>
                  <a:moveTo>
                    <a:pt x="70" y="1567"/>
                  </a:moveTo>
                  <a:cubicBezTo>
                    <a:pt x="90" y="1567"/>
                    <a:pt x="65" y="1596"/>
                    <a:pt x="70" y="1567"/>
                  </a:cubicBezTo>
                  <a:close/>
                  <a:moveTo>
                    <a:pt x="87" y="1641"/>
                  </a:moveTo>
                  <a:cubicBezTo>
                    <a:pt x="90" y="1660"/>
                    <a:pt x="68" y="1629"/>
                    <a:pt x="87" y="1641"/>
                  </a:cubicBezTo>
                  <a:close/>
                  <a:moveTo>
                    <a:pt x="93" y="1680"/>
                  </a:moveTo>
                  <a:cubicBezTo>
                    <a:pt x="96" y="1686"/>
                    <a:pt x="87" y="1686"/>
                    <a:pt x="84" y="1686"/>
                  </a:cubicBezTo>
                  <a:lnTo>
                    <a:pt x="84" y="1680"/>
                  </a:lnTo>
                  <a:lnTo>
                    <a:pt x="93" y="1680"/>
                  </a:lnTo>
                  <a:close/>
                  <a:moveTo>
                    <a:pt x="90" y="1748"/>
                  </a:moveTo>
                  <a:cubicBezTo>
                    <a:pt x="87" y="1756"/>
                    <a:pt x="70" y="1745"/>
                    <a:pt x="90" y="1748"/>
                  </a:cubicBezTo>
                  <a:close/>
                  <a:moveTo>
                    <a:pt x="87" y="1765"/>
                  </a:moveTo>
                  <a:cubicBezTo>
                    <a:pt x="87" y="1770"/>
                    <a:pt x="82" y="1770"/>
                    <a:pt x="76" y="1773"/>
                  </a:cubicBezTo>
                  <a:cubicBezTo>
                    <a:pt x="73" y="1765"/>
                    <a:pt x="82" y="1765"/>
                    <a:pt x="87" y="1765"/>
                  </a:cubicBezTo>
                  <a:close/>
                  <a:moveTo>
                    <a:pt x="90" y="1779"/>
                  </a:moveTo>
                  <a:cubicBezTo>
                    <a:pt x="93" y="1785"/>
                    <a:pt x="87" y="1787"/>
                    <a:pt x="90" y="1790"/>
                  </a:cubicBezTo>
                  <a:lnTo>
                    <a:pt x="90" y="1790"/>
                  </a:lnTo>
                  <a:cubicBezTo>
                    <a:pt x="102" y="1792"/>
                    <a:pt x="87" y="1810"/>
                    <a:pt x="90" y="1818"/>
                  </a:cubicBezTo>
                  <a:cubicBezTo>
                    <a:pt x="82" y="1821"/>
                    <a:pt x="76" y="1816"/>
                    <a:pt x="73" y="1810"/>
                  </a:cubicBezTo>
                  <a:cubicBezTo>
                    <a:pt x="73" y="1802"/>
                    <a:pt x="89" y="1799"/>
                    <a:pt x="88" y="1791"/>
                  </a:cubicBezTo>
                  <a:cubicBezTo>
                    <a:pt x="82" y="1792"/>
                    <a:pt x="83" y="1776"/>
                    <a:pt x="90" y="1779"/>
                  </a:cubicBezTo>
                  <a:close/>
                  <a:moveTo>
                    <a:pt x="90" y="1714"/>
                  </a:moveTo>
                  <a:cubicBezTo>
                    <a:pt x="104" y="1728"/>
                    <a:pt x="70" y="1706"/>
                    <a:pt x="90" y="1714"/>
                  </a:cubicBezTo>
                  <a:close/>
                  <a:moveTo>
                    <a:pt x="84" y="1528"/>
                  </a:moveTo>
                  <a:cubicBezTo>
                    <a:pt x="93" y="1525"/>
                    <a:pt x="99" y="1531"/>
                    <a:pt x="104" y="1531"/>
                  </a:cubicBezTo>
                  <a:cubicBezTo>
                    <a:pt x="107" y="1539"/>
                    <a:pt x="107" y="1550"/>
                    <a:pt x="104" y="1559"/>
                  </a:cubicBezTo>
                  <a:cubicBezTo>
                    <a:pt x="79" y="1567"/>
                    <a:pt x="82" y="1542"/>
                    <a:pt x="84" y="1528"/>
                  </a:cubicBezTo>
                  <a:close/>
                  <a:moveTo>
                    <a:pt x="87" y="1512"/>
                  </a:moveTo>
                  <a:cubicBezTo>
                    <a:pt x="86" y="1512"/>
                    <a:pt x="83" y="1511"/>
                    <a:pt x="87" y="1511"/>
                  </a:cubicBezTo>
                  <a:cubicBezTo>
                    <a:pt x="88" y="1512"/>
                    <a:pt x="88" y="1512"/>
                    <a:pt x="87" y="1512"/>
                  </a:cubicBezTo>
                  <a:close/>
                  <a:moveTo>
                    <a:pt x="121" y="1441"/>
                  </a:moveTo>
                  <a:cubicBezTo>
                    <a:pt x="110" y="1447"/>
                    <a:pt x="110" y="1427"/>
                    <a:pt x="110" y="1422"/>
                  </a:cubicBezTo>
                  <a:cubicBezTo>
                    <a:pt x="124" y="1419"/>
                    <a:pt x="113" y="1436"/>
                    <a:pt x="121" y="1441"/>
                  </a:cubicBezTo>
                  <a:close/>
                  <a:moveTo>
                    <a:pt x="110" y="1388"/>
                  </a:moveTo>
                  <a:cubicBezTo>
                    <a:pt x="110" y="1382"/>
                    <a:pt x="118" y="1391"/>
                    <a:pt x="110" y="1388"/>
                  </a:cubicBezTo>
                  <a:close/>
                  <a:moveTo>
                    <a:pt x="104" y="1340"/>
                  </a:moveTo>
                  <a:cubicBezTo>
                    <a:pt x="113" y="1340"/>
                    <a:pt x="110" y="1348"/>
                    <a:pt x="113" y="1354"/>
                  </a:cubicBezTo>
                  <a:cubicBezTo>
                    <a:pt x="104" y="1357"/>
                    <a:pt x="107" y="1345"/>
                    <a:pt x="104" y="1340"/>
                  </a:cubicBezTo>
                  <a:close/>
                  <a:moveTo>
                    <a:pt x="113" y="1607"/>
                  </a:moveTo>
                  <a:cubicBezTo>
                    <a:pt x="121" y="1604"/>
                    <a:pt x="121" y="1601"/>
                    <a:pt x="127" y="1604"/>
                  </a:cubicBezTo>
                  <a:cubicBezTo>
                    <a:pt x="124" y="1607"/>
                    <a:pt x="118" y="1610"/>
                    <a:pt x="113" y="1607"/>
                  </a:cubicBezTo>
                  <a:cubicBezTo>
                    <a:pt x="107" y="1610"/>
                    <a:pt x="110" y="1612"/>
                    <a:pt x="104" y="1612"/>
                  </a:cubicBezTo>
                  <a:cubicBezTo>
                    <a:pt x="107" y="1610"/>
                    <a:pt x="110" y="1607"/>
                    <a:pt x="113" y="1607"/>
                  </a:cubicBezTo>
                  <a:close/>
                  <a:moveTo>
                    <a:pt x="113" y="1584"/>
                  </a:moveTo>
                  <a:cubicBezTo>
                    <a:pt x="107" y="1587"/>
                    <a:pt x="115" y="1579"/>
                    <a:pt x="113" y="1584"/>
                  </a:cubicBezTo>
                  <a:close/>
                  <a:moveTo>
                    <a:pt x="118" y="1587"/>
                  </a:moveTo>
                  <a:cubicBezTo>
                    <a:pt x="121" y="1587"/>
                    <a:pt x="115" y="1584"/>
                    <a:pt x="118" y="1587"/>
                  </a:cubicBezTo>
                  <a:close/>
                  <a:moveTo>
                    <a:pt x="149" y="1525"/>
                  </a:moveTo>
                  <a:cubicBezTo>
                    <a:pt x="155" y="1539"/>
                    <a:pt x="127" y="1531"/>
                    <a:pt x="149" y="1525"/>
                  </a:cubicBezTo>
                  <a:close/>
                  <a:moveTo>
                    <a:pt x="141" y="1500"/>
                  </a:moveTo>
                  <a:cubicBezTo>
                    <a:pt x="141" y="1494"/>
                    <a:pt x="149" y="1502"/>
                    <a:pt x="141" y="1500"/>
                  </a:cubicBezTo>
                  <a:close/>
                  <a:moveTo>
                    <a:pt x="147" y="1565"/>
                  </a:moveTo>
                  <a:cubicBezTo>
                    <a:pt x="155" y="1565"/>
                    <a:pt x="149" y="1581"/>
                    <a:pt x="141" y="1579"/>
                  </a:cubicBezTo>
                  <a:cubicBezTo>
                    <a:pt x="135" y="1573"/>
                    <a:pt x="147" y="1573"/>
                    <a:pt x="147" y="1565"/>
                  </a:cubicBezTo>
                  <a:close/>
                  <a:moveTo>
                    <a:pt x="161" y="1483"/>
                  </a:moveTo>
                  <a:cubicBezTo>
                    <a:pt x="158" y="1505"/>
                    <a:pt x="144" y="1469"/>
                    <a:pt x="161" y="1483"/>
                  </a:cubicBezTo>
                  <a:close/>
                  <a:moveTo>
                    <a:pt x="149" y="1652"/>
                  </a:moveTo>
                  <a:cubicBezTo>
                    <a:pt x="149" y="1658"/>
                    <a:pt x="144" y="1658"/>
                    <a:pt x="141" y="1658"/>
                  </a:cubicBezTo>
                  <a:cubicBezTo>
                    <a:pt x="141" y="1655"/>
                    <a:pt x="147" y="1652"/>
                    <a:pt x="149" y="1652"/>
                  </a:cubicBezTo>
                  <a:close/>
                  <a:moveTo>
                    <a:pt x="155" y="1689"/>
                  </a:moveTo>
                  <a:lnTo>
                    <a:pt x="155" y="1697"/>
                  </a:lnTo>
                  <a:cubicBezTo>
                    <a:pt x="149" y="1697"/>
                    <a:pt x="144" y="1700"/>
                    <a:pt x="138" y="1700"/>
                  </a:cubicBezTo>
                  <a:cubicBezTo>
                    <a:pt x="141" y="1697"/>
                    <a:pt x="141" y="1691"/>
                    <a:pt x="144" y="1689"/>
                  </a:cubicBezTo>
                  <a:cubicBezTo>
                    <a:pt x="141" y="1686"/>
                    <a:pt x="138" y="1683"/>
                    <a:pt x="138" y="1680"/>
                  </a:cubicBezTo>
                  <a:cubicBezTo>
                    <a:pt x="152" y="1669"/>
                    <a:pt x="158" y="1680"/>
                    <a:pt x="155" y="1689"/>
                  </a:cubicBezTo>
                  <a:close/>
                  <a:moveTo>
                    <a:pt x="155" y="1734"/>
                  </a:moveTo>
                  <a:cubicBezTo>
                    <a:pt x="149" y="1728"/>
                    <a:pt x="155" y="1711"/>
                    <a:pt x="163" y="1714"/>
                  </a:cubicBezTo>
                  <a:cubicBezTo>
                    <a:pt x="158" y="1720"/>
                    <a:pt x="155" y="1725"/>
                    <a:pt x="155" y="1734"/>
                  </a:cubicBezTo>
                  <a:close/>
                  <a:moveTo>
                    <a:pt x="166" y="1728"/>
                  </a:moveTo>
                  <a:cubicBezTo>
                    <a:pt x="172" y="1742"/>
                    <a:pt x="144" y="1734"/>
                    <a:pt x="166" y="1728"/>
                  </a:cubicBezTo>
                  <a:close/>
                  <a:moveTo>
                    <a:pt x="149" y="1711"/>
                  </a:moveTo>
                  <a:cubicBezTo>
                    <a:pt x="158" y="1728"/>
                    <a:pt x="132" y="1722"/>
                    <a:pt x="124" y="1725"/>
                  </a:cubicBezTo>
                  <a:cubicBezTo>
                    <a:pt x="127" y="1720"/>
                    <a:pt x="130" y="1717"/>
                    <a:pt x="132" y="1714"/>
                  </a:cubicBezTo>
                  <a:lnTo>
                    <a:pt x="135" y="1714"/>
                  </a:lnTo>
                  <a:cubicBezTo>
                    <a:pt x="141" y="1711"/>
                    <a:pt x="144" y="1711"/>
                    <a:pt x="149" y="1711"/>
                  </a:cubicBezTo>
                  <a:close/>
                  <a:moveTo>
                    <a:pt x="144" y="1737"/>
                  </a:moveTo>
                  <a:cubicBezTo>
                    <a:pt x="147" y="1731"/>
                    <a:pt x="152" y="1745"/>
                    <a:pt x="144" y="1737"/>
                  </a:cubicBezTo>
                  <a:close/>
                  <a:moveTo>
                    <a:pt x="147" y="1783"/>
                  </a:moveTo>
                  <a:cubicBezTo>
                    <a:pt x="148" y="1783"/>
                    <a:pt x="150" y="1785"/>
                    <a:pt x="147" y="1785"/>
                  </a:cubicBezTo>
                  <a:cubicBezTo>
                    <a:pt x="146" y="1784"/>
                    <a:pt x="146" y="1783"/>
                    <a:pt x="147" y="1783"/>
                  </a:cubicBezTo>
                  <a:close/>
                  <a:moveTo>
                    <a:pt x="132" y="1807"/>
                  </a:moveTo>
                  <a:cubicBezTo>
                    <a:pt x="132" y="1804"/>
                    <a:pt x="130" y="1801"/>
                    <a:pt x="127" y="1799"/>
                  </a:cubicBezTo>
                  <a:cubicBezTo>
                    <a:pt x="130" y="1796"/>
                    <a:pt x="132" y="1796"/>
                    <a:pt x="135" y="1793"/>
                  </a:cubicBezTo>
                  <a:cubicBezTo>
                    <a:pt x="138" y="1796"/>
                    <a:pt x="141" y="1799"/>
                    <a:pt x="141" y="1801"/>
                  </a:cubicBezTo>
                  <a:cubicBezTo>
                    <a:pt x="141" y="1804"/>
                    <a:pt x="135" y="1807"/>
                    <a:pt x="132" y="1807"/>
                  </a:cubicBezTo>
                  <a:close/>
                  <a:moveTo>
                    <a:pt x="132" y="1816"/>
                  </a:moveTo>
                  <a:cubicBezTo>
                    <a:pt x="138" y="1807"/>
                    <a:pt x="141" y="1821"/>
                    <a:pt x="132" y="1816"/>
                  </a:cubicBezTo>
                  <a:close/>
                  <a:moveTo>
                    <a:pt x="141" y="1841"/>
                  </a:moveTo>
                  <a:cubicBezTo>
                    <a:pt x="141" y="1838"/>
                    <a:pt x="138" y="1847"/>
                    <a:pt x="141" y="1841"/>
                  </a:cubicBezTo>
                  <a:close/>
                  <a:moveTo>
                    <a:pt x="138" y="1759"/>
                  </a:moveTo>
                  <a:cubicBezTo>
                    <a:pt x="158" y="1762"/>
                    <a:pt x="130" y="1787"/>
                    <a:pt x="138" y="1759"/>
                  </a:cubicBezTo>
                  <a:close/>
                  <a:moveTo>
                    <a:pt x="115" y="1728"/>
                  </a:moveTo>
                  <a:cubicBezTo>
                    <a:pt x="115" y="1728"/>
                    <a:pt x="113" y="1728"/>
                    <a:pt x="115" y="1728"/>
                  </a:cubicBezTo>
                  <a:lnTo>
                    <a:pt x="113" y="1725"/>
                  </a:lnTo>
                  <a:cubicBezTo>
                    <a:pt x="115" y="1722"/>
                    <a:pt x="121" y="1722"/>
                    <a:pt x="124" y="1720"/>
                  </a:cubicBezTo>
                  <a:lnTo>
                    <a:pt x="115" y="1728"/>
                  </a:lnTo>
                  <a:close/>
                  <a:moveTo>
                    <a:pt x="115" y="1731"/>
                  </a:moveTo>
                  <a:cubicBezTo>
                    <a:pt x="130" y="1728"/>
                    <a:pt x="113" y="1754"/>
                    <a:pt x="115" y="1731"/>
                  </a:cubicBezTo>
                  <a:close/>
                  <a:moveTo>
                    <a:pt x="118" y="1773"/>
                  </a:moveTo>
                  <a:cubicBezTo>
                    <a:pt x="118" y="1776"/>
                    <a:pt x="121" y="1779"/>
                    <a:pt x="121" y="1782"/>
                  </a:cubicBezTo>
                  <a:cubicBezTo>
                    <a:pt x="113" y="1785"/>
                    <a:pt x="104" y="1779"/>
                    <a:pt x="118" y="1773"/>
                  </a:cubicBezTo>
                  <a:close/>
                  <a:moveTo>
                    <a:pt x="107" y="1793"/>
                  </a:move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cubicBezTo>
                    <a:pt x="108" y="1792"/>
                    <a:pt x="108" y="1793"/>
                    <a:pt x="107" y="1793"/>
                  </a:cubicBezTo>
                  <a:lnTo>
                    <a:pt x="107" y="1793"/>
                  </a:lnTo>
                  <a:lnTo>
                    <a:pt x="107" y="1793"/>
                  </a:lnTo>
                  <a:lnTo>
                    <a:pt x="107" y="1793"/>
                  </a:lnTo>
                  <a:lnTo>
                    <a:pt x="107" y="1793"/>
                  </a:lnTo>
                  <a:lnTo>
                    <a:pt x="107" y="1793"/>
                  </a:lnTo>
                  <a:lnTo>
                    <a:pt x="107" y="1793"/>
                  </a:lnTo>
                  <a:cubicBezTo>
                    <a:pt x="108" y="1793"/>
                    <a:pt x="108" y="1792"/>
                    <a:pt x="108" y="1792"/>
                  </a:cubicBez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cubicBezTo>
                    <a:pt x="108" y="1792"/>
                    <a:pt x="108" y="1793"/>
                    <a:pt x="107" y="1793"/>
                  </a:cubicBezTo>
                  <a:cubicBezTo>
                    <a:pt x="107" y="1792"/>
                    <a:pt x="108" y="1792"/>
                    <a:pt x="108" y="1792"/>
                  </a:cubicBezTo>
                  <a:lnTo>
                    <a:pt x="107" y="1793"/>
                  </a:lnTo>
                  <a:close/>
                  <a:moveTo>
                    <a:pt x="113" y="1810"/>
                  </a:moveTo>
                  <a:cubicBezTo>
                    <a:pt x="113" y="1807"/>
                    <a:pt x="115" y="1807"/>
                    <a:pt x="121" y="1804"/>
                  </a:cubicBezTo>
                  <a:cubicBezTo>
                    <a:pt x="124" y="1810"/>
                    <a:pt x="121" y="1813"/>
                    <a:pt x="118" y="1813"/>
                  </a:cubicBezTo>
                  <a:cubicBezTo>
                    <a:pt x="124" y="1818"/>
                    <a:pt x="127" y="1824"/>
                    <a:pt x="124" y="1832"/>
                  </a:cubicBezTo>
                  <a:cubicBezTo>
                    <a:pt x="115" y="1832"/>
                    <a:pt x="118" y="1816"/>
                    <a:pt x="107" y="1818"/>
                  </a:cubicBezTo>
                  <a:cubicBezTo>
                    <a:pt x="110" y="1813"/>
                    <a:pt x="110" y="1810"/>
                    <a:pt x="113" y="1810"/>
                  </a:cubicBezTo>
                  <a:close/>
                  <a:moveTo>
                    <a:pt x="130" y="1754"/>
                  </a:moveTo>
                  <a:cubicBezTo>
                    <a:pt x="132" y="1770"/>
                    <a:pt x="101" y="1759"/>
                    <a:pt x="130" y="1754"/>
                  </a:cubicBezTo>
                  <a:close/>
                  <a:moveTo>
                    <a:pt x="138" y="1708"/>
                  </a:moveTo>
                  <a:cubicBezTo>
                    <a:pt x="130" y="1711"/>
                    <a:pt x="124" y="1691"/>
                    <a:pt x="130" y="1689"/>
                  </a:cubicBezTo>
                  <a:cubicBezTo>
                    <a:pt x="138" y="1691"/>
                    <a:pt x="138" y="1700"/>
                    <a:pt x="138" y="1708"/>
                  </a:cubicBezTo>
                  <a:close/>
                  <a:moveTo>
                    <a:pt x="132" y="1708"/>
                  </a:moveTo>
                  <a:cubicBezTo>
                    <a:pt x="132" y="1720"/>
                    <a:pt x="115" y="1708"/>
                    <a:pt x="132" y="1708"/>
                  </a:cubicBezTo>
                  <a:close/>
                  <a:moveTo>
                    <a:pt x="113" y="1677"/>
                  </a:moveTo>
                  <a:cubicBezTo>
                    <a:pt x="107" y="1680"/>
                    <a:pt x="115" y="1672"/>
                    <a:pt x="113" y="1677"/>
                  </a:cubicBezTo>
                  <a:close/>
                  <a:moveTo>
                    <a:pt x="101" y="1573"/>
                  </a:moveTo>
                  <a:cubicBezTo>
                    <a:pt x="104" y="1579"/>
                    <a:pt x="96" y="1581"/>
                    <a:pt x="93" y="1584"/>
                  </a:cubicBezTo>
                  <a:cubicBezTo>
                    <a:pt x="93" y="1579"/>
                    <a:pt x="96" y="1576"/>
                    <a:pt x="101" y="1573"/>
                  </a:cubicBezTo>
                  <a:close/>
                  <a:moveTo>
                    <a:pt x="104" y="1683"/>
                  </a:moveTo>
                  <a:cubicBezTo>
                    <a:pt x="127" y="1691"/>
                    <a:pt x="90" y="1691"/>
                    <a:pt x="104" y="1683"/>
                  </a:cubicBezTo>
                  <a:close/>
                  <a:moveTo>
                    <a:pt x="121" y="1835"/>
                  </a:moveTo>
                  <a:cubicBezTo>
                    <a:pt x="115" y="1844"/>
                    <a:pt x="107" y="1832"/>
                    <a:pt x="104" y="1827"/>
                  </a:cubicBezTo>
                  <a:cubicBezTo>
                    <a:pt x="113" y="1824"/>
                    <a:pt x="118" y="1830"/>
                    <a:pt x="121" y="1835"/>
                  </a:cubicBezTo>
                  <a:close/>
                  <a:moveTo>
                    <a:pt x="132" y="1875"/>
                  </a:moveTo>
                  <a:cubicBezTo>
                    <a:pt x="138" y="1889"/>
                    <a:pt x="110" y="1880"/>
                    <a:pt x="132" y="1875"/>
                  </a:cubicBezTo>
                  <a:close/>
                  <a:moveTo>
                    <a:pt x="138" y="1895"/>
                  </a:moveTo>
                  <a:cubicBezTo>
                    <a:pt x="144" y="1906"/>
                    <a:pt x="115" y="1900"/>
                    <a:pt x="138" y="1895"/>
                  </a:cubicBezTo>
                  <a:close/>
                  <a:moveTo>
                    <a:pt x="147" y="1914"/>
                  </a:moveTo>
                  <a:cubicBezTo>
                    <a:pt x="147" y="1920"/>
                    <a:pt x="141" y="1920"/>
                    <a:pt x="135" y="1920"/>
                  </a:cubicBezTo>
                  <a:cubicBezTo>
                    <a:pt x="132" y="1914"/>
                    <a:pt x="144" y="1914"/>
                    <a:pt x="147" y="1914"/>
                  </a:cubicBezTo>
                  <a:close/>
                  <a:moveTo>
                    <a:pt x="144" y="1900"/>
                  </a:moveTo>
                  <a:cubicBezTo>
                    <a:pt x="147" y="1900"/>
                    <a:pt x="141" y="1897"/>
                    <a:pt x="144" y="1900"/>
                  </a:cubicBezTo>
                  <a:close/>
                  <a:moveTo>
                    <a:pt x="155" y="1931"/>
                  </a:moveTo>
                  <a:cubicBezTo>
                    <a:pt x="152" y="1943"/>
                    <a:pt x="135" y="1931"/>
                    <a:pt x="155" y="1931"/>
                  </a:cubicBezTo>
                  <a:close/>
                  <a:moveTo>
                    <a:pt x="158" y="1954"/>
                  </a:moveTo>
                  <a:cubicBezTo>
                    <a:pt x="163" y="1968"/>
                    <a:pt x="135" y="1959"/>
                    <a:pt x="158" y="1954"/>
                  </a:cubicBezTo>
                  <a:close/>
                  <a:moveTo>
                    <a:pt x="149" y="1838"/>
                  </a:moveTo>
                  <a:cubicBezTo>
                    <a:pt x="149" y="1832"/>
                    <a:pt x="158" y="1841"/>
                    <a:pt x="149" y="1838"/>
                  </a:cubicBezTo>
                  <a:close/>
                  <a:moveTo>
                    <a:pt x="163" y="1768"/>
                  </a:moveTo>
                  <a:cubicBezTo>
                    <a:pt x="163" y="1762"/>
                    <a:pt x="172" y="1770"/>
                    <a:pt x="163" y="1768"/>
                  </a:cubicBezTo>
                  <a:close/>
                  <a:moveTo>
                    <a:pt x="158" y="1533"/>
                  </a:moveTo>
                  <a:cubicBezTo>
                    <a:pt x="161" y="1528"/>
                    <a:pt x="166" y="1542"/>
                    <a:pt x="158" y="1533"/>
                  </a:cubicBezTo>
                  <a:close/>
                  <a:moveTo>
                    <a:pt x="158" y="1422"/>
                  </a:moveTo>
                  <a:cubicBezTo>
                    <a:pt x="158" y="1424"/>
                    <a:pt x="152" y="1427"/>
                    <a:pt x="149" y="1427"/>
                  </a:cubicBezTo>
                  <a:cubicBezTo>
                    <a:pt x="152" y="1424"/>
                    <a:pt x="155" y="1422"/>
                    <a:pt x="158" y="1422"/>
                  </a:cubicBezTo>
                  <a:close/>
                  <a:moveTo>
                    <a:pt x="147" y="1289"/>
                  </a:moveTo>
                  <a:cubicBezTo>
                    <a:pt x="147" y="1292"/>
                    <a:pt x="141" y="1292"/>
                    <a:pt x="138" y="1292"/>
                  </a:cubicBezTo>
                  <a:cubicBezTo>
                    <a:pt x="138" y="1289"/>
                    <a:pt x="144" y="1286"/>
                    <a:pt x="147" y="1289"/>
                  </a:cubicBezTo>
                  <a:close/>
                  <a:moveTo>
                    <a:pt x="155" y="1351"/>
                  </a:moveTo>
                  <a:cubicBezTo>
                    <a:pt x="152" y="1357"/>
                    <a:pt x="144" y="1360"/>
                    <a:pt x="138" y="1360"/>
                  </a:cubicBezTo>
                  <a:cubicBezTo>
                    <a:pt x="138" y="1354"/>
                    <a:pt x="149" y="1354"/>
                    <a:pt x="155" y="1351"/>
                  </a:cubicBezTo>
                  <a:close/>
                  <a:moveTo>
                    <a:pt x="138" y="1669"/>
                  </a:moveTo>
                  <a:lnTo>
                    <a:pt x="127" y="1669"/>
                  </a:lnTo>
                  <a:lnTo>
                    <a:pt x="127" y="1658"/>
                  </a:lnTo>
                  <a:cubicBezTo>
                    <a:pt x="130" y="1658"/>
                    <a:pt x="135" y="1655"/>
                    <a:pt x="138" y="1655"/>
                  </a:cubicBezTo>
                  <a:lnTo>
                    <a:pt x="138" y="1669"/>
                  </a:lnTo>
                  <a:close/>
                  <a:moveTo>
                    <a:pt x="132" y="1460"/>
                  </a:moveTo>
                  <a:cubicBezTo>
                    <a:pt x="138" y="1457"/>
                    <a:pt x="130" y="1469"/>
                    <a:pt x="132" y="1460"/>
                  </a:cubicBezTo>
                  <a:close/>
                  <a:moveTo>
                    <a:pt x="135" y="1542"/>
                  </a:moveTo>
                  <a:cubicBezTo>
                    <a:pt x="144" y="1556"/>
                    <a:pt x="115" y="1548"/>
                    <a:pt x="135" y="1542"/>
                  </a:cubicBezTo>
                  <a:close/>
                  <a:moveTo>
                    <a:pt x="124" y="1450"/>
                  </a:moveTo>
                  <a:lnTo>
                    <a:pt x="130" y="1450"/>
                  </a:lnTo>
                  <a:lnTo>
                    <a:pt x="130" y="1456"/>
                  </a:lnTo>
                  <a:lnTo>
                    <a:pt x="124" y="1456"/>
                  </a:lnTo>
                  <a:lnTo>
                    <a:pt x="124" y="1450"/>
                  </a:lnTo>
                  <a:close/>
                  <a:moveTo>
                    <a:pt x="130" y="1573"/>
                  </a:moveTo>
                  <a:cubicBezTo>
                    <a:pt x="135" y="1581"/>
                    <a:pt x="127" y="1587"/>
                    <a:pt x="121" y="1590"/>
                  </a:cubicBezTo>
                  <a:cubicBezTo>
                    <a:pt x="118" y="1584"/>
                    <a:pt x="124" y="1576"/>
                    <a:pt x="130" y="1573"/>
                  </a:cubicBezTo>
                  <a:close/>
                  <a:moveTo>
                    <a:pt x="118" y="1514"/>
                  </a:moveTo>
                  <a:cubicBezTo>
                    <a:pt x="141" y="1522"/>
                    <a:pt x="90" y="1531"/>
                    <a:pt x="118" y="1514"/>
                  </a:cubicBezTo>
                  <a:close/>
                  <a:moveTo>
                    <a:pt x="115" y="1388"/>
                  </a:moveTo>
                  <a:cubicBezTo>
                    <a:pt x="118" y="1388"/>
                    <a:pt x="121" y="1391"/>
                    <a:pt x="124" y="1393"/>
                  </a:cubicBezTo>
                  <a:lnTo>
                    <a:pt x="118" y="1393"/>
                  </a:lnTo>
                  <a:cubicBezTo>
                    <a:pt x="115" y="1391"/>
                    <a:pt x="115" y="1388"/>
                    <a:pt x="115" y="1388"/>
                  </a:cubicBezTo>
                  <a:close/>
                  <a:moveTo>
                    <a:pt x="115" y="1357"/>
                  </a:moveTo>
                  <a:lnTo>
                    <a:pt x="113" y="1357"/>
                  </a:lnTo>
                  <a:cubicBezTo>
                    <a:pt x="113" y="1357"/>
                    <a:pt x="115" y="1354"/>
                    <a:pt x="115" y="1357"/>
                  </a:cubicBezTo>
                  <a:close/>
                  <a:moveTo>
                    <a:pt x="115" y="1309"/>
                  </a:moveTo>
                  <a:cubicBezTo>
                    <a:pt x="115" y="1312"/>
                    <a:pt x="110" y="1314"/>
                    <a:pt x="104" y="1314"/>
                  </a:cubicBezTo>
                  <a:cubicBezTo>
                    <a:pt x="107" y="1312"/>
                    <a:pt x="113" y="1309"/>
                    <a:pt x="115" y="1309"/>
                  </a:cubicBezTo>
                  <a:close/>
                  <a:moveTo>
                    <a:pt x="107" y="1427"/>
                  </a:moveTo>
                  <a:cubicBezTo>
                    <a:pt x="107" y="1433"/>
                    <a:pt x="96" y="1433"/>
                    <a:pt x="90" y="1433"/>
                  </a:cubicBezTo>
                  <a:cubicBezTo>
                    <a:pt x="87" y="1424"/>
                    <a:pt x="101" y="1422"/>
                    <a:pt x="107" y="1427"/>
                  </a:cubicBezTo>
                  <a:close/>
                  <a:moveTo>
                    <a:pt x="90" y="1444"/>
                  </a:moveTo>
                  <a:cubicBezTo>
                    <a:pt x="96" y="1456"/>
                    <a:pt x="79" y="1444"/>
                    <a:pt x="70" y="1455"/>
                  </a:cubicBezTo>
                  <a:cubicBezTo>
                    <a:pt x="68" y="1444"/>
                    <a:pt x="87" y="1447"/>
                    <a:pt x="90" y="1444"/>
                  </a:cubicBezTo>
                  <a:close/>
                  <a:moveTo>
                    <a:pt x="82" y="1385"/>
                  </a:moveTo>
                  <a:cubicBezTo>
                    <a:pt x="82" y="1405"/>
                    <a:pt x="59" y="1377"/>
                    <a:pt x="82" y="1385"/>
                  </a:cubicBezTo>
                  <a:close/>
                  <a:moveTo>
                    <a:pt x="76" y="1402"/>
                  </a:moveTo>
                  <a:cubicBezTo>
                    <a:pt x="79" y="1408"/>
                    <a:pt x="62" y="1413"/>
                    <a:pt x="65" y="1405"/>
                  </a:cubicBezTo>
                  <a:cubicBezTo>
                    <a:pt x="68" y="1405"/>
                    <a:pt x="70" y="1402"/>
                    <a:pt x="76" y="1402"/>
                  </a:cubicBezTo>
                  <a:close/>
                  <a:moveTo>
                    <a:pt x="59" y="1522"/>
                  </a:moveTo>
                  <a:cubicBezTo>
                    <a:pt x="65" y="1536"/>
                    <a:pt x="36" y="1528"/>
                    <a:pt x="59" y="1522"/>
                  </a:cubicBezTo>
                  <a:close/>
                  <a:moveTo>
                    <a:pt x="51" y="1483"/>
                  </a:moveTo>
                  <a:cubicBezTo>
                    <a:pt x="53" y="1474"/>
                    <a:pt x="53" y="1491"/>
                    <a:pt x="51" y="1483"/>
                  </a:cubicBezTo>
                  <a:close/>
                  <a:moveTo>
                    <a:pt x="56" y="1460"/>
                  </a:moveTo>
                  <a:cubicBezTo>
                    <a:pt x="56" y="1455"/>
                    <a:pt x="65" y="1463"/>
                    <a:pt x="56" y="1460"/>
                  </a:cubicBezTo>
                  <a:close/>
                  <a:moveTo>
                    <a:pt x="56" y="1419"/>
                  </a:moveTo>
                  <a:cubicBezTo>
                    <a:pt x="56" y="1413"/>
                    <a:pt x="65" y="1422"/>
                    <a:pt x="56" y="1419"/>
                  </a:cubicBezTo>
                  <a:close/>
                  <a:moveTo>
                    <a:pt x="45" y="1486"/>
                  </a:moveTo>
                  <a:cubicBezTo>
                    <a:pt x="48" y="1486"/>
                    <a:pt x="53" y="1488"/>
                    <a:pt x="53" y="1494"/>
                  </a:cubicBezTo>
                  <a:cubicBezTo>
                    <a:pt x="51" y="1491"/>
                    <a:pt x="42" y="1491"/>
                    <a:pt x="45" y="1486"/>
                  </a:cubicBezTo>
                  <a:close/>
                  <a:moveTo>
                    <a:pt x="53" y="1576"/>
                  </a:moveTo>
                  <a:cubicBezTo>
                    <a:pt x="51" y="1598"/>
                    <a:pt x="39" y="1565"/>
                    <a:pt x="53" y="1576"/>
                  </a:cubicBezTo>
                  <a:close/>
                  <a:moveTo>
                    <a:pt x="48" y="1556"/>
                  </a:moveTo>
                  <a:cubicBezTo>
                    <a:pt x="45" y="1556"/>
                    <a:pt x="48" y="1553"/>
                    <a:pt x="51" y="1553"/>
                  </a:cubicBezTo>
                  <a:cubicBezTo>
                    <a:pt x="53" y="1550"/>
                    <a:pt x="53" y="1550"/>
                    <a:pt x="56" y="1550"/>
                  </a:cubicBezTo>
                  <a:cubicBezTo>
                    <a:pt x="76" y="1556"/>
                    <a:pt x="45" y="1562"/>
                    <a:pt x="48" y="1556"/>
                  </a:cubicBezTo>
                  <a:close/>
                  <a:moveTo>
                    <a:pt x="62" y="1477"/>
                  </a:moveTo>
                  <a:cubicBezTo>
                    <a:pt x="62" y="1477"/>
                    <a:pt x="59" y="1477"/>
                    <a:pt x="62" y="1477"/>
                  </a:cubicBezTo>
                  <a:cubicBezTo>
                    <a:pt x="53" y="1474"/>
                    <a:pt x="65" y="1469"/>
                    <a:pt x="70" y="1471"/>
                  </a:cubicBezTo>
                  <a:cubicBezTo>
                    <a:pt x="70" y="1477"/>
                    <a:pt x="68" y="1477"/>
                    <a:pt x="62" y="1477"/>
                  </a:cubicBezTo>
                  <a:close/>
                  <a:moveTo>
                    <a:pt x="68" y="1424"/>
                  </a:moveTo>
                  <a:cubicBezTo>
                    <a:pt x="70" y="1424"/>
                    <a:pt x="62" y="1422"/>
                    <a:pt x="68" y="1424"/>
                  </a:cubicBezTo>
                  <a:close/>
                  <a:moveTo>
                    <a:pt x="56" y="1391"/>
                  </a:moveTo>
                  <a:cubicBezTo>
                    <a:pt x="56" y="1385"/>
                    <a:pt x="68" y="1396"/>
                    <a:pt x="56" y="1391"/>
                  </a:cubicBezTo>
                  <a:close/>
                  <a:moveTo>
                    <a:pt x="62" y="1377"/>
                  </a:moveTo>
                  <a:cubicBezTo>
                    <a:pt x="65" y="1385"/>
                    <a:pt x="45" y="1379"/>
                    <a:pt x="51" y="1382"/>
                  </a:cubicBezTo>
                  <a:lnTo>
                    <a:pt x="51" y="1385"/>
                  </a:lnTo>
                  <a:cubicBezTo>
                    <a:pt x="56" y="1399"/>
                    <a:pt x="31" y="1388"/>
                    <a:pt x="51" y="1382"/>
                  </a:cubicBezTo>
                  <a:lnTo>
                    <a:pt x="48" y="1382"/>
                  </a:lnTo>
                  <a:cubicBezTo>
                    <a:pt x="48" y="1377"/>
                    <a:pt x="56" y="1374"/>
                    <a:pt x="62" y="1377"/>
                  </a:cubicBezTo>
                  <a:close/>
                  <a:moveTo>
                    <a:pt x="45" y="1309"/>
                  </a:moveTo>
                  <a:cubicBezTo>
                    <a:pt x="39" y="1312"/>
                    <a:pt x="34" y="1295"/>
                    <a:pt x="28" y="1300"/>
                  </a:cubicBezTo>
                  <a:cubicBezTo>
                    <a:pt x="25" y="1283"/>
                    <a:pt x="53" y="1298"/>
                    <a:pt x="45" y="1309"/>
                  </a:cubicBezTo>
                  <a:close/>
                  <a:moveTo>
                    <a:pt x="31" y="1326"/>
                  </a:moveTo>
                  <a:cubicBezTo>
                    <a:pt x="31" y="1309"/>
                    <a:pt x="62" y="1317"/>
                    <a:pt x="31" y="1326"/>
                  </a:cubicBezTo>
                  <a:close/>
                  <a:moveTo>
                    <a:pt x="28" y="1343"/>
                  </a:moveTo>
                  <a:cubicBezTo>
                    <a:pt x="31" y="1326"/>
                    <a:pt x="59" y="1334"/>
                    <a:pt x="28" y="1343"/>
                  </a:cubicBezTo>
                  <a:close/>
                  <a:moveTo>
                    <a:pt x="25" y="1303"/>
                  </a:moveTo>
                  <a:cubicBezTo>
                    <a:pt x="28" y="1303"/>
                    <a:pt x="31" y="1306"/>
                    <a:pt x="31" y="1303"/>
                  </a:cubicBezTo>
                  <a:cubicBezTo>
                    <a:pt x="31" y="1306"/>
                    <a:pt x="28" y="1306"/>
                    <a:pt x="25" y="1306"/>
                  </a:cubicBezTo>
                  <a:cubicBezTo>
                    <a:pt x="28" y="1306"/>
                    <a:pt x="25" y="1303"/>
                    <a:pt x="25" y="1303"/>
                  </a:cubicBezTo>
                  <a:close/>
                  <a:moveTo>
                    <a:pt x="25" y="1314"/>
                  </a:moveTo>
                  <a:lnTo>
                    <a:pt x="34" y="1314"/>
                  </a:lnTo>
                  <a:cubicBezTo>
                    <a:pt x="34" y="1320"/>
                    <a:pt x="28" y="1320"/>
                    <a:pt x="25" y="1320"/>
                  </a:cubicBezTo>
                  <a:lnTo>
                    <a:pt x="25" y="1314"/>
                  </a:lnTo>
                  <a:close/>
                  <a:moveTo>
                    <a:pt x="42" y="1357"/>
                  </a:moveTo>
                  <a:cubicBezTo>
                    <a:pt x="42" y="1357"/>
                    <a:pt x="45" y="1360"/>
                    <a:pt x="45" y="1362"/>
                  </a:cubicBezTo>
                  <a:cubicBezTo>
                    <a:pt x="45" y="1360"/>
                    <a:pt x="51" y="1360"/>
                    <a:pt x="51" y="1357"/>
                  </a:cubicBezTo>
                  <a:cubicBezTo>
                    <a:pt x="56" y="1360"/>
                    <a:pt x="51" y="1365"/>
                    <a:pt x="51" y="1368"/>
                  </a:cubicBezTo>
                  <a:lnTo>
                    <a:pt x="48" y="1365"/>
                  </a:lnTo>
                  <a:lnTo>
                    <a:pt x="51" y="1371"/>
                  </a:lnTo>
                  <a:cubicBezTo>
                    <a:pt x="42" y="1374"/>
                    <a:pt x="34" y="1379"/>
                    <a:pt x="25" y="1382"/>
                  </a:cubicBezTo>
                  <a:cubicBezTo>
                    <a:pt x="11" y="1371"/>
                    <a:pt x="34" y="1365"/>
                    <a:pt x="42" y="1357"/>
                  </a:cubicBezTo>
                  <a:close/>
                  <a:moveTo>
                    <a:pt x="31" y="1408"/>
                  </a:moveTo>
                  <a:cubicBezTo>
                    <a:pt x="51" y="1410"/>
                    <a:pt x="22" y="1439"/>
                    <a:pt x="31" y="1408"/>
                  </a:cubicBezTo>
                  <a:close/>
                  <a:moveTo>
                    <a:pt x="22" y="1416"/>
                  </a:moveTo>
                  <a:cubicBezTo>
                    <a:pt x="14" y="1433"/>
                    <a:pt x="25" y="1393"/>
                    <a:pt x="22" y="1416"/>
                  </a:cubicBezTo>
                  <a:close/>
                  <a:moveTo>
                    <a:pt x="17" y="1519"/>
                  </a:moveTo>
                  <a:cubicBezTo>
                    <a:pt x="17" y="1519"/>
                    <a:pt x="17" y="1522"/>
                    <a:pt x="20" y="1522"/>
                  </a:cubicBezTo>
                  <a:lnTo>
                    <a:pt x="22" y="1522"/>
                  </a:lnTo>
                  <a:cubicBezTo>
                    <a:pt x="28" y="1528"/>
                    <a:pt x="25" y="1525"/>
                    <a:pt x="22" y="1522"/>
                  </a:cubicBezTo>
                  <a:cubicBezTo>
                    <a:pt x="22" y="1533"/>
                    <a:pt x="0" y="1525"/>
                    <a:pt x="17" y="1519"/>
                  </a:cubicBezTo>
                  <a:close/>
                  <a:moveTo>
                    <a:pt x="31" y="1469"/>
                  </a:moveTo>
                  <a:cubicBezTo>
                    <a:pt x="25" y="1474"/>
                    <a:pt x="25" y="1460"/>
                    <a:pt x="31" y="1469"/>
                  </a:cubicBezTo>
                  <a:close/>
                  <a:moveTo>
                    <a:pt x="22" y="1441"/>
                  </a:moveTo>
                  <a:cubicBezTo>
                    <a:pt x="28" y="1439"/>
                    <a:pt x="34" y="1436"/>
                    <a:pt x="36" y="1433"/>
                  </a:cubicBezTo>
                  <a:cubicBezTo>
                    <a:pt x="39" y="1436"/>
                    <a:pt x="39" y="1441"/>
                    <a:pt x="42" y="1444"/>
                  </a:cubicBezTo>
                  <a:cubicBezTo>
                    <a:pt x="34" y="1450"/>
                    <a:pt x="25" y="1450"/>
                    <a:pt x="22" y="1441"/>
                  </a:cubicBezTo>
                  <a:close/>
                  <a:moveTo>
                    <a:pt x="36" y="1600"/>
                  </a:moveTo>
                  <a:cubicBezTo>
                    <a:pt x="35" y="1600"/>
                    <a:pt x="33" y="1598"/>
                    <a:pt x="36" y="1598"/>
                  </a:cubicBezTo>
                  <a:cubicBezTo>
                    <a:pt x="37" y="1599"/>
                    <a:pt x="37" y="1600"/>
                    <a:pt x="36" y="1600"/>
                  </a:cubicBezTo>
                  <a:close/>
                  <a:moveTo>
                    <a:pt x="36" y="1463"/>
                  </a:moveTo>
                  <a:cubicBezTo>
                    <a:pt x="42" y="1453"/>
                    <a:pt x="51" y="1460"/>
                    <a:pt x="59" y="1463"/>
                  </a:cubicBezTo>
                  <a:cubicBezTo>
                    <a:pt x="53" y="1474"/>
                    <a:pt x="42" y="1463"/>
                    <a:pt x="36" y="1463"/>
                  </a:cubicBezTo>
                  <a:close/>
                  <a:moveTo>
                    <a:pt x="65" y="1601"/>
                  </a:moveTo>
                  <a:cubicBezTo>
                    <a:pt x="65" y="1610"/>
                    <a:pt x="56" y="1618"/>
                    <a:pt x="59" y="1629"/>
                  </a:cubicBezTo>
                  <a:cubicBezTo>
                    <a:pt x="36" y="1624"/>
                    <a:pt x="39" y="1601"/>
                    <a:pt x="65" y="1601"/>
                  </a:cubicBezTo>
                  <a:close/>
                  <a:moveTo>
                    <a:pt x="65" y="1643"/>
                  </a:moveTo>
                  <a:cubicBezTo>
                    <a:pt x="62" y="1646"/>
                    <a:pt x="68" y="1638"/>
                    <a:pt x="65" y="1643"/>
                  </a:cubicBezTo>
                  <a:close/>
                  <a:moveTo>
                    <a:pt x="53" y="1703"/>
                  </a:moveTo>
                  <a:cubicBezTo>
                    <a:pt x="53" y="1714"/>
                    <a:pt x="48" y="1724"/>
                    <a:pt x="38" y="1730"/>
                  </a:cubicBezTo>
                  <a:lnTo>
                    <a:pt x="39" y="1731"/>
                  </a:lnTo>
                  <a:cubicBezTo>
                    <a:pt x="52" y="1747"/>
                    <a:pt x="24" y="1726"/>
                    <a:pt x="36" y="1730"/>
                  </a:cubicBezTo>
                  <a:cubicBezTo>
                    <a:pt x="29" y="1716"/>
                    <a:pt x="48" y="1711"/>
                    <a:pt x="53" y="1703"/>
                  </a:cubicBezTo>
                  <a:close/>
                  <a:moveTo>
                    <a:pt x="36" y="1775"/>
                  </a:moveTo>
                  <a:cubicBezTo>
                    <a:pt x="38" y="1775"/>
                    <a:pt x="40" y="1776"/>
                    <a:pt x="36" y="1776"/>
                  </a:cubicBezTo>
                  <a:cubicBezTo>
                    <a:pt x="36" y="1775"/>
                    <a:pt x="36" y="1775"/>
                    <a:pt x="36" y="1775"/>
                  </a:cubicBezTo>
                  <a:close/>
                  <a:moveTo>
                    <a:pt x="42" y="1770"/>
                  </a:moveTo>
                  <a:cubicBezTo>
                    <a:pt x="39" y="1768"/>
                    <a:pt x="39" y="1771"/>
                    <a:pt x="36" y="1768"/>
                  </a:cubicBezTo>
                  <a:cubicBezTo>
                    <a:pt x="33" y="1766"/>
                    <a:pt x="36" y="1762"/>
                    <a:pt x="34" y="1759"/>
                  </a:cubicBezTo>
                  <a:cubicBezTo>
                    <a:pt x="53" y="1742"/>
                    <a:pt x="53" y="1773"/>
                    <a:pt x="42" y="1770"/>
                  </a:cubicBezTo>
                  <a:close/>
                  <a:moveTo>
                    <a:pt x="48" y="1742"/>
                  </a:moveTo>
                  <a:cubicBezTo>
                    <a:pt x="51" y="1737"/>
                    <a:pt x="59" y="1748"/>
                    <a:pt x="56" y="1751"/>
                  </a:cubicBezTo>
                  <a:cubicBezTo>
                    <a:pt x="51" y="1751"/>
                    <a:pt x="56" y="1739"/>
                    <a:pt x="48" y="1742"/>
                  </a:cubicBezTo>
                  <a:close/>
                  <a:moveTo>
                    <a:pt x="53" y="1754"/>
                  </a:moveTo>
                  <a:cubicBezTo>
                    <a:pt x="70" y="1754"/>
                    <a:pt x="53" y="1776"/>
                    <a:pt x="53" y="1754"/>
                  </a:cubicBezTo>
                  <a:close/>
                  <a:moveTo>
                    <a:pt x="56" y="1737"/>
                  </a:moveTo>
                  <a:cubicBezTo>
                    <a:pt x="56" y="1734"/>
                    <a:pt x="62" y="1731"/>
                    <a:pt x="65" y="1731"/>
                  </a:cubicBezTo>
                  <a:cubicBezTo>
                    <a:pt x="65" y="1734"/>
                    <a:pt x="59" y="1737"/>
                    <a:pt x="56" y="1737"/>
                  </a:cubicBezTo>
                  <a:close/>
                  <a:moveTo>
                    <a:pt x="68" y="1689"/>
                  </a:moveTo>
                  <a:cubicBezTo>
                    <a:pt x="76" y="1703"/>
                    <a:pt x="48" y="1694"/>
                    <a:pt x="68" y="1689"/>
                  </a:cubicBezTo>
                  <a:close/>
                  <a:moveTo>
                    <a:pt x="68" y="1553"/>
                  </a:moveTo>
                  <a:cubicBezTo>
                    <a:pt x="70" y="1553"/>
                    <a:pt x="73" y="1556"/>
                    <a:pt x="76" y="1559"/>
                  </a:cubicBezTo>
                  <a:lnTo>
                    <a:pt x="70" y="1559"/>
                  </a:lnTo>
                  <a:cubicBezTo>
                    <a:pt x="68" y="1559"/>
                    <a:pt x="68" y="1556"/>
                    <a:pt x="68" y="1553"/>
                  </a:cubicBezTo>
                  <a:close/>
                  <a:moveTo>
                    <a:pt x="70" y="1649"/>
                  </a:moveTo>
                  <a:cubicBezTo>
                    <a:pt x="68" y="1655"/>
                    <a:pt x="73" y="1646"/>
                    <a:pt x="70" y="1649"/>
                  </a:cubicBezTo>
                  <a:close/>
                  <a:moveTo>
                    <a:pt x="70" y="1652"/>
                  </a:moveTo>
                  <a:cubicBezTo>
                    <a:pt x="93" y="1660"/>
                    <a:pt x="62" y="1689"/>
                    <a:pt x="70" y="1652"/>
                  </a:cubicBezTo>
                  <a:close/>
                  <a:moveTo>
                    <a:pt x="79" y="1928"/>
                  </a:moveTo>
                  <a:cubicBezTo>
                    <a:pt x="84" y="1926"/>
                    <a:pt x="93" y="1928"/>
                    <a:pt x="99" y="1934"/>
                  </a:cubicBezTo>
                  <a:cubicBezTo>
                    <a:pt x="100" y="1935"/>
                    <a:pt x="100" y="1937"/>
                    <a:pt x="101" y="1938"/>
                  </a:cubicBezTo>
                  <a:cubicBezTo>
                    <a:pt x="102" y="1937"/>
                    <a:pt x="103" y="1935"/>
                    <a:pt x="104" y="1934"/>
                  </a:cubicBezTo>
                  <a:cubicBezTo>
                    <a:pt x="126" y="1951"/>
                    <a:pt x="93" y="1956"/>
                    <a:pt x="99" y="1942"/>
                  </a:cubicBezTo>
                  <a:cubicBezTo>
                    <a:pt x="89" y="1939"/>
                    <a:pt x="81" y="1936"/>
                    <a:pt x="79" y="1928"/>
                  </a:cubicBezTo>
                  <a:close/>
                  <a:moveTo>
                    <a:pt x="124" y="2027"/>
                  </a:moveTo>
                  <a:cubicBezTo>
                    <a:pt x="130" y="2041"/>
                    <a:pt x="101" y="2033"/>
                    <a:pt x="124" y="2027"/>
                  </a:cubicBezTo>
                  <a:close/>
                  <a:moveTo>
                    <a:pt x="118" y="1988"/>
                  </a:moveTo>
                  <a:cubicBezTo>
                    <a:pt x="118" y="1988"/>
                    <a:pt x="115" y="1988"/>
                    <a:pt x="118" y="1988"/>
                  </a:cubicBezTo>
                  <a:cubicBezTo>
                    <a:pt x="113" y="1982"/>
                    <a:pt x="101" y="1990"/>
                    <a:pt x="101" y="1979"/>
                  </a:cubicBezTo>
                  <a:cubicBezTo>
                    <a:pt x="110" y="1976"/>
                    <a:pt x="113" y="1976"/>
                    <a:pt x="115" y="1982"/>
                  </a:cubicBezTo>
                  <a:cubicBezTo>
                    <a:pt x="118" y="1971"/>
                    <a:pt x="144" y="1965"/>
                    <a:pt x="147" y="1982"/>
                  </a:cubicBezTo>
                  <a:cubicBezTo>
                    <a:pt x="145" y="1983"/>
                    <a:pt x="143" y="1984"/>
                    <a:pt x="141" y="1985"/>
                  </a:cubicBezTo>
                  <a:cubicBezTo>
                    <a:pt x="160" y="1991"/>
                    <a:pt x="127" y="2001"/>
                    <a:pt x="141" y="1985"/>
                  </a:cubicBezTo>
                  <a:cubicBezTo>
                    <a:pt x="133" y="1988"/>
                    <a:pt x="127" y="1983"/>
                    <a:pt x="118" y="1988"/>
                  </a:cubicBezTo>
                  <a:close/>
                  <a:moveTo>
                    <a:pt x="130" y="2013"/>
                  </a:moveTo>
                  <a:cubicBezTo>
                    <a:pt x="127" y="2010"/>
                    <a:pt x="130" y="2010"/>
                    <a:pt x="130" y="2013"/>
                  </a:cubicBezTo>
                  <a:close/>
                  <a:moveTo>
                    <a:pt x="132" y="2019"/>
                  </a:moveTo>
                  <a:lnTo>
                    <a:pt x="138" y="2019"/>
                  </a:lnTo>
                  <a:cubicBezTo>
                    <a:pt x="138" y="2016"/>
                    <a:pt x="138" y="2016"/>
                    <a:pt x="132" y="2019"/>
                  </a:cubicBezTo>
                  <a:lnTo>
                    <a:pt x="132" y="2010"/>
                  </a:lnTo>
                  <a:cubicBezTo>
                    <a:pt x="132" y="2010"/>
                    <a:pt x="135" y="2013"/>
                    <a:pt x="135" y="2016"/>
                  </a:cubicBezTo>
                  <a:lnTo>
                    <a:pt x="141" y="2016"/>
                  </a:lnTo>
                  <a:lnTo>
                    <a:pt x="141" y="2019"/>
                  </a:lnTo>
                  <a:cubicBezTo>
                    <a:pt x="141" y="2013"/>
                    <a:pt x="155" y="2010"/>
                    <a:pt x="152" y="2005"/>
                  </a:cubicBezTo>
                  <a:cubicBezTo>
                    <a:pt x="163" y="2002"/>
                    <a:pt x="155" y="2013"/>
                    <a:pt x="147" y="2019"/>
                  </a:cubicBezTo>
                  <a:cubicBezTo>
                    <a:pt x="149" y="2019"/>
                    <a:pt x="155" y="2021"/>
                    <a:pt x="155" y="2027"/>
                  </a:cubicBezTo>
                  <a:cubicBezTo>
                    <a:pt x="138" y="2027"/>
                    <a:pt x="141" y="2038"/>
                    <a:pt x="127" y="2041"/>
                  </a:cubicBezTo>
                  <a:cubicBezTo>
                    <a:pt x="127" y="2030"/>
                    <a:pt x="138" y="2027"/>
                    <a:pt x="132" y="2019"/>
                  </a:cubicBezTo>
                  <a:close/>
                  <a:moveTo>
                    <a:pt x="138" y="2055"/>
                  </a:moveTo>
                  <a:cubicBezTo>
                    <a:pt x="130" y="2075"/>
                    <a:pt x="141" y="2036"/>
                    <a:pt x="138" y="2055"/>
                  </a:cubicBezTo>
                  <a:close/>
                  <a:moveTo>
                    <a:pt x="147" y="2086"/>
                  </a:moveTo>
                  <a:cubicBezTo>
                    <a:pt x="141" y="2092"/>
                    <a:pt x="130" y="2087"/>
                    <a:pt x="140" y="2081"/>
                  </a:cubicBezTo>
                  <a:cubicBezTo>
                    <a:pt x="132" y="2084"/>
                    <a:pt x="130" y="2061"/>
                    <a:pt x="141" y="2064"/>
                  </a:cubicBezTo>
                  <a:cubicBezTo>
                    <a:pt x="144" y="2064"/>
                    <a:pt x="144" y="2069"/>
                    <a:pt x="144" y="2072"/>
                  </a:cubicBezTo>
                  <a:cubicBezTo>
                    <a:pt x="147" y="2069"/>
                    <a:pt x="149" y="2064"/>
                    <a:pt x="152" y="2064"/>
                  </a:cubicBezTo>
                  <a:cubicBezTo>
                    <a:pt x="161" y="2064"/>
                    <a:pt x="155" y="2084"/>
                    <a:pt x="147" y="2086"/>
                  </a:cubicBezTo>
                  <a:close/>
                  <a:moveTo>
                    <a:pt x="161" y="2115"/>
                  </a:moveTo>
                  <a:cubicBezTo>
                    <a:pt x="152" y="2126"/>
                    <a:pt x="166" y="2100"/>
                    <a:pt x="161" y="2115"/>
                  </a:cubicBezTo>
                  <a:close/>
                  <a:moveTo>
                    <a:pt x="161" y="1897"/>
                  </a:moveTo>
                  <a:cubicBezTo>
                    <a:pt x="175" y="1903"/>
                    <a:pt x="158" y="1926"/>
                    <a:pt x="161" y="1897"/>
                  </a:cubicBezTo>
                  <a:close/>
                  <a:moveTo>
                    <a:pt x="163" y="1979"/>
                  </a:moveTo>
                  <a:cubicBezTo>
                    <a:pt x="186" y="1988"/>
                    <a:pt x="155" y="2016"/>
                    <a:pt x="163" y="1979"/>
                  </a:cubicBezTo>
                  <a:close/>
                  <a:moveTo>
                    <a:pt x="163" y="2078"/>
                  </a:moveTo>
                  <a:lnTo>
                    <a:pt x="163" y="2077"/>
                  </a:lnTo>
                  <a:cubicBezTo>
                    <a:pt x="164" y="2077"/>
                    <a:pt x="165" y="2078"/>
                    <a:pt x="163" y="2078"/>
                  </a:cubicBezTo>
                  <a:cubicBezTo>
                    <a:pt x="162" y="2076"/>
                    <a:pt x="163" y="2076"/>
                    <a:pt x="163" y="2077"/>
                  </a:cubicBezTo>
                  <a:lnTo>
                    <a:pt x="163" y="2078"/>
                  </a:lnTo>
                  <a:close/>
                  <a:moveTo>
                    <a:pt x="172" y="2092"/>
                  </a:moveTo>
                  <a:cubicBezTo>
                    <a:pt x="172" y="2089"/>
                    <a:pt x="169" y="2095"/>
                    <a:pt x="172" y="2092"/>
                  </a:cubicBezTo>
                  <a:close/>
                  <a:moveTo>
                    <a:pt x="175" y="2137"/>
                  </a:moveTo>
                  <a:cubicBezTo>
                    <a:pt x="175" y="2134"/>
                    <a:pt x="175" y="2131"/>
                    <a:pt x="178" y="2131"/>
                  </a:cubicBezTo>
                  <a:cubicBezTo>
                    <a:pt x="175" y="2131"/>
                    <a:pt x="175" y="2126"/>
                    <a:pt x="183" y="2123"/>
                  </a:cubicBezTo>
                  <a:cubicBezTo>
                    <a:pt x="186" y="2129"/>
                    <a:pt x="186" y="2129"/>
                    <a:pt x="183" y="2129"/>
                  </a:cubicBezTo>
                  <a:cubicBezTo>
                    <a:pt x="186" y="2129"/>
                    <a:pt x="186" y="2131"/>
                    <a:pt x="189" y="2131"/>
                  </a:cubicBezTo>
                  <a:cubicBezTo>
                    <a:pt x="186" y="2137"/>
                    <a:pt x="180" y="2137"/>
                    <a:pt x="175" y="2137"/>
                  </a:cubicBezTo>
                  <a:close/>
                  <a:moveTo>
                    <a:pt x="183" y="2100"/>
                  </a:moveTo>
                  <a:cubicBezTo>
                    <a:pt x="183" y="2098"/>
                    <a:pt x="180" y="2103"/>
                    <a:pt x="183" y="2100"/>
                  </a:cubicBezTo>
                  <a:close/>
                  <a:moveTo>
                    <a:pt x="192" y="2098"/>
                  </a:moveTo>
                  <a:cubicBezTo>
                    <a:pt x="194" y="2098"/>
                    <a:pt x="186" y="2095"/>
                    <a:pt x="192" y="2098"/>
                  </a:cubicBezTo>
                  <a:close/>
                  <a:moveTo>
                    <a:pt x="194" y="2100"/>
                  </a:moveTo>
                  <a:cubicBezTo>
                    <a:pt x="193" y="2102"/>
                    <a:pt x="193" y="2101"/>
                    <a:pt x="194" y="2100"/>
                  </a:cubicBezTo>
                  <a:lnTo>
                    <a:pt x="194" y="2100"/>
                  </a:lnTo>
                  <a:cubicBezTo>
                    <a:pt x="197" y="2101"/>
                    <a:pt x="189" y="2107"/>
                    <a:pt x="192" y="2100"/>
                  </a:cubicBezTo>
                  <a:cubicBezTo>
                    <a:pt x="193" y="2100"/>
                    <a:pt x="193" y="2100"/>
                    <a:pt x="194" y="2100"/>
                  </a:cubicBezTo>
                  <a:close/>
                  <a:moveTo>
                    <a:pt x="220" y="2191"/>
                  </a:moveTo>
                  <a:lnTo>
                    <a:pt x="220" y="2196"/>
                  </a:lnTo>
                  <a:cubicBezTo>
                    <a:pt x="214" y="2188"/>
                    <a:pt x="209" y="2179"/>
                    <a:pt x="203" y="2174"/>
                  </a:cubicBezTo>
                  <a:lnTo>
                    <a:pt x="203" y="2177"/>
                  </a:lnTo>
                  <a:cubicBezTo>
                    <a:pt x="197" y="2171"/>
                    <a:pt x="194" y="2165"/>
                    <a:pt x="197" y="2157"/>
                  </a:cubicBezTo>
                  <a:lnTo>
                    <a:pt x="194" y="2154"/>
                  </a:lnTo>
                  <a:cubicBezTo>
                    <a:pt x="197" y="2148"/>
                    <a:pt x="206" y="2148"/>
                    <a:pt x="206" y="2160"/>
                  </a:cubicBezTo>
                  <a:cubicBezTo>
                    <a:pt x="211" y="2163"/>
                    <a:pt x="211" y="2171"/>
                    <a:pt x="214" y="2177"/>
                  </a:cubicBezTo>
                  <a:cubicBezTo>
                    <a:pt x="211" y="2165"/>
                    <a:pt x="226" y="2154"/>
                    <a:pt x="220" y="2182"/>
                  </a:cubicBezTo>
                  <a:cubicBezTo>
                    <a:pt x="226" y="2188"/>
                    <a:pt x="226" y="2191"/>
                    <a:pt x="220" y="2191"/>
                  </a:cubicBezTo>
                  <a:close/>
                  <a:moveTo>
                    <a:pt x="220" y="2154"/>
                  </a:moveTo>
                  <a:cubicBezTo>
                    <a:pt x="237" y="2151"/>
                    <a:pt x="217" y="2177"/>
                    <a:pt x="220" y="2154"/>
                  </a:cubicBezTo>
                  <a:close/>
                  <a:moveTo>
                    <a:pt x="234" y="2219"/>
                  </a:moveTo>
                  <a:cubicBezTo>
                    <a:pt x="231" y="2227"/>
                    <a:pt x="234" y="2213"/>
                    <a:pt x="234" y="2213"/>
                  </a:cubicBezTo>
                  <a:lnTo>
                    <a:pt x="234" y="2219"/>
                  </a:lnTo>
                  <a:close/>
                  <a:moveTo>
                    <a:pt x="240" y="2143"/>
                  </a:moveTo>
                  <a:cubicBezTo>
                    <a:pt x="228" y="2160"/>
                    <a:pt x="240" y="2120"/>
                    <a:pt x="240" y="2143"/>
                  </a:cubicBezTo>
                  <a:close/>
                  <a:moveTo>
                    <a:pt x="234" y="2117"/>
                  </a:moveTo>
                  <a:cubicBezTo>
                    <a:pt x="237" y="2109"/>
                    <a:pt x="240" y="2100"/>
                    <a:pt x="245" y="2092"/>
                  </a:cubicBezTo>
                  <a:cubicBezTo>
                    <a:pt x="251" y="2098"/>
                    <a:pt x="254" y="2106"/>
                    <a:pt x="248" y="2115"/>
                  </a:cubicBezTo>
                  <a:cubicBezTo>
                    <a:pt x="248" y="2117"/>
                    <a:pt x="245" y="2117"/>
                    <a:pt x="242" y="2120"/>
                  </a:cubicBezTo>
                  <a:cubicBezTo>
                    <a:pt x="248" y="2123"/>
                    <a:pt x="231" y="2137"/>
                    <a:pt x="234" y="2117"/>
                  </a:cubicBezTo>
                  <a:close/>
                  <a:moveTo>
                    <a:pt x="240" y="2208"/>
                  </a:moveTo>
                  <a:lnTo>
                    <a:pt x="240" y="2207"/>
                  </a:lnTo>
                  <a:cubicBezTo>
                    <a:pt x="240" y="2207"/>
                    <a:pt x="241" y="2208"/>
                    <a:pt x="240" y="2208"/>
                  </a:cubicBezTo>
                  <a:cubicBezTo>
                    <a:pt x="238" y="2206"/>
                    <a:pt x="239" y="2206"/>
                    <a:pt x="240" y="2207"/>
                  </a:cubicBezTo>
                  <a:lnTo>
                    <a:pt x="240" y="2208"/>
                  </a:lnTo>
                  <a:close/>
                  <a:moveTo>
                    <a:pt x="245" y="2137"/>
                  </a:moveTo>
                  <a:cubicBezTo>
                    <a:pt x="231" y="2137"/>
                    <a:pt x="242" y="2117"/>
                    <a:pt x="245" y="2137"/>
                  </a:cubicBezTo>
                  <a:close/>
                  <a:moveTo>
                    <a:pt x="240" y="2196"/>
                  </a:moveTo>
                  <a:lnTo>
                    <a:pt x="240" y="2188"/>
                  </a:lnTo>
                  <a:cubicBezTo>
                    <a:pt x="245" y="2188"/>
                    <a:pt x="248" y="2191"/>
                    <a:pt x="248" y="2194"/>
                  </a:cubicBezTo>
                  <a:cubicBezTo>
                    <a:pt x="248" y="2194"/>
                    <a:pt x="242" y="2196"/>
                    <a:pt x="240" y="2196"/>
                  </a:cubicBezTo>
                  <a:close/>
                  <a:moveTo>
                    <a:pt x="257" y="2115"/>
                  </a:moveTo>
                  <a:cubicBezTo>
                    <a:pt x="265" y="2129"/>
                    <a:pt x="237" y="2120"/>
                    <a:pt x="257" y="2115"/>
                  </a:cubicBezTo>
                  <a:close/>
                  <a:moveTo>
                    <a:pt x="254" y="2086"/>
                  </a:moveTo>
                  <a:cubicBezTo>
                    <a:pt x="257" y="2086"/>
                    <a:pt x="259" y="2086"/>
                    <a:pt x="262" y="2084"/>
                  </a:cubicBezTo>
                  <a:cubicBezTo>
                    <a:pt x="262" y="2086"/>
                    <a:pt x="262" y="2089"/>
                    <a:pt x="265" y="2092"/>
                  </a:cubicBezTo>
                  <a:cubicBezTo>
                    <a:pt x="262" y="2092"/>
                    <a:pt x="259" y="2095"/>
                    <a:pt x="257" y="2095"/>
                  </a:cubicBezTo>
                  <a:cubicBezTo>
                    <a:pt x="257" y="2095"/>
                    <a:pt x="254" y="2089"/>
                    <a:pt x="254" y="2086"/>
                  </a:cubicBezTo>
                  <a:close/>
                  <a:moveTo>
                    <a:pt x="259" y="2112"/>
                  </a:moveTo>
                  <a:cubicBezTo>
                    <a:pt x="262" y="2112"/>
                    <a:pt x="265" y="2112"/>
                    <a:pt x="268" y="2109"/>
                  </a:cubicBezTo>
                  <a:cubicBezTo>
                    <a:pt x="268" y="2112"/>
                    <a:pt x="268" y="2115"/>
                    <a:pt x="271" y="2117"/>
                  </a:cubicBezTo>
                  <a:cubicBezTo>
                    <a:pt x="268" y="2117"/>
                    <a:pt x="265" y="2120"/>
                    <a:pt x="262" y="2120"/>
                  </a:cubicBezTo>
                  <a:cubicBezTo>
                    <a:pt x="262" y="2120"/>
                    <a:pt x="262" y="2115"/>
                    <a:pt x="259" y="2112"/>
                  </a:cubicBezTo>
                  <a:close/>
                  <a:moveTo>
                    <a:pt x="276" y="2256"/>
                  </a:moveTo>
                  <a:cubicBezTo>
                    <a:pt x="282" y="2270"/>
                    <a:pt x="254" y="2261"/>
                    <a:pt x="276" y="2256"/>
                  </a:cubicBezTo>
                  <a:close/>
                  <a:moveTo>
                    <a:pt x="273" y="2230"/>
                  </a:moveTo>
                  <a:cubicBezTo>
                    <a:pt x="276" y="2230"/>
                    <a:pt x="271" y="2227"/>
                    <a:pt x="273" y="2230"/>
                  </a:cubicBezTo>
                  <a:close/>
                  <a:moveTo>
                    <a:pt x="288" y="2301"/>
                  </a:moveTo>
                  <a:cubicBezTo>
                    <a:pt x="290" y="2304"/>
                    <a:pt x="285" y="2301"/>
                    <a:pt x="288" y="2301"/>
                  </a:cubicBezTo>
                  <a:close/>
                  <a:moveTo>
                    <a:pt x="285" y="2292"/>
                  </a:moveTo>
                  <a:cubicBezTo>
                    <a:pt x="282" y="2287"/>
                    <a:pt x="279" y="2284"/>
                    <a:pt x="282" y="2278"/>
                  </a:cubicBezTo>
                  <a:cubicBezTo>
                    <a:pt x="288" y="2278"/>
                    <a:pt x="290" y="2284"/>
                    <a:pt x="296" y="2284"/>
                  </a:cubicBezTo>
                  <a:cubicBezTo>
                    <a:pt x="293" y="2287"/>
                    <a:pt x="290" y="2292"/>
                    <a:pt x="285" y="2292"/>
                  </a:cubicBezTo>
                  <a:close/>
                  <a:moveTo>
                    <a:pt x="279" y="2210"/>
                  </a:moveTo>
                  <a:cubicBezTo>
                    <a:pt x="279" y="2202"/>
                    <a:pt x="288" y="2213"/>
                    <a:pt x="279" y="2210"/>
                  </a:cubicBezTo>
                  <a:close/>
                  <a:moveTo>
                    <a:pt x="282" y="2225"/>
                  </a:moveTo>
                  <a:cubicBezTo>
                    <a:pt x="282" y="2219"/>
                    <a:pt x="290" y="2222"/>
                    <a:pt x="293" y="2216"/>
                  </a:cubicBezTo>
                  <a:cubicBezTo>
                    <a:pt x="299" y="2219"/>
                    <a:pt x="290" y="2227"/>
                    <a:pt x="282" y="2225"/>
                  </a:cubicBezTo>
                  <a:close/>
                  <a:moveTo>
                    <a:pt x="288" y="2270"/>
                  </a:moveTo>
                  <a:cubicBezTo>
                    <a:pt x="302" y="2267"/>
                    <a:pt x="285" y="2292"/>
                    <a:pt x="288" y="2270"/>
                  </a:cubicBezTo>
                  <a:close/>
                  <a:moveTo>
                    <a:pt x="293" y="2306"/>
                  </a:moveTo>
                  <a:cubicBezTo>
                    <a:pt x="307" y="2306"/>
                    <a:pt x="291" y="2328"/>
                    <a:pt x="293" y="2307"/>
                  </a:cubicBezTo>
                  <a:cubicBezTo>
                    <a:pt x="293" y="2307"/>
                    <a:pt x="293" y="2307"/>
                    <a:pt x="293" y="2306"/>
                  </a:cubicBezTo>
                  <a:close/>
                  <a:moveTo>
                    <a:pt x="293" y="2306"/>
                  </a:moveTo>
                  <a:cubicBezTo>
                    <a:pt x="291" y="2309"/>
                    <a:pt x="293" y="2309"/>
                    <a:pt x="293" y="2307"/>
                  </a:cubicBezTo>
                  <a:cubicBezTo>
                    <a:pt x="293" y="2307"/>
                    <a:pt x="293" y="2307"/>
                    <a:pt x="293" y="2306"/>
                  </a:cubicBezTo>
                  <a:close/>
                  <a:moveTo>
                    <a:pt x="301" y="2239"/>
                  </a:moveTo>
                  <a:cubicBezTo>
                    <a:pt x="300" y="2239"/>
                    <a:pt x="300" y="2239"/>
                    <a:pt x="299" y="2239"/>
                  </a:cubicBezTo>
                  <a:cubicBezTo>
                    <a:pt x="299" y="2238"/>
                    <a:pt x="299" y="2238"/>
                    <a:pt x="300" y="2238"/>
                  </a:cubicBezTo>
                  <a:cubicBezTo>
                    <a:pt x="299" y="2237"/>
                    <a:pt x="299" y="2237"/>
                    <a:pt x="299" y="2237"/>
                  </a:cubicBezTo>
                  <a:cubicBezTo>
                    <a:pt x="298" y="2237"/>
                    <a:pt x="297" y="2238"/>
                    <a:pt x="296" y="2239"/>
                  </a:cubicBezTo>
                  <a:cubicBezTo>
                    <a:pt x="293" y="2227"/>
                    <a:pt x="305" y="2222"/>
                    <a:pt x="302" y="2213"/>
                  </a:cubicBezTo>
                  <a:cubicBezTo>
                    <a:pt x="296" y="2210"/>
                    <a:pt x="290" y="2208"/>
                    <a:pt x="288" y="2205"/>
                  </a:cubicBezTo>
                  <a:cubicBezTo>
                    <a:pt x="285" y="2205"/>
                    <a:pt x="282" y="2205"/>
                    <a:pt x="282" y="2199"/>
                  </a:cubicBezTo>
                  <a:cubicBezTo>
                    <a:pt x="273" y="2188"/>
                    <a:pt x="271" y="2174"/>
                    <a:pt x="271" y="2160"/>
                  </a:cubicBezTo>
                  <a:cubicBezTo>
                    <a:pt x="285" y="2160"/>
                    <a:pt x="285" y="2157"/>
                    <a:pt x="296" y="2151"/>
                  </a:cubicBezTo>
                  <a:cubicBezTo>
                    <a:pt x="296" y="2154"/>
                    <a:pt x="299" y="2157"/>
                    <a:pt x="302" y="2160"/>
                  </a:cubicBezTo>
                  <a:cubicBezTo>
                    <a:pt x="302" y="2157"/>
                    <a:pt x="305" y="2157"/>
                    <a:pt x="305" y="2154"/>
                  </a:cubicBezTo>
                  <a:cubicBezTo>
                    <a:pt x="313" y="2160"/>
                    <a:pt x="313" y="2163"/>
                    <a:pt x="307" y="2165"/>
                  </a:cubicBezTo>
                  <a:cubicBezTo>
                    <a:pt x="313" y="2171"/>
                    <a:pt x="313" y="2179"/>
                    <a:pt x="313" y="2188"/>
                  </a:cubicBezTo>
                  <a:cubicBezTo>
                    <a:pt x="302" y="2188"/>
                    <a:pt x="299" y="2194"/>
                    <a:pt x="305" y="2205"/>
                  </a:cubicBezTo>
                  <a:cubicBezTo>
                    <a:pt x="310" y="2208"/>
                    <a:pt x="319" y="2208"/>
                    <a:pt x="321" y="2210"/>
                  </a:cubicBezTo>
                  <a:cubicBezTo>
                    <a:pt x="324" y="2216"/>
                    <a:pt x="321" y="2222"/>
                    <a:pt x="319" y="2225"/>
                  </a:cubicBezTo>
                  <a:cubicBezTo>
                    <a:pt x="324" y="2227"/>
                    <a:pt x="324" y="2236"/>
                    <a:pt x="307" y="2239"/>
                  </a:cubicBezTo>
                  <a:lnTo>
                    <a:pt x="307" y="2233"/>
                  </a:lnTo>
                  <a:cubicBezTo>
                    <a:pt x="306" y="2235"/>
                    <a:pt x="303" y="2235"/>
                    <a:pt x="301" y="2236"/>
                  </a:cubicBezTo>
                  <a:cubicBezTo>
                    <a:pt x="301" y="2236"/>
                    <a:pt x="301" y="2236"/>
                    <a:pt x="302" y="2237"/>
                  </a:cubicBezTo>
                  <a:cubicBezTo>
                    <a:pt x="303" y="2237"/>
                    <a:pt x="305" y="2238"/>
                    <a:pt x="305" y="2239"/>
                  </a:cubicBezTo>
                  <a:cubicBezTo>
                    <a:pt x="314" y="2251"/>
                    <a:pt x="306" y="2245"/>
                    <a:pt x="301" y="2239"/>
                  </a:cubicBezTo>
                  <a:close/>
                  <a:moveTo>
                    <a:pt x="313" y="2289"/>
                  </a:moveTo>
                  <a:cubicBezTo>
                    <a:pt x="305" y="2287"/>
                    <a:pt x="307" y="2289"/>
                    <a:pt x="299" y="2292"/>
                  </a:cubicBezTo>
                  <a:cubicBezTo>
                    <a:pt x="290" y="2278"/>
                    <a:pt x="313" y="2270"/>
                    <a:pt x="313" y="2289"/>
                  </a:cubicBezTo>
                  <a:close/>
                  <a:moveTo>
                    <a:pt x="299" y="2247"/>
                  </a:moveTo>
                  <a:cubicBezTo>
                    <a:pt x="313" y="2244"/>
                    <a:pt x="296" y="2270"/>
                    <a:pt x="299" y="2247"/>
                  </a:cubicBezTo>
                  <a:close/>
                  <a:moveTo>
                    <a:pt x="305" y="2298"/>
                  </a:moveTo>
                  <a:cubicBezTo>
                    <a:pt x="299" y="2312"/>
                    <a:pt x="296" y="2287"/>
                    <a:pt x="305" y="2298"/>
                  </a:cubicBezTo>
                  <a:close/>
                  <a:moveTo>
                    <a:pt x="319" y="2329"/>
                  </a:moveTo>
                  <a:lnTo>
                    <a:pt x="319" y="2335"/>
                  </a:lnTo>
                  <a:cubicBezTo>
                    <a:pt x="313" y="2337"/>
                    <a:pt x="313" y="2332"/>
                    <a:pt x="307" y="2332"/>
                  </a:cubicBezTo>
                  <a:cubicBezTo>
                    <a:pt x="313" y="2337"/>
                    <a:pt x="316" y="2343"/>
                    <a:pt x="319" y="2349"/>
                  </a:cubicBezTo>
                  <a:lnTo>
                    <a:pt x="310" y="2349"/>
                  </a:lnTo>
                  <a:cubicBezTo>
                    <a:pt x="310" y="2354"/>
                    <a:pt x="299" y="2357"/>
                    <a:pt x="296" y="2343"/>
                  </a:cubicBezTo>
                  <a:lnTo>
                    <a:pt x="302" y="2343"/>
                  </a:lnTo>
                  <a:cubicBezTo>
                    <a:pt x="302" y="2337"/>
                    <a:pt x="299" y="2332"/>
                    <a:pt x="296" y="2326"/>
                  </a:cubicBezTo>
                  <a:cubicBezTo>
                    <a:pt x="299" y="2326"/>
                    <a:pt x="305" y="2329"/>
                    <a:pt x="307" y="2329"/>
                  </a:cubicBezTo>
                  <a:lnTo>
                    <a:pt x="307" y="2323"/>
                  </a:lnTo>
                  <a:lnTo>
                    <a:pt x="302" y="2320"/>
                  </a:lnTo>
                  <a:cubicBezTo>
                    <a:pt x="305" y="2320"/>
                    <a:pt x="307" y="2318"/>
                    <a:pt x="310" y="2315"/>
                  </a:cubicBezTo>
                  <a:cubicBezTo>
                    <a:pt x="310" y="2315"/>
                    <a:pt x="313" y="2315"/>
                    <a:pt x="313" y="2312"/>
                  </a:cubicBezTo>
                  <a:cubicBezTo>
                    <a:pt x="316" y="2315"/>
                    <a:pt x="316" y="2318"/>
                    <a:pt x="319" y="2320"/>
                  </a:cubicBezTo>
                  <a:cubicBezTo>
                    <a:pt x="321" y="2326"/>
                    <a:pt x="321" y="2329"/>
                    <a:pt x="319" y="2329"/>
                  </a:cubicBezTo>
                  <a:close/>
                  <a:moveTo>
                    <a:pt x="321" y="2250"/>
                  </a:moveTo>
                  <a:cubicBezTo>
                    <a:pt x="324" y="2261"/>
                    <a:pt x="305" y="2250"/>
                    <a:pt x="321" y="2250"/>
                  </a:cubicBezTo>
                  <a:close/>
                  <a:moveTo>
                    <a:pt x="321" y="2304"/>
                  </a:moveTo>
                  <a:lnTo>
                    <a:pt x="321" y="2312"/>
                  </a:lnTo>
                  <a:lnTo>
                    <a:pt x="316" y="2312"/>
                  </a:lnTo>
                  <a:cubicBezTo>
                    <a:pt x="316" y="2309"/>
                    <a:pt x="316" y="2304"/>
                    <a:pt x="321" y="2304"/>
                  </a:cubicBezTo>
                  <a:close/>
                  <a:moveTo>
                    <a:pt x="310" y="1880"/>
                  </a:moveTo>
                  <a:cubicBezTo>
                    <a:pt x="319" y="1883"/>
                    <a:pt x="327" y="1892"/>
                    <a:pt x="324" y="1903"/>
                  </a:cubicBezTo>
                  <a:cubicBezTo>
                    <a:pt x="310" y="1906"/>
                    <a:pt x="310" y="1889"/>
                    <a:pt x="310" y="1880"/>
                  </a:cubicBezTo>
                  <a:close/>
                  <a:moveTo>
                    <a:pt x="321" y="1720"/>
                  </a:moveTo>
                  <a:cubicBezTo>
                    <a:pt x="327" y="1720"/>
                    <a:pt x="333" y="1717"/>
                    <a:pt x="336" y="1717"/>
                  </a:cubicBezTo>
                  <a:cubicBezTo>
                    <a:pt x="338" y="1725"/>
                    <a:pt x="336" y="1734"/>
                    <a:pt x="324" y="1734"/>
                  </a:cubicBezTo>
                  <a:cubicBezTo>
                    <a:pt x="324" y="1731"/>
                    <a:pt x="321" y="1725"/>
                    <a:pt x="321" y="1720"/>
                  </a:cubicBezTo>
                  <a:close/>
                  <a:moveTo>
                    <a:pt x="330" y="2326"/>
                  </a:moveTo>
                  <a:cubicBezTo>
                    <a:pt x="333" y="2323"/>
                    <a:pt x="324" y="2329"/>
                    <a:pt x="330" y="2326"/>
                  </a:cubicBezTo>
                  <a:close/>
                  <a:moveTo>
                    <a:pt x="347" y="2368"/>
                  </a:moveTo>
                  <a:cubicBezTo>
                    <a:pt x="350" y="2374"/>
                    <a:pt x="341" y="2377"/>
                    <a:pt x="344" y="2383"/>
                  </a:cubicBezTo>
                  <a:cubicBezTo>
                    <a:pt x="341" y="2383"/>
                    <a:pt x="338" y="2377"/>
                    <a:pt x="333" y="2380"/>
                  </a:cubicBezTo>
                  <a:cubicBezTo>
                    <a:pt x="333" y="2377"/>
                    <a:pt x="330" y="2371"/>
                    <a:pt x="330" y="2368"/>
                  </a:cubicBezTo>
                  <a:cubicBezTo>
                    <a:pt x="333" y="2366"/>
                    <a:pt x="341" y="2368"/>
                    <a:pt x="347" y="2368"/>
                  </a:cubicBezTo>
                  <a:cubicBezTo>
                    <a:pt x="347" y="2366"/>
                    <a:pt x="350" y="2363"/>
                    <a:pt x="352" y="2363"/>
                  </a:cubicBezTo>
                  <a:cubicBezTo>
                    <a:pt x="352" y="2366"/>
                    <a:pt x="350" y="2366"/>
                    <a:pt x="347" y="2368"/>
                  </a:cubicBezTo>
                  <a:close/>
                  <a:moveTo>
                    <a:pt x="355" y="2363"/>
                  </a:moveTo>
                  <a:lnTo>
                    <a:pt x="352" y="2363"/>
                  </a:lnTo>
                  <a:lnTo>
                    <a:pt x="344" y="2363"/>
                  </a:lnTo>
                  <a:cubicBezTo>
                    <a:pt x="336" y="2340"/>
                    <a:pt x="369" y="2352"/>
                    <a:pt x="355" y="2363"/>
                  </a:cubicBezTo>
                  <a:close/>
                  <a:moveTo>
                    <a:pt x="355" y="2383"/>
                  </a:moveTo>
                  <a:cubicBezTo>
                    <a:pt x="358" y="2380"/>
                    <a:pt x="361" y="2380"/>
                    <a:pt x="364" y="2377"/>
                  </a:cubicBezTo>
                  <a:cubicBezTo>
                    <a:pt x="369" y="2377"/>
                    <a:pt x="372" y="2377"/>
                    <a:pt x="372" y="2380"/>
                  </a:cubicBezTo>
                  <a:lnTo>
                    <a:pt x="369" y="2380"/>
                  </a:lnTo>
                  <a:cubicBezTo>
                    <a:pt x="381" y="2388"/>
                    <a:pt x="355" y="2397"/>
                    <a:pt x="355" y="2383"/>
                  </a:cubicBezTo>
                  <a:close/>
                  <a:moveTo>
                    <a:pt x="367" y="2340"/>
                  </a:moveTo>
                  <a:cubicBezTo>
                    <a:pt x="364" y="2335"/>
                    <a:pt x="369" y="2326"/>
                    <a:pt x="369" y="2320"/>
                  </a:cubicBezTo>
                  <a:cubicBezTo>
                    <a:pt x="381" y="2318"/>
                    <a:pt x="378" y="2340"/>
                    <a:pt x="367" y="2340"/>
                  </a:cubicBezTo>
                  <a:close/>
                  <a:moveTo>
                    <a:pt x="381" y="2335"/>
                  </a:moveTo>
                  <a:cubicBezTo>
                    <a:pt x="398" y="2337"/>
                    <a:pt x="378" y="2354"/>
                    <a:pt x="386" y="2366"/>
                  </a:cubicBezTo>
                  <a:cubicBezTo>
                    <a:pt x="367" y="2360"/>
                    <a:pt x="381" y="2352"/>
                    <a:pt x="381" y="2335"/>
                  </a:cubicBezTo>
                  <a:close/>
                  <a:moveTo>
                    <a:pt x="386" y="2371"/>
                  </a:moveTo>
                  <a:cubicBezTo>
                    <a:pt x="384" y="2377"/>
                    <a:pt x="389" y="2368"/>
                    <a:pt x="386" y="2371"/>
                  </a:cubicBezTo>
                  <a:close/>
                  <a:moveTo>
                    <a:pt x="384" y="2385"/>
                  </a:moveTo>
                  <a:cubicBezTo>
                    <a:pt x="409" y="2391"/>
                    <a:pt x="389" y="2419"/>
                    <a:pt x="384" y="2385"/>
                  </a:cubicBezTo>
                  <a:close/>
                  <a:moveTo>
                    <a:pt x="395" y="2436"/>
                  </a:moveTo>
                  <a:cubicBezTo>
                    <a:pt x="409" y="2436"/>
                    <a:pt x="392" y="2459"/>
                    <a:pt x="395" y="2436"/>
                  </a:cubicBezTo>
                  <a:close/>
                  <a:moveTo>
                    <a:pt x="398" y="2453"/>
                  </a:moveTo>
                  <a:cubicBezTo>
                    <a:pt x="412" y="2450"/>
                    <a:pt x="395" y="2476"/>
                    <a:pt x="398" y="2453"/>
                  </a:cubicBezTo>
                  <a:close/>
                  <a:moveTo>
                    <a:pt x="403" y="2408"/>
                  </a:moveTo>
                  <a:cubicBezTo>
                    <a:pt x="415" y="2405"/>
                    <a:pt x="409" y="2428"/>
                    <a:pt x="415" y="2433"/>
                  </a:cubicBezTo>
                  <a:cubicBezTo>
                    <a:pt x="403" y="2433"/>
                    <a:pt x="409" y="2414"/>
                    <a:pt x="403" y="2408"/>
                  </a:cubicBezTo>
                  <a:close/>
                  <a:moveTo>
                    <a:pt x="426" y="2391"/>
                  </a:moveTo>
                  <a:lnTo>
                    <a:pt x="423" y="2391"/>
                  </a:lnTo>
                  <a:cubicBezTo>
                    <a:pt x="423" y="2389"/>
                    <a:pt x="424" y="2389"/>
                    <a:pt x="425" y="2388"/>
                  </a:cubicBezTo>
                  <a:cubicBezTo>
                    <a:pt x="424" y="2389"/>
                    <a:pt x="426" y="2391"/>
                    <a:pt x="426" y="2391"/>
                  </a:cubicBezTo>
                  <a:close/>
                  <a:moveTo>
                    <a:pt x="426" y="2473"/>
                  </a:moveTo>
                  <a:cubicBezTo>
                    <a:pt x="440" y="2473"/>
                    <a:pt x="423" y="2495"/>
                    <a:pt x="426" y="2473"/>
                  </a:cubicBezTo>
                  <a:close/>
                  <a:moveTo>
                    <a:pt x="443" y="2473"/>
                  </a:moveTo>
                  <a:lnTo>
                    <a:pt x="443" y="2472"/>
                  </a:lnTo>
                  <a:cubicBezTo>
                    <a:pt x="442" y="2473"/>
                    <a:pt x="439" y="2475"/>
                    <a:pt x="443" y="2473"/>
                  </a:cubicBezTo>
                  <a:cubicBezTo>
                    <a:pt x="444" y="2472"/>
                    <a:pt x="443" y="2472"/>
                    <a:pt x="443" y="2472"/>
                  </a:cubicBezTo>
                  <a:lnTo>
                    <a:pt x="443" y="2473"/>
                  </a:lnTo>
                  <a:close/>
                  <a:moveTo>
                    <a:pt x="432" y="2462"/>
                  </a:moveTo>
                  <a:cubicBezTo>
                    <a:pt x="423" y="2447"/>
                    <a:pt x="446" y="2453"/>
                    <a:pt x="440" y="2439"/>
                  </a:cubicBezTo>
                  <a:cubicBezTo>
                    <a:pt x="457" y="2439"/>
                    <a:pt x="446" y="2459"/>
                    <a:pt x="432" y="2462"/>
                  </a:cubicBezTo>
                  <a:close/>
                  <a:moveTo>
                    <a:pt x="448" y="2385"/>
                  </a:moveTo>
                  <a:lnTo>
                    <a:pt x="463" y="2385"/>
                  </a:lnTo>
                  <a:lnTo>
                    <a:pt x="463" y="2399"/>
                  </a:lnTo>
                  <a:lnTo>
                    <a:pt x="448" y="2399"/>
                  </a:lnTo>
                  <a:lnTo>
                    <a:pt x="448" y="2385"/>
                  </a:lnTo>
                  <a:close/>
                  <a:moveTo>
                    <a:pt x="460" y="2473"/>
                  </a:moveTo>
                  <a:cubicBezTo>
                    <a:pt x="477" y="2478"/>
                    <a:pt x="443" y="2490"/>
                    <a:pt x="460" y="2473"/>
                  </a:cubicBezTo>
                  <a:close/>
                  <a:moveTo>
                    <a:pt x="463" y="2535"/>
                  </a:moveTo>
                  <a:lnTo>
                    <a:pt x="463" y="2507"/>
                  </a:lnTo>
                  <a:lnTo>
                    <a:pt x="463" y="2501"/>
                  </a:lnTo>
                  <a:cubicBezTo>
                    <a:pt x="465" y="2493"/>
                    <a:pt x="474" y="2487"/>
                    <a:pt x="482" y="2490"/>
                  </a:cubicBezTo>
                  <a:cubicBezTo>
                    <a:pt x="482" y="2509"/>
                    <a:pt x="485" y="2535"/>
                    <a:pt x="463" y="2535"/>
                  </a:cubicBezTo>
                  <a:close/>
                  <a:moveTo>
                    <a:pt x="475" y="2481"/>
                  </a:moveTo>
                  <a:cubicBezTo>
                    <a:pt x="475" y="2483"/>
                    <a:pt x="474" y="2485"/>
                    <a:pt x="474" y="2481"/>
                  </a:cubicBezTo>
                  <a:cubicBezTo>
                    <a:pt x="475" y="2480"/>
                    <a:pt x="475" y="2481"/>
                    <a:pt x="475" y="2481"/>
                  </a:cubicBezTo>
                  <a:close/>
                  <a:moveTo>
                    <a:pt x="494" y="2473"/>
                  </a:moveTo>
                  <a:cubicBezTo>
                    <a:pt x="496" y="2476"/>
                    <a:pt x="499" y="2476"/>
                    <a:pt x="499" y="2476"/>
                  </a:cubicBezTo>
                  <a:lnTo>
                    <a:pt x="491" y="2476"/>
                  </a:lnTo>
                  <a:cubicBezTo>
                    <a:pt x="490" y="2478"/>
                    <a:pt x="487" y="2480"/>
                    <a:pt x="488" y="2474"/>
                  </a:cubicBezTo>
                  <a:cubicBezTo>
                    <a:pt x="487" y="2473"/>
                    <a:pt x="486" y="2473"/>
                    <a:pt x="485" y="2473"/>
                  </a:cubicBezTo>
                  <a:cubicBezTo>
                    <a:pt x="488" y="2473"/>
                    <a:pt x="491" y="2470"/>
                    <a:pt x="494" y="2473"/>
                  </a:cubicBezTo>
                  <a:close/>
                  <a:moveTo>
                    <a:pt x="508" y="2555"/>
                  </a:moveTo>
                  <a:cubicBezTo>
                    <a:pt x="505" y="2552"/>
                    <a:pt x="511" y="2555"/>
                    <a:pt x="508" y="2555"/>
                  </a:cubicBezTo>
                  <a:close/>
                  <a:moveTo>
                    <a:pt x="519" y="2546"/>
                  </a:moveTo>
                  <a:cubicBezTo>
                    <a:pt x="511" y="2563"/>
                    <a:pt x="488" y="2526"/>
                    <a:pt x="502" y="2515"/>
                  </a:cubicBezTo>
                  <a:lnTo>
                    <a:pt x="496" y="2515"/>
                  </a:lnTo>
                  <a:cubicBezTo>
                    <a:pt x="496" y="2512"/>
                    <a:pt x="499" y="2507"/>
                    <a:pt x="499" y="2504"/>
                  </a:cubicBezTo>
                  <a:cubicBezTo>
                    <a:pt x="502" y="2504"/>
                    <a:pt x="508" y="2509"/>
                    <a:pt x="511" y="2509"/>
                  </a:cubicBezTo>
                  <a:lnTo>
                    <a:pt x="511" y="2512"/>
                  </a:lnTo>
                  <a:lnTo>
                    <a:pt x="522" y="2512"/>
                  </a:lnTo>
                  <a:cubicBezTo>
                    <a:pt x="522" y="2524"/>
                    <a:pt x="499" y="2541"/>
                    <a:pt x="519" y="2546"/>
                  </a:cubicBezTo>
                  <a:close/>
                  <a:moveTo>
                    <a:pt x="536" y="2498"/>
                  </a:moveTo>
                  <a:lnTo>
                    <a:pt x="536" y="2507"/>
                  </a:lnTo>
                  <a:cubicBezTo>
                    <a:pt x="494" y="2509"/>
                    <a:pt x="544" y="2459"/>
                    <a:pt x="496" y="2467"/>
                  </a:cubicBezTo>
                  <a:lnTo>
                    <a:pt x="496" y="2439"/>
                  </a:lnTo>
                  <a:cubicBezTo>
                    <a:pt x="499" y="2450"/>
                    <a:pt x="505" y="2456"/>
                    <a:pt x="511" y="2456"/>
                  </a:cubicBezTo>
                  <a:lnTo>
                    <a:pt x="511" y="2450"/>
                  </a:lnTo>
                  <a:cubicBezTo>
                    <a:pt x="513" y="2450"/>
                    <a:pt x="516" y="2450"/>
                    <a:pt x="516" y="2453"/>
                  </a:cubicBezTo>
                  <a:cubicBezTo>
                    <a:pt x="525" y="2453"/>
                    <a:pt x="530" y="2453"/>
                    <a:pt x="539" y="2459"/>
                  </a:cubicBezTo>
                  <a:cubicBezTo>
                    <a:pt x="547" y="2459"/>
                    <a:pt x="544" y="2447"/>
                    <a:pt x="544" y="2439"/>
                  </a:cubicBezTo>
                  <a:cubicBezTo>
                    <a:pt x="556" y="2439"/>
                    <a:pt x="564" y="2442"/>
                    <a:pt x="575" y="2442"/>
                  </a:cubicBezTo>
                  <a:cubicBezTo>
                    <a:pt x="567" y="2450"/>
                    <a:pt x="558" y="2459"/>
                    <a:pt x="547" y="2467"/>
                  </a:cubicBezTo>
                  <a:cubicBezTo>
                    <a:pt x="550" y="2467"/>
                    <a:pt x="553" y="2467"/>
                    <a:pt x="556" y="2470"/>
                  </a:cubicBezTo>
                  <a:cubicBezTo>
                    <a:pt x="553" y="2473"/>
                    <a:pt x="547" y="2473"/>
                    <a:pt x="544" y="2470"/>
                  </a:cubicBezTo>
                  <a:cubicBezTo>
                    <a:pt x="539" y="2476"/>
                    <a:pt x="536" y="2481"/>
                    <a:pt x="536" y="2487"/>
                  </a:cubicBezTo>
                  <a:cubicBezTo>
                    <a:pt x="542" y="2493"/>
                    <a:pt x="539" y="2498"/>
                    <a:pt x="536" y="2498"/>
                  </a:cubicBezTo>
                  <a:close/>
                  <a:moveTo>
                    <a:pt x="542" y="2532"/>
                  </a:moveTo>
                  <a:cubicBezTo>
                    <a:pt x="544" y="2529"/>
                    <a:pt x="539" y="2538"/>
                    <a:pt x="542" y="2532"/>
                  </a:cubicBezTo>
                  <a:close/>
                  <a:moveTo>
                    <a:pt x="542" y="2569"/>
                  </a:moveTo>
                  <a:cubicBezTo>
                    <a:pt x="550" y="2563"/>
                    <a:pt x="539" y="2543"/>
                    <a:pt x="556" y="2546"/>
                  </a:cubicBezTo>
                  <a:cubicBezTo>
                    <a:pt x="558" y="2557"/>
                    <a:pt x="558" y="2572"/>
                    <a:pt x="542" y="2569"/>
                  </a:cubicBezTo>
                  <a:close/>
                  <a:moveTo>
                    <a:pt x="561" y="2507"/>
                  </a:moveTo>
                  <a:cubicBezTo>
                    <a:pt x="564" y="2501"/>
                    <a:pt x="558" y="2487"/>
                    <a:pt x="570" y="2481"/>
                  </a:cubicBezTo>
                  <a:cubicBezTo>
                    <a:pt x="573" y="2493"/>
                    <a:pt x="575" y="2501"/>
                    <a:pt x="567" y="2504"/>
                  </a:cubicBezTo>
                  <a:cubicBezTo>
                    <a:pt x="572" y="2505"/>
                    <a:pt x="576" y="2510"/>
                    <a:pt x="578" y="2515"/>
                  </a:cubicBezTo>
                  <a:cubicBezTo>
                    <a:pt x="579" y="2511"/>
                    <a:pt x="581" y="2507"/>
                    <a:pt x="581" y="2504"/>
                  </a:cubicBezTo>
                  <a:cubicBezTo>
                    <a:pt x="575" y="2495"/>
                    <a:pt x="575" y="2484"/>
                    <a:pt x="567" y="2478"/>
                  </a:cubicBezTo>
                  <a:cubicBezTo>
                    <a:pt x="570" y="2473"/>
                    <a:pt x="606" y="2493"/>
                    <a:pt x="604" y="2512"/>
                  </a:cubicBezTo>
                  <a:cubicBezTo>
                    <a:pt x="598" y="2512"/>
                    <a:pt x="595" y="2512"/>
                    <a:pt x="590" y="2509"/>
                  </a:cubicBezTo>
                  <a:cubicBezTo>
                    <a:pt x="592" y="2517"/>
                    <a:pt x="588" y="2527"/>
                    <a:pt x="579" y="2525"/>
                  </a:cubicBezTo>
                  <a:lnTo>
                    <a:pt x="578" y="2526"/>
                  </a:lnTo>
                  <a:cubicBezTo>
                    <a:pt x="578" y="2529"/>
                    <a:pt x="575" y="2532"/>
                    <a:pt x="575" y="2532"/>
                  </a:cubicBezTo>
                  <a:cubicBezTo>
                    <a:pt x="561" y="2529"/>
                    <a:pt x="558" y="2518"/>
                    <a:pt x="561" y="2507"/>
                  </a:cubicBezTo>
                  <a:close/>
                  <a:moveTo>
                    <a:pt x="575" y="2620"/>
                  </a:moveTo>
                  <a:cubicBezTo>
                    <a:pt x="573" y="2620"/>
                    <a:pt x="567" y="2614"/>
                    <a:pt x="564" y="2617"/>
                  </a:cubicBezTo>
                  <a:cubicBezTo>
                    <a:pt x="564" y="2614"/>
                    <a:pt x="570" y="2611"/>
                    <a:pt x="567" y="2605"/>
                  </a:cubicBezTo>
                  <a:cubicBezTo>
                    <a:pt x="570" y="2605"/>
                    <a:pt x="575" y="2608"/>
                    <a:pt x="578" y="2608"/>
                  </a:cubicBezTo>
                  <a:cubicBezTo>
                    <a:pt x="578" y="2611"/>
                    <a:pt x="575" y="2614"/>
                    <a:pt x="575" y="2620"/>
                  </a:cubicBezTo>
                  <a:close/>
                  <a:moveTo>
                    <a:pt x="598" y="2521"/>
                  </a:moveTo>
                  <a:lnTo>
                    <a:pt x="595" y="2524"/>
                  </a:lnTo>
                  <a:cubicBezTo>
                    <a:pt x="595" y="2521"/>
                    <a:pt x="598" y="2518"/>
                    <a:pt x="598" y="2521"/>
                  </a:cubicBezTo>
                  <a:close/>
                  <a:moveTo>
                    <a:pt x="604" y="2622"/>
                  </a:moveTo>
                  <a:cubicBezTo>
                    <a:pt x="590" y="2620"/>
                    <a:pt x="581" y="2605"/>
                    <a:pt x="587" y="2591"/>
                  </a:cubicBezTo>
                  <a:lnTo>
                    <a:pt x="587" y="2588"/>
                  </a:lnTo>
                  <a:cubicBezTo>
                    <a:pt x="601" y="2594"/>
                    <a:pt x="615" y="2611"/>
                    <a:pt x="604" y="2622"/>
                  </a:cubicBezTo>
                  <a:close/>
                  <a:moveTo>
                    <a:pt x="606" y="2591"/>
                  </a:moveTo>
                  <a:cubicBezTo>
                    <a:pt x="598" y="2588"/>
                    <a:pt x="592" y="2580"/>
                    <a:pt x="592" y="2572"/>
                  </a:cubicBezTo>
                  <a:cubicBezTo>
                    <a:pt x="598" y="2572"/>
                    <a:pt x="601" y="2569"/>
                    <a:pt x="604" y="2566"/>
                  </a:cubicBezTo>
                  <a:cubicBezTo>
                    <a:pt x="612" y="2572"/>
                    <a:pt x="618" y="2586"/>
                    <a:pt x="606" y="2591"/>
                  </a:cubicBezTo>
                  <a:close/>
                  <a:moveTo>
                    <a:pt x="626" y="2614"/>
                  </a:moveTo>
                  <a:cubicBezTo>
                    <a:pt x="640" y="2617"/>
                    <a:pt x="621" y="2642"/>
                    <a:pt x="626" y="2614"/>
                  </a:cubicBezTo>
                  <a:close/>
                  <a:moveTo>
                    <a:pt x="618" y="2597"/>
                  </a:moveTo>
                  <a:cubicBezTo>
                    <a:pt x="615" y="2600"/>
                    <a:pt x="612" y="2603"/>
                    <a:pt x="615" y="2597"/>
                  </a:cubicBezTo>
                  <a:lnTo>
                    <a:pt x="615" y="2594"/>
                  </a:lnTo>
                  <a:lnTo>
                    <a:pt x="615" y="2586"/>
                  </a:lnTo>
                  <a:cubicBezTo>
                    <a:pt x="626" y="2583"/>
                    <a:pt x="632" y="2594"/>
                    <a:pt x="635" y="2603"/>
                  </a:cubicBezTo>
                  <a:cubicBezTo>
                    <a:pt x="629" y="2603"/>
                    <a:pt x="621" y="2603"/>
                    <a:pt x="618" y="2597"/>
                  </a:cubicBezTo>
                  <a:close/>
                  <a:moveTo>
                    <a:pt x="629" y="2566"/>
                  </a:moveTo>
                  <a:cubicBezTo>
                    <a:pt x="637" y="2566"/>
                    <a:pt x="626" y="2580"/>
                    <a:pt x="629" y="2566"/>
                  </a:cubicBezTo>
                  <a:close/>
                  <a:moveTo>
                    <a:pt x="635" y="2557"/>
                  </a:moveTo>
                  <a:cubicBezTo>
                    <a:pt x="637" y="2555"/>
                    <a:pt x="632" y="2563"/>
                    <a:pt x="635" y="2557"/>
                  </a:cubicBezTo>
                  <a:close/>
                  <a:moveTo>
                    <a:pt x="632" y="2560"/>
                  </a:moveTo>
                  <a:cubicBezTo>
                    <a:pt x="615" y="2560"/>
                    <a:pt x="629" y="2535"/>
                    <a:pt x="632" y="2532"/>
                  </a:cubicBezTo>
                  <a:cubicBezTo>
                    <a:pt x="649" y="2535"/>
                    <a:pt x="623" y="2549"/>
                    <a:pt x="632" y="2560"/>
                  </a:cubicBezTo>
                  <a:close/>
                  <a:moveTo>
                    <a:pt x="646" y="2526"/>
                  </a:moveTo>
                  <a:cubicBezTo>
                    <a:pt x="649" y="2538"/>
                    <a:pt x="629" y="2526"/>
                    <a:pt x="646" y="2526"/>
                  </a:cubicBezTo>
                  <a:close/>
                  <a:moveTo>
                    <a:pt x="643" y="2549"/>
                  </a:moveTo>
                  <a:cubicBezTo>
                    <a:pt x="643" y="2546"/>
                    <a:pt x="649" y="2543"/>
                    <a:pt x="652" y="2543"/>
                  </a:cubicBezTo>
                  <a:cubicBezTo>
                    <a:pt x="652" y="2546"/>
                    <a:pt x="649" y="2549"/>
                    <a:pt x="643" y="2549"/>
                  </a:cubicBezTo>
                  <a:close/>
                  <a:moveTo>
                    <a:pt x="649" y="2476"/>
                  </a:moveTo>
                  <a:cubicBezTo>
                    <a:pt x="666" y="2476"/>
                    <a:pt x="646" y="2498"/>
                    <a:pt x="649" y="2476"/>
                  </a:cubicBezTo>
                  <a:close/>
                  <a:moveTo>
                    <a:pt x="657" y="2577"/>
                  </a:moveTo>
                  <a:lnTo>
                    <a:pt x="652" y="2577"/>
                  </a:lnTo>
                  <a:lnTo>
                    <a:pt x="652" y="2572"/>
                  </a:lnTo>
                  <a:lnTo>
                    <a:pt x="657" y="2572"/>
                  </a:lnTo>
                  <a:lnTo>
                    <a:pt x="657" y="2577"/>
                  </a:lnTo>
                  <a:close/>
                  <a:moveTo>
                    <a:pt x="657" y="2549"/>
                  </a:moveTo>
                  <a:lnTo>
                    <a:pt x="657" y="2538"/>
                  </a:lnTo>
                  <a:lnTo>
                    <a:pt x="669" y="2538"/>
                  </a:lnTo>
                  <a:cubicBezTo>
                    <a:pt x="669" y="2541"/>
                    <a:pt x="671" y="2546"/>
                    <a:pt x="671" y="2549"/>
                  </a:cubicBezTo>
                  <a:cubicBezTo>
                    <a:pt x="669" y="2546"/>
                    <a:pt x="663" y="2546"/>
                    <a:pt x="657" y="2549"/>
                  </a:cubicBezTo>
                  <a:close/>
                  <a:moveTo>
                    <a:pt x="683" y="2648"/>
                  </a:moveTo>
                  <a:cubicBezTo>
                    <a:pt x="674" y="2653"/>
                    <a:pt x="660" y="2639"/>
                    <a:pt x="660" y="2631"/>
                  </a:cubicBezTo>
                  <a:cubicBezTo>
                    <a:pt x="674" y="2625"/>
                    <a:pt x="669" y="2645"/>
                    <a:pt x="683" y="2642"/>
                  </a:cubicBezTo>
                  <a:lnTo>
                    <a:pt x="683" y="2645"/>
                  </a:lnTo>
                  <a:lnTo>
                    <a:pt x="683" y="2648"/>
                  </a:lnTo>
                  <a:close/>
                  <a:moveTo>
                    <a:pt x="674" y="2628"/>
                  </a:moveTo>
                  <a:lnTo>
                    <a:pt x="674" y="2611"/>
                  </a:lnTo>
                  <a:cubicBezTo>
                    <a:pt x="680" y="2611"/>
                    <a:pt x="680" y="2608"/>
                    <a:pt x="680" y="2605"/>
                  </a:cubicBezTo>
                  <a:cubicBezTo>
                    <a:pt x="694" y="2603"/>
                    <a:pt x="691" y="2636"/>
                    <a:pt x="674" y="2628"/>
                  </a:cubicBezTo>
                  <a:close/>
                  <a:moveTo>
                    <a:pt x="691" y="2651"/>
                  </a:moveTo>
                  <a:lnTo>
                    <a:pt x="697" y="2651"/>
                  </a:lnTo>
                  <a:cubicBezTo>
                    <a:pt x="694" y="2648"/>
                    <a:pt x="697" y="2648"/>
                    <a:pt x="700" y="2648"/>
                  </a:cubicBezTo>
                  <a:cubicBezTo>
                    <a:pt x="705" y="2653"/>
                    <a:pt x="691" y="2670"/>
                    <a:pt x="691" y="2651"/>
                  </a:cubicBezTo>
                  <a:close/>
                  <a:moveTo>
                    <a:pt x="728" y="2698"/>
                  </a:moveTo>
                  <a:cubicBezTo>
                    <a:pt x="719" y="2701"/>
                    <a:pt x="705" y="2698"/>
                    <a:pt x="705" y="2693"/>
                  </a:cubicBezTo>
                  <a:cubicBezTo>
                    <a:pt x="700" y="2682"/>
                    <a:pt x="714" y="2679"/>
                    <a:pt x="722" y="2679"/>
                  </a:cubicBezTo>
                  <a:cubicBezTo>
                    <a:pt x="722" y="2676"/>
                    <a:pt x="722" y="2673"/>
                    <a:pt x="725" y="2673"/>
                  </a:cubicBezTo>
                  <a:cubicBezTo>
                    <a:pt x="728" y="2656"/>
                    <a:pt x="742" y="2642"/>
                    <a:pt x="753" y="2642"/>
                  </a:cubicBezTo>
                  <a:cubicBezTo>
                    <a:pt x="755" y="2659"/>
                    <a:pt x="754" y="2674"/>
                    <a:pt x="750" y="2689"/>
                  </a:cubicBezTo>
                  <a:cubicBezTo>
                    <a:pt x="751" y="2687"/>
                    <a:pt x="753" y="2686"/>
                    <a:pt x="756" y="2684"/>
                  </a:cubicBezTo>
                  <a:cubicBezTo>
                    <a:pt x="765" y="2683"/>
                    <a:pt x="770" y="2688"/>
                    <a:pt x="773" y="2694"/>
                  </a:cubicBezTo>
                  <a:cubicBezTo>
                    <a:pt x="774" y="2692"/>
                    <a:pt x="776" y="2690"/>
                    <a:pt x="779" y="2687"/>
                  </a:cubicBezTo>
                  <a:cubicBezTo>
                    <a:pt x="784" y="2684"/>
                    <a:pt x="781" y="2693"/>
                    <a:pt x="787" y="2693"/>
                  </a:cubicBezTo>
                  <a:cubicBezTo>
                    <a:pt x="784" y="2698"/>
                    <a:pt x="779" y="2698"/>
                    <a:pt x="774" y="2696"/>
                  </a:cubicBezTo>
                  <a:cubicBezTo>
                    <a:pt x="776" y="2702"/>
                    <a:pt x="777" y="2708"/>
                    <a:pt x="779" y="2713"/>
                  </a:cubicBezTo>
                  <a:cubicBezTo>
                    <a:pt x="766" y="2715"/>
                    <a:pt x="749" y="2703"/>
                    <a:pt x="749" y="2693"/>
                  </a:cubicBezTo>
                  <a:cubicBezTo>
                    <a:pt x="748" y="2697"/>
                    <a:pt x="746" y="2700"/>
                    <a:pt x="745" y="2704"/>
                  </a:cubicBezTo>
                  <a:cubicBezTo>
                    <a:pt x="736" y="2707"/>
                    <a:pt x="731" y="2704"/>
                    <a:pt x="728" y="2698"/>
                  </a:cubicBezTo>
                  <a:close/>
                  <a:moveTo>
                    <a:pt x="756" y="2679"/>
                  </a:moveTo>
                  <a:cubicBezTo>
                    <a:pt x="756" y="2673"/>
                    <a:pt x="764" y="2682"/>
                    <a:pt x="756" y="2679"/>
                  </a:cubicBezTo>
                  <a:close/>
                  <a:moveTo>
                    <a:pt x="762" y="2670"/>
                  </a:moveTo>
                  <a:cubicBezTo>
                    <a:pt x="767" y="2665"/>
                    <a:pt x="764" y="2679"/>
                    <a:pt x="762" y="2670"/>
                  </a:cubicBezTo>
                  <a:close/>
                  <a:moveTo>
                    <a:pt x="776" y="2724"/>
                  </a:moveTo>
                  <a:cubicBezTo>
                    <a:pt x="776" y="2730"/>
                    <a:pt x="770" y="2730"/>
                    <a:pt x="767" y="2730"/>
                  </a:cubicBezTo>
                  <a:cubicBezTo>
                    <a:pt x="770" y="2727"/>
                    <a:pt x="773" y="2724"/>
                    <a:pt x="776" y="2724"/>
                  </a:cubicBezTo>
                  <a:close/>
                  <a:moveTo>
                    <a:pt x="776" y="2752"/>
                  </a:moveTo>
                  <a:cubicBezTo>
                    <a:pt x="776" y="2746"/>
                    <a:pt x="781" y="2746"/>
                    <a:pt x="784" y="2744"/>
                  </a:cubicBezTo>
                  <a:cubicBezTo>
                    <a:pt x="784" y="2749"/>
                    <a:pt x="779" y="2752"/>
                    <a:pt x="776" y="2752"/>
                  </a:cubicBezTo>
                  <a:close/>
                  <a:moveTo>
                    <a:pt x="779" y="2614"/>
                  </a:moveTo>
                  <a:cubicBezTo>
                    <a:pt x="770" y="2623"/>
                    <a:pt x="762" y="2634"/>
                    <a:pt x="748" y="2634"/>
                  </a:cubicBezTo>
                  <a:cubicBezTo>
                    <a:pt x="745" y="2622"/>
                    <a:pt x="748" y="2608"/>
                    <a:pt x="756" y="2597"/>
                  </a:cubicBezTo>
                  <a:cubicBezTo>
                    <a:pt x="776" y="2605"/>
                    <a:pt x="773" y="2597"/>
                    <a:pt x="790" y="2605"/>
                  </a:cubicBezTo>
                  <a:cubicBezTo>
                    <a:pt x="787" y="2607"/>
                    <a:pt x="784" y="2610"/>
                    <a:pt x="781" y="2612"/>
                  </a:cubicBezTo>
                  <a:cubicBezTo>
                    <a:pt x="783" y="2613"/>
                    <a:pt x="783" y="2615"/>
                    <a:pt x="779" y="2614"/>
                  </a:cubicBezTo>
                  <a:close/>
                  <a:moveTo>
                    <a:pt x="781" y="302"/>
                  </a:moveTo>
                  <a:cubicBezTo>
                    <a:pt x="787" y="299"/>
                    <a:pt x="793" y="302"/>
                    <a:pt x="793" y="310"/>
                  </a:cubicBezTo>
                  <a:cubicBezTo>
                    <a:pt x="787" y="313"/>
                    <a:pt x="784" y="307"/>
                    <a:pt x="781" y="302"/>
                  </a:cubicBezTo>
                  <a:close/>
                  <a:moveTo>
                    <a:pt x="793" y="2546"/>
                  </a:moveTo>
                  <a:cubicBezTo>
                    <a:pt x="810" y="2543"/>
                    <a:pt x="793" y="2569"/>
                    <a:pt x="793" y="2546"/>
                  </a:cubicBezTo>
                  <a:close/>
                  <a:moveTo>
                    <a:pt x="804" y="2634"/>
                  </a:moveTo>
                  <a:lnTo>
                    <a:pt x="804" y="2639"/>
                  </a:lnTo>
                  <a:lnTo>
                    <a:pt x="798" y="2639"/>
                  </a:lnTo>
                  <a:lnTo>
                    <a:pt x="798" y="2634"/>
                  </a:lnTo>
                  <a:lnTo>
                    <a:pt x="804" y="2634"/>
                  </a:lnTo>
                  <a:close/>
                  <a:moveTo>
                    <a:pt x="797" y="2566"/>
                  </a:moveTo>
                  <a:cubicBezTo>
                    <a:pt x="798" y="2565"/>
                    <a:pt x="798" y="2565"/>
                    <a:pt x="798" y="2566"/>
                  </a:cubicBezTo>
                  <a:cubicBezTo>
                    <a:pt x="795" y="2570"/>
                    <a:pt x="796" y="2567"/>
                    <a:pt x="797" y="2566"/>
                  </a:cubicBezTo>
                  <a:close/>
                  <a:moveTo>
                    <a:pt x="793" y="2752"/>
                  </a:moveTo>
                  <a:cubicBezTo>
                    <a:pt x="804" y="2746"/>
                    <a:pt x="793" y="2718"/>
                    <a:pt x="815" y="2724"/>
                  </a:cubicBezTo>
                  <a:cubicBezTo>
                    <a:pt x="818" y="2741"/>
                    <a:pt x="815" y="2761"/>
                    <a:pt x="793" y="2752"/>
                  </a:cubicBezTo>
                  <a:close/>
                  <a:moveTo>
                    <a:pt x="804" y="2693"/>
                  </a:moveTo>
                  <a:cubicBezTo>
                    <a:pt x="801" y="2682"/>
                    <a:pt x="804" y="2670"/>
                    <a:pt x="818" y="2670"/>
                  </a:cubicBezTo>
                  <a:cubicBezTo>
                    <a:pt x="821" y="2682"/>
                    <a:pt x="815" y="2690"/>
                    <a:pt x="804" y="2693"/>
                  </a:cubicBezTo>
                  <a:close/>
                  <a:moveTo>
                    <a:pt x="812" y="2631"/>
                  </a:moveTo>
                  <a:cubicBezTo>
                    <a:pt x="813" y="2631"/>
                    <a:pt x="814" y="2630"/>
                    <a:pt x="814" y="2630"/>
                  </a:cubicBezTo>
                  <a:cubicBezTo>
                    <a:pt x="814" y="2630"/>
                    <a:pt x="813" y="2631"/>
                    <a:pt x="812" y="2631"/>
                  </a:cubicBezTo>
                  <a:close/>
                  <a:moveTo>
                    <a:pt x="824" y="2682"/>
                  </a:moveTo>
                  <a:cubicBezTo>
                    <a:pt x="824" y="2676"/>
                    <a:pt x="832" y="2684"/>
                    <a:pt x="824" y="2682"/>
                  </a:cubicBezTo>
                  <a:close/>
                  <a:moveTo>
                    <a:pt x="824" y="2639"/>
                  </a:moveTo>
                  <a:cubicBezTo>
                    <a:pt x="818" y="2636"/>
                    <a:pt x="824" y="2625"/>
                    <a:pt x="829" y="2628"/>
                  </a:cubicBezTo>
                  <a:cubicBezTo>
                    <a:pt x="829" y="2634"/>
                    <a:pt x="824" y="2634"/>
                    <a:pt x="824" y="2639"/>
                  </a:cubicBezTo>
                  <a:close/>
                  <a:moveTo>
                    <a:pt x="829" y="2698"/>
                  </a:moveTo>
                  <a:cubicBezTo>
                    <a:pt x="846" y="2698"/>
                    <a:pt x="829" y="2721"/>
                    <a:pt x="829" y="2698"/>
                  </a:cubicBezTo>
                  <a:close/>
                  <a:moveTo>
                    <a:pt x="843" y="2701"/>
                  </a:moveTo>
                  <a:cubicBezTo>
                    <a:pt x="841" y="2701"/>
                    <a:pt x="841" y="2690"/>
                    <a:pt x="846" y="2693"/>
                  </a:cubicBezTo>
                  <a:cubicBezTo>
                    <a:pt x="849" y="2696"/>
                    <a:pt x="843" y="2696"/>
                    <a:pt x="843" y="2701"/>
                  </a:cubicBezTo>
                  <a:close/>
                  <a:moveTo>
                    <a:pt x="846" y="2701"/>
                  </a:moveTo>
                  <a:cubicBezTo>
                    <a:pt x="860" y="2701"/>
                    <a:pt x="843" y="2724"/>
                    <a:pt x="846" y="2701"/>
                  </a:cubicBezTo>
                  <a:close/>
                  <a:moveTo>
                    <a:pt x="855" y="2673"/>
                  </a:moveTo>
                  <a:cubicBezTo>
                    <a:pt x="849" y="2670"/>
                    <a:pt x="843" y="2670"/>
                    <a:pt x="843" y="2662"/>
                  </a:cubicBezTo>
                  <a:cubicBezTo>
                    <a:pt x="849" y="2659"/>
                    <a:pt x="852" y="2665"/>
                    <a:pt x="855" y="2659"/>
                  </a:cubicBezTo>
                  <a:cubicBezTo>
                    <a:pt x="858" y="2659"/>
                    <a:pt x="860" y="2662"/>
                    <a:pt x="860" y="2665"/>
                  </a:cubicBezTo>
                  <a:cubicBezTo>
                    <a:pt x="858" y="2667"/>
                    <a:pt x="855" y="2670"/>
                    <a:pt x="855" y="2673"/>
                  </a:cubicBezTo>
                  <a:close/>
                  <a:moveTo>
                    <a:pt x="858" y="2797"/>
                  </a:moveTo>
                  <a:lnTo>
                    <a:pt x="858" y="2792"/>
                  </a:lnTo>
                  <a:lnTo>
                    <a:pt x="869" y="2792"/>
                  </a:lnTo>
                  <a:cubicBezTo>
                    <a:pt x="869" y="2797"/>
                    <a:pt x="860" y="2797"/>
                    <a:pt x="858" y="2797"/>
                  </a:cubicBezTo>
                  <a:close/>
                  <a:moveTo>
                    <a:pt x="875" y="2794"/>
                  </a:moveTo>
                  <a:cubicBezTo>
                    <a:pt x="866" y="2789"/>
                    <a:pt x="860" y="2777"/>
                    <a:pt x="860" y="2766"/>
                  </a:cubicBezTo>
                  <a:cubicBezTo>
                    <a:pt x="869" y="2766"/>
                    <a:pt x="875" y="2766"/>
                    <a:pt x="875" y="2761"/>
                  </a:cubicBezTo>
                  <a:cubicBezTo>
                    <a:pt x="889" y="2769"/>
                    <a:pt x="891" y="2789"/>
                    <a:pt x="875" y="2794"/>
                  </a:cubicBezTo>
                  <a:close/>
                  <a:moveTo>
                    <a:pt x="875" y="2741"/>
                  </a:moveTo>
                  <a:cubicBezTo>
                    <a:pt x="875" y="2735"/>
                    <a:pt x="883" y="2744"/>
                    <a:pt x="875" y="2741"/>
                  </a:cubicBezTo>
                  <a:close/>
                  <a:moveTo>
                    <a:pt x="894" y="2732"/>
                  </a:moveTo>
                  <a:cubicBezTo>
                    <a:pt x="894" y="2730"/>
                    <a:pt x="897" y="2727"/>
                    <a:pt x="897" y="2724"/>
                  </a:cubicBezTo>
                  <a:cubicBezTo>
                    <a:pt x="900" y="2724"/>
                    <a:pt x="900" y="2735"/>
                    <a:pt x="894" y="2732"/>
                  </a:cubicBezTo>
                  <a:close/>
                  <a:moveTo>
                    <a:pt x="894" y="2673"/>
                  </a:moveTo>
                  <a:cubicBezTo>
                    <a:pt x="894" y="2667"/>
                    <a:pt x="903" y="2665"/>
                    <a:pt x="903" y="2659"/>
                  </a:cubicBezTo>
                  <a:cubicBezTo>
                    <a:pt x="908" y="2659"/>
                    <a:pt x="911" y="2665"/>
                    <a:pt x="917" y="2665"/>
                  </a:cubicBezTo>
                  <a:cubicBezTo>
                    <a:pt x="917" y="2670"/>
                    <a:pt x="911" y="2673"/>
                    <a:pt x="911" y="2679"/>
                  </a:cubicBezTo>
                  <a:cubicBezTo>
                    <a:pt x="906" y="2679"/>
                    <a:pt x="900" y="2673"/>
                    <a:pt x="894" y="2673"/>
                  </a:cubicBezTo>
                  <a:close/>
                  <a:moveTo>
                    <a:pt x="906" y="2744"/>
                  </a:moveTo>
                  <a:cubicBezTo>
                    <a:pt x="903" y="2735"/>
                    <a:pt x="908" y="2727"/>
                    <a:pt x="914" y="2727"/>
                  </a:cubicBezTo>
                  <a:lnTo>
                    <a:pt x="920" y="2727"/>
                  </a:lnTo>
                  <a:cubicBezTo>
                    <a:pt x="920" y="2732"/>
                    <a:pt x="920" y="2738"/>
                    <a:pt x="922" y="2744"/>
                  </a:cubicBezTo>
                  <a:lnTo>
                    <a:pt x="906" y="2744"/>
                  </a:lnTo>
                  <a:close/>
                  <a:moveTo>
                    <a:pt x="922" y="299"/>
                  </a:moveTo>
                  <a:cubicBezTo>
                    <a:pt x="928" y="302"/>
                    <a:pt x="937" y="305"/>
                    <a:pt x="934" y="313"/>
                  </a:cubicBezTo>
                  <a:cubicBezTo>
                    <a:pt x="925" y="310"/>
                    <a:pt x="914" y="293"/>
                    <a:pt x="920" y="285"/>
                  </a:cubicBezTo>
                  <a:cubicBezTo>
                    <a:pt x="928" y="282"/>
                    <a:pt x="931" y="299"/>
                    <a:pt x="922" y="299"/>
                  </a:cubicBezTo>
                  <a:close/>
                  <a:moveTo>
                    <a:pt x="922" y="262"/>
                  </a:moveTo>
                  <a:cubicBezTo>
                    <a:pt x="928" y="262"/>
                    <a:pt x="928" y="268"/>
                    <a:pt x="925" y="271"/>
                  </a:cubicBezTo>
                  <a:cubicBezTo>
                    <a:pt x="922" y="271"/>
                    <a:pt x="922" y="265"/>
                    <a:pt x="922" y="262"/>
                  </a:cubicBezTo>
                  <a:close/>
                  <a:moveTo>
                    <a:pt x="925" y="234"/>
                  </a:moveTo>
                  <a:cubicBezTo>
                    <a:pt x="931" y="226"/>
                    <a:pt x="928" y="243"/>
                    <a:pt x="925" y="234"/>
                  </a:cubicBezTo>
                  <a:close/>
                  <a:moveTo>
                    <a:pt x="920" y="2656"/>
                  </a:moveTo>
                  <a:cubicBezTo>
                    <a:pt x="920" y="2648"/>
                    <a:pt x="928" y="2659"/>
                    <a:pt x="920" y="2656"/>
                  </a:cubicBezTo>
                  <a:close/>
                  <a:moveTo>
                    <a:pt x="917" y="2622"/>
                  </a:moveTo>
                  <a:cubicBezTo>
                    <a:pt x="917" y="2617"/>
                    <a:pt x="928" y="2625"/>
                    <a:pt x="917" y="2622"/>
                  </a:cubicBezTo>
                  <a:close/>
                  <a:moveTo>
                    <a:pt x="917" y="2543"/>
                  </a:moveTo>
                  <a:cubicBezTo>
                    <a:pt x="928" y="2543"/>
                    <a:pt x="931" y="2555"/>
                    <a:pt x="931" y="2569"/>
                  </a:cubicBezTo>
                  <a:cubicBezTo>
                    <a:pt x="922" y="2563"/>
                    <a:pt x="917" y="2555"/>
                    <a:pt x="917" y="2543"/>
                  </a:cubicBezTo>
                  <a:close/>
                  <a:moveTo>
                    <a:pt x="922" y="1683"/>
                  </a:moveTo>
                  <a:lnTo>
                    <a:pt x="922" y="1675"/>
                  </a:lnTo>
                  <a:cubicBezTo>
                    <a:pt x="928" y="1672"/>
                    <a:pt x="928" y="1686"/>
                    <a:pt x="922" y="1683"/>
                  </a:cubicBezTo>
                  <a:close/>
                  <a:moveTo>
                    <a:pt x="928" y="2541"/>
                  </a:moveTo>
                  <a:cubicBezTo>
                    <a:pt x="931" y="2532"/>
                    <a:pt x="931" y="2549"/>
                    <a:pt x="928" y="2541"/>
                  </a:cubicBezTo>
                  <a:close/>
                  <a:moveTo>
                    <a:pt x="928" y="2806"/>
                  </a:moveTo>
                  <a:lnTo>
                    <a:pt x="917" y="2806"/>
                  </a:lnTo>
                  <a:cubicBezTo>
                    <a:pt x="920" y="2800"/>
                    <a:pt x="922" y="2797"/>
                    <a:pt x="928" y="2800"/>
                  </a:cubicBezTo>
                  <a:lnTo>
                    <a:pt x="928" y="2806"/>
                  </a:lnTo>
                  <a:close/>
                  <a:moveTo>
                    <a:pt x="934" y="2783"/>
                  </a:moveTo>
                  <a:cubicBezTo>
                    <a:pt x="948" y="2780"/>
                    <a:pt x="931" y="2806"/>
                    <a:pt x="934" y="2783"/>
                  </a:cubicBezTo>
                  <a:close/>
                  <a:moveTo>
                    <a:pt x="937" y="2735"/>
                  </a:moveTo>
                  <a:lnTo>
                    <a:pt x="928" y="2727"/>
                  </a:lnTo>
                  <a:cubicBezTo>
                    <a:pt x="927" y="2727"/>
                    <a:pt x="927" y="2726"/>
                    <a:pt x="927" y="2725"/>
                  </a:cubicBezTo>
                  <a:cubicBezTo>
                    <a:pt x="927" y="2726"/>
                    <a:pt x="928" y="2726"/>
                    <a:pt x="928" y="2727"/>
                  </a:cubicBezTo>
                  <a:cubicBezTo>
                    <a:pt x="931" y="2730"/>
                    <a:pt x="937" y="2730"/>
                    <a:pt x="937" y="2732"/>
                  </a:cubicBezTo>
                  <a:cubicBezTo>
                    <a:pt x="942" y="2735"/>
                    <a:pt x="939" y="2738"/>
                    <a:pt x="937" y="2735"/>
                  </a:cubicBezTo>
                  <a:close/>
                  <a:moveTo>
                    <a:pt x="925" y="2721"/>
                  </a:moveTo>
                  <a:cubicBezTo>
                    <a:pt x="925" y="2721"/>
                    <a:pt x="925" y="2723"/>
                    <a:pt x="927" y="2725"/>
                  </a:cubicBezTo>
                  <a:cubicBezTo>
                    <a:pt x="927" y="2724"/>
                    <a:pt x="927" y="2722"/>
                    <a:pt x="925" y="2721"/>
                  </a:cubicBezTo>
                  <a:close/>
                  <a:moveTo>
                    <a:pt x="934" y="1720"/>
                  </a:moveTo>
                  <a:cubicBezTo>
                    <a:pt x="934" y="1714"/>
                    <a:pt x="942" y="1722"/>
                    <a:pt x="934" y="1720"/>
                  </a:cubicBezTo>
                  <a:close/>
                  <a:moveTo>
                    <a:pt x="937" y="206"/>
                  </a:moveTo>
                  <a:cubicBezTo>
                    <a:pt x="937" y="209"/>
                    <a:pt x="928" y="203"/>
                    <a:pt x="925" y="212"/>
                  </a:cubicBezTo>
                  <a:cubicBezTo>
                    <a:pt x="942" y="212"/>
                    <a:pt x="934" y="234"/>
                    <a:pt x="914" y="234"/>
                  </a:cubicBezTo>
                  <a:cubicBezTo>
                    <a:pt x="908" y="223"/>
                    <a:pt x="900" y="234"/>
                    <a:pt x="894" y="231"/>
                  </a:cubicBezTo>
                  <a:cubicBezTo>
                    <a:pt x="891" y="217"/>
                    <a:pt x="903" y="212"/>
                    <a:pt x="906" y="197"/>
                  </a:cubicBezTo>
                  <a:cubicBezTo>
                    <a:pt x="912" y="199"/>
                    <a:pt x="913" y="194"/>
                    <a:pt x="917" y="195"/>
                  </a:cubicBezTo>
                  <a:lnTo>
                    <a:pt x="917" y="195"/>
                  </a:lnTo>
                  <a:cubicBezTo>
                    <a:pt x="918" y="195"/>
                    <a:pt x="920" y="196"/>
                    <a:pt x="921" y="198"/>
                  </a:cubicBezTo>
                  <a:cubicBezTo>
                    <a:pt x="921" y="197"/>
                    <a:pt x="920" y="197"/>
                    <a:pt x="920" y="197"/>
                  </a:cubicBezTo>
                  <a:cubicBezTo>
                    <a:pt x="920" y="198"/>
                    <a:pt x="921" y="199"/>
                    <a:pt x="922" y="200"/>
                  </a:cubicBezTo>
                  <a:cubicBezTo>
                    <a:pt x="923" y="200"/>
                    <a:pt x="923" y="200"/>
                    <a:pt x="923" y="199"/>
                  </a:cubicBezTo>
                  <a:cubicBezTo>
                    <a:pt x="924" y="200"/>
                    <a:pt x="925" y="200"/>
                    <a:pt x="925" y="200"/>
                  </a:cubicBezTo>
                  <a:cubicBezTo>
                    <a:pt x="925" y="192"/>
                    <a:pt x="920" y="197"/>
                    <a:pt x="922" y="192"/>
                  </a:cubicBezTo>
                  <a:cubicBezTo>
                    <a:pt x="928" y="189"/>
                    <a:pt x="931" y="200"/>
                    <a:pt x="939" y="195"/>
                  </a:cubicBezTo>
                  <a:cubicBezTo>
                    <a:pt x="948" y="203"/>
                    <a:pt x="928" y="200"/>
                    <a:pt x="937" y="206"/>
                  </a:cubicBezTo>
                  <a:close/>
                  <a:moveTo>
                    <a:pt x="921" y="198"/>
                  </a:moveTo>
                  <a:cubicBezTo>
                    <a:pt x="922" y="198"/>
                    <a:pt x="922" y="199"/>
                    <a:pt x="923" y="199"/>
                  </a:cubicBezTo>
                  <a:cubicBezTo>
                    <a:pt x="923" y="199"/>
                    <a:pt x="922" y="198"/>
                    <a:pt x="921" y="198"/>
                  </a:cubicBezTo>
                  <a:close/>
                  <a:moveTo>
                    <a:pt x="951" y="2820"/>
                  </a:moveTo>
                  <a:cubicBezTo>
                    <a:pt x="945" y="2823"/>
                    <a:pt x="939" y="2811"/>
                    <a:pt x="942" y="2808"/>
                  </a:cubicBezTo>
                  <a:cubicBezTo>
                    <a:pt x="945" y="2811"/>
                    <a:pt x="954" y="2814"/>
                    <a:pt x="951" y="2820"/>
                  </a:cubicBezTo>
                  <a:close/>
                  <a:moveTo>
                    <a:pt x="954" y="2806"/>
                  </a:moveTo>
                  <a:lnTo>
                    <a:pt x="954" y="2800"/>
                  </a:lnTo>
                  <a:lnTo>
                    <a:pt x="951" y="2800"/>
                  </a:lnTo>
                  <a:cubicBezTo>
                    <a:pt x="951" y="2800"/>
                    <a:pt x="954" y="2803"/>
                    <a:pt x="954" y="2806"/>
                  </a:cubicBezTo>
                  <a:cubicBezTo>
                    <a:pt x="948" y="2806"/>
                    <a:pt x="945" y="2803"/>
                    <a:pt x="945" y="2797"/>
                  </a:cubicBezTo>
                  <a:cubicBezTo>
                    <a:pt x="948" y="2797"/>
                    <a:pt x="948" y="2794"/>
                    <a:pt x="951" y="2794"/>
                  </a:cubicBezTo>
                  <a:lnTo>
                    <a:pt x="954" y="2797"/>
                  </a:lnTo>
                  <a:cubicBezTo>
                    <a:pt x="954" y="2794"/>
                    <a:pt x="959" y="2794"/>
                    <a:pt x="962" y="2794"/>
                  </a:cubicBezTo>
                  <a:lnTo>
                    <a:pt x="962" y="2800"/>
                  </a:lnTo>
                  <a:cubicBezTo>
                    <a:pt x="962" y="2803"/>
                    <a:pt x="959" y="2806"/>
                    <a:pt x="954" y="2806"/>
                  </a:cubicBezTo>
                  <a:close/>
                  <a:moveTo>
                    <a:pt x="962" y="2803"/>
                  </a:moveTo>
                  <a:cubicBezTo>
                    <a:pt x="968" y="2803"/>
                    <a:pt x="970" y="2803"/>
                    <a:pt x="962" y="2800"/>
                  </a:cubicBezTo>
                  <a:lnTo>
                    <a:pt x="962" y="2803"/>
                  </a:lnTo>
                  <a:close/>
                  <a:moveTo>
                    <a:pt x="965" y="2763"/>
                  </a:moveTo>
                  <a:cubicBezTo>
                    <a:pt x="959" y="2761"/>
                    <a:pt x="962" y="2749"/>
                    <a:pt x="973" y="2752"/>
                  </a:cubicBezTo>
                  <a:cubicBezTo>
                    <a:pt x="970" y="2758"/>
                    <a:pt x="970" y="2763"/>
                    <a:pt x="965" y="2763"/>
                  </a:cubicBezTo>
                  <a:close/>
                  <a:moveTo>
                    <a:pt x="985" y="2653"/>
                  </a:moveTo>
                  <a:cubicBezTo>
                    <a:pt x="979" y="2662"/>
                    <a:pt x="979" y="2670"/>
                    <a:pt x="990" y="2670"/>
                  </a:cubicBezTo>
                  <a:cubicBezTo>
                    <a:pt x="990" y="2673"/>
                    <a:pt x="987" y="2673"/>
                    <a:pt x="985" y="2676"/>
                  </a:cubicBezTo>
                  <a:cubicBezTo>
                    <a:pt x="987" y="2676"/>
                    <a:pt x="990" y="2673"/>
                    <a:pt x="996" y="2673"/>
                  </a:cubicBezTo>
                  <a:lnTo>
                    <a:pt x="996" y="2684"/>
                  </a:lnTo>
                  <a:cubicBezTo>
                    <a:pt x="993" y="2684"/>
                    <a:pt x="987" y="2687"/>
                    <a:pt x="985" y="2687"/>
                  </a:cubicBezTo>
                  <a:cubicBezTo>
                    <a:pt x="985" y="2684"/>
                    <a:pt x="982" y="2682"/>
                    <a:pt x="982" y="2679"/>
                  </a:cubicBezTo>
                  <a:cubicBezTo>
                    <a:pt x="979" y="2679"/>
                    <a:pt x="979" y="2682"/>
                    <a:pt x="979" y="2682"/>
                  </a:cubicBezTo>
                  <a:cubicBezTo>
                    <a:pt x="976" y="2673"/>
                    <a:pt x="968" y="2653"/>
                    <a:pt x="985" y="2653"/>
                  </a:cubicBezTo>
                  <a:close/>
                  <a:moveTo>
                    <a:pt x="976" y="2817"/>
                  </a:moveTo>
                  <a:cubicBezTo>
                    <a:pt x="979" y="2808"/>
                    <a:pt x="985" y="2820"/>
                    <a:pt x="985" y="2825"/>
                  </a:cubicBezTo>
                  <a:cubicBezTo>
                    <a:pt x="1001" y="2831"/>
                    <a:pt x="970" y="2831"/>
                    <a:pt x="976" y="2817"/>
                  </a:cubicBezTo>
                  <a:close/>
                  <a:moveTo>
                    <a:pt x="990" y="2721"/>
                  </a:moveTo>
                  <a:cubicBezTo>
                    <a:pt x="985" y="2724"/>
                    <a:pt x="993" y="2715"/>
                    <a:pt x="990" y="2721"/>
                  </a:cubicBezTo>
                  <a:close/>
                  <a:moveTo>
                    <a:pt x="985" y="2704"/>
                  </a:moveTo>
                  <a:cubicBezTo>
                    <a:pt x="982" y="2698"/>
                    <a:pt x="987" y="2696"/>
                    <a:pt x="990" y="2693"/>
                  </a:cubicBezTo>
                  <a:cubicBezTo>
                    <a:pt x="993" y="2693"/>
                    <a:pt x="990" y="2707"/>
                    <a:pt x="985" y="2704"/>
                  </a:cubicBezTo>
                  <a:close/>
                  <a:moveTo>
                    <a:pt x="1004" y="2682"/>
                  </a:moveTo>
                  <a:cubicBezTo>
                    <a:pt x="1004" y="2687"/>
                    <a:pt x="999" y="2690"/>
                    <a:pt x="993" y="2690"/>
                  </a:cubicBezTo>
                  <a:cubicBezTo>
                    <a:pt x="996" y="2687"/>
                    <a:pt x="999" y="2682"/>
                    <a:pt x="1004" y="2682"/>
                  </a:cubicBezTo>
                  <a:close/>
                  <a:moveTo>
                    <a:pt x="993" y="2727"/>
                  </a:moveTo>
                  <a:lnTo>
                    <a:pt x="996" y="2727"/>
                  </a:lnTo>
                  <a:cubicBezTo>
                    <a:pt x="996" y="2724"/>
                    <a:pt x="999" y="2721"/>
                    <a:pt x="1001" y="2721"/>
                  </a:cubicBezTo>
                  <a:cubicBezTo>
                    <a:pt x="1013" y="2727"/>
                    <a:pt x="1010" y="2732"/>
                    <a:pt x="1001" y="2738"/>
                  </a:cubicBezTo>
                  <a:cubicBezTo>
                    <a:pt x="999" y="2738"/>
                    <a:pt x="999" y="2735"/>
                    <a:pt x="996" y="2735"/>
                  </a:cubicBezTo>
                  <a:cubicBezTo>
                    <a:pt x="996" y="2735"/>
                    <a:pt x="993" y="2735"/>
                    <a:pt x="993" y="2727"/>
                  </a:cubicBezTo>
                  <a:close/>
                  <a:moveTo>
                    <a:pt x="1001" y="2825"/>
                  </a:moveTo>
                  <a:cubicBezTo>
                    <a:pt x="1001" y="2825"/>
                    <a:pt x="1004" y="2820"/>
                    <a:pt x="1004" y="2817"/>
                  </a:cubicBezTo>
                  <a:lnTo>
                    <a:pt x="996" y="2817"/>
                  </a:lnTo>
                  <a:lnTo>
                    <a:pt x="996" y="2806"/>
                  </a:lnTo>
                  <a:lnTo>
                    <a:pt x="1013" y="2806"/>
                  </a:lnTo>
                  <a:lnTo>
                    <a:pt x="1013" y="2808"/>
                  </a:lnTo>
                  <a:cubicBezTo>
                    <a:pt x="1016" y="2817"/>
                    <a:pt x="1013" y="2834"/>
                    <a:pt x="1001" y="2825"/>
                  </a:cubicBezTo>
                  <a:close/>
                  <a:moveTo>
                    <a:pt x="1001" y="2701"/>
                  </a:moveTo>
                  <a:cubicBezTo>
                    <a:pt x="1004" y="2693"/>
                    <a:pt x="1013" y="2682"/>
                    <a:pt x="1016" y="2673"/>
                  </a:cubicBezTo>
                  <a:cubicBezTo>
                    <a:pt x="1030" y="2673"/>
                    <a:pt x="1021" y="2713"/>
                    <a:pt x="1001" y="2701"/>
                  </a:cubicBezTo>
                  <a:close/>
                  <a:moveTo>
                    <a:pt x="1024" y="2775"/>
                  </a:moveTo>
                  <a:cubicBezTo>
                    <a:pt x="1019" y="2777"/>
                    <a:pt x="1023" y="2771"/>
                    <a:pt x="1024" y="2773"/>
                  </a:cubicBezTo>
                  <a:cubicBezTo>
                    <a:pt x="1023" y="2768"/>
                    <a:pt x="1024" y="2762"/>
                    <a:pt x="1030" y="2769"/>
                  </a:cubicBezTo>
                  <a:cubicBezTo>
                    <a:pt x="1033" y="2766"/>
                    <a:pt x="1035" y="2763"/>
                    <a:pt x="1035" y="2758"/>
                  </a:cubicBezTo>
                  <a:cubicBezTo>
                    <a:pt x="1041" y="2758"/>
                    <a:pt x="1041" y="2766"/>
                    <a:pt x="1047" y="2766"/>
                  </a:cubicBezTo>
                  <a:cubicBezTo>
                    <a:pt x="1044" y="2772"/>
                    <a:pt x="1044" y="2775"/>
                    <a:pt x="1044" y="2777"/>
                  </a:cubicBezTo>
                  <a:cubicBezTo>
                    <a:pt x="1041" y="2775"/>
                    <a:pt x="1035" y="2775"/>
                    <a:pt x="1033" y="2775"/>
                  </a:cubicBezTo>
                  <a:cubicBezTo>
                    <a:pt x="1029" y="2782"/>
                    <a:pt x="1025" y="2779"/>
                    <a:pt x="1024" y="2774"/>
                  </a:cubicBezTo>
                  <a:lnTo>
                    <a:pt x="1024" y="2775"/>
                  </a:lnTo>
                  <a:close/>
                  <a:moveTo>
                    <a:pt x="1035" y="2845"/>
                  </a:moveTo>
                  <a:lnTo>
                    <a:pt x="1035" y="2842"/>
                  </a:lnTo>
                  <a:cubicBezTo>
                    <a:pt x="1033" y="2842"/>
                    <a:pt x="1030" y="2842"/>
                    <a:pt x="1027" y="2840"/>
                  </a:cubicBezTo>
                  <a:cubicBezTo>
                    <a:pt x="1027" y="2834"/>
                    <a:pt x="1030" y="2831"/>
                    <a:pt x="1035" y="2831"/>
                  </a:cubicBezTo>
                  <a:lnTo>
                    <a:pt x="1035" y="2828"/>
                  </a:lnTo>
                  <a:cubicBezTo>
                    <a:pt x="1038" y="2828"/>
                    <a:pt x="1044" y="2825"/>
                    <a:pt x="1047" y="2825"/>
                  </a:cubicBezTo>
                  <a:cubicBezTo>
                    <a:pt x="1049" y="2837"/>
                    <a:pt x="1044" y="2845"/>
                    <a:pt x="1035" y="2845"/>
                  </a:cubicBezTo>
                  <a:close/>
                  <a:moveTo>
                    <a:pt x="1041" y="2755"/>
                  </a:moveTo>
                  <a:cubicBezTo>
                    <a:pt x="1041" y="2749"/>
                    <a:pt x="1049" y="2758"/>
                    <a:pt x="1041" y="2755"/>
                  </a:cubicBezTo>
                  <a:close/>
                  <a:moveTo>
                    <a:pt x="1041" y="2611"/>
                  </a:moveTo>
                  <a:cubicBezTo>
                    <a:pt x="1058" y="2600"/>
                    <a:pt x="1049" y="2634"/>
                    <a:pt x="1061" y="2628"/>
                  </a:cubicBezTo>
                  <a:cubicBezTo>
                    <a:pt x="1058" y="2651"/>
                    <a:pt x="1038" y="2631"/>
                    <a:pt x="1041" y="2611"/>
                  </a:cubicBezTo>
                  <a:close/>
                  <a:moveTo>
                    <a:pt x="1052" y="2718"/>
                  </a:moveTo>
                  <a:cubicBezTo>
                    <a:pt x="1055" y="2718"/>
                    <a:pt x="1058" y="2721"/>
                    <a:pt x="1061" y="2724"/>
                  </a:cubicBezTo>
                  <a:lnTo>
                    <a:pt x="1055" y="2724"/>
                  </a:lnTo>
                  <a:cubicBezTo>
                    <a:pt x="1055" y="2721"/>
                    <a:pt x="1052" y="2718"/>
                    <a:pt x="1052" y="2718"/>
                  </a:cubicBezTo>
                  <a:close/>
                  <a:moveTo>
                    <a:pt x="1083" y="2752"/>
                  </a:moveTo>
                  <a:cubicBezTo>
                    <a:pt x="1066" y="2755"/>
                    <a:pt x="1052" y="2746"/>
                    <a:pt x="1055" y="2730"/>
                  </a:cubicBezTo>
                  <a:cubicBezTo>
                    <a:pt x="1066" y="2735"/>
                    <a:pt x="1086" y="2735"/>
                    <a:pt x="1083" y="2752"/>
                  </a:cubicBezTo>
                  <a:close/>
                  <a:moveTo>
                    <a:pt x="1089" y="2854"/>
                  </a:moveTo>
                  <a:cubicBezTo>
                    <a:pt x="1075" y="2854"/>
                    <a:pt x="1064" y="2848"/>
                    <a:pt x="1055" y="2834"/>
                  </a:cubicBezTo>
                  <a:cubicBezTo>
                    <a:pt x="1069" y="2840"/>
                    <a:pt x="1092" y="2834"/>
                    <a:pt x="1089" y="2854"/>
                  </a:cubicBezTo>
                  <a:close/>
                  <a:moveTo>
                    <a:pt x="1097" y="2645"/>
                  </a:moveTo>
                  <a:cubicBezTo>
                    <a:pt x="1080" y="2645"/>
                    <a:pt x="1086" y="2625"/>
                    <a:pt x="1106" y="2625"/>
                  </a:cubicBezTo>
                  <a:cubicBezTo>
                    <a:pt x="1103" y="2634"/>
                    <a:pt x="1095" y="2636"/>
                    <a:pt x="1097" y="2645"/>
                  </a:cubicBezTo>
                  <a:close/>
                  <a:moveTo>
                    <a:pt x="1106" y="2611"/>
                  </a:moveTo>
                  <a:cubicBezTo>
                    <a:pt x="1123" y="2608"/>
                    <a:pt x="1103" y="2634"/>
                    <a:pt x="1106" y="2611"/>
                  </a:cubicBezTo>
                  <a:close/>
                  <a:moveTo>
                    <a:pt x="1117" y="2876"/>
                  </a:moveTo>
                  <a:lnTo>
                    <a:pt x="1109" y="2876"/>
                  </a:lnTo>
                  <a:cubicBezTo>
                    <a:pt x="1112" y="2873"/>
                    <a:pt x="1112" y="2871"/>
                    <a:pt x="1117" y="2871"/>
                  </a:cubicBezTo>
                  <a:cubicBezTo>
                    <a:pt x="1114" y="2871"/>
                    <a:pt x="1117" y="2873"/>
                    <a:pt x="1117" y="2876"/>
                  </a:cubicBezTo>
                  <a:close/>
                  <a:moveTo>
                    <a:pt x="1109" y="2651"/>
                  </a:moveTo>
                  <a:cubicBezTo>
                    <a:pt x="1128" y="2651"/>
                    <a:pt x="1100" y="2679"/>
                    <a:pt x="1109" y="2651"/>
                  </a:cubicBezTo>
                  <a:close/>
                  <a:moveTo>
                    <a:pt x="1123" y="2693"/>
                  </a:moveTo>
                  <a:cubicBezTo>
                    <a:pt x="1137" y="2693"/>
                    <a:pt x="1120" y="2715"/>
                    <a:pt x="1123" y="2693"/>
                  </a:cubicBezTo>
                  <a:close/>
                  <a:moveTo>
                    <a:pt x="1134" y="2769"/>
                  </a:moveTo>
                  <a:cubicBezTo>
                    <a:pt x="1154" y="2772"/>
                    <a:pt x="1128" y="2800"/>
                    <a:pt x="1134" y="2769"/>
                  </a:cubicBezTo>
                  <a:close/>
                  <a:moveTo>
                    <a:pt x="1145" y="2591"/>
                  </a:moveTo>
                  <a:cubicBezTo>
                    <a:pt x="1168" y="2600"/>
                    <a:pt x="1137" y="2588"/>
                    <a:pt x="1145" y="2591"/>
                  </a:cubicBezTo>
                  <a:close/>
                  <a:moveTo>
                    <a:pt x="1154" y="2696"/>
                  </a:moveTo>
                  <a:cubicBezTo>
                    <a:pt x="1174" y="2698"/>
                    <a:pt x="1148" y="2727"/>
                    <a:pt x="1154" y="2696"/>
                  </a:cubicBezTo>
                  <a:close/>
                  <a:moveTo>
                    <a:pt x="1162" y="2710"/>
                  </a:moveTo>
                  <a:cubicBezTo>
                    <a:pt x="1165" y="2704"/>
                    <a:pt x="1174" y="2710"/>
                    <a:pt x="1165" y="2710"/>
                  </a:cubicBezTo>
                  <a:cubicBezTo>
                    <a:pt x="1179" y="2710"/>
                    <a:pt x="1162" y="2730"/>
                    <a:pt x="1162" y="2710"/>
                  </a:cubicBezTo>
                  <a:close/>
                  <a:moveTo>
                    <a:pt x="1162" y="2656"/>
                  </a:moveTo>
                  <a:lnTo>
                    <a:pt x="1162" y="2645"/>
                  </a:lnTo>
                  <a:cubicBezTo>
                    <a:pt x="1168" y="2645"/>
                    <a:pt x="1168" y="2642"/>
                    <a:pt x="1168" y="2639"/>
                  </a:cubicBezTo>
                  <a:cubicBezTo>
                    <a:pt x="1174" y="2636"/>
                    <a:pt x="1174" y="2662"/>
                    <a:pt x="1162" y="2656"/>
                  </a:cubicBezTo>
                  <a:close/>
                  <a:moveTo>
                    <a:pt x="1171" y="310"/>
                  </a:moveTo>
                  <a:cubicBezTo>
                    <a:pt x="1171" y="305"/>
                    <a:pt x="1179" y="313"/>
                    <a:pt x="1171" y="310"/>
                  </a:cubicBezTo>
                  <a:close/>
                  <a:moveTo>
                    <a:pt x="1185" y="285"/>
                  </a:moveTo>
                  <a:lnTo>
                    <a:pt x="1176" y="285"/>
                  </a:lnTo>
                  <a:cubicBezTo>
                    <a:pt x="1174" y="282"/>
                    <a:pt x="1185" y="279"/>
                    <a:pt x="1185" y="285"/>
                  </a:cubicBezTo>
                  <a:close/>
                  <a:moveTo>
                    <a:pt x="1179" y="2797"/>
                  </a:moveTo>
                  <a:cubicBezTo>
                    <a:pt x="1188" y="2794"/>
                    <a:pt x="1176" y="2806"/>
                    <a:pt x="1179" y="2797"/>
                  </a:cubicBezTo>
                  <a:close/>
                  <a:moveTo>
                    <a:pt x="1179" y="2687"/>
                  </a:moveTo>
                  <a:cubicBezTo>
                    <a:pt x="1182" y="2687"/>
                    <a:pt x="1182" y="2684"/>
                    <a:pt x="1188" y="2684"/>
                  </a:cubicBezTo>
                  <a:cubicBezTo>
                    <a:pt x="1199" y="2684"/>
                    <a:pt x="1185" y="2687"/>
                    <a:pt x="1179" y="2687"/>
                  </a:cubicBezTo>
                  <a:close/>
                  <a:moveTo>
                    <a:pt x="1202" y="2840"/>
                  </a:moveTo>
                  <a:cubicBezTo>
                    <a:pt x="1193" y="2840"/>
                    <a:pt x="1193" y="2825"/>
                    <a:pt x="1193" y="2817"/>
                  </a:cubicBezTo>
                  <a:lnTo>
                    <a:pt x="1216" y="2817"/>
                  </a:lnTo>
                  <a:cubicBezTo>
                    <a:pt x="1210" y="2825"/>
                    <a:pt x="1202" y="2825"/>
                    <a:pt x="1202" y="2840"/>
                  </a:cubicBezTo>
                  <a:close/>
                  <a:moveTo>
                    <a:pt x="1210" y="2467"/>
                  </a:moveTo>
                  <a:cubicBezTo>
                    <a:pt x="1224" y="2464"/>
                    <a:pt x="1207" y="2490"/>
                    <a:pt x="1210" y="2467"/>
                  </a:cubicBezTo>
                  <a:close/>
                  <a:moveTo>
                    <a:pt x="1216" y="2532"/>
                  </a:moveTo>
                  <a:cubicBezTo>
                    <a:pt x="1224" y="2526"/>
                    <a:pt x="1213" y="2538"/>
                    <a:pt x="1216" y="2532"/>
                  </a:cubicBezTo>
                  <a:close/>
                  <a:moveTo>
                    <a:pt x="1219" y="200"/>
                  </a:moveTo>
                  <a:cubicBezTo>
                    <a:pt x="1230" y="195"/>
                    <a:pt x="1227" y="209"/>
                    <a:pt x="1219" y="200"/>
                  </a:cubicBezTo>
                  <a:close/>
                  <a:moveTo>
                    <a:pt x="1224" y="2631"/>
                  </a:moveTo>
                  <a:lnTo>
                    <a:pt x="1224" y="2636"/>
                  </a:lnTo>
                  <a:cubicBezTo>
                    <a:pt x="1222" y="2636"/>
                    <a:pt x="1222" y="2631"/>
                    <a:pt x="1222" y="2628"/>
                  </a:cubicBezTo>
                  <a:cubicBezTo>
                    <a:pt x="1224" y="2628"/>
                    <a:pt x="1227" y="2628"/>
                    <a:pt x="1227" y="2625"/>
                  </a:cubicBezTo>
                  <a:cubicBezTo>
                    <a:pt x="1233" y="2622"/>
                    <a:pt x="1227" y="2631"/>
                    <a:pt x="1224" y="2631"/>
                  </a:cubicBezTo>
                  <a:close/>
                  <a:moveTo>
                    <a:pt x="1236" y="2744"/>
                  </a:moveTo>
                  <a:cubicBezTo>
                    <a:pt x="1255" y="2744"/>
                    <a:pt x="1227" y="2772"/>
                    <a:pt x="1236" y="2744"/>
                  </a:cubicBezTo>
                  <a:close/>
                  <a:moveTo>
                    <a:pt x="1233" y="2775"/>
                  </a:moveTo>
                  <a:cubicBezTo>
                    <a:pt x="1233" y="2772"/>
                    <a:pt x="1241" y="2772"/>
                    <a:pt x="1241" y="2766"/>
                  </a:cubicBezTo>
                  <a:cubicBezTo>
                    <a:pt x="1247" y="2772"/>
                    <a:pt x="1238" y="2777"/>
                    <a:pt x="1233" y="2775"/>
                  </a:cubicBezTo>
                  <a:close/>
                  <a:moveTo>
                    <a:pt x="1250" y="2698"/>
                  </a:moveTo>
                  <a:lnTo>
                    <a:pt x="1244" y="2698"/>
                  </a:lnTo>
                  <a:lnTo>
                    <a:pt x="1244" y="2693"/>
                  </a:lnTo>
                  <a:lnTo>
                    <a:pt x="1250" y="2693"/>
                  </a:lnTo>
                  <a:lnTo>
                    <a:pt x="1250" y="2698"/>
                  </a:lnTo>
                  <a:close/>
                  <a:moveTo>
                    <a:pt x="1241" y="240"/>
                  </a:moveTo>
                  <a:cubicBezTo>
                    <a:pt x="1244" y="240"/>
                    <a:pt x="1250" y="243"/>
                    <a:pt x="1250" y="248"/>
                  </a:cubicBezTo>
                  <a:cubicBezTo>
                    <a:pt x="1247" y="248"/>
                    <a:pt x="1241" y="245"/>
                    <a:pt x="1241" y="240"/>
                  </a:cubicBezTo>
                  <a:close/>
                  <a:moveTo>
                    <a:pt x="1247" y="2098"/>
                  </a:moveTo>
                  <a:cubicBezTo>
                    <a:pt x="1247" y="2092"/>
                    <a:pt x="1258" y="2100"/>
                    <a:pt x="1247" y="2098"/>
                  </a:cubicBezTo>
                  <a:close/>
                  <a:moveTo>
                    <a:pt x="1255" y="2808"/>
                  </a:moveTo>
                  <a:cubicBezTo>
                    <a:pt x="1255" y="2803"/>
                    <a:pt x="1264" y="2811"/>
                    <a:pt x="1255" y="2808"/>
                  </a:cubicBezTo>
                  <a:close/>
                  <a:moveTo>
                    <a:pt x="1261" y="2763"/>
                  </a:moveTo>
                  <a:cubicBezTo>
                    <a:pt x="1281" y="2766"/>
                    <a:pt x="1253" y="2792"/>
                    <a:pt x="1261" y="2763"/>
                  </a:cubicBezTo>
                  <a:close/>
                  <a:moveTo>
                    <a:pt x="1270" y="2783"/>
                  </a:moveTo>
                  <a:cubicBezTo>
                    <a:pt x="1292" y="2794"/>
                    <a:pt x="1244" y="2806"/>
                    <a:pt x="1270" y="2783"/>
                  </a:cubicBezTo>
                  <a:close/>
                  <a:moveTo>
                    <a:pt x="1272" y="2673"/>
                  </a:moveTo>
                  <a:cubicBezTo>
                    <a:pt x="1272" y="2667"/>
                    <a:pt x="1284" y="2676"/>
                    <a:pt x="1272" y="2673"/>
                  </a:cubicBezTo>
                  <a:close/>
                  <a:moveTo>
                    <a:pt x="1281" y="2684"/>
                  </a:moveTo>
                  <a:cubicBezTo>
                    <a:pt x="1306" y="2696"/>
                    <a:pt x="1258" y="2707"/>
                    <a:pt x="1281" y="2684"/>
                  </a:cubicBezTo>
                  <a:close/>
                  <a:moveTo>
                    <a:pt x="1289" y="214"/>
                  </a:moveTo>
                  <a:cubicBezTo>
                    <a:pt x="1284" y="214"/>
                    <a:pt x="1289" y="206"/>
                    <a:pt x="1292" y="206"/>
                  </a:cubicBezTo>
                  <a:cubicBezTo>
                    <a:pt x="1292" y="209"/>
                    <a:pt x="1289" y="212"/>
                    <a:pt x="1289" y="214"/>
                  </a:cubicBezTo>
                  <a:close/>
                  <a:moveTo>
                    <a:pt x="1286" y="183"/>
                  </a:moveTo>
                  <a:cubicBezTo>
                    <a:pt x="1281" y="178"/>
                    <a:pt x="1295" y="186"/>
                    <a:pt x="1286" y="183"/>
                  </a:cubicBezTo>
                  <a:close/>
                  <a:moveTo>
                    <a:pt x="1284" y="87"/>
                  </a:moveTo>
                  <a:cubicBezTo>
                    <a:pt x="1286" y="87"/>
                    <a:pt x="1289" y="85"/>
                    <a:pt x="1292" y="85"/>
                  </a:cubicBezTo>
                  <a:cubicBezTo>
                    <a:pt x="1295" y="96"/>
                    <a:pt x="1301" y="93"/>
                    <a:pt x="1298" y="102"/>
                  </a:cubicBezTo>
                  <a:cubicBezTo>
                    <a:pt x="1292" y="102"/>
                    <a:pt x="1286" y="96"/>
                    <a:pt x="1284" y="87"/>
                  </a:cubicBezTo>
                  <a:close/>
                  <a:moveTo>
                    <a:pt x="1301" y="254"/>
                  </a:moveTo>
                  <a:cubicBezTo>
                    <a:pt x="1301" y="248"/>
                    <a:pt x="1312" y="254"/>
                    <a:pt x="1301" y="254"/>
                  </a:cubicBezTo>
                  <a:close/>
                  <a:moveTo>
                    <a:pt x="1301" y="226"/>
                  </a:moveTo>
                  <a:cubicBezTo>
                    <a:pt x="1301" y="223"/>
                    <a:pt x="1309" y="223"/>
                    <a:pt x="1312" y="223"/>
                  </a:cubicBezTo>
                  <a:cubicBezTo>
                    <a:pt x="1315" y="226"/>
                    <a:pt x="1303" y="226"/>
                    <a:pt x="1301" y="226"/>
                  </a:cubicBezTo>
                  <a:close/>
                  <a:moveTo>
                    <a:pt x="1298" y="203"/>
                  </a:moveTo>
                  <a:cubicBezTo>
                    <a:pt x="1301" y="195"/>
                    <a:pt x="1312" y="203"/>
                    <a:pt x="1298" y="203"/>
                  </a:cubicBezTo>
                  <a:close/>
                  <a:moveTo>
                    <a:pt x="1306" y="189"/>
                  </a:moveTo>
                  <a:cubicBezTo>
                    <a:pt x="1315" y="186"/>
                    <a:pt x="1306" y="200"/>
                    <a:pt x="1306" y="189"/>
                  </a:cubicBezTo>
                  <a:close/>
                  <a:moveTo>
                    <a:pt x="1312" y="268"/>
                  </a:moveTo>
                  <a:cubicBezTo>
                    <a:pt x="1312" y="262"/>
                    <a:pt x="1320" y="271"/>
                    <a:pt x="1312" y="268"/>
                  </a:cubicBezTo>
                  <a:close/>
                  <a:moveTo>
                    <a:pt x="1315" y="130"/>
                  </a:moveTo>
                  <a:lnTo>
                    <a:pt x="1315" y="130"/>
                  </a:lnTo>
                  <a:cubicBezTo>
                    <a:pt x="1313" y="128"/>
                    <a:pt x="1312" y="126"/>
                    <a:pt x="1312" y="124"/>
                  </a:cubicBezTo>
                  <a:cubicBezTo>
                    <a:pt x="1318" y="121"/>
                    <a:pt x="1323" y="127"/>
                    <a:pt x="1323" y="133"/>
                  </a:cubicBezTo>
                  <a:cubicBezTo>
                    <a:pt x="1322" y="133"/>
                    <a:pt x="1321" y="132"/>
                    <a:pt x="1320" y="132"/>
                  </a:cubicBezTo>
                  <a:cubicBezTo>
                    <a:pt x="1322" y="133"/>
                    <a:pt x="1323" y="135"/>
                    <a:pt x="1323" y="138"/>
                  </a:cubicBezTo>
                  <a:cubicBezTo>
                    <a:pt x="1318" y="141"/>
                    <a:pt x="1315" y="135"/>
                    <a:pt x="1315" y="130"/>
                  </a:cubicBezTo>
                  <a:close/>
                  <a:moveTo>
                    <a:pt x="1301" y="82"/>
                  </a:moveTo>
                  <a:cubicBezTo>
                    <a:pt x="1303" y="73"/>
                    <a:pt x="1301" y="62"/>
                    <a:pt x="1289" y="68"/>
                  </a:cubicBezTo>
                  <a:cubicBezTo>
                    <a:pt x="1301" y="54"/>
                    <a:pt x="1309" y="73"/>
                    <a:pt x="1320" y="73"/>
                  </a:cubicBezTo>
                  <a:cubicBezTo>
                    <a:pt x="1318" y="76"/>
                    <a:pt x="1309" y="85"/>
                    <a:pt x="1301" y="82"/>
                  </a:cubicBezTo>
                  <a:close/>
                  <a:moveTo>
                    <a:pt x="1320" y="192"/>
                  </a:moveTo>
                  <a:cubicBezTo>
                    <a:pt x="1323" y="186"/>
                    <a:pt x="1334" y="195"/>
                    <a:pt x="1320" y="192"/>
                  </a:cubicBezTo>
                  <a:close/>
                  <a:moveTo>
                    <a:pt x="1326" y="203"/>
                  </a:moveTo>
                  <a:cubicBezTo>
                    <a:pt x="1334" y="197"/>
                    <a:pt x="1323" y="209"/>
                    <a:pt x="1326" y="203"/>
                  </a:cubicBezTo>
                  <a:close/>
                  <a:moveTo>
                    <a:pt x="1329" y="99"/>
                  </a:moveTo>
                  <a:lnTo>
                    <a:pt x="1334" y="99"/>
                  </a:lnTo>
                  <a:lnTo>
                    <a:pt x="1334" y="104"/>
                  </a:lnTo>
                  <a:cubicBezTo>
                    <a:pt x="1334" y="104"/>
                    <a:pt x="1332" y="107"/>
                    <a:pt x="1329" y="107"/>
                  </a:cubicBezTo>
                  <a:cubicBezTo>
                    <a:pt x="1332" y="104"/>
                    <a:pt x="1329" y="102"/>
                    <a:pt x="1329" y="99"/>
                  </a:cubicBezTo>
                  <a:close/>
                  <a:moveTo>
                    <a:pt x="1349" y="2591"/>
                  </a:moveTo>
                  <a:cubicBezTo>
                    <a:pt x="1346" y="2586"/>
                    <a:pt x="1357" y="2586"/>
                    <a:pt x="1363" y="2586"/>
                  </a:cubicBezTo>
                  <a:cubicBezTo>
                    <a:pt x="1363" y="2588"/>
                    <a:pt x="1354" y="2591"/>
                    <a:pt x="1349" y="2591"/>
                  </a:cubicBezTo>
                  <a:close/>
                  <a:moveTo>
                    <a:pt x="1363" y="2614"/>
                  </a:moveTo>
                  <a:cubicBezTo>
                    <a:pt x="1365" y="2617"/>
                    <a:pt x="1368" y="2617"/>
                    <a:pt x="1371" y="2617"/>
                  </a:cubicBezTo>
                  <a:cubicBezTo>
                    <a:pt x="1371" y="2620"/>
                    <a:pt x="1368" y="2622"/>
                    <a:pt x="1365" y="2622"/>
                  </a:cubicBezTo>
                  <a:cubicBezTo>
                    <a:pt x="1365" y="2625"/>
                    <a:pt x="1368" y="2628"/>
                    <a:pt x="1365" y="2628"/>
                  </a:cubicBezTo>
                  <a:lnTo>
                    <a:pt x="1363" y="2625"/>
                  </a:lnTo>
                  <a:cubicBezTo>
                    <a:pt x="1357" y="2617"/>
                    <a:pt x="1360" y="2617"/>
                    <a:pt x="1363" y="2614"/>
                  </a:cubicBezTo>
                  <a:close/>
                  <a:moveTo>
                    <a:pt x="1371" y="2831"/>
                  </a:moveTo>
                  <a:cubicBezTo>
                    <a:pt x="1380" y="2828"/>
                    <a:pt x="1391" y="2834"/>
                    <a:pt x="1397" y="2837"/>
                  </a:cubicBezTo>
                  <a:cubicBezTo>
                    <a:pt x="1388" y="2845"/>
                    <a:pt x="1371" y="2834"/>
                    <a:pt x="1371" y="2831"/>
                  </a:cubicBezTo>
                  <a:close/>
                  <a:moveTo>
                    <a:pt x="1391" y="2910"/>
                  </a:moveTo>
                  <a:cubicBezTo>
                    <a:pt x="1391" y="2907"/>
                    <a:pt x="1397" y="2907"/>
                    <a:pt x="1397" y="2904"/>
                  </a:cubicBezTo>
                  <a:cubicBezTo>
                    <a:pt x="1405" y="2907"/>
                    <a:pt x="1397" y="2916"/>
                    <a:pt x="1391" y="2910"/>
                  </a:cubicBezTo>
                  <a:close/>
                  <a:moveTo>
                    <a:pt x="1399" y="2859"/>
                  </a:moveTo>
                  <a:cubicBezTo>
                    <a:pt x="1408" y="2862"/>
                    <a:pt x="1416" y="2871"/>
                    <a:pt x="1413" y="2882"/>
                  </a:cubicBezTo>
                  <a:cubicBezTo>
                    <a:pt x="1405" y="2879"/>
                    <a:pt x="1399" y="2871"/>
                    <a:pt x="1399" y="2859"/>
                  </a:cubicBezTo>
                  <a:close/>
                  <a:moveTo>
                    <a:pt x="1419" y="2907"/>
                  </a:moveTo>
                  <a:cubicBezTo>
                    <a:pt x="1419" y="2904"/>
                    <a:pt x="1416" y="2904"/>
                    <a:pt x="1416" y="2902"/>
                  </a:cubicBezTo>
                  <a:lnTo>
                    <a:pt x="1422" y="2902"/>
                  </a:lnTo>
                  <a:cubicBezTo>
                    <a:pt x="1419" y="2904"/>
                    <a:pt x="1419" y="2907"/>
                    <a:pt x="1419" y="2907"/>
                  </a:cubicBezTo>
                  <a:close/>
                  <a:moveTo>
                    <a:pt x="1413" y="2803"/>
                  </a:moveTo>
                  <a:cubicBezTo>
                    <a:pt x="1416" y="2797"/>
                    <a:pt x="1419" y="2811"/>
                    <a:pt x="1413" y="2803"/>
                  </a:cubicBezTo>
                  <a:close/>
                  <a:moveTo>
                    <a:pt x="1428" y="2662"/>
                  </a:moveTo>
                  <a:cubicBezTo>
                    <a:pt x="1447" y="2687"/>
                    <a:pt x="1388" y="2687"/>
                    <a:pt x="1428" y="2662"/>
                  </a:cubicBezTo>
                  <a:close/>
                  <a:moveTo>
                    <a:pt x="1428" y="2462"/>
                  </a:moveTo>
                  <a:cubicBezTo>
                    <a:pt x="1428" y="2456"/>
                    <a:pt x="1433" y="2456"/>
                    <a:pt x="1439" y="2456"/>
                  </a:cubicBezTo>
                  <a:cubicBezTo>
                    <a:pt x="1439" y="2459"/>
                    <a:pt x="1433" y="2462"/>
                    <a:pt x="1428" y="2462"/>
                  </a:cubicBezTo>
                  <a:close/>
                  <a:moveTo>
                    <a:pt x="1433" y="1988"/>
                  </a:moveTo>
                  <a:cubicBezTo>
                    <a:pt x="1436" y="1982"/>
                    <a:pt x="1447" y="1990"/>
                    <a:pt x="1433" y="1988"/>
                  </a:cubicBezTo>
                  <a:close/>
                  <a:moveTo>
                    <a:pt x="1442" y="2825"/>
                  </a:moveTo>
                  <a:cubicBezTo>
                    <a:pt x="1442" y="2823"/>
                    <a:pt x="1444" y="2820"/>
                    <a:pt x="1444" y="2817"/>
                  </a:cubicBezTo>
                  <a:cubicBezTo>
                    <a:pt x="1447" y="2817"/>
                    <a:pt x="1447" y="2828"/>
                    <a:pt x="1442" y="2825"/>
                  </a:cubicBezTo>
                  <a:close/>
                  <a:moveTo>
                    <a:pt x="1439" y="2642"/>
                  </a:moveTo>
                  <a:cubicBezTo>
                    <a:pt x="1439" y="2639"/>
                    <a:pt x="1447" y="2639"/>
                    <a:pt x="1444" y="2634"/>
                  </a:cubicBezTo>
                  <a:cubicBezTo>
                    <a:pt x="1450" y="2634"/>
                    <a:pt x="1444" y="2642"/>
                    <a:pt x="1439" y="2642"/>
                  </a:cubicBezTo>
                  <a:close/>
                  <a:moveTo>
                    <a:pt x="1450" y="2309"/>
                  </a:moveTo>
                  <a:cubicBezTo>
                    <a:pt x="1450" y="2306"/>
                    <a:pt x="1456" y="2304"/>
                    <a:pt x="1459" y="2304"/>
                  </a:cubicBezTo>
                  <a:cubicBezTo>
                    <a:pt x="1459" y="2306"/>
                    <a:pt x="1453" y="2309"/>
                    <a:pt x="1450" y="2309"/>
                  </a:cubicBezTo>
                  <a:close/>
                  <a:moveTo>
                    <a:pt x="1469" y="2648"/>
                  </a:moveTo>
                  <a:cubicBezTo>
                    <a:pt x="1477" y="2653"/>
                    <a:pt x="1459" y="2653"/>
                    <a:pt x="1459" y="2656"/>
                  </a:cubicBezTo>
                  <a:cubicBezTo>
                    <a:pt x="1450" y="2651"/>
                    <a:pt x="1469" y="2651"/>
                    <a:pt x="1469" y="2648"/>
                  </a:cubicBezTo>
                  <a:close/>
                  <a:moveTo>
                    <a:pt x="1466" y="2780"/>
                  </a:moveTo>
                  <a:cubicBezTo>
                    <a:pt x="1483" y="2803"/>
                    <a:pt x="1444" y="2763"/>
                    <a:pt x="1466" y="2780"/>
                  </a:cubicBezTo>
                  <a:close/>
                  <a:moveTo>
                    <a:pt x="1472" y="2792"/>
                  </a:moveTo>
                  <a:cubicBezTo>
                    <a:pt x="1472" y="2794"/>
                    <a:pt x="1466" y="2797"/>
                    <a:pt x="1463" y="2797"/>
                  </a:cubicBezTo>
                  <a:cubicBezTo>
                    <a:pt x="1466" y="2794"/>
                    <a:pt x="1469" y="2794"/>
                    <a:pt x="1472" y="2792"/>
                  </a:cubicBezTo>
                  <a:close/>
                  <a:moveTo>
                    <a:pt x="1475" y="2902"/>
                  </a:moveTo>
                  <a:cubicBezTo>
                    <a:pt x="1459" y="2899"/>
                    <a:pt x="1475" y="2873"/>
                    <a:pt x="1489" y="2879"/>
                  </a:cubicBezTo>
                  <a:cubicBezTo>
                    <a:pt x="1483" y="2887"/>
                    <a:pt x="1472" y="2890"/>
                    <a:pt x="1475" y="2902"/>
                  </a:cubicBezTo>
                  <a:close/>
                  <a:moveTo>
                    <a:pt x="1486" y="2893"/>
                  </a:moveTo>
                  <a:cubicBezTo>
                    <a:pt x="1506" y="2902"/>
                    <a:pt x="1477" y="2930"/>
                    <a:pt x="1486" y="2893"/>
                  </a:cubicBezTo>
                  <a:close/>
                  <a:moveTo>
                    <a:pt x="1486" y="2659"/>
                  </a:moveTo>
                  <a:cubicBezTo>
                    <a:pt x="1486" y="2656"/>
                    <a:pt x="1489" y="2653"/>
                    <a:pt x="1486" y="2653"/>
                  </a:cubicBezTo>
                  <a:cubicBezTo>
                    <a:pt x="1489" y="2648"/>
                    <a:pt x="1497" y="2648"/>
                    <a:pt x="1503" y="2648"/>
                  </a:cubicBezTo>
                  <a:cubicBezTo>
                    <a:pt x="1500" y="2656"/>
                    <a:pt x="1491" y="2659"/>
                    <a:pt x="1486" y="2659"/>
                  </a:cubicBezTo>
                  <a:close/>
                  <a:moveTo>
                    <a:pt x="1500" y="2625"/>
                  </a:moveTo>
                  <a:cubicBezTo>
                    <a:pt x="1494" y="2622"/>
                    <a:pt x="1503" y="2614"/>
                    <a:pt x="1508" y="2614"/>
                  </a:cubicBezTo>
                  <a:cubicBezTo>
                    <a:pt x="1508" y="2620"/>
                    <a:pt x="1500" y="2622"/>
                    <a:pt x="1500" y="2625"/>
                  </a:cubicBezTo>
                  <a:close/>
                  <a:moveTo>
                    <a:pt x="1503" y="2428"/>
                  </a:moveTo>
                  <a:lnTo>
                    <a:pt x="1503" y="2419"/>
                  </a:lnTo>
                  <a:lnTo>
                    <a:pt x="1511" y="2419"/>
                  </a:lnTo>
                  <a:cubicBezTo>
                    <a:pt x="1508" y="2425"/>
                    <a:pt x="1506" y="2431"/>
                    <a:pt x="1503" y="2428"/>
                  </a:cubicBezTo>
                  <a:close/>
                  <a:moveTo>
                    <a:pt x="1511" y="2854"/>
                  </a:moveTo>
                  <a:cubicBezTo>
                    <a:pt x="1537" y="2842"/>
                    <a:pt x="1517" y="2885"/>
                    <a:pt x="1534" y="2882"/>
                  </a:cubicBezTo>
                  <a:cubicBezTo>
                    <a:pt x="1525" y="2910"/>
                    <a:pt x="1503" y="2879"/>
                    <a:pt x="1511" y="2854"/>
                  </a:cubicBezTo>
                  <a:close/>
                  <a:moveTo>
                    <a:pt x="1539" y="186"/>
                  </a:moveTo>
                  <a:cubicBezTo>
                    <a:pt x="1545" y="186"/>
                    <a:pt x="1539" y="197"/>
                    <a:pt x="1534" y="195"/>
                  </a:cubicBezTo>
                  <a:cubicBezTo>
                    <a:pt x="1528" y="189"/>
                    <a:pt x="1539" y="192"/>
                    <a:pt x="1539" y="186"/>
                  </a:cubicBezTo>
                  <a:close/>
                  <a:moveTo>
                    <a:pt x="1539" y="223"/>
                  </a:moveTo>
                  <a:cubicBezTo>
                    <a:pt x="1537" y="220"/>
                    <a:pt x="1539" y="214"/>
                    <a:pt x="1539" y="214"/>
                  </a:cubicBezTo>
                  <a:cubicBezTo>
                    <a:pt x="1545" y="212"/>
                    <a:pt x="1548" y="223"/>
                    <a:pt x="1539" y="223"/>
                  </a:cubicBezTo>
                  <a:close/>
                  <a:moveTo>
                    <a:pt x="1539" y="178"/>
                  </a:moveTo>
                  <a:cubicBezTo>
                    <a:pt x="1542" y="175"/>
                    <a:pt x="1545" y="180"/>
                    <a:pt x="1548" y="180"/>
                  </a:cubicBezTo>
                  <a:cubicBezTo>
                    <a:pt x="1548" y="186"/>
                    <a:pt x="1539" y="183"/>
                    <a:pt x="1539" y="178"/>
                  </a:cubicBezTo>
                  <a:close/>
                  <a:moveTo>
                    <a:pt x="1548" y="110"/>
                  </a:moveTo>
                  <a:cubicBezTo>
                    <a:pt x="1556" y="110"/>
                    <a:pt x="1554" y="121"/>
                    <a:pt x="1554" y="127"/>
                  </a:cubicBezTo>
                  <a:cubicBezTo>
                    <a:pt x="1545" y="124"/>
                    <a:pt x="1551" y="116"/>
                    <a:pt x="1548" y="110"/>
                  </a:cubicBezTo>
                  <a:close/>
                  <a:moveTo>
                    <a:pt x="1551" y="2783"/>
                  </a:moveTo>
                  <a:cubicBezTo>
                    <a:pt x="1551" y="2777"/>
                    <a:pt x="1559" y="2786"/>
                    <a:pt x="1551" y="2783"/>
                  </a:cubicBezTo>
                  <a:close/>
                  <a:moveTo>
                    <a:pt x="1554" y="189"/>
                  </a:moveTo>
                  <a:cubicBezTo>
                    <a:pt x="1551" y="186"/>
                    <a:pt x="1556" y="183"/>
                    <a:pt x="1559" y="180"/>
                  </a:cubicBezTo>
                  <a:cubicBezTo>
                    <a:pt x="1559" y="183"/>
                    <a:pt x="1556" y="186"/>
                    <a:pt x="1554" y="189"/>
                  </a:cubicBezTo>
                  <a:close/>
                  <a:moveTo>
                    <a:pt x="1559" y="186"/>
                  </a:moveTo>
                  <a:cubicBezTo>
                    <a:pt x="1565" y="183"/>
                    <a:pt x="1565" y="192"/>
                    <a:pt x="1568" y="195"/>
                  </a:cubicBezTo>
                  <a:cubicBezTo>
                    <a:pt x="1565" y="195"/>
                    <a:pt x="1562" y="195"/>
                    <a:pt x="1562" y="197"/>
                  </a:cubicBezTo>
                  <a:cubicBezTo>
                    <a:pt x="1559" y="192"/>
                    <a:pt x="1556" y="189"/>
                    <a:pt x="1559" y="186"/>
                  </a:cubicBezTo>
                  <a:close/>
                  <a:moveTo>
                    <a:pt x="1565" y="228"/>
                  </a:moveTo>
                  <a:cubicBezTo>
                    <a:pt x="1568" y="228"/>
                    <a:pt x="1568" y="234"/>
                    <a:pt x="1568" y="237"/>
                  </a:cubicBezTo>
                  <a:cubicBezTo>
                    <a:pt x="1565" y="237"/>
                    <a:pt x="1562" y="234"/>
                    <a:pt x="1559" y="234"/>
                  </a:cubicBezTo>
                  <a:cubicBezTo>
                    <a:pt x="1559" y="231"/>
                    <a:pt x="1565" y="231"/>
                    <a:pt x="1565" y="228"/>
                  </a:cubicBezTo>
                  <a:close/>
                  <a:moveTo>
                    <a:pt x="1570" y="2653"/>
                  </a:moveTo>
                  <a:cubicBezTo>
                    <a:pt x="1570" y="2656"/>
                    <a:pt x="1565" y="2659"/>
                    <a:pt x="1562" y="2659"/>
                  </a:cubicBezTo>
                  <a:cubicBezTo>
                    <a:pt x="1565" y="2656"/>
                    <a:pt x="1568" y="2653"/>
                    <a:pt x="1570" y="2653"/>
                  </a:cubicBezTo>
                  <a:close/>
                  <a:moveTo>
                    <a:pt x="1579" y="2910"/>
                  </a:moveTo>
                  <a:cubicBezTo>
                    <a:pt x="1556" y="2907"/>
                    <a:pt x="1568" y="2882"/>
                    <a:pt x="1593" y="2887"/>
                  </a:cubicBezTo>
                  <a:cubicBezTo>
                    <a:pt x="1587" y="2893"/>
                    <a:pt x="1576" y="2896"/>
                    <a:pt x="1579" y="2910"/>
                  </a:cubicBezTo>
                  <a:close/>
                  <a:moveTo>
                    <a:pt x="1590" y="2780"/>
                  </a:moveTo>
                  <a:lnTo>
                    <a:pt x="1590" y="2772"/>
                  </a:lnTo>
                  <a:lnTo>
                    <a:pt x="1596" y="2772"/>
                  </a:lnTo>
                  <a:cubicBezTo>
                    <a:pt x="1596" y="2772"/>
                    <a:pt x="1599" y="2780"/>
                    <a:pt x="1590" y="2780"/>
                  </a:cubicBezTo>
                  <a:close/>
                  <a:moveTo>
                    <a:pt x="1599" y="2865"/>
                  </a:moveTo>
                  <a:cubicBezTo>
                    <a:pt x="1618" y="2868"/>
                    <a:pt x="1590" y="2896"/>
                    <a:pt x="1599" y="2865"/>
                  </a:cubicBezTo>
                  <a:close/>
                  <a:moveTo>
                    <a:pt x="1613" y="2769"/>
                  </a:moveTo>
                  <a:lnTo>
                    <a:pt x="1607" y="2769"/>
                  </a:lnTo>
                  <a:lnTo>
                    <a:pt x="1607" y="2763"/>
                  </a:lnTo>
                  <a:lnTo>
                    <a:pt x="1613" y="2763"/>
                  </a:lnTo>
                  <a:lnTo>
                    <a:pt x="1613" y="2769"/>
                  </a:lnTo>
                  <a:close/>
                  <a:moveTo>
                    <a:pt x="1610" y="2583"/>
                  </a:moveTo>
                  <a:cubicBezTo>
                    <a:pt x="1610" y="2577"/>
                    <a:pt x="1621" y="2577"/>
                    <a:pt x="1624" y="2577"/>
                  </a:cubicBezTo>
                  <a:cubicBezTo>
                    <a:pt x="1627" y="2583"/>
                    <a:pt x="1616" y="2583"/>
                    <a:pt x="1610" y="2583"/>
                  </a:cubicBezTo>
                  <a:close/>
                  <a:moveTo>
                    <a:pt x="1638" y="2910"/>
                  </a:moveTo>
                  <a:cubicBezTo>
                    <a:pt x="1593" y="2902"/>
                    <a:pt x="1633" y="2862"/>
                    <a:pt x="1638" y="2910"/>
                  </a:cubicBezTo>
                  <a:close/>
                  <a:moveTo>
                    <a:pt x="1633" y="195"/>
                  </a:moveTo>
                  <a:cubicBezTo>
                    <a:pt x="1635" y="195"/>
                    <a:pt x="1638" y="192"/>
                    <a:pt x="1641" y="192"/>
                  </a:cubicBezTo>
                  <a:cubicBezTo>
                    <a:pt x="1641" y="189"/>
                    <a:pt x="1647" y="189"/>
                    <a:pt x="1647" y="189"/>
                  </a:cubicBezTo>
                  <a:cubicBezTo>
                    <a:pt x="1649" y="192"/>
                    <a:pt x="1647" y="197"/>
                    <a:pt x="1649" y="200"/>
                  </a:cubicBezTo>
                  <a:cubicBezTo>
                    <a:pt x="1644" y="203"/>
                    <a:pt x="1638" y="197"/>
                    <a:pt x="1633" y="195"/>
                  </a:cubicBezTo>
                  <a:close/>
                  <a:moveTo>
                    <a:pt x="1644" y="2744"/>
                  </a:moveTo>
                  <a:cubicBezTo>
                    <a:pt x="1641" y="2741"/>
                    <a:pt x="1647" y="2732"/>
                    <a:pt x="1652" y="2732"/>
                  </a:cubicBezTo>
                  <a:cubicBezTo>
                    <a:pt x="1649" y="2738"/>
                    <a:pt x="1649" y="2744"/>
                    <a:pt x="1644" y="2744"/>
                  </a:cubicBezTo>
                  <a:close/>
                  <a:moveTo>
                    <a:pt x="1652" y="2845"/>
                  </a:moveTo>
                  <a:cubicBezTo>
                    <a:pt x="1655" y="2848"/>
                    <a:pt x="1661" y="2851"/>
                    <a:pt x="1661" y="2854"/>
                  </a:cubicBezTo>
                  <a:cubicBezTo>
                    <a:pt x="1661" y="2854"/>
                    <a:pt x="1647" y="2842"/>
                    <a:pt x="1652" y="2845"/>
                  </a:cubicBezTo>
                  <a:close/>
                  <a:moveTo>
                    <a:pt x="1664" y="2690"/>
                  </a:moveTo>
                  <a:cubicBezTo>
                    <a:pt x="1661" y="2682"/>
                    <a:pt x="1678" y="2679"/>
                    <a:pt x="1675" y="2690"/>
                  </a:cubicBezTo>
                  <a:cubicBezTo>
                    <a:pt x="1672" y="2687"/>
                    <a:pt x="1666" y="2690"/>
                    <a:pt x="1664" y="2690"/>
                  </a:cubicBezTo>
                  <a:close/>
                  <a:moveTo>
                    <a:pt x="1675" y="2780"/>
                  </a:moveTo>
                  <a:lnTo>
                    <a:pt x="1676" y="2780"/>
                  </a:lnTo>
                  <a:cubicBezTo>
                    <a:pt x="1676" y="2783"/>
                    <a:pt x="1675" y="2787"/>
                    <a:pt x="1675" y="2780"/>
                  </a:cubicBezTo>
                  <a:cubicBezTo>
                    <a:pt x="1676" y="2777"/>
                    <a:pt x="1676" y="2778"/>
                    <a:pt x="1676" y="2780"/>
                  </a:cubicBezTo>
                  <a:lnTo>
                    <a:pt x="1675" y="2780"/>
                  </a:lnTo>
                  <a:close/>
                  <a:moveTo>
                    <a:pt x="1678" y="2766"/>
                  </a:moveTo>
                  <a:cubicBezTo>
                    <a:pt x="1683" y="2763"/>
                    <a:pt x="1695" y="2763"/>
                    <a:pt x="1695" y="2772"/>
                  </a:cubicBezTo>
                  <a:cubicBezTo>
                    <a:pt x="1689" y="2772"/>
                    <a:pt x="1678" y="2775"/>
                    <a:pt x="1678" y="2766"/>
                  </a:cubicBezTo>
                  <a:close/>
                  <a:moveTo>
                    <a:pt x="1689" y="2885"/>
                  </a:moveTo>
                  <a:cubicBezTo>
                    <a:pt x="1692" y="2879"/>
                    <a:pt x="1697" y="2876"/>
                    <a:pt x="1703" y="2876"/>
                  </a:cubicBezTo>
                  <a:cubicBezTo>
                    <a:pt x="1703" y="2882"/>
                    <a:pt x="1692" y="2882"/>
                    <a:pt x="1689" y="2885"/>
                  </a:cubicBezTo>
                  <a:close/>
                  <a:moveTo>
                    <a:pt x="1703" y="2676"/>
                  </a:moveTo>
                  <a:cubicBezTo>
                    <a:pt x="1709" y="2670"/>
                    <a:pt x="1706" y="2684"/>
                    <a:pt x="1703" y="2676"/>
                  </a:cubicBezTo>
                  <a:close/>
                  <a:moveTo>
                    <a:pt x="1706" y="2899"/>
                  </a:moveTo>
                  <a:cubicBezTo>
                    <a:pt x="1706" y="2893"/>
                    <a:pt x="1714" y="2893"/>
                    <a:pt x="1720" y="2890"/>
                  </a:cubicBezTo>
                  <a:cubicBezTo>
                    <a:pt x="1720" y="2899"/>
                    <a:pt x="1709" y="2899"/>
                    <a:pt x="1706" y="2899"/>
                  </a:cubicBezTo>
                  <a:close/>
                  <a:moveTo>
                    <a:pt x="1706" y="2865"/>
                  </a:moveTo>
                  <a:cubicBezTo>
                    <a:pt x="1712" y="2865"/>
                    <a:pt x="1714" y="2865"/>
                    <a:pt x="1717" y="2868"/>
                  </a:cubicBezTo>
                  <a:cubicBezTo>
                    <a:pt x="1717" y="2871"/>
                    <a:pt x="1706" y="2873"/>
                    <a:pt x="1706" y="2865"/>
                  </a:cubicBezTo>
                  <a:close/>
                  <a:moveTo>
                    <a:pt x="1726" y="2766"/>
                  </a:moveTo>
                  <a:cubicBezTo>
                    <a:pt x="1726" y="2769"/>
                    <a:pt x="1720" y="2772"/>
                    <a:pt x="1717" y="2772"/>
                  </a:cubicBezTo>
                  <a:cubicBezTo>
                    <a:pt x="1720" y="2769"/>
                    <a:pt x="1723" y="2769"/>
                    <a:pt x="1726" y="2766"/>
                  </a:cubicBezTo>
                  <a:close/>
                  <a:moveTo>
                    <a:pt x="1720" y="2766"/>
                  </a:moveTo>
                  <a:cubicBezTo>
                    <a:pt x="1720" y="2761"/>
                    <a:pt x="1728" y="2769"/>
                    <a:pt x="1720" y="2766"/>
                  </a:cubicBezTo>
                  <a:close/>
                  <a:moveTo>
                    <a:pt x="1726" y="2862"/>
                  </a:moveTo>
                  <a:lnTo>
                    <a:pt x="1720" y="2862"/>
                  </a:lnTo>
                  <a:lnTo>
                    <a:pt x="1720" y="2856"/>
                  </a:lnTo>
                  <a:lnTo>
                    <a:pt x="1726" y="2856"/>
                  </a:lnTo>
                  <a:cubicBezTo>
                    <a:pt x="1728" y="2856"/>
                    <a:pt x="1726" y="2859"/>
                    <a:pt x="1726" y="2862"/>
                  </a:cubicBezTo>
                  <a:close/>
                  <a:moveTo>
                    <a:pt x="1717" y="2752"/>
                  </a:moveTo>
                  <a:cubicBezTo>
                    <a:pt x="1714" y="2744"/>
                    <a:pt x="1728" y="2738"/>
                    <a:pt x="1734" y="2744"/>
                  </a:cubicBezTo>
                  <a:cubicBezTo>
                    <a:pt x="1728" y="2749"/>
                    <a:pt x="1723" y="2752"/>
                    <a:pt x="1717" y="2752"/>
                  </a:cubicBezTo>
                  <a:close/>
                  <a:moveTo>
                    <a:pt x="1734" y="135"/>
                  </a:moveTo>
                  <a:cubicBezTo>
                    <a:pt x="1739" y="134"/>
                    <a:pt x="1737" y="137"/>
                    <a:pt x="1735" y="138"/>
                  </a:cubicBezTo>
                  <a:cubicBezTo>
                    <a:pt x="1735" y="141"/>
                    <a:pt x="1732" y="144"/>
                    <a:pt x="1726" y="144"/>
                  </a:cubicBezTo>
                  <a:cubicBezTo>
                    <a:pt x="1726" y="141"/>
                    <a:pt x="1723" y="137"/>
                    <a:pt x="1723" y="135"/>
                  </a:cubicBezTo>
                  <a:cubicBezTo>
                    <a:pt x="1723" y="132"/>
                    <a:pt x="1728" y="130"/>
                    <a:pt x="1734" y="135"/>
                  </a:cubicBezTo>
                  <a:close/>
                  <a:moveTo>
                    <a:pt x="1731" y="37"/>
                  </a:moveTo>
                  <a:cubicBezTo>
                    <a:pt x="1734" y="31"/>
                    <a:pt x="1740" y="45"/>
                    <a:pt x="1731" y="37"/>
                  </a:cubicBezTo>
                  <a:close/>
                  <a:moveTo>
                    <a:pt x="1737" y="2741"/>
                  </a:moveTo>
                  <a:cubicBezTo>
                    <a:pt x="1737" y="2735"/>
                    <a:pt x="1748" y="2744"/>
                    <a:pt x="1737" y="2741"/>
                  </a:cubicBezTo>
                  <a:close/>
                  <a:moveTo>
                    <a:pt x="1743" y="2741"/>
                  </a:moveTo>
                  <a:cubicBezTo>
                    <a:pt x="1743" y="2735"/>
                    <a:pt x="1754" y="2744"/>
                    <a:pt x="1743" y="2741"/>
                  </a:cubicBezTo>
                  <a:close/>
                  <a:moveTo>
                    <a:pt x="1751" y="2656"/>
                  </a:moveTo>
                  <a:lnTo>
                    <a:pt x="1752" y="2656"/>
                  </a:lnTo>
                  <a:cubicBezTo>
                    <a:pt x="1751" y="2657"/>
                    <a:pt x="1751" y="2657"/>
                    <a:pt x="1751" y="2656"/>
                  </a:cubicBezTo>
                  <a:cubicBezTo>
                    <a:pt x="1755" y="2650"/>
                    <a:pt x="1753" y="2655"/>
                    <a:pt x="1752" y="2656"/>
                  </a:cubicBezTo>
                  <a:lnTo>
                    <a:pt x="1751" y="2656"/>
                  </a:lnTo>
                  <a:close/>
                  <a:moveTo>
                    <a:pt x="1748" y="2569"/>
                  </a:moveTo>
                  <a:cubicBezTo>
                    <a:pt x="1745" y="2563"/>
                    <a:pt x="1757" y="2563"/>
                    <a:pt x="1762" y="2563"/>
                  </a:cubicBezTo>
                  <a:cubicBezTo>
                    <a:pt x="1762" y="2569"/>
                    <a:pt x="1754" y="2569"/>
                    <a:pt x="1748" y="2569"/>
                  </a:cubicBezTo>
                  <a:close/>
                  <a:moveTo>
                    <a:pt x="1762" y="149"/>
                  </a:moveTo>
                  <a:cubicBezTo>
                    <a:pt x="1768" y="147"/>
                    <a:pt x="1762" y="161"/>
                    <a:pt x="1762" y="149"/>
                  </a:cubicBezTo>
                  <a:close/>
                  <a:moveTo>
                    <a:pt x="1760" y="195"/>
                  </a:moveTo>
                  <a:cubicBezTo>
                    <a:pt x="1762" y="189"/>
                    <a:pt x="1768" y="186"/>
                    <a:pt x="1774" y="189"/>
                  </a:cubicBezTo>
                  <a:cubicBezTo>
                    <a:pt x="1774" y="195"/>
                    <a:pt x="1765" y="197"/>
                    <a:pt x="1760" y="195"/>
                  </a:cubicBezTo>
                  <a:close/>
                  <a:moveTo>
                    <a:pt x="1774" y="2698"/>
                  </a:moveTo>
                  <a:cubicBezTo>
                    <a:pt x="1765" y="2698"/>
                    <a:pt x="1771" y="2684"/>
                    <a:pt x="1771" y="2679"/>
                  </a:cubicBezTo>
                  <a:cubicBezTo>
                    <a:pt x="1782" y="2682"/>
                    <a:pt x="1774" y="2696"/>
                    <a:pt x="1774" y="2698"/>
                  </a:cubicBezTo>
                  <a:close/>
                  <a:moveTo>
                    <a:pt x="1779" y="2507"/>
                  </a:moveTo>
                  <a:lnTo>
                    <a:pt x="1774" y="2507"/>
                  </a:lnTo>
                  <a:lnTo>
                    <a:pt x="1774" y="2501"/>
                  </a:lnTo>
                  <a:lnTo>
                    <a:pt x="1779" y="2501"/>
                  </a:lnTo>
                  <a:lnTo>
                    <a:pt x="1779" y="2507"/>
                  </a:lnTo>
                  <a:close/>
                  <a:moveTo>
                    <a:pt x="1779" y="2625"/>
                  </a:moveTo>
                  <a:lnTo>
                    <a:pt x="1785" y="2625"/>
                  </a:lnTo>
                  <a:lnTo>
                    <a:pt x="1785" y="2631"/>
                  </a:lnTo>
                  <a:lnTo>
                    <a:pt x="1779" y="2631"/>
                  </a:lnTo>
                  <a:lnTo>
                    <a:pt x="1779" y="2625"/>
                  </a:lnTo>
                  <a:close/>
                  <a:moveTo>
                    <a:pt x="1779" y="2873"/>
                  </a:moveTo>
                  <a:cubicBezTo>
                    <a:pt x="1779" y="2868"/>
                    <a:pt x="1785" y="2862"/>
                    <a:pt x="1791" y="2865"/>
                  </a:cubicBezTo>
                  <a:cubicBezTo>
                    <a:pt x="1791" y="2871"/>
                    <a:pt x="1788" y="2876"/>
                    <a:pt x="1779" y="2873"/>
                  </a:cubicBezTo>
                  <a:close/>
                  <a:moveTo>
                    <a:pt x="1788" y="2854"/>
                  </a:moveTo>
                  <a:cubicBezTo>
                    <a:pt x="1791" y="2848"/>
                    <a:pt x="1793" y="2865"/>
                    <a:pt x="1788" y="2854"/>
                  </a:cubicBezTo>
                  <a:close/>
                  <a:moveTo>
                    <a:pt x="1802" y="2447"/>
                  </a:moveTo>
                  <a:cubicBezTo>
                    <a:pt x="1802" y="2450"/>
                    <a:pt x="1796" y="2453"/>
                    <a:pt x="1793" y="2453"/>
                  </a:cubicBezTo>
                  <a:cubicBezTo>
                    <a:pt x="1793" y="2450"/>
                    <a:pt x="1799" y="2447"/>
                    <a:pt x="1802" y="2447"/>
                  </a:cubicBezTo>
                  <a:close/>
                  <a:moveTo>
                    <a:pt x="1805" y="2625"/>
                  </a:moveTo>
                  <a:lnTo>
                    <a:pt x="1793" y="2625"/>
                  </a:lnTo>
                  <a:cubicBezTo>
                    <a:pt x="1793" y="2620"/>
                    <a:pt x="1807" y="2617"/>
                    <a:pt x="1805" y="2625"/>
                  </a:cubicBezTo>
                  <a:close/>
                  <a:moveTo>
                    <a:pt x="1796" y="2834"/>
                  </a:moveTo>
                  <a:cubicBezTo>
                    <a:pt x="1799" y="2825"/>
                    <a:pt x="1799" y="2842"/>
                    <a:pt x="1796" y="2834"/>
                  </a:cubicBezTo>
                  <a:close/>
                  <a:moveTo>
                    <a:pt x="1802" y="2876"/>
                  </a:moveTo>
                  <a:cubicBezTo>
                    <a:pt x="1802" y="2868"/>
                    <a:pt x="1813" y="2871"/>
                    <a:pt x="1819" y="2871"/>
                  </a:cubicBezTo>
                  <a:cubicBezTo>
                    <a:pt x="1816" y="2876"/>
                    <a:pt x="1807" y="2876"/>
                    <a:pt x="1802" y="2876"/>
                  </a:cubicBezTo>
                  <a:close/>
                  <a:moveTo>
                    <a:pt x="1805" y="2834"/>
                  </a:moveTo>
                  <a:cubicBezTo>
                    <a:pt x="1805" y="2828"/>
                    <a:pt x="1816" y="2831"/>
                    <a:pt x="1822" y="2831"/>
                  </a:cubicBezTo>
                  <a:cubicBezTo>
                    <a:pt x="1822" y="2840"/>
                    <a:pt x="1805" y="2837"/>
                    <a:pt x="1805" y="2834"/>
                  </a:cubicBezTo>
                  <a:close/>
                  <a:moveTo>
                    <a:pt x="1805" y="2366"/>
                  </a:moveTo>
                  <a:cubicBezTo>
                    <a:pt x="1805" y="2360"/>
                    <a:pt x="1824" y="2349"/>
                    <a:pt x="1824" y="2360"/>
                  </a:cubicBezTo>
                  <a:cubicBezTo>
                    <a:pt x="1816" y="2360"/>
                    <a:pt x="1813" y="2366"/>
                    <a:pt x="1805" y="2366"/>
                  </a:cubicBezTo>
                  <a:close/>
                  <a:moveTo>
                    <a:pt x="1839" y="2411"/>
                  </a:moveTo>
                  <a:cubicBezTo>
                    <a:pt x="1839" y="2419"/>
                    <a:pt x="1824" y="2419"/>
                    <a:pt x="1824" y="2411"/>
                  </a:cubicBezTo>
                  <a:cubicBezTo>
                    <a:pt x="1830" y="2408"/>
                    <a:pt x="1833" y="2411"/>
                    <a:pt x="1839" y="2411"/>
                  </a:cubicBezTo>
                  <a:close/>
                  <a:moveTo>
                    <a:pt x="1824" y="2825"/>
                  </a:moveTo>
                  <a:cubicBezTo>
                    <a:pt x="1824" y="2820"/>
                    <a:pt x="1833" y="2820"/>
                    <a:pt x="1839" y="2817"/>
                  </a:cubicBezTo>
                  <a:cubicBezTo>
                    <a:pt x="1836" y="2823"/>
                    <a:pt x="1830" y="2825"/>
                    <a:pt x="1824" y="2825"/>
                  </a:cubicBezTo>
                  <a:close/>
                  <a:moveTo>
                    <a:pt x="1824" y="2696"/>
                  </a:moveTo>
                  <a:cubicBezTo>
                    <a:pt x="1824" y="2693"/>
                    <a:pt x="1841" y="2687"/>
                    <a:pt x="1839" y="2696"/>
                  </a:cubicBezTo>
                  <a:cubicBezTo>
                    <a:pt x="1836" y="2693"/>
                    <a:pt x="1833" y="2698"/>
                    <a:pt x="1824" y="2696"/>
                  </a:cubicBezTo>
                  <a:close/>
                  <a:moveTo>
                    <a:pt x="1847" y="2529"/>
                  </a:moveTo>
                  <a:cubicBezTo>
                    <a:pt x="1839" y="2535"/>
                    <a:pt x="1839" y="2521"/>
                    <a:pt x="1847" y="2529"/>
                  </a:cubicBezTo>
                  <a:close/>
                  <a:moveTo>
                    <a:pt x="1847" y="2871"/>
                  </a:moveTo>
                  <a:cubicBezTo>
                    <a:pt x="1850" y="2862"/>
                    <a:pt x="1850" y="2879"/>
                    <a:pt x="1847" y="2871"/>
                  </a:cubicBezTo>
                  <a:close/>
                  <a:moveTo>
                    <a:pt x="1844" y="2405"/>
                  </a:moveTo>
                  <a:cubicBezTo>
                    <a:pt x="1847" y="2399"/>
                    <a:pt x="1855" y="2408"/>
                    <a:pt x="1844" y="2405"/>
                  </a:cubicBezTo>
                  <a:close/>
                  <a:moveTo>
                    <a:pt x="1850" y="2715"/>
                  </a:moveTo>
                  <a:cubicBezTo>
                    <a:pt x="1850" y="2710"/>
                    <a:pt x="1858" y="2718"/>
                    <a:pt x="1850" y="2715"/>
                  </a:cubicBezTo>
                  <a:close/>
                  <a:moveTo>
                    <a:pt x="2555" y="2431"/>
                  </a:moveTo>
                  <a:cubicBezTo>
                    <a:pt x="2555" y="2425"/>
                    <a:pt x="2564" y="2433"/>
                    <a:pt x="2555" y="2431"/>
                  </a:cubicBezTo>
                  <a:close/>
                  <a:moveTo>
                    <a:pt x="2851" y="1368"/>
                  </a:moveTo>
                  <a:cubicBezTo>
                    <a:pt x="2852" y="1366"/>
                    <a:pt x="2853" y="1365"/>
                    <a:pt x="2854" y="1365"/>
                  </a:cubicBezTo>
                  <a:cubicBezTo>
                    <a:pt x="2853" y="1365"/>
                    <a:pt x="2852" y="1365"/>
                    <a:pt x="2851" y="1365"/>
                  </a:cubicBezTo>
                  <a:lnTo>
                    <a:pt x="2849" y="1365"/>
                  </a:lnTo>
                  <a:cubicBezTo>
                    <a:pt x="2849" y="1362"/>
                    <a:pt x="2851" y="1360"/>
                    <a:pt x="2857" y="1360"/>
                  </a:cubicBezTo>
                  <a:cubicBezTo>
                    <a:pt x="2857" y="1361"/>
                    <a:pt x="2856" y="1363"/>
                    <a:pt x="2855" y="1364"/>
                  </a:cubicBezTo>
                  <a:cubicBezTo>
                    <a:pt x="2862" y="1360"/>
                    <a:pt x="2869" y="1385"/>
                    <a:pt x="2874" y="1371"/>
                  </a:cubicBezTo>
                  <a:cubicBezTo>
                    <a:pt x="2888" y="1385"/>
                    <a:pt x="2846" y="1385"/>
                    <a:pt x="2851" y="1368"/>
                  </a:cubicBezTo>
                  <a:close/>
                  <a:moveTo>
                    <a:pt x="2868" y="1402"/>
                  </a:moveTo>
                  <a:cubicBezTo>
                    <a:pt x="2874" y="1399"/>
                    <a:pt x="2866" y="1402"/>
                    <a:pt x="2868" y="1402"/>
                  </a:cubicBezTo>
                  <a:close/>
                  <a:moveTo>
                    <a:pt x="2866" y="1466"/>
                  </a:moveTo>
                  <a:cubicBezTo>
                    <a:pt x="2880" y="1471"/>
                    <a:pt x="2854" y="1486"/>
                    <a:pt x="2866" y="1466"/>
                  </a:cubicBezTo>
                  <a:close/>
                  <a:moveTo>
                    <a:pt x="2863" y="1635"/>
                  </a:moveTo>
                  <a:cubicBezTo>
                    <a:pt x="2854" y="1615"/>
                    <a:pt x="2874" y="1655"/>
                    <a:pt x="2863" y="1635"/>
                  </a:cubicBezTo>
                  <a:close/>
                  <a:moveTo>
                    <a:pt x="2854" y="1610"/>
                  </a:moveTo>
                  <a:cubicBezTo>
                    <a:pt x="2857" y="1604"/>
                    <a:pt x="2866" y="1615"/>
                    <a:pt x="2854" y="1610"/>
                  </a:cubicBezTo>
                  <a:close/>
                  <a:moveTo>
                    <a:pt x="2863" y="1439"/>
                  </a:moveTo>
                  <a:cubicBezTo>
                    <a:pt x="2857" y="1439"/>
                    <a:pt x="2854" y="1436"/>
                    <a:pt x="2849" y="1436"/>
                  </a:cubicBezTo>
                  <a:cubicBezTo>
                    <a:pt x="2849" y="1436"/>
                    <a:pt x="2866" y="1433"/>
                    <a:pt x="2863" y="1439"/>
                  </a:cubicBezTo>
                  <a:close/>
                  <a:moveTo>
                    <a:pt x="2804" y="1759"/>
                  </a:moveTo>
                  <a:cubicBezTo>
                    <a:pt x="2804" y="1756"/>
                    <a:pt x="2806" y="1756"/>
                    <a:pt x="2809" y="1756"/>
                  </a:cubicBezTo>
                  <a:lnTo>
                    <a:pt x="2815" y="1756"/>
                  </a:lnTo>
                  <a:cubicBezTo>
                    <a:pt x="2815" y="1759"/>
                    <a:pt x="2815" y="1762"/>
                    <a:pt x="2812" y="1762"/>
                  </a:cubicBezTo>
                  <a:cubicBezTo>
                    <a:pt x="2814" y="1762"/>
                    <a:pt x="2812" y="1763"/>
                    <a:pt x="2810" y="1763"/>
                  </a:cubicBezTo>
                  <a:cubicBezTo>
                    <a:pt x="2809" y="1763"/>
                    <a:pt x="2806" y="1765"/>
                    <a:pt x="2804" y="1765"/>
                  </a:cubicBezTo>
                  <a:cubicBezTo>
                    <a:pt x="2801" y="1765"/>
                    <a:pt x="2805" y="1763"/>
                    <a:pt x="2808" y="1762"/>
                  </a:cubicBezTo>
                  <a:cubicBezTo>
                    <a:pt x="2807" y="1762"/>
                    <a:pt x="2805" y="1761"/>
                    <a:pt x="2804" y="1759"/>
                  </a:cubicBezTo>
                  <a:close/>
                  <a:moveTo>
                    <a:pt x="2792" y="1770"/>
                  </a:moveTo>
                  <a:cubicBezTo>
                    <a:pt x="2790" y="1766"/>
                    <a:pt x="2797" y="1767"/>
                    <a:pt x="2798" y="1770"/>
                  </a:cubicBezTo>
                  <a:cubicBezTo>
                    <a:pt x="2799" y="1770"/>
                    <a:pt x="2800" y="1770"/>
                    <a:pt x="2801" y="1770"/>
                  </a:cubicBezTo>
                  <a:cubicBezTo>
                    <a:pt x="2801" y="1768"/>
                    <a:pt x="2804" y="1770"/>
                    <a:pt x="2804" y="1773"/>
                  </a:cubicBezTo>
                  <a:cubicBezTo>
                    <a:pt x="2804" y="1771"/>
                    <a:pt x="2805" y="1772"/>
                    <a:pt x="2805" y="1773"/>
                  </a:cubicBezTo>
                  <a:cubicBezTo>
                    <a:pt x="2812" y="1771"/>
                    <a:pt x="2815" y="1773"/>
                    <a:pt x="2820" y="1776"/>
                  </a:cubicBezTo>
                  <a:cubicBezTo>
                    <a:pt x="2822" y="1775"/>
                    <a:pt x="2825" y="1775"/>
                    <a:pt x="2829" y="1776"/>
                  </a:cubicBezTo>
                  <a:cubicBezTo>
                    <a:pt x="2830" y="1777"/>
                    <a:pt x="2830" y="1778"/>
                    <a:pt x="2831" y="1779"/>
                  </a:cubicBezTo>
                  <a:lnTo>
                    <a:pt x="2832" y="1779"/>
                  </a:lnTo>
                  <a:lnTo>
                    <a:pt x="2832" y="1782"/>
                  </a:lnTo>
                  <a:cubicBezTo>
                    <a:pt x="2837" y="1787"/>
                    <a:pt x="2837" y="1799"/>
                    <a:pt x="2846" y="1804"/>
                  </a:cubicBezTo>
                  <a:cubicBezTo>
                    <a:pt x="2843" y="1812"/>
                    <a:pt x="2824" y="1799"/>
                    <a:pt x="2825" y="1786"/>
                  </a:cubicBezTo>
                  <a:cubicBezTo>
                    <a:pt x="2824" y="1785"/>
                    <a:pt x="2822" y="1785"/>
                    <a:pt x="2820" y="1785"/>
                  </a:cubicBezTo>
                  <a:cubicBezTo>
                    <a:pt x="2818" y="1787"/>
                    <a:pt x="2809" y="1785"/>
                    <a:pt x="2806" y="1782"/>
                  </a:cubicBezTo>
                  <a:cubicBezTo>
                    <a:pt x="2804" y="1785"/>
                    <a:pt x="2804" y="1785"/>
                    <a:pt x="2801" y="1785"/>
                  </a:cubicBezTo>
                  <a:cubicBezTo>
                    <a:pt x="2812" y="1801"/>
                    <a:pt x="2829" y="1804"/>
                    <a:pt x="2829" y="1824"/>
                  </a:cubicBezTo>
                  <a:cubicBezTo>
                    <a:pt x="2809" y="1827"/>
                    <a:pt x="2798" y="1804"/>
                    <a:pt x="2798" y="1785"/>
                  </a:cubicBezTo>
                  <a:cubicBezTo>
                    <a:pt x="2795" y="1785"/>
                    <a:pt x="2792" y="1782"/>
                    <a:pt x="2792" y="1776"/>
                  </a:cubicBezTo>
                  <a:cubicBezTo>
                    <a:pt x="2792" y="1774"/>
                    <a:pt x="2792" y="1773"/>
                    <a:pt x="2793" y="1772"/>
                  </a:cubicBezTo>
                  <a:cubicBezTo>
                    <a:pt x="2793" y="1772"/>
                    <a:pt x="2792" y="1771"/>
                    <a:pt x="2792" y="1770"/>
                  </a:cubicBezTo>
                  <a:close/>
                  <a:moveTo>
                    <a:pt x="2792" y="1762"/>
                  </a:moveTo>
                  <a:cubicBezTo>
                    <a:pt x="2798" y="1756"/>
                    <a:pt x="2789" y="1770"/>
                    <a:pt x="2792" y="1762"/>
                  </a:cubicBezTo>
                  <a:close/>
                  <a:moveTo>
                    <a:pt x="2789" y="1382"/>
                  </a:moveTo>
                  <a:cubicBezTo>
                    <a:pt x="2789" y="1393"/>
                    <a:pt x="2781" y="1405"/>
                    <a:pt x="2770" y="1405"/>
                  </a:cubicBezTo>
                  <a:lnTo>
                    <a:pt x="2761" y="1405"/>
                  </a:lnTo>
                  <a:cubicBezTo>
                    <a:pt x="2764" y="1399"/>
                    <a:pt x="2787" y="1391"/>
                    <a:pt x="2767" y="1385"/>
                  </a:cubicBezTo>
                  <a:cubicBezTo>
                    <a:pt x="2772" y="1379"/>
                    <a:pt x="2778" y="1371"/>
                    <a:pt x="2792" y="1374"/>
                  </a:cubicBezTo>
                  <a:cubicBezTo>
                    <a:pt x="2789" y="1374"/>
                    <a:pt x="2789" y="1377"/>
                    <a:pt x="2789" y="1382"/>
                  </a:cubicBezTo>
                  <a:close/>
                  <a:moveTo>
                    <a:pt x="2778" y="1629"/>
                  </a:moveTo>
                  <a:cubicBezTo>
                    <a:pt x="2764" y="1615"/>
                    <a:pt x="2804" y="1624"/>
                    <a:pt x="2778" y="1629"/>
                  </a:cubicBezTo>
                  <a:close/>
                  <a:moveTo>
                    <a:pt x="2787" y="1666"/>
                  </a:moveTo>
                  <a:cubicBezTo>
                    <a:pt x="2787" y="1672"/>
                    <a:pt x="2781" y="1675"/>
                    <a:pt x="2778" y="1675"/>
                  </a:cubicBezTo>
                  <a:cubicBezTo>
                    <a:pt x="2775" y="1669"/>
                    <a:pt x="2784" y="1666"/>
                    <a:pt x="2787" y="1666"/>
                  </a:cubicBezTo>
                  <a:close/>
                  <a:moveTo>
                    <a:pt x="2784" y="1855"/>
                  </a:moveTo>
                  <a:cubicBezTo>
                    <a:pt x="2784" y="1858"/>
                    <a:pt x="2781" y="1861"/>
                    <a:pt x="2781" y="1861"/>
                  </a:cubicBezTo>
                  <a:cubicBezTo>
                    <a:pt x="2781" y="1864"/>
                    <a:pt x="2778" y="1866"/>
                    <a:pt x="2775" y="1869"/>
                  </a:cubicBezTo>
                  <a:cubicBezTo>
                    <a:pt x="2736" y="1841"/>
                    <a:pt x="2798" y="1827"/>
                    <a:pt x="2784" y="1855"/>
                  </a:cubicBezTo>
                  <a:close/>
                  <a:moveTo>
                    <a:pt x="2725" y="1940"/>
                  </a:moveTo>
                  <a:cubicBezTo>
                    <a:pt x="2736" y="1937"/>
                    <a:pt x="2750" y="1962"/>
                    <a:pt x="2747" y="1968"/>
                  </a:cubicBezTo>
                  <a:lnTo>
                    <a:pt x="2739" y="1959"/>
                  </a:lnTo>
                  <a:lnTo>
                    <a:pt x="2736" y="1959"/>
                  </a:lnTo>
                  <a:cubicBezTo>
                    <a:pt x="2736" y="1959"/>
                    <a:pt x="2739" y="1959"/>
                    <a:pt x="2739" y="1957"/>
                  </a:cubicBezTo>
                  <a:cubicBezTo>
                    <a:pt x="2733" y="1954"/>
                    <a:pt x="2727" y="1948"/>
                    <a:pt x="2725" y="1940"/>
                  </a:cubicBezTo>
                  <a:close/>
                  <a:moveTo>
                    <a:pt x="2600" y="2216"/>
                  </a:moveTo>
                  <a:cubicBezTo>
                    <a:pt x="2603" y="2208"/>
                    <a:pt x="2614" y="2202"/>
                    <a:pt x="2614" y="2188"/>
                  </a:cubicBezTo>
                  <a:cubicBezTo>
                    <a:pt x="2629" y="2194"/>
                    <a:pt x="2609" y="2213"/>
                    <a:pt x="2600" y="2216"/>
                  </a:cubicBezTo>
                  <a:close/>
                  <a:moveTo>
                    <a:pt x="2620" y="2250"/>
                  </a:moveTo>
                  <a:cubicBezTo>
                    <a:pt x="2620" y="2253"/>
                    <a:pt x="2620" y="2253"/>
                    <a:pt x="2617" y="2253"/>
                  </a:cubicBezTo>
                  <a:lnTo>
                    <a:pt x="2614" y="2253"/>
                  </a:lnTo>
                  <a:cubicBezTo>
                    <a:pt x="2612" y="2253"/>
                    <a:pt x="2612" y="2256"/>
                    <a:pt x="2609" y="2253"/>
                  </a:cubicBezTo>
                  <a:lnTo>
                    <a:pt x="2609" y="2250"/>
                  </a:lnTo>
                  <a:cubicBezTo>
                    <a:pt x="2609" y="2247"/>
                    <a:pt x="2606" y="2247"/>
                    <a:pt x="2609" y="2244"/>
                  </a:cubicBezTo>
                  <a:cubicBezTo>
                    <a:pt x="2612" y="2244"/>
                    <a:pt x="2612" y="2244"/>
                    <a:pt x="2612" y="2242"/>
                  </a:cubicBezTo>
                  <a:cubicBezTo>
                    <a:pt x="2614" y="2242"/>
                    <a:pt x="2614" y="2242"/>
                    <a:pt x="2617" y="2244"/>
                  </a:cubicBezTo>
                  <a:cubicBezTo>
                    <a:pt x="2617" y="2247"/>
                    <a:pt x="2620" y="2250"/>
                    <a:pt x="2620" y="2250"/>
                  </a:cubicBezTo>
                  <a:close/>
                  <a:moveTo>
                    <a:pt x="2612" y="2134"/>
                  </a:moveTo>
                  <a:cubicBezTo>
                    <a:pt x="2623" y="2126"/>
                    <a:pt x="2637" y="2143"/>
                    <a:pt x="2646" y="2137"/>
                  </a:cubicBezTo>
                  <a:cubicBezTo>
                    <a:pt x="2648" y="2154"/>
                    <a:pt x="2620" y="2143"/>
                    <a:pt x="2612" y="2134"/>
                  </a:cubicBezTo>
                  <a:close/>
                  <a:moveTo>
                    <a:pt x="2589" y="1444"/>
                  </a:moveTo>
                  <a:cubicBezTo>
                    <a:pt x="2589" y="1441"/>
                    <a:pt x="2595" y="1439"/>
                    <a:pt x="2592" y="1433"/>
                  </a:cubicBezTo>
                  <a:lnTo>
                    <a:pt x="2603" y="1433"/>
                  </a:lnTo>
                  <a:cubicBezTo>
                    <a:pt x="2600" y="1439"/>
                    <a:pt x="2595" y="1441"/>
                    <a:pt x="2589" y="1444"/>
                  </a:cubicBezTo>
                  <a:close/>
                  <a:moveTo>
                    <a:pt x="2600" y="2050"/>
                  </a:moveTo>
                  <a:lnTo>
                    <a:pt x="2592" y="2050"/>
                  </a:lnTo>
                  <a:cubicBezTo>
                    <a:pt x="2589" y="2047"/>
                    <a:pt x="2592" y="2044"/>
                    <a:pt x="2595" y="2041"/>
                  </a:cubicBezTo>
                  <a:cubicBezTo>
                    <a:pt x="2598" y="2041"/>
                    <a:pt x="2600" y="2044"/>
                    <a:pt x="2600" y="2050"/>
                  </a:cubicBezTo>
                  <a:close/>
                  <a:moveTo>
                    <a:pt x="2575" y="2005"/>
                  </a:moveTo>
                  <a:cubicBezTo>
                    <a:pt x="2575" y="1999"/>
                    <a:pt x="2586" y="1999"/>
                    <a:pt x="2589" y="2002"/>
                  </a:cubicBezTo>
                  <a:cubicBezTo>
                    <a:pt x="2583" y="2005"/>
                    <a:pt x="2578" y="2007"/>
                    <a:pt x="2575" y="2005"/>
                  </a:cubicBezTo>
                  <a:close/>
                  <a:moveTo>
                    <a:pt x="2586" y="2098"/>
                  </a:moveTo>
                  <a:cubicBezTo>
                    <a:pt x="2589" y="2098"/>
                    <a:pt x="2584" y="2100"/>
                    <a:pt x="2581" y="2100"/>
                  </a:cubicBezTo>
                  <a:cubicBezTo>
                    <a:pt x="2579" y="2100"/>
                    <a:pt x="2583" y="2098"/>
                    <a:pt x="2586" y="2098"/>
                  </a:cubicBezTo>
                  <a:close/>
                  <a:moveTo>
                    <a:pt x="2533" y="2177"/>
                  </a:moveTo>
                  <a:cubicBezTo>
                    <a:pt x="2519" y="2168"/>
                    <a:pt x="2504" y="2174"/>
                    <a:pt x="2504" y="2157"/>
                  </a:cubicBezTo>
                  <a:cubicBezTo>
                    <a:pt x="2533" y="2134"/>
                    <a:pt x="2547" y="2174"/>
                    <a:pt x="2567" y="2191"/>
                  </a:cubicBezTo>
                  <a:lnTo>
                    <a:pt x="2569" y="2191"/>
                  </a:lnTo>
                  <a:lnTo>
                    <a:pt x="2567" y="2194"/>
                  </a:lnTo>
                  <a:lnTo>
                    <a:pt x="2569" y="2194"/>
                  </a:lnTo>
                  <a:lnTo>
                    <a:pt x="2569" y="2196"/>
                  </a:lnTo>
                  <a:cubicBezTo>
                    <a:pt x="2555" y="2208"/>
                    <a:pt x="2544" y="2182"/>
                    <a:pt x="2533" y="2177"/>
                  </a:cubicBezTo>
                  <a:close/>
                  <a:moveTo>
                    <a:pt x="2552" y="2196"/>
                  </a:moveTo>
                  <a:cubicBezTo>
                    <a:pt x="2555" y="2205"/>
                    <a:pt x="2535" y="2202"/>
                    <a:pt x="2535" y="2196"/>
                  </a:cubicBezTo>
                  <a:cubicBezTo>
                    <a:pt x="2541" y="2194"/>
                    <a:pt x="2547" y="2196"/>
                    <a:pt x="2552" y="2196"/>
                  </a:cubicBezTo>
                  <a:close/>
                  <a:moveTo>
                    <a:pt x="2524" y="2225"/>
                  </a:moveTo>
                  <a:cubicBezTo>
                    <a:pt x="2527" y="2219"/>
                    <a:pt x="2535" y="2227"/>
                    <a:pt x="2524" y="2225"/>
                  </a:cubicBezTo>
                  <a:close/>
                  <a:moveTo>
                    <a:pt x="2530" y="2233"/>
                  </a:moveTo>
                  <a:cubicBezTo>
                    <a:pt x="2527" y="2242"/>
                    <a:pt x="2519" y="2247"/>
                    <a:pt x="2510" y="2247"/>
                  </a:cubicBezTo>
                  <a:cubicBezTo>
                    <a:pt x="2513" y="2244"/>
                    <a:pt x="2516" y="2244"/>
                    <a:pt x="2516" y="2242"/>
                  </a:cubicBezTo>
                  <a:lnTo>
                    <a:pt x="2516" y="2239"/>
                  </a:lnTo>
                  <a:lnTo>
                    <a:pt x="2519" y="2242"/>
                  </a:lnTo>
                  <a:cubicBezTo>
                    <a:pt x="2521" y="2236"/>
                    <a:pt x="2527" y="2233"/>
                    <a:pt x="2530" y="2233"/>
                  </a:cubicBezTo>
                  <a:close/>
                  <a:moveTo>
                    <a:pt x="2473" y="2163"/>
                  </a:moveTo>
                  <a:cubicBezTo>
                    <a:pt x="2473" y="2157"/>
                    <a:pt x="2482" y="2165"/>
                    <a:pt x="2473" y="2163"/>
                  </a:cubicBezTo>
                  <a:close/>
                  <a:moveTo>
                    <a:pt x="2482" y="725"/>
                  </a:moveTo>
                  <a:cubicBezTo>
                    <a:pt x="2479" y="725"/>
                    <a:pt x="2476" y="719"/>
                    <a:pt x="2473" y="719"/>
                  </a:cubicBezTo>
                  <a:cubicBezTo>
                    <a:pt x="2479" y="716"/>
                    <a:pt x="2482" y="711"/>
                    <a:pt x="2485" y="705"/>
                  </a:cubicBezTo>
                  <a:cubicBezTo>
                    <a:pt x="2493" y="714"/>
                    <a:pt x="2482" y="719"/>
                    <a:pt x="2482" y="725"/>
                  </a:cubicBezTo>
                  <a:close/>
                  <a:moveTo>
                    <a:pt x="2482" y="621"/>
                  </a:moveTo>
                  <a:cubicBezTo>
                    <a:pt x="2485" y="621"/>
                    <a:pt x="2487" y="621"/>
                    <a:pt x="2490" y="626"/>
                  </a:cubicBezTo>
                  <a:lnTo>
                    <a:pt x="2490" y="629"/>
                  </a:lnTo>
                  <a:cubicBezTo>
                    <a:pt x="2487" y="626"/>
                    <a:pt x="2482" y="623"/>
                    <a:pt x="2482" y="621"/>
                  </a:cubicBezTo>
                  <a:close/>
                  <a:moveTo>
                    <a:pt x="2490" y="2084"/>
                  </a:moveTo>
                  <a:cubicBezTo>
                    <a:pt x="2485" y="2089"/>
                    <a:pt x="2482" y="2075"/>
                    <a:pt x="2490" y="2084"/>
                  </a:cubicBezTo>
                  <a:close/>
                  <a:moveTo>
                    <a:pt x="2485" y="753"/>
                  </a:moveTo>
                  <a:cubicBezTo>
                    <a:pt x="2490" y="745"/>
                    <a:pt x="2493" y="759"/>
                    <a:pt x="2502" y="756"/>
                  </a:cubicBezTo>
                  <a:cubicBezTo>
                    <a:pt x="2496" y="764"/>
                    <a:pt x="2490" y="756"/>
                    <a:pt x="2485" y="753"/>
                  </a:cubicBezTo>
                  <a:close/>
                  <a:moveTo>
                    <a:pt x="2487" y="556"/>
                  </a:moveTo>
                  <a:lnTo>
                    <a:pt x="2493" y="544"/>
                  </a:lnTo>
                  <a:lnTo>
                    <a:pt x="2490" y="544"/>
                  </a:lnTo>
                  <a:cubicBezTo>
                    <a:pt x="2490" y="542"/>
                    <a:pt x="2493" y="542"/>
                    <a:pt x="2493" y="539"/>
                  </a:cubicBezTo>
                  <a:lnTo>
                    <a:pt x="2493" y="544"/>
                  </a:lnTo>
                  <a:lnTo>
                    <a:pt x="2493" y="547"/>
                  </a:lnTo>
                  <a:cubicBezTo>
                    <a:pt x="2493" y="550"/>
                    <a:pt x="2490" y="553"/>
                    <a:pt x="2487" y="556"/>
                  </a:cubicBezTo>
                  <a:close/>
                  <a:moveTo>
                    <a:pt x="2493" y="716"/>
                  </a:moveTo>
                  <a:lnTo>
                    <a:pt x="2493" y="716"/>
                  </a:lnTo>
                  <a:cubicBezTo>
                    <a:pt x="2494" y="716"/>
                    <a:pt x="2494" y="716"/>
                    <a:pt x="2494" y="715"/>
                  </a:cubicBezTo>
                  <a:cubicBezTo>
                    <a:pt x="2493" y="715"/>
                    <a:pt x="2491" y="716"/>
                    <a:pt x="2493" y="716"/>
                  </a:cubicBezTo>
                  <a:close/>
                  <a:moveTo>
                    <a:pt x="2494" y="715"/>
                  </a:moveTo>
                  <a:cubicBezTo>
                    <a:pt x="2494" y="714"/>
                    <a:pt x="2495" y="713"/>
                    <a:pt x="2496" y="711"/>
                  </a:cubicBezTo>
                  <a:cubicBezTo>
                    <a:pt x="2509" y="716"/>
                    <a:pt x="2490" y="728"/>
                    <a:pt x="2493" y="716"/>
                  </a:cubicBezTo>
                  <a:cubicBezTo>
                    <a:pt x="2494" y="715"/>
                    <a:pt x="2494" y="715"/>
                    <a:pt x="2494" y="715"/>
                  </a:cubicBezTo>
                  <a:close/>
                  <a:moveTo>
                    <a:pt x="2504" y="1847"/>
                  </a:moveTo>
                  <a:lnTo>
                    <a:pt x="2504" y="1852"/>
                  </a:lnTo>
                  <a:lnTo>
                    <a:pt x="2499" y="1852"/>
                  </a:lnTo>
                  <a:lnTo>
                    <a:pt x="2499" y="1847"/>
                  </a:lnTo>
                  <a:lnTo>
                    <a:pt x="2504" y="1847"/>
                  </a:lnTo>
                  <a:close/>
                  <a:moveTo>
                    <a:pt x="2504" y="1999"/>
                  </a:moveTo>
                  <a:cubicBezTo>
                    <a:pt x="2504" y="2002"/>
                    <a:pt x="2502" y="2007"/>
                    <a:pt x="2496" y="2007"/>
                  </a:cubicBezTo>
                  <a:cubicBezTo>
                    <a:pt x="2499" y="2005"/>
                    <a:pt x="2502" y="1999"/>
                    <a:pt x="2504" y="1999"/>
                  </a:cubicBezTo>
                  <a:close/>
                  <a:moveTo>
                    <a:pt x="2504" y="691"/>
                  </a:moveTo>
                  <a:cubicBezTo>
                    <a:pt x="2504" y="685"/>
                    <a:pt x="2513" y="694"/>
                    <a:pt x="2504" y="691"/>
                  </a:cubicBezTo>
                  <a:close/>
                  <a:moveTo>
                    <a:pt x="2507" y="604"/>
                  </a:moveTo>
                  <a:cubicBezTo>
                    <a:pt x="2510" y="601"/>
                    <a:pt x="2502" y="606"/>
                    <a:pt x="2507" y="604"/>
                  </a:cubicBezTo>
                  <a:close/>
                  <a:moveTo>
                    <a:pt x="2544" y="795"/>
                  </a:moveTo>
                  <a:cubicBezTo>
                    <a:pt x="2555" y="810"/>
                    <a:pt x="2527" y="812"/>
                    <a:pt x="2524" y="824"/>
                  </a:cubicBezTo>
                  <a:cubicBezTo>
                    <a:pt x="2510" y="832"/>
                    <a:pt x="2533" y="812"/>
                    <a:pt x="2533" y="798"/>
                  </a:cubicBezTo>
                  <a:cubicBezTo>
                    <a:pt x="2535" y="801"/>
                    <a:pt x="2541" y="798"/>
                    <a:pt x="2544" y="795"/>
                  </a:cubicBezTo>
                  <a:close/>
                  <a:moveTo>
                    <a:pt x="2533" y="700"/>
                  </a:moveTo>
                  <a:cubicBezTo>
                    <a:pt x="2538" y="694"/>
                    <a:pt x="2530" y="705"/>
                    <a:pt x="2533" y="700"/>
                  </a:cubicBezTo>
                  <a:close/>
                  <a:moveTo>
                    <a:pt x="2558" y="787"/>
                  </a:moveTo>
                  <a:cubicBezTo>
                    <a:pt x="2558" y="787"/>
                    <a:pt x="2558" y="790"/>
                    <a:pt x="2558" y="787"/>
                  </a:cubicBezTo>
                  <a:lnTo>
                    <a:pt x="2558" y="793"/>
                  </a:lnTo>
                  <a:cubicBezTo>
                    <a:pt x="2555" y="793"/>
                    <a:pt x="2552" y="795"/>
                    <a:pt x="2550" y="795"/>
                  </a:cubicBezTo>
                  <a:cubicBezTo>
                    <a:pt x="2550" y="795"/>
                    <a:pt x="2552" y="793"/>
                    <a:pt x="2552" y="790"/>
                  </a:cubicBezTo>
                  <a:cubicBezTo>
                    <a:pt x="2555" y="790"/>
                    <a:pt x="2558" y="787"/>
                    <a:pt x="2558" y="787"/>
                  </a:cubicBezTo>
                  <a:close/>
                  <a:moveTo>
                    <a:pt x="2567" y="1581"/>
                  </a:moveTo>
                  <a:cubicBezTo>
                    <a:pt x="2567" y="1587"/>
                    <a:pt x="2561" y="1590"/>
                    <a:pt x="2555" y="1590"/>
                  </a:cubicBezTo>
                  <a:cubicBezTo>
                    <a:pt x="2555" y="1587"/>
                    <a:pt x="2564" y="1584"/>
                    <a:pt x="2567" y="1581"/>
                  </a:cubicBezTo>
                  <a:close/>
                  <a:moveTo>
                    <a:pt x="2564" y="805"/>
                  </a:moveTo>
                  <a:cubicBezTo>
                    <a:pt x="2565" y="804"/>
                    <a:pt x="2567" y="803"/>
                    <a:pt x="2564" y="807"/>
                  </a:cubicBezTo>
                  <a:cubicBezTo>
                    <a:pt x="2563" y="807"/>
                    <a:pt x="2563" y="806"/>
                    <a:pt x="2564" y="805"/>
                  </a:cubicBezTo>
                  <a:close/>
                  <a:moveTo>
                    <a:pt x="2578" y="725"/>
                  </a:moveTo>
                  <a:cubicBezTo>
                    <a:pt x="2581" y="725"/>
                    <a:pt x="2575" y="728"/>
                    <a:pt x="2578" y="725"/>
                  </a:cubicBezTo>
                  <a:close/>
                  <a:moveTo>
                    <a:pt x="2578" y="773"/>
                  </a:moveTo>
                  <a:cubicBezTo>
                    <a:pt x="2578" y="772"/>
                    <a:pt x="2578" y="771"/>
                    <a:pt x="2579" y="771"/>
                  </a:cubicBezTo>
                  <a:cubicBezTo>
                    <a:pt x="2579" y="768"/>
                    <a:pt x="2579" y="765"/>
                    <a:pt x="2581" y="762"/>
                  </a:cubicBezTo>
                  <a:cubicBezTo>
                    <a:pt x="2592" y="764"/>
                    <a:pt x="2600" y="767"/>
                    <a:pt x="2609" y="767"/>
                  </a:cubicBezTo>
                  <a:cubicBezTo>
                    <a:pt x="2606" y="773"/>
                    <a:pt x="2603" y="776"/>
                    <a:pt x="2598" y="779"/>
                  </a:cubicBezTo>
                  <a:lnTo>
                    <a:pt x="2600" y="779"/>
                  </a:lnTo>
                  <a:cubicBezTo>
                    <a:pt x="2599" y="779"/>
                    <a:pt x="2599" y="781"/>
                    <a:pt x="2598" y="782"/>
                  </a:cubicBezTo>
                  <a:cubicBezTo>
                    <a:pt x="2600" y="783"/>
                    <a:pt x="2604" y="784"/>
                    <a:pt x="2606" y="784"/>
                  </a:cubicBezTo>
                  <a:cubicBezTo>
                    <a:pt x="2603" y="795"/>
                    <a:pt x="2598" y="801"/>
                    <a:pt x="2589" y="798"/>
                  </a:cubicBezTo>
                  <a:cubicBezTo>
                    <a:pt x="2589" y="794"/>
                    <a:pt x="2590" y="790"/>
                    <a:pt x="2592" y="786"/>
                  </a:cubicBezTo>
                  <a:cubicBezTo>
                    <a:pt x="2591" y="787"/>
                    <a:pt x="2590" y="787"/>
                    <a:pt x="2589" y="787"/>
                  </a:cubicBezTo>
                  <a:cubicBezTo>
                    <a:pt x="2589" y="784"/>
                    <a:pt x="2592" y="781"/>
                    <a:pt x="2592" y="781"/>
                  </a:cubicBezTo>
                  <a:cubicBezTo>
                    <a:pt x="2586" y="781"/>
                    <a:pt x="2581" y="779"/>
                    <a:pt x="2579" y="773"/>
                  </a:cubicBezTo>
                  <a:lnTo>
                    <a:pt x="2578" y="773"/>
                  </a:lnTo>
                  <a:close/>
                  <a:moveTo>
                    <a:pt x="2589" y="784"/>
                  </a:moveTo>
                  <a:cubicBezTo>
                    <a:pt x="2586" y="798"/>
                    <a:pt x="2572" y="795"/>
                    <a:pt x="2564" y="795"/>
                  </a:cubicBezTo>
                  <a:cubicBezTo>
                    <a:pt x="2572" y="790"/>
                    <a:pt x="2578" y="781"/>
                    <a:pt x="2589" y="784"/>
                  </a:cubicBezTo>
                  <a:close/>
                  <a:moveTo>
                    <a:pt x="2603" y="716"/>
                  </a:moveTo>
                  <a:cubicBezTo>
                    <a:pt x="2609" y="719"/>
                    <a:pt x="2600" y="722"/>
                    <a:pt x="2600" y="728"/>
                  </a:cubicBezTo>
                  <a:cubicBezTo>
                    <a:pt x="2592" y="722"/>
                    <a:pt x="2603" y="719"/>
                    <a:pt x="2603" y="716"/>
                  </a:cubicBezTo>
                  <a:close/>
                  <a:moveTo>
                    <a:pt x="2634" y="1207"/>
                  </a:moveTo>
                  <a:cubicBezTo>
                    <a:pt x="2637" y="1207"/>
                    <a:pt x="2643" y="1210"/>
                    <a:pt x="2646" y="1210"/>
                  </a:cubicBezTo>
                  <a:cubicBezTo>
                    <a:pt x="2646" y="1221"/>
                    <a:pt x="2640" y="1224"/>
                    <a:pt x="2631" y="1221"/>
                  </a:cubicBezTo>
                  <a:cubicBezTo>
                    <a:pt x="2634" y="1219"/>
                    <a:pt x="2634" y="1213"/>
                    <a:pt x="2634" y="1207"/>
                  </a:cubicBezTo>
                  <a:close/>
                  <a:moveTo>
                    <a:pt x="2631" y="1204"/>
                  </a:moveTo>
                  <a:cubicBezTo>
                    <a:pt x="2631" y="1204"/>
                    <a:pt x="2634" y="1202"/>
                    <a:pt x="2637" y="1202"/>
                  </a:cubicBezTo>
                  <a:lnTo>
                    <a:pt x="2637" y="1204"/>
                  </a:lnTo>
                  <a:cubicBezTo>
                    <a:pt x="2634" y="1207"/>
                    <a:pt x="2631" y="1204"/>
                    <a:pt x="2631" y="1204"/>
                  </a:cubicBezTo>
                  <a:close/>
                  <a:moveTo>
                    <a:pt x="2646" y="1314"/>
                  </a:moveTo>
                  <a:cubicBezTo>
                    <a:pt x="2657" y="1303"/>
                    <a:pt x="2668" y="1340"/>
                    <a:pt x="2643" y="1329"/>
                  </a:cubicBezTo>
                  <a:cubicBezTo>
                    <a:pt x="2646" y="1326"/>
                    <a:pt x="2651" y="1317"/>
                    <a:pt x="2646" y="1314"/>
                  </a:cubicBezTo>
                  <a:close/>
                  <a:moveTo>
                    <a:pt x="2716" y="1365"/>
                  </a:moveTo>
                  <a:cubicBezTo>
                    <a:pt x="2719" y="1365"/>
                    <a:pt x="2725" y="1365"/>
                    <a:pt x="2727" y="1368"/>
                  </a:cubicBezTo>
                  <a:cubicBezTo>
                    <a:pt x="2727" y="1371"/>
                    <a:pt x="2710" y="1374"/>
                    <a:pt x="2716" y="1365"/>
                  </a:cubicBezTo>
                  <a:close/>
                  <a:moveTo>
                    <a:pt x="2730" y="1382"/>
                  </a:moveTo>
                  <a:cubicBezTo>
                    <a:pt x="2727" y="1385"/>
                    <a:pt x="2725" y="1388"/>
                    <a:pt x="2722" y="1388"/>
                  </a:cubicBezTo>
                  <a:cubicBezTo>
                    <a:pt x="2719" y="1382"/>
                    <a:pt x="2727" y="1385"/>
                    <a:pt x="2730" y="1382"/>
                  </a:cubicBezTo>
                  <a:close/>
                  <a:moveTo>
                    <a:pt x="2710" y="1455"/>
                  </a:moveTo>
                  <a:cubicBezTo>
                    <a:pt x="2696" y="1441"/>
                    <a:pt x="2736" y="1447"/>
                    <a:pt x="2710" y="1455"/>
                  </a:cubicBezTo>
                  <a:close/>
                  <a:moveTo>
                    <a:pt x="2750" y="1517"/>
                  </a:moveTo>
                  <a:cubicBezTo>
                    <a:pt x="2747" y="1519"/>
                    <a:pt x="2756" y="1514"/>
                    <a:pt x="2750" y="1517"/>
                  </a:cubicBezTo>
                  <a:close/>
                  <a:moveTo>
                    <a:pt x="2756" y="1528"/>
                  </a:moveTo>
                  <a:cubicBezTo>
                    <a:pt x="2741" y="1531"/>
                    <a:pt x="2758" y="1514"/>
                    <a:pt x="2756" y="1528"/>
                  </a:cubicBezTo>
                  <a:close/>
                  <a:moveTo>
                    <a:pt x="2753" y="1691"/>
                  </a:moveTo>
                  <a:cubicBezTo>
                    <a:pt x="2753" y="1689"/>
                    <a:pt x="2753" y="1683"/>
                    <a:pt x="2758" y="1672"/>
                  </a:cubicBezTo>
                  <a:cubicBezTo>
                    <a:pt x="2767" y="1686"/>
                    <a:pt x="2758" y="1700"/>
                    <a:pt x="2756" y="1694"/>
                  </a:cubicBezTo>
                  <a:cubicBezTo>
                    <a:pt x="2753" y="1697"/>
                    <a:pt x="2741" y="1694"/>
                    <a:pt x="2744" y="1689"/>
                  </a:cubicBezTo>
                  <a:cubicBezTo>
                    <a:pt x="2747" y="1691"/>
                    <a:pt x="2750" y="1691"/>
                    <a:pt x="2753" y="1691"/>
                  </a:cubicBezTo>
                  <a:close/>
                  <a:moveTo>
                    <a:pt x="2758" y="1441"/>
                  </a:moveTo>
                  <a:cubicBezTo>
                    <a:pt x="2764" y="1447"/>
                    <a:pt x="2767" y="1453"/>
                    <a:pt x="2764" y="1460"/>
                  </a:cubicBezTo>
                  <a:cubicBezTo>
                    <a:pt x="2753" y="1460"/>
                    <a:pt x="2756" y="1450"/>
                    <a:pt x="2758" y="1441"/>
                  </a:cubicBezTo>
                  <a:close/>
                  <a:moveTo>
                    <a:pt x="2761" y="1601"/>
                  </a:moveTo>
                  <a:cubicBezTo>
                    <a:pt x="2772" y="1610"/>
                    <a:pt x="2747" y="1624"/>
                    <a:pt x="2761" y="1601"/>
                  </a:cubicBezTo>
                  <a:close/>
                  <a:moveTo>
                    <a:pt x="2744" y="1683"/>
                  </a:moveTo>
                  <a:cubicBezTo>
                    <a:pt x="2741" y="1683"/>
                    <a:pt x="2741" y="1677"/>
                    <a:pt x="2741" y="1675"/>
                  </a:cubicBezTo>
                  <a:cubicBezTo>
                    <a:pt x="2750" y="1675"/>
                    <a:pt x="2750" y="1680"/>
                    <a:pt x="2744" y="1683"/>
                  </a:cubicBezTo>
                  <a:close/>
                  <a:moveTo>
                    <a:pt x="2741" y="1601"/>
                  </a:moveTo>
                  <a:cubicBezTo>
                    <a:pt x="2741" y="1598"/>
                    <a:pt x="2744" y="1593"/>
                    <a:pt x="2750" y="1593"/>
                  </a:cubicBezTo>
                  <a:lnTo>
                    <a:pt x="2750" y="1598"/>
                  </a:lnTo>
                  <a:cubicBezTo>
                    <a:pt x="2747" y="1601"/>
                    <a:pt x="2744" y="1601"/>
                    <a:pt x="2741" y="1601"/>
                  </a:cubicBezTo>
                  <a:close/>
                  <a:moveTo>
                    <a:pt x="2741" y="1517"/>
                  </a:moveTo>
                  <a:cubicBezTo>
                    <a:pt x="2750" y="1508"/>
                    <a:pt x="2750" y="1522"/>
                    <a:pt x="2741" y="1517"/>
                  </a:cubicBezTo>
                  <a:close/>
                  <a:moveTo>
                    <a:pt x="2741" y="1463"/>
                  </a:moveTo>
                  <a:cubicBezTo>
                    <a:pt x="2741" y="1457"/>
                    <a:pt x="2747" y="1457"/>
                    <a:pt x="2747" y="1456"/>
                  </a:cubicBezTo>
                  <a:cubicBezTo>
                    <a:pt x="2750" y="1457"/>
                    <a:pt x="2744" y="1466"/>
                    <a:pt x="2741" y="1463"/>
                  </a:cubicBezTo>
                  <a:close/>
                  <a:moveTo>
                    <a:pt x="2750" y="1528"/>
                  </a:moveTo>
                  <a:cubicBezTo>
                    <a:pt x="2747" y="1531"/>
                    <a:pt x="2744" y="1536"/>
                    <a:pt x="2741" y="1536"/>
                  </a:cubicBezTo>
                  <a:cubicBezTo>
                    <a:pt x="2739" y="1531"/>
                    <a:pt x="2744" y="1528"/>
                    <a:pt x="2750" y="1528"/>
                  </a:cubicBezTo>
                  <a:close/>
                  <a:moveTo>
                    <a:pt x="2739" y="1878"/>
                  </a:moveTo>
                  <a:cubicBezTo>
                    <a:pt x="2739" y="1878"/>
                    <a:pt x="2736" y="1872"/>
                    <a:pt x="2739" y="1869"/>
                  </a:cubicBezTo>
                  <a:cubicBezTo>
                    <a:pt x="2741" y="1869"/>
                    <a:pt x="2744" y="1880"/>
                    <a:pt x="2739" y="1878"/>
                  </a:cubicBezTo>
                  <a:close/>
                  <a:moveTo>
                    <a:pt x="2739" y="1553"/>
                  </a:moveTo>
                  <a:lnTo>
                    <a:pt x="2733" y="1553"/>
                  </a:lnTo>
                  <a:lnTo>
                    <a:pt x="2733" y="1548"/>
                  </a:lnTo>
                  <a:lnTo>
                    <a:pt x="2739" y="1548"/>
                  </a:lnTo>
                  <a:lnTo>
                    <a:pt x="2739" y="1553"/>
                  </a:lnTo>
                  <a:close/>
                  <a:moveTo>
                    <a:pt x="2736" y="1612"/>
                  </a:moveTo>
                  <a:lnTo>
                    <a:pt x="2736" y="1618"/>
                  </a:lnTo>
                  <a:lnTo>
                    <a:pt x="2730" y="1618"/>
                  </a:lnTo>
                  <a:lnTo>
                    <a:pt x="2730" y="1612"/>
                  </a:lnTo>
                  <a:lnTo>
                    <a:pt x="2736" y="1612"/>
                  </a:lnTo>
                  <a:close/>
                  <a:moveTo>
                    <a:pt x="2733" y="1691"/>
                  </a:moveTo>
                  <a:cubicBezTo>
                    <a:pt x="2733" y="1697"/>
                    <a:pt x="2725" y="1697"/>
                    <a:pt x="2722" y="1700"/>
                  </a:cubicBezTo>
                  <a:cubicBezTo>
                    <a:pt x="2722" y="1694"/>
                    <a:pt x="2727" y="1691"/>
                    <a:pt x="2733" y="1691"/>
                  </a:cubicBezTo>
                  <a:close/>
                  <a:moveTo>
                    <a:pt x="2713" y="1804"/>
                  </a:moveTo>
                  <a:cubicBezTo>
                    <a:pt x="2722" y="1804"/>
                    <a:pt x="2730" y="1810"/>
                    <a:pt x="2730" y="1818"/>
                  </a:cubicBezTo>
                  <a:lnTo>
                    <a:pt x="2730" y="1821"/>
                  </a:lnTo>
                  <a:cubicBezTo>
                    <a:pt x="2722" y="1821"/>
                    <a:pt x="2705" y="1813"/>
                    <a:pt x="2713" y="1804"/>
                  </a:cubicBezTo>
                  <a:close/>
                  <a:moveTo>
                    <a:pt x="2727" y="1861"/>
                  </a:moveTo>
                  <a:cubicBezTo>
                    <a:pt x="2725" y="1861"/>
                    <a:pt x="2722" y="1858"/>
                    <a:pt x="2719" y="1855"/>
                  </a:cubicBezTo>
                  <a:cubicBezTo>
                    <a:pt x="2719" y="1852"/>
                    <a:pt x="2722" y="1852"/>
                    <a:pt x="2722" y="1849"/>
                  </a:cubicBezTo>
                  <a:cubicBezTo>
                    <a:pt x="2727" y="1852"/>
                    <a:pt x="2730" y="1855"/>
                    <a:pt x="2727" y="1861"/>
                  </a:cubicBezTo>
                  <a:close/>
                  <a:moveTo>
                    <a:pt x="2699" y="1945"/>
                  </a:moveTo>
                  <a:cubicBezTo>
                    <a:pt x="2699" y="1943"/>
                    <a:pt x="2702" y="1940"/>
                    <a:pt x="2702" y="1934"/>
                  </a:cubicBezTo>
                  <a:lnTo>
                    <a:pt x="2710" y="1934"/>
                  </a:lnTo>
                  <a:cubicBezTo>
                    <a:pt x="2710" y="1940"/>
                    <a:pt x="2705" y="1945"/>
                    <a:pt x="2699" y="1945"/>
                  </a:cubicBezTo>
                  <a:close/>
                  <a:moveTo>
                    <a:pt x="2699" y="1982"/>
                  </a:moveTo>
                  <a:cubicBezTo>
                    <a:pt x="2699" y="1976"/>
                    <a:pt x="2708" y="1988"/>
                    <a:pt x="2699" y="1982"/>
                  </a:cubicBezTo>
                  <a:close/>
                  <a:moveTo>
                    <a:pt x="2710" y="1739"/>
                  </a:moveTo>
                  <a:cubicBezTo>
                    <a:pt x="2705" y="1739"/>
                    <a:pt x="2705" y="1734"/>
                    <a:pt x="2699" y="1734"/>
                  </a:cubicBezTo>
                  <a:cubicBezTo>
                    <a:pt x="2699" y="1731"/>
                    <a:pt x="2705" y="1731"/>
                    <a:pt x="2710" y="1731"/>
                  </a:cubicBezTo>
                  <a:cubicBezTo>
                    <a:pt x="2713" y="1734"/>
                    <a:pt x="2713" y="1737"/>
                    <a:pt x="2710" y="1739"/>
                  </a:cubicBezTo>
                  <a:close/>
                  <a:moveTo>
                    <a:pt x="2688" y="1312"/>
                  </a:moveTo>
                  <a:cubicBezTo>
                    <a:pt x="2691" y="1298"/>
                    <a:pt x="2702" y="1298"/>
                    <a:pt x="2708" y="1306"/>
                  </a:cubicBezTo>
                  <a:cubicBezTo>
                    <a:pt x="2702" y="1312"/>
                    <a:pt x="2693" y="1314"/>
                    <a:pt x="2688" y="1312"/>
                  </a:cubicBezTo>
                  <a:close/>
                  <a:moveTo>
                    <a:pt x="2699" y="1343"/>
                  </a:moveTo>
                  <a:cubicBezTo>
                    <a:pt x="2702" y="1343"/>
                    <a:pt x="2696" y="1345"/>
                    <a:pt x="2699" y="1343"/>
                  </a:cubicBezTo>
                  <a:close/>
                  <a:moveTo>
                    <a:pt x="2685" y="1235"/>
                  </a:moveTo>
                  <a:cubicBezTo>
                    <a:pt x="2688" y="1238"/>
                    <a:pt x="2691" y="1244"/>
                    <a:pt x="2696" y="1244"/>
                  </a:cubicBezTo>
                  <a:cubicBezTo>
                    <a:pt x="2696" y="1247"/>
                    <a:pt x="2693" y="1252"/>
                    <a:pt x="2691" y="1255"/>
                  </a:cubicBezTo>
                  <a:cubicBezTo>
                    <a:pt x="2687" y="1254"/>
                    <a:pt x="2684" y="1253"/>
                    <a:pt x="2681" y="1252"/>
                  </a:cubicBezTo>
                  <a:cubicBezTo>
                    <a:pt x="2683" y="1257"/>
                    <a:pt x="2668" y="1266"/>
                    <a:pt x="2676" y="1251"/>
                  </a:cubicBezTo>
                  <a:cubicBezTo>
                    <a:pt x="2675" y="1250"/>
                    <a:pt x="2674" y="1250"/>
                    <a:pt x="2674" y="1250"/>
                  </a:cubicBezTo>
                  <a:cubicBezTo>
                    <a:pt x="2679" y="1247"/>
                    <a:pt x="2685" y="1241"/>
                    <a:pt x="2685" y="1235"/>
                  </a:cubicBezTo>
                  <a:close/>
                  <a:moveTo>
                    <a:pt x="2674" y="1244"/>
                  </a:moveTo>
                  <a:cubicBezTo>
                    <a:pt x="2677" y="1238"/>
                    <a:pt x="2682" y="1252"/>
                    <a:pt x="2674" y="1244"/>
                  </a:cubicBezTo>
                  <a:close/>
                  <a:moveTo>
                    <a:pt x="2691" y="1264"/>
                  </a:moveTo>
                  <a:cubicBezTo>
                    <a:pt x="2691" y="1258"/>
                    <a:pt x="2702" y="1267"/>
                    <a:pt x="2691" y="1264"/>
                  </a:cubicBezTo>
                  <a:close/>
                  <a:moveTo>
                    <a:pt x="2705" y="1244"/>
                  </a:moveTo>
                  <a:cubicBezTo>
                    <a:pt x="2699" y="1247"/>
                    <a:pt x="2708" y="1241"/>
                    <a:pt x="2705" y="1244"/>
                  </a:cubicBezTo>
                  <a:close/>
                  <a:moveTo>
                    <a:pt x="2705" y="1385"/>
                  </a:moveTo>
                  <a:cubicBezTo>
                    <a:pt x="2705" y="1379"/>
                    <a:pt x="2716" y="1388"/>
                    <a:pt x="2705" y="1385"/>
                  </a:cubicBezTo>
                  <a:close/>
                  <a:moveTo>
                    <a:pt x="2710" y="1227"/>
                  </a:moveTo>
                  <a:lnTo>
                    <a:pt x="2709" y="1226"/>
                  </a:lnTo>
                  <a:cubicBezTo>
                    <a:pt x="2710" y="1226"/>
                    <a:pt x="2712" y="1226"/>
                    <a:pt x="2710" y="1227"/>
                  </a:cubicBezTo>
                  <a:cubicBezTo>
                    <a:pt x="2708" y="1227"/>
                    <a:pt x="2708" y="1226"/>
                    <a:pt x="2709" y="1226"/>
                  </a:cubicBezTo>
                  <a:lnTo>
                    <a:pt x="2710" y="1227"/>
                  </a:lnTo>
                  <a:close/>
                  <a:moveTo>
                    <a:pt x="2710" y="1396"/>
                  </a:moveTo>
                  <a:cubicBezTo>
                    <a:pt x="2716" y="1399"/>
                    <a:pt x="2710" y="1408"/>
                    <a:pt x="2710" y="1410"/>
                  </a:cubicBezTo>
                  <a:cubicBezTo>
                    <a:pt x="2702" y="1408"/>
                    <a:pt x="2713" y="1402"/>
                    <a:pt x="2710" y="1396"/>
                  </a:cubicBezTo>
                  <a:close/>
                  <a:moveTo>
                    <a:pt x="2705" y="1669"/>
                  </a:moveTo>
                  <a:cubicBezTo>
                    <a:pt x="2710" y="1660"/>
                    <a:pt x="2713" y="1675"/>
                    <a:pt x="2705" y="1669"/>
                  </a:cubicBezTo>
                  <a:close/>
                  <a:moveTo>
                    <a:pt x="2710" y="1632"/>
                  </a:moveTo>
                  <a:cubicBezTo>
                    <a:pt x="2713" y="1627"/>
                    <a:pt x="2722" y="1624"/>
                    <a:pt x="2722" y="1629"/>
                  </a:cubicBezTo>
                  <a:cubicBezTo>
                    <a:pt x="2725" y="1632"/>
                    <a:pt x="2713" y="1629"/>
                    <a:pt x="2710" y="1632"/>
                  </a:cubicBezTo>
                  <a:close/>
                  <a:moveTo>
                    <a:pt x="2713" y="1354"/>
                  </a:moveTo>
                  <a:cubicBezTo>
                    <a:pt x="2699" y="1348"/>
                    <a:pt x="2727" y="1334"/>
                    <a:pt x="2713" y="1354"/>
                  </a:cubicBezTo>
                  <a:close/>
                  <a:moveTo>
                    <a:pt x="2713" y="812"/>
                  </a:moveTo>
                  <a:cubicBezTo>
                    <a:pt x="2705" y="812"/>
                    <a:pt x="2699" y="804"/>
                    <a:pt x="2702" y="795"/>
                  </a:cubicBezTo>
                  <a:cubicBezTo>
                    <a:pt x="2702" y="793"/>
                    <a:pt x="2702" y="793"/>
                    <a:pt x="2705" y="790"/>
                  </a:cubicBezTo>
                  <a:cubicBezTo>
                    <a:pt x="2713" y="790"/>
                    <a:pt x="2719" y="798"/>
                    <a:pt x="2716" y="807"/>
                  </a:cubicBezTo>
                  <a:cubicBezTo>
                    <a:pt x="2713" y="810"/>
                    <a:pt x="2713" y="812"/>
                    <a:pt x="2713" y="812"/>
                  </a:cubicBezTo>
                  <a:close/>
                  <a:moveTo>
                    <a:pt x="2702" y="1182"/>
                  </a:moveTo>
                  <a:lnTo>
                    <a:pt x="2699" y="1182"/>
                  </a:lnTo>
                  <a:lnTo>
                    <a:pt x="2699" y="1179"/>
                  </a:lnTo>
                  <a:cubicBezTo>
                    <a:pt x="2702" y="1179"/>
                    <a:pt x="2702" y="1182"/>
                    <a:pt x="2702" y="1182"/>
                  </a:cubicBezTo>
                  <a:close/>
                  <a:moveTo>
                    <a:pt x="2699" y="1207"/>
                  </a:moveTo>
                  <a:cubicBezTo>
                    <a:pt x="2691" y="1204"/>
                    <a:pt x="2679" y="1199"/>
                    <a:pt x="2677" y="1207"/>
                  </a:cubicBezTo>
                  <a:cubicBezTo>
                    <a:pt x="2662" y="1190"/>
                    <a:pt x="2710" y="1179"/>
                    <a:pt x="2699" y="1207"/>
                  </a:cubicBezTo>
                  <a:close/>
                  <a:moveTo>
                    <a:pt x="2682" y="1385"/>
                  </a:moveTo>
                  <a:lnTo>
                    <a:pt x="2677" y="1385"/>
                  </a:lnTo>
                  <a:cubicBezTo>
                    <a:pt x="2677" y="1382"/>
                    <a:pt x="2677" y="1382"/>
                    <a:pt x="2674" y="1382"/>
                  </a:cubicBezTo>
                  <a:cubicBezTo>
                    <a:pt x="2674" y="1379"/>
                    <a:pt x="2685" y="1382"/>
                    <a:pt x="2682" y="1385"/>
                  </a:cubicBezTo>
                  <a:close/>
                  <a:moveTo>
                    <a:pt x="2657" y="1317"/>
                  </a:moveTo>
                  <a:cubicBezTo>
                    <a:pt x="2651" y="1295"/>
                    <a:pt x="2671" y="1334"/>
                    <a:pt x="2657" y="1317"/>
                  </a:cubicBezTo>
                  <a:close/>
                  <a:moveTo>
                    <a:pt x="2657" y="1275"/>
                  </a:moveTo>
                  <a:cubicBezTo>
                    <a:pt x="2657" y="1269"/>
                    <a:pt x="2665" y="1281"/>
                    <a:pt x="2657" y="1275"/>
                  </a:cubicBezTo>
                  <a:close/>
                  <a:moveTo>
                    <a:pt x="2668" y="1396"/>
                  </a:moveTo>
                  <a:lnTo>
                    <a:pt x="2662" y="1396"/>
                  </a:lnTo>
                  <a:lnTo>
                    <a:pt x="2662" y="1391"/>
                  </a:lnTo>
                  <a:lnTo>
                    <a:pt x="2668" y="1391"/>
                  </a:lnTo>
                  <a:lnTo>
                    <a:pt x="2668" y="1396"/>
                  </a:lnTo>
                  <a:close/>
                  <a:moveTo>
                    <a:pt x="2660" y="1494"/>
                  </a:moveTo>
                  <a:cubicBezTo>
                    <a:pt x="2679" y="1486"/>
                    <a:pt x="2643" y="1505"/>
                    <a:pt x="2660" y="1494"/>
                  </a:cubicBezTo>
                  <a:close/>
                  <a:moveTo>
                    <a:pt x="2677" y="1500"/>
                  </a:moveTo>
                  <a:cubicBezTo>
                    <a:pt x="2674" y="1502"/>
                    <a:pt x="2671" y="1508"/>
                    <a:pt x="2665" y="1508"/>
                  </a:cubicBezTo>
                  <a:cubicBezTo>
                    <a:pt x="2665" y="1505"/>
                    <a:pt x="2671" y="1500"/>
                    <a:pt x="2677" y="1500"/>
                  </a:cubicBezTo>
                  <a:close/>
                  <a:moveTo>
                    <a:pt x="2665" y="1154"/>
                  </a:moveTo>
                  <a:cubicBezTo>
                    <a:pt x="2665" y="1151"/>
                    <a:pt x="2668" y="1148"/>
                    <a:pt x="2671" y="1148"/>
                  </a:cubicBezTo>
                  <a:lnTo>
                    <a:pt x="2674" y="1148"/>
                  </a:lnTo>
                  <a:cubicBezTo>
                    <a:pt x="2674" y="1151"/>
                    <a:pt x="2668" y="1154"/>
                    <a:pt x="2665" y="1154"/>
                  </a:cubicBezTo>
                  <a:close/>
                  <a:moveTo>
                    <a:pt x="2662" y="1261"/>
                  </a:moveTo>
                  <a:cubicBezTo>
                    <a:pt x="2671" y="1258"/>
                    <a:pt x="2660" y="1269"/>
                    <a:pt x="2662" y="1261"/>
                  </a:cubicBezTo>
                  <a:close/>
                  <a:moveTo>
                    <a:pt x="2665" y="1171"/>
                  </a:moveTo>
                  <a:cubicBezTo>
                    <a:pt x="2671" y="1188"/>
                    <a:pt x="2651" y="1154"/>
                    <a:pt x="2665" y="1171"/>
                  </a:cubicBezTo>
                  <a:close/>
                  <a:moveTo>
                    <a:pt x="2660" y="1185"/>
                  </a:moveTo>
                  <a:cubicBezTo>
                    <a:pt x="2654" y="1188"/>
                    <a:pt x="2662" y="1182"/>
                    <a:pt x="2660" y="1185"/>
                  </a:cubicBezTo>
                  <a:close/>
                  <a:moveTo>
                    <a:pt x="2657" y="1199"/>
                  </a:moveTo>
                  <a:cubicBezTo>
                    <a:pt x="2640" y="1193"/>
                    <a:pt x="2668" y="1179"/>
                    <a:pt x="2657" y="1199"/>
                  </a:cubicBezTo>
                  <a:close/>
                  <a:moveTo>
                    <a:pt x="2598" y="1323"/>
                  </a:moveTo>
                  <a:cubicBezTo>
                    <a:pt x="2609" y="1323"/>
                    <a:pt x="2606" y="1334"/>
                    <a:pt x="2620" y="1334"/>
                  </a:cubicBezTo>
                  <a:cubicBezTo>
                    <a:pt x="2620" y="1345"/>
                    <a:pt x="2586" y="1337"/>
                    <a:pt x="2598" y="1323"/>
                  </a:cubicBezTo>
                  <a:close/>
                  <a:moveTo>
                    <a:pt x="2600" y="1348"/>
                  </a:moveTo>
                  <a:cubicBezTo>
                    <a:pt x="2595" y="1345"/>
                    <a:pt x="2603" y="1340"/>
                    <a:pt x="2600" y="1337"/>
                  </a:cubicBezTo>
                  <a:cubicBezTo>
                    <a:pt x="2606" y="1337"/>
                    <a:pt x="2598" y="1345"/>
                    <a:pt x="2600" y="1348"/>
                  </a:cubicBezTo>
                  <a:close/>
                  <a:moveTo>
                    <a:pt x="2595" y="1182"/>
                  </a:moveTo>
                  <a:cubicBezTo>
                    <a:pt x="2595" y="1185"/>
                    <a:pt x="2589" y="1188"/>
                    <a:pt x="2586" y="1185"/>
                  </a:cubicBezTo>
                  <a:cubicBezTo>
                    <a:pt x="2586" y="1182"/>
                    <a:pt x="2586" y="1179"/>
                    <a:pt x="2589" y="1176"/>
                  </a:cubicBezTo>
                  <a:cubicBezTo>
                    <a:pt x="2583" y="1165"/>
                    <a:pt x="2609" y="1171"/>
                    <a:pt x="2595" y="1182"/>
                  </a:cubicBezTo>
                  <a:close/>
                  <a:moveTo>
                    <a:pt x="2598" y="1190"/>
                  </a:moveTo>
                  <a:cubicBezTo>
                    <a:pt x="2598" y="1185"/>
                    <a:pt x="2606" y="1193"/>
                    <a:pt x="2598" y="1190"/>
                  </a:cubicBezTo>
                  <a:close/>
                  <a:moveTo>
                    <a:pt x="2598" y="1289"/>
                  </a:moveTo>
                  <a:cubicBezTo>
                    <a:pt x="2598" y="1283"/>
                    <a:pt x="2606" y="1292"/>
                    <a:pt x="2598" y="1289"/>
                  </a:cubicBezTo>
                  <a:close/>
                  <a:moveTo>
                    <a:pt x="2617" y="1162"/>
                  </a:moveTo>
                  <a:cubicBezTo>
                    <a:pt x="2614" y="1162"/>
                    <a:pt x="2603" y="1156"/>
                    <a:pt x="2614" y="1151"/>
                  </a:cubicBezTo>
                  <a:cubicBezTo>
                    <a:pt x="2617" y="1148"/>
                    <a:pt x="2620" y="1145"/>
                    <a:pt x="2623" y="1145"/>
                  </a:cubicBezTo>
                  <a:cubicBezTo>
                    <a:pt x="2637" y="1145"/>
                    <a:pt x="2629" y="1171"/>
                    <a:pt x="2617" y="1162"/>
                  </a:cubicBezTo>
                  <a:close/>
                  <a:moveTo>
                    <a:pt x="2629" y="801"/>
                  </a:moveTo>
                  <a:lnTo>
                    <a:pt x="2628" y="800"/>
                  </a:lnTo>
                  <a:cubicBezTo>
                    <a:pt x="2628" y="799"/>
                    <a:pt x="2631" y="797"/>
                    <a:pt x="2629" y="801"/>
                  </a:cubicBezTo>
                  <a:cubicBezTo>
                    <a:pt x="2628" y="801"/>
                    <a:pt x="2628" y="801"/>
                    <a:pt x="2628" y="800"/>
                  </a:cubicBezTo>
                  <a:lnTo>
                    <a:pt x="2629" y="801"/>
                  </a:lnTo>
                  <a:close/>
                  <a:moveTo>
                    <a:pt x="2623" y="1320"/>
                  </a:moveTo>
                  <a:cubicBezTo>
                    <a:pt x="2623" y="1312"/>
                    <a:pt x="2631" y="1323"/>
                    <a:pt x="2623" y="1320"/>
                  </a:cubicBezTo>
                  <a:close/>
                  <a:moveTo>
                    <a:pt x="2631" y="1340"/>
                  </a:moveTo>
                  <a:lnTo>
                    <a:pt x="2623" y="1340"/>
                  </a:lnTo>
                  <a:lnTo>
                    <a:pt x="2623" y="1334"/>
                  </a:lnTo>
                  <a:cubicBezTo>
                    <a:pt x="2629" y="1334"/>
                    <a:pt x="2631" y="1337"/>
                    <a:pt x="2631" y="1340"/>
                  </a:cubicBezTo>
                  <a:close/>
                  <a:moveTo>
                    <a:pt x="2623" y="1227"/>
                  </a:moveTo>
                  <a:lnTo>
                    <a:pt x="2623" y="1221"/>
                  </a:lnTo>
                  <a:lnTo>
                    <a:pt x="2629" y="1221"/>
                  </a:lnTo>
                  <a:lnTo>
                    <a:pt x="2629" y="1227"/>
                  </a:lnTo>
                  <a:lnTo>
                    <a:pt x="2623" y="1227"/>
                  </a:lnTo>
                  <a:close/>
                  <a:moveTo>
                    <a:pt x="2623" y="1168"/>
                  </a:moveTo>
                  <a:cubicBezTo>
                    <a:pt x="2626" y="1162"/>
                    <a:pt x="2634" y="1171"/>
                    <a:pt x="2623" y="1168"/>
                  </a:cubicBezTo>
                  <a:close/>
                  <a:moveTo>
                    <a:pt x="2631" y="1413"/>
                  </a:moveTo>
                  <a:cubicBezTo>
                    <a:pt x="2631" y="1419"/>
                    <a:pt x="2623" y="1419"/>
                    <a:pt x="2617" y="1422"/>
                  </a:cubicBezTo>
                  <a:cubicBezTo>
                    <a:pt x="2620" y="1419"/>
                    <a:pt x="2626" y="1410"/>
                    <a:pt x="2631" y="1413"/>
                  </a:cubicBezTo>
                  <a:close/>
                  <a:moveTo>
                    <a:pt x="2609" y="1173"/>
                  </a:moveTo>
                  <a:cubicBezTo>
                    <a:pt x="2612" y="1173"/>
                    <a:pt x="2606" y="1176"/>
                    <a:pt x="2609" y="1173"/>
                  </a:cubicBezTo>
                  <a:close/>
                  <a:moveTo>
                    <a:pt x="2606" y="790"/>
                  </a:moveTo>
                  <a:cubicBezTo>
                    <a:pt x="2612" y="787"/>
                    <a:pt x="2603" y="793"/>
                    <a:pt x="2606" y="790"/>
                  </a:cubicBezTo>
                  <a:close/>
                  <a:moveTo>
                    <a:pt x="2606" y="1275"/>
                  </a:moveTo>
                  <a:cubicBezTo>
                    <a:pt x="2609" y="1275"/>
                    <a:pt x="2600" y="1278"/>
                    <a:pt x="2606" y="1275"/>
                  </a:cubicBezTo>
                  <a:close/>
                  <a:moveTo>
                    <a:pt x="2612" y="1419"/>
                  </a:moveTo>
                  <a:cubicBezTo>
                    <a:pt x="2626" y="1424"/>
                    <a:pt x="2600" y="1439"/>
                    <a:pt x="2612" y="1419"/>
                  </a:cubicBezTo>
                  <a:close/>
                  <a:moveTo>
                    <a:pt x="2603" y="1517"/>
                  </a:moveTo>
                  <a:cubicBezTo>
                    <a:pt x="2612" y="1511"/>
                    <a:pt x="2614" y="1525"/>
                    <a:pt x="2603" y="1517"/>
                  </a:cubicBezTo>
                  <a:close/>
                  <a:moveTo>
                    <a:pt x="2612" y="1500"/>
                  </a:moveTo>
                  <a:cubicBezTo>
                    <a:pt x="2609" y="1500"/>
                    <a:pt x="2612" y="1488"/>
                    <a:pt x="2614" y="1491"/>
                  </a:cubicBezTo>
                  <a:cubicBezTo>
                    <a:pt x="2617" y="1495"/>
                    <a:pt x="2612" y="1494"/>
                    <a:pt x="2612" y="1500"/>
                  </a:cubicBezTo>
                  <a:close/>
                  <a:moveTo>
                    <a:pt x="2623" y="1343"/>
                  </a:moveTo>
                  <a:cubicBezTo>
                    <a:pt x="2617" y="1348"/>
                    <a:pt x="2609" y="1340"/>
                    <a:pt x="2623" y="1343"/>
                  </a:cubicBezTo>
                  <a:close/>
                  <a:moveTo>
                    <a:pt x="2629" y="1508"/>
                  </a:moveTo>
                  <a:cubicBezTo>
                    <a:pt x="2629" y="1514"/>
                    <a:pt x="2623" y="1514"/>
                    <a:pt x="2617" y="1514"/>
                  </a:cubicBezTo>
                  <a:cubicBezTo>
                    <a:pt x="2620" y="1511"/>
                    <a:pt x="2626" y="1508"/>
                    <a:pt x="2629" y="1508"/>
                  </a:cubicBezTo>
                  <a:close/>
                  <a:moveTo>
                    <a:pt x="2623" y="1618"/>
                  </a:moveTo>
                  <a:cubicBezTo>
                    <a:pt x="2626" y="1618"/>
                    <a:pt x="2623" y="1624"/>
                    <a:pt x="2623" y="1627"/>
                  </a:cubicBezTo>
                  <a:cubicBezTo>
                    <a:pt x="2620" y="1627"/>
                    <a:pt x="2620" y="1621"/>
                    <a:pt x="2623" y="1618"/>
                  </a:cubicBezTo>
                  <a:close/>
                  <a:moveTo>
                    <a:pt x="2629" y="2123"/>
                  </a:moveTo>
                  <a:cubicBezTo>
                    <a:pt x="2629" y="2126"/>
                    <a:pt x="2623" y="2129"/>
                    <a:pt x="2620" y="2129"/>
                  </a:cubicBezTo>
                  <a:cubicBezTo>
                    <a:pt x="2623" y="2126"/>
                    <a:pt x="2626" y="2123"/>
                    <a:pt x="2629" y="2123"/>
                  </a:cubicBezTo>
                  <a:close/>
                  <a:moveTo>
                    <a:pt x="2626" y="1962"/>
                  </a:moveTo>
                  <a:cubicBezTo>
                    <a:pt x="2623" y="1959"/>
                    <a:pt x="2620" y="1957"/>
                    <a:pt x="2623" y="1954"/>
                  </a:cubicBezTo>
                  <a:cubicBezTo>
                    <a:pt x="2626" y="1954"/>
                    <a:pt x="2626" y="1954"/>
                    <a:pt x="2629" y="1957"/>
                  </a:cubicBezTo>
                  <a:cubicBezTo>
                    <a:pt x="2629" y="1957"/>
                    <a:pt x="2629" y="1959"/>
                    <a:pt x="2626" y="1962"/>
                  </a:cubicBezTo>
                  <a:close/>
                  <a:moveTo>
                    <a:pt x="2626" y="1439"/>
                  </a:moveTo>
                  <a:cubicBezTo>
                    <a:pt x="2626" y="1436"/>
                    <a:pt x="2629" y="1430"/>
                    <a:pt x="2629" y="1427"/>
                  </a:cubicBezTo>
                  <a:cubicBezTo>
                    <a:pt x="2631" y="1427"/>
                    <a:pt x="2637" y="1430"/>
                    <a:pt x="2640" y="1430"/>
                  </a:cubicBezTo>
                  <a:cubicBezTo>
                    <a:pt x="2640" y="1433"/>
                    <a:pt x="2640" y="1439"/>
                    <a:pt x="2637" y="1441"/>
                  </a:cubicBezTo>
                  <a:cubicBezTo>
                    <a:pt x="2634" y="1441"/>
                    <a:pt x="2629" y="1439"/>
                    <a:pt x="2626" y="1439"/>
                  </a:cubicBezTo>
                  <a:close/>
                  <a:moveTo>
                    <a:pt x="2640" y="1377"/>
                  </a:moveTo>
                  <a:cubicBezTo>
                    <a:pt x="2654" y="1382"/>
                    <a:pt x="2629" y="1396"/>
                    <a:pt x="2640" y="1377"/>
                  </a:cubicBezTo>
                  <a:close/>
                  <a:moveTo>
                    <a:pt x="2637" y="1289"/>
                  </a:moveTo>
                  <a:cubicBezTo>
                    <a:pt x="2646" y="1286"/>
                    <a:pt x="2634" y="1298"/>
                    <a:pt x="2637" y="1289"/>
                  </a:cubicBezTo>
                  <a:close/>
                  <a:moveTo>
                    <a:pt x="2637" y="1511"/>
                  </a:moveTo>
                  <a:cubicBezTo>
                    <a:pt x="2637" y="1505"/>
                    <a:pt x="2646" y="1502"/>
                    <a:pt x="2648" y="1505"/>
                  </a:cubicBezTo>
                  <a:cubicBezTo>
                    <a:pt x="2648" y="1508"/>
                    <a:pt x="2643" y="1511"/>
                    <a:pt x="2637" y="1511"/>
                  </a:cubicBezTo>
                  <a:close/>
                  <a:moveTo>
                    <a:pt x="2637" y="1545"/>
                  </a:moveTo>
                  <a:cubicBezTo>
                    <a:pt x="2640" y="1539"/>
                    <a:pt x="2648" y="1548"/>
                    <a:pt x="2637" y="1545"/>
                  </a:cubicBezTo>
                  <a:close/>
                  <a:moveTo>
                    <a:pt x="2643" y="1497"/>
                  </a:moveTo>
                  <a:cubicBezTo>
                    <a:pt x="2637" y="1494"/>
                    <a:pt x="2640" y="1480"/>
                    <a:pt x="2648" y="1483"/>
                  </a:cubicBezTo>
                  <a:cubicBezTo>
                    <a:pt x="2648" y="1488"/>
                    <a:pt x="2643" y="1494"/>
                    <a:pt x="2643" y="1497"/>
                  </a:cubicBezTo>
                  <a:close/>
                  <a:moveTo>
                    <a:pt x="2634" y="1447"/>
                  </a:moveTo>
                  <a:cubicBezTo>
                    <a:pt x="2637" y="1447"/>
                    <a:pt x="2629" y="1450"/>
                    <a:pt x="2634" y="1447"/>
                  </a:cubicBezTo>
                  <a:close/>
                  <a:moveTo>
                    <a:pt x="2629" y="1889"/>
                  </a:moveTo>
                  <a:cubicBezTo>
                    <a:pt x="2634" y="1883"/>
                    <a:pt x="2631" y="1897"/>
                    <a:pt x="2629" y="1889"/>
                  </a:cubicBezTo>
                  <a:close/>
                  <a:moveTo>
                    <a:pt x="2646" y="2067"/>
                  </a:moveTo>
                  <a:cubicBezTo>
                    <a:pt x="2648" y="2075"/>
                    <a:pt x="2634" y="2072"/>
                    <a:pt x="2631" y="2069"/>
                  </a:cubicBezTo>
                  <a:cubicBezTo>
                    <a:pt x="2631" y="2064"/>
                    <a:pt x="2640" y="2067"/>
                    <a:pt x="2646" y="2067"/>
                  </a:cubicBezTo>
                  <a:close/>
                  <a:moveTo>
                    <a:pt x="2634" y="2055"/>
                  </a:moveTo>
                  <a:cubicBezTo>
                    <a:pt x="2634" y="2053"/>
                    <a:pt x="2634" y="2050"/>
                    <a:pt x="2637" y="2050"/>
                  </a:cubicBezTo>
                  <a:cubicBezTo>
                    <a:pt x="2643" y="2047"/>
                    <a:pt x="2654" y="2053"/>
                    <a:pt x="2651" y="2061"/>
                  </a:cubicBezTo>
                  <a:cubicBezTo>
                    <a:pt x="2643" y="2061"/>
                    <a:pt x="2637" y="2061"/>
                    <a:pt x="2634" y="2055"/>
                  </a:cubicBezTo>
                  <a:close/>
                  <a:moveTo>
                    <a:pt x="2643" y="1999"/>
                  </a:moveTo>
                  <a:cubicBezTo>
                    <a:pt x="2646" y="1996"/>
                    <a:pt x="2651" y="2010"/>
                    <a:pt x="2643" y="2007"/>
                  </a:cubicBezTo>
                  <a:cubicBezTo>
                    <a:pt x="2643" y="2005"/>
                    <a:pt x="2640" y="1999"/>
                    <a:pt x="2643" y="1999"/>
                  </a:cubicBezTo>
                  <a:close/>
                  <a:moveTo>
                    <a:pt x="2643" y="1914"/>
                  </a:moveTo>
                  <a:cubicBezTo>
                    <a:pt x="2646" y="1909"/>
                    <a:pt x="2654" y="1920"/>
                    <a:pt x="2643" y="1914"/>
                  </a:cubicBezTo>
                  <a:close/>
                  <a:moveTo>
                    <a:pt x="2637" y="1827"/>
                  </a:moveTo>
                  <a:cubicBezTo>
                    <a:pt x="2637" y="1824"/>
                    <a:pt x="2637" y="1824"/>
                    <a:pt x="2640" y="1821"/>
                  </a:cubicBezTo>
                  <a:cubicBezTo>
                    <a:pt x="2646" y="1821"/>
                    <a:pt x="2651" y="1821"/>
                    <a:pt x="2654" y="1824"/>
                  </a:cubicBezTo>
                  <a:cubicBezTo>
                    <a:pt x="2654" y="1827"/>
                    <a:pt x="2657" y="1830"/>
                    <a:pt x="2657" y="1832"/>
                  </a:cubicBezTo>
                  <a:lnTo>
                    <a:pt x="2654" y="1832"/>
                  </a:lnTo>
                  <a:cubicBezTo>
                    <a:pt x="2646" y="1832"/>
                    <a:pt x="2637" y="1830"/>
                    <a:pt x="2637" y="1827"/>
                  </a:cubicBezTo>
                  <a:close/>
                  <a:moveTo>
                    <a:pt x="2637" y="1728"/>
                  </a:moveTo>
                  <a:cubicBezTo>
                    <a:pt x="2637" y="1725"/>
                    <a:pt x="2648" y="1728"/>
                    <a:pt x="2654" y="1728"/>
                  </a:cubicBezTo>
                  <a:cubicBezTo>
                    <a:pt x="2657" y="1737"/>
                    <a:pt x="2640" y="1734"/>
                    <a:pt x="2637" y="1728"/>
                  </a:cubicBezTo>
                  <a:close/>
                  <a:moveTo>
                    <a:pt x="2648" y="1483"/>
                  </a:moveTo>
                  <a:cubicBezTo>
                    <a:pt x="2648" y="1480"/>
                    <a:pt x="2654" y="1477"/>
                    <a:pt x="2657" y="1477"/>
                  </a:cubicBezTo>
                  <a:cubicBezTo>
                    <a:pt x="2654" y="1480"/>
                    <a:pt x="2651" y="1483"/>
                    <a:pt x="2648" y="1483"/>
                  </a:cubicBezTo>
                  <a:close/>
                  <a:moveTo>
                    <a:pt x="2654" y="2024"/>
                  </a:moveTo>
                  <a:lnTo>
                    <a:pt x="2660" y="2024"/>
                  </a:lnTo>
                  <a:lnTo>
                    <a:pt x="2660" y="2030"/>
                  </a:lnTo>
                  <a:lnTo>
                    <a:pt x="2654" y="2030"/>
                  </a:lnTo>
                  <a:lnTo>
                    <a:pt x="2654" y="2024"/>
                  </a:lnTo>
                  <a:close/>
                  <a:moveTo>
                    <a:pt x="2648" y="1419"/>
                  </a:moveTo>
                  <a:cubicBezTo>
                    <a:pt x="2637" y="1413"/>
                    <a:pt x="2654" y="1393"/>
                    <a:pt x="2657" y="1408"/>
                  </a:cubicBezTo>
                  <a:cubicBezTo>
                    <a:pt x="2654" y="1413"/>
                    <a:pt x="2648" y="1413"/>
                    <a:pt x="2648" y="1419"/>
                  </a:cubicBezTo>
                  <a:close/>
                  <a:moveTo>
                    <a:pt x="2629" y="1360"/>
                  </a:moveTo>
                  <a:cubicBezTo>
                    <a:pt x="2643" y="1368"/>
                    <a:pt x="2614" y="1382"/>
                    <a:pt x="2629" y="1360"/>
                  </a:cubicBezTo>
                  <a:close/>
                  <a:moveTo>
                    <a:pt x="2626" y="1267"/>
                  </a:moveTo>
                  <a:cubicBezTo>
                    <a:pt x="2631" y="1258"/>
                    <a:pt x="2629" y="1275"/>
                    <a:pt x="2626" y="1267"/>
                  </a:cubicBezTo>
                  <a:close/>
                  <a:moveTo>
                    <a:pt x="2609" y="784"/>
                  </a:moveTo>
                  <a:cubicBezTo>
                    <a:pt x="2609" y="781"/>
                    <a:pt x="2612" y="779"/>
                    <a:pt x="2612" y="779"/>
                  </a:cubicBezTo>
                  <a:cubicBezTo>
                    <a:pt x="2614" y="776"/>
                    <a:pt x="2620" y="773"/>
                    <a:pt x="2620" y="776"/>
                  </a:cubicBezTo>
                  <a:cubicBezTo>
                    <a:pt x="2623" y="776"/>
                    <a:pt x="2626" y="779"/>
                    <a:pt x="2631" y="781"/>
                  </a:cubicBezTo>
                  <a:cubicBezTo>
                    <a:pt x="2631" y="793"/>
                    <a:pt x="2617" y="784"/>
                    <a:pt x="2609" y="784"/>
                  </a:cubicBezTo>
                  <a:close/>
                  <a:moveTo>
                    <a:pt x="2612" y="736"/>
                  </a:moveTo>
                  <a:cubicBezTo>
                    <a:pt x="2614" y="733"/>
                    <a:pt x="2617" y="736"/>
                    <a:pt x="2617" y="736"/>
                  </a:cubicBezTo>
                  <a:cubicBezTo>
                    <a:pt x="2614" y="736"/>
                    <a:pt x="2595" y="750"/>
                    <a:pt x="2612" y="736"/>
                  </a:cubicBezTo>
                  <a:close/>
                  <a:moveTo>
                    <a:pt x="2612" y="728"/>
                  </a:moveTo>
                  <a:cubicBezTo>
                    <a:pt x="2598" y="722"/>
                    <a:pt x="2626" y="708"/>
                    <a:pt x="2612" y="728"/>
                  </a:cubicBezTo>
                  <a:close/>
                  <a:moveTo>
                    <a:pt x="2567" y="1455"/>
                  </a:moveTo>
                  <a:cubicBezTo>
                    <a:pt x="2569" y="1453"/>
                    <a:pt x="2572" y="1447"/>
                    <a:pt x="2578" y="1447"/>
                  </a:cubicBezTo>
                  <a:lnTo>
                    <a:pt x="2578" y="1453"/>
                  </a:lnTo>
                  <a:cubicBezTo>
                    <a:pt x="2572" y="1455"/>
                    <a:pt x="2569" y="1455"/>
                    <a:pt x="2567" y="1455"/>
                  </a:cubicBezTo>
                  <a:close/>
                  <a:moveTo>
                    <a:pt x="2569" y="1666"/>
                  </a:moveTo>
                  <a:cubicBezTo>
                    <a:pt x="2569" y="1660"/>
                    <a:pt x="2581" y="1669"/>
                    <a:pt x="2569" y="1666"/>
                  </a:cubicBezTo>
                  <a:close/>
                  <a:moveTo>
                    <a:pt x="2572" y="1708"/>
                  </a:moveTo>
                  <a:cubicBezTo>
                    <a:pt x="2572" y="1711"/>
                    <a:pt x="2567" y="1714"/>
                    <a:pt x="2564" y="1714"/>
                  </a:cubicBezTo>
                  <a:cubicBezTo>
                    <a:pt x="2567" y="1711"/>
                    <a:pt x="2569" y="1708"/>
                    <a:pt x="2572" y="1708"/>
                  </a:cubicBezTo>
                  <a:close/>
                  <a:moveTo>
                    <a:pt x="2572" y="1329"/>
                  </a:moveTo>
                  <a:cubicBezTo>
                    <a:pt x="2569" y="1323"/>
                    <a:pt x="2581" y="1326"/>
                    <a:pt x="2578" y="1320"/>
                  </a:cubicBezTo>
                  <a:cubicBezTo>
                    <a:pt x="2583" y="1323"/>
                    <a:pt x="2578" y="1329"/>
                    <a:pt x="2572" y="1329"/>
                  </a:cubicBezTo>
                  <a:close/>
                  <a:moveTo>
                    <a:pt x="2578" y="1804"/>
                  </a:moveTo>
                  <a:cubicBezTo>
                    <a:pt x="2583" y="1804"/>
                    <a:pt x="2581" y="1813"/>
                    <a:pt x="2578" y="1816"/>
                  </a:cubicBezTo>
                  <a:cubicBezTo>
                    <a:pt x="2575" y="1813"/>
                    <a:pt x="2581" y="1807"/>
                    <a:pt x="2578" y="1804"/>
                  </a:cubicBezTo>
                  <a:close/>
                  <a:moveTo>
                    <a:pt x="2578" y="1300"/>
                  </a:moveTo>
                  <a:cubicBezTo>
                    <a:pt x="2575" y="1295"/>
                    <a:pt x="2586" y="1292"/>
                    <a:pt x="2586" y="1298"/>
                  </a:cubicBezTo>
                  <a:cubicBezTo>
                    <a:pt x="2581" y="1295"/>
                    <a:pt x="2583" y="1303"/>
                    <a:pt x="2578" y="1300"/>
                  </a:cubicBezTo>
                  <a:close/>
                  <a:moveTo>
                    <a:pt x="2575" y="1286"/>
                  </a:moveTo>
                  <a:lnTo>
                    <a:pt x="2576" y="1287"/>
                  </a:lnTo>
                  <a:cubicBezTo>
                    <a:pt x="2575" y="1288"/>
                    <a:pt x="2573" y="1290"/>
                    <a:pt x="2575" y="1286"/>
                  </a:cubicBezTo>
                  <a:cubicBezTo>
                    <a:pt x="2576" y="1286"/>
                    <a:pt x="2576" y="1287"/>
                    <a:pt x="2576" y="1287"/>
                  </a:cubicBezTo>
                  <a:lnTo>
                    <a:pt x="2575" y="1286"/>
                  </a:lnTo>
                  <a:close/>
                  <a:moveTo>
                    <a:pt x="2583" y="1283"/>
                  </a:moveTo>
                  <a:cubicBezTo>
                    <a:pt x="2589" y="1292"/>
                    <a:pt x="2575" y="1292"/>
                    <a:pt x="2583" y="1283"/>
                  </a:cubicBezTo>
                  <a:close/>
                  <a:moveTo>
                    <a:pt x="2586" y="1134"/>
                  </a:moveTo>
                  <a:cubicBezTo>
                    <a:pt x="2583" y="1134"/>
                    <a:pt x="2589" y="1131"/>
                    <a:pt x="2586" y="1134"/>
                  </a:cubicBezTo>
                  <a:close/>
                  <a:moveTo>
                    <a:pt x="2572" y="1216"/>
                  </a:moveTo>
                  <a:cubicBezTo>
                    <a:pt x="2578" y="1227"/>
                    <a:pt x="2578" y="1238"/>
                    <a:pt x="2575" y="1250"/>
                  </a:cubicBezTo>
                  <a:cubicBezTo>
                    <a:pt x="2555" y="1247"/>
                    <a:pt x="2572" y="1224"/>
                    <a:pt x="2572" y="1216"/>
                  </a:cubicBezTo>
                  <a:close/>
                  <a:moveTo>
                    <a:pt x="2555" y="1869"/>
                  </a:moveTo>
                  <a:cubicBezTo>
                    <a:pt x="2561" y="1869"/>
                    <a:pt x="2558" y="1880"/>
                    <a:pt x="2552" y="1880"/>
                  </a:cubicBezTo>
                  <a:cubicBezTo>
                    <a:pt x="2552" y="1878"/>
                    <a:pt x="2555" y="1872"/>
                    <a:pt x="2555" y="1869"/>
                  </a:cubicBezTo>
                  <a:close/>
                  <a:moveTo>
                    <a:pt x="2552" y="1852"/>
                  </a:moveTo>
                  <a:cubicBezTo>
                    <a:pt x="2552" y="1849"/>
                    <a:pt x="2558" y="1847"/>
                    <a:pt x="2561" y="1847"/>
                  </a:cubicBezTo>
                  <a:cubicBezTo>
                    <a:pt x="2561" y="1849"/>
                    <a:pt x="2555" y="1852"/>
                    <a:pt x="2552" y="1852"/>
                  </a:cubicBezTo>
                  <a:close/>
                  <a:moveTo>
                    <a:pt x="2555" y="2146"/>
                  </a:moveTo>
                  <a:cubicBezTo>
                    <a:pt x="2558" y="2146"/>
                    <a:pt x="2558" y="2146"/>
                    <a:pt x="2561" y="2148"/>
                  </a:cubicBezTo>
                  <a:cubicBezTo>
                    <a:pt x="2561" y="2148"/>
                    <a:pt x="2561" y="2151"/>
                    <a:pt x="2564" y="2151"/>
                  </a:cubicBezTo>
                  <a:cubicBezTo>
                    <a:pt x="2564" y="2154"/>
                    <a:pt x="2567" y="2154"/>
                    <a:pt x="2564" y="2157"/>
                  </a:cubicBezTo>
                  <a:cubicBezTo>
                    <a:pt x="2561" y="2157"/>
                    <a:pt x="2561" y="2154"/>
                    <a:pt x="2561" y="2157"/>
                  </a:cubicBezTo>
                  <a:cubicBezTo>
                    <a:pt x="2558" y="2157"/>
                    <a:pt x="2558" y="2160"/>
                    <a:pt x="2555" y="2157"/>
                  </a:cubicBezTo>
                  <a:lnTo>
                    <a:pt x="2552" y="2154"/>
                  </a:lnTo>
                  <a:cubicBezTo>
                    <a:pt x="2552" y="2151"/>
                    <a:pt x="2552" y="2151"/>
                    <a:pt x="2555" y="2148"/>
                  </a:cubicBezTo>
                  <a:cubicBezTo>
                    <a:pt x="2552" y="2146"/>
                    <a:pt x="2555" y="2146"/>
                    <a:pt x="2555" y="2146"/>
                  </a:cubicBezTo>
                  <a:close/>
                  <a:moveTo>
                    <a:pt x="2558" y="2033"/>
                  </a:moveTo>
                  <a:cubicBezTo>
                    <a:pt x="2561" y="2027"/>
                    <a:pt x="2567" y="2041"/>
                    <a:pt x="2558" y="2033"/>
                  </a:cubicBezTo>
                  <a:close/>
                  <a:moveTo>
                    <a:pt x="2555" y="1188"/>
                  </a:moveTo>
                  <a:cubicBezTo>
                    <a:pt x="2550" y="1188"/>
                    <a:pt x="2558" y="1176"/>
                    <a:pt x="2561" y="1182"/>
                  </a:cubicBezTo>
                  <a:cubicBezTo>
                    <a:pt x="2561" y="1185"/>
                    <a:pt x="2555" y="1185"/>
                    <a:pt x="2555" y="1188"/>
                  </a:cubicBezTo>
                  <a:close/>
                  <a:moveTo>
                    <a:pt x="2538" y="1497"/>
                  </a:moveTo>
                  <a:cubicBezTo>
                    <a:pt x="2541" y="1491"/>
                    <a:pt x="2550" y="1500"/>
                    <a:pt x="2552" y="1494"/>
                  </a:cubicBezTo>
                  <a:cubicBezTo>
                    <a:pt x="2561" y="1500"/>
                    <a:pt x="2538" y="1505"/>
                    <a:pt x="2538" y="1497"/>
                  </a:cubicBezTo>
                  <a:close/>
                  <a:moveTo>
                    <a:pt x="2547" y="1525"/>
                  </a:moveTo>
                  <a:cubicBezTo>
                    <a:pt x="2538" y="1522"/>
                    <a:pt x="2544" y="1511"/>
                    <a:pt x="2550" y="1511"/>
                  </a:cubicBezTo>
                  <a:cubicBezTo>
                    <a:pt x="2552" y="1517"/>
                    <a:pt x="2547" y="1519"/>
                    <a:pt x="2547" y="1525"/>
                  </a:cubicBezTo>
                  <a:close/>
                  <a:moveTo>
                    <a:pt x="2541" y="1711"/>
                  </a:moveTo>
                  <a:cubicBezTo>
                    <a:pt x="2541" y="1708"/>
                    <a:pt x="2544" y="1706"/>
                    <a:pt x="2544" y="1703"/>
                  </a:cubicBezTo>
                  <a:cubicBezTo>
                    <a:pt x="2547" y="1700"/>
                    <a:pt x="2547" y="1714"/>
                    <a:pt x="2541" y="1711"/>
                  </a:cubicBezTo>
                  <a:close/>
                  <a:moveTo>
                    <a:pt x="2544" y="1292"/>
                  </a:moveTo>
                  <a:lnTo>
                    <a:pt x="2535" y="1292"/>
                  </a:lnTo>
                  <a:lnTo>
                    <a:pt x="2535" y="1286"/>
                  </a:lnTo>
                  <a:cubicBezTo>
                    <a:pt x="2538" y="1286"/>
                    <a:pt x="2544" y="1289"/>
                    <a:pt x="2544" y="1292"/>
                  </a:cubicBezTo>
                  <a:close/>
                  <a:moveTo>
                    <a:pt x="2535" y="1244"/>
                  </a:moveTo>
                  <a:lnTo>
                    <a:pt x="2544" y="1244"/>
                  </a:lnTo>
                  <a:lnTo>
                    <a:pt x="2544" y="1250"/>
                  </a:lnTo>
                  <a:cubicBezTo>
                    <a:pt x="2538" y="1252"/>
                    <a:pt x="2535" y="1250"/>
                    <a:pt x="2535" y="1244"/>
                  </a:cubicBezTo>
                  <a:close/>
                  <a:moveTo>
                    <a:pt x="2535" y="2027"/>
                  </a:moveTo>
                  <a:cubicBezTo>
                    <a:pt x="2535" y="2021"/>
                    <a:pt x="2544" y="2030"/>
                    <a:pt x="2535" y="2027"/>
                  </a:cubicBezTo>
                  <a:close/>
                  <a:moveTo>
                    <a:pt x="2538" y="1683"/>
                  </a:moveTo>
                  <a:cubicBezTo>
                    <a:pt x="2538" y="1677"/>
                    <a:pt x="2547" y="1689"/>
                    <a:pt x="2538" y="1683"/>
                  </a:cubicBezTo>
                  <a:close/>
                  <a:moveTo>
                    <a:pt x="2547" y="784"/>
                  </a:moveTo>
                  <a:cubicBezTo>
                    <a:pt x="2550" y="784"/>
                    <a:pt x="2544" y="787"/>
                    <a:pt x="2547" y="784"/>
                  </a:cubicBezTo>
                  <a:close/>
                  <a:moveTo>
                    <a:pt x="2550" y="747"/>
                  </a:moveTo>
                  <a:cubicBezTo>
                    <a:pt x="2550" y="750"/>
                    <a:pt x="2552" y="750"/>
                    <a:pt x="2552" y="750"/>
                  </a:cubicBezTo>
                  <a:cubicBezTo>
                    <a:pt x="2550" y="750"/>
                    <a:pt x="2547" y="747"/>
                    <a:pt x="2550" y="747"/>
                  </a:cubicBezTo>
                  <a:close/>
                  <a:moveTo>
                    <a:pt x="2548" y="720"/>
                  </a:moveTo>
                  <a:cubicBezTo>
                    <a:pt x="2548" y="720"/>
                    <a:pt x="2547" y="721"/>
                    <a:pt x="2547" y="722"/>
                  </a:cubicBezTo>
                  <a:cubicBezTo>
                    <a:pt x="2534" y="717"/>
                    <a:pt x="2556" y="705"/>
                    <a:pt x="2550" y="717"/>
                  </a:cubicBezTo>
                  <a:cubicBezTo>
                    <a:pt x="2552" y="718"/>
                    <a:pt x="2554" y="721"/>
                    <a:pt x="2548" y="720"/>
                  </a:cubicBezTo>
                  <a:close/>
                  <a:moveTo>
                    <a:pt x="2541" y="702"/>
                  </a:moveTo>
                  <a:cubicBezTo>
                    <a:pt x="2541" y="697"/>
                    <a:pt x="2550" y="705"/>
                    <a:pt x="2541" y="702"/>
                  </a:cubicBezTo>
                  <a:close/>
                  <a:moveTo>
                    <a:pt x="2541" y="711"/>
                  </a:moveTo>
                  <a:cubicBezTo>
                    <a:pt x="2538" y="711"/>
                    <a:pt x="2538" y="705"/>
                    <a:pt x="2538" y="702"/>
                  </a:cubicBezTo>
                  <a:cubicBezTo>
                    <a:pt x="2547" y="702"/>
                    <a:pt x="2544" y="711"/>
                    <a:pt x="2541" y="711"/>
                  </a:cubicBezTo>
                  <a:close/>
                  <a:moveTo>
                    <a:pt x="2541" y="578"/>
                  </a:moveTo>
                  <a:cubicBezTo>
                    <a:pt x="2527" y="573"/>
                    <a:pt x="2555" y="558"/>
                    <a:pt x="2541" y="578"/>
                  </a:cubicBezTo>
                  <a:close/>
                  <a:moveTo>
                    <a:pt x="2513" y="2089"/>
                  </a:moveTo>
                  <a:cubicBezTo>
                    <a:pt x="2513" y="2084"/>
                    <a:pt x="2521" y="2084"/>
                    <a:pt x="2527" y="2084"/>
                  </a:cubicBezTo>
                  <a:cubicBezTo>
                    <a:pt x="2527" y="2089"/>
                    <a:pt x="2519" y="2089"/>
                    <a:pt x="2513" y="2089"/>
                  </a:cubicBezTo>
                  <a:close/>
                  <a:moveTo>
                    <a:pt x="2516" y="2117"/>
                  </a:moveTo>
                  <a:cubicBezTo>
                    <a:pt x="2524" y="2112"/>
                    <a:pt x="2513" y="2126"/>
                    <a:pt x="2516" y="2117"/>
                  </a:cubicBezTo>
                  <a:close/>
                  <a:moveTo>
                    <a:pt x="2530" y="1627"/>
                  </a:moveTo>
                  <a:cubicBezTo>
                    <a:pt x="2521" y="1632"/>
                    <a:pt x="2521" y="1618"/>
                    <a:pt x="2530" y="1627"/>
                  </a:cubicBezTo>
                  <a:close/>
                  <a:moveTo>
                    <a:pt x="2524" y="1711"/>
                  </a:moveTo>
                  <a:cubicBezTo>
                    <a:pt x="2524" y="1714"/>
                    <a:pt x="2519" y="1717"/>
                    <a:pt x="2516" y="1717"/>
                  </a:cubicBezTo>
                  <a:cubicBezTo>
                    <a:pt x="2519" y="1714"/>
                    <a:pt x="2521" y="1711"/>
                    <a:pt x="2524" y="1711"/>
                  </a:cubicBezTo>
                  <a:close/>
                  <a:moveTo>
                    <a:pt x="2521" y="1607"/>
                  </a:moveTo>
                  <a:cubicBezTo>
                    <a:pt x="2521" y="1604"/>
                    <a:pt x="2524" y="1601"/>
                    <a:pt x="2524" y="1598"/>
                  </a:cubicBezTo>
                  <a:cubicBezTo>
                    <a:pt x="2527" y="1596"/>
                    <a:pt x="2527" y="1610"/>
                    <a:pt x="2521" y="1607"/>
                  </a:cubicBezTo>
                  <a:close/>
                  <a:moveTo>
                    <a:pt x="2521" y="1556"/>
                  </a:moveTo>
                  <a:cubicBezTo>
                    <a:pt x="2521" y="1553"/>
                    <a:pt x="2527" y="1550"/>
                    <a:pt x="2527" y="1545"/>
                  </a:cubicBezTo>
                  <a:cubicBezTo>
                    <a:pt x="2533" y="1545"/>
                    <a:pt x="2524" y="1559"/>
                    <a:pt x="2521" y="1556"/>
                  </a:cubicBezTo>
                  <a:close/>
                  <a:moveTo>
                    <a:pt x="2521" y="1522"/>
                  </a:moveTo>
                  <a:cubicBezTo>
                    <a:pt x="2524" y="1522"/>
                    <a:pt x="2527" y="1525"/>
                    <a:pt x="2530" y="1525"/>
                  </a:cubicBezTo>
                  <a:cubicBezTo>
                    <a:pt x="2530" y="1528"/>
                    <a:pt x="2519" y="1525"/>
                    <a:pt x="2521" y="1522"/>
                  </a:cubicBezTo>
                  <a:close/>
                  <a:moveTo>
                    <a:pt x="2516" y="1457"/>
                  </a:moveTo>
                  <a:cubicBezTo>
                    <a:pt x="2519" y="1455"/>
                    <a:pt x="2524" y="1453"/>
                    <a:pt x="2527" y="1453"/>
                  </a:cubicBezTo>
                  <a:cubicBezTo>
                    <a:pt x="2527" y="1457"/>
                    <a:pt x="2521" y="1457"/>
                    <a:pt x="2516" y="1457"/>
                  </a:cubicBezTo>
                  <a:close/>
                  <a:moveTo>
                    <a:pt x="2521" y="1565"/>
                  </a:moveTo>
                  <a:cubicBezTo>
                    <a:pt x="2519" y="1570"/>
                    <a:pt x="2510" y="1573"/>
                    <a:pt x="2504" y="1573"/>
                  </a:cubicBezTo>
                  <a:cubicBezTo>
                    <a:pt x="2504" y="1567"/>
                    <a:pt x="2513" y="1565"/>
                    <a:pt x="2521" y="1565"/>
                  </a:cubicBezTo>
                  <a:close/>
                  <a:moveTo>
                    <a:pt x="2513" y="1937"/>
                  </a:moveTo>
                  <a:lnTo>
                    <a:pt x="2504" y="1937"/>
                  </a:lnTo>
                  <a:lnTo>
                    <a:pt x="2504" y="1931"/>
                  </a:lnTo>
                  <a:cubicBezTo>
                    <a:pt x="2510" y="1931"/>
                    <a:pt x="2513" y="1934"/>
                    <a:pt x="2513" y="1937"/>
                  </a:cubicBezTo>
                  <a:close/>
                  <a:moveTo>
                    <a:pt x="2504" y="1776"/>
                  </a:moveTo>
                  <a:cubicBezTo>
                    <a:pt x="2504" y="1770"/>
                    <a:pt x="2513" y="1779"/>
                    <a:pt x="2504" y="1776"/>
                  </a:cubicBezTo>
                  <a:close/>
                  <a:moveTo>
                    <a:pt x="2507" y="807"/>
                  </a:moveTo>
                  <a:lnTo>
                    <a:pt x="2507" y="806"/>
                  </a:lnTo>
                  <a:cubicBezTo>
                    <a:pt x="2508" y="805"/>
                    <a:pt x="2509" y="805"/>
                    <a:pt x="2507" y="807"/>
                  </a:cubicBezTo>
                  <a:cubicBezTo>
                    <a:pt x="2506" y="807"/>
                    <a:pt x="2507" y="806"/>
                    <a:pt x="2507" y="806"/>
                  </a:cubicBezTo>
                  <a:lnTo>
                    <a:pt x="2507" y="807"/>
                  </a:lnTo>
                  <a:close/>
                  <a:moveTo>
                    <a:pt x="2504" y="2092"/>
                  </a:moveTo>
                  <a:cubicBezTo>
                    <a:pt x="2510" y="2086"/>
                    <a:pt x="2507" y="2100"/>
                    <a:pt x="2504" y="2092"/>
                  </a:cubicBezTo>
                  <a:close/>
                  <a:moveTo>
                    <a:pt x="2511" y="2067"/>
                  </a:moveTo>
                  <a:cubicBezTo>
                    <a:pt x="2512" y="2065"/>
                    <a:pt x="2514" y="2062"/>
                    <a:pt x="2513" y="2067"/>
                  </a:cubicBezTo>
                  <a:cubicBezTo>
                    <a:pt x="2509" y="2071"/>
                    <a:pt x="2509" y="2069"/>
                    <a:pt x="2511" y="2067"/>
                  </a:cubicBezTo>
                  <a:close/>
                  <a:moveTo>
                    <a:pt x="2507" y="2126"/>
                  </a:moveTo>
                  <a:cubicBezTo>
                    <a:pt x="2507" y="2120"/>
                    <a:pt x="2516" y="2129"/>
                    <a:pt x="2507" y="2126"/>
                  </a:cubicBezTo>
                  <a:close/>
                  <a:moveTo>
                    <a:pt x="2516" y="2024"/>
                  </a:moveTo>
                  <a:cubicBezTo>
                    <a:pt x="2510" y="2033"/>
                    <a:pt x="2507" y="2019"/>
                    <a:pt x="2516" y="2024"/>
                  </a:cubicBezTo>
                  <a:close/>
                  <a:moveTo>
                    <a:pt x="2524" y="2072"/>
                  </a:moveTo>
                  <a:lnTo>
                    <a:pt x="2524" y="2067"/>
                  </a:lnTo>
                  <a:lnTo>
                    <a:pt x="2533" y="2067"/>
                  </a:lnTo>
                  <a:cubicBezTo>
                    <a:pt x="2533" y="2072"/>
                    <a:pt x="2527" y="2072"/>
                    <a:pt x="2524" y="2072"/>
                  </a:cubicBezTo>
                  <a:close/>
                  <a:moveTo>
                    <a:pt x="2530" y="2115"/>
                  </a:moveTo>
                  <a:lnTo>
                    <a:pt x="2535" y="2115"/>
                  </a:lnTo>
                  <a:lnTo>
                    <a:pt x="2535" y="2120"/>
                  </a:lnTo>
                  <a:lnTo>
                    <a:pt x="2530" y="2120"/>
                  </a:lnTo>
                  <a:lnTo>
                    <a:pt x="2530" y="2115"/>
                  </a:lnTo>
                  <a:close/>
                  <a:moveTo>
                    <a:pt x="2516" y="750"/>
                  </a:moveTo>
                  <a:cubicBezTo>
                    <a:pt x="2502" y="742"/>
                    <a:pt x="2530" y="728"/>
                    <a:pt x="2516" y="750"/>
                  </a:cubicBezTo>
                  <a:close/>
                  <a:moveTo>
                    <a:pt x="2507" y="708"/>
                  </a:moveTo>
                  <a:cubicBezTo>
                    <a:pt x="2510" y="705"/>
                    <a:pt x="2513" y="700"/>
                    <a:pt x="2519" y="700"/>
                  </a:cubicBezTo>
                  <a:cubicBezTo>
                    <a:pt x="2519" y="705"/>
                    <a:pt x="2513" y="708"/>
                    <a:pt x="2507" y="708"/>
                  </a:cubicBezTo>
                  <a:close/>
                  <a:moveTo>
                    <a:pt x="2504" y="1548"/>
                  </a:moveTo>
                  <a:cubicBezTo>
                    <a:pt x="2504" y="1542"/>
                    <a:pt x="2513" y="1550"/>
                    <a:pt x="2504" y="1548"/>
                  </a:cubicBezTo>
                  <a:close/>
                  <a:moveTo>
                    <a:pt x="2504" y="747"/>
                  </a:moveTo>
                  <a:cubicBezTo>
                    <a:pt x="2513" y="742"/>
                    <a:pt x="2502" y="753"/>
                    <a:pt x="2504" y="747"/>
                  </a:cubicBezTo>
                  <a:close/>
                  <a:moveTo>
                    <a:pt x="2564" y="1940"/>
                  </a:moveTo>
                  <a:cubicBezTo>
                    <a:pt x="2567" y="1937"/>
                    <a:pt x="2569" y="1934"/>
                    <a:pt x="2572" y="1934"/>
                  </a:cubicBezTo>
                  <a:cubicBezTo>
                    <a:pt x="2572" y="1937"/>
                    <a:pt x="2569" y="1940"/>
                    <a:pt x="2564" y="1940"/>
                  </a:cubicBezTo>
                  <a:close/>
                  <a:moveTo>
                    <a:pt x="2567" y="1951"/>
                  </a:moveTo>
                  <a:cubicBezTo>
                    <a:pt x="2569" y="1951"/>
                    <a:pt x="2575" y="1954"/>
                    <a:pt x="2575" y="1954"/>
                  </a:cubicBezTo>
                  <a:cubicBezTo>
                    <a:pt x="2578" y="1957"/>
                    <a:pt x="2564" y="1957"/>
                    <a:pt x="2567" y="1951"/>
                  </a:cubicBezTo>
                  <a:close/>
                  <a:moveTo>
                    <a:pt x="2569" y="2100"/>
                  </a:moveTo>
                  <a:cubicBezTo>
                    <a:pt x="2567" y="2095"/>
                    <a:pt x="2578" y="2095"/>
                    <a:pt x="2581" y="2095"/>
                  </a:cubicBezTo>
                  <a:cubicBezTo>
                    <a:pt x="2581" y="2098"/>
                    <a:pt x="2575" y="2100"/>
                    <a:pt x="2569" y="2100"/>
                  </a:cubicBezTo>
                  <a:close/>
                  <a:moveTo>
                    <a:pt x="2581" y="2126"/>
                  </a:moveTo>
                  <a:cubicBezTo>
                    <a:pt x="2581" y="2131"/>
                    <a:pt x="2572" y="2131"/>
                    <a:pt x="2569" y="2129"/>
                  </a:cubicBezTo>
                  <a:cubicBezTo>
                    <a:pt x="2572" y="2126"/>
                    <a:pt x="2578" y="2126"/>
                    <a:pt x="2581" y="2126"/>
                  </a:cubicBezTo>
                  <a:close/>
                  <a:moveTo>
                    <a:pt x="2583" y="1275"/>
                  </a:moveTo>
                  <a:cubicBezTo>
                    <a:pt x="2583" y="1269"/>
                    <a:pt x="2592" y="1281"/>
                    <a:pt x="2583" y="1275"/>
                  </a:cubicBezTo>
                  <a:close/>
                  <a:moveTo>
                    <a:pt x="2595" y="1230"/>
                  </a:moveTo>
                  <a:cubicBezTo>
                    <a:pt x="2595" y="1230"/>
                    <a:pt x="2598" y="1233"/>
                    <a:pt x="2600" y="1233"/>
                  </a:cubicBezTo>
                  <a:cubicBezTo>
                    <a:pt x="2617" y="1264"/>
                    <a:pt x="2569" y="1213"/>
                    <a:pt x="2595" y="1230"/>
                  </a:cubicBezTo>
                  <a:close/>
                  <a:moveTo>
                    <a:pt x="2600" y="2027"/>
                  </a:moveTo>
                  <a:cubicBezTo>
                    <a:pt x="2603" y="2027"/>
                    <a:pt x="2606" y="2030"/>
                    <a:pt x="2609" y="2033"/>
                  </a:cubicBezTo>
                  <a:lnTo>
                    <a:pt x="2603" y="2033"/>
                  </a:lnTo>
                  <a:cubicBezTo>
                    <a:pt x="2600" y="2030"/>
                    <a:pt x="2600" y="2027"/>
                    <a:pt x="2600" y="2027"/>
                  </a:cubicBezTo>
                  <a:close/>
                  <a:moveTo>
                    <a:pt x="2612" y="1607"/>
                  </a:moveTo>
                  <a:lnTo>
                    <a:pt x="2612" y="1615"/>
                  </a:lnTo>
                  <a:cubicBezTo>
                    <a:pt x="2600" y="1618"/>
                    <a:pt x="2603" y="1604"/>
                    <a:pt x="2612" y="1607"/>
                  </a:cubicBezTo>
                  <a:close/>
                  <a:moveTo>
                    <a:pt x="2609" y="2131"/>
                  </a:moveTo>
                  <a:cubicBezTo>
                    <a:pt x="2609" y="2126"/>
                    <a:pt x="2617" y="2134"/>
                    <a:pt x="2609" y="2131"/>
                  </a:cubicBezTo>
                  <a:close/>
                  <a:moveTo>
                    <a:pt x="2643" y="2168"/>
                  </a:moveTo>
                  <a:cubicBezTo>
                    <a:pt x="2643" y="2171"/>
                    <a:pt x="2648" y="2174"/>
                    <a:pt x="2646" y="2179"/>
                  </a:cubicBezTo>
                  <a:cubicBezTo>
                    <a:pt x="2640" y="2179"/>
                    <a:pt x="2634" y="2177"/>
                    <a:pt x="2629" y="2174"/>
                  </a:cubicBezTo>
                  <a:cubicBezTo>
                    <a:pt x="2629" y="2168"/>
                    <a:pt x="2637" y="2165"/>
                    <a:pt x="2643" y="2168"/>
                  </a:cubicBezTo>
                  <a:close/>
                  <a:moveTo>
                    <a:pt x="2646" y="2191"/>
                  </a:moveTo>
                  <a:cubicBezTo>
                    <a:pt x="2654" y="2194"/>
                    <a:pt x="2646" y="2210"/>
                    <a:pt x="2640" y="2205"/>
                  </a:cubicBezTo>
                  <a:cubicBezTo>
                    <a:pt x="2640" y="2199"/>
                    <a:pt x="2646" y="2194"/>
                    <a:pt x="2646" y="2191"/>
                  </a:cubicBezTo>
                  <a:close/>
                  <a:moveTo>
                    <a:pt x="2648" y="2143"/>
                  </a:moveTo>
                  <a:cubicBezTo>
                    <a:pt x="2662" y="2146"/>
                    <a:pt x="2671" y="2154"/>
                    <a:pt x="2668" y="2163"/>
                  </a:cubicBezTo>
                  <a:cubicBezTo>
                    <a:pt x="2657" y="2160"/>
                    <a:pt x="2646" y="2151"/>
                    <a:pt x="2648" y="2143"/>
                  </a:cubicBezTo>
                  <a:close/>
                  <a:moveTo>
                    <a:pt x="2662" y="1773"/>
                  </a:moveTo>
                  <a:cubicBezTo>
                    <a:pt x="2663" y="1773"/>
                    <a:pt x="2664" y="1772"/>
                    <a:pt x="2665" y="1772"/>
                  </a:cubicBezTo>
                  <a:cubicBezTo>
                    <a:pt x="2661" y="1771"/>
                    <a:pt x="2657" y="1769"/>
                    <a:pt x="2654" y="1768"/>
                  </a:cubicBezTo>
                  <a:cubicBezTo>
                    <a:pt x="2654" y="1765"/>
                    <a:pt x="2654" y="1765"/>
                    <a:pt x="2657" y="1762"/>
                  </a:cubicBezTo>
                  <a:cubicBezTo>
                    <a:pt x="2662" y="1762"/>
                    <a:pt x="2668" y="1762"/>
                    <a:pt x="2674" y="1765"/>
                  </a:cubicBezTo>
                  <a:cubicBezTo>
                    <a:pt x="2677" y="1768"/>
                    <a:pt x="2677" y="1770"/>
                    <a:pt x="2674" y="1773"/>
                  </a:cubicBezTo>
                  <a:cubicBezTo>
                    <a:pt x="2671" y="1773"/>
                    <a:pt x="2668" y="1773"/>
                    <a:pt x="2666" y="1772"/>
                  </a:cubicBezTo>
                  <a:cubicBezTo>
                    <a:pt x="2666" y="1774"/>
                    <a:pt x="2660" y="1779"/>
                    <a:pt x="2662" y="1773"/>
                  </a:cubicBezTo>
                  <a:close/>
                  <a:moveTo>
                    <a:pt x="2665" y="1612"/>
                  </a:moveTo>
                  <a:cubicBezTo>
                    <a:pt x="2665" y="1607"/>
                    <a:pt x="2677" y="1607"/>
                    <a:pt x="2679" y="1610"/>
                  </a:cubicBezTo>
                  <a:cubicBezTo>
                    <a:pt x="2679" y="1612"/>
                    <a:pt x="2671" y="1615"/>
                    <a:pt x="2665" y="1612"/>
                  </a:cubicBezTo>
                  <a:close/>
                  <a:moveTo>
                    <a:pt x="2679" y="1593"/>
                  </a:moveTo>
                  <a:cubicBezTo>
                    <a:pt x="2682" y="1590"/>
                    <a:pt x="2674" y="1596"/>
                    <a:pt x="2679" y="1593"/>
                  </a:cubicBezTo>
                  <a:close/>
                  <a:moveTo>
                    <a:pt x="2702" y="1360"/>
                  </a:moveTo>
                  <a:cubicBezTo>
                    <a:pt x="2705" y="1379"/>
                    <a:pt x="2682" y="1360"/>
                    <a:pt x="2682" y="1371"/>
                  </a:cubicBezTo>
                  <a:cubicBezTo>
                    <a:pt x="2671" y="1362"/>
                    <a:pt x="2693" y="1357"/>
                    <a:pt x="2702" y="1360"/>
                  </a:cubicBezTo>
                  <a:close/>
                  <a:moveTo>
                    <a:pt x="2696" y="1427"/>
                  </a:moveTo>
                  <a:cubicBezTo>
                    <a:pt x="2696" y="1422"/>
                    <a:pt x="2705" y="1430"/>
                    <a:pt x="2696" y="1427"/>
                  </a:cubicBezTo>
                  <a:close/>
                  <a:moveTo>
                    <a:pt x="2708" y="2058"/>
                  </a:moveTo>
                  <a:cubicBezTo>
                    <a:pt x="2699" y="2064"/>
                    <a:pt x="2691" y="2053"/>
                    <a:pt x="2708" y="2058"/>
                  </a:cubicBezTo>
                  <a:close/>
                  <a:moveTo>
                    <a:pt x="2705" y="2129"/>
                  </a:moveTo>
                  <a:cubicBezTo>
                    <a:pt x="2710" y="2129"/>
                    <a:pt x="2716" y="2134"/>
                    <a:pt x="2719" y="2143"/>
                  </a:cubicBezTo>
                  <a:cubicBezTo>
                    <a:pt x="2714" y="2146"/>
                    <a:pt x="2708" y="2142"/>
                    <a:pt x="2705" y="2138"/>
                  </a:cubicBezTo>
                  <a:lnTo>
                    <a:pt x="2705" y="2140"/>
                  </a:lnTo>
                  <a:cubicBezTo>
                    <a:pt x="2705" y="2143"/>
                    <a:pt x="2708" y="2143"/>
                    <a:pt x="2705" y="2146"/>
                  </a:cubicBezTo>
                  <a:cubicBezTo>
                    <a:pt x="2702" y="2146"/>
                    <a:pt x="2702" y="2146"/>
                    <a:pt x="2702" y="2148"/>
                  </a:cubicBezTo>
                  <a:cubicBezTo>
                    <a:pt x="2699" y="2148"/>
                    <a:pt x="2699" y="2148"/>
                    <a:pt x="2696" y="2146"/>
                  </a:cubicBezTo>
                  <a:cubicBezTo>
                    <a:pt x="2696" y="2143"/>
                    <a:pt x="2693" y="2140"/>
                    <a:pt x="2693" y="2140"/>
                  </a:cubicBezTo>
                  <a:cubicBezTo>
                    <a:pt x="2693" y="2137"/>
                    <a:pt x="2693" y="2137"/>
                    <a:pt x="2696" y="2137"/>
                  </a:cubicBezTo>
                  <a:lnTo>
                    <a:pt x="2699" y="2137"/>
                  </a:lnTo>
                  <a:cubicBezTo>
                    <a:pt x="2702" y="2137"/>
                    <a:pt x="2702" y="2135"/>
                    <a:pt x="2704" y="2137"/>
                  </a:cubicBezTo>
                  <a:cubicBezTo>
                    <a:pt x="2703" y="2134"/>
                    <a:pt x="2703" y="2131"/>
                    <a:pt x="2705" y="2129"/>
                  </a:cubicBezTo>
                  <a:close/>
                  <a:moveTo>
                    <a:pt x="2722" y="2109"/>
                  </a:moveTo>
                  <a:cubicBezTo>
                    <a:pt x="2727" y="2117"/>
                    <a:pt x="2708" y="2117"/>
                    <a:pt x="2722" y="2109"/>
                  </a:cubicBezTo>
                  <a:close/>
                  <a:moveTo>
                    <a:pt x="2716" y="1883"/>
                  </a:moveTo>
                  <a:cubicBezTo>
                    <a:pt x="2719" y="1883"/>
                    <a:pt x="2725" y="1889"/>
                    <a:pt x="2722" y="1889"/>
                  </a:cubicBezTo>
                  <a:cubicBezTo>
                    <a:pt x="2716" y="1883"/>
                    <a:pt x="2713" y="1883"/>
                    <a:pt x="2716" y="1883"/>
                  </a:cubicBezTo>
                  <a:close/>
                  <a:moveTo>
                    <a:pt x="2725" y="2098"/>
                  </a:moveTo>
                  <a:cubicBezTo>
                    <a:pt x="2730" y="2098"/>
                    <a:pt x="2727" y="2103"/>
                    <a:pt x="2736" y="2103"/>
                  </a:cubicBezTo>
                  <a:cubicBezTo>
                    <a:pt x="2733" y="2103"/>
                    <a:pt x="2725" y="2106"/>
                    <a:pt x="2722" y="2103"/>
                  </a:cubicBezTo>
                  <a:cubicBezTo>
                    <a:pt x="2722" y="2100"/>
                    <a:pt x="2722" y="2098"/>
                    <a:pt x="2725" y="2098"/>
                  </a:cubicBezTo>
                  <a:close/>
                  <a:moveTo>
                    <a:pt x="2725" y="2072"/>
                  </a:moveTo>
                  <a:cubicBezTo>
                    <a:pt x="2725" y="2067"/>
                    <a:pt x="2736" y="2069"/>
                    <a:pt x="2739" y="2072"/>
                  </a:cubicBezTo>
                  <a:cubicBezTo>
                    <a:pt x="2739" y="2075"/>
                    <a:pt x="2727" y="2075"/>
                    <a:pt x="2725" y="2072"/>
                  </a:cubicBezTo>
                  <a:close/>
                  <a:moveTo>
                    <a:pt x="2725" y="2044"/>
                  </a:moveTo>
                  <a:cubicBezTo>
                    <a:pt x="2727" y="2044"/>
                    <a:pt x="2730" y="2050"/>
                    <a:pt x="2727" y="2047"/>
                  </a:cubicBezTo>
                  <a:lnTo>
                    <a:pt x="2725" y="2044"/>
                  </a:lnTo>
                  <a:close/>
                  <a:moveTo>
                    <a:pt x="2730" y="2041"/>
                  </a:moveTo>
                  <a:cubicBezTo>
                    <a:pt x="2736" y="2041"/>
                    <a:pt x="2733" y="2047"/>
                    <a:pt x="2736" y="2047"/>
                  </a:cubicBezTo>
                  <a:cubicBezTo>
                    <a:pt x="2736" y="2050"/>
                    <a:pt x="2727" y="2044"/>
                    <a:pt x="2730" y="2041"/>
                  </a:cubicBezTo>
                  <a:close/>
                  <a:moveTo>
                    <a:pt x="2727" y="1976"/>
                  </a:moveTo>
                  <a:cubicBezTo>
                    <a:pt x="2727" y="1971"/>
                    <a:pt x="2733" y="1976"/>
                    <a:pt x="2739" y="1976"/>
                  </a:cubicBezTo>
                  <a:cubicBezTo>
                    <a:pt x="2736" y="1979"/>
                    <a:pt x="2727" y="1976"/>
                    <a:pt x="2727" y="1976"/>
                  </a:cubicBezTo>
                  <a:close/>
                  <a:moveTo>
                    <a:pt x="2753" y="2058"/>
                  </a:moveTo>
                  <a:cubicBezTo>
                    <a:pt x="2759" y="2064"/>
                    <a:pt x="2772" y="2069"/>
                    <a:pt x="2772" y="2075"/>
                  </a:cubicBezTo>
                  <a:cubicBezTo>
                    <a:pt x="2764" y="2075"/>
                    <a:pt x="2750" y="2067"/>
                    <a:pt x="2753" y="2058"/>
                  </a:cubicBezTo>
                  <a:cubicBezTo>
                    <a:pt x="2752" y="2059"/>
                    <a:pt x="2750" y="2059"/>
                    <a:pt x="2747" y="2058"/>
                  </a:cubicBezTo>
                  <a:cubicBezTo>
                    <a:pt x="2747" y="2056"/>
                    <a:pt x="2748" y="2054"/>
                    <a:pt x="2751" y="2053"/>
                  </a:cubicBezTo>
                  <a:cubicBezTo>
                    <a:pt x="2750" y="2052"/>
                    <a:pt x="2748" y="2051"/>
                    <a:pt x="2747" y="2050"/>
                  </a:cubicBezTo>
                  <a:cubicBezTo>
                    <a:pt x="2747" y="2047"/>
                    <a:pt x="2750" y="2044"/>
                    <a:pt x="2750" y="2044"/>
                  </a:cubicBezTo>
                  <a:cubicBezTo>
                    <a:pt x="2753" y="2044"/>
                    <a:pt x="2753" y="2047"/>
                    <a:pt x="2756" y="2047"/>
                  </a:cubicBezTo>
                  <a:cubicBezTo>
                    <a:pt x="2756" y="2047"/>
                    <a:pt x="2758" y="2050"/>
                    <a:pt x="2756" y="2053"/>
                  </a:cubicBezTo>
                  <a:cubicBezTo>
                    <a:pt x="2754" y="2054"/>
                    <a:pt x="2754" y="2057"/>
                    <a:pt x="2753" y="2058"/>
                  </a:cubicBezTo>
                  <a:close/>
                  <a:moveTo>
                    <a:pt x="2747" y="1985"/>
                  </a:moveTo>
                  <a:lnTo>
                    <a:pt x="2747" y="1979"/>
                  </a:lnTo>
                  <a:lnTo>
                    <a:pt x="2753" y="1979"/>
                  </a:lnTo>
                  <a:lnTo>
                    <a:pt x="2753" y="1985"/>
                  </a:lnTo>
                  <a:lnTo>
                    <a:pt x="2747" y="1985"/>
                  </a:lnTo>
                  <a:close/>
                  <a:moveTo>
                    <a:pt x="2750" y="2041"/>
                  </a:moveTo>
                  <a:cubicBezTo>
                    <a:pt x="2750" y="2038"/>
                    <a:pt x="2753" y="2036"/>
                    <a:pt x="2756" y="2033"/>
                  </a:cubicBezTo>
                  <a:cubicBezTo>
                    <a:pt x="2761" y="2033"/>
                    <a:pt x="2761" y="2038"/>
                    <a:pt x="2764" y="2041"/>
                  </a:cubicBezTo>
                  <a:cubicBezTo>
                    <a:pt x="2758" y="2044"/>
                    <a:pt x="2753" y="2044"/>
                    <a:pt x="2750" y="2041"/>
                  </a:cubicBezTo>
                  <a:close/>
                  <a:moveTo>
                    <a:pt x="2727" y="1889"/>
                  </a:moveTo>
                  <a:cubicBezTo>
                    <a:pt x="2736" y="1872"/>
                    <a:pt x="2772" y="1897"/>
                    <a:pt x="2781" y="1914"/>
                  </a:cubicBezTo>
                  <a:cubicBezTo>
                    <a:pt x="2764" y="1909"/>
                    <a:pt x="2741" y="1892"/>
                    <a:pt x="2727" y="1889"/>
                  </a:cubicBezTo>
                  <a:close/>
                  <a:moveTo>
                    <a:pt x="2775" y="1463"/>
                  </a:moveTo>
                  <a:cubicBezTo>
                    <a:pt x="2767" y="1463"/>
                    <a:pt x="2775" y="1433"/>
                    <a:pt x="2787" y="1444"/>
                  </a:cubicBezTo>
                  <a:cubicBezTo>
                    <a:pt x="2785" y="1452"/>
                    <a:pt x="2781" y="1456"/>
                    <a:pt x="2778" y="1459"/>
                  </a:cubicBezTo>
                  <a:cubicBezTo>
                    <a:pt x="2781" y="1461"/>
                    <a:pt x="2788" y="1478"/>
                    <a:pt x="2778" y="1466"/>
                  </a:cubicBezTo>
                  <a:cubicBezTo>
                    <a:pt x="2777" y="1463"/>
                    <a:pt x="2777" y="1461"/>
                    <a:pt x="2777" y="1460"/>
                  </a:cubicBezTo>
                  <a:cubicBezTo>
                    <a:pt x="2776" y="1461"/>
                    <a:pt x="2776" y="1462"/>
                    <a:pt x="2775" y="1463"/>
                  </a:cubicBezTo>
                  <a:close/>
                  <a:moveTo>
                    <a:pt x="2764" y="1610"/>
                  </a:moveTo>
                  <a:cubicBezTo>
                    <a:pt x="2770" y="1601"/>
                    <a:pt x="2781" y="1610"/>
                    <a:pt x="2764" y="1610"/>
                  </a:cubicBezTo>
                  <a:close/>
                  <a:moveTo>
                    <a:pt x="2784" y="1553"/>
                  </a:moveTo>
                  <a:cubicBezTo>
                    <a:pt x="2792" y="1550"/>
                    <a:pt x="2781" y="1562"/>
                    <a:pt x="2784" y="1553"/>
                  </a:cubicBezTo>
                  <a:close/>
                  <a:moveTo>
                    <a:pt x="2758" y="1345"/>
                  </a:moveTo>
                  <a:cubicBezTo>
                    <a:pt x="2781" y="1331"/>
                    <a:pt x="2770" y="1368"/>
                    <a:pt x="2758" y="1345"/>
                  </a:cubicBezTo>
                  <a:close/>
                  <a:moveTo>
                    <a:pt x="2787" y="1267"/>
                  </a:moveTo>
                  <a:cubicBezTo>
                    <a:pt x="2787" y="1267"/>
                    <a:pt x="2781" y="1267"/>
                    <a:pt x="2778" y="1264"/>
                  </a:cubicBezTo>
                  <a:cubicBezTo>
                    <a:pt x="2778" y="1261"/>
                    <a:pt x="2781" y="1255"/>
                    <a:pt x="2781" y="1252"/>
                  </a:cubicBezTo>
                  <a:cubicBezTo>
                    <a:pt x="2784" y="1255"/>
                    <a:pt x="2787" y="1255"/>
                    <a:pt x="2787" y="1252"/>
                  </a:cubicBezTo>
                  <a:cubicBezTo>
                    <a:pt x="2789" y="1252"/>
                    <a:pt x="2792" y="1258"/>
                    <a:pt x="2792" y="1261"/>
                  </a:cubicBezTo>
                  <a:lnTo>
                    <a:pt x="2792" y="1264"/>
                  </a:lnTo>
                  <a:cubicBezTo>
                    <a:pt x="2795" y="1269"/>
                    <a:pt x="2795" y="1278"/>
                    <a:pt x="2787" y="1267"/>
                  </a:cubicBezTo>
                  <a:close/>
                  <a:moveTo>
                    <a:pt x="2775" y="1371"/>
                  </a:moveTo>
                  <a:cubicBezTo>
                    <a:pt x="2775" y="1365"/>
                    <a:pt x="2784" y="1374"/>
                    <a:pt x="2775" y="1371"/>
                  </a:cubicBezTo>
                  <a:close/>
                  <a:moveTo>
                    <a:pt x="2806" y="1306"/>
                  </a:moveTo>
                  <a:cubicBezTo>
                    <a:pt x="2815" y="1306"/>
                    <a:pt x="2806" y="1337"/>
                    <a:pt x="2795" y="1326"/>
                  </a:cubicBezTo>
                  <a:cubicBezTo>
                    <a:pt x="2798" y="1317"/>
                    <a:pt x="2804" y="1312"/>
                    <a:pt x="2806" y="1306"/>
                  </a:cubicBezTo>
                  <a:close/>
                  <a:moveTo>
                    <a:pt x="2801" y="1207"/>
                  </a:moveTo>
                  <a:lnTo>
                    <a:pt x="2801" y="1199"/>
                  </a:lnTo>
                  <a:cubicBezTo>
                    <a:pt x="2806" y="1199"/>
                    <a:pt x="2806" y="1210"/>
                    <a:pt x="2801" y="1207"/>
                  </a:cubicBezTo>
                  <a:close/>
                  <a:moveTo>
                    <a:pt x="2815" y="1354"/>
                  </a:moveTo>
                  <a:lnTo>
                    <a:pt x="2809" y="1354"/>
                  </a:lnTo>
                  <a:lnTo>
                    <a:pt x="2809" y="1348"/>
                  </a:lnTo>
                  <a:lnTo>
                    <a:pt x="2815" y="1348"/>
                  </a:lnTo>
                  <a:lnTo>
                    <a:pt x="2815" y="1354"/>
                  </a:lnTo>
                  <a:close/>
                  <a:moveTo>
                    <a:pt x="2818" y="1416"/>
                  </a:moveTo>
                  <a:cubicBezTo>
                    <a:pt x="2815" y="1419"/>
                    <a:pt x="2812" y="1422"/>
                    <a:pt x="2806" y="1422"/>
                  </a:cubicBezTo>
                  <a:cubicBezTo>
                    <a:pt x="2806" y="1413"/>
                    <a:pt x="2815" y="1413"/>
                    <a:pt x="2818" y="1416"/>
                  </a:cubicBezTo>
                  <a:close/>
                  <a:moveTo>
                    <a:pt x="2806" y="1340"/>
                  </a:moveTo>
                  <a:lnTo>
                    <a:pt x="2798" y="1340"/>
                  </a:lnTo>
                  <a:cubicBezTo>
                    <a:pt x="2798" y="1337"/>
                    <a:pt x="2801" y="1337"/>
                    <a:pt x="2804" y="1334"/>
                  </a:cubicBezTo>
                  <a:lnTo>
                    <a:pt x="2806" y="1334"/>
                  </a:lnTo>
                  <a:lnTo>
                    <a:pt x="2806" y="1337"/>
                  </a:lnTo>
                  <a:lnTo>
                    <a:pt x="2806" y="1337"/>
                  </a:lnTo>
                  <a:cubicBezTo>
                    <a:pt x="2806" y="1338"/>
                    <a:pt x="2806" y="1339"/>
                    <a:pt x="2806" y="1340"/>
                  </a:cubicBezTo>
                  <a:close/>
                  <a:moveTo>
                    <a:pt x="2809" y="1337"/>
                  </a:moveTo>
                  <a:cubicBezTo>
                    <a:pt x="2807" y="1335"/>
                    <a:pt x="2807" y="1336"/>
                    <a:pt x="2806" y="1337"/>
                  </a:cubicBezTo>
                  <a:lnTo>
                    <a:pt x="2809" y="1337"/>
                  </a:lnTo>
                  <a:close/>
                  <a:moveTo>
                    <a:pt x="2798" y="1176"/>
                  </a:moveTo>
                  <a:cubicBezTo>
                    <a:pt x="2801" y="1176"/>
                    <a:pt x="2795" y="1179"/>
                    <a:pt x="2798" y="1176"/>
                  </a:cubicBezTo>
                  <a:close/>
                  <a:moveTo>
                    <a:pt x="2798" y="1360"/>
                  </a:moveTo>
                  <a:cubicBezTo>
                    <a:pt x="2801" y="1362"/>
                    <a:pt x="2804" y="1360"/>
                    <a:pt x="2804" y="1357"/>
                  </a:cubicBezTo>
                  <a:cubicBezTo>
                    <a:pt x="2812" y="1357"/>
                    <a:pt x="2804" y="1382"/>
                    <a:pt x="2795" y="1371"/>
                  </a:cubicBezTo>
                  <a:cubicBezTo>
                    <a:pt x="2795" y="1368"/>
                    <a:pt x="2795" y="1362"/>
                    <a:pt x="2798" y="1360"/>
                  </a:cubicBezTo>
                  <a:close/>
                  <a:moveTo>
                    <a:pt x="2818" y="1436"/>
                  </a:moveTo>
                  <a:cubicBezTo>
                    <a:pt x="2823" y="1441"/>
                    <a:pt x="2826" y="1450"/>
                    <a:pt x="2823" y="1456"/>
                  </a:cubicBezTo>
                  <a:cubicBezTo>
                    <a:pt x="2818" y="1453"/>
                    <a:pt x="2818" y="1447"/>
                    <a:pt x="2812" y="1444"/>
                  </a:cubicBezTo>
                  <a:lnTo>
                    <a:pt x="2812" y="1441"/>
                  </a:lnTo>
                  <a:lnTo>
                    <a:pt x="2798" y="1441"/>
                  </a:lnTo>
                  <a:cubicBezTo>
                    <a:pt x="2801" y="1439"/>
                    <a:pt x="2809" y="1436"/>
                    <a:pt x="2818" y="1436"/>
                  </a:cubicBezTo>
                  <a:close/>
                  <a:moveTo>
                    <a:pt x="2843" y="1219"/>
                  </a:moveTo>
                  <a:cubicBezTo>
                    <a:pt x="2857" y="1230"/>
                    <a:pt x="2820" y="1227"/>
                    <a:pt x="2843" y="1219"/>
                  </a:cubicBezTo>
                  <a:close/>
                  <a:moveTo>
                    <a:pt x="2843" y="1207"/>
                  </a:moveTo>
                  <a:cubicBezTo>
                    <a:pt x="2846" y="1207"/>
                    <a:pt x="2846" y="1210"/>
                    <a:pt x="2846" y="1210"/>
                  </a:cubicBezTo>
                  <a:cubicBezTo>
                    <a:pt x="2843" y="1210"/>
                    <a:pt x="2843" y="1207"/>
                    <a:pt x="2843" y="1207"/>
                  </a:cubicBezTo>
                  <a:close/>
                  <a:moveTo>
                    <a:pt x="2829" y="1441"/>
                  </a:moveTo>
                  <a:cubicBezTo>
                    <a:pt x="2815" y="1433"/>
                    <a:pt x="2843" y="1419"/>
                    <a:pt x="2829" y="1441"/>
                  </a:cubicBezTo>
                  <a:close/>
                  <a:moveTo>
                    <a:pt x="2826" y="1601"/>
                  </a:moveTo>
                  <a:cubicBezTo>
                    <a:pt x="2812" y="1596"/>
                    <a:pt x="2840" y="1581"/>
                    <a:pt x="2826" y="1601"/>
                  </a:cubicBezTo>
                  <a:close/>
                  <a:moveTo>
                    <a:pt x="2826" y="1500"/>
                  </a:moveTo>
                  <a:cubicBezTo>
                    <a:pt x="2832" y="1494"/>
                    <a:pt x="2832" y="1508"/>
                    <a:pt x="2826" y="1500"/>
                  </a:cubicBezTo>
                  <a:close/>
                  <a:moveTo>
                    <a:pt x="2829" y="1694"/>
                  </a:moveTo>
                  <a:cubicBezTo>
                    <a:pt x="2832" y="1694"/>
                    <a:pt x="2826" y="1697"/>
                    <a:pt x="2823" y="1697"/>
                  </a:cubicBezTo>
                  <a:cubicBezTo>
                    <a:pt x="2820" y="1697"/>
                    <a:pt x="2829" y="1694"/>
                    <a:pt x="2829" y="1694"/>
                  </a:cubicBezTo>
                  <a:close/>
                  <a:moveTo>
                    <a:pt x="2826" y="1739"/>
                  </a:moveTo>
                  <a:cubicBezTo>
                    <a:pt x="2826" y="1734"/>
                    <a:pt x="2837" y="1742"/>
                    <a:pt x="2826" y="1739"/>
                  </a:cubicBezTo>
                  <a:close/>
                  <a:moveTo>
                    <a:pt x="2832" y="1618"/>
                  </a:moveTo>
                  <a:cubicBezTo>
                    <a:pt x="2818" y="1607"/>
                    <a:pt x="2857" y="1612"/>
                    <a:pt x="2832" y="1618"/>
                  </a:cubicBezTo>
                  <a:close/>
                  <a:moveTo>
                    <a:pt x="2840" y="1643"/>
                  </a:moveTo>
                  <a:cubicBezTo>
                    <a:pt x="2837" y="1643"/>
                    <a:pt x="2835" y="1644"/>
                    <a:pt x="2835" y="1641"/>
                  </a:cubicBezTo>
                  <a:cubicBezTo>
                    <a:pt x="2835" y="1639"/>
                    <a:pt x="2837" y="1638"/>
                    <a:pt x="2837" y="1635"/>
                  </a:cubicBezTo>
                  <a:cubicBezTo>
                    <a:pt x="2840" y="1635"/>
                    <a:pt x="2840" y="1635"/>
                    <a:pt x="2843" y="1638"/>
                  </a:cubicBezTo>
                  <a:cubicBezTo>
                    <a:pt x="2843" y="1641"/>
                    <a:pt x="2840" y="1643"/>
                    <a:pt x="2840" y="1643"/>
                  </a:cubicBezTo>
                  <a:close/>
                  <a:moveTo>
                    <a:pt x="2840" y="1720"/>
                  </a:moveTo>
                  <a:cubicBezTo>
                    <a:pt x="2837" y="1722"/>
                    <a:pt x="2832" y="1714"/>
                    <a:pt x="2832" y="1711"/>
                  </a:cubicBezTo>
                  <a:cubicBezTo>
                    <a:pt x="2837" y="1714"/>
                    <a:pt x="2837" y="1717"/>
                    <a:pt x="2840" y="1720"/>
                  </a:cubicBezTo>
                  <a:close/>
                  <a:moveTo>
                    <a:pt x="2843" y="1711"/>
                  </a:moveTo>
                  <a:cubicBezTo>
                    <a:pt x="2846" y="1711"/>
                    <a:pt x="2840" y="1714"/>
                    <a:pt x="2837" y="1714"/>
                  </a:cubicBezTo>
                  <a:cubicBezTo>
                    <a:pt x="2835" y="1714"/>
                    <a:pt x="2840" y="1711"/>
                    <a:pt x="2843" y="1711"/>
                  </a:cubicBezTo>
                  <a:close/>
                  <a:moveTo>
                    <a:pt x="2843" y="1601"/>
                  </a:moveTo>
                  <a:cubicBezTo>
                    <a:pt x="2840" y="1601"/>
                    <a:pt x="2835" y="1598"/>
                    <a:pt x="2832" y="1598"/>
                  </a:cubicBezTo>
                  <a:cubicBezTo>
                    <a:pt x="2832" y="1596"/>
                    <a:pt x="2835" y="1590"/>
                    <a:pt x="2835" y="1587"/>
                  </a:cubicBezTo>
                  <a:cubicBezTo>
                    <a:pt x="2837" y="1587"/>
                    <a:pt x="2843" y="1587"/>
                    <a:pt x="2846" y="1590"/>
                  </a:cubicBezTo>
                  <a:cubicBezTo>
                    <a:pt x="2846" y="1593"/>
                    <a:pt x="2843" y="1598"/>
                    <a:pt x="2843" y="1601"/>
                  </a:cubicBezTo>
                  <a:close/>
                  <a:moveTo>
                    <a:pt x="2840" y="1519"/>
                  </a:moveTo>
                  <a:cubicBezTo>
                    <a:pt x="2854" y="1536"/>
                    <a:pt x="2820" y="1522"/>
                    <a:pt x="2840" y="1519"/>
                  </a:cubicBezTo>
                  <a:close/>
                  <a:moveTo>
                    <a:pt x="2837" y="1491"/>
                  </a:moveTo>
                  <a:cubicBezTo>
                    <a:pt x="2843" y="1488"/>
                    <a:pt x="2832" y="1500"/>
                    <a:pt x="2837" y="1491"/>
                  </a:cubicBezTo>
                  <a:close/>
                  <a:moveTo>
                    <a:pt x="2846" y="1306"/>
                  </a:moveTo>
                  <a:cubicBezTo>
                    <a:pt x="2857" y="1317"/>
                    <a:pt x="2820" y="1314"/>
                    <a:pt x="2846" y="1306"/>
                  </a:cubicBezTo>
                  <a:close/>
                  <a:moveTo>
                    <a:pt x="2835" y="1213"/>
                  </a:moveTo>
                  <a:lnTo>
                    <a:pt x="2835" y="1214"/>
                  </a:lnTo>
                  <a:cubicBezTo>
                    <a:pt x="2834" y="1214"/>
                    <a:pt x="2833" y="1214"/>
                    <a:pt x="2835" y="1213"/>
                  </a:cubicBezTo>
                  <a:cubicBezTo>
                    <a:pt x="2836" y="1213"/>
                    <a:pt x="2835" y="1214"/>
                    <a:pt x="2835" y="1214"/>
                  </a:cubicBezTo>
                  <a:lnTo>
                    <a:pt x="2835" y="1213"/>
                  </a:lnTo>
                  <a:close/>
                  <a:moveTo>
                    <a:pt x="2835" y="1334"/>
                  </a:moveTo>
                  <a:cubicBezTo>
                    <a:pt x="2837" y="1334"/>
                    <a:pt x="2832" y="1340"/>
                    <a:pt x="2835" y="1334"/>
                  </a:cubicBezTo>
                  <a:close/>
                  <a:moveTo>
                    <a:pt x="2837" y="1430"/>
                  </a:moveTo>
                  <a:cubicBezTo>
                    <a:pt x="2846" y="1430"/>
                    <a:pt x="2837" y="1466"/>
                    <a:pt x="2826" y="1455"/>
                  </a:cubicBezTo>
                  <a:cubicBezTo>
                    <a:pt x="2835" y="1447"/>
                    <a:pt x="2837" y="1439"/>
                    <a:pt x="2837" y="1430"/>
                  </a:cubicBezTo>
                  <a:close/>
                  <a:moveTo>
                    <a:pt x="2832" y="1337"/>
                  </a:moveTo>
                  <a:cubicBezTo>
                    <a:pt x="2829" y="1337"/>
                    <a:pt x="2823" y="1334"/>
                    <a:pt x="2820" y="1334"/>
                  </a:cubicBezTo>
                  <a:cubicBezTo>
                    <a:pt x="2820" y="1331"/>
                    <a:pt x="2823" y="1326"/>
                    <a:pt x="2823" y="1323"/>
                  </a:cubicBezTo>
                  <a:cubicBezTo>
                    <a:pt x="2826" y="1323"/>
                    <a:pt x="2832" y="1323"/>
                    <a:pt x="2835" y="1326"/>
                  </a:cubicBezTo>
                  <a:cubicBezTo>
                    <a:pt x="2835" y="1329"/>
                    <a:pt x="2832" y="1334"/>
                    <a:pt x="2832" y="1337"/>
                  </a:cubicBezTo>
                  <a:close/>
                  <a:moveTo>
                    <a:pt x="2815" y="1584"/>
                  </a:moveTo>
                  <a:cubicBezTo>
                    <a:pt x="2820" y="1590"/>
                    <a:pt x="2823" y="1601"/>
                    <a:pt x="2820" y="1610"/>
                  </a:cubicBezTo>
                  <a:cubicBezTo>
                    <a:pt x="2804" y="1610"/>
                    <a:pt x="2812" y="1593"/>
                    <a:pt x="2815" y="1584"/>
                  </a:cubicBezTo>
                  <a:close/>
                  <a:moveTo>
                    <a:pt x="2812" y="1641"/>
                  </a:moveTo>
                  <a:cubicBezTo>
                    <a:pt x="2818" y="1632"/>
                    <a:pt x="2820" y="1646"/>
                    <a:pt x="2812" y="1641"/>
                  </a:cubicBezTo>
                  <a:close/>
                  <a:moveTo>
                    <a:pt x="2812" y="1649"/>
                  </a:moveTo>
                  <a:cubicBezTo>
                    <a:pt x="2801" y="1649"/>
                    <a:pt x="2812" y="1635"/>
                    <a:pt x="2812" y="1649"/>
                  </a:cubicBezTo>
                  <a:close/>
                  <a:moveTo>
                    <a:pt x="2806" y="1669"/>
                  </a:moveTo>
                  <a:cubicBezTo>
                    <a:pt x="2812" y="1666"/>
                    <a:pt x="2804" y="1672"/>
                    <a:pt x="2806" y="1669"/>
                  </a:cubicBezTo>
                  <a:close/>
                  <a:moveTo>
                    <a:pt x="2801" y="1491"/>
                  </a:moveTo>
                  <a:cubicBezTo>
                    <a:pt x="2804" y="1486"/>
                    <a:pt x="2812" y="1488"/>
                    <a:pt x="2815" y="1483"/>
                  </a:cubicBezTo>
                  <a:cubicBezTo>
                    <a:pt x="2826" y="1491"/>
                    <a:pt x="2801" y="1502"/>
                    <a:pt x="2801" y="1491"/>
                  </a:cubicBezTo>
                  <a:close/>
                  <a:moveTo>
                    <a:pt x="2820" y="1511"/>
                  </a:moveTo>
                  <a:lnTo>
                    <a:pt x="2820" y="1517"/>
                  </a:lnTo>
                  <a:lnTo>
                    <a:pt x="2815" y="1517"/>
                  </a:lnTo>
                  <a:lnTo>
                    <a:pt x="2815" y="1511"/>
                  </a:lnTo>
                  <a:lnTo>
                    <a:pt x="2820" y="1511"/>
                  </a:lnTo>
                  <a:close/>
                  <a:moveTo>
                    <a:pt x="2801" y="1621"/>
                  </a:moveTo>
                  <a:cubicBezTo>
                    <a:pt x="2801" y="1615"/>
                    <a:pt x="2812" y="1624"/>
                    <a:pt x="2801" y="1621"/>
                  </a:cubicBezTo>
                  <a:close/>
                  <a:moveTo>
                    <a:pt x="2801" y="1579"/>
                  </a:moveTo>
                  <a:cubicBezTo>
                    <a:pt x="2804" y="1576"/>
                    <a:pt x="2798" y="1579"/>
                    <a:pt x="2801" y="1579"/>
                  </a:cubicBezTo>
                  <a:close/>
                  <a:moveTo>
                    <a:pt x="2806" y="1751"/>
                  </a:moveTo>
                  <a:cubicBezTo>
                    <a:pt x="2809" y="1751"/>
                    <a:pt x="2804" y="1754"/>
                    <a:pt x="2801" y="1754"/>
                  </a:cubicBezTo>
                  <a:cubicBezTo>
                    <a:pt x="2798" y="1754"/>
                    <a:pt x="2804" y="1751"/>
                    <a:pt x="2806" y="1751"/>
                  </a:cubicBezTo>
                  <a:close/>
                  <a:moveTo>
                    <a:pt x="2815" y="1731"/>
                  </a:moveTo>
                  <a:cubicBezTo>
                    <a:pt x="2798" y="1725"/>
                    <a:pt x="2826" y="1711"/>
                    <a:pt x="2815" y="1731"/>
                  </a:cubicBezTo>
                  <a:close/>
                  <a:moveTo>
                    <a:pt x="2806" y="1683"/>
                  </a:moveTo>
                  <a:cubicBezTo>
                    <a:pt x="2812" y="1675"/>
                    <a:pt x="2818" y="1686"/>
                    <a:pt x="2823" y="1689"/>
                  </a:cubicBezTo>
                  <a:cubicBezTo>
                    <a:pt x="2818" y="1697"/>
                    <a:pt x="2812" y="1686"/>
                    <a:pt x="2806" y="1683"/>
                  </a:cubicBezTo>
                  <a:close/>
                  <a:moveTo>
                    <a:pt x="2829" y="1748"/>
                  </a:moveTo>
                  <a:cubicBezTo>
                    <a:pt x="2829" y="1754"/>
                    <a:pt x="2823" y="1754"/>
                    <a:pt x="2820" y="1751"/>
                  </a:cubicBezTo>
                  <a:cubicBezTo>
                    <a:pt x="2823" y="1748"/>
                    <a:pt x="2826" y="1748"/>
                    <a:pt x="2829" y="1748"/>
                  </a:cubicBezTo>
                  <a:close/>
                  <a:moveTo>
                    <a:pt x="2843" y="1861"/>
                  </a:moveTo>
                  <a:cubicBezTo>
                    <a:pt x="2841" y="1861"/>
                    <a:pt x="2843" y="1858"/>
                    <a:pt x="2844" y="1858"/>
                  </a:cubicBezTo>
                  <a:cubicBezTo>
                    <a:pt x="2844" y="1857"/>
                    <a:pt x="2844" y="1855"/>
                    <a:pt x="2846" y="1855"/>
                  </a:cubicBezTo>
                  <a:cubicBezTo>
                    <a:pt x="2846" y="1849"/>
                    <a:pt x="2863" y="1858"/>
                    <a:pt x="2857" y="1864"/>
                  </a:cubicBezTo>
                  <a:cubicBezTo>
                    <a:pt x="2854" y="1864"/>
                    <a:pt x="2851" y="1861"/>
                    <a:pt x="2849" y="1861"/>
                  </a:cubicBezTo>
                  <a:lnTo>
                    <a:pt x="2846" y="1861"/>
                  </a:lnTo>
                  <a:cubicBezTo>
                    <a:pt x="2845" y="1861"/>
                    <a:pt x="2844" y="1860"/>
                    <a:pt x="2844" y="1859"/>
                  </a:cubicBezTo>
                  <a:cubicBezTo>
                    <a:pt x="2844" y="1859"/>
                    <a:pt x="2844" y="1860"/>
                    <a:pt x="2843" y="1861"/>
                  </a:cubicBezTo>
                  <a:close/>
                  <a:moveTo>
                    <a:pt x="2835" y="1748"/>
                  </a:moveTo>
                  <a:cubicBezTo>
                    <a:pt x="2835" y="1745"/>
                    <a:pt x="2835" y="1742"/>
                    <a:pt x="2837" y="1742"/>
                  </a:cubicBezTo>
                  <a:cubicBezTo>
                    <a:pt x="2846" y="1742"/>
                    <a:pt x="2849" y="1745"/>
                    <a:pt x="2849" y="1751"/>
                  </a:cubicBezTo>
                  <a:cubicBezTo>
                    <a:pt x="2846" y="1751"/>
                    <a:pt x="2840" y="1748"/>
                    <a:pt x="2835" y="1748"/>
                  </a:cubicBezTo>
                  <a:close/>
                  <a:moveTo>
                    <a:pt x="2846" y="1700"/>
                  </a:moveTo>
                  <a:cubicBezTo>
                    <a:pt x="2846" y="1697"/>
                    <a:pt x="2849" y="1694"/>
                    <a:pt x="2851" y="1691"/>
                  </a:cubicBezTo>
                  <a:cubicBezTo>
                    <a:pt x="2854" y="1691"/>
                    <a:pt x="2857" y="1697"/>
                    <a:pt x="2854" y="1700"/>
                  </a:cubicBezTo>
                  <a:cubicBezTo>
                    <a:pt x="2849" y="1703"/>
                    <a:pt x="2846" y="1703"/>
                    <a:pt x="2846" y="1700"/>
                  </a:cubicBezTo>
                  <a:close/>
                  <a:moveTo>
                    <a:pt x="2849" y="1536"/>
                  </a:moveTo>
                  <a:cubicBezTo>
                    <a:pt x="2835" y="1525"/>
                    <a:pt x="2866" y="1511"/>
                    <a:pt x="2849" y="1536"/>
                  </a:cubicBezTo>
                  <a:close/>
                  <a:moveTo>
                    <a:pt x="2849" y="1466"/>
                  </a:moveTo>
                  <a:cubicBezTo>
                    <a:pt x="2851" y="1466"/>
                    <a:pt x="2843" y="1469"/>
                    <a:pt x="2849" y="1466"/>
                  </a:cubicBezTo>
                  <a:close/>
                  <a:moveTo>
                    <a:pt x="2849" y="1457"/>
                  </a:moveTo>
                  <a:lnTo>
                    <a:pt x="2849" y="1453"/>
                  </a:lnTo>
                  <a:cubicBezTo>
                    <a:pt x="2851" y="1453"/>
                    <a:pt x="2854" y="1455"/>
                    <a:pt x="2854" y="1457"/>
                  </a:cubicBezTo>
                  <a:cubicBezTo>
                    <a:pt x="2854" y="1455"/>
                    <a:pt x="2851" y="1457"/>
                    <a:pt x="2849" y="1457"/>
                  </a:cubicBezTo>
                  <a:close/>
                  <a:moveTo>
                    <a:pt x="2849" y="1666"/>
                  </a:moveTo>
                  <a:cubicBezTo>
                    <a:pt x="2846" y="1660"/>
                    <a:pt x="2854" y="1660"/>
                    <a:pt x="2857" y="1660"/>
                  </a:cubicBezTo>
                  <a:cubicBezTo>
                    <a:pt x="2857" y="1666"/>
                    <a:pt x="2851" y="1666"/>
                    <a:pt x="2849" y="1666"/>
                  </a:cubicBezTo>
                  <a:close/>
                  <a:moveTo>
                    <a:pt x="2863" y="1235"/>
                  </a:moveTo>
                  <a:cubicBezTo>
                    <a:pt x="2857" y="1235"/>
                    <a:pt x="2854" y="1230"/>
                    <a:pt x="2849" y="1233"/>
                  </a:cubicBezTo>
                  <a:cubicBezTo>
                    <a:pt x="2849" y="1227"/>
                    <a:pt x="2851" y="1224"/>
                    <a:pt x="2851" y="1221"/>
                  </a:cubicBezTo>
                  <a:cubicBezTo>
                    <a:pt x="2857" y="1221"/>
                    <a:pt x="2863" y="1224"/>
                    <a:pt x="2863" y="1233"/>
                  </a:cubicBezTo>
                  <a:lnTo>
                    <a:pt x="2863" y="1235"/>
                  </a:lnTo>
                  <a:close/>
                  <a:moveTo>
                    <a:pt x="2871" y="1345"/>
                  </a:moveTo>
                  <a:cubicBezTo>
                    <a:pt x="2868" y="1348"/>
                    <a:pt x="2860" y="1345"/>
                    <a:pt x="2866" y="1337"/>
                  </a:cubicBezTo>
                  <a:cubicBezTo>
                    <a:pt x="2860" y="1343"/>
                    <a:pt x="2854" y="1345"/>
                    <a:pt x="2849" y="1348"/>
                  </a:cubicBezTo>
                  <a:cubicBezTo>
                    <a:pt x="2849" y="1340"/>
                    <a:pt x="2857" y="1337"/>
                    <a:pt x="2866" y="1337"/>
                  </a:cubicBezTo>
                  <a:cubicBezTo>
                    <a:pt x="2868" y="1337"/>
                    <a:pt x="2868" y="1340"/>
                    <a:pt x="2871" y="1340"/>
                  </a:cubicBezTo>
                  <a:lnTo>
                    <a:pt x="2871" y="1337"/>
                  </a:lnTo>
                  <a:lnTo>
                    <a:pt x="2874" y="1340"/>
                  </a:lnTo>
                  <a:cubicBezTo>
                    <a:pt x="2874" y="1340"/>
                    <a:pt x="2877" y="1343"/>
                    <a:pt x="2877" y="1345"/>
                  </a:cubicBezTo>
                  <a:lnTo>
                    <a:pt x="2871" y="1345"/>
                  </a:lnTo>
                  <a:close/>
                  <a:moveTo>
                    <a:pt x="2868" y="1348"/>
                  </a:moveTo>
                  <a:cubicBezTo>
                    <a:pt x="2868" y="1354"/>
                    <a:pt x="2854" y="1357"/>
                    <a:pt x="2857" y="1348"/>
                  </a:cubicBezTo>
                  <a:lnTo>
                    <a:pt x="2868" y="1348"/>
                  </a:lnTo>
                  <a:close/>
                  <a:moveTo>
                    <a:pt x="2866" y="1269"/>
                  </a:moveTo>
                  <a:cubicBezTo>
                    <a:pt x="2854" y="1258"/>
                    <a:pt x="2883" y="1244"/>
                    <a:pt x="2866" y="1269"/>
                  </a:cubicBezTo>
                  <a:close/>
                  <a:moveTo>
                    <a:pt x="2854" y="1317"/>
                  </a:moveTo>
                  <a:cubicBezTo>
                    <a:pt x="2857" y="1312"/>
                    <a:pt x="2866" y="1320"/>
                    <a:pt x="2854" y="1317"/>
                  </a:cubicBezTo>
                  <a:close/>
                  <a:moveTo>
                    <a:pt x="2849" y="1430"/>
                  </a:moveTo>
                  <a:cubicBezTo>
                    <a:pt x="2846" y="1433"/>
                    <a:pt x="2854" y="1427"/>
                    <a:pt x="2849" y="1430"/>
                  </a:cubicBezTo>
                  <a:close/>
                  <a:moveTo>
                    <a:pt x="2874" y="1255"/>
                  </a:moveTo>
                  <a:cubicBezTo>
                    <a:pt x="2874" y="1252"/>
                    <a:pt x="2868" y="1258"/>
                    <a:pt x="2874" y="1255"/>
                  </a:cubicBezTo>
                  <a:close/>
                  <a:moveTo>
                    <a:pt x="2885" y="1182"/>
                  </a:moveTo>
                  <a:cubicBezTo>
                    <a:pt x="2894" y="1202"/>
                    <a:pt x="2871" y="1165"/>
                    <a:pt x="2885" y="1182"/>
                  </a:cubicBezTo>
                  <a:close/>
                  <a:moveTo>
                    <a:pt x="2897" y="1190"/>
                  </a:moveTo>
                  <a:cubicBezTo>
                    <a:pt x="2885" y="1199"/>
                    <a:pt x="2871" y="1202"/>
                    <a:pt x="2860" y="1196"/>
                  </a:cubicBezTo>
                  <a:cubicBezTo>
                    <a:pt x="2863" y="1182"/>
                    <a:pt x="2883" y="1190"/>
                    <a:pt x="2897" y="1190"/>
                  </a:cubicBezTo>
                  <a:close/>
                  <a:moveTo>
                    <a:pt x="2860" y="1125"/>
                  </a:moveTo>
                  <a:cubicBezTo>
                    <a:pt x="2874" y="1142"/>
                    <a:pt x="2840" y="1159"/>
                    <a:pt x="2835" y="1140"/>
                  </a:cubicBezTo>
                  <a:cubicBezTo>
                    <a:pt x="2837" y="1131"/>
                    <a:pt x="2854" y="1140"/>
                    <a:pt x="2860" y="1125"/>
                  </a:cubicBezTo>
                  <a:close/>
                  <a:moveTo>
                    <a:pt x="2835" y="1156"/>
                  </a:moveTo>
                  <a:cubicBezTo>
                    <a:pt x="2849" y="1162"/>
                    <a:pt x="2823" y="1176"/>
                    <a:pt x="2835" y="1156"/>
                  </a:cubicBezTo>
                  <a:close/>
                  <a:moveTo>
                    <a:pt x="2835" y="1275"/>
                  </a:moveTo>
                  <a:cubicBezTo>
                    <a:pt x="2829" y="1281"/>
                    <a:pt x="2826" y="1272"/>
                    <a:pt x="2812" y="1275"/>
                  </a:cubicBezTo>
                  <a:cubicBezTo>
                    <a:pt x="2815" y="1269"/>
                    <a:pt x="2815" y="1261"/>
                    <a:pt x="2818" y="1255"/>
                  </a:cubicBezTo>
                  <a:cubicBezTo>
                    <a:pt x="2835" y="1255"/>
                    <a:pt x="2826" y="1269"/>
                    <a:pt x="2835" y="1275"/>
                  </a:cubicBezTo>
                  <a:close/>
                  <a:moveTo>
                    <a:pt x="2829" y="1238"/>
                  </a:moveTo>
                  <a:cubicBezTo>
                    <a:pt x="2820" y="1235"/>
                    <a:pt x="2820" y="1224"/>
                    <a:pt x="2823" y="1213"/>
                  </a:cubicBezTo>
                  <a:cubicBezTo>
                    <a:pt x="2832" y="1219"/>
                    <a:pt x="2832" y="1230"/>
                    <a:pt x="2829" y="1238"/>
                  </a:cubicBezTo>
                  <a:close/>
                  <a:moveTo>
                    <a:pt x="2820" y="1151"/>
                  </a:moveTo>
                  <a:cubicBezTo>
                    <a:pt x="2822" y="1151"/>
                    <a:pt x="2820" y="1152"/>
                    <a:pt x="2819" y="1153"/>
                  </a:cubicBezTo>
                  <a:cubicBezTo>
                    <a:pt x="2820" y="1153"/>
                    <a:pt x="2820" y="1153"/>
                    <a:pt x="2820" y="1154"/>
                  </a:cubicBezTo>
                  <a:cubicBezTo>
                    <a:pt x="2815" y="1159"/>
                    <a:pt x="2812" y="1154"/>
                    <a:pt x="2809" y="1151"/>
                  </a:cubicBezTo>
                  <a:cubicBezTo>
                    <a:pt x="2806" y="1159"/>
                    <a:pt x="2801" y="1162"/>
                    <a:pt x="2792" y="1162"/>
                  </a:cubicBezTo>
                  <a:lnTo>
                    <a:pt x="2789" y="1162"/>
                  </a:lnTo>
                  <a:cubicBezTo>
                    <a:pt x="2792" y="1159"/>
                    <a:pt x="2795" y="1145"/>
                    <a:pt x="2804" y="1145"/>
                  </a:cubicBezTo>
                  <a:cubicBezTo>
                    <a:pt x="2809" y="1140"/>
                    <a:pt x="2814" y="1149"/>
                    <a:pt x="2819" y="1153"/>
                  </a:cubicBezTo>
                  <a:cubicBezTo>
                    <a:pt x="2819" y="1152"/>
                    <a:pt x="2820" y="1152"/>
                    <a:pt x="2820" y="1151"/>
                  </a:cubicBezTo>
                  <a:close/>
                  <a:moveTo>
                    <a:pt x="2820" y="1173"/>
                  </a:moveTo>
                  <a:cubicBezTo>
                    <a:pt x="2835" y="1176"/>
                    <a:pt x="2832" y="1190"/>
                    <a:pt x="2829" y="1199"/>
                  </a:cubicBezTo>
                  <a:cubicBezTo>
                    <a:pt x="2823" y="1196"/>
                    <a:pt x="2820" y="1190"/>
                    <a:pt x="2818" y="1185"/>
                  </a:cubicBezTo>
                  <a:cubicBezTo>
                    <a:pt x="2818" y="1188"/>
                    <a:pt x="2820" y="1190"/>
                    <a:pt x="2818" y="1193"/>
                  </a:cubicBezTo>
                  <a:cubicBezTo>
                    <a:pt x="2806" y="1193"/>
                    <a:pt x="2812" y="1190"/>
                    <a:pt x="2806" y="1188"/>
                  </a:cubicBezTo>
                  <a:cubicBezTo>
                    <a:pt x="2804" y="1188"/>
                    <a:pt x="2809" y="1196"/>
                    <a:pt x="2804" y="1199"/>
                  </a:cubicBezTo>
                  <a:cubicBezTo>
                    <a:pt x="2798" y="1199"/>
                    <a:pt x="2798" y="1188"/>
                    <a:pt x="2798" y="1182"/>
                  </a:cubicBezTo>
                  <a:cubicBezTo>
                    <a:pt x="2804" y="1179"/>
                    <a:pt x="2809" y="1179"/>
                    <a:pt x="2818" y="1179"/>
                  </a:cubicBezTo>
                  <a:cubicBezTo>
                    <a:pt x="2818" y="1176"/>
                    <a:pt x="2818" y="1173"/>
                    <a:pt x="2820" y="1173"/>
                  </a:cubicBezTo>
                  <a:close/>
                  <a:moveTo>
                    <a:pt x="2795" y="1199"/>
                  </a:moveTo>
                  <a:cubicBezTo>
                    <a:pt x="2789" y="1216"/>
                    <a:pt x="2787" y="1216"/>
                    <a:pt x="2772" y="1224"/>
                  </a:cubicBezTo>
                  <a:cubicBezTo>
                    <a:pt x="2775" y="1207"/>
                    <a:pt x="2781" y="1193"/>
                    <a:pt x="2795" y="1199"/>
                  </a:cubicBezTo>
                  <a:close/>
                  <a:moveTo>
                    <a:pt x="2767" y="1204"/>
                  </a:moveTo>
                  <a:lnTo>
                    <a:pt x="2772" y="1204"/>
                  </a:lnTo>
                  <a:cubicBezTo>
                    <a:pt x="2775" y="1207"/>
                    <a:pt x="2773" y="1212"/>
                    <a:pt x="2768" y="1213"/>
                  </a:cubicBezTo>
                  <a:lnTo>
                    <a:pt x="2768" y="1213"/>
                  </a:lnTo>
                  <a:cubicBezTo>
                    <a:pt x="2766" y="1215"/>
                    <a:pt x="2763" y="1218"/>
                    <a:pt x="2767" y="1213"/>
                  </a:cubicBezTo>
                  <a:lnTo>
                    <a:pt x="2767" y="1204"/>
                  </a:lnTo>
                  <a:close/>
                  <a:moveTo>
                    <a:pt x="2781" y="1171"/>
                  </a:moveTo>
                  <a:cubicBezTo>
                    <a:pt x="2795" y="1176"/>
                    <a:pt x="2770" y="1190"/>
                    <a:pt x="2781" y="1171"/>
                  </a:cubicBezTo>
                  <a:close/>
                  <a:moveTo>
                    <a:pt x="2772" y="1142"/>
                  </a:moveTo>
                  <a:cubicBezTo>
                    <a:pt x="2787" y="1148"/>
                    <a:pt x="2761" y="1162"/>
                    <a:pt x="2772" y="1142"/>
                  </a:cubicBezTo>
                  <a:close/>
                  <a:moveTo>
                    <a:pt x="2778" y="1131"/>
                  </a:moveTo>
                  <a:cubicBezTo>
                    <a:pt x="2775" y="1134"/>
                    <a:pt x="2770" y="1137"/>
                    <a:pt x="2767" y="1137"/>
                  </a:cubicBezTo>
                  <a:cubicBezTo>
                    <a:pt x="2764" y="1131"/>
                    <a:pt x="2775" y="1131"/>
                    <a:pt x="2778" y="1131"/>
                  </a:cubicBezTo>
                  <a:close/>
                  <a:moveTo>
                    <a:pt x="2758" y="1171"/>
                  </a:moveTo>
                  <a:cubicBezTo>
                    <a:pt x="2761" y="1173"/>
                    <a:pt x="2764" y="1179"/>
                    <a:pt x="2761" y="1179"/>
                  </a:cubicBezTo>
                  <a:cubicBezTo>
                    <a:pt x="2764" y="1179"/>
                    <a:pt x="2764" y="1181"/>
                    <a:pt x="2760" y="1182"/>
                  </a:cubicBezTo>
                  <a:cubicBezTo>
                    <a:pt x="2754" y="1181"/>
                    <a:pt x="2745" y="1173"/>
                    <a:pt x="2758" y="1171"/>
                  </a:cubicBezTo>
                  <a:close/>
                  <a:moveTo>
                    <a:pt x="2758" y="1182"/>
                  </a:moveTo>
                  <a:lnTo>
                    <a:pt x="2761" y="1182"/>
                  </a:lnTo>
                  <a:lnTo>
                    <a:pt x="2760" y="1182"/>
                  </a:lnTo>
                  <a:cubicBezTo>
                    <a:pt x="2760" y="1182"/>
                    <a:pt x="2759" y="1182"/>
                    <a:pt x="2758" y="1182"/>
                  </a:cubicBezTo>
                  <a:close/>
                  <a:moveTo>
                    <a:pt x="2750" y="795"/>
                  </a:moveTo>
                  <a:cubicBezTo>
                    <a:pt x="2753" y="793"/>
                    <a:pt x="2744" y="798"/>
                    <a:pt x="2750" y="795"/>
                  </a:cubicBezTo>
                  <a:close/>
                  <a:moveTo>
                    <a:pt x="2753" y="1427"/>
                  </a:moveTo>
                  <a:cubicBezTo>
                    <a:pt x="2753" y="1433"/>
                    <a:pt x="2750" y="1436"/>
                    <a:pt x="2747" y="1439"/>
                  </a:cubicBezTo>
                  <a:cubicBezTo>
                    <a:pt x="2744" y="1433"/>
                    <a:pt x="2747" y="1430"/>
                    <a:pt x="2753" y="1427"/>
                  </a:cubicBezTo>
                  <a:close/>
                  <a:moveTo>
                    <a:pt x="2744" y="767"/>
                  </a:moveTo>
                  <a:cubicBezTo>
                    <a:pt x="2756" y="773"/>
                    <a:pt x="2730" y="787"/>
                    <a:pt x="2744" y="767"/>
                  </a:cubicBezTo>
                  <a:close/>
                  <a:moveTo>
                    <a:pt x="2741" y="1416"/>
                  </a:moveTo>
                  <a:cubicBezTo>
                    <a:pt x="2727" y="1408"/>
                    <a:pt x="2756" y="1393"/>
                    <a:pt x="2741" y="1416"/>
                  </a:cubicBezTo>
                  <a:close/>
                  <a:moveTo>
                    <a:pt x="2741" y="1480"/>
                  </a:moveTo>
                  <a:cubicBezTo>
                    <a:pt x="2733" y="1483"/>
                    <a:pt x="2725" y="1486"/>
                    <a:pt x="2716" y="1486"/>
                  </a:cubicBezTo>
                  <a:cubicBezTo>
                    <a:pt x="2725" y="1477"/>
                    <a:pt x="2733" y="1477"/>
                    <a:pt x="2739" y="1469"/>
                  </a:cubicBezTo>
                  <a:cubicBezTo>
                    <a:pt x="2741" y="1471"/>
                    <a:pt x="2739" y="1474"/>
                    <a:pt x="2741" y="1480"/>
                  </a:cubicBezTo>
                  <a:close/>
                  <a:moveTo>
                    <a:pt x="2725" y="1283"/>
                  </a:moveTo>
                  <a:cubicBezTo>
                    <a:pt x="2736" y="1286"/>
                    <a:pt x="2733" y="1298"/>
                    <a:pt x="2730" y="1303"/>
                  </a:cubicBezTo>
                  <a:cubicBezTo>
                    <a:pt x="2725" y="1298"/>
                    <a:pt x="2722" y="1289"/>
                    <a:pt x="2725" y="1283"/>
                  </a:cubicBezTo>
                  <a:close/>
                  <a:moveTo>
                    <a:pt x="2722" y="1354"/>
                  </a:moveTo>
                  <a:cubicBezTo>
                    <a:pt x="2725" y="1345"/>
                    <a:pt x="2727" y="1362"/>
                    <a:pt x="2722" y="1354"/>
                  </a:cubicBezTo>
                  <a:close/>
                  <a:moveTo>
                    <a:pt x="2719" y="1295"/>
                  </a:moveTo>
                  <a:cubicBezTo>
                    <a:pt x="2716" y="1295"/>
                    <a:pt x="2716" y="1292"/>
                    <a:pt x="2713" y="1292"/>
                  </a:cubicBezTo>
                  <a:cubicBezTo>
                    <a:pt x="2713" y="1289"/>
                    <a:pt x="2716" y="1289"/>
                    <a:pt x="2716" y="1286"/>
                  </a:cubicBezTo>
                  <a:lnTo>
                    <a:pt x="2722" y="1286"/>
                  </a:lnTo>
                  <a:cubicBezTo>
                    <a:pt x="2722" y="1292"/>
                    <a:pt x="2722" y="1292"/>
                    <a:pt x="2719" y="1295"/>
                  </a:cubicBezTo>
                  <a:close/>
                  <a:moveTo>
                    <a:pt x="2713" y="763"/>
                  </a:moveTo>
                  <a:cubicBezTo>
                    <a:pt x="2714" y="761"/>
                    <a:pt x="2717" y="761"/>
                    <a:pt x="2713" y="764"/>
                  </a:cubicBezTo>
                  <a:cubicBezTo>
                    <a:pt x="2712" y="764"/>
                    <a:pt x="2713" y="764"/>
                    <a:pt x="2713" y="763"/>
                  </a:cubicBezTo>
                  <a:close/>
                  <a:moveTo>
                    <a:pt x="2708" y="722"/>
                  </a:moveTo>
                  <a:cubicBezTo>
                    <a:pt x="2708" y="725"/>
                    <a:pt x="2702" y="728"/>
                    <a:pt x="2699" y="728"/>
                  </a:cubicBezTo>
                  <a:cubicBezTo>
                    <a:pt x="2702" y="725"/>
                    <a:pt x="2705" y="722"/>
                    <a:pt x="2708" y="722"/>
                  </a:cubicBezTo>
                  <a:close/>
                  <a:moveTo>
                    <a:pt x="2719" y="781"/>
                  </a:moveTo>
                  <a:cubicBezTo>
                    <a:pt x="2713" y="790"/>
                    <a:pt x="2710" y="784"/>
                    <a:pt x="2705" y="781"/>
                  </a:cubicBezTo>
                  <a:lnTo>
                    <a:pt x="2702" y="781"/>
                  </a:lnTo>
                  <a:cubicBezTo>
                    <a:pt x="2702" y="781"/>
                    <a:pt x="2699" y="779"/>
                    <a:pt x="2699" y="776"/>
                  </a:cubicBezTo>
                  <a:lnTo>
                    <a:pt x="2702" y="776"/>
                  </a:lnTo>
                  <a:cubicBezTo>
                    <a:pt x="2699" y="773"/>
                    <a:pt x="2696" y="773"/>
                    <a:pt x="2693" y="773"/>
                  </a:cubicBezTo>
                  <a:cubicBezTo>
                    <a:pt x="2702" y="762"/>
                    <a:pt x="2716" y="779"/>
                    <a:pt x="2719" y="781"/>
                  </a:cubicBezTo>
                  <a:close/>
                  <a:moveTo>
                    <a:pt x="2696" y="680"/>
                  </a:moveTo>
                  <a:cubicBezTo>
                    <a:pt x="2677" y="694"/>
                    <a:pt x="2685" y="660"/>
                    <a:pt x="2696" y="680"/>
                  </a:cubicBezTo>
                  <a:close/>
                  <a:moveTo>
                    <a:pt x="2688" y="1171"/>
                  </a:moveTo>
                  <a:cubicBezTo>
                    <a:pt x="2688" y="1173"/>
                    <a:pt x="2685" y="1179"/>
                    <a:pt x="2685" y="1182"/>
                  </a:cubicBezTo>
                  <a:cubicBezTo>
                    <a:pt x="2682" y="1182"/>
                    <a:pt x="2677" y="1179"/>
                    <a:pt x="2674" y="1179"/>
                  </a:cubicBezTo>
                  <a:cubicBezTo>
                    <a:pt x="2674" y="1176"/>
                    <a:pt x="2674" y="1171"/>
                    <a:pt x="2677" y="1168"/>
                  </a:cubicBezTo>
                  <a:cubicBezTo>
                    <a:pt x="2679" y="1168"/>
                    <a:pt x="2685" y="1171"/>
                    <a:pt x="2688" y="1171"/>
                  </a:cubicBezTo>
                  <a:close/>
                  <a:moveTo>
                    <a:pt x="2671" y="691"/>
                  </a:moveTo>
                  <a:cubicBezTo>
                    <a:pt x="2668" y="694"/>
                    <a:pt x="2677" y="688"/>
                    <a:pt x="2671" y="691"/>
                  </a:cubicBezTo>
                  <a:close/>
                  <a:moveTo>
                    <a:pt x="2677" y="762"/>
                  </a:moveTo>
                  <a:cubicBezTo>
                    <a:pt x="2662" y="762"/>
                    <a:pt x="2668" y="747"/>
                    <a:pt x="2660" y="742"/>
                  </a:cubicBezTo>
                  <a:cubicBezTo>
                    <a:pt x="2662" y="733"/>
                    <a:pt x="2682" y="750"/>
                    <a:pt x="2677" y="762"/>
                  </a:cubicBezTo>
                  <a:close/>
                  <a:moveTo>
                    <a:pt x="2648" y="623"/>
                  </a:moveTo>
                  <a:cubicBezTo>
                    <a:pt x="2651" y="629"/>
                    <a:pt x="2634" y="635"/>
                    <a:pt x="2637" y="626"/>
                  </a:cubicBezTo>
                  <a:cubicBezTo>
                    <a:pt x="2640" y="623"/>
                    <a:pt x="2643" y="623"/>
                    <a:pt x="2648" y="623"/>
                  </a:cubicBezTo>
                  <a:close/>
                  <a:moveTo>
                    <a:pt x="2640" y="609"/>
                  </a:moveTo>
                  <a:cubicBezTo>
                    <a:pt x="2654" y="615"/>
                    <a:pt x="2629" y="629"/>
                    <a:pt x="2640" y="609"/>
                  </a:cubicBezTo>
                  <a:close/>
                  <a:moveTo>
                    <a:pt x="2643" y="762"/>
                  </a:moveTo>
                  <a:cubicBezTo>
                    <a:pt x="2646" y="756"/>
                    <a:pt x="2657" y="756"/>
                    <a:pt x="2662" y="756"/>
                  </a:cubicBezTo>
                  <a:cubicBezTo>
                    <a:pt x="2662" y="764"/>
                    <a:pt x="2648" y="767"/>
                    <a:pt x="2643" y="764"/>
                  </a:cubicBezTo>
                  <a:cubicBezTo>
                    <a:pt x="2640" y="767"/>
                    <a:pt x="2637" y="767"/>
                    <a:pt x="2634" y="767"/>
                  </a:cubicBezTo>
                  <a:cubicBezTo>
                    <a:pt x="2626" y="756"/>
                    <a:pt x="2640" y="759"/>
                    <a:pt x="2643" y="762"/>
                  </a:cubicBezTo>
                  <a:close/>
                  <a:moveTo>
                    <a:pt x="2646" y="1148"/>
                  </a:moveTo>
                  <a:cubicBezTo>
                    <a:pt x="2648" y="1148"/>
                    <a:pt x="2637" y="1154"/>
                    <a:pt x="2631" y="1156"/>
                  </a:cubicBezTo>
                  <a:cubicBezTo>
                    <a:pt x="2634" y="1145"/>
                    <a:pt x="2637" y="1142"/>
                    <a:pt x="2646" y="1148"/>
                  </a:cubicBezTo>
                  <a:close/>
                  <a:moveTo>
                    <a:pt x="2623" y="606"/>
                  </a:moveTo>
                  <a:cubicBezTo>
                    <a:pt x="2617" y="598"/>
                    <a:pt x="2617" y="587"/>
                    <a:pt x="2606" y="581"/>
                  </a:cubicBezTo>
                  <a:cubicBezTo>
                    <a:pt x="2629" y="567"/>
                    <a:pt x="2646" y="590"/>
                    <a:pt x="2623" y="606"/>
                  </a:cubicBezTo>
                  <a:close/>
                  <a:moveTo>
                    <a:pt x="2609" y="609"/>
                  </a:moveTo>
                  <a:lnTo>
                    <a:pt x="2609" y="610"/>
                  </a:lnTo>
                  <a:cubicBezTo>
                    <a:pt x="2608" y="611"/>
                    <a:pt x="2607" y="611"/>
                    <a:pt x="2609" y="609"/>
                  </a:cubicBezTo>
                  <a:cubicBezTo>
                    <a:pt x="2610" y="609"/>
                    <a:pt x="2610" y="610"/>
                    <a:pt x="2609" y="610"/>
                  </a:cubicBezTo>
                  <a:lnTo>
                    <a:pt x="2609" y="609"/>
                  </a:lnTo>
                  <a:close/>
                  <a:moveTo>
                    <a:pt x="2609" y="705"/>
                  </a:moveTo>
                  <a:cubicBezTo>
                    <a:pt x="2595" y="697"/>
                    <a:pt x="2623" y="683"/>
                    <a:pt x="2609" y="705"/>
                  </a:cubicBezTo>
                  <a:close/>
                  <a:moveTo>
                    <a:pt x="2609" y="595"/>
                  </a:moveTo>
                  <a:cubicBezTo>
                    <a:pt x="2606" y="601"/>
                    <a:pt x="2600" y="604"/>
                    <a:pt x="2595" y="604"/>
                  </a:cubicBezTo>
                  <a:cubicBezTo>
                    <a:pt x="2595" y="598"/>
                    <a:pt x="2606" y="598"/>
                    <a:pt x="2609" y="595"/>
                  </a:cubicBezTo>
                  <a:close/>
                  <a:moveTo>
                    <a:pt x="2595" y="612"/>
                  </a:moveTo>
                  <a:lnTo>
                    <a:pt x="2603" y="612"/>
                  </a:lnTo>
                  <a:cubicBezTo>
                    <a:pt x="2600" y="615"/>
                    <a:pt x="2600" y="621"/>
                    <a:pt x="2598" y="618"/>
                  </a:cubicBezTo>
                  <a:cubicBezTo>
                    <a:pt x="2595" y="618"/>
                    <a:pt x="2595" y="615"/>
                    <a:pt x="2595" y="612"/>
                  </a:cubicBezTo>
                  <a:close/>
                  <a:moveTo>
                    <a:pt x="2595" y="674"/>
                  </a:moveTo>
                  <a:cubicBezTo>
                    <a:pt x="2583" y="671"/>
                    <a:pt x="2586" y="660"/>
                    <a:pt x="2589" y="654"/>
                  </a:cubicBezTo>
                  <a:cubicBezTo>
                    <a:pt x="2595" y="660"/>
                    <a:pt x="2598" y="668"/>
                    <a:pt x="2595" y="674"/>
                  </a:cubicBezTo>
                  <a:close/>
                  <a:moveTo>
                    <a:pt x="2578" y="567"/>
                  </a:moveTo>
                  <a:cubicBezTo>
                    <a:pt x="2586" y="542"/>
                    <a:pt x="2606" y="575"/>
                    <a:pt x="2578" y="567"/>
                  </a:cubicBezTo>
                  <a:close/>
                  <a:moveTo>
                    <a:pt x="2578" y="592"/>
                  </a:moveTo>
                  <a:cubicBezTo>
                    <a:pt x="2564" y="578"/>
                    <a:pt x="2603" y="584"/>
                    <a:pt x="2578" y="592"/>
                  </a:cubicBezTo>
                  <a:close/>
                  <a:moveTo>
                    <a:pt x="2572" y="533"/>
                  </a:moveTo>
                  <a:cubicBezTo>
                    <a:pt x="2575" y="533"/>
                    <a:pt x="2569" y="536"/>
                    <a:pt x="2572" y="533"/>
                  </a:cubicBezTo>
                  <a:close/>
                  <a:moveTo>
                    <a:pt x="2589" y="626"/>
                  </a:moveTo>
                  <a:cubicBezTo>
                    <a:pt x="2586" y="640"/>
                    <a:pt x="2575" y="635"/>
                    <a:pt x="2575" y="652"/>
                  </a:cubicBezTo>
                  <a:cubicBezTo>
                    <a:pt x="2567" y="649"/>
                    <a:pt x="2578" y="612"/>
                    <a:pt x="2589" y="626"/>
                  </a:cubicBezTo>
                  <a:close/>
                  <a:moveTo>
                    <a:pt x="2567" y="680"/>
                  </a:moveTo>
                  <a:cubicBezTo>
                    <a:pt x="2567" y="697"/>
                    <a:pt x="2578" y="714"/>
                    <a:pt x="2572" y="733"/>
                  </a:cubicBezTo>
                  <a:cubicBezTo>
                    <a:pt x="2561" y="719"/>
                    <a:pt x="2558" y="697"/>
                    <a:pt x="2567" y="680"/>
                  </a:cubicBezTo>
                  <a:close/>
                  <a:moveTo>
                    <a:pt x="2578" y="762"/>
                  </a:moveTo>
                  <a:cubicBezTo>
                    <a:pt x="2578" y="773"/>
                    <a:pt x="2567" y="767"/>
                    <a:pt x="2564" y="776"/>
                  </a:cubicBezTo>
                  <a:cubicBezTo>
                    <a:pt x="2552" y="773"/>
                    <a:pt x="2569" y="753"/>
                    <a:pt x="2578" y="762"/>
                  </a:cubicBezTo>
                  <a:close/>
                  <a:moveTo>
                    <a:pt x="2555" y="539"/>
                  </a:moveTo>
                  <a:cubicBezTo>
                    <a:pt x="2552" y="537"/>
                    <a:pt x="2551" y="536"/>
                    <a:pt x="2551" y="534"/>
                  </a:cubicBezTo>
                  <a:cubicBezTo>
                    <a:pt x="2545" y="537"/>
                    <a:pt x="2538" y="538"/>
                    <a:pt x="2533" y="536"/>
                  </a:cubicBezTo>
                  <a:cubicBezTo>
                    <a:pt x="2538" y="533"/>
                    <a:pt x="2541" y="525"/>
                    <a:pt x="2547" y="525"/>
                  </a:cubicBezTo>
                  <a:cubicBezTo>
                    <a:pt x="2544" y="522"/>
                    <a:pt x="2544" y="522"/>
                    <a:pt x="2544" y="519"/>
                  </a:cubicBezTo>
                  <a:cubicBezTo>
                    <a:pt x="2547" y="519"/>
                    <a:pt x="2550" y="522"/>
                    <a:pt x="2552" y="522"/>
                  </a:cubicBezTo>
                  <a:cubicBezTo>
                    <a:pt x="2552" y="522"/>
                    <a:pt x="2552" y="525"/>
                    <a:pt x="2550" y="525"/>
                  </a:cubicBezTo>
                  <a:cubicBezTo>
                    <a:pt x="2552" y="525"/>
                    <a:pt x="2555" y="525"/>
                    <a:pt x="2558" y="527"/>
                  </a:cubicBezTo>
                  <a:cubicBezTo>
                    <a:pt x="2558" y="528"/>
                    <a:pt x="2558" y="528"/>
                    <a:pt x="2557" y="529"/>
                  </a:cubicBezTo>
                  <a:cubicBezTo>
                    <a:pt x="2560" y="528"/>
                    <a:pt x="2561" y="531"/>
                    <a:pt x="2555" y="539"/>
                  </a:cubicBezTo>
                  <a:close/>
                  <a:moveTo>
                    <a:pt x="2538" y="629"/>
                  </a:moveTo>
                  <a:cubicBezTo>
                    <a:pt x="2535" y="632"/>
                    <a:pt x="2533" y="637"/>
                    <a:pt x="2530" y="637"/>
                  </a:cubicBezTo>
                  <a:cubicBezTo>
                    <a:pt x="2530" y="635"/>
                    <a:pt x="2535" y="629"/>
                    <a:pt x="2538" y="629"/>
                  </a:cubicBezTo>
                  <a:close/>
                  <a:moveTo>
                    <a:pt x="2521" y="592"/>
                  </a:moveTo>
                  <a:cubicBezTo>
                    <a:pt x="2504" y="587"/>
                    <a:pt x="2533" y="573"/>
                    <a:pt x="2521" y="592"/>
                  </a:cubicBezTo>
                  <a:close/>
                  <a:moveTo>
                    <a:pt x="2521" y="485"/>
                  </a:moveTo>
                  <a:cubicBezTo>
                    <a:pt x="2510" y="496"/>
                    <a:pt x="2507" y="468"/>
                    <a:pt x="2504" y="460"/>
                  </a:cubicBezTo>
                  <a:cubicBezTo>
                    <a:pt x="2524" y="460"/>
                    <a:pt x="2513" y="479"/>
                    <a:pt x="2521" y="485"/>
                  </a:cubicBezTo>
                  <a:close/>
                  <a:moveTo>
                    <a:pt x="2510" y="598"/>
                  </a:moveTo>
                  <a:cubicBezTo>
                    <a:pt x="2502" y="635"/>
                    <a:pt x="2476" y="584"/>
                    <a:pt x="2510" y="598"/>
                  </a:cubicBezTo>
                  <a:close/>
                  <a:moveTo>
                    <a:pt x="2499" y="434"/>
                  </a:moveTo>
                  <a:cubicBezTo>
                    <a:pt x="2496" y="434"/>
                    <a:pt x="2504" y="432"/>
                    <a:pt x="2499" y="434"/>
                  </a:cubicBezTo>
                  <a:close/>
                  <a:moveTo>
                    <a:pt x="2499" y="434"/>
                  </a:moveTo>
                  <a:cubicBezTo>
                    <a:pt x="2513" y="451"/>
                    <a:pt x="2496" y="451"/>
                    <a:pt x="2487" y="468"/>
                  </a:cubicBezTo>
                  <a:cubicBezTo>
                    <a:pt x="2473" y="457"/>
                    <a:pt x="2499" y="451"/>
                    <a:pt x="2499" y="434"/>
                  </a:cubicBezTo>
                  <a:close/>
                  <a:moveTo>
                    <a:pt x="2482" y="420"/>
                  </a:moveTo>
                  <a:cubicBezTo>
                    <a:pt x="2496" y="440"/>
                    <a:pt x="2473" y="451"/>
                    <a:pt x="2482" y="420"/>
                  </a:cubicBezTo>
                  <a:close/>
                  <a:moveTo>
                    <a:pt x="2479" y="694"/>
                  </a:moveTo>
                  <a:lnTo>
                    <a:pt x="2479" y="697"/>
                  </a:lnTo>
                  <a:lnTo>
                    <a:pt x="2476" y="697"/>
                  </a:lnTo>
                  <a:cubicBezTo>
                    <a:pt x="2476" y="697"/>
                    <a:pt x="2476" y="694"/>
                    <a:pt x="2479" y="694"/>
                  </a:cubicBezTo>
                  <a:close/>
                  <a:moveTo>
                    <a:pt x="2476" y="705"/>
                  </a:moveTo>
                  <a:cubicBezTo>
                    <a:pt x="2473" y="705"/>
                    <a:pt x="2468" y="702"/>
                    <a:pt x="2468" y="702"/>
                  </a:cubicBezTo>
                  <a:cubicBezTo>
                    <a:pt x="2465" y="700"/>
                    <a:pt x="2479" y="700"/>
                    <a:pt x="2476" y="705"/>
                  </a:cubicBezTo>
                  <a:close/>
                  <a:moveTo>
                    <a:pt x="2468" y="745"/>
                  </a:moveTo>
                  <a:cubicBezTo>
                    <a:pt x="2468" y="739"/>
                    <a:pt x="2479" y="747"/>
                    <a:pt x="2468" y="745"/>
                  </a:cubicBezTo>
                  <a:close/>
                  <a:moveTo>
                    <a:pt x="2423" y="1379"/>
                  </a:moveTo>
                  <a:cubicBezTo>
                    <a:pt x="2423" y="1374"/>
                    <a:pt x="2434" y="1382"/>
                    <a:pt x="2423" y="1379"/>
                  </a:cubicBezTo>
                  <a:close/>
                  <a:moveTo>
                    <a:pt x="2425" y="523"/>
                  </a:moveTo>
                  <a:cubicBezTo>
                    <a:pt x="2425" y="523"/>
                    <a:pt x="2424" y="523"/>
                    <a:pt x="2425" y="522"/>
                  </a:cubicBezTo>
                  <a:cubicBezTo>
                    <a:pt x="2429" y="522"/>
                    <a:pt x="2427" y="523"/>
                    <a:pt x="2425" y="523"/>
                  </a:cubicBezTo>
                  <a:close/>
                  <a:moveTo>
                    <a:pt x="2431" y="1306"/>
                  </a:moveTo>
                  <a:cubicBezTo>
                    <a:pt x="2425" y="1306"/>
                    <a:pt x="2434" y="1303"/>
                    <a:pt x="2431" y="1306"/>
                  </a:cubicBezTo>
                  <a:close/>
                  <a:moveTo>
                    <a:pt x="2431" y="2222"/>
                  </a:moveTo>
                  <a:cubicBezTo>
                    <a:pt x="2434" y="2216"/>
                    <a:pt x="2442" y="2225"/>
                    <a:pt x="2431" y="2222"/>
                  </a:cubicBezTo>
                  <a:close/>
                  <a:moveTo>
                    <a:pt x="2428" y="2013"/>
                  </a:moveTo>
                  <a:cubicBezTo>
                    <a:pt x="2428" y="2007"/>
                    <a:pt x="2434" y="2007"/>
                    <a:pt x="2437" y="2005"/>
                  </a:cubicBezTo>
                  <a:cubicBezTo>
                    <a:pt x="2437" y="2007"/>
                    <a:pt x="2434" y="2013"/>
                    <a:pt x="2428" y="2013"/>
                  </a:cubicBezTo>
                  <a:close/>
                  <a:moveTo>
                    <a:pt x="2440" y="1525"/>
                  </a:moveTo>
                  <a:cubicBezTo>
                    <a:pt x="2431" y="1531"/>
                    <a:pt x="2423" y="1519"/>
                    <a:pt x="2440" y="1525"/>
                  </a:cubicBezTo>
                  <a:close/>
                  <a:moveTo>
                    <a:pt x="2442" y="2318"/>
                  </a:moveTo>
                  <a:lnTo>
                    <a:pt x="2442" y="2315"/>
                  </a:lnTo>
                  <a:lnTo>
                    <a:pt x="2448" y="2315"/>
                  </a:lnTo>
                  <a:cubicBezTo>
                    <a:pt x="2445" y="2318"/>
                    <a:pt x="2445" y="2326"/>
                    <a:pt x="2437" y="2323"/>
                  </a:cubicBezTo>
                  <a:cubicBezTo>
                    <a:pt x="2437" y="2320"/>
                    <a:pt x="2440" y="2318"/>
                    <a:pt x="2442" y="2318"/>
                  </a:cubicBezTo>
                  <a:close/>
                  <a:moveTo>
                    <a:pt x="2442" y="2264"/>
                  </a:moveTo>
                  <a:cubicBezTo>
                    <a:pt x="2448" y="2264"/>
                    <a:pt x="2442" y="2273"/>
                    <a:pt x="2442" y="2275"/>
                  </a:cubicBezTo>
                  <a:cubicBezTo>
                    <a:pt x="2437" y="2275"/>
                    <a:pt x="2442" y="2267"/>
                    <a:pt x="2442" y="2264"/>
                  </a:cubicBezTo>
                  <a:close/>
                  <a:moveTo>
                    <a:pt x="2451" y="581"/>
                  </a:moveTo>
                  <a:cubicBezTo>
                    <a:pt x="2437" y="575"/>
                    <a:pt x="2465" y="561"/>
                    <a:pt x="2451" y="581"/>
                  </a:cubicBezTo>
                  <a:close/>
                  <a:moveTo>
                    <a:pt x="2454" y="508"/>
                  </a:moveTo>
                  <a:cubicBezTo>
                    <a:pt x="2440" y="502"/>
                    <a:pt x="2468" y="488"/>
                    <a:pt x="2454" y="508"/>
                  </a:cubicBezTo>
                  <a:close/>
                  <a:moveTo>
                    <a:pt x="2456" y="668"/>
                  </a:moveTo>
                  <a:cubicBezTo>
                    <a:pt x="2465" y="671"/>
                    <a:pt x="2454" y="683"/>
                    <a:pt x="2456" y="668"/>
                  </a:cubicBezTo>
                  <a:close/>
                  <a:moveTo>
                    <a:pt x="2456" y="1533"/>
                  </a:moveTo>
                  <a:cubicBezTo>
                    <a:pt x="2462" y="1531"/>
                    <a:pt x="2462" y="1545"/>
                    <a:pt x="2456" y="1542"/>
                  </a:cubicBezTo>
                  <a:lnTo>
                    <a:pt x="2456" y="1533"/>
                  </a:lnTo>
                  <a:close/>
                  <a:moveTo>
                    <a:pt x="2462" y="533"/>
                  </a:moveTo>
                  <a:cubicBezTo>
                    <a:pt x="2448" y="522"/>
                    <a:pt x="2479" y="508"/>
                    <a:pt x="2462" y="533"/>
                  </a:cubicBezTo>
                  <a:close/>
                  <a:moveTo>
                    <a:pt x="2465" y="1519"/>
                  </a:moveTo>
                  <a:cubicBezTo>
                    <a:pt x="2465" y="1517"/>
                    <a:pt x="2465" y="1511"/>
                    <a:pt x="2468" y="1508"/>
                  </a:cubicBezTo>
                  <a:cubicBezTo>
                    <a:pt x="2471" y="1508"/>
                    <a:pt x="2471" y="1522"/>
                    <a:pt x="2465" y="1519"/>
                  </a:cubicBezTo>
                  <a:close/>
                  <a:moveTo>
                    <a:pt x="2465" y="2143"/>
                  </a:moveTo>
                  <a:cubicBezTo>
                    <a:pt x="2465" y="2137"/>
                    <a:pt x="2473" y="2146"/>
                    <a:pt x="2465" y="2143"/>
                  </a:cubicBezTo>
                  <a:close/>
                  <a:moveTo>
                    <a:pt x="2471" y="474"/>
                  </a:moveTo>
                  <a:cubicBezTo>
                    <a:pt x="2456" y="488"/>
                    <a:pt x="2456" y="457"/>
                    <a:pt x="2445" y="454"/>
                  </a:cubicBezTo>
                  <a:cubicBezTo>
                    <a:pt x="2451" y="448"/>
                    <a:pt x="2456" y="446"/>
                    <a:pt x="2465" y="448"/>
                  </a:cubicBezTo>
                  <a:cubicBezTo>
                    <a:pt x="2471" y="454"/>
                    <a:pt x="2462" y="468"/>
                    <a:pt x="2471" y="474"/>
                  </a:cubicBezTo>
                  <a:close/>
                  <a:moveTo>
                    <a:pt x="2468" y="415"/>
                  </a:moveTo>
                  <a:cubicBezTo>
                    <a:pt x="2468" y="432"/>
                    <a:pt x="2448" y="415"/>
                    <a:pt x="2451" y="432"/>
                  </a:cubicBezTo>
                  <a:cubicBezTo>
                    <a:pt x="2428" y="429"/>
                    <a:pt x="2459" y="409"/>
                    <a:pt x="2468" y="415"/>
                  </a:cubicBezTo>
                  <a:close/>
                  <a:moveTo>
                    <a:pt x="2440" y="550"/>
                  </a:moveTo>
                  <a:cubicBezTo>
                    <a:pt x="2442" y="550"/>
                    <a:pt x="2448" y="553"/>
                    <a:pt x="2451" y="556"/>
                  </a:cubicBezTo>
                  <a:cubicBezTo>
                    <a:pt x="2451" y="558"/>
                    <a:pt x="2448" y="564"/>
                    <a:pt x="2445" y="567"/>
                  </a:cubicBezTo>
                  <a:cubicBezTo>
                    <a:pt x="2442" y="567"/>
                    <a:pt x="2437" y="564"/>
                    <a:pt x="2434" y="564"/>
                  </a:cubicBezTo>
                  <a:cubicBezTo>
                    <a:pt x="2437" y="558"/>
                    <a:pt x="2437" y="553"/>
                    <a:pt x="2440" y="550"/>
                  </a:cubicBezTo>
                  <a:close/>
                  <a:moveTo>
                    <a:pt x="2428" y="1320"/>
                  </a:moveTo>
                  <a:cubicBezTo>
                    <a:pt x="2428" y="1314"/>
                    <a:pt x="2440" y="1323"/>
                    <a:pt x="2428" y="1320"/>
                  </a:cubicBezTo>
                  <a:close/>
                  <a:moveTo>
                    <a:pt x="2428" y="488"/>
                  </a:moveTo>
                  <a:cubicBezTo>
                    <a:pt x="2414" y="482"/>
                    <a:pt x="2442" y="468"/>
                    <a:pt x="2428" y="488"/>
                  </a:cubicBezTo>
                  <a:close/>
                  <a:moveTo>
                    <a:pt x="2417" y="437"/>
                  </a:moveTo>
                  <a:cubicBezTo>
                    <a:pt x="2423" y="434"/>
                    <a:pt x="2414" y="437"/>
                    <a:pt x="2417" y="437"/>
                  </a:cubicBezTo>
                  <a:close/>
                  <a:moveTo>
                    <a:pt x="2408" y="409"/>
                  </a:moveTo>
                  <a:cubicBezTo>
                    <a:pt x="2414" y="403"/>
                    <a:pt x="2411" y="417"/>
                    <a:pt x="2408" y="409"/>
                  </a:cubicBezTo>
                  <a:close/>
                  <a:moveTo>
                    <a:pt x="2411" y="454"/>
                  </a:moveTo>
                  <a:cubicBezTo>
                    <a:pt x="2417" y="446"/>
                    <a:pt x="2420" y="448"/>
                    <a:pt x="2423" y="454"/>
                  </a:cubicBezTo>
                  <a:lnTo>
                    <a:pt x="2431" y="454"/>
                  </a:lnTo>
                  <a:cubicBezTo>
                    <a:pt x="2428" y="457"/>
                    <a:pt x="2428" y="457"/>
                    <a:pt x="2425" y="457"/>
                  </a:cubicBezTo>
                  <a:cubicBezTo>
                    <a:pt x="2428" y="460"/>
                    <a:pt x="2431" y="463"/>
                    <a:pt x="2437" y="463"/>
                  </a:cubicBezTo>
                  <a:cubicBezTo>
                    <a:pt x="2428" y="474"/>
                    <a:pt x="2423" y="468"/>
                    <a:pt x="2417" y="463"/>
                  </a:cubicBezTo>
                  <a:cubicBezTo>
                    <a:pt x="2414" y="463"/>
                    <a:pt x="2411" y="463"/>
                    <a:pt x="2408" y="460"/>
                  </a:cubicBezTo>
                  <a:cubicBezTo>
                    <a:pt x="2408" y="460"/>
                    <a:pt x="2408" y="457"/>
                    <a:pt x="2411" y="454"/>
                  </a:cubicBezTo>
                  <a:close/>
                  <a:moveTo>
                    <a:pt x="2414" y="533"/>
                  </a:moveTo>
                  <a:cubicBezTo>
                    <a:pt x="2411" y="533"/>
                    <a:pt x="2420" y="530"/>
                    <a:pt x="2414" y="533"/>
                  </a:cubicBezTo>
                  <a:close/>
                  <a:moveTo>
                    <a:pt x="2406" y="415"/>
                  </a:moveTo>
                  <a:cubicBezTo>
                    <a:pt x="2408" y="415"/>
                    <a:pt x="2403" y="417"/>
                    <a:pt x="2406" y="415"/>
                  </a:cubicBezTo>
                  <a:close/>
                  <a:moveTo>
                    <a:pt x="2392" y="1216"/>
                  </a:moveTo>
                  <a:cubicBezTo>
                    <a:pt x="2392" y="1210"/>
                    <a:pt x="2400" y="1207"/>
                    <a:pt x="2406" y="1207"/>
                  </a:cubicBezTo>
                  <a:cubicBezTo>
                    <a:pt x="2403" y="1213"/>
                    <a:pt x="2397" y="1216"/>
                    <a:pt x="2392" y="1216"/>
                  </a:cubicBezTo>
                  <a:close/>
                  <a:moveTo>
                    <a:pt x="2408" y="1444"/>
                  </a:moveTo>
                  <a:cubicBezTo>
                    <a:pt x="2408" y="1447"/>
                    <a:pt x="2403" y="1450"/>
                    <a:pt x="2403" y="1453"/>
                  </a:cubicBezTo>
                  <a:cubicBezTo>
                    <a:pt x="2400" y="1453"/>
                    <a:pt x="2406" y="1444"/>
                    <a:pt x="2408" y="1444"/>
                  </a:cubicBezTo>
                  <a:close/>
                  <a:moveTo>
                    <a:pt x="2392" y="1171"/>
                  </a:moveTo>
                  <a:cubicBezTo>
                    <a:pt x="2397" y="1165"/>
                    <a:pt x="2386" y="1179"/>
                    <a:pt x="2392" y="1171"/>
                  </a:cubicBezTo>
                  <a:close/>
                  <a:moveTo>
                    <a:pt x="2394" y="1173"/>
                  </a:moveTo>
                  <a:cubicBezTo>
                    <a:pt x="2408" y="1179"/>
                    <a:pt x="2383" y="1193"/>
                    <a:pt x="2394" y="1173"/>
                  </a:cubicBezTo>
                  <a:close/>
                  <a:moveTo>
                    <a:pt x="2397" y="1427"/>
                  </a:moveTo>
                  <a:lnTo>
                    <a:pt x="2397" y="1436"/>
                  </a:lnTo>
                  <a:cubicBezTo>
                    <a:pt x="2392" y="1436"/>
                    <a:pt x="2389" y="1433"/>
                    <a:pt x="2392" y="1430"/>
                  </a:cubicBezTo>
                  <a:cubicBezTo>
                    <a:pt x="2392" y="1427"/>
                    <a:pt x="2394" y="1427"/>
                    <a:pt x="2397" y="1427"/>
                  </a:cubicBezTo>
                  <a:close/>
                  <a:moveTo>
                    <a:pt x="2380" y="505"/>
                  </a:moveTo>
                  <a:cubicBezTo>
                    <a:pt x="2349" y="491"/>
                    <a:pt x="2392" y="471"/>
                    <a:pt x="2406" y="465"/>
                  </a:cubicBezTo>
                  <a:cubicBezTo>
                    <a:pt x="2411" y="477"/>
                    <a:pt x="2383" y="488"/>
                    <a:pt x="2380" y="505"/>
                  </a:cubicBezTo>
                  <a:close/>
                  <a:moveTo>
                    <a:pt x="2377" y="2123"/>
                  </a:moveTo>
                  <a:cubicBezTo>
                    <a:pt x="2375" y="2117"/>
                    <a:pt x="2386" y="2117"/>
                    <a:pt x="2392" y="2117"/>
                  </a:cubicBezTo>
                  <a:cubicBezTo>
                    <a:pt x="2392" y="2123"/>
                    <a:pt x="2383" y="2123"/>
                    <a:pt x="2377" y="2123"/>
                  </a:cubicBezTo>
                  <a:close/>
                  <a:moveTo>
                    <a:pt x="2383" y="2258"/>
                  </a:moveTo>
                  <a:cubicBezTo>
                    <a:pt x="2383" y="2253"/>
                    <a:pt x="2392" y="2261"/>
                    <a:pt x="2383" y="2258"/>
                  </a:cubicBezTo>
                  <a:close/>
                  <a:moveTo>
                    <a:pt x="2375" y="2374"/>
                  </a:moveTo>
                  <a:cubicBezTo>
                    <a:pt x="2375" y="2377"/>
                    <a:pt x="2369" y="2380"/>
                    <a:pt x="2366" y="2380"/>
                  </a:cubicBezTo>
                  <a:cubicBezTo>
                    <a:pt x="2369" y="2377"/>
                    <a:pt x="2372" y="2374"/>
                    <a:pt x="2375" y="2374"/>
                  </a:cubicBezTo>
                  <a:close/>
                  <a:moveTo>
                    <a:pt x="2372" y="790"/>
                  </a:moveTo>
                  <a:cubicBezTo>
                    <a:pt x="2375" y="787"/>
                    <a:pt x="2366" y="793"/>
                    <a:pt x="2372" y="790"/>
                  </a:cubicBezTo>
                  <a:close/>
                  <a:moveTo>
                    <a:pt x="2380" y="2383"/>
                  </a:moveTo>
                  <a:cubicBezTo>
                    <a:pt x="2377" y="2388"/>
                    <a:pt x="2375" y="2391"/>
                    <a:pt x="2369" y="2391"/>
                  </a:cubicBezTo>
                  <a:cubicBezTo>
                    <a:pt x="2369" y="2388"/>
                    <a:pt x="2375" y="2383"/>
                    <a:pt x="2380" y="2383"/>
                  </a:cubicBezTo>
                  <a:close/>
                  <a:moveTo>
                    <a:pt x="2380" y="1483"/>
                  </a:moveTo>
                  <a:cubicBezTo>
                    <a:pt x="2380" y="1486"/>
                    <a:pt x="2377" y="1491"/>
                    <a:pt x="2372" y="1491"/>
                  </a:cubicBezTo>
                  <a:cubicBezTo>
                    <a:pt x="2372" y="1486"/>
                    <a:pt x="2375" y="1483"/>
                    <a:pt x="2380" y="1483"/>
                  </a:cubicBezTo>
                  <a:close/>
                  <a:moveTo>
                    <a:pt x="2383" y="1210"/>
                  </a:moveTo>
                  <a:cubicBezTo>
                    <a:pt x="2380" y="1213"/>
                    <a:pt x="2377" y="1216"/>
                    <a:pt x="2375" y="1216"/>
                  </a:cubicBezTo>
                  <a:cubicBezTo>
                    <a:pt x="2372" y="1213"/>
                    <a:pt x="2380" y="1213"/>
                    <a:pt x="2383" y="1210"/>
                  </a:cubicBezTo>
                  <a:close/>
                  <a:moveTo>
                    <a:pt x="2375" y="1660"/>
                  </a:moveTo>
                  <a:cubicBezTo>
                    <a:pt x="2375" y="1655"/>
                    <a:pt x="2386" y="1663"/>
                    <a:pt x="2375" y="1660"/>
                  </a:cubicBezTo>
                  <a:close/>
                  <a:moveTo>
                    <a:pt x="2386" y="1227"/>
                  </a:moveTo>
                  <a:cubicBezTo>
                    <a:pt x="2383" y="1227"/>
                    <a:pt x="2389" y="1224"/>
                    <a:pt x="2386" y="1227"/>
                  </a:cubicBezTo>
                  <a:close/>
                  <a:moveTo>
                    <a:pt x="2366" y="426"/>
                  </a:moveTo>
                  <a:cubicBezTo>
                    <a:pt x="2366" y="420"/>
                    <a:pt x="2375" y="429"/>
                    <a:pt x="2366" y="426"/>
                  </a:cubicBezTo>
                  <a:close/>
                  <a:moveTo>
                    <a:pt x="2403" y="398"/>
                  </a:moveTo>
                  <a:cubicBezTo>
                    <a:pt x="2408" y="395"/>
                    <a:pt x="2400" y="401"/>
                    <a:pt x="2403" y="398"/>
                  </a:cubicBezTo>
                  <a:close/>
                  <a:moveTo>
                    <a:pt x="2397" y="341"/>
                  </a:moveTo>
                  <a:cubicBezTo>
                    <a:pt x="2400" y="341"/>
                    <a:pt x="2406" y="344"/>
                    <a:pt x="2408" y="344"/>
                  </a:cubicBezTo>
                  <a:cubicBezTo>
                    <a:pt x="2408" y="355"/>
                    <a:pt x="2403" y="358"/>
                    <a:pt x="2394" y="355"/>
                  </a:cubicBezTo>
                  <a:cubicBezTo>
                    <a:pt x="2394" y="353"/>
                    <a:pt x="2394" y="344"/>
                    <a:pt x="2397" y="341"/>
                  </a:cubicBezTo>
                  <a:close/>
                  <a:moveTo>
                    <a:pt x="2394" y="460"/>
                  </a:moveTo>
                  <a:cubicBezTo>
                    <a:pt x="2389" y="457"/>
                    <a:pt x="2383" y="454"/>
                    <a:pt x="2377" y="454"/>
                  </a:cubicBezTo>
                  <a:cubicBezTo>
                    <a:pt x="2377" y="434"/>
                    <a:pt x="2408" y="446"/>
                    <a:pt x="2394" y="460"/>
                  </a:cubicBezTo>
                  <a:close/>
                  <a:moveTo>
                    <a:pt x="2377" y="423"/>
                  </a:moveTo>
                  <a:cubicBezTo>
                    <a:pt x="2383" y="420"/>
                    <a:pt x="2375" y="423"/>
                    <a:pt x="2377" y="423"/>
                  </a:cubicBezTo>
                  <a:close/>
                  <a:moveTo>
                    <a:pt x="2377" y="353"/>
                  </a:moveTo>
                  <a:cubicBezTo>
                    <a:pt x="2375" y="353"/>
                    <a:pt x="2383" y="350"/>
                    <a:pt x="2377" y="353"/>
                  </a:cubicBezTo>
                  <a:close/>
                  <a:moveTo>
                    <a:pt x="2372" y="440"/>
                  </a:moveTo>
                  <a:cubicBezTo>
                    <a:pt x="2358" y="434"/>
                    <a:pt x="2386" y="420"/>
                    <a:pt x="2372" y="440"/>
                  </a:cubicBezTo>
                  <a:close/>
                  <a:moveTo>
                    <a:pt x="2375" y="358"/>
                  </a:moveTo>
                  <a:cubicBezTo>
                    <a:pt x="2372" y="367"/>
                    <a:pt x="2363" y="369"/>
                    <a:pt x="2355" y="367"/>
                  </a:cubicBezTo>
                  <a:cubicBezTo>
                    <a:pt x="2352" y="367"/>
                    <a:pt x="2349" y="364"/>
                    <a:pt x="2346" y="361"/>
                  </a:cubicBezTo>
                  <a:cubicBezTo>
                    <a:pt x="2358" y="358"/>
                    <a:pt x="2366" y="355"/>
                    <a:pt x="2375" y="358"/>
                  </a:cubicBezTo>
                  <a:close/>
                  <a:moveTo>
                    <a:pt x="2324" y="454"/>
                  </a:moveTo>
                  <a:cubicBezTo>
                    <a:pt x="2327" y="451"/>
                    <a:pt x="2318" y="457"/>
                    <a:pt x="2324" y="454"/>
                  </a:cubicBezTo>
                  <a:close/>
                  <a:moveTo>
                    <a:pt x="2315" y="2225"/>
                  </a:moveTo>
                  <a:cubicBezTo>
                    <a:pt x="2324" y="2219"/>
                    <a:pt x="2324" y="2233"/>
                    <a:pt x="2315" y="2225"/>
                  </a:cubicBezTo>
                  <a:close/>
                  <a:moveTo>
                    <a:pt x="2327" y="2419"/>
                  </a:moveTo>
                  <a:cubicBezTo>
                    <a:pt x="2327" y="2422"/>
                    <a:pt x="2321" y="2425"/>
                    <a:pt x="2318" y="2425"/>
                  </a:cubicBezTo>
                  <a:cubicBezTo>
                    <a:pt x="2321" y="2422"/>
                    <a:pt x="2324" y="2419"/>
                    <a:pt x="2327" y="2419"/>
                  </a:cubicBezTo>
                  <a:close/>
                  <a:moveTo>
                    <a:pt x="2310" y="1348"/>
                  </a:moveTo>
                  <a:cubicBezTo>
                    <a:pt x="2307" y="1340"/>
                    <a:pt x="2321" y="1345"/>
                    <a:pt x="2318" y="1337"/>
                  </a:cubicBezTo>
                  <a:cubicBezTo>
                    <a:pt x="2324" y="1340"/>
                    <a:pt x="2315" y="1351"/>
                    <a:pt x="2310" y="1348"/>
                  </a:cubicBezTo>
                  <a:close/>
                  <a:moveTo>
                    <a:pt x="2315" y="511"/>
                  </a:moveTo>
                  <a:cubicBezTo>
                    <a:pt x="2307" y="508"/>
                    <a:pt x="2307" y="496"/>
                    <a:pt x="2310" y="485"/>
                  </a:cubicBezTo>
                  <a:cubicBezTo>
                    <a:pt x="2318" y="488"/>
                    <a:pt x="2318" y="499"/>
                    <a:pt x="2315" y="511"/>
                  </a:cubicBezTo>
                  <a:close/>
                  <a:moveTo>
                    <a:pt x="2307" y="2532"/>
                  </a:moveTo>
                  <a:cubicBezTo>
                    <a:pt x="2321" y="2529"/>
                    <a:pt x="2304" y="2555"/>
                    <a:pt x="2307" y="2532"/>
                  </a:cubicBezTo>
                  <a:close/>
                  <a:moveTo>
                    <a:pt x="2310" y="2507"/>
                  </a:moveTo>
                  <a:cubicBezTo>
                    <a:pt x="2329" y="2507"/>
                    <a:pt x="2304" y="2535"/>
                    <a:pt x="2310" y="2507"/>
                  </a:cubicBezTo>
                  <a:close/>
                  <a:moveTo>
                    <a:pt x="2313" y="2493"/>
                  </a:moveTo>
                  <a:cubicBezTo>
                    <a:pt x="2313" y="2487"/>
                    <a:pt x="2321" y="2487"/>
                    <a:pt x="2324" y="2487"/>
                  </a:cubicBezTo>
                  <a:cubicBezTo>
                    <a:pt x="2327" y="2495"/>
                    <a:pt x="2315" y="2495"/>
                    <a:pt x="2313" y="2493"/>
                  </a:cubicBezTo>
                  <a:close/>
                  <a:moveTo>
                    <a:pt x="2346" y="2526"/>
                  </a:moveTo>
                  <a:cubicBezTo>
                    <a:pt x="2349" y="2541"/>
                    <a:pt x="2335" y="2541"/>
                    <a:pt x="2324" y="2541"/>
                  </a:cubicBezTo>
                  <a:cubicBezTo>
                    <a:pt x="2327" y="2532"/>
                    <a:pt x="2335" y="2526"/>
                    <a:pt x="2346" y="2526"/>
                  </a:cubicBezTo>
                  <a:close/>
                  <a:moveTo>
                    <a:pt x="2324" y="2024"/>
                  </a:moveTo>
                  <a:cubicBezTo>
                    <a:pt x="2327" y="2019"/>
                    <a:pt x="2335" y="2027"/>
                    <a:pt x="2324" y="2024"/>
                  </a:cubicBezTo>
                  <a:close/>
                  <a:moveTo>
                    <a:pt x="2363" y="700"/>
                  </a:moveTo>
                  <a:cubicBezTo>
                    <a:pt x="2366" y="716"/>
                    <a:pt x="2335" y="708"/>
                    <a:pt x="2346" y="697"/>
                  </a:cubicBezTo>
                  <a:cubicBezTo>
                    <a:pt x="2352" y="697"/>
                    <a:pt x="2358" y="700"/>
                    <a:pt x="2363" y="700"/>
                  </a:cubicBezTo>
                  <a:close/>
                  <a:moveTo>
                    <a:pt x="2355" y="401"/>
                  </a:moveTo>
                  <a:cubicBezTo>
                    <a:pt x="2352" y="401"/>
                    <a:pt x="2361" y="398"/>
                    <a:pt x="2355" y="401"/>
                  </a:cubicBezTo>
                  <a:close/>
                  <a:moveTo>
                    <a:pt x="2341" y="384"/>
                  </a:moveTo>
                  <a:cubicBezTo>
                    <a:pt x="2327" y="369"/>
                    <a:pt x="2366" y="372"/>
                    <a:pt x="2341" y="384"/>
                  </a:cubicBezTo>
                  <a:close/>
                  <a:moveTo>
                    <a:pt x="2335" y="338"/>
                  </a:moveTo>
                  <a:lnTo>
                    <a:pt x="2334" y="338"/>
                  </a:lnTo>
                  <a:cubicBezTo>
                    <a:pt x="2331" y="343"/>
                    <a:pt x="2326" y="347"/>
                    <a:pt x="2318" y="350"/>
                  </a:cubicBezTo>
                  <a:cubicBezTo>
                    <a:pt x="2313" y="347"/>
                    <a:pt x="2315" y="333"/>
                    <a:pt x="2318" y="324"/>
                  </a:cubicBezTo>
                  <a:cubicBezTo>
                    <a:pt x="2324" y="324"/>
                    <a:pt x="2328" y="327"/>
                    <a:pt x="2332" y="330"/>
                  </a:cubicBezTo>
                  <a:cubicBezTo>
                    <a:pt x="2334" y="325"/>
                    <a:pt x="2345" y="323"/>
                    <a:pt x="2335" y="338"/>
                  </a:cubicBezTo>
                  <a:close/>
                  <a:moveTo>
                    <a:pt x="2341" y="426"/>
                  </a:moveTo>
                  <a:cubicBezTo>
                    <a:pt x="2352" y="432"/>
                    <a:pt x="2338" y="451"/>
                    <a:pt x="2332" y="451"/>
                  </a:cubicBezTo>
                  <a:cubicBezTo>
                    <a:pt x="2324" y="448"/>
                    <a:pt x="2338" y="429"/>
                    <a:pt x="2341" y="426"/>
                  </a:cubicBezTo>
                  <a:close/>
                  <a:moveTo>
                    <a:pt x="2338" y="776"/>
                  </a:moveTo>
                  <a:cubicBezTo>
                    <a:pt x="2335" y="770"/>
                    <a:pt x="2329" y="767"/>
                    <a:pt x="2335" y="759"/>
                  </a:cubicBezTo>
                  <a:cubicBezTo>
                    <a:pt x="2349" y="759"/>
                    <a:pt x="2338" y="804"/>
                    <a:pt x="2338" y="776"/>
                  </a:cubicBezTo>
                  <a:close/>
                  <a:moveTo>
                    <a:pt x="2338" y="2481"/>
                  </a:moveTo>
                  <a:cubicBezTo>
                    <a:pt x="2338" y="2484"/>
                    <a:pt x="2332" y="2487"/>
                    <a:pt x="2332" y="2490"/>
                  </a:cubicBezTo>
                  <a:cubicBezTo>
                    <a:pt x="2327" y="2487"/>
                    <a:pt x="2335" y="2481"/>
                    <a:pt x="2338" y="2481"/>
                  </a:cubicBezTo>
                  <a:close/>
                  <a:moveTo>
                    <a:pt x="2338" y="2512"/>
                  </a:moveTo>
                  <a:cubicBezTo>
                    <a:pt x="2341" y="2504"/>
                    <a:pt x="2346" y="2518"/>
                    <a:pt x="2338" y="2512"/>
                  </a:cubicBezTo>
                  <a:close/>
                  <a:moveTo>
                    <a:pt x="2338" y="1502"/>
                  </a:moveTo>
                  <a:cubicBezTo>
                    <a:pt x="2338" y="1500"/>
                    <a:pt x="2344" y="1497"/>
                    <a:pt x="2346" y="1497"/>
                  </a:cubicBezTo>
                  <a:cubicBezTo>
                    <a:pt x="2346" y="1500"/>
                    <a:pt x="2341" y="1502"/>
                    <a:pt x="2338" y="1502"/>
                  </a:cubicBezTo>
                  <a:close/>
                  <a:moveTo>
                    <a:pt x="2338" y="1433"/>
                  </a:moveTo>
                  <a:cubicBezTo>
                    <a:pt x="2338" y="1430"/>
                    <a:pt x="2344" y="1424"/>
                    <a:pt x="2349" y="1427"/>
                  </a:cubicBezTo>
                  <a:cubicBezTo>
                    <a:pt x="2344" y="1433"/>
                    <a:pt x="2341" y="1433"/>
                    <a:pt x="2338" y="1433"/>
                  </a:cubicBezTo>
                  <a:close/>
                  <a:moveTo>
                    <a:pt x="2352" y="1770"/>
                  </a:moveTo>
                  <a:cubicBezTo>
                    <a:pt x="2352" y="1773"/>
                    <a:pt x="2346" y="1776"/>
                    <a:pt x="2344" y="1776"/>
                  </a:cubicBezTo>
                  <a:cubicBezTo>
                    <a:pt x="2344" y="1770"/>
                    <a:pt x="2349" y="1770"/>
                    <a:pt x="2352" y="1770"/>
                  </a:cubicBezTo>
                  <a:close/>
                  <a:moveTo>
                    <a:pt x="2349" y="2383"/>
                  </a:moveTo>
                  <a:lnTo>
                    <a:pt x="2355" y="2383"/>
                  </a:lnTo>
                  <a:lnTo>
                    <a:pt x="2355" y="2388"/>
                  </a:lnTo>
                  <a:lnTo>
                    <a:pt x="2349" y="2388"/>
                  </a:lnTo>
                  <a:lnTo>
                    <a:pt x="2349" y="2383"/>
                  </a:lnTo>
                  <a:close/>
                  <a:moveTo>
                    <a:pt x="2355" y="1219"/>
                  </a:moveTo>
                  <a:cubicBezTo>
                    <a:pt x="2341" y="1204"/>
                    <a:pt x="2366" y="1190"/>
                    <a:pt x="2355" y="1219"/>
                  </a:cubicBezTo>
                  <a:close/>
                  <a:moveTo>
                    <a:pt x="2346" y="1188"/>
                  </a:moveTo>
                  <a:cubicBezTo>
                    <a:pt x="2349" y="1185"/>
                    <a:pt x="2349" y="1179"/>
                    <a:pt x="2355" y="1179"/>
                  </a:cubicBezTo>
                  <a:cubicBezTo>
                    <a:pt x="2355" y="1185"/>
                    <a:pt x="2352" y="1188"/>
                    <a:pt x="2346" y="1188"/>
                  </a:cubicBezTo>
                  <a:close/>
                  <a:moveTo>
                    <a:pt x="2361" y="1173"/>
                  </a:moveTo>
                  <a:cubicBezTo>
                    <a:pt x="2372" y="1185"/>
                    <a:pt x="2346" y="1199"/>
                    <a:pt x="2361" y="1173"/>
                  </a:cubicBezTo>
                  <a:close/>
                  <a:moveTo>
                    <a:pt x="2358" y="2470"/>
                  </a:moveTo>
                  <a:cubicBezTo>
                    <a:pt x="2358" y="2464"/>
                    <a:pt x="2366" y="2473"/>
                    <a:pt x="2358" y="2470"/>
                  </a:cubicBezTo>
                  <a:close/>
                  <a:moveTo>
                    <a:pt x="2361" y="1137"/>
                  </a:moveTo>
                  <a:cubicBezTo>
                    <a:pt x="2358" y="1137"/>
                    <a:pt x="2352" y="1134"/>
                    <a:pt x="2352" y="1131"/>
                  </a:cubicBezTo>
                  <a:cubicBezTo>
                    <a:pt x="2355" y="1131"/>
                    <a:pt x="2358" y="1131"/>
                    <a:pt x="2361" y="1134"/>
                  </a:cubicBezTo>
                  <a:cubicBezTo>
                    <a:pt x="2361" y="1134"/>
                    <a:pt x="2363" y="1140"/>
                    <a:pt x="2361" y="1137"/>
                  </a:cubicBezTo>
                  <a:close/>
                  <a:moveTo>
                    <a:pt x="2352" y="1131"/>
                  </a:moveTo>
                  <a:cubicBezTo>
                    <a:pt x="2349" y="1131"/>
                    <a:pt x="2352" y="1128"/>
                    <a:pt x="2352" y="1131"/>
                  </a:cubicBezTo>
                  <a:close/>
                  <a:moveTo>
                    <a:pt x="2363" y="807"/>
                  </a:moveTo>
                  <a:cubicBezTo>
                    <a:pt x="2377" y="812"/>
                    <a:pt x="2352" y="826"/>
                    <a:pt x="2363" y="807"/>
                  </a:cubicBezTo>
                  <a:close/>
                  <a:moveTo>
                    <a:pt x="2361" y="525"/>
                  </a:moveTo>
                  <a:cubicBezTo>
                    <a:pt x="2361" y="519"/>
                    <a:pt x="2369" y="527"/>
                    <a:pt x="2361" y="525"/>
                  </a:cubicBezTo>
                  <a:close/>
                  <a:moveTo>
                    <a:pt x="2358" y="338"/>
                  </a:moveTo>
                  <a:cubicBezTo>
                    <a:pt x="2344" y="319"/>
                    <a:pt x="2377" y="338"/>
                    <a:pt x="2358" y="338"/>
                  </a:cubicBezTo>
                  <a:close/>
                  <a:moveTo>
                    <a:pt x="2344" y="296"/>
                  </a:moveTo>
                  <a:cubicBezTo>
                    <a:pt x="2352" y="296"/>
                    <a:pt x="2352" y="302"/>
                    <a:pt x="2358" y="305"/>
                  </a:cubicBezTo>
                  <a:cubicBezTo>
                    <a:pt x="2358" y="307"/>
                    <a:pt x="2355" y="310"/>
                    <a:pt x="2349" y="310"/>
                  </a:cubicBezTo>
                  <a:cubicBezTo>
                    <a:pt x="2349" y="310"/>
                    <a:pt x="2346" y="310"/>
                    <a:pt x="2346" y="307"/>
                  </a:cubicBezTo>
                  <a:cubicBezTo>
                    <a:pt x="2346" y="310"/>
                    <a:pt x="2346" y="316"/>
                    <a:pt x="2344" y="319"/>
                  </a:cubicBezTo>
                  <a:cubicBezTo>
                    <a:pt x="2332" y="313"/>
                    <a:pt x="2335" y="299"/>
                    <a:pt x="2329" y="293"/>
                  </a:cubicBezTo>
                  <a:cubicBezTo>
                    <a:pt x="2332" y="290"/>
                    <a:pt x="2338" y="290"/>
                    <a:pt x="2344" y="296"/>
                  </a:cubicBezTo>
                  <a:close/>
                  <a:moveTo>
                    <a:pt x="2313" y="324"/>
                  </a:moveTo>
                  <a:cubicBezTo>
                    <a:pt x="2307" y="327"/>
                    <a:pt x="2313" y="322"/>
                    <a:pt x="2313" y="324"/>
                  </a:cubicBezTo>
                  <a:close/>
                  <a:moveTo>
                    <a:pt x="2307" y="330"/>
                  </a:moveTo>
                  <a:cubicBezTo>
                    <a:pt x="2307" y="329"/>
                    <a:pt x="2306" y="328"/>
                    <a:pt x="2306" y="327"/>
                  </a:cubicBezTo>
                  <a:cubicBezTo>
                    <a:pt x="2306" y="328"/>
                    <a:pt x="2306" y="329"/>
                    <a:pt x="2307" y="330"/>
                  </a:cubicBezTo>
                  <a:close/>
                  <a:moveTo>
                    <a:pt x="2304" y="324"/>
                  </a:moveTo>
                  <a:cubicBezTo>
                    <a:pt x="2304" y="322"/>
                    <a:pt x="2307" y="322"/>
                    <a:pt x="2307" y="319"/>
                  </a:cubicBezTo>
                  <a:cubicBezTo>
                    <a:pt x="2307" y="316"/>
                    <a:pt x="2304" y="316"/>
                    <a:pt x="2304" y="313"/>
                  </a:cubicBezTo>
                  <a:cubicBezTo>
                    <a:pt x="2304" y="310"/>
                    <a:pt x="2304" y="310"/>
                    <a:pt x="2307" y="307"/>
                  </a:cubicBezTo>
                  <a:cubicBezTo>
                    <a:pt x="2307" y="307"/>
                    <a:pt x="2310" y="310"/>
                    <a:pt x="2310" y="313"/>
                  </a:cubicBezTo>
                  <a:lnTo>
                    <a:pt x="2310" y="319"/>
                  </a:lnTo>
                  <a:cubicBezTo>
                    <a:pt x="2308" y="322"/>
                    <a:pt x="2306" y="325"/>
                    <a:pt x="2306" y="327"/>
                  </a:cubicBezTo>
                  <a:cubicBezTo>
                    <a:pt x="2305" y="325"/>
                    <a:pt x="2304" y="324"/>
                    <a:pt x="2304" y="324"/>
                  </a:cubicBezTo>
                  <a:close/>
                  <a:moveTo>
                    <a:pt x="2307" y="2174"/>
                  </a:moveTo>
                  <a:cubicBezTo>
                    <a:pt x="2301" y="2177"/>
                    <a:pt x="2301" y="2185"/>
                    <a:pt x="2293" y="2185"/>
                  </a:cubicBezTo>
                  <a:cubicBezTo>
                    <a:pt x="2293" y="2177"/>
                    <a:pt x="2301" y="2174"/>
                    <a:pt x="2307" y="2174"/>
                  </a:cubicBezTo>
                  <a:close/>
                  <a:moveTo>
                    <a:pt x="2296" y="525"/>
                  </a:moveTo>
                  <a:cubicBezTo>
                    <a:pt x="2298" y="519"/>
                    <a:pt x="2307" y="530"/>
                    <a:pt x="2296" y="525"/>
                  </a:cubicBezTo>
                  <a:close/>
                  <a:moveTo>
                    <a:pt x="2293" y="451"/>
                  </a:moveTo>
                  <a:cubicBezTo>
                    <a:pt x="2293" y="448"/>
                    <a:pt x="2298" y="446"/>
                    <a:pt x="2301" y="446"/>
                  </a:cubicBezTo>
                  <a:cubicBezTo>
                    <a:pt x="2298" y="448"/>
                    <a:pt x="2296" y="451"/>
                    <a:pt x="2293" y="451"/>
                  </a:cubicBezTo>
                  <a:close/>
                  <a:moveTo>
                    <a:pt x="2296" y="481"/>
                  </a:moveTo>
                  <a:cubicBezTo>
                    <a:pt x="2295" y="482"/>
                    <a:pt x="2292" y="483"/>
                    <a:pt x="2296" y="479"/>
                  </a:cubicBezTo>
                  <a:cubicBezTo>
                    <a:pt x="2297" y="479"/>
                    <a:pt x="2297" y="480"/>
                    <a:pt x="2296" y="481"/>
                  </a:cubicBezTo>
                  <a:close/>
                  <a:moveTo>
                    <a:pt x="2290" y="305"/>
                  </a:moveTo>
                  <a:cubicBezTo>
                    <a:pt x="2284" y="282"/>
                    <a:pt x="2304" y="322"/>
                    <a:pt x="2290" y="305"/>
                  </a:cubicBezTo>
                  <a:close/>
                  <a:moveTo>
                    <a:pt x="2290" y="485"/>
                  </a:moveTo>
                  <a:lnTo>
                    <a:pt x="2296" y="485"/>
                  </a:lnTo>
                  <a:lnTo>
                    <a:pt x="2296" y="491"/>
                  </a:lnTo>
                  <a:lnTo>
                    <a:pt x="2290" y="491"/>
                  </a:lnTo>
                  <a:lnTo>
                    <a:pt x="2290" y="485"/>
                  </a:lnTo>
                  <a:close/>
                  <a:moveTo>
                    <a:pt x="2284" y="398"/>
                  </a:moveTo>
                  <a:cubicBezTo>
                    <a:pt x="2284" y="392"/>
                    <a:pt x="2296" y="401"/>
                    <a:pt x="2284" y="398"/>
                  </a:cubicBezTo>
                  <a:close/>
                  <a:moveTo>
                    <a:pt x="2284" y="288"/>
                  </a:moveTo>
                  <a:lnTo>
                    <a:pt x="2285" y="288"/>
                  </a:lnTo>
                  <a:cubicBezTo>
                    <a:pt x="2284" y="288"/>
                    <a:pt x="2283" y="289"/>
                    <a:pt x="2284" y="288"/>
                  </a:cubicBezTo>
                  <a:cubicBezTo>
                    <a:pt x="2287" y="286"/>
                    <a:pt x="2286" y="287"/>
                    <a:pt x="2285" y="288"/>
                  </a:cubicBezTo>
                  <a:lnTo>
                    <a:pt x="2284" y="288"/>
                  </a:lnTo>
                  <a:close/>
                  <a:moveTo>
                    <a:pt x="2293" y="1453"/>
                  </a:moveTo>
                  <a:cubicBezTo>
                    <a:pt x="2284" y="1457"/>
                    <a:pt x="2284" y="1444"/>
                    <a:pt x="2293" y="1453"/>
                  </a:cubicBezTo>
                  <a:close/>
                  <a:moveTo>
                    <a:pt x="2265" y="333"/>
                  </a:moveTo>
                  <a:cubicBezTo>
                    <a:pt x="2267" y="338"/>
                    <a:pt x="2267" y="341"/>
                    <a:pt x="2259" y="344"/>
                  </a:cubicBezTo>
                  <a:cubicBezTo>
                    <a:pt x="2265" y="336"/>
                    <a:pt x="2250" y="338"/>
                    <a:pt x="2250" y="330"/>
                  </a:cubicBezTo>
                  <a:cubicBezTo>
                    <a:pt x="2259" y="330"/>
                    <a:pt x="2273" y="330"/>
                    <a:pt x="2284" y="341"/>
                  </a:cubicBezTo>
                  <a:cubicBezTo>
                    <a:pt x="2279" y="344"/>
                    <a:pt x="2270" y="344"/>
                    <a:pt x="2267" y="338"/>
                  </a:cubicBezTo>
                  <a:lnTo>
                    <a:pt x="2265" y="333"/>
                  </a:lnTo>
                  <a:close/>
                  <a:moveTo>
                    <a:pt x="2282" y="448"/>
                  </a:moveTo>
                  <a:cubicBezTo>
                    <a:pt x="2276" y="451"/>
                    <a:pt x="2284" y="446"/>
                    <a:pt x="2282" y="448"/>
                  </a:cubicBezTo>
                  <a:close/>
                  <a:moveTo>
                    <a:pt x="2262" y="2337"/>
                  </a:moveTo>
                  <a:cubicBezTo>
                    <a:pt x="2265" y="2332"/>
                    <a:pt x="2273" y="2340"/>
                    <a:pt x="2262" y="2337"/>
                  </a:cubicBezTo>
                  <a:close/>
                  <a:moveTo>
                    <a:pt x="2267" y="798"/>
                  </a:moveTo>
                  <a:cubicBezTo>
                    <a:pt x="2267" y="800"/>
                    <a:pt x="2267" y="803"/>
                    <a:pt x="2269" y="805"/>
                  </a:cubicBezTo>
                  <a:cubicBezTo>
                    <a:pt x="2268" y="804"/>
                    <a:pt x="2267" y="802"/>
                    <a:pt x="2267" y="801"/>
                  </a:cubicBezTo>
                  <a:cubicBezTo>
                    <a:pt x="2265" y="801"/>
                    <a:pt x="2267" y="798"/>
                    <a:pt x="2267" y="798"/>
                  </a:cubicBezTo>
                  <a:close/>
                  <a:moveTo>
                    <a:pt x="2270" y="807"/>
                  </a:moveTo>
                  <a:cubicBezTo>
                    <a:pt x="2270" y="807"/>
                    <a:pt x="2269" y="806"/>
                    <a:pt x="2269" y="805"/>
                  </a:cubicBezTo>
                  <a:cubicBezTo>
                    <a:pt x="2269" y="805"/>
                    <a:pt x="2270" y="806"/>
                    <a:pt x="2270" y="807"/>
                  </a:cubicBezTo>
                  <a:close/>
                  <a:moveTo>
                    <a:pt x="2267" y="1728"/>
                  </a:moveTo>
                  <a:cubicBezTo>
                    <a:pt x="2273" y="1722"/>
                    <a:pt x="2265" y="1734"/>
                    <a:pt x="2267" y="1728"/>
                  </a:cubicBezTo>
                  <a:close/>
                  <a:moveTo>
                    <a:pt x="2270" y="2157"/>
                  </a:moveTo>
                  <a:cubicBezTo>
                    <a:pt x="2267" y="2151"/>
                    <a:pt x="2287" y="2154"/>
                    <a:pt x="2270" y="2157"/>
                  </a:cubicBezTo>
                  <a:close/>
                  <a:moveTo>
                    <a:pt x="2270" y="440"/>
                  </a:moveTo>
                  <a:cubicBezTo>
                    <a:pt x="2273" y="434"/>
                    <a:pt x="2282" y="443"/>
                    <a:pt x="2270" y="440"/>
                  </a:cubicBezTo>
                  <a:close/>
                  <a:moveTo>
                    <a:pt x="2276" y="2515"/>
                  </a:moveTo>
                  <a:lnTo>
                    <a:pt x="2277" y="2514"/>
                  </a:lnTo>
                  <a:cubicBezTo>
                    <a:pt x="2277" y="2514"/>
                    <a:pt x="2277" y="2515"/>
                    <a:pt x="2276" y="2515"/>
                  </a:cubicBezTo>
                  <a:cubicBezTo>
                    <a:pt x="2276" y="2514"/>
                    <a:pt x="2277" y="2514"/>
                    <a:pt x="2277" y="2514"/>
                  </a:cubicBezTo>
                  <a:lnTo>
                    <a:pt x="2276" y="2515"/>
                  </a:lnTo>
                  <a:close/>
                  <a:moveTo>
                    <a:pt x="2256" y="2388"/>
                  </a:moveTo>
                  <a:cubicBezTo>
                    <a:pt x="2259" y="2383"/>
                    <a:pt x="2267" y="2391"/>
                    <a:pt x="2256" y="2388"/>
                  </a:cubicBezTo>
                  <a:close/>
                  <a:moveTo>
                    <a:pt x="2256" y="2337"/>
                  </a:moveTo>
                  <a:cubicBezTo>
                    <a:pt x="2258" y="2334"/>
                    <a:pt x="2262" y="2336"/>
                    <a:pt x="2262" y="2337"/>
                  </a:cubicBezTo>
                  <a:cubicBezTo>
                    <a:pt x="2261" y="2338"/>
                    <a:pt x="2260" y="2338"/>
                    <a:pt x="2256" y="2337"/>
                  </a:cubicBezTo>
                  <a:close/>
                  <a:moveTo>
                    <a:pt x="2267" y="254"/>
                  </a:moveTo>
                  <a:cubicBezTo>
                    <a:pt x="2287" y="243"/>
                    <a:pt x="2282" y="282"/>
                    <a:pt x="2267" y="288"/>
                  </a:cubicBezTo>
                  <a:cubicBezTo>
                    <a:pt x="2256" y="285"/>
                    <a:pt x="2282" y="259"/>
                    <a:pt x="2267" y="254"/>
                  </a:cubicBezTo>
                  <a:close/>
                  <a:moveTo>
                    <a:pt x="2265" y="316"/>
                  </a:moveTo>
                  <a:cubicBezTo>
                    <a:pt x="2265" y="333"/>
                    <a:pt x="2250" y="310"/>
                    <a:pt x="2265" y="316"/>
                  </a:cubicBezTo>
                  <a:close/>
                  <a:moveTo>
                    <a:pt x="2253" y="265"/>
                  </a:moveTo>
                  <a:cubicBezTo>
                    <a:pt x="2259" y="262"/>
                    <a:pt x="2248" y="274"/>
                    <a:pt x="2253" y="265"/>
                  </a:cubicBezTo>
                  <a:close/>
                  <a:moveTo>
                    <a:pt x="2248" y="254"/>
                  </a:moveTo>
                  <a:cubicBezTo>
                    <a:pt x="2248" y="248"/>
                    <a:pt x="2256" y="254"/>
                    <a:pt x="2248" y="254"/>
                  </a:cubicBezTo>
                  <a:close/>
                  <a:moveTo>
                    <a:pt x="2253" y="324"/>
                  </a:moveTo>
                  <a:cubicBezTo>
                    <a:pt x="2253" y="327"/>
                    <a:pt x="2245" y="330"/>
                    <a:pt x="2242" y="330"/>
                  </a:cubicBezTo>
                  <a:cubicBezTo>
                    <a:pt x="2242" y="322"/>
                    <a:pt x="2239" y="319"/>
                    <a:pt x="2239" y="313"/>
                  </a:cubicBezTo>
                  <a:cubicBezTo>
                    <a:pt x="2250" y="313"/>
                    <a:pt x="2245" y="324"/>
                    <a:pt x="2253" y="324"/>
                  </a:cubicBezTo>
                  <a:close/>
                  <a:moveTo>
                    <a:pt x="2245" y="2552"/>
                  </a:moveTo>
                  <a:cubicBezTo>
                    <a:pt x="2248" y="2552"/>
                    <a:pt x="2250" y="2549"/>
                    <a:pt x="2250" y="2546"/>
                  </a:cubicBezTo>
                  <a:cubicBezTo>
                    <a:pt x="2250" y="2546"/>
                    <a:pt x="2253" y="2546"/>
                    <a:pt x="2253" y="2544"/>
                  </a:cubicBezTo>
                  <a:cubicBezTo>
                    <a:pt x="2251" y="2543"/>
                    <a:pt x="2248" y="2543"/>
                    <a:pt x="2245" y="2546"/>
                  </a:cubicBezTo>
                  <a:cubicBezTo>
                    <a:pt x="2239" y="2532"/>
                    <a:pt x="2242" y="2518"/>
                    <a:pt x="2253" y="2509"/>
                  </a:cubicBezTo>
                  <a:cubicBezTo>
                    <a:pt x="2265" y="2518"/>
                    <a:pt x="2267" y="2535"/>
                    <a:pt x="2262" y="2549"/>
                  </a:cubicBezTo>
                  <a:cubicBezTo>
                    <a:pt x="2261" y="2549"/>
                    <a:pt x="2260" y="2549"/>
                    <a:pt x="2259" y="2548"/>
                  </a:cubicBezTo>
                  <a:cubicBezTo>
                    <a:pt x="2258" y="2550"/>
                    <a:pt x="2255" y="2552"/>
                    <a:pt x="2253" y="2552"/>
                  </a:cubicBezTo>
                  <a:cubicBezTo>
                    <a:pt x="2270" y="2560"/>
                    <a:pt x="2245" y="2577"/>
                    <a:pt x="2250" y="2591"/>
                  </a:cubicBezTo>
                  <a:cubicBezTo>
                    <a:pt x="2228" y="2580"/>
                    <a:pt x="2245" y="2574"/>
                    <a:pt x="2245" y="2552"/>
                  </a:cubicBezTo>
                  <a:lnTo>
                    <a:pt x="2248" y="2555"/>
                  </a:lnTo>
                  <a:lnTo>
                    <a:pt x="2250" y="2555"/>
                  </a:lnTo>
                  <a:cubicBezTo>
                    <a:pt x="2250" y="2555"/>
                    <a:pt x="2248" y="2552"/>
                    <a:pt x="2245" y="2552"/>
                  </a:cubicBezTo>
                  <a:close/>
                  <a:moveTo>
                    <a:pt x="2242" y="240"/>
                  </a:moveTo>
                  <a:cubicBezTo>
                    <a:pt x="2256" y="259"/>
                    <a:pt x="2222" y="251"/>
                    <a:pt x="2242" y="240"/>
                  </a:cubicBezTo>
                  <a:close/>
                  <a:moveTo>
                    <a:pt x="2231" y="2543"/>
                  </a:moveTo>
                  <a:cubicBezTo>
                    <a:pt x="2236" y="2538"/>
                    <a:pt x="2228" y="2552"/>
                    <a:pt x="2231" y="2543"/>
                  </a:cubicBezTo>
                  <a:close/>
                  <a:moveTo>
                    <a:pt x="2205" y="479"/>
                  </a:moveTo>
                  <a:cubicBezTo>
                    <a:pt x="2191" y="465"/>
                    <a:pt x="2222" y="474"/>
                    <a:pt x="2217" y="454"/>
                  </a:cubicBezTo>
                  <a:cubicBezTo>
                    <a:pt x="2234" y="465"/>
                    <a:pt x="2211" y="471"/>
                    <a:pt x="2205" y="479"/>
                  </a:cubicBezTo>
                  <a:close/>
                  <a:moveTo>
                    <a:pt x="2228" y="2684"/>
                  </a:moveTo>
                  <a:cubicBezTo>
                    <a:pt x="2231" y="2693"/>
                    <a:pt x="2219" y="2693"/>
                    <a:pt x="2219" y="2698"/>
                  </a:cubicBezTo>
                  <a:cubicBezTo>
                    <a:pt x="2214" y="2693"/>
                    <a:pt x="2222" y="2682"/>
                    <a:pt x="2228" y="2684"/>
                  </a:cubicBezTo>
                  <a:close/>
                  <a:moveTo>
                    <a:pt x="2222" y="505"/>
                  </a:moveTo>
                  <a:cubicBezTo>
                    <a:pt x="2225" y="499"/>
                    <a:pt x="2228" y="513"/>
                    <a:pt x="2222" y="505"/>
                  </a:cubicBezTo>
                  <a:close/>
                  <a:moveTo>
                    <a:pt x="2222" y="338"/>
                  </a:moveTo>
                  <a:cubicBezTo>
                    <a:pt x="2225" y="338"/>
                    <a:pt x="2228" y="341"/>
                    <a:pt x="2228" y="344"/>
                  </a:cubicBezTo>
                  <a:lnTo>
                    <a:pt x="2228" y="347"/>
                  </a:lnTo>
                  <a:lnTo>
                    <a:pt x="2222" y="347"/>
                  </a:lnTo>
                  <a:cubicBezTo>
                    <a:pt x="2225" y="344"/>
                    <a:pt x="2225" y="341"/>
                    <a:pt x="2222" y="338"/>
                  </a:cubicBezTo>
                  <a:close/>
                  <a:moveTo>
                    <a:pt x="2228" y="488"/>
                  </a:moveTo>
                  <a:cubicBezTo>
                    <a:pt x="2242" y="491"/>
                    <a:pt x="2217" y="508"/>
                    <a:pt x="2228" y="488"/>
                  </a:cubicBezTo>
                  <a:close/>
                  <a:moveTo>
                    <a:pt x="2222" y="228"/>
                  </a:moveTo>
                  <a:cubicBezTo>
                    <a:pt x="2225" y="228"/>
                    <a:pt x="2231" y="231"/>
                    <a:pt x="2234" y="231"/>
                  </a:cubicBezTo>
                  <a:cubicBezTo>
                    <a:pt x="2234" y="234"/>
                    <a:pt x="2231" y="240"/>
                    <a:pt x="2231" y="243"/>
                  </a:cubicBezTo>
                  <a:cubicBezTo>
                    <a:pt x="2228" y="243"/>
                    <a:pt x="2222" y="243"/>
                    <a:pt x="2219" y="240"/>
                  </a:cubicBezTo>
                  <a:cubicBezTo>
                    <a:pt x="2219" y="240"/>
                    <a:pt x="2222" y="234"/>
                    <a:pt x="2222" y="228"/>
                  </a:cubicBezTo>
                  <a:close/>
                  <a:moveTo>
                    <a:pt x="2222" y="285"/>
                  </a:moveTo>
                  <a:cubicBezTo>
                    <a:pt x="2228" y="290"/>
                    <a:pt x="2222" y="296"/>
                    <a:pt x="2219" y="299"/>
                  </a:cubicBezTo>
                  <a:cubicBezTo>
                    <a:pt x="2219" y="296"/>
                    <a:pt x="2219" y="290"/>
                    <a:pt x="2222" y="285"/>
                  </a:cubicBezTo>
                  <a:close/>
                  <a:moveTo>
                    <a:pt x="2219" y="310"/>
                  </a:moveTo>
                  <a:cubicBezTo>
                    <a:pt x="2234" y="316"/>
                    <a:pt x="2208" y="330"/>
                    <a:pt x="2219" y="310"/>
                  </a:cubicBezTo>
                  <a:close/>
                  <a:moveTo>
                    <a:pt x="2214" y="358"/>
                  </a:moveTo>
                  <a:cubicBezTo>
                    <a:pt x="2214" y="353"/>
                    <a:pt x="2222" y="358"/>
                    <a:pt x="2214" y="358"/>
                  </a:cubicBezTo>
                  <a:close/>
                  <a:moveTo>
                    <a:pt x="2217" y="369"/>
                  </a:moveTo>
                  <a:cubicBezTo>
                    <a:pt x="2231" y="389"/>
                    <a:pt x="2197" y="372"/>
                    <a:pt x="2217" y="369"/>
                  </a:cubicBezTo>
                  <a:close/>
                  <a:moveTo>
                    <a:pt x="2208" y="338"/>
                  </a:moveTo>
                  <a:cubicBezTo>
                    <a:pt x="2214" y="333"/>
                    <a:pt x="2208" y="347"/>
                    <a:pt x="2208" y="338"/>
                  </a:cubicBezTo>
                  <a:close/>
                  <a:moveTo>
                    <a:pt x="2214" y="327"/>
                  </a:moveTo>
                  <a:cubicBezTo>
                    <a:pt x="2214" y="333"/>
                    <a:pt x="2205" y="327"/>
                    <a:pt x="2205" y="324"/>
                  </a:cubicBezTo>
                  <a:cubicBezTo>
                    <a:pt x="2211" y="324"/>
                    <a:pt x="2211" y="327"/>
                    <a:pt x="2214" y="327"/>
                  </a:cubicBezTo>
                  <a:close/>
                  <a:moveTo>
                    <a:pt x="2203" y="257"/>
                  </a:moveTo>
                  <a:cubicBezTo>
                    <a:pt x="2203" y="251"/>
                    <a:pt x="2214" y="257"/>
                    <a:pt x="2203" y="257"/>
                  </a:cubicBezTo>
                  <a:close/>
                  <a:moveTo>
                    <a:pt x="2197" y="282"/>
                  </a:moveTo>
                  <a:cubicBezTo>
                    <a:pt x="2197" y="279"/>
                    <a:pt x="2200" y="276"/>
                    <a:pt x="2203" y="274"/>
                  </a:cubicBezTo>
                  <a:cubicBezTo>
                    <a:pt x="2203" y="276"/>
                    <a:pt x="2200" y="279"/>
                    <a:pt x="2197" y="282"/>
                  </a:cubicBezTo>
                  <a:close/>
                  <a:moveTo>
                    <a:pt x="2200" y="313"/>
                  </a:moveTo>
                  <a:cubicBezTo>
                    <a:pt x="2214" y="319"/>
                    <a:pt x="2188" y="333"/>
                    <a:pt x="2200" y="313"/>
                  </a:cubicBezTo>
                  <a:close/>
                  <a:moveTo>
                    <a:pt x="2203" y="237"/>
                  </a:moveTo>
                  <a:cubicBezTo>
                    <a:pt x="2203" y="243"/>
                    <a:pt x="2197" y="237"/>
                    <a:pt x="2191" y="237"/>
                  </a:cubicBezTo>
                  <a:cubicBezTo>
                    <a:pt x="2191" y="234"/>
                    <a:pt x="2200" y="237"/>
                    <a:pt x="2203" y="237"/>
                  </a:cubicBezTo>
                  <a:close/>
                  <a:moveTo>
                    <a:pt x="2180" y="248"/>
                  </a:moveTo>
                  <a:cubicBezTo>
                    <a:pt x="2183" y="240"/>
                    <a:pt x="2186" y="257"/>
                    <a:pt x="2180" y="248"/>
                  </a:cubicBezTo>
                  <a:close/>
                  <a:moveTo>
                    <a:pt x="2191" y="257"/>
                  </a:moveTo>
                  <a:cubicBezTo>
                    <a:pt x="2194" y="262"/>
                    <a:pt x="2194" y="268"/>
                    <a:pt x="2194" y="274"/>
                  </a:cubicBezTo>
                  <a:cubicBezTo>
                    <a:pt x="2188" y="274"/>
                    <a:pt x="2186" y="276"/>
                    <a:pt x="2180" y="279"/>
                  </a:cubicBezTo>
                  <a:cubicBezTo>
                    <a:pt x="2174" y="274"/>
                    <a:pt x="2174" y="268"/>
                    <a:pt x="2171" y="262"/>
                  </a:cubicBezTo>
                  <a:cubicBezTo>
                    <a:pt x="2177" y="259"/>
                    <a:pt x="2186" y="259"/>
                    <a:pt x="2191" y="257"/>
                  </a:cubicBezTo>
                  <a:close/>
                  <a:moveTo>
                    <a:pt x="2188" y="367"/>
                  </a:moveTo>
                  <a:cubicBezTo>
                    <a:pt x="2188" y="367"/>
                    <a:pt x="2186" y="367"/>
                    <a:pt x="2183" y="364"/>
                  </a:cubicBezTo>
                  <a:cubicBezTo>
                    <a:pt x="2183" y="364"/>
                    <a:pt x="2183" y="361"/>
                    <a:pt x="2180" y="361"/>
                  </a:cubicBezTo>
                  <a:lnTo>
                    <a:pt x="2183" y="358"/>
                  </a:lnTo>
                  <a:lnTo>
                    <a:pt x="2183" y="361"/>
                  </a:lnTo>
                  <a:cubicBezTo>
                    <a:pt x="2186" y="367"/>
                    <a:pt x="2188" y="367"/>
                    <a:pt x="2188" y="367"/>
                  </a:cubicBezTo>
                  <a:close/>
                  <a:moveTo>
                    <a:pt x="2186" y="313"/>
                  </a:moveTo>
                  <a:lnTo>
                    <a:pt x="2186" y="314"/>
                  </a:lnTo>
                  <a:cubicBezTo>
                    <a:pt x="2185" y="314"/>
                    <a:pt x="2184" y="314"/>
                    <a:pt x="2186" y="313"/>
                  </a:cubicBezTo>
                  <a:cubicBezTo>
                    <a:pt x="2187" y="313"/>
                    <a:pt x="2186" y="314"/>
                    <a:pt x="2186" y="314"/>
                  </a:cubicBezTo>
                  <a:lnTo>
                    <a:pt x="2186" y="313"/>
                  </a:lnTo>
                  <a:close/>
                  <a:moveTo>
                    <a:pt x="2171" y="361"/>
                  </a:moveTo>
                  <a:cubicBezTo>
                    <a:pt x="2169" y="364"/>
                    <a:pt x="2166" y="367"/>
                    <a:pt x="2163" y="367"/>
                  </a:cubicBezTo>
                  <a:cubicBezTo>
                    <a:pt x="2163" y="364"/>
                    <a:pt x="2166" y="361"/>
                    <a:pt x="2171" y="361"/>
                  </a:cubicBezTo>
                  <a:close/>
                  <a:moveTo>
                    <a:pt x="2166" y="542"/>
                  </a:moveTo>
                  <a:cubicBezTo>
                    <a:pt x="2166" y="553"/>
                    <a:pt x="2157" y="556"/>
                    <a:pt x="2155" y="561"/>
                  </a:cubicBezTo>
                  <a:cubicBezTo>
                    <a:pt x="2143" y="556"/>
                    <a:pt x="2155" y="536"/>
                    <a:pt x="2166" y="542"/>
                  </a:cubicBezTo>
                  <a:close/>
                  <a:moveTo>
                    <a:pt x="2135" y="333"/>
                  </a:moveTo>
                  <a:cubicBezTo>
                    <a:pt x="2132" y="336"/>
                    <a:pt x="2132" y="347"/>
                    <a:pt x="2138" y="350"/>
                  </a:cubicBezTo>
                  <a:cubicBezTo>
                    <a:pt x="2112" y="347"/>
                    <a:pt x="2146" y="307"/>
                    <a:pt x="2157" y="341"/>
                  </a:cubicBezTo>
                  <a:cubicBezTo>
                    <a:pt x="2157" y="341"/>
                    <a:pt x="2155" y="344"/>
                    <a:pt x="2160" y="350"/>
                  </a:cubicBezTo>
                  <a:cubicBezTo>
                    <a:pt x="2152" y="355"/>
                    <a:pt x="2138" y="344"/>
                    <a:pt x="2135" y="333"/>
                  </a:cubicBezTo>
                  <a:close/>
                  <a:moveTo>
                    <a:pt x="2143" y="2555"/>
                  </a:moveTo>
                  <a:cubicBezTo>
                    <a:pt x="2152" y="2549"/>
                    <a:pt x="2140" y="2563"/>
                    <a:pt x="2143" y="2555"/>
                  </a:cubicBezTo>
                  <a:close/>
                  <a:moveTo>
                    <a:pt x="2132" y="401"/>
                  </a:moveTo>
                  <a:cubicBezTo>
                    <a:pt x="2132" y="398"/>
                    <a:pt x="2138" y="395"/>
                    <a:pt x="2138" y="392"/>
                  </a:cubicBezTo>
                  <a:cubicBezTo>
                    <a:pt x="2143" y="392"/>
                    <a:pt x="2138" y="401"/>
                    <a:pt x="2132" y="401"/>
                  </a:cubicBezTo>
                  <a:close/>
                  <a:moveTo>
                    <a:pt x="2135" y="1604"/>
                  </a:moveTo>
                  <a:cubicBezTo>
                    <a:pt x="2138" y="1596"/>
                    <a:pt x="2138" y="1612"/>
                    <a:pt x="2135" y="1604"/>
                  </a:cubicBezTo>
                  <a:close/>
                  <a:moveTo>
                    <a:pt x="2124" y="293"/>
                  </a:moveTo>
                  <a:cubicBezTo>
                    <a:pt x="2121" y="288"/>
                    <a:pt x="2126" y="285"/>
                    <a:pt x="2126" y="282"/>
                  </a:cubicBezTo>
                  <a:cubicBezTo>
                    <a:pt x="2135" y="282"/>
                    <a:pt x="2129" y="293"/>
                    <a:pt x="2124" y="293"/>
                  </a:cubicBezTo>
                  <a:close/>
                  <a:moveTo>
                    <a:pt x="2126" y="313"/>
                  </a:moveTo>
                  <a:lnTo>
                    <a:pt x="2126" y="319"/>
                  </a:lnTo>
                  <a:lnTo>
                    <a:pt x="2121" y="319"/>
                  </a:lnTo>
                  <a:lnTo>
                    <a:pt x="2121" y="313"/>
                  </a:lnTo>
                  <a:lnTo>
                    <a:pt x="2126" y="313"/>
                  </a:lnTo>
                  <a:close/>
                  <a:moveTo>
                    <a:pt x="2135" y="307"/>
                  </a:moveTo>
                  <a:lnTo>
                    <a:pt x="2129" y="307"/>
                  </a:lnTo>
                  <a:lnTo>
                    <a:pt x="2129" y="302"/>
                  </a:lnTo>
                  <a:cubicBezTo>
                    <a:pt x="2129" y="302"/>
                    <a:pt x="2132" y="299"/>
                    <a:pt x="2135" y="299"/>
                  </a:cubicBezTo>
                  <a:cubicBezTo>
                    <a:pt x="2132" y="302"/>
                    <a:pt x="2132" y="305"/>
                    <a:pt x="2135" y="307"/>
                  </a:cubicBezTo>
                  <a:close/>
                  <a:moveTo>
                    <a:pt x="2157" y="296"/>
                  </a:moveTo>
                  <a:cubicBezTo>
                    <a:pt x="2163" y="293"/>
                    <a:pt x="2152" y="305"/>
                    <a:pt x="2157" y="296"/>
                  </a:cubicBezTo>
                  <a:close/>
                  <a:moveTo>
                    <a:pt x="2157" y="206"/>
                  </a:moveTo>
                  <a:cubicBezTo>
                    <a:pt x="2155" y="206"/>
                    <a:pt x="2143" y="203"/>
                    <a:pt x="2143" y="209"/>
                  </a:cubicBezTo>
                  <a:cubicBezTo>
                    <a:pt x="2138" y="203"/>
                    <a:pt x="2160" y="197"/>
                    <a:pt x="2157" y="206"/>
                  </a:cubicBezTo>
                  <a:close/>
                  <a:moveTo>
                    <a:pt x="2121" y="180"/>
                  </a:moveTo>
                  <a:cubicBezTo>
                    <a:pt x="2115" y="178"/>
                    <a:pt x="2112" y="172"/>
                    <a:pt x="2109" y="169"/>
                  </a:cubicBezTo>
                  <a:cubicBezTo>
                    <a:pt x="2118" y="164"/>
                    <a:pt x="2121" y="175"/>
                    <a:pt x="2121" y="180"/>
                  </a:cubicBezTo>
                  <a:close/>
                  <a:moveTo>
                    <a:pt x="2107" y="220"/>
                  </a:moveTo>
                  <a:cubicBezTo>
                    <a:pt x="2112" y="223"/>
                    <a:pt x="2109" y="237"/>
                    <a:pt x="2104" y="237"/>
                  </a:cubicBezTo>
                  <a:cubicBezTo>
                    <a:pt x="2104" y="231"/>
                    <a:pt x="2104" y="226"/>
                    <a:pt x="2107" y="220"/>
                  </a:cubicBezTo>
                  <a:close/>
                  <a:moveTo>
                    <a:pt x="2101" y="319"/>
                  </a:moveTo>
                  <a:cubicBezTo>
                    <a:pt x="2095" y="313"/>
                    <a:pt x="2090" y="302"/>
                    <a:pt x="2098" y="296"/>
                  </a:cubicBezTo>
                  <a:cubicBezTo>
                    <a:pt x="2098" y="298"/>
                    <a:pt x="2100" y="300"/>
                    <a:pt x="2101" y="302"/>
                  </a:cubicBezTo>
                  <a:cubicBezTo>
                    <a:pt x="2102" y="303"/>
                    <a:pt x="2104" y="304"/>
                    <a:pt x="2107" y="302"/>
                  </a:cubicBezTo>
                  <a:lnTo>
                    <a:pt x="2109" y="305"/>
                  </a:lnTo>
                  <a:lnTo>
                    <a:pt x="2107" y="305"/>
                  </a:lnTo>
                  <a:cubicBezTo>
                    <a:pt x="2109" y="307"/>
                    <a:pt x="2107" y="313"/>
                    <a:pt x="2101" y="319"/>
                  </a:cubicBezTo>
                  <a:close/>
                  <a:moveTo>
                    <a:pt x="2101" y="341"/>
                  </a:moveTo>
                  <a:cubicBezTo>
                    <a:pt x="2101" y="336"/>
                    <a:pt x="2112" y="344"/>
                    <a:pt x="2101" y="341"/>
                  </a:cubicBezTo>
                  <a:close/>
                  <a:moveTo>
                    <a:pt x="2098" y="2428"/>
                  </a:moveTo>
                  <a:cubicBezTo>
                    <a:pt x="2098" y="2422"/>
                    <a:pt x="2095" y="2442"/>
                    <a:pt x="2098" y="2428"/>
                  </a:cubicBezTo>
                  <a:close/>
                  <a:moveTo>
                    <a:pt x="2092" y="1610"/>
                  </a:moveTo>
                  <a:cubicBezTo>
                    <a:pt x="2092" y="1604"/>
                    <a:pt x="2104" y="1612"/>
                    <a:pt x="2092" y="1610"/>
                  </a:cubicBezTo>
                  <a:close/>
                  <a:moveTo>
                    <a:pt x="2104" y="240"/>
                  </a:moveTo>
                  <a:lnTo>
                    <a:pt x="2099" y="240"/>
                  </a:lnTo>
                  <a:cubicBezTo>
                    <a:pt x="2100" y="256"/>
                    <a:pt x="2063" y="250"/>
                    <a:pt x="2098" y="237"/>
                  </a:cubicBezTo>
                  <a:lnTo>
                    <a:pt x="2098" y="234"/>
                  </a:lnTo>
                  <a:lnTo>
                    <a:pt x="2104" y="234"/>
                  </a:lnTo>
                  <a:lnTo>
                    <a:pt x="2104" y="237"/>
                  </a:lnTo>
                  <a:lnTo>
                    <a:pt x="2104" y="240"/>
                  </a:lnTo>
                  <a:close/>
                  <a:moveTo>
                    <a:pt x="2109" y="274"/>
                  </a:moveTo>
                  <a:cubicBezTo>
                    <a:pt x="2104" y="276"/>
                    <a:pt x="2104" y="268"/>
                    <a:pt x="2101" y="265"/>
                  </a:cubicBezTo>
                  <a:cubicBezTo>
                    <a:pt x="2104" y="265"/>
                    <a:pt x="2109" y="271"/>
                    <a:pt x="2109" y="274"/>
                  </a:cubicBezTo>
                  <a:close/>
                  <a:moveTo>
                    <a:pt x="2098" y="217"/>
                  </a:moveTo>
                  <a:cubicBezTo>
                    <a:pt x="2084" y="209"/>
                    <a:pt x="2112" y="197"/>
                    <a:pt x="2098" y="217"/>
                  </a:cubicBezTo>
                  <a:close/>
                  <a:moveTo>
                    <a:pt x="2104" y="265"/>
                  </a:moveTo>
                  <a:cubicBezTo>
                    <a:pt x="2101" y="265"/>
                    <a:pt x="2092" y="259"/>
                    <a:pt x="2095" y="254"/>
                  </a:cubicBezTo>
                  <a:cubicBezTo>
                    <a:pt x="2098" y="257"/>
                    <a:pt x="2101" y="262"/>
                    <a:pt x="2104" y="265"/>
                  </a:cubicBezTo>
                  <a:close/>
                  <a:moveTo>
                    <a:pt x="2098" y="166"/>
                  </a:moveTo>
                  <a:cubicBezTo>
                    <a:pt x="2084" y="161"/>
                    <a:pt x="2112" y="147"/>
                    <a:pt x="2098" y="166"/>
                  </a:cubicBezTo>
                  <a:close/>
                  <a:moveTo>
                    <a:pt x="2087" y="147"/>
                  </a:moveTo>
                  <a:cubicBezTo>
                    <a:pt x="2090" y="141"/>
                    <a:pt x="2098" y="152"/>
                    <a:pt x="2087" y="147"/>
                  </a:cubicBezTo>
                  <a:close/>
                  <a:moveTo>
                    <a:pt x="2087" y="195"/>
                  </a:moveTo>
                  <a:cubicBezTo>
                    <a:pt x="2101" y="175"/>
                    <a:pt x="2115" y="206"/>
                    <a:pt x="2087" y="195"/>
                  </a:cubicBezTo>
                  <a:close/>
                  <a:moveTo>
                    <a:pt x="2087" y="307"/>
                  </a:moveTo>
                  <a:cubicBezTo>
                    <a:pt x="2092" y="299"/>
                    <a:pt x="2092" y="313"/>
                    <a:pt x="2087" y="307"/>
                  </a:cubicBezTo>
                  <a:close/>
                  <a:moveTo>
                    <a:pt x="2090" y="468"/>
                  </a:moveTo>
                  <a:cubicBezTo>
                    <a:pt x="2090" y="471"/>
                    <a:pt x="2084" y="474"/>
                    <a:pt x="2081" y="474"/>
                  </a:cubicBezTo>
                  <a:cubicBezTo>
                    <a:pt x="2084" y="471"/>
                    <a:pt x="2087" y="468"/>
                    <a:pt x="2090" y="468"/>
                  </a:cubicBezTo>
                  <a:close/>
                  <a:moveTo>
                    <a:pt x="2081" y="265"/>
                  </a:moveTo>
                  <a:cubicBezTo>
                    <a:pt x="2081" y="262"/>
                    <a:pt x="2087" y="259"/>
                    <a:pt x="2090" y="259"/>
                  </a:cubicBezTo>
                  <a:cubicBezTo>
                    <a:pt x="2090" y="265"/>
                    <a:pt x="2084" y="265"/>
                    <a:pt x="2081" y="265"/>
                  </a:cubicBezTo>
                  <a:close/>
                  <a:moveTo>
                    <a:pt x="2087" y="279"/>
                  </a:moveTo>
                  <a:cubicBezTo>
                    <a:pt x="2090" y="271"/>
                    <a:pt x="2092" y="288"/>
                    <a:pt x="2087" y="279"/>
                  </a:cubicBezTo>
                  <a:close/>
                  <a:moveTo>
                    <a:pt x="2078" y="341"/>
                  </a:moveTo>
                  <a:cubicBezTo>
                    <a:pt x="2084" y="341"/>
                    <a:pt x="2087" y="350"/>
                    <a:pt x="2087" y="353"/>
                  </a:cubicBezTo>
                  <a:cubicBezTo>
                    <a:pt x="2084" y="353"/>
                    <a:pt x="2081" y="350"/>
                    <a:pt x="2078" y="353"/>
                  </a:cubicBezTo>
                  <a:cubicBezTo>
                    <a:pt x="2078" y="347"/>
                    <a:pt x="2081" y="347"/>
                    <a:pt x="2078" y="341"/>
                  </a:cubicBezTo>
                  <a:close/>
                  <a:moveTo>
                    <a:pt x="2084" y="1601"/>
                  </a:moveTo>
                  <a:cubicBezTo>
                    <a:pt x="2078" y="1607"/>
                    <a:pt x="2076" y="1593"/>
                    <a:pt x="2084" y="1601"/>
                  </a:cubicBezTo>
                  <a:close/>
                  <a:moveTo>
                    <a:pt x="2067" y="2447"/>
                  </a:moveTo>
                  <a:cubicBezTo>
                    <a:pt x="2061" y="2442"/>
                    <a:pt x="2073" y="2436"/>
                    <a:pt x="2078" y="2439"/>
                  </a:cubicBezTo>
                  <a:cubicBezTo>
                    <a:pt x="2076" y="2442"/>
                    <a:pt x="2067" y="2442"/>
                    <a:pt x="2067" y="2447"/>
                  </a:cubicBezTo>
                  <a:close/>
                  <a:moveTo>
                    <a:pt x="2073" y="2591"/>
                  </a:moveTo>
                  <a:cubicBezTo>
                    <a:pt x="2078" y="2586"/>
                    <a:pt x="2076" y="2600"/>
                    <a:pt x="2073" y="2591"/>
                  </a:cubicBezTo>
                  <a:close/>
                  <a:moveTo>
                    <a:pt x="2070" y="2402"/>
                  </a:moveTo>
                  <a:cubicBezTo>
                    <a:pt x="2070" y="2397"/>
                    <a:pt x="2078" y="2397"/>
                    <a:pt x="2084" y="2397"/>
                  </a:cubicBezTo>
                  <a:cubicBezTo>
                    <a:pt x="2081" y="2399"/>
                    <a:pt x="2073" y="2402"/>
                    <a:pt x="2070" y="2402"/>
                  </a:cubicBezTo>
                  <a:close/>
                  <a:moveTo>
                    <a:pt x="2073" y="344"/>
                  </a:moveTo>
                  <a:cubicBezTo>
                    <a:pt x="2076" y="336"/>
                    <a:pt x="2078" y="350"/>
                    <a:pt x="2073" y="344"/>
                  </a:cubicBezTo>
                  <a:close/>
                  <a:moveTo>
                    <a:pt x="2070" y="251"/>
                  </a:moveTo>
                  <a:cubicBezTo>
                    <a:pt x="2076" y="243"/>
                    <a:pt x="2067" y="257"/>
                    <a:pt x="2070" y="251"/>
                  </a:cubicBezTo>
                  <a:close/>
                  <a:moveTo>
                    <a:pt x="2061" y="296"/>
                  </a:moveTo>
                  <a:cubicBezTo>
                    <a:pt x="2061" y="293"/>
                    <a:pt x="2064" y="288"/>
                    <a:pt x="2070" y="288"/>
                  </a:cubicBezTo>
                  <a:cubicBezTo>
                    <a:pt x="2070" y="290"/>
                    <a:pt x="2070" y="293"/>
                    <a:pt x="2073" y="293"/>
                  </a:cubicBezTo>
                  <a:cubicBezTo>
                    <a:pt x="2067" y="296"/>
                    <a:pt x="2064" y="296"/>
                    <a:pt x="2061" y="296"/>
                  </a:cubicBezTo>
                  <a:close/>
                  <a:moveTo>
                    <a:pt x="2061" y="282"/>
                  </a:moveTo>
                  <a:cubicBezTo>
                    <a:pt x="2061" y="276"/>
                    <a:pt x="2073" y="282"/>
                    <a:pt x="2061" y="282"/>
                  </a:cubicBezTo>
                  <a:close/>
                  <a:moveTo>
                    <a:pt x="2070" y="262"/>
                  </a:moveTo>
                  <a:cubicBezTo>
                    <a:pt x="2070" y="265"/>
                    <a:pt x="2070" y="268"/>
                    <a:pt x="2073" y="271"/>
                  </a:cubicBezTo>
                  <a:cubicBezTo>
                    <a:pt x="2070" y="271"/>
                    <a:pt x="2067" y="271"/>
                    <a:pt x="2067" y="274"/>
                  </a:cubicBezTo>
                  <a:cubicBezTo>
                    <a:pt x="2061" y="271"/>
                    <a:pt x="2067" y="271"/>
                    <a:pt x="2067" y="268"/>
                  </a:cubicBezTo>
                  <a:cubicBezTo>
                    <a:pt x="2062" y="271"/>
                    <a:pt x="2059" y="273"/>
                    <a:pt x="2056" y="266"/>
                  </a:cubicBezTo>
                  <a:cubicBezTo>
                    <a:pt x="2057" y="267"/>
                    <a:pt x="2067" y="260"/>
                    <a:pt x="2070" y="262"/>
                  </a:cubicBezTo>
                  <a:close/>
                  <a:moveTo>
                    <a:pt x="2056" y="209"/>
                  </a:moveTo>
                  <a:cubicBezTo>
                    <a:pt x="2056" y="212"/>
                    <a:pt x="2053" y="217"/>
                    <a:pt x="2050" y="220"/>
                  </a:cubicBezTo>
                  <a:cubicBezTo>
                    <a:pt x="2047" y="217"/>
                    <a:pt x="2044" y="220"/>
                    <a:pt x="2044" y="223"/>
                  </a:cubicBezTo>
                  <a:cubicBezTo>
                    <a:pt x="2033" y="223"/>
                    <a:pt x="2047" y="197"/>
                    <a:pt x="2056" y="209"/>
                  </a:cubicBezTo>
                  <a:close/>
                  <a:moveTo>
                    <a:pt x="2036" y="172"/>
                  </a:moveTo>
                  <a:cubicBezTo>
                    <a:pt x="2036" y="169"/>
                    <a:pt x="2042" y="166"/>
                    <a:pt x="2044" y="166"/>
                  </a:cubicBezTo>
                  <a:cubicBezTo>
                    <a:pt x="2042" y="169"/>
                    <a:pt x="2039" y="172"/>
                    <a:pt x="2036" y="172"/>
                  </a:cubicBezTo>
                  <a:close/>
                  <a:moveTo>
                    <a:pt x="2053" y="265"/>
                  </a:moveTo>
                  <a:cubicBezTo>
                    <a:pt x="2053" y="268"/>
                    <a:pt x="2047" y="271"/>
                    <a:pt x="2044" y="271"/>
                  </a:cubicBezTo>
                  <a:cubicBezTo>
                    <a:pt x="2044" y="268"/>
                    <a:pt x="2050" y="265"/>
                    <a:pt x="2053" y="265"/>
                  </a:cubicBezTo>
                  <a:close/>
                  <a:moveTo>
                    <a:pt x="2044" y="570"/>
                  </a:moveTo>
                  <a:lnTo>
                    <a:pt x="2036" y="570"/>
                  </a:lnTo>
                  <a:lnTo>
                    <a:pt x="2036" y="564"/>
                  </a:lnTo>
                  <a:cubicBezTo>
                    <a:pt x="2042" y="564"/>
                    <a:pt x="2044" y="567"/>
                    <a:pt x="2044" y="570"/>
                  </a:cubicBezTo>
                  <a:close/>
                  <a:moveTo>
                    <a:pt x="2039" y="2273"/>
                  </a:moveTo>
                  <a:cubicBezTo>
                    <a:pt x="2042" y="2275"/>
                    <a:pt x="2047" y="2278"/>
                    <a:pt x="2047" y="2284"/>
                  </a:cubicBezTo>
                  <a:cubicBezTo>
                    <a:pt x="2042" y="2287"/>
                    <a:pt x="2039" y="2278"/>
                    <a:pt x="2039" y="2273"/>
                  </a:cubicBezTo>
                  <a:close/>
                  <a:moveTo>
                    <a:pt x="2044" y="2422"/>
                  </a:moveTo>
                  <a:cubicBezTo>
                    <a:pt x="2044" y="2416"/>
                    <a:pt x="2053" y="2425"/>
                    <a:pt x="2044" y="2422"/>
                  </a:cubicBezTo>
                  <a:close/>
                  <a:moveTo>
                    <a:pt x="2050" y="338"/>
                  </a:moveTo>
                  <a:cubicBezTo>
                    <a:pt x="2047" y="344"/>
                    <a:pt x="2039" y="336"/>
                    <a:pt x="2050" y="338"/>
                  </a:cubicBezTo>
                  <a:close/>
                  <a:moveTo>
                    <a:pt x="2044" y="293"/>
                  </a:moveTo>
                  <a:cubicBezTo>
                    <a:pt x="2047" y="290"/>
                    <a:pt x="2050" y="288"/>
                    <a:pt x="2053" y="288"/>
                  </a:cubicBezTo>
                  <a:cubicBezTo>
                    <a:pt x="2053" y="293"/>
                    <a:pt x="2047" y="296"/>
                    <a:pt x="2044" y="293"/>
                  </a:cubicBezTo>
                  <a:close/>
                  <a:moveTo>
                    <a:pt x="2053" y="457"/>
                  </a:moveTo>
                  <a:cubicBezTo>
                    <a:pt x="2053" y="451"/>
                    <a:pt x="2061" y="460"/>
                    <a:pt x="2053" y="457"/>
                  </a:cubicBezTo>
                  <a:close/>
                  <a:moveTo>
                    <a:pt x="2064" y="426"/>
                  </a:moveTo>
                  <a:lnTo>
                    <a:pt x="2064" y="432"/>
                  </a:lnTo>
                  <a:cubicBezTo>
                    <a:pt x="2053" y="434"/>
                    <a:pt x="2059" y="420"/>
                    <a:pt x="2064" y="426"/>
                  </a:cubicBezTo>
                  <a:close/>
                  <a:moveTo>
                    <a:pt x="2059" y="2275"/>
                  </a:moveTo>
                  <a:cubicBezTo>
                    <a:pt x="2053" y="2284"/>
                    <a:pt x="2044" y="2275"/>
                    <a:pt x="2059" y="2275"/>
                  </a:cubicBezTo>
                  <a:close/>
                  <a:moveTo>
                    <a:pt x="2059" y="2478"/>
                  </a:moveTo>
                  <a:lnTo>
                    <a:pt x="2059" y="2481"/>
                  </a:lnTo>
                  <a:lnTo>
                    <a:pt x="2056" y="2481"/>
                  </a:lnTo>
                  <a:lnTo>
                    <a:pt x="2059" y="2478"/>
                  </a:lnTo>
                  <a:close/>
                  <a:moveTo>
                    <a:pt x="2056" y="2620"/>
                  </a:moveTo>
                  <a:lnTo>
                    <a:pt x="2061" y="2620"/>
                  </a:lnTo>
                  <a:lnTo>
                    <a:pt x="2061" y="2625"/>
                  </a:lnTo>
                  <a:lnTo>
                    <a:pt x="2056" y="2625"/>
                  </a:lnTo>
                  <a:lnTo>
                    <a:pt x="2056" y="2620"/>
                  </a:lnTo>
                  <a:close/>
                  <a:moveTo>
                    <a:pt x="2047" y="169"/>
                  </a:moveTo>
                  <a:cubicBezTo>
                    <a:pt x="2047" y="166"/>
                    <a:pt x="2047" y="164"/>
                    <a:pt x="2050" y="164"/>
                  </a:cubicBezTo>
                  <a:cubicBezTo>
                    <a:pt x="2053" y="164"/>
                    <a:pt x="2059" y="166"/>
                    <a:pt x="2061" y="169"/>
                  </a:cubicBezTo>
                  <a:cubicBezTo>
                    <a:pt x="2061" y="172"/>
                    <a:pt x="2061" y="175"/>
                    <a:pt x="2059" y="178"/>
                  </a:cubicBezTo>
                  <a:cubicBezTo>
                    <a:pt x="2061" y="180"/>
                    <a:pt x="2056" y="189"/>
                    <a:pt x="2050" y="189"/>
                  </a:cubicBezTo>
                  <a:cubicBezTo>
                    <a:pt x="2050" y="183"/>
                    <a:pt x="2053" y="183"/>
                    <a:pt x="2053" y="180"/>
                  </a:cubicBezTo>
                  <a:cubicBezTo>
                    <a:pt x="2050" y="180"/>
                    <a:pt x="2047" y="180"/>
                    <a:pt x="2044" y="178"/>
                  </a:cubicBezTo>
                  <a:lnTo>
                    <a:pt x="2044" y="175"/>
                  </a:lnTo>
                  <a:lnTo>
                    <a:pt x="2044" y="172"/>
                  </a:lnTo>
                  <a:cubicBezTo>
                    <a:pt x="2044" y="166"/>
                    <a:pt x="2044" y="166"/>
                    <a:pt x="2047" y="169"/>
                  </a:cubicBezTo>
                  <a:close/>
                  <a:moveTo>
                    <a:pt x="2042" y="118"/>
                  </a:moveTo>
                  <a:cubicBezTo>
                    <a:pt x="2042" y="121"/>
                    <a:pt x="2042" y="124"/>
                    <a:pt x="2044" y="127"/>
                  </a:cubicBezTo>
                  <a:cubicBezTo>
                    <a:pt x="2039" y="130"/>
                    <a:pt x="2036" y="124"/>
                    <a:pt x="2036" y="121"/>
                  </a:cubicBezTo>
                  <a:lnTo>
                    <a:pt x="2042" y="118"/>
                  </a:lnTo>
                  <a:close/>
                  <a:moveTo>
                    <a:pt x="2033" y="296"/>
                  </a:moveTo>
                  <a:cubicBezTo>
                    <a:pt x="2033" y="290"/>
                    <a:pt x="2044" y="296"/>
                    <a:pt x="2033" y="296"/>
                  </a:cubicBezTo>
                  <a:close/>
                  <a:moveTo>
                    <a:pt x="2042" y="319"/>
                  </a:moveTo>
                  <a:cubicBezTo>
                    <a:pt x="2036" y="319"/>
                    <a:pt x="2022" y="313"/>
                    <a:pt x="2028" y="307"/>
                  </a:cubicBezTo>
                  <a:cubicBezTo>
                    <a:pt x="2033" y="310"/>
                    <a:pt x="2036" y="313"/>
                    <a:pt x="2042" y="319"/>
                  </a:cubicBezTo>
                  <a:close/>
                  <a:moveTo>
                    <a:pt x="2030" y="355"/>
                  </a:moveTo>
                  <a:cubicBezTo>
                    <a:pt x="2030" y="361"/>
                    <a:pt x="2019" y="355"/>
                    <a:pt x="2019" y="355"/>
                  </a:cubicBezTo>
                  <a:cubicBezTo>
                    <a:pt x="2019" y="350"/>
                    <a:pt x="2028" y="350"/>
                    <a:pt x="2030" y="355"/>
                  </a:cubicBezTo>
                  <a:close/>
                  <a:moveTo>
                    <a:pt x="2016" y="212"/>
                  </a:moveTo>
                  <a:cubicBezTo>
                    <a:pt x="2019" y="203"/>
                    <a:pt x="2025" y="217"/>
                    <a:pt x="2016" y="212"/>
                  </a:cubicBezTo>
                  <a:close/>
                  <a:moveTo>
                    <a:pt x="2028" y="195"/>
                  </a:moveTo>
                  <a:lnTo>
                    <a:pt x="2028" y="203"/>
                  </a:lnTo>
                  <a:cubicBezTo>
                    <a:pt x="2022" y="206"/>
                    <a:pt x="2019" y="200"/>
                    <a:pt x="2016" y="200"/>
                  </a:cubicBezTo>
                  <a:cubicBezTo>
                    <a:pt x="2016" y="192"/>
                    <a:pt x="2025" y="195"/>
                    <a:pt x="2028" y="195"/>
                  </a:cubicBezTo>
                  <a:close/>
                  <a:moveTo>
                    <a:pt x="2019" y="2301"/>
                  </a:moveTo>
                  <a:cubicBezTo>
                    <a:pt x="2008" y="2304"/>
                    <a:pt x="2022" y="2287"/>
                    <a:pt x="2019" y="2301"/>
                  </a:cubicBezTo>
                  <a:close/>
                  <a:moveTo>
                    <a:pt x="2022" y="2501"/>
                  </a:moveTo>
                  <a:cubicBezTo>
                    <a:pt x="2030" y="2507"/>
                    <a:pt x="2011" y="2507"/>
                    <a:pt x="2022" y="2501"/>
                  </a:cubicBezTo>
                  <a:close/>
                  <a:moveTo>
                    <a:pt x="2013" y="381"/>
                  </a:moveTo>
                  <a:lnTo>
                    <a:pt x="2008" y="381"/>
                  </a:lnTo>
                  <a:lnTo>
                    <a:pt x="2008" y="375"/>
                  </a:lnTo>
                  <a:cubicBezTo>
                    <a:pt x="2011" y="375"/>
                    <a:pt x="2013" y="378"/>
                    <a:pt x="2016" y="378"/>
                  </a:cubicBezTo>
                  <a:lnTo>
                    <a:pt x="2013" y="381"/>
                  </a:lnTo>
                  <a:close/>
                  <a:moveTo>
                    <a:pt x="2013" y="231"/>
                  </a:moveTo>
                  <a:cubicBezTo>
                    <a:pt x="2008" y="234"/>
                    <a:pt x="2002" y="240"/>
                    <a:pt x="1997" y="240"/>
                  </a:cubicBezTo>
                  <a:cubicBezTo>
                    <a:pt x="1998" y="237"/>
                    <a:pt x="2000" y="234"/>
                    <a:pt x="2003" y="232"/>
                  </a:cubicBezTo>
                  <a:cubicBezTo>
                    <a:pt x="1994" y="235"/>
                    <a:pt x="1994" y="223"/>
                    <a:pt x="2002" y="220"/>
                  </a:cubicBezTo>
                  <a:cubicBezTo>
                    <a:pt x="2002" y="223"/>
                    <a:pt x="2005" y="228"/>
                    <a:pt x="2005" y="231"/>
                  </a:cubicBezTo>
                  <a:cubicBezTo>
                    <a:pt x="2008" y="229"/>
                    <a:pt x="2011" y="229"/>
                    <a:pt x="2013" y="231"/>
                  </a:cubicBezTo>
                  <a:close/>
                  <a:moveTo>
                    <a:pt x="2002" y="550"/>
                  </a:moveTo>
                  <a:cubicBezTo>
                    <a:pt x="2005" y="544"/>
                    <a:pt x="2013" y="553"/>
                    <a:pt x="2002" y="550"/>
                  </a:cubicBezTo>
                  <a:close/>
                  <a:moveTo>
                    <a:pt x="2002" y="206"/>
                  </a:moveTo>
                  <a:lnTo>
                    <a:pt x="2008" y="206"/>
                  </a:lnTo>
                  <a:lnTo>
                    <a:pt x="2008" y="212"/>
                  </a:lnTo>
                  <a:lnTo>
                    <a:pt x="2002" y="212"/>
                  </a:lnTo>
                  <a:lnTo>
                    <a:pt x="2002" y="206"/>
                  </a:lnTo>
                  <a:close/>
                  <a:moveTo>
                    <a:pt x="1994" y="133"/>
                  </a:moveTo>
                  <a:cubicBezTo>
                    <a:pt x="1997" y="127"/>
                    <a:pt x="2008" y="133"/>
                    <a:pt x="1994" y="133"/>
                  </a:cubicBezTo>
                  <a:close/>
                  <a:moveTo>
                    <a:pt x="1999" y="212"/>
                  </a:moveTo>
                  <a:cubicBezTo>
                    <a:pt x="1999" y="214"/>
                    <a:pt x="1994" y="217"/>
                    <a:pt x="1994" y="220"/>
                  </a:cubicBezTo>
                  <a:cubicBezTo>
                    <a:pt x="1988" y="220"/>
                    <a:pt x="1994" y="212"/>
                    <a:pt x="1999" y="212"/>
                  </a:cubicBezTo>
                  <a:close/>
                  <a:moveTo>
                    <a:pt x="1982" y="389"/>
                  </a:moveTo>
                  <a:cubicBezTo>
                    <a:pt x="1985" y="386"/>
                    <a:pt x="1991" y="384"/>
                    <a:pt x="1997" y="384"/>
                  </a:cubicBezTo>
                  <a:cubicBezTo>
                    <a:pt x="1997" y="386"/>
                    <a:pt x="1997" y="389"/>
                    <a:pt x="1999" y="389"/>
                  </a:cubicBezTo>
                  <a:cubicBezTo>
                    <a:pt x="1997" y="395"/>
                    <a:pt x="1985" y="389"/>
                    <a:pt x="1982" y="389"/>
                  </a:cubicBezTo>
                  <a:close/>
                  <a:moveTo>
                    <a:pt x="1997" y="2605"/>
                  </a:moveTo>
                  <a:cubicBezTo>
                    <a:pt x="1994" y="2603"/>
                    <a:pt x="1997" y="2600"/>
                    <a:pt x="1997" y="2597"/>
                  </a:cubicBezTo>
                  <a:cubicBezTo>
                    <a:pt x="1999" y="2600"/>
                    <a:pt x="1997" y="2605"/>
                    <a:pt x="1997" y="2605"/>
                  </a:cubicBezTo>
                  <a:close/>
                  <a:moveTo>
                    <a:pt x="1974" y="276"/>
                  </a:moveTo>
                  <a:cubicBezTo>
                    <a:pt x="1977" y="271"/>
                    <a:pt x="1985" y="279"/>
                    <a:pt x="1974" y="276"/>
                  </a:cubicBezTo>
                  <a:close/>
                  <a:moveTo>
                    <a:pt x="1974" y="226"/>
                  </a:moveTo>
                  <a:cubicBezTo>
                    <a:pt x="1974" y="220"/>
                    <a:pt x="1985" y="226"/>
                    <a:pt x="1974" y="226"/>
                  </a:cubicBezTo>
                  <a:close/>
                  <a:moveTo>
                    <a:pt x="1977" y="330"/>
                  </a:moveTo>
                  <a:cubicBezTo>
                    <a:pt x="1982" y="324"/>
                    <a:pt x="1974" y="338"/>
                    <a:pt x="1977" y="330"/>
                  </a:cubicBezTo>
                  <a:close/>
                  <a:moveTo>
                    <a:pt x="1980" y="392"/>
                  </a:moveTo>
                  <a:cubicBezTo>
                    <a:pt x="1991" y="395"/>
                    <a:pt x="1971" y="403"/>
                    <a:pt x="1980" y="392"/>
                  </a:cubicBezTo>
                  <a:close/>
                  <a:moveTo>
                    <a:pt x="1980" y="570"/>
                  </a:moveTo>
                  <a:cubicBezTo>
                    <a:pt x="1988" y="567"/>
                    <a:pt x="1977" y="578"/>
                    <a:pt x="1980" y="570"/>
                  </a:cubicBezTo>
                  <a:close/>
                  <a:moveTo>
                    <a:pt x="1982" y="1453"/>
                  </a:moveTo>
                  <a:cubicBezTo>
                    <a:pt x="1982" y="1447"/>
                    <a:pt x="1991" y="1455"/>
                    <a:pt x="1982" y="1453"/>
                  </a:cubicBezTo>
                  <a:close/>
                  <a:moveTo>
                    <a:pt x="1994" y="2622"/>
                  </a:moveTo>
                  <a:cubicBezTo>
                    <a:pt x="1994" y="2628"/>
                    <a:pt x="1982" y="2625"/>
                    <a:pt x="1980" y="2625"/>
                  </a:cubicBezTo>
                  <a:cubicBezTo>
                    <a:pt x="1980" y="2622"/>
                    <a:pt x="1991" y="2620"/>
                    <a:pt x="1994" y="2622"/>
                  </a:cubicBezTo>
                  <a:close/>
                  <a:moveTo>
                    <a:pt x="1994" y="2250"/>
                  </a:moveTo>
                  <a:cubicBezTo>
                    <a:pt x="1994" y="2253"/>
                    <a:pt x="1988" y="2256"/>
                    <a:pt x="1988" y="2258"/>
                  </a:cubicBezTo>
                  <a:cubicBezTo>
                    <a:pt x="1982" y="2258"/>
                    <a:pt x="1988" y="2250"/>
                    <a:pt x="1994" y="2250"/>
                  </a:cubicBezTo>
                  <a:close/>
                  <a:moveTo>
                    <a:pt x="1985" y="592"/>
                  </a:moveTo>
                  <a:cubicBezTo>
                    <a:pt x="1985" y="587"/>
                    <a:pt x="1997" y="598"/>
                    <a:pt x="1985" y="592"/>
                  </a:cubicBezTo>
                  <a:close/>
                  <a:moveTo>
                    <a:pt x="1997" y="274"/>
                  </a:moveTo>
                  <a:lnTo>
                    <a:pt x="1991" y="274"/>
                  </a:lnTo>
                  <a:lnTo>
                    <a:pt x="1991" y="268"/>
                  </a:lnTo>
                  <a:lnTo>
                    <a:pt x="1997" y="268"/>
                  </a:lnTo>
                  <a:lnTo>
                    <a:pt x="1997" y="274"/>
                  </a:lnTo>
                  <a:close/>
                  <a:moveTo>
                    <a:pt x="1985" y="251"/>
                  </a:moveTo>
                  <a:cubicBezTo>
                    <a:pt x="1985" y="245"/>
                    <a:pt x="1985" y="240"/>
                    <a:pt x="1988" y="234"/>
                  </a:cubicBezTo>
                  <a:cubicBezTo>
                    <a:pt x="1994" y="231"/>
                    <a:pt x="1994" y="251"/>
                    <a:pt x="1985" y="251"/>
                  </a:cubicBezTo>
                  <a:close/>
                  <a:moveTo>
                    <a:pt x="1985" y="220"/>
                  </a:moveTo>
                  <a:cubicBezTo>
                    <a:pt x="1985" y="214"/>
                    <a:pt x="1994" y="223"/>
                    <a:pt x="1985" y="220"/>
                  </a:cubicBezTo>
                  <a:close/>
                  <a:moveTo>
                    <a:pt x="1991" y="257"/>
                  </a:moveTo>
                  <a:cubicBezTo>
                    <a:pt x="1991" y="265"/>
                    <a:pt x="1982" y="251"/>
                    <a:pt x="1991" y="257"/>
                  </a:cubicBezTo>
                  <a:close/>
                  <a:moveTo>
                    <a:pt x="1982" y="271"/>
                  </a:moveTo>
                  <a:cubicBezTo>
                    <a:pt x="1968" y="265"/>
                    <a:pt x="1997" y="251"/>
                    <a:pt x="1982" y="271"/>
                  </a:cubicBezTo>
                  <a:close/>
                  <a:moveTo>
                    <a:pt x="1971" y="166"/>
                  </a:moveTo>
                  <a:lnTo>
                    <a:pt x="1977" y="166"/>
                  </a:lnTo>
                  <a:lnTo>
                    <a:pt x="1980" y="169"/>
                  </a:lnTo>
                  <a:cubicBezTo>
                    <a:pt x="1980" y="175"/>
                    <a:pt x="1968" y="175"/>
                    <a:pt x="1971" y="166"/>
                  </a:cubicBezTo>
                  <a:close/>
                  <a:moveTo>
                    <a:pt x="1960" y="158"/>
                  </a:moveTo>
                  <a:cubicBezTo>
                    <a:pt x="1963" y="158"/>
                    <a:pt x="1963" y="161"/>
                    <a:pt x="1965" y="161"/>
                  </a:cubicBezTo>
                  <a:lnTo>
                    <a:pt x="1965" y="164"/>
                  </a:lnTo>
                  <a:lnTo>
                    <a:pt x="1957" y="164"/>
                  </a:lnTo>
                  <a:cubicBezTo>
                    <a:pt x="1957" y="164"/>
                    <a:pt x="1957" y="161"/>
                    <a:pt x="1960" y="158"/>
                  </a:cubicBezTo>
                  <a:close/>
                  <a:moveTo>
                    <a:pt x="1957" y="206"/>
                  </a:moveTo>
                  <a:cubicBezTo>
                    <a:pt x="1957" y="200"/>
                    <a:pt x="1965" y="206"/>
                    <a:pt x="1957" y="206"/>
                  </a:cubicBezTo>
                  <a:close/>
                  <a:moveTo>
                    <a:pt x="1965" y="217"/>
                  </a:moveTo>
                  <a:cubicBezTo>
                    <a:pt x="1965" y="220"/>
                    <a:pt x="1963" y="226"/>
                    <a:pt x="1963" y="228"/>
                  </a:cubicBezTo>
                  <a:cubicBezTo>
                    <a:pt x="1962" y="228"/>
                    <a:pt x="1961" y="227"/>
                    <a:pt x="1960" y="226"/>
                  </a:cubicBezTo>
                  <a:cubicBezTo>
                    <a:pt x="1962" y="233"/>
                    <a:pt x="1944" y="226"/>
                    <a:pt x="1959" y="226"/>
                  </a:cubicBezTo>
                  <a:lnTo>
                    <a:pt x="1959" y="226"/>
                  </a:lnTo>
                  <a:lnTo>
                    <a:pt x="1960" y="226"/>
                  </a:lnTo>
                  <a:lnTo>
                    <a:pt x="1959" y="226"/>
                  </a:lnTo>
                  <a:cubicBezTo>
                    <a:pt x="1958" y="225"/>
                    <a:pt x="1957" y="223"/>
                    <a:pt x="1957" y="220"/>
                  </a:cubicBezTo>
                  <a:cubicBezTo>
                    <a:pt x="1960" y="220"/>
                    <a:pt x="1963" y="217"/>
                    <a:pt x="1965" y="217"/>
                  </a:cubicBezTo>
                  <a:close/>
                  <a:moveTo>
                    <a:pt x="1949" y="110"/>
                  </a:moveTo>
                  <a:cubicBezTo>
                    <a:pt x="1946" y="104"/>
                    <a:pt x="1957" y="110"/>
                    <a:pt x="1949" y="110"/>
                  </a:cubicBezTo>
                  <a:close/>
                  <a:moveTo>
                    <a:pt x="1929" y="2360"/>
                  </a:moveTo>
                  <a:cubicBezTo>
                    <a:pt x="1932" y="2357"/>
                    <a:pt x="1934" y="2352"/>
                    <a:pt x="1937" y="2352"/>
                  </a:cubicBezTo>
                  <a:cubicBezTo>
                    <a:pt x="1940" y="2357"/>
                    <a:pt x="1934" y="2363"/>
                    <a:pt x="1929" y="2360"/>
                  </a:cubicBezTo>
                  <a:close/>
                  <a:moveTo>
                    <a:pt x="1934" y="2806"/>
                  </a:moveTo>
                  <a:lnTo>
                    <a:pt x="1934" y="2811"/>
                  </a:lnTo>
                  <a:lnTo>
                    <a:pt x="1929" y="2811"/>
                  </a:lnTo>
                  <a:lnTo>
                    <a:pt x="1929" y="2806"/>
                  </a:lnTo>
                  <a:lnTo>
                    <a:pt x="1934" y="2806"/>
                  </a:lnTo>
                  <a:close/>
                  <a:moveTo>
                    <a:pt x="1923" y="2174"/>
                  </a:moveTo>
                  <a:cubicBezTo>
                    <a:pt x="1926" y="2174"/>
                    <a:pt x="1926" y="2185"/>
                    <a:pt x="1920" y="2182"/>
                  </a:cubicBezTo>
                  <a:cubicBezTo>
                    <a:pt x="1920" y="2179"/>
                    <a:pt x="1923" y="2177"/>
                    <a:pt x="1923" y="2174"/>
                  </a:cubicBezTo>
                  <a:close/>
                  <a:moveTo>
                    <a:pt x="1906" y="536"/>
                  </a:moveTo>
                  <a:cubicBezTo>
                    <a:pt x="1909" y="530"/>
                    <a:pt x="1918" y="542"/>
                    <a:pt x="1906" y="536"/>
                  </a:cubicBezTo>
                  <a:close/>
                  <a:moveTo>
                    <a:pt x="1903" y="178"/>
                  </a:moveTo>
                  <a:lnTo>
                    <a:pt x="1909" y="178"/>
                  </a:lnTo>
                  <a:lnTo>
                    <a:pt x="1909" y="183"/>
                  </a:lnTo>
                  <a:lnTo>
                    <a:pt x="1903" y="183"/>
                  </a:lnTo>
                  <a:lnTo>
                    <a:pt x="1903" y="178"/>
                  </a:lnTo>
                  <a:close/>
                  <a:moveTo>
                    <a:pt x="1898" y="2267"/>
                  </a:moveTo>
                  <a:cubicBezTo>
                    <a:pt x="1901" y="2261"/>
                    <a:pt x="1901" y="2275"/>
                    <a:pt x="1898" y="2267"/>
                  </a:cubicBezTo>
                  <a:close/>
                  <a:moveTo>
                    <a:pt x="1903" y="2490"/>
                  </a:moveTo>
                  <a:cubicBezTo>
                    <a:pt x="1906" y="2498"/>
                    <a:pt x="1889" y="2498"/>
                    <a:pt x="1903" y="2490"/>
                  </a:cubicBezTo>
                  <a:close/>
                  <a:moveTo>
                    <a:pt x="1881" y="141"/>
                  </a:moveTo>
                  <a:cubicBezTo>
                    <a:pt x="1886" y="139"/>
                    <a:pt x="1888" y="140"/>
                    <a:pt x="1891" y="141"/>
                  </a:cubicBezTo>
                  <a:cubicBezTo>
                    <a:pt x="1890" y="139"/>
                    <a:pt x="1889" y="138"/>
                    <a:pt x="1889" y="138"/>
                  </a:cubicBezTo>
                  <a:cubicBezTo>
                    <a:pt x="1895" y="133"/>
                    <a:pt x="1898" y="141"/>
                    <a:pt x="1895" y="144"/>
                  </a:cubicBezTo>
                  <a:cubicBezTo>
                    <a:pt x="1894" y="144"/>
                    <a:pt x="1893" y="143"/>
                    <a:pt x="1892" y="142"/>
                  </a:cubicBezTo>
                  <a:cubicBezTo>
                    <a:pt x="1891" y="147"/>
                    <a:pt x="1881" y="146"/>
                    <a:pt x="1881" y="141"/>
                  </a:cubicBezTo>
                  <a:close/>
                  <a:moveTo>
                    <a:pt x="1889" y="2687"/>
                  </a:moveTo>
                  <a:cubicBezTo>
                    <a:pt x="1889" y="2693"/>
                    <a:pt x="1886" y="2696"/>
                    <a:pt x="1884" y="2698"/>
                  </a:cubicBezTo>
                  <a:cubicBezTo>
                    <a:pt x="1884" y="2698"/>
                    <a:pt x="1881" y="2687"/>
                    <a:pt x="1889" y="2687"/>
                  </a:cubicBezTo>
                  <a:close/>
                  <a:moveTo>
                    <a:pt x="1870" y="2478"/>
                  </a:moveTo>
                  <a:cubicBezTo>
                    <a:pt x="1867" y="2476"/>
                    <a:pt x="1867" y="2473"/>
                    <a:pt x="1867" y="2470"/>
                  </a:cubicBezTo>
                  <a:cubicBezTo>
                    <a:pt x="1870" y="2467"/>
                    <a:pt x="1878" y="2470"/>
                    <a:pt x="1881" y="2473"/>
                  </a:cubicBezTo>
                  <a:cubicBezTo>
                    <a:pt x="1881" y="2476"/>
                    <a:pt x="1875" y="2478"/>
                    <a:pt x="1870" y="2478"/>
                  </a:cubicBezTo>
                  <a:close/>
                  <a:moveTo>
                    <a:pt x="1884" y="2679"/>
                  </a:moveTo>
                  <a:cubicBezTo>
                    <a:pt x="1886" y="2676"/>
                    <a:pt x="1889" y="2679"/>
                    <a:pt x="1895" y="2679"/>
                  </a:cubicBezTo>
                  <a:cubicBezTo>
                    <a:pt x="1895" y="2687"/>
                    <a:pt x="1884" y="2687"/>
                    <a:pt x="1884" y="2679"/>
                  </a:cubicBezTo>
                  <a:close/>
                  <a:moveTo>
                    <a:pt x="1889" y="2645"/>
                  </a:moveTo>
                  <a:cubicBezTo>
                    <a:pt x="1889" y="2639"/>
                    <a:pt x="1898" y="2648"/>
                    <a:pt x="1889" y="2645"/>
                  </a:cubicBezTo>
                  <a:close/>
                  <a:moveTo>
                    <a:pt x="1884" y="2543"/>
                  </a:moveTo>
                  <a:cubicBezTo>
                    <a:pt x="1886" y="2541"/>
                    <a:pt x="1892" y="2538"/>
                    <a:pt x="1895" y="2538"/>
                  </a:cubicBezTo>
                  <a:cubicBezTo>
                    <a:pt x="1895" y="2541"/>
                    <a:pt x="1889" y="2543"/>
                    <a:pt x="1884" y="2543"/>
                  </a:cubicBezTo>
                  <a:close/>
                  <a:moveTo>
                    <a:pt x="1886" y="2306"/>
                  </a:moveTo>
                  <a:cubicBezTo>
                    <a:pt x="1886" y="2301"/>
                    <a:pt x="1898" y="2309"/>
                    <a:pt x="1886" y="2306"/>
                  </a:cubicBezTo>
                  <a:close/>
                  <a:moveTo>
                    <a:pt x="1872" y="155"/>
                  </a:moveTo>
                  <a:cubicBezTo>
                    <a:pt x="1872" y="149"/>
                    <a:pt x="1881" y="152"/>
                    <a:pt x="1881" y="147"/>
                  </a:cubicBezTo>
                  <a:cubicBezTo>
                    <a:pt x="1889" y="149"/>
                    <a:pt x="1881" y="158"/>
                    <a:pt x="1872" y="155"/>
                  </a:cubicBezTo>
                  <a:close/>
                  <a:moveTo>
                    <a:pt x="1881" y="124"/>
                  </a:moveTo>
                  <a:cubicBezTo>
                    <a:pt x="1881" y="124"/>
                    <a:pt x="1884" y="127"/>
                    <a:pt x="1886" y="127"/>
                  </a:cubicBezTo>
                  <a:cubicBezTo>
                    <a:pt x="1884" y="130"/>
                    <a:pt x="1878" y="133"/>
                    <a:pt x="1878" y="135"/>
                  </a:cubicBezTo>
                  <a:cubicBezTo>
                    <a:pt x="1875" y="133"/>
                    <a:pt x="1878" y="127"/>
                    <a:pt x="1881" y="124"/>
                  </a:cubicBezTo>
                  <a:close/>
                  <a:moveTo>
                    <a:pt x="1872" y="96"/>
                  </a:moveTo>
                  <a:cubicBezTo>
                    <a:pt x="1875" y="90"/>
                    <a:pt x="1881" y="102"/>
                    <a:pt x="1872" y="96"/>
                  </a:cubicBezTo>
                  <a:close/>
                  <a:moveTo>
                    <a:pt x="1878" y="147"/>
                  </a:moveTo>
                  <a:cubicBezTo>
                    <a:pt x="1881" y="149"/>
                    <a:pt x="1867" y="152"/>
                    <a:pt x="1870" y="147"/>
                  </a:cubicBezTo>
                  <a:cubicBezTo>
                    <a:pt x="1872" y="147"/>
                    <a:pt x="1875" y="144"/>
                    <a:pt x="1878" y="147"/>
                  </a:cubicBezTo>
                  <a:close/>
                  <a:moveTo>
                    <a:pt x="1875" y="178"/>
                  </a:moveTo>
                  <a:cubicBezTo>
                    <a:pt x="1881" y="180"/>
                    <a:pt x="1886" y="183"/>
                    <a:pt x="1892" y="183"/>
                  </a:cubicBezTo>
                  <a:cubicBezTo>
                    <a:pt x="1892" y="192"/>
                    <a:pt x="1884" y="197"/>
                    <a:pt x="1875" y="195"/>
                  </a:cubicBezTo>
                  <a:cubicBezTo>
                    <a:pt x="1872" y="195"/>
                    <a:pt x="1872" y="195"/>
                    <a:pt x="1870" y="192"/>
                  </a:cubicBezTo>
                  <a:cubicBezTo>
                    <a:pt x="1872" y="192"/>
                    <a:pt x="1872" y="183"/>
                    <a:pt x="1875" y="178"/>
                  </a:cubicBezTo>
                  <a:close/>
                  <a:moveTo>
                    <a:pt x="1870" y="2411"/>
                  </a:moveTo>
                  <a:cubicBezTo>
                    <a:pt x="1875" y="2411"/>
                    <a:pt x="1870" y="2419"/>
                    <a:pt x="1867" y="2419"/>
                  </a:cubicBezTo>
                  <a:cubicBezTo>
                    <a:pt x="1867" y="2416"/>
                    <a:pt x="1870" y="2414"/>
                    <a:pt x="1870" y="2411"/>
                  </a:cubicBezTo>
                  <a:close/>
                  <a:moveTo>
                    <a:pt x="1861" y="116"/>
                  </a:moveTo>
                  <a:cubicBezTo>
                    <a:pt x="1864" y="116"/>
                    <a:pt x="1864" y="121"/>
                    <a:pt x="1864" y="121"/>
                  </a:cubicBezTo>
                  <a:cubicBezTo>
                    <a:pt x="1861" y="121"/>
                    <a:pt x="1858" y="118"/>
                    <a:pt x="1858" y="118"/>
                  </a:cubicBezTo>
                  <a:lnTo>
                    <a:pt x="1853" y="118"/>
                  </a:lnTo>
                  <a:cubicBezTo>
                    <a:pt x="1855" y="113"/>
                    <a:pt x="1861" y="113"/>
                    <a:pt x="1861" y="116"/>
                  </a:cubicBezTo>
                  <a:close/>
                  <a:moveTo>
                    <a:pt x="1864" y="2521"/>
                  </a:moveTo>
                  <a:cubicBezTo>
                    <a:pt x="1870" y="2526"/>
                    <a:pt x="1850" y="2526"/>
                    <a:pt x="1864" y="2521"/>
                  </a:cubicBezTo>
                  <a:close/>
                  <a:moveTo>
                    <a:pt x="1858" y="2825"/>
                  </a:moveTo>
                  <a:cubicBezTo>
                    <a:pt x="1853" y="2825"/>
                    <a:pt x="1858" y="2817"/>
                    <a:pt x="1861" y="2817"/>
                  </a:cubicBezTo>
                  <a:cubicBezTo>
                    <a:pt x="1864" y="2820"/>
                    <a:pt x="1858" y="2823"/>
                    <a:pt x="1858" y="2825"/>
                  </a:cubicBezTo>
                  <a:close/>
                  <a:moveTo>
                    <a:pt x="1867" y="2721"/>
                  </a:moveTo>
                  <a:lnTo>
                    <a:pt x="1861" y="2721"/>
                  </a:lnTo>
                  <a:lnTo>
                    <a:pt x="1861" y="2715"/>
                  </a:lnTo>
                  <a:lnTo>
                    <a:pt x="1867" y="2715"/>
                  </a:lnTo>
                  <a:cubicBezTo>
                    <a:pt x="1870" y="2715"/>
                    <a:pt x="1867" y="2718"/>
                    <a:pt x="1867" y="2721"/>
                  </a:cubicBezTo>
                  <a:close/>
                  <a:moveTo>
                    <a:pt x="1864" y="2631"/>
                  </a:moveTo>
                  <a:lnTo>
                    <a:pt x="1864" y="2622"/>
                  </a:lnTo>
                  <a:lnTo>
                    <a:pt x="1870" y="2622"/>
                  </a:lnTo>
                  <a:cubicBezTo>
                    <a:pt x="1872" y="2625"/>
                    <a:pt x="1870" y="2628"/>
                    <a:pt x="1864" y="2631"/>
                  </a:cubicBezTo>
                  <a:close/>
                  <a:moveTo>
                    <a:pt x="1872" y="2521"/>
                  </a:moveTo>
                  <a:cubicBezTo>
                    <a:pt x="1870" y="2518"/>
                    <a:pt x="1867" y="2515"/>
                    <a:pt x="1867" y="2509"/>
                  </a:cubicBezTo>
                  <a:cubicBezTo>
                    <a:pt x="1872" y="2509"/>
                    <a:pt x="1875" y="2512"/>
                    <a:pt x="1878" y="2515"/>
                  </a:cubicBezTo>
                  <a:cubicBezTo>
                    <a:pt x="1878" y="2518"/>
                    <a:pt x="1872" y="2518"/>
                    <a:pt x="1872" y="2521"/>
                  </a:cubicBezTo>
                  <a:close/>
                  <a:moveTo>
                    <a:pt x="1872" y="2715"/>
                  </a:moveTo>
                  <a:cubicBezTo>
                    <a:pt x="1875" y="2710"/>
                    <a:pt x="1881" y="2704"/>
                    <a:pt x="1886" y="2704"/>
                  </a:cubicBezTo>
                  <a:cubicBezTo>
                    <a:pt x="1895" y="2713"/>
                    <a:pt x="1889" y="2718"/>
                    <a:pt x="1872" y="2715"/>
                  </a:cubicBezTo>
                  <a:close/>
                  <a:moveTo>
                    <a:pt x="1886" y="2825"/>
                  </a:moveTo>
                  <a:cubicBezTo>
                    <a:pt x="1886" y="2823"/>
                    <a:pt x="1892" y="2820"/>
                    <a:pt x="1895" y="2820"/>
                  </a:cubicBezTo>
                  <a:cubicBezTo>
                    <a:pt x="1892" y="2823"/>
                    <a:pt x="1889" y="2823"/>
                    <a:pt x="1886" y="2825"/>
                  </a:cubicBezTo>
                  <a:close/>
                  <a:moveTo>
                    <a:pt x="1889" y="2811"/>
                  </a:moveTo>
                  <a:cubicBezTo>
                    <a:pt x="1889" y="2806"/>
                    <a:pt x="1901" y="2814"/>
                    <a:pt x="1889" y="2811"/>
                  </a:cubicBezTo>
                  <a:close/>
                  <a:moveTo>
                    <a:pt x="1895" y="2541"/>
                  </a:moveTo>
                  <a:cubicBezTo>
                    <a:pt x="1903" y="2541"/>
                    <a:pt x="1915" y="2532"/>
                    <a:pt x="1918" y="2543"/>
                  </a:cubicBezTo>
                  <a:cubicBezTo>
                    <a:pt x="1903" y="2541"/>
                    <a:pt x="1903" y="2552"/>
                    <a:pt x="1895" y="2552"/>
                  </a:cubicBezTo>
                  <a:lnTo>
                    <a:pt x="1895" y="2541"/>
                  </a:lnTo>
                  <a:close/>
                  <a:moveTo>
                    <a:pt x="1898" y="2628"/>
                  </a:moveTo>
                  <a:cubicBezTo>
                    <a:pt x="1895" y="2620"/>
                    <a:pt x="1903" y="2620"/>
                    <a:pt x="1906" y="2617"/>
                  </a:cubicBezTo>
                  <a:cubicBezTo>
                    <a:pt x="1909" y="2617"/>
                    <a:pt x="1903" y="2631"/>
                    <a:pt x="1898" y="2628"/>
                  </a:cubicBezTo>
                  <a:close/>
                  <a:moveTo>
                    <a:pt x="1906" y="2636"/>
                  </a:moveTo>
                  <a:cubicBezTo>
                    <a:pt x="1903" y="2636"/>
                    <a:pt x="1903" y="2631"/>
                    <a:pt x="1903" y="2628"/>
                  </a:cubicBezTo>
                  <a:cubicBezTo>
                    <a:pt x="1906" y="2628"/>
                    <a:pt x="1909" y="2631"/>
                    <a:pt x="1909" y="2631"/>
                  </a:cubicBezTo>
                  <a:cubicBezTo>
                    <a:pt x="1912" y="2634"/>
                    <a:pt x="1906" y="2634"/>
                    <a:pt x="1906" y="2636"/>
                  </a:cubicBezTo>
                  <a:close/>
                  <a:moveTo>
                    <a:pt x="1909" y="2825"/>
                  </a:moveTo>
                  <a:cubicBezTo>
                    <a:pt x="1909" y="2820"/>
                    <a:pt x="1918" y="2828"/>
                    <a:pt x="1909" y="2825"/>
                  </a:cubicBezTo>
                  <a:close/>
                  <a:moveTo>
                    <a:pt x="1912" y="2701"/>
                  </a:moveTo>
                  <a:cubicBezTo>
                    <a:pt x="1915" y="2698"/>
                    <a:pt x="1923" y="2693"/>
                    <a:pt x="1926" y="2696"/>
                  </a:cubicBezTo>
                  <a:cubicBezTo>
                    <a:pt x="1920" y="2698"/>
                    <a:pt x="1918" y="2701"/>
                    <a:pt x="1912" y="2701"/>
                  </a:cubicBezTo>
                  <a:close/>
                  <a:moveTo>
                    <a:pt x="1920" y="2684"/>
                  </a:moveTo>
                  <a:cubicBezTo>
                    <a:pt x="1920" y="2679"/>
                    <a:pt x="1932" y="2690"/>
                    <a:pt x="1920" y="2684"/>
                  </a:cubicBezTo>
                  <a:close/>
                  <a:moveTo>
                    <a:pt x="1918" y="2586"/>
                  </a:moveTo>
                  <a:cubicBezTo>
                    <a:pt x="1915" y="2580"/>
                    <a:pt x="1923" y="2580"/>
                    <a:pt x="1926" y="2580"/>
                  </a:cubicBezTo>
                  <a:cubicBezTo>
                    <a:pt x="1926" y="2583"/>
                    <a:pt x="1923" y="2586"/>
                    <a:pt x="1918" y="2586"/>
                  </a:cubicBezTo>
                  <a:close/>
                  <a:moveTo>
                    <a:pt x="1901" y="2470"/>
                  </a:moveTo>
                  <a:cubicBezTo>
                    <a:pt x="1909" y="2467"/>
                    <a:pt x="1923" y="2445"/>
                    <a:pt x="1929" y="2456"/>
                  </a:cubicBezTo>
                  <a:cubicBezTo>
                    <a:pt x="1918" y="2459"/>
                    <a:pt x="1915" y="2470"/>
                    <a:pt x="1901" y="2470"/>
                  </a:cubicBezTo>
                  <a:close/>
                  <a:moveTo>
                    <a:pt x="1929" y="82"/>
                  </a:moveTo>
                  <a:cubicBezTo>
                    <a:pt x="1929" y="73"/>
                    <a:pt x="1937" y="85"/>
                    <a:pt x="1929" y="82"/>
                  </a:cubicBezTo>
                  <a:close/>
                  <a:moveTo>
                    <a:pt x="1940" y="2851"/>
                  </a:moveTo>
                  <a:cubicBezTo>
                    <a:pt x="1934" y="2854"/>
                    <a:pt x="1934" y="2845"/>
                    <a:pt x="1932" y="2845"/>
                  </a:cubicBezTo>
                  <a:cubicBezTo>
                    <a:pt x="1932" y="2842"/>
                    <a:pt x="1937" y="2842"/>
                    <a:pt x="1940" y="2842"/>
                  </a:cubicBezTo>
                  <a:cubicBezTo>
                    <a:pt x="1937" y="2842"/>
                    <a:pt x="1940" y="2848"/>
                    <a:pt x="1940" y="2851"/>
                  </a:cubicBezTo>
                  <a:close/>
                  <a:moveTo>
                    <a:pt x="1937" y="2631"/>
                  </a:moveTo>
                  <a:cubicBezTo>
                    <a:pt x="1932" y="2628"/>
                    <a:pt x="1940" y="2620"/>
                    <a:pt x="1946" y="2620"/>
                  </a:cubicBezTo>
                  <a:cubicBezTo>
                    <a:pt x="1946" y="2625"/>
                    <a:pt x="1940" y="2625"/>
                    <a:pt x="1937" y="2631"/>
                  </a:cubicBezTo>
                  <a:close/>
                  <a:moveTo>
                    <a:pt x="1937" y="212"/>
                  </a:moveTo>
                  <a:lnTo>
                    <a:pt x="1937" y="206"/>
                  </a:lnTo>
                  <a:cubicBezTo>
                    <a:pt x="1940" y="206"/>
                    <a:pt x="1943" y="209"/>
                    <a:pt x="1943" y="212"/>
                  </a:cubicBezTo>
                  <a:cubicBezTo>
                    <a:pt x="1943" y="209"/>
                    <a:pt x="1940" y="212"/>
                    <a:pt x="1937" y="212"/>
                  </a:cubicBezTo>
                  <a:close/>
                  <a:moveTo>
                    <a:pt x="1946" y="2524"/>
                  </a:moveTo>
                  <a:cubicBezTo>
                    <a:pt x="1949" y="2518"/>
                    <a:pt x="1954" y="2512"/>
                    <a:pt x="1963" y="2512"/>
                  </a:cubicBezTo>
                  <a:cubicBezTo>
                    <a:pt x="1960" y="2521"/>
                    <a:pt x="1965" y="2526"/>
                    <a:pt x="1963" y="2532"/>
                  </a:cubicBezTo>
                  <a:cubicBezTo>
                    <a:pt x="1954" y="2529"/>
                    <a:pt x="1951" y="2524"/>
                    <a:pt x="1946" y="2524"/>
                  </a:cubicBezTo>
                  <a:close/>
                  <a:moveTo>
                    <a:pt x="1963" y="2789"/>
                  </a:moveTo>
                  <a:lnTo>
                    <a:pt x="1963" y="2786"/>
                  </a:lnTo>
                  <a:cubicBezTo>
                    <a:pt x="1965" y="2780"/>
                    <a:pt x="1963" y="2786"/>
                    <a:pt x="1963" y="2789"/>
                  </a:cubicBezTo>
                  <a:close/>
                  <a:moveTo>
                    <a:pt x="1963" y="556"/>
                  </a:moveTo>
                  <a:cubicBezTo>
                    <a:pt x="1963" y="553"/>
                    <a:pt x="1971" y="553"/>
                    <a:pt x="1974" y="553"/>
                  </a:cubicBezTo>
                  <a:cubicBezTo>
                    <a:pt x="1974" y="556"/>
                    <a:pt x="1965" y="556"/>
                    <a:pt x="1963" y="556"/>
                  </a:cubicBezTo>
                  <a:close/>
                  <a:moveTo>
                    <a:pt x="1971" y="598"/>
                  </a:moveTo>
                  <a:cubicBezTo>
                    <a:pt x="1977" y="592"/>
                    <a:pt x="1965" y="606"/>
                    <a:pt x="1971" y="598"/>
                  </a:cubicBezTo>
                  <a:close/>
                  <a:moveTo>
                    <a:pt x="1974" y="2772"/>
                  </a:moveTo>
                  <a:cubicBezTo>
                    <a:pt x="1974" y="2766"/>
                    <a:pt x="1982" y="2775"/>
                    <a:pt x="1974" y="2772"/>
                  </a:cubicBezTo>
                  <a:close/>
                  <a:moveTo>
                    <a:pt x="1974" y="578"/>
                  </a:moveTo>
                  <a:cubicBezTo>
                    <a:pt x="1974" y="573"/>
                    <a:pt x="1985" y="584"/>
                    <a:pt x="1974" y="578"/>
                  </a:cubicBezTo>
                  <a:close/>
                  <a:moveTo>
                    <a:pt x="1977" y="2642"/>
                  </a:moveTo>
                  <a:cubicBezTo>
                    <a:pt x="1980" y="2639"/>
                    <a:pt x="1988" y="2639"/>
                    <a:pt x="1994" y="2636"/>
                  </a:cubicBezTo>
                  <a:cubicBezTo>
                    <a:pt x="1991" y="2639"/>
                    <a:pt x="1985" y="2642"/>
                    <a:pt x="1977" y="2642"/>
                  </a:cubicBezTo>
                  <a:close/>
                  <a:moveTo>
                    <a:pt x="1988" y="2617"/>
                  </a:moveTo>
                  <a:cubicBezTo>
                    <a:pt x="1991" y="2611"/>
                    <a:pt x="1994" y="2608"/>
                    <a:pt x="1999" y="2611"/>
                  </a:cubicBezTo>
                  <a:cubicBezTo>
                    <a:pt x="1999" y="2617"/>
                    <a:pt x="1991" y="2622"/>
                    <a:pt x="1988" y="2617"/>
                  </a:cubicBezTo>
                  <a:close/>
                  <a:moveTo>
                    <a:pt x="1994" y="262"/>
                  </a:moveTo>
                  <a:cubicBezTo>
                    <a:pt x="1994" y="257"/>
                    <a:pt x="1997" y="257"/>
                    <a:pt x="1997" y="251"/>
                  </a:cubicBezTo>
                  <a:cubicBezTo>
                    <a:pt x="1999" y="251"/>
                    <a:pt x="1999" y="265"/>
                    <a:pt x="1994" y="262"/>
                  </a:cubicBezTo>
                  <a:close/>
                  <a:moveTo>
                    <a:pt x="2013" y="2667"/>
                  </a:moveTo>
                  <a:cubicBezTo>
                    <a:pt x="2011" y="2673"/>
                    <a:pt x="2008" y="2676"/>
                    <a:pt x="2002" y="2676"/>
                  </a:cubicBezTo>
                  <a:cubicBezTo>
                    <a:pt x="2002" y="2673"/>
                    <a:pt x="2008" y="2667"/>
                    <a:pt x="2013" y="2667"/>
                  </a:cubicBezTo>
                  <a:close/>
                  <a:moveTo>
                    <a:pt x="2011" y="2645"/>
                  </a:moveTo>
                  <a:cubicBezTo>
                    <a:pt x="2016" y="2639"/>
                    <a:pt x="2008" y="2651"/>
                    <a:pt x="2011" y="2645"/>
                  </a:cubicBezTo>
                  <a:close/>
                  <a:moveTo>
                    <a:pt x="2005" y="2820"/>
                  </a:moveTo>
                  <a:cubicBezTo>
                    <a:pt x="2008" y="2814"/>
                    <a:pt x="2011" y="2828"/>
                    <a:pt x="2005" y="2820"/>
                  </a:cubicBezTo>
                  <a:close/>
                  <a:moveTo>
                    <a:pt x="2011" y="2808"/>
                  </a:moveTo>
                  <a:cubicBezTo>
                    <a:pt x="2019" y="2808"/>
                    <a:pt x="2011" y="2820"/>
                    <a:pt x="2011" y="2808"/>
                  </a:cubicBezTo>
                  <a:close/>
                  <a:moveTo>
                    <a:pt x="2019" y="2659"/>
                  </a:moveTo>
                  <a:lnTo>
                    <a:pt x="2013" y="2659"/>
                  </a:lnTo>
                  <a:lnTo>
                    <a:pt x="2013" y="2653"/>
                  </a:lnTo>
                  <a:lnTo>
                    <a:pt x="2019" y="2653"/>
                  </a:lnTo>
                  <a:lnTo>
                    <a:pt x="2019" y="2659"/>
                  </a:lnTo>
                  <a:close/>
                  <a:moveTo>
                    <a:pt x="2016" y="2605"/>
                  </a:moveTo>
                  <a:cubicBezTo>
                    <a:pt x="2011" y="2605"/>
                    <a:pt x="2016" y="2597"/>
                    <a:pt x="2019" y="2597"/>
                  </a:cubicBezTo>
                  <a:cubicBezTo>
                    <a:pt x="2019" y="2600"/>
                    <a:pt x="2016" y="2603"/>
                    <a:pt x="2016" y="2605"/>
                  </a:cubicBezTo>
                  <a:close/>
                  <a:moveTo>
                    <a:pt x="2022" y="2642"/>
                  </a:moveTo>
                  <a:cubicBezTo>
                    <a:pt x="2016" y="2642"/>
                    <a:pt x="2016" y="2631"/>
                    <a:pt x="2025" y="2631"/>
                  </a:cubicBezTo>
                  <a:cubicBezTo>
                    <a:pt x="2025" y="2634"/>
                    <a:pt x="2025" y="2639"/>
                    <a:pt x="2022" y="2642"/>
                  </a:cubicBezTo>
                  <a:close/>
                  <a:moveTo>
                    <a:pt x="2016" y="2549"/>
                  </a:moveTo>
                  <a:cubicBezTo>
                    <a:pt x="2019" y="2546"/>
                    <a:pt x="2022" y="2543"/>
                    <a:pt x="2025" y="2543"/>
                  </a:cubicBezTo>
                  <a:cubicBezTo>
                    <a:pt x="2028" y="2549"/>
                    <a:pt x="2019" y="2549"/>
                    <a:pt x="2016" y="2549"/>
                  </a:cubicBezTo>
                  <a:close/>
                  <a:moveTo>
                    <a:pt x="2028" y="2261"/>
                  </a:moveTo>
                  <a:cubicBezTo>
                    <a:pt x="2025" y="2261"/>
                    <a:pt x="2019" y="2258"/>
                    <a:pt x="2019" y="2253"/>
                  </a:cubicBezTo>
                  <a:lnTo>
                    <a:pt x="2025" y="2253"/>
                  </a:lnTo>
                  <a:cubicBezTo>
                    <a:pt x="2028" y="2256"/>
                    <a:pt x="2028" y="2258"/>
                    <a:pt x="2028" y="2261"/>
                  </a:cubicBezTo>
                  <a:close/>
                  <a:moveTo>
                    <a:pt x="2016" y="381"/>
                  </a:moveTo>
                  <a:cubicBezTo>
                    <a:pt x="2019" y="378"/>
                    <a:pt x="2025" y="375"/>
                    <a:pt x="2033" y="375"/>
                  </a:cubicBezTo>
                  <a:cubicBezTo>
                    <a:pt x="2030" y="378"/>
                    <a:pt x="2022" y="381"/>
                    <a:pt x="2016" y="381"/>
                  </a:cubicBezTo>
                  <a:close/>
                  <a:moveTo>
                    <a:pt x="2044" y="2298"/>
                  </a:moveTo>
                  <a:cubicBezTo>
                    <a:pt x="2042" y="2304"/>
                    <a:pt x="2039" y="2301"/>
                    <a:pt x="2030" y="2304"/>
                  </a:cubicBezTo>
                  <a:cubicBezTo>
                    <a:pt x="2033" y="2298"/>
                    <a:pt x="2042" y="2295"/>
                    <a:pt x="2044" y="2298"/>
                  </a:cubicBezTo>
                  <a:close/>
                  <a:moveTo>
                    <a:pt x="2044" y="2577"/>
                  </a:moveTo>
                  <a:cubicBezTo>
                    <a:pt x="2044" y="2580"/>
                    <a:pt x="2039" y="2583"/>
                    <a:pt x="2039" y="2586"/>
                  </a:cubicBezTo>
                  <a:cubicBezTo>
                    <a:pt x="2036" y="2586"/>
                    <a:pt x="2036" y="2580"/>
                    <a:pt x="2036" y="2580"/>
                  </a:cubicBezTo>
                  <a:cubicBezTo>
                    <a:pt x="2039" y="2577"/>
                    <a:pt x="2042" y="2577"/>
                    <a:pt x="2044" y="2577"/>
                  </a:cubicBezTo>
                  <a:close/>
                  <a:moveTo>
                    <a:pt x="2030" y="2600"/>
                  </a:moveTo>
                  <a:cubicBezTo>
                    <a:pt x="2033" y="2594"/>
                    <a:pt x="2042" y="2603"/>
                    <a:pt x="2030" y="2600"/>
                  </a:cubicBezTo>
                  <a:close/>
                  <a:moveTo>
                    <a:pt x="2033" y="2634"/>
                  </a:moveTo>
                  <a:cubicBezTo>
                    <a:pt x="2033" y="2622"/>
                    <a:pt x="2047" y="2625"/>
                    <a:pt x="2056" y="2625"/>
                  </a:cubicBezTo>
                  <a:cubicBezTo>
                    <a:pt x="2050" y="2628"/>
                    <a:pt x="2042" y="2631"/>
                    <a:pt x="2033" y="2634"/>
                  </a:cubicBezTo>
                  <a:close/>
                  <a:moveTo>
                    <a:pt x="2056" y="2758"/>
                  </a:moveTo>
                  <a:cubicBezTo>
                    <a:pt x="2061" y="2755"/>
                    <a:pt x="2067" y="2755"/>
                    <a:pt x="2073" y="2755"/>
                  </a:cubicBezTo>
                  <a:cubicBezTo>
                    <a:pt x="2073" y="2758"/>
                    <a:pt x="2056" y="2766"/>
                    <a:pt x="2056" y="2758"/>
                  </a:cubicBezTo>
                  <a:close/>
                  <a:moveTo>
                    <a:pt x="2073" y="2648"/>
                  </a:moveTo>
                  <a:cubicBezTo>
                    <a:pt x="2070" y="2645"/>
                    <a:pt x="2067" y="2639"/>
                    <a:pt x="2067" y="2634"/>
                  </a:cubicBezTo>
                  <a:lnTo>
                    <a:pt x="2081" y="2634"/>
                  </a:lnTo>
                  <a:cubicBezTo>
                    <a:pt x="2081" y="2639"/>
                    <a:pt x="2076" y="2642"/>
                    <a:pt x="2073" y="2648"/>
                  </a:cubicBezTo>
                  <a:close/>
                  <a:moveTo>
                    <a:pt x="2084" y="2546"/>
                  </a:moveTo>
                  <a:lnTo>
                    <a:pt x="2083" y="2546"/>
                  </a:lnTo>
                  <a:cubicBezTo>
                    <a:pt x="2084" y="2545"/>
                    <a:pt x="2085" y="2544"/>
                    <a:pt x="2084" y="2546"/>
                  </a:cubicBezTo>
                  <a:cubicBezTo>
                    <a:pt x="2079" y="2551"/>
                    <a:pt x="2081" y="2548"/>
                    <a:pt x="2083" y="2546"/>
                  </a:cubicBezTo>
                  <a:lnTo>
                    <a:pt x="2084" y="2546"/>
                  </a:lnTo>
                  <a:close/>
                  <a:moveTo>
                    <a:pt x="2081" y="2543"/>
                  </a:moveTo>
                  <a:lnTo>
                    <a:pt x="2081" y="2535"/>
                  </a:lnTo>
                  <a:cubicBezTo>
                    <a:pt x="2087" y="2532"/>
                    <a:pt x="2087" y="2546"/>
                    <a:pt x="2081" y="2543"/>
                  </a:cubicBezTo>
                  <a:close/>
                  <a:moveTo>
                    <a:pt x="2081" y="2462"/>
                  </a:moveTo>
                  <a:cubicBezTo>
                    <a:pt x="2084" y="2453"/>
                    <a:pt x="2090" y="2447"/>
                    <a:pt x="2098" y="2445"/>
                  </a:cubicBezTo>
                  <a:cubicBezTo>
                    <a:pt x="2101" y="2456"/>
                    <a:pt x="2092" y="2462"/>
                    <a:pt x="2081" y="2462"/>
                  </a:cubicBezTo>
                  <a:close/>
                  <a:moveTo>
                    <a:pt x="2087" y="2591"/>
                  </a:moveTo>
                  <a:cubicBezTo>
                    <a:pt x="2090" y="2591"/>
                    <a:pt x="2092" y="2588"/>
                    <a:pt x="2095" y="2588"/>
                  </a:cubicBezTo>
                  <a:lnTo>
                    <a:pt x="2095" y="2594"/>
                  </a:lnTo>
                  <a:cubicBezTo>
                    <a:pt x="2092" y="2597"/>
                    <a:pt x="2084" y="2597"/>
                    <a:pt x="2087" y="2591"/>
                  </a:cubicBezTo>
                  <a:close/>
                  <a:moveTo>
                    <a:pt x="2092" y="2769"/>
                  </a:moveTo>
                  <a:lnTo>
                    <a:pt x="2087" y="2769"/>
                  </a:lnTo>
                  <a:lnTo>
                    <a:pt x="2087" y="2763"/>
                  </a:lnTo>
                  <a:lnTo>
                    <a:pt x="2092" y="2763"/>
                  </a:lnTo>
                  <a:cubicBezTo>
                    <a:pt x="2095" y="2763"/>
                    <a:pt x="2092" y="2766"/>
                    <a:pt x="2092" y="2769"/>
                  </a:cubicBezTo>
                  <a:close/>
                  <a:moveTo>
                    <a:pt x="2087" y="2696"/>
                  </a:moveTo>
                  <a:cubicBezTo>
                    <a:pt x="2090" y="2693"/>
                    <a:pt x="2092" y="2690"/>
                    <a:pt x="2095" y="2690"/>
                  </a:cubicBezTo>
                  <a:cubicBezTo>
                    <a:pt x="2095" y="2696"/>
                    <a:pt x="2092" y="2698"/>
                    <a:pt x="2087" y="2696"/>
                  </a:cubicBezTo>
                  <a:close/>
                  <a:moveTo>
                    <a:pt x="2092" y="2586"/>
                  </a:moveTo>
                  <a:cubicBezTo>
                    <a:pt x="2092" y="2580"/>
                    <a:pt x="2098" y="2580"/>
                    <a:pt x="2103" y="2577"/>
                  </a:cubicBezTo>
                  <a:lnTo>
                    <a:pt x="2104" y="2577"/>
                  </a:lnTo>
                  <a:cubicBezTo>
                    <a:pt x="2104" y="2578"/>
                    <a:pt x="2104" y="2578"/>
                    <a:pt x="2103" y="2579"/>
                  </a:cubicBezTo>
                  <a:cubicBezTo>
                    <a:pt x="2103" y="2578"/>
                    <a:pt x="2103" y="2578"/>
                    <a:pt x="2103" y="2577"/>
                  </a:cubicBezTo>
                  <a:cubicBezTo>
                    <a:pt x="2104" y="2574"/>
                    <a:pt x="2112" y="2579"/>
                    <a:pt x="2109" y="2572"/>
                  </a:cubicBezTo>
                  <a:cubicBezTo>
                    <a:pt x="2115" y="2569"/>
                    <a:pt x="2112" y="2574"/>
                    <a:pt x="2115" y="2580"/>
                  </a:cubicBezTo>
                  <a:lnTo>
                    <a:pt x="2104" y="2580"/>
                  </a:lnTo>
                  <a:cubicBezTo>
                    <a:pt x="2104" y="2580"/>
                    <a:pt x="2104" y="2579"/>
                    <a:pt x="2103" y="2579"/>
                  </a:cubicBezTo>
                  <a:cubicBezTo>
                    <a:pt x="2102" y="2584"/>
                    <a:pt x="2095" y="2591"/>
                    <a:pt x="2092" y="2586"/>
                  </a:cubicBezTo>
                  <a:close/>
                  <a:moveTo>
                    <a:pt x="2098" y="2631"/>
                  </a:moveTo>
                  <a:cubicBezTo>
                    <a:pt x="2098" y="2625"/>
                    <a:pt x="2104" y="2625"/>
                    <a:pt x="2104" y="2622"/>
                  </a:cubicBezTo>
                  <a:cubicBezTo>
                    <a:pt x="2109" y="2625"/>
                    <a:pt x="2104" y="2634"/>
                    <a:pt x="2098" y="2631"/>
                  </a:cubicBezTo>
                  <a:close/>
                  <a:moveTo>
                    <a:pt x="2109" y="2617"/>
                  </a:moveTo>
                  <a:cubicBezTo>
                    <a:pt x="2104" y="2625"/>
                    <a:pt x="2104" y="2611"/>
                    <a:pt x="2109" y="2617"/>
                  </a:cubicBezTo>
                  <a:close/>
                  <a:moveTo>
                    <a:pt x="2109" y="217"/>
                  </a:moveTo>
                  <a:cubicBezTo>
                    <a:pt x="2112" y="212"/>
                    <a:pt x="2115" y="209"/>
                    <a:pt x="2118" y="203"/>
                  </a:cubicBezTo>
                  <a:cubicBezTo>
                    <a:pt x="2121" y="209"/>
                    <a:pt x="2126" y="212"/>
                    <a:pt x="2129" y="217"/>
                  </a:cubicBezTo>
                  <a:cubicBezTo>
                    <a:pt x="2132" y="212"/>
                    <a:pt x="2135" y="206"/>
                    <a:pt x="2138" y="203"/>
                  </a:cubicBezTo>
                  <a:cubicBezTo>
                    <a:pt x="2140" y="217"/>
                    <a:pt x="2155" y="243"/>
                    <a:pt x="2140" y="251"/>
                  </a:cubicBezTo>
                  <a:cubicBezTo>
                    <a:pt x="2132" y="245"/>
                    <a:pt x="2126" y="237"/>
                    <a:pt x="2126" y="226"/>
                  </a:cubicBezTo>
                  <a:lnTo>
                    <a:pt x="2124" y="226"/>
                  </a:lnTo>
                  <a:cubicBezTo>
                    <a:pt x="2126" y="212"/>
                    <a:pt x="2115" y="228"/>
                    <a:pt x="2109" y="217"/>
                  </a:cubicBezTo>
                  <a:close/>
                  <a:moveTo>
                    <a:pt x="2115" y="429"/>
                  </a:moveTo>
                  <a:cubicBezTo>
                    <a:pt x="2115" y="423"/>
                    <a:pt x="2126" y="432"/>
                    <a:pt x="2115" y="429"/>
                  </a:cubicBezTo>
                  <a:close/>
                  <a:moveTo>
                    <a:pt x="2124" y="1483"/>
                  </a:moveTo>
                  <a:cubicBezTo>
                    <a:pt x="2132" y="1486"/>
                    <a:pt x="2118" y="1488"/>
                    <a:pt x="2121" y="1491"/>
                  </a:cubicBezTo>
                  <a:cubicBezTo>
                    <a:pt x="2115" y="1488"/>
                    <a:pt x="2124" y="1486"/>
                    <a:pt x="2124" y="1483"/>
                  </a:cubicBezTo>
                  <a:close/>
                  <a:moveTo>
                    <a:pt x="2118" y="2758"/>
                  </a:moveTo>
                  <a:cubicBezTo>
                    <a:pt x="2118" y="2752"/>
                    <a:pt x="2126" y="2761"/>
                    <a:pt x="2118" y="2758"/>
                  </a:cubicBezTo>
                  <a:close/>
                  <a:moveTo>
                    <a:pt x="2126" y="2541"/>
                  </a:moveTo>
                  <a:lnTo>
                    <a:pt x="2124" y="2543"/>
                  </a:lnTo>
                  <a:cubicBezTo>
                    <a:pt x="2124" y="2541"/>
                    <a:pt x="2126" y="2538"/>
                    <a:pt x="2126" y="2541"/>
                  </a:cubicBezTo>
                  <a:close/>
                  <a:moveTo>
                    <a:pt x="2132" y="2670"/>
                  </a:moveTo>
                  <a:lnTo>
                    <a:pt x="2126" y="2670"/>
                  </a:lnTo>
                  <a:lnTo>
                    <a:pt x="2126" y="2665"/>
                  </a:lnTo>
                  <a:lnTo>
                    <a:pt x="2132" y="2665"/>
                  </a:lnTo>
                  <a:cubicBezTo>
                    <a:pt x="2135" y="2665"/>
                    <a:pt x="2132" y="2667"/>
                    <a:pt x="2132" y="2670"/>
                  </a:cubicBezTo>
                  <a:close/>
                  <a:moveTo>
                    <a:pt x="2124" y="2600"/>
                  </a:moveTo>
                  <a:cubicBezTo>
                    <a:pt x="2124" y="2597"/>
                    <a:pt x="2129" y="2594"/>
                    <a:pt x="2132" y="2594"/>
                  </a:cubicBezTo>
                  <a:cubicBezTo>
                    <a:pt x="2132" y="2600"/>
                    <a:pt x="2129" y="2600"/>
                    <a:pt x="2124" y="2600"/>
                  </a:cubicBezTo>
                  <a:close/>
                  <a:moveTo>
                    <a:pt x="2121" y="2464"/>
                  </a:moveTo>
                  <a:cubicBezTo>
                    <a:pt x="2121" y="2459"/>
                    <a:pt x="2132" y="2459"/>
                    <a:pt x="2138" y="2456"/>
                  </a:cubicBezTo>
                  <a:cubicBezTo>
                    <a:pt x="2138" y="2462"/>
                    <a:pt x="2126" y="2462"/>
                    <a:pt x="2121" y="2464"/>
                  </a:cubicBezTo>
                  <a:close/>
                  <a:moveTo>
                    <a:pt x="2129" y="2433"/>
                  </a:moveTo>
                  <a:lnTo>
                    <a:pt x="2140" y="2433"/>
                  </a:lnTo>
                  <a:cubicBezTo>
                    <a:pt x="2140" y="2439"/>
                    <a:pt x="2126" y="2442"/>
                    <a:pt x="2129" y="2433"/>
                  </a:cubicBezTo>
                  <a:close/>
                  <a:moveTo>
                    <a:pt x="2143" y="2696"/>
                  </a:moveTo>
                  <a:lnTo>
                    <a:pt x="2138" y="2696"/>
                  </a:lnTo>
                  <a:cubicBezTo>
                    <a:pt x="2138" y="2693"/>
                    <a:pt x="2138" y="2693"/>
                    <a:pt x="2135" y="2693"/>
                  </a:cubicBezTo>
                  <a:cubicBezTo>
                    <a:pt x="2135" y="2687"/>
                    <a:pt x="2146" y="2690"/>
                    <a:pt x="2143" y="2696"/>
                  </a:cubicBezTo>
                  <a:close/>
                  <a:moveTo>
                    <a:pt x="2140" y="2684"/>
                  </a:moveTo>
                  <a:cubicBezTo>
                    <a:pt x="2140" y="2682"/>
                    <a:pt x="2143" y="2676"/>
                    <a:pt x="2149" y="2676"/>
                  </a:cubicBezTo>
                  <a:cubicBezTo>
                    <a:pt x="2146" y="2679"/>
                    <a:pt x="2146" y="2687"/>
                    <a:pt x="2140" y="2684"/>
                  </a:cubicBezTo>
                  <a:close/>
                  <a:moveTo>
                    <a:pt x="2149" y="2445"/>
                  </a:moveTo>
                  <a:cubicBezTo>
                    <a:pt x="2152" y="2442"/>
                    <a:pt x="2152" y="2436"/>
                    <a:pt x="2157" y="2436"/>
                  </a:cubicBezTo>
                  <a:cubicBezTo>
                    <a:pt x="2157" y="2445"/>
                    <a:pt x="2152" y="2447"/>
                    <a:pt x="2149" y="2445"/>
                  </a:cubicBezTo>
                  <a:close/>
                  <a:moveTo>
                    <a:pt x="2169" y="2433"/>
                  </a:moveTo>
                  <a:cubicBezTo>
                    <a:pt x="2166" y="2431"/>
                    <a:pt x="2163" y="2428"/>
                    <a:pt x="2163" y="2425"/>
                  </a:cubicBezTo>
                  <a:cubicBezTo>
                    <a:pt x="2169" y="2422"/>
                    <a:pt x="2169" y="2431"/>
                    <a:pt x="2169" y="2433"/>
                  </a:cubicBezTo>
                  <a:close/>
                  <a:moveTo>
                    <a:pt x="2169" y="409"/>
                  </a:moveTo>
                  <a:cubicBezTo>
                    <a:pt x="2183" y="415"/>
                    <a:pt x="2157" y="429"/>
                    <a:pt x="2169" y="409"/>
                  </a:cubicBezTo>
                  <a:close/>
                  <a:moveTo>
                    <a:pt x="2183" y="336"/>
                  </a:moveTo>
                  <a:cubicBezTo>
                    <a:pt x="2180" y="336"/>
                    <a:pt x="2174" y="333"/>
                    <a:pt x="2174" y="327"/>
                  </a:cubicBezTo>
                  <a:cubicBezTo>
                    <a:pt x="2180" y="324"/>
                    <a:pt x="2180" y="333"/>
                    <a:pt x="2183" y="336"/>
                  </a:cubicBezTo>
                  <a:close/>
                  <a:moveTo>
                    <a:pt x="2186" y="544"/>
                  </a:moveTo>
                  <a:lnTo>
                    <a:pt x="2180" y="544"/>
                  </a:lnTo>
                  <a:cubicBezTo>
                    <a:pt x="2166" y="527"/>
                    <a:pt x="2186" y="542"/>
                    <a:pt x="2186" y="544"/>
                  </a:cubicBezTo>
                  <a:close/>
                  <a:moveTo>
                    <a:pt x="2183" y="2546"/>
                  </a:moveTo>
                  <a:cubicBezTo>
                    <a:pt x="2183" y="2543"/>
                    <a:pt x="2191" y="2543"/>
                    <a:pt x="2191" y="2546"/>
                  </a:cubicBezTo>
                  <a:cubicBezTo>
                    <a:pt x="2191" y="2552"/>
                    <a:pt x="2180" y="2552"/>
                    <a:pt x="2183" y="2546"/>
                  </a:cubicBezTo>
                  <a:close/>
                  <a:moveTo>
                    <a:pt x="2183" y="1391"/>
                  </a:moveTo>
                  <a:cubicBezTo>
                    <a:pt x="2186" y="1385"/>
                    <a:pt x="2197" y="1393"/>
                    <a:pt x="2183" y="1391"/>
                  </a:cubicBezTo>
                  <a:close/>
                  <a:moveTo>
                    <a:pt x="2188" y="324"/>
                  </a:moveTo>
                  <a:cubicBezTo>
                    <a:pt x="2191" y="316"/>
                    <a:pt x="2194" y="333"/>
                    <a:pt x="2188" y="324"/>
                  </a:cubicBezTo>
                  <a:close/>
                  <a:moveTo>
                    <a:pt x="2203" y="341"/>
                  </a:moveTo>
                  <a:cubicBezTo>
                    <a:pt x="2203" y="344"/>
                    <a:pt x="2197" y="347"/>
                    <a:pt x="2191" y="347"/>
                  </a:cubicBezTo>
                  <a:cubicBezTo>
                    <a:pt x="2194" y="344"/>
                    <a:pt x="2200" y="341"/>
                    <a:pt x="2203" y="341"/>
                  </a:cubicBezTo>
                  <a:close/>
                  <a:moveTo>
                    <a:pt x="2194" y="2690"/>
                  </a:moveTo>
                  <a:cubicBezTo>
                    <a:pt x="2194" y="2684"/>
                    <a:pt x="2203" y="2693"/>
                    <a:pt x="2194" y="2690"/>
                  </a:cubicBezTo>
                  <a:close/>
                  <a:moveTo>
                    <a:pt x="2191" y="536"/>
                  </a:moveTo>
                  <a:cubicBezTo>
                    <a:pt x="2197" y="519"/>
                    <a:pt x="2205" y="553"/>
                    <a:pt x="2214" y="536"/>
                  </a:cubicBezTo>
                  <a:cubicBezTo>
                    <a:pt x="2225" y="527"/>
                    <a:pt x="2214" y="544"/>
                    <a:pt x="2211" y="550"/>
                  </a:cubicBezTo>
                  <a:cubicBezTo>
                    <a:pt x="2197" y="550"/>
                    <a:pt x="2200" y="539"/>
                    <a:pt x="2191" y="536"/>
                  </a:cubicBezTo>
                  <a:close/>
                  <a:moveTo>
                    <a:pt x="2205" y="2368"/>
                  </a:moveTo>
                  <a:cubicBezTo>
                    <a:pt x="2208" y="2363"/>
                    <a:pt x="2217" y="2371"/>
                    <a:pt x="2205" y="2368"/>
                  </a:cubicBezTo>
                  <a:close/>
                  <a:moveTo>
                    <a:pt x="2208" y="2636"/>
                  </a:moveTo>
                  <a:cubicBezTo>
                    <a:pt x="2208" y="2631"/>
                    <a:pt x="2211" y="2622"/>
                    <a:pt x="2217" y="2622"/>
                  </a:cubicBezTo>
                  <a:cubicBezTo>
                    <a:pt x="2214" y="2625"/>
                    <a:pt x="2214" y="2636"/>
                    <a:pt x="2208" y="2636"/>
                  </a:cubicBezTo>
                  <a:close/>
                  <a:moveTo>
                    <a:pt x="2222" y="2701"/>
                  </a:moveTo>
                  <a:cubicBezTo>
                    <a:pt x="2222" y="2718"/>
                    <a:pt x="2203" y="2701"/>
                    <a:pt x="2222" y="2701"/>
                  </a:cubicBezTo>
                  <a:close/>
                  <a:moveTo>
                    <a:pt x="2222" y="2710"/>
                  </a:moveTo>
                  <a:cubicBezTo>
                    <a:pt x="2222" y="2704"/>
                    <a:pt x="2228" y="2704"/>
                    <a:pt x="2231" y="2701"/>
                  </a:cubicBezTo>
                  <a:cubicBezTo>
                    <a:pt x="2234" y="2704"/>
                    <a:pt x="2236" y="2707"/>
                    <a:pt x="2236" y="2713"/>
                  </a:cubicBezTo>
                  <a:cubicBezTo>
                    <a:pt x="2228" y="2713"/>
                    <a:pt x="2225" y="2713"/>
                    <a:pt x="2222" y="2710"/>
                  </a:cubicBezTo>
                  <a:close/>
                  <a:moveTo>
                    <a:pt x="2222" y="2617"/>
                  </a:moveTo>
                  <a:cubicBezTo>
                    <a:pt x="2234" y="2617"/>
                    <a:pt x="2239" y="2597"/>
                    <a:pt x="2253" y="2600"/>
                  </a:cubicBezTo>
                  <a:cubicBezTo>
                    <a:pt x="2248" y="2611"/>
                    <a:pt x="2228" y="2634"/>
                    <a:pt x="2222" y="2617"/>
                  </a:cubicBezTo>
                  <a:close/>
                  <a:moveTo>
                    <a:pt x="2262" y="2645"/>
                  </a:moveTo>
                  <a:lnTo>
                    <a:pt x="2256" y="2645"/>
                  </a:lnTo>
                  <a:cubicBezTo>
                    <a:pt x="2253" y="2648"/>
                    <a:pt x="2242" y="2642"/>
                    <a:pt x="2242" y="2620"/>
                  </a:cubicBezTo>
                  <a:cubicBezTo>
                    <a:pt x="2256" y="2625"/>
                    <a:pt x="2259" y="2636"/>
                    <a:pt x="2259" y="2639"/>
                  </a:cubicBezTo>
                  <a:lnTo>
                    <a:pt x="2262" y="2639"/>
                  </a:lnTo>
                  <a:cubicBezTo>
                    <a:pt x="2265" y="2639"/>
                    <a:pt x="2262" y="2642"/>
                    <a:pt x="2262" y="2645"/>
                  </a:cubicBezTo>
                  <a:close/>
                  <a:moveTo>
                    <a:pt x="2265" y="2383"/>
                  </a:moveTo>
                  <a:cubicBezTo>
                    <a:pt x="2259" y="2383"/>
                    <a:pt x="2265" y="2374"/>
                    <a:pt x="2267" y="2374"/>
                  </a:cubicBezTo>
                  <a:cubicBezTo>
                    <a:pt x="2270" y="2380"/>
                    <a:pt x="2265" y="2380"/>
                    <a:pt x="2265" y="2383"/>
                  </a:cubicBezTo>
                  <a:close/>
                  <a:moveTo>
                    <a:pt x="2279" y="2597"/>
                  </a:moveTo>
                  <a:cubicBezTo>
                    <a:pt x="2279" y="2600"/>
                    <a:pt x="2276" y="2605"/>
                    <a:pt x="2279" y="2608"/>
                  </a:cubicBezTo>
                  <a:cubicBezTo>
                    <a:pt x="2253" y="2594"/>
                    <a:pt x="2273" y="2572"/>
                    <a:pt x="2279" y="2597"/>
                  </a:cubicBezTo>
                  <a:close/>
                  <a:moveTo>
                    <a:pt x="2270" y="2543"/>
                  </a:moveTo>
                  <a:cubicBezTo>
                    <a:pt x="2270" y="2541"/>
                    <a:pt x="2270" y="2541"/>
                    <a:pt x="2273" y="2538"/>
                  </a:cubicBezTo>
                  <a:cubicBezTo>
                    <a:pt x="2273" y="2538"/>
                    <a:pt x="2270" y="2535"/>
                    <a:pt x="2273" y="2529"/>
                  </a:cubicBezTo>
                  <a:cubicBezTo>
                    <a:pt x="2279" y="2529"/>
                    <a:pt x="2282" y="2529"/>
                    <a:pt x="2279" y="2532"/>
                  </a:cubicBezTo>
                  <a:cubicBezTo>
                    <a:pt x="2287" y="2529"/>
                    <a:pt x="2296" y="2555"/>
                    <a:pt x="2304" y="2555"/>
                  </a:cubicBezTo>
                  <a:cubicBezTo>
                    <a:pt x="2301" y="2563"/>
                    <a:pt x="2293" y="2572"/>
                    <a:pt x="2284" y="2569"/>
                  </a:cubicBezTo>
                  <a:cubicBezTo>
                    <a:pt x="2273" y="2566"/>
                    <a:pt x="2282" y="2543"/>
                    <a:pt x="2270" y="2543"/>
                  </a:cubicBezTo>
                  <a:close/>
                  <a:moveTo>
                    <a:pt x="2298" y="2572"/>
                  </a:moveTo>
                  <a:cubicBezTo>
                    <a:pt x="2298" y="2574"/>
                    <a:pt x="2293" y="2577"/>
                    <a:pt x="2290" y="2577"/>
                  </a:cubicBezTo>
                  <a:cubicBezTo>
                    <a:pt x="2290" y="2572"/>
                    <a:pt x="2296" y="2572"/>
                    <a:pt x="2298" y="2572"/>
                  </a:cubicBezTo>
                  <a:close/>
                  <a:moveTo>
                    <a:pt x="2298" y="2574"/>
                  </a:moveTo>
                  <a:cubicBezTo>
                    <a:pt x="2296" y="2580"/>
                    <a:pt x="2301" y="2572"/>
                    <a:pt x="2298" y="2574"/>
                  </a:cubicBezTo>
                  <a:close/>
                  <a:moveTo>
                    <a:pt x="2296" y="2634"/>
                  </a:moveTo>
                  <a:cubicBezTo>
                    <a:pt x="2296" y="2631"/>
                    <a:pt x="2298" y="2631"/>
                    <a:pt x="2298" y="2628"/>
                  </a:cubicBezTo>
                  <a:lnTo>
                    <a:pt x="2298" y="2631"/>
                  </a:lnTo>
                  <a:lnTo>
                    <a:pt x="2298" y="2634"/>
                  </a:lnTo>
                  <a:cubicBezTo>
                    <a:pt x="2298" y="2636"/>
                    <a:pt x="2296" y="2636"/>
                    <a:pt x="2293" y="2636"/>
                  </a:cubicBezTo>
                  <a:lnTo>
                    <a:pt x="2293" y="2642"/>
                  </a:lnTo>
                  <a:lnTo>
                    <a:pt x="2290" y="2636"/>
                  </a:lnTo>
                  <a:cubicBezTo>
                    <a:pt x="2293" y="2636"/>
                    <a:pt x="2293" y="2636"/>
                    <a:pt x="2296" y="2634"/>
                  </a:cubicBezTo>
                  <a:close/>
                  <a:moveTo>
                    <a:pt x="2296" y="2665"/>
                  </a:moveTo>
                  <a:cubicBezTo>
                    <a:pt x="2290" y="2665"/>
                    <a:pt x="2296" y="2656"/>
                    <a:pt x="2298" y="2656"/>
                  </a:cubicBezTo>
                  <a:cubicBezTo>
                    <a:pt x="2301" y="2662"/>
                    <a:pt x="2298" y="2662"/>
                    <a:pt x="2296" y="2665"/>
                  </a:cubicBezTo>
                  <a:close/>
                  <a:moveTo>
                    <a:pt x="2296" y="2608"/>
                  </a:moveTo>
                  <a:cubicBezTo>
                    <a:pt x="2287" y="2586"/>
                    <a:pt x="2318" y="2603"/>
                    <a:pt x="2310" y="2580"/>
                  </a:cubicBezTo>
                  <a:cubicBezTo>
                    <a:pt x="2335" y="2574"/>
                    <a:pt x="2310" y="2611"/>
                    <a:pt x="2296" y="2608"/>
                  </a:cubicBezTo>
                  <a:close/>
                  <a:moveTo>
                    <a:pt x="2324" y="2634"/>
                  </a:moveTo>
                  <a:cubicBezTo>
                    <a:pt x="2338" y="2653"/>
                    <a:pt x="2296" y="2659"/>
                    <a:pt x="2324" y="2634"/>
                  </a:cubicBezTo>
                  <a:close/>
                  <a:moveTo>
                    <a:pt x="2327" y="2588"/>
                  </a:moveTo>
                  <a:cubicBezTo>
                    <a:pt x="2335" y="2591"/>
                    <a:pt x="2324" y="2603"/>
                    <a:pt x="2327" y="2588"/>
                  </a:cubicBezTo>
                  <a:close/>
                  <a:moveTo>
                    <a:pt x="2335" y="2569"/>
                  </a:moveTo>
                  <a:cubicBezTo>
                    <a:pt x="2318" y="2572"/>
                    <a:pt x="2315" y="2549"/>
                    <a:pt x="2324" y="2541"/>
                  </a:cubicBezTo>
                  <a:cubicBezTo>
                    <a:pt x="2332" y="2549"/>
                    <a:pt x="2341" y="2557"/>
                    <a:pt x="2335" y="2569"/>
                  </a:cubicBezTo>
                  <a:close/>
                  <a:moveTo>
                    <a:pt x="2346" y="2563"/>
                  </a:moveTo>
                  <a:cubicBezTo>
                    <a:pt x="2341" y="2566"/>
                    <a:pt x="2346" y="2557"/>
                    <a:pt x="2346" y="2563"/>
                  </a:cubicBezTo>
                  <a:close/>
                  <a:moveTo>
                    <a:pt x="2344" y="2140"/>
                  </a:moveTo>
                  <a:cubicBezTo>
                    <a:pt x="2346" y="2134"/>
                    <a:pt x="2355" y="2146"/>
                    <a:pt x="2344" y="2140"/>
                  </a:cubicBezTo>
                  <a:close/>
                  <a:moveTo>
                    <a:pt x="2349" y="2622"/>
                  </a:moveTo>
                  <a:cubicBezTo>
                    <a:pt x="2346" y="2617"/>
                    <a:pt x="2346" y="2608"/>
                    <a:pt x="2346" y="2603"/>
                  </a:cubicBezTo>
                  <a:cubicBezTo>
                    <a:pt x="2352" y="2603"/>
                    <a:pt x="2358" y="2611"/>
                    <a:pt x="2363" y="2611"/>
                  </a:cubicBezTo>
                  <a:cubicBezTo>
                    <a:pt x="2363" y="2622"/>
                    <a:pt x="2355" y="2622"/>
                    <a:pt x="2349" y="2622"/>
                  </a:cubicBezTo>
                  <a:close/>
                  <a:moveTo>
                    <a:pt x="2369" y="2574"/>
                  </a:moveTo>
                  <a:cubicBezTo>
                    <a:pt x="2363" y="2574"/>
                    <a:pt x="2366" y="2566"/>
                    <a:pt x="2366" y="2563"/>
                  </a:cubicBezTo>
                  <a:cubicBezTo>
                    <a:pt x="2372" y="2563"/>
                    <a:pt x="2369" y="2572"/>
                    <a:pt x="2369" y="2574"/>
                  </a:cubicBezTo>
                  <a:close/>
                  <a:moveTo>
                    <a:pt x="2377" y="2603"/>
                  </a:moveTo>
                  <a:cubicBezTo>
                    <a:pt x="2375" y="2605"/>
                    <a:pt x="2380" y="2597"/>
                    <a:pt x="2377" y="2603"/>
                  </a:cubicBezTo>
                  <a:close/>
                  <a:moveTo>
                    <a:pt x="2380" y="2543"/>
                  </a:moveTo>
                  <a:lnTo>
                    <a:pt x="2383" y="2543"/>
                  </a:lnTo>
                  <a:cubicBezTo>
                    <a:pt x="2386" y="2548"/>
                    <a:pt x="2373" y="2551"/>
                    <a:pt x="2372" y="2546"/>
                  </a:cubicBezTo>
                  <a:cubicBezTo>
                    <a:pt x="2366" y="2546"/>
                    <a:pt x="2363" y="2540"/>
                    <a:pt x="2363" y="2535"/>
                  </a:cubicBezTo>
                  <a:cubicBezTo>
                    <a:pt x="2363" y="2532"/>
                    <a:pt x="2363" y="2532"/>
                    <a:pt x="2366" y="2529"/>
                  </a:cubicBezTo>
                  <a:cubicBezTo>
                    <a:pt x="2372" y="2529"/>
                    <a:pt x="2380" y="2526"/>
                    <a:pt x="2389" y="2526"/>
                  </a:cubicBezTo>
                  <a:cubicBezTo>
                    <a:pt x="2389" y="2532"/>
                    <a:pt x="2386" y="2538"/>
                    <a:pt x="2380" y="2543"/>
                  </a:cubicBezTo>
                  <a:close/>
                  <a:moveTo>
                    <a:pt x="2389" y="2504"/>
                  </a:moveTo>
                  <a:cubicBezTo>
                    <a:pt x="2408" y="2512"/>
                    <a:pt x="2375" y="2524"/>
                    <a:pt x="2389" y="2504"/>
                  </a:cubicBezTo>
                  <a:close/>
                  <a:moveTo>
                    <a:pt x="2386" y="2086"/>
                  </a:moveTo>
                  <a:cubicBezTo>
                    <a:pt x="2386" y="2084"/>
                    <a:pt x="2394" y="2081"/>
                    <a:pt x="2397" y="2081"/>
                  </a:cubicBezTo>
                  <a:cubicBezTo>
                    <a:pt x="2394" y="2086"/>
                    <a:pt x="2389" y="2089"/>
                    <a:pt x="2386" y="2086"/>
                  </a:cubicBezTo>
                  <a:close/>
                  <a:moveTo>
                    <a:pt x="2400" y="2572"/>
                  </a:moveTo>
                  <a:cubicBezTo>
                    <a:pt x="2392" y="2580"/>
                    <a:pt x="2406" y="2557"/>
                    <a:pt x="2400" y="2572"/>
                  </a:cubicBezTo>
                  <a:close/>
                  <a:moveTo>
                    <a:pt x="2397" y="2563"/>
                  </a:moveTo>
                  <a:cubicBezTo>
                    <a:pt x="2394" y="2566"/>
                    <a:pt x="2400" y="2557"/>
                    <a:pt x="2397" y="2563"/>
                  </a:cubicBezTo>
                  <a:close/>
                  <a:moveTo>
                    <a:pt x="2397" y="2538"/>
                  </a:moveTo>
                  <a:cubicBezTo>
                    <a:pt x="2417" y="2541"/>
                    <a:pt x="2389" y="2569"/>
                    <a:pt x="2397" y="2538"/>
                  </a:cubicBezTo>
                  <a:close/>
                  <a:moveTo>
                    <a:pt x="2403" y="2563"/>
                  </a:moveTo>
                  <a:cubicBezTo>
                    <a:pt x="2408" y="2552"/>
                    <a:pt x="2420" y="2574"/>
                    <a:pt x="2403" y="2563"/>
                  </a:cubicBezTo>
                  <a:close/>
                  <a:moveTo>
                    <a:pt x="2417" y="1697"/>
                  </a:moveTo>
                  <a:cubicBezTo>
                    <a:pt x="2420" y="1689"/>
                    <a:pt x="2420" y="1706"/>
                    <a:pt x="2417" y="1697"/>
                  </a:cubicBezTo>
                  <a:close/>
                  <a:moveTo>
                    <a:pt x="2414" y="1235"/>
                  </a:moveTo>
                  <a:cubicBezTo>
                    <a:pt x="2411" y="1235"/>
                    <a:pt x="2406" y="1233"/>
                    <a:pt x="2403" y="1230"/>
                  </a:cubicBezTo>
                  <a:cubicBezTo>
                    <a:pt x="2406" y="1204"/>
                    <a:pt x="2431" y="1230"/>
                    <a:pt x="2414" y="1235"/>
                  </a:cubicBezTo>
                  <a:close/>
                  <a:moveTo>
                    <a:pt x="2417" y="505"/>
                  </a:moveTo>
                  <a:cubicBezTo>
                    <a:pt x="2417" y="502"/>
                    <a:pt x="2420" y="496"/>
                    <a:pt x="2423" y="494"/>
                  </a:cubicBezTo>
                  <a:cubicBezTo>
                    <a:pt x="2425" y="494"/>
                    <a:pt x="2431" y="496"/>
                    <a:pt x="2434" y="496"/>
                  </a:cubicBezTo>
                  <a:cubicBezTo>
                    <a:pt x="2434" y="499"/>
                    <a:pt x="2431" y="505"/>
                    <a:pt x="2431" y="508"/>
                  </a:cubicBezTo>
                  <a:cubicBezTo>
                    <a:pt x="2425" y="508"/>
                    <a:pt x="2420" y="508"/>
                    <a:pt x="2417" y="505"/>
                  </a:cubicBezTo>
                  <a:close/>
                  <a:moveTo>
                    <a:pt x="2423" y="2380"/>
                  </a:moveTo>
                  <a:cubicBezTo>
                    <a:pt x="2423" y="2374"/>
                    <a:pt x="2434" y="2385"/>
                    <a:pt x="2423" y="2380"/>
                  </a:cubicBezTo>
                  <a:close/>
                  <a:moveTo>
                    <a:pt x="2425" y="2450"/>
                  </a:moveTo>
                  <a:cubicBezTo>
                    <a:pt x="2425" y="2445"/>
                    <a:pt x="2437" y="2445"/>
                    <a:pt x="2440" y="2442"/>
                  </a:cubicBezTo>
                  <a:cubicBezTo>
                    <a:pt x="2448" y="2442"/>
                    <a:pt x="2431" y="2456"/>
                    <a:pt x="2425" y="2450"/>
                  </a:cubicBezTo>
                  <a:close/>
                  <a:moveTo>
                    <a:pt x="2428" y="2436"/>
                  </a:moveTo>
                  <a:cubicBezTo>
                    <a:pt x="2431" y="2433"/>
                    <a:pt x="2440" y="2431"/>
                    <a:pt x="2440" y="2425"/>
                  </a:cubicBezTo>
                  <a:cubicBezTo>
                    <a:pt x="2448" y="2428"/>
                    <a:pt x="2440" y="2439"/>
                    <a:pt x="2428" y="2436"/>
                  </a:cubicBezTo>
                  <a:close/>
                  <a:moveTo>
                    <a:pt x="2445" y="2529"/>
                  </a:moveTo>
                  <a:lnTo>
                    <a:pt x="2445" y="2526"/>
                  </a:lnTo>
                  <a:cubicBezTo>
                    <a:pt x="2445" y="2526"/>
                    <a:pt x="2448" y="2526"/>
                    <a:pt x="2448" y="2529"/>
                  </a:cubicBezTo>
                  <a:cubicBezTo>
                    <a:pt x="2451" y="2532"/>
                    <a:pt x="2451" y="2535"/>
                    <a:pt x="2451" y="2538"/>
                  </a:cubicBezTo>
                  <a:cubicBezTo>
                    <a:pt x="2451" y="2535"/>
                    <a:pt x="2448" y="2532"/>
                    <a:pt x="2445" y="2529"/>
                  </a:cubicBezTo>
                  <a:close/>
                  <a:moveTo>
                    <a:pt x="2448" y="1505"/>
                  </a:moveTo>
                  <a:cubicBezTo>
                    <a:pt x="2454" y="1500"/>
                    <a:pt x="2445" y="1514"/>
                    <a:pt x="2448" y="1505"/>
                  </a:cubicBezTo>
                  <a:close/>
                  <a:moveTo>
                    <a:pt x="2451" y="2377"/>
                  </a:moveTo>
                  <a:lnTo>
                    <a:pt x="2451" y="2368"/>
                  </a:lnTo>
                  <a:cubicBezTo>
                    <a:pt x="2454" y="2368"/>
                    <a:pt x="2454" y="2371"/>
                    <a:pt x="2456" y="2371"/>
                  </a:cubicBezTo>
                  <a:lnTo>
                    <a:pt x="2456" y="2377"/>
                  </a:lnTo>
                  <a:cubicBezTo>
                    <a:pt x="2456" y="2380"/>
                    <a:pt x="2451" y="2377"/>
                    <a:pt x="2451" y="2377"/>
                  </a:cubicBezTo>
                  <a:close/>
                  <a:moveTo>
                    <a:pt x="2456" y="2439"/>
                  </a:moveTo>
                  <a:cubicBezTo>
                    <a:pt x="2456" y="2433"/>
                    <a:pt x="2462" y="2433"/>
                    <a:pt x="2465" y="2431"/>
                  </a:cubicBezTo>
                  <a:cubicBezTo>
                    <a:pt x="2465" y="2436"/>
                    <a:pt x="2462" y="2442"/>
                    <a:pt x="2456" y="2439"/>
                  </a:cubicBezTo>
                  <a:close/>
                  <a:moveTo>
                    <a:pt x="2465" y="2431"/>
                  </a:moveTo>
                  <a:cubicBezTo>
                    <a:pt x="2465" y="2429"/>
                    <a:pt x="2471" y="2425"/>
                    <a:pt x="2473" y="2425"/>
                  </a:cubicBezTo>
                  <a:lnTo>
                    <a:pt x="2473" y="2428"/>
                  </a:lnTo>
                  <a:cubicBezTo>
                    <a:pt x="2471" y="2431"/>
                    <a:pt x="2471" y="2433"/>
                    <a:pt x="2471" y="2433"/>
                  </a:cubicBezTo>
                  <a:cubicBezTo>
                    <a:pt x="2468" y="2433"/>
                    <a:pt x="2465" y="2434"/>
                    <a:pt x="2465" y="2431"/>
                  </a:cubicBezTo>
                  <a:close/>
                  <a:moveTo>
                    <a:pt x="2476" y="2464"/>
                  </a:moveTo>
                  <a:cubicBezTo>
                    <a:pt x="2473" y="2464"/>
                    <a:pt x="2473" y="2462"/>
                    <a:pt x="2471" y="2462"/>
                  </a:cubicBezTo>
                  <a:lnTo>
                    <a:pt x="2471" y="2459"/>
                  </a:lnTo>
                  <a:cubicBezTo>
                    <a:pt x="2476" y="2459"/>
                    <a:pt x="2476" y="2464"/>
                    <a:pt x="2476" y="2464"/>
                  </a:cubicBezTo>
                  <a:close/>
                  <a:moveTo>
                    <a:pt x="2471" y="2383"/>
                  </a:moveTo>
                  <a:cubicBezTo>
                    <a:pt x="2462" y="2377"/>
                    <a:pt x="2476" y="2360"/>
                    <a:pt x="2479" y="2363"/>
                  </a:cubicBezTo>
                  <a:cubicBezTo>
                    <a:pt x="2482" y="2371"/>
                    <a:pt x="2476" y="2380"/>
                    <a:pt x="2471" y="2383"/>
                  </a:cubicBezTo>
                  <a:close/>
                  <a:moveTo>
                    <a:pt x="2476" y="2436"/>
                  </a:moveTo>
                  <a:cubicBezTo>
                    <a:pt x="2476" y="2436"/>
                    <a:pt x="2473" y="2431"/>
                    <a:pt x="2476" y="2428"/>
                  </a:cubicBezTo>
                  <a:cubicBezTo>
                    <a:pt x="2479" y="2425"/>
                    <a:pt x="2485" y="2439"/>
                    <a:pt x="2476" y="2436"/>
                  </a:cubicBezTo>
                  <a:close/>
                  <a:moveTo>
                    <a:pt x="2482" y="2270"/>
                  </a:moveTo>
                  <a:cubicBezTo>
                    <a:pt x="2485" y="2264"/>
                    <a:pt x="2493" y="2273"/>
                    <a:pt x="2482" y="2270"/>
                  </a:cubicBezTo>
                  <a:close/>
                  <a:moveTo>
                    <a:pt x="2485" y="2357"/>
                  </a:moveTo>
                  <a:cubicBezTo>
                    <a:pt x="2485" y="2357"/>
                    <a:pt x="2485" y="2360"/>
                    <a:pt x="2485" y="2357"/>
                  </a:cubicBezTo>
                  <a:lnTo>
                    <a:pt x="2485" y="2360"/>
                  </a:lnTo>
                  <a:cubicBezTo>
                    <a:pt x="2485" y="2360"/>
                    <a:pt x="2482" y="2360"/>
                    <a:pt x="2485" y="2357"/>
                  </a:cubicBezTo>
                  <a:close/>
                  <a:moveTo>
                    <a:pt x="2482" y="2205"/>
                  </a:moveTo>
                  <a:cubicBezTo>
                    <a:pt x="2476" y="2202"/>
                    <a:pt x="2487" y="2196"/>
                    <a:pt x="2490" y="2194"/>
                  </a:cubicBezTo>
                  <a:cubicBezTo>
                    <a:pt x="2490" y="2202"/>
                    <a:pt x="2482" y="2202"/>
                    <a:pt x="2482" y="2205"/>
                  </a:cubicBezTo>
                  <a:close/>
                  <a:moveTo>
                    <a:pt x="2493" y="2385"/>
                  </a:moveTo>
                  <a:cubicBezTo>
                    <a:pt x="2490" y="2391"/>
                    <a:pt x="2485" y="2391"/>
                    <a:pt x="2479" y="2391"/>
                  </a:cubicBezTo>
                  <a:cubicBezTo>
                    <a:pt x="2482" y="2388"/>
                    <a:pt x="2490" y="2383"/>
                    <a:pt x="2493" y="2385"/>
                  </a:cubicBezTo>
                  <a:close/>
                  <a:moveTo>
                    <a:pt x="2487" y="2439"/>
                  </a:moveTo>
                  <a:cubicBezTo>
                    <a:pt x="2490" y="2433"/>
                    <a:pt x="2499" y="2445"/>
                    <a:pt x="2487" y="2439"/>
                  </a:cubicBezTo>
                  <a:close/>
                  <a:moveTo>
                    <a:pt x="2487" y="2168"/>
                  </a:moveTo>
                  <a:cubicBezTo>
                    <a:pt x="2487" y="2163"/>
                    <a:pt x="2493" y="2163"/>
                    <a:pt x="2493" y="2160"/>
                  </a:cubicBezTo>
                  <a:cubicBezTo>
                    <a:pt x="2496" y="2160"/>
                    <a:pt x="2490" y="2171"/>
                    <a:pt x="2487" y="2168"/>
                  </a:cubicBezTo>
                  <a:close/>
                  <a:moveTo>
                    <a:pt x="2487" y="2148"/>
                  </a:moveTo>
                  <a:cubicBezTo>
                    <a:pt x="2487" y="2143"/>
                    <a:pt x="2496" y="2151"/>
                    <a:pt x="2487" y="2148"/>
                  </a:cubicBezTo>
                  <a:close/>
                  <a:moveTo>
                    <a:pt x="2479" y="2131"/>
                  </a:moveTo>
                  <a:cubicBezTo>
                    <a:pt x="2485" y="2126"/>
                    <a:pt x="2496" y="2123"/>
                    <a:pt x="2504" y="2123"/>
                  </a:cubicBezTo>
                  <a:cubicBezTo>
                    <a:pt x="2502" y="2131"/>
                    <a:pt x="2487" y="2131"/>
                    <a:pt x="2479" y="2131"/>
                  </a:cubicBezTo>
                  <a:close/>
                  <a:moveTo>
                    <a:pt x="2499" y="2227"/>
                  </a:moveTo>
                  <a:cubicBezTo>
                    <a:pt x="2499" y="2222"/>
                    <a:pt x="2510" y="2219"/>
                    <a:pt x="2510" y="2222"/>
                  </a:cubicBezTo>
                  <a:cubicBezTo>
                    <a:pt x="2507" y="2227"/>
                    <a:pt x="2504" y="2227"/>
                    <a:pt x="2499" y="2227"/>
                  </a:cubicBezTo>
                  <a:close/>
                  <a:moveTo>
                    <a:pt x="2502" y="2459"/>
                  </a:moveTo>
                  <a:cubicBezTo>
                    <a:pt x="2502" y="2456"/>
                    <a:pt x="2502" y="2453"/>
                    <a:pt x="2504" y="2453"/>
                  </a:cubicBezTo>
                  <a:cubicBezTo>
                    <a:pt x="2507" y="2453"/>
                    <a:pt x="2510" y="2453"/>
                    <a:pt x="2510" y="2456"/>
                  </a:cubicBezTo>
                  <a:cubicBezTo>
                    <a:pt x="2510" y="2456"/>
                    <a:pt x="2507" y="2459"/>
                    <a:pt x="2502" y="2459"/>
                  </a:cubicBezTo>
                  <a:close/>
                  <a:moveTo>
                    <a:pt x="2502" y="2363"/>
                  </a:moveTo>
                  <a:cubicBezTo>
                    <a:pt x="2504" y="2360"/>
                    <a:pt x="2507" y="2354"/>
                    <a:pt x="2513" y="2354"/>
                  </a:cubicBezTo>
                  <a:cubicBezTo>
                    <a:pt x="2516" y="2360"/>
                    <a:pt x="2507" y="2363"/>
                    <a:pt x="2502" y="2363"/>
                  </a:cubicBezTo>
                  <a:close/>
                  <a:moveTo>
                    <a:pt x="2504" y="2253"/>
                  </a:moveTo>
                  <a:cubicBezTo>
                    <a:pt x="2507" y="2250"/>
                    <a:pt x="2513" y="2250"/>
                    <a:pt x="2516" y="2250"/>
                  </a:cubicBezTo>
                  <a:cubicBezTo>
                    <a:pt x="2519" y="2258"/>
                    <a:pt x="2504" y="2261"/>
                    <a:pt x="2504" y="2253"/>
                  </a:cubicBezTo>
                  <a:close/>
                  <a:moveTo>
                    <a:pt x="2521" y="2349"/>
                  </a:moveTo>
                  <a:cubicBezTo>
                    <a:pt x="2524" y="2349"/>
                    <a:pt x="2519" y="2357"/>
                    <a:pt x="2516" y="2357"/>
                  </a:cubicBezTo>
                  <a:cubicBezTo>
                    <a:pt x="2513" y="2349"/>
                    <a:pt x="2524" y="2354"/>
                    <a:pt x="2521" y="2349"/>
                  </a:cubicBezTo>
                  <a:close/>
                  <a:moveTo>
                    <a:pt x="2527" y="2456"/>
                  </a:moveTo>
                  <a:lnTo>
                    <a:pt x="2530" y="2453"/>
                  </a:lnTo>
                  <a:cubicBezTo>
                    <a:pt x="2533" y="2453"/>
                    <a:pt x="2533" y="2462"/>
                    <a:pt x="2527" y="2456"/>
                  </a:cubicBezTo>
                  <a:close/>
                  <a:moveTo>
                    <a:pt x="2541" y="2323"/>
                  </a:moveTo>
                  <a:cubicBezTo>
                    <a:pt x="2538" y="2323"/>
                    <a:pt x="2535" y="2318"/>
                    <a:pt x="2535" y="2315"/>
                  </a:cubicBezTo>
                  <a:cubicBezTo>
                    <a:pt x="2538" y="2315"/>
                    <a:pt x="2541" y="2320"/>
                    <a:pt x="2541" y="2323"/>
                  </a:cubicBezTo>
                  <a:close/>
                  <a:moveTo>
                    <a:pt x="2541" y="2343"/>
                  </a:moveTo>
                  <a:cubicBezTo>
                    <a:pt x="2541" y="2343"/>
                    <a:pt x="2538" y="2346"/>
                    <a:pt x="2538" y="2349"/>
                  </a:cubicBezTo>
                  <a:lnTo>
                    <a:pt x="2527" y="2349"/>
                  </a:lnTo>
                  <a:cubicBezTo>
                    <a:pt x="2530" y="2343"/>
                    <a:pt x="2538" y="2337"/>
                    <a:pt x="2541" y="2343"/>
                  </a:cubicBezTo>
                  <a:close/>
                  <a:moveTo>
                    <a:pt x="2524" y="2320"/>
                  </a:moveTo>
                  <a:cubicBezTo>
                    <a:pt x="2527" y="2320"/>
                    <a:pt x="2530" y="2323"/>
                    <a:pt x="2533" y="2326"/>
                  </a:cubicBezTo>
                  <a:lnTo>
                    <a:pt x="2527" y="2326"/>
                  </a:lnTo>
                  <a:cubicBezTo>
                    <a:pt x="2524" y="2326"/>
                    <a:pt x="2524" y="2323"/>
                    <a:pt x="2524" y="2320"/>
                  </a:cubicBezTo>
                  <a:close/>
                  <a:moveTo>
                    <a:pt x="2544" y="2419"/>
                  </a:moveTo>
                  <a:cubicBezTo>
                    <a:pt x="2544" y="2425"/>
                    <a:pt x="2538" y="2425"/>
                    <a:pt x="2535" y="2428"/>
                  </a:cubicBezTo>
                  <a:lnTo>
                    <a:pt x="2519" y="2419"/>
                  </a:lnTo>
                  <a:cubicBezTo>
                    <a:pt x="2519" y="2405"/>
                    <a:pt x="2544" y="2411"/>
                    <a:pt x="2544" y="2419"/>
                  </a:cubicBezTo>
                  <a:close/>
                  <a:moveTo>
                    <a:pt x="2521" y="2264"/>
                  </a:moveTo>
                  <a:cubicBezTo>
                    <a:pt x="2519" y="2256"/>
                    <a:pt x="2530" y="2256"/>
                    <a:pt x="2530" y="2253"/>
                  </a:cubicBezTo>
                  <a:cubicBezTo>
                    <a:pt x="2538" y="2256"/>
                    <a:pt x="2527" y="2264"/>
                    <a:pt x="2521" y="2264"/>
                  </a:cubicBezTo>
                  <a:close/>
                  <a:moveTo>
                    <a:pt x="2533" y="2205"/>
                  </a:moveTo>
                  <a:cubicBezTo>
                    <a:pt x="2538" y="2205"/>
                    <a:pt x="2541" y="2205"/>
                    <a:pt x="2547" y="2208"/>
                  </a:cubicBezTo>
                  <a:cubicBezTo>
                    <a:pt x="2550" y="2210"/>
                    <a:pt x="2547" y="2216"/>
                    <a:pt x="2544" y="2219"/>
                  </a:cubicBezTo>
                  <a:cubicBezTo>
                    <a:pt x="2538" y="2216"/>
                    <a:pt x="2530" y="2213"/>
                    <a:pt x="2533" y="2205"/>
                  </a:cubicBezTo>
                  <a:close/>
                  <a:moveTo>
                    <a:pt x="2541" y="2242"/>
                  </a:moveTo>
                  <a:cubicBezTo>
                    <a:pt x="2544" y="2242"/>
                    <a:pt x="2547" y="2244"/>
                    <a:pt x="2550" y="2247"/>
                  </a:cubicBezTo>
                  <a:lnTo>
                    <a:pt x="2544" y="2247"/>
                  </a:lnTo>
                  <a:cubicBezTo>
                    <a:pt x="2544" y="2247"/>
                    <a:pt x="2541" y="2244"/>
                    <a:pt x="2541" y="2242"/>
                  </a:cubicBezTo>
                  <a:close/>
                  <a:moveTo>
                    <a:pt x="2547" y="2278"/>
                  </a:moveTo>
                  <a:cubicBezTo>
                    <a:pt x="2550" y="2278"/>
                    <a:pt x="2552" y="2284"/>
                    <a:pt x="2550" y="2281"/>
                  </a:cubicBezTo>
                  <a:cubicBezTo>
                    <a:pt x="2550" y="2281"/>
                    <a:pt x="2544" y="2278"/>
                    <a:pt x="2547" y="2278"/>
                  </a:cubicBezTo>
                  <a:close/>
                  <a:moveTo>
                    <a:pt x="2569" y="2239"/>
                  </a:moveTo>
                  <a:cubicBezTo>
                    <a:pt x="2564" y="2236"/>
                    <a:pt x="2572" y="2230"/>
                    <a:pt x="2567" y="2227"/>
                  </a:cubicBezTo>
                  <a:cubicBezTo>
                    <a:pt x="2558" y="2227"/>
                    <a:pt x="2555" y="2230"/>
                    <a:pt x="2550" y="2233"/>
                  </a:cubicBezTo>
                  <a:cubicBezTo>
                    <a:pt x="2550" y="2225"/>
                    <a:pt x="2564" y="2225"/>
                    <a:pt x="2569" y="2222"/>
                  </a:cubicBezTo>
                  <a:cubicBezTo>
                    <a:pt x="2575" y="2225"/>
                    <a:pt x="2572" y="2233"/>
                    <a:pt x="2569" y="2239"/>
                  </a:cubicBezTo>
                  <a:close/>
                  <a:moveTo>
                    <a:pt x="2581" y="2222"/>
                  </a:moveTo>
                  <a:cubicBezTo>
                    <a:pt x="2578" y="2222"/>
                    <a:pt x="2578" y="2213"/>
                    <a:pt x="2578" y="2210"/>
                  </a:cubicBezTo>
                  <a:cubicBezTo>
                    <a:pt x="2581" y="2210"/>
                    <a:pt x="2583" y="2219"/>
                    <a:pt x="2581" y="2222"/>
                  </a:cubicBezTo>
                  <a:close/>
                  <a:moveTo>
                    <a:pt x="2572" y="2185"/>
                  </a:moveTo>
                  <a:cubicBezTo>
                    <a:pt x="2572" y="2177"/>
                    <a:pt x="2592" y="2174"/>
                    <a:pt x="2592" y="2182"/>
                  </a:cubicBezTo>
                  <a:cubicBezTo>
                    <a:pt x="2586" y="2179"/>
                    <a:pt x="2578" y="2179"/>
                    <a:pt x="2572" y="2185"/>
                  </a:cubicBezTo>
                  <a:close/>
                  <a:moveTo>
                    <a:pt x="2589" y="2154"/>
                  </a:moveTo>
                  <a:cubicBezTo>
                    <a:pt x="2598" y="2148"/>
                    <a:pt x="2606" y="2143"/>
                    <a:pt x="2617" y="2143"/>
                  </a:cubicBezTo>
                  <a:cubicBezTo>
                    <a:pt x="2609" y="2148"/>
                    <a:pt x="2600" y="2157"/>
                    <a:pt x="2589" y="2154"/>
                  </a:cubicBezTo>
                  <a:close/>
                  <a:moveTo>
                    <a:pt x="2598" y="2219"/>
                  </a:moveTo>
                  <a:cubicBezTo>
                    <a:pt x="2598" y="2213"/>
                    <a:pt x="2606" y="2222"/>
                    <a:pt x="2598" y="2219"/>
                  </a:cubicBezTo>
                  <a:close/>
                  <a:moveTo>
                    <a:pt x="2609" y="2371"/>
                  </a:moveTo>
                  <a:cubicBezTo>
                    <a:pt x="2600" y="2366"/>
                    <a:pt x="2609" y="2352"/>
                    <a:pt x="2598" y="2352"/>
                  </a:cubicBezTo>
                  <a:cubicBezTo>
                    <a:pt x="2598" y="2346"/>
                    <a:pt x="2603" y="2343"/>
                    <a:pt x="2606" y="2340"/>
                  </a:cubicBezTo>
                  <a:cubicBezTo>
                    <a:pt x="2612" y="2349"/>
                    <a:pt x="2614" y="2354"/>
                    <a:pt x="2620" y="2360"/>
                  </a:cubicBezTo>
                  <a:cubicBezTo>
                    <a:pt x="2620" y="2368"/>
                    <a:pt x="2614" y="2371"/>
                    <a:pt x="2609" y="2371"/>
                  </a:cubicBezTo>
                  <a:close/>
                  <a:moveTo>
                    <a:pt x="2629" y="2194"/>
                  </a:moveTo>
                  <a:cubicBezTo>
                    <a:pt x="2626" y="2194"/>
                    <a:pt x="2626" y="2188"/>
                    <a:pt x="2623" y="2188"/>
                  </a:cubicBezTo>
                  <a:cubicBezTo>
                    <a:pt x="2626" y="2185"/>
                    <a:pt x="2626" y="2188"/>
                    <a:pt x="2631" y="2185"/>
                  </a:cubicBezTo>
                  <a:cubicBezTo>
                    <a:pt x="2631" y="2191"/>
                    <a:pt x="2629" y="2191"/>
                    <a:pt x="2629" y="2194"/>
                  </a:cubicBezTo>
                  <a:close/>
                  <a:moveTo>
                    <a:pt x="2629" y="2343"/>
                  </a:moveTo>
                  <a:cubicBezTo>
                    <a:pt x="2631" y="2340"/>
                    <a:pt x="2634" y="2335"/>
                    <a:pt x="2637" y="2332"/>
                  </a:cubicBezTo>
                  <a:lnTo>
                    <a:pt x="2643" y="2332"/>
                  </a:lnTo>
                  <a:cubicBezTo>
                    <a:pt x="2640" y="2337"/>
                    <a:pt x="2634" y="2340"/>
                    <a:pt x="2629" y="2343"/>
                  </a:cubicBezTo>
                  <a:close/>
                  <a:moveTo>
                    <a:pt x="2654" y="2304"/>
                  </a:moveTo>
                  <a:cubicBezTo>
                    <a:pt x="2643" y="2295"/>
                    <a:pt x="2626" y="2284"/>
                    <a:pt x="2631" y="2267"/>
                  </a:cubicBezTo>
                  <a:cubicBezTo>
                    <a:pt x="2640" y="2273"/>
                    <a:pt x="2662" y="2289"/>
                    <a:pt x="2654" y="2304"/>
                  </a:cubicBezTo>
                  <a:close/>
                  <a:moveTo>
                    <a:pt x="2654" y="2185"/>
                  </a:moveTo>
                  <a:cubicBezTo>
                    <a:pt x="2654" y="2179"/>
                    <a:pt x="2662" y="2188"/>
                    <a:pt x="2654" y="2185"/>
                  </a:cubicBezTo>
                  <a:close/>
                  <a:moveTo>
                    <a:pt x="2662" y="2298"/>
                  </a:moveTo>
                  <a:cubicBezTo>
                    <a:pt x="2665" y="2295"/>
                    <a:pt x="2668" y="2289"/>
                    <a:pt x="2671" y="2284"/>
                  </a:cubicBezTo>
                  <a:lnTo>
                    <a:pt x="2674" y="2284"/>
                  </a:lnTo>
                  <a:cubicBezTo>
                    <a:pt x="2671" y="2289"/>
                    <a:pt x="2668" y="2295"/>
                    <a:pt x="2662" y="2298"/>
                  </a:cubicBezTo>
                  <a:close/>
                  <a:moveTo>
                    <a:pt x="2668" y="1824"/>
                  </a:moveTo>
                  <a:cubicBezTo>
                    <a:pt x="2668" y="1818"/>
                    <a:pt x="2685" y="1821"/>
                    <a:pt x="2688" y="1824"/>
                  </a:cubicBezTo>
                  <a:cubicBezTo>
                    <a:pt x="2688" y="1827"/>
                    <a:pt x="2688" y="1830"/>
                    <a:pt x="2685" y="1830"/>
                  </a:cubicBezTo>
                  <a:cubicBezTo>
                    <a:pt x="2679" y="1830"/>
                    <a:pt x="2674" y="1827"/>
                    <a:pt x="2668" y="1824"/>
                  </a:cubicBezTo>
                  <a:close/>
                  <a:moveTo>
                    <a:pt x="2682" y="2072"/>
                  </a:moveTo>
                  <a:lnTo>
                    <a:pt x="2677" y="2072"/>
                  </a:lnTo>
                  <a:lnTo>
                    <a:pt x="2677" y="2067"/>
                  </a:lnTo>
                  <a:lnTo>
                    <a:pt x="2682" y="2067"/>
                  </a:lnTo>
                  <a:lnTo>
                    <a:pt x="2682" y="2072"/>
                  </a:lnTo>
                  <a:close/>
                  <a:moveTo>
                    <a:pt x="2685" y="2146"/>
                  </a:moveTo>
                  <a:cubicBezTo>
                    <a:pt x="2682" y="2146"/>
                    <a:pt x="2677" y="2143"/>
                    <a:pt x="2674" y="2140"/>
                  </a:cubicBezTo>
                  <a:cubicBezTo>
                    <a:pt x="2677" y="2140"/>
                    <a:pt x="2691" y="2143"/>
                    <a:pt x="2685" y="2146"/>
                  </a:cubicBezTo>
                  <a:close/>
                  <a:moveTo>
                    <a:pt x="2677" y="2281"/>
                  </a:moveTo>
                  <a:cubicBezTo>
                    <a:pt x="2674" y="2278"/>
                    <a:pt x="2677" y="2278"/>
                    <a:pt x="2677" y="2281"/>
                  </a:cubicBezTo>
                  <a:close/>
                  <a:moveTo>
                    <a:pt x="2682" y="2205"/>
                  </a:moveTo>
                  <a:cubicBezTo>
                    <a:pt x="2685" y="2208"/>
                    <a:pt x="2685" y="2210"/>
                    <a:pt x="2685" y="2213"/>
                  </a:cubicBezTo>
                  <a:cubicBezTo>
                    <a:pt x="2682" y="2213"/>
                    <a:pt x="2682" y="2208"/>
                    <a:pt x="2682" y="2205"/>
                  </a:cubicBezTo>
                  <a:close/>
                  <a:moveTo>
                    <a:pt x="2679" y="2058"/>
                  </a:moveTo>
                  <a:cubicBezTo>
                    <a:pt x="2682" y="2053"/>
                    <a:pt x="2685" y="2055"/>
                    <a:pt x="2691" y="2055"/>
                  </a:cubicBezTo>
                  <a:cubicBezTo>
                    <a:pt x="2693" y="2061"/>
                    <a:pt x="2682" y="2058"/>
                    <a:pt x="2679" y="2058"/>
                  </a:cubicBezTo>
                  <a:close/>
                  <a:moveTo>
                    <a:pt x="2691" y="2205"/>
                  </a:moveTo>
                  <a:cubicBezTo>
                    <a:pt x="2691" y="2205"/>
                    <a:pt x="2688" y="2199"/>
                    <a:pt x="2691" y="2196"/>
                  </a:cubicBezTo>
                  <a:cubicBezTo>
                    <a:pt x="2693" y="2196"/>
                    <a:pt x="2696" y="2210"/>
                    <a:pt x="2691" y="2205"/>
                  </a:cubicBezTo>
                  <a:close/>
                  <a:moveTo>
                    <a:pt x="2708" y="2163"/>
                  </a:moveTo>
                  <a:cubicBezTo>
                    <a:pt x="2702" y="2163"/>
                    <a:pt x="2699" y="2160"/>
                    <a:pt x="2696" y="2157"/>
                  </a:cubicBezTo>
                  <a:cubicBezTo>
                    <a:pt x="2696" y="2148"/>
                    <a:pt x="2713" y="2154"/>
                    <a:pt x="2708" y="2163"/>
                  </a:cubicBezTo>
                  <a:close/>
                  <a:moveTo>
                    <a:pt x="2710" y="2233"/>
                  </a:moveTo>
                  <a:cubicBezTo>
                    <a:pt x="2705" y="2230"/>
                    <a:pt x="2702" y="2225"/>
                    <a:pt x="2702" y="2219"/>
                  </a:cubicBezTo>
                  <a:lnTo>
                    <a:pt x="2710" y="2219"/>
                  </a:lnTo>
                  <a:cubicBezTo>
                    <a:pt x="2710" y="2222"/>
                    <a:pt x="2716" y="2230"/>
                    <a:pt x="2710" y="2233"/>
                  </a:cubicBezTo>
                  <a:close/>
                  <a:moveTo>
                    <a:pt x="2699" y="2216"/>
                  </a:moveTo>
                  <a:cubicBezTo>
                    <a:pt x="2696" y="2210"/>
                    <a:pt x="2693" y="2191"/>
                    <a:pt x="2705" y="2194"/>
                  </a:cubicBezTo>
                  <a:cubicBezTo>
                    <a:pt x="2702" y="2196"/>
                    <a:pt x="2702" y="2208"/>
                    <a:pt x="2710" y="2210"/>
                  </a:cubicBezTo>
                  <a:cubicBezTo>
                    <a:pt x="2710" y="2210"/>
                    <a:pt x="2708" y="2216"/>
                    <a:pt x="2699" y="2216"/>
                  </a:cubicBezTo>
                  <a:close/>
                  <a:moveTo>
                    <a:pt x="2722" y="2202"/>
                  </a:moveTo>
                  <a:cubicBezTo>
                    <a:pt x="2719" y="2202"/>
                    <a:pt x="2716" y="2199"/>
                    <a:pt x="2713" y="2196"/>
                  </a:cubicBezTo>
                  <a:cubicBezTo>
                    <a:pt x="2713" y="2194"/>
                    <a:pt x="2716" y="2191"/>
                    <a:pt x="2719" y="2191"/>
                  </a:cubicBezTo>
                  <a:cubicBezTo>
                    <a:pt x="2719" y="2188"/>
                    <a:pt x="2719" y="2185"/>
                    <a:pt x="2722" y="2185"/>
                  </a:cubicBezTo>
                  <a:cubicBezTo>
                    <a:pt x="2727" y="2188"/>
                    <a:pt x="2730" y="2185"/>
                    <a:pt x="2733" y="2188"/>
                  </a:cubicBezTo>
                  <a:cubicBezTo>
                    <a:pt x="2727" y="2191"/>
                    <a:pt x="2722" y="2191"/>
                    <a:pt x="2719" y="2191"/>
                  </a:cubicBezTo>
                  <a:cubicBezTo>
                    <a:pt x="2719" y="2194"/>
                    <a:pt x="2725" y="2196"/>
                    <a:pt x="2722" y="2202"/>
                  </a:cubicBezTo>
                  <a:close/>
                  <a:moveTo>
                    <a:pt x="2710" y="2157"/>
                  </a:moveTo>
                  <a:cubicBezTo>
                    <a:pt x="2708" y="2157"/>
                    <a:pt x="2710" y="2151"/>
                    <a:pt x="2713" y="2151"/>
                  </a:cubicBezTo>
                  <a:cubicBezTo>
                    <a:pt x="2727" y="2151"/>
                    <a:pt x="2739" y="2157"/>
                    <a:pt x="2739" y="2165"/>
                  </a:cubicBezTo>
                  <a:cubicBezTo>
                    <a:pt x="2733" y="2163"/>
                    <a:pt x="2722" y="2160"/>
                    <a:pt x="2710" y="2157"/>
                  </a:cubicBezTo>
                  <a:close/>
                  <a:moveTo>
                    <a:pt x="2736" y="2024"/>
                  </a:moveTo>
                  <a:cubicBezTo>
                    <a:pt x="2739" y="2030"/>
                    <a:pt x="2744" y="2027"/>
                    <a:pt x="2747" y="2033"/>
                  </a:cubicBezTo>
                  <a:cubicBezTo>
                    <a:pt x="2744" y="2044"/>
                    <a:pt x="2727" y="2027"/>
                    <a:pt x="2736" y="2024"/>
                  </a:cubicBezTo>
                  <a:close/>
                  <a:moveTo>
                    <a:pt x="2741" y="2115"/>
                  </a:moveTo>
                  <a:cubicBezTo>
                    <a:pt x="2744" y="2115"/>
                    <a:pt x="2747" y="2120"/>
                    <a:pt x="2744" y="2117"/>
                  </a:cubicBezTo>
                  <a:lnTo>
                    <a:pt x="2741" y="2115"/>
                  </a:lnTo>
                  <a:close/>
                  <a:moveTo>
                    <a:pt x="2750" y="2137"/>
                  </a:moveTo>
                  <a:cubicBezTo>
                    <a:pt x="2750" y="2134"/>
                    <a:pt x="2750" y="2131"/>
                    <a:pt x="2753" y="2129"/>
                  </a:cubicBezTo>
                  <a:cubicBezTo>
                    <a:pt x="2756" y="2129"/>
                    <a:pt x="2761" y="2131"/>
                    <a:pt x="2764" y="2134"/>
                  </a:cubicBezTo>
                  <a:cubicBezTo>
                    <a:pt x="2761" y="2140"/>
                    <a:pt x="2756" y="2140"/>
                    <a:pt x="2750" y="2137"/>
                  </a:cubicBezTo>
                  <a:close/>
                  <a:moveTo>
                    <a:pt x="2750" y="2086"/>
                  </a:moveTo>
                  <a:cubicBezTo>
                    <a:pt x="2750" y="2081"/>
                    <a:pt x="2756" y="2084"/>
                    <a:pt x="2756" y="2078"/>
                  </a:cubicBezTo>
                  <a:cubicBezTo>
                    <a:pt x="2756" y="2075"/>
                    <a:pt x="2744" y="2075"/>
                    <a:pt x="2741" y="2072"/>
                  </a:cubicBezTo>
                  <a:cubicBezTo>
                    <a:pt x="2739" y="2067"/>
                    <a:pt x="2741" y="2061"/>
                    <a:pt x="2744" y="2058"/>
                  </a:cubicBezTo>
                  <a:cubicBezTo>
                    <a:pt x="2756" y="2064"/>
                    <a:pt x="2758" y="2072"/>
                    <a:pt x="2764" y="2081"/>
                  </a:cubicBezTo>
                  <a:cubicBezTo>
                    <a:pt x="2756" y="2084"/>
                    <a:pt x="2761" y="2089"/>
                    <a:pt x="2750" y="2086"/>
                  </a:cubicBezTo>
                  <a:close/>
                  <a:moveTo>
                    <a:pt x="2772" y="1917"/>
                  </a:moveTo>
                  <a:cubicBezTo>
                    <a:pt x="2778" y="1917"/>
                    <a:pt x="2778" y="1920"/>
                    <a:pt x="2781" y="1923"/>
                  </a:cubicBezTo>
                  <a:cubicBezTo>
                    <a:pt x="2781" y="1926"/>
                    <a:pt x="2770" y="1920"/>
                    <a:pt x="2772" y="1917"/>
                  </a:cubicBezTo>
                  <a:close/>
                  <a:moveTo>
                    <a:pt x="2787" y="2027"/>
                  </a:moveTo>
                  <a:cubicBezTo>
                    <a:pt x="2784" y="2027"/>
                    <a:pt x="2781" y="2027"/>
                    <a:pt x="2778" y="2024"/>
                  </a:cubicBezTo>
                  <a:cubicBezTo>
                    <a:pt x="2775" y="2021"/>
                    <a:pt x="2778" y="2021"/>
                    <a:pt x="2781" y="2019"/>
                  </a:cubicBezTo>
                  <a:cubicBezTo>
                    <a:pt x="2784" y="2019"/>
                    <a:pt x="2787" y="2019"/>
                    <a:pt x="2789" y="2021"/>
                  </a:cubicBezTo>
                  <a:cubicBezTo>
                    <a:pt x="2790" y="2023"/>
                    <a:pt x="2791" y="2024"/>
                    <a:pt x="2791" y="2024"/>
                  </a:cubicBezTo>
                  <a:cubicBezTo>
                    <a:pt x="2795" y="2025"/>
                    <a:pt x="2809" y="2030"/>
                    <a:pt x="2806" y="2036"/>
                  </a:cubicBezTo>
                  <a:cubicBezTo>
                    <a:pt x="2801" y="2038"/>
                    <a:pt x="2789" y="2034"/>
                    <a:pt x="2789" y="2026"/>
                  </a:cubicBezTo>
                  <a:cubicBezTo>
                    <a:pt x="2788" y="2027"/>
                    <a:pt x="2787" y="2027"/>
                    <a:pt x="2787" y="2027"/>
                  </a:cubicBezTo>
                  <a:close/>
                  <a:moveTo>
                    <a:pt x="2784" y="1948"/>
                  </a:moveTo>
                  <a:cubicBezTo>
                    <a:pt x="2787" y="1948"/>
                    <a:pt x="2789" y="1954"/>
                    <a:pt x="2787" y="1951"/>
                  </a:cubicBezTo>
                  <a:cubicBezTo>
                    <a:pt x="2787" y="1951"/>
                    <a:pt x="2781" y="1948"/>
                    <a:pt x="2784" y="1948"/>
                  </a:cubicBezTo>
                  <a:close/>
                  <a:moveTo>
                    <a:pt x="2775" y="1754"/>
                  </a:moveTo>
                  <a:cubicBezTo>
                    <a:pt x="2775" y="1751"/>
                    <a:pt x="2775" y="1748"/>
                    <a:pt x="2778" y="1748"/>
                  </a:cubicBezTo>
                  <a:cubicBezTo>
                    <a:pt x="2784" y="1748"/>
                    <a:pt x="2787" y="1748"/>
                    <a:pt x="2789" y="1751"/>
                  </a:cubicBezTo>
                  <a:cubicBezTo>
                    <a:pt x="2789" y="1759"/>
                    <a:pt x="2778" y="1759"/>
                    <a:pt x="2775" y="1754"/>
                  </a:cubicBezTo>
                  <a:close/>
                  <a:moveTo>
                    <a:pt x="2787" y="1615"/>
                  </a:moveTo>
                  <a:cubicBezTo>
                    <a:pt x="2792" y="1610"/>
                    <a:pt x="2789" y="1624"/>
                    <a:pt x="2787" y="1615"/>
                  </a:cubicBezTo>
                  <a:close/>
                  <a:moveTo>
                    <a:pt x="2832" y="1928"/>
                  </a:moveTo>
                  <a:cubicBezTo>
                    <a:pt x="2832" y="1931"/>
                    <a:pt x="2829" y="1931"/>
                    <a:pt x="2829" y="1931"/>
                  </a:cubicBezTo>
                  <a:cubicBezTo>
                    <a:pt x="2826" y="1931"/>
                    <a:pt x="2826" y="1931"/>
                    <a:pt x="2823" y="1928"/>
                  </a:cubicBezTo>
                  <a:cubicBezTo>
                    <a:pt x="2823" y="1923"/>
                    <a:pt x="2829" y="1926"/>
                    <a:pt x="2832" y="1928"/>
                  </a:cubicBezTo>
                  <a:close/>
                  <a:moveTo>
                    <a:pt x="2829" y="1903"/>
                  </a:moveTo>
                  <a:cubicBezTo>
                    <a:pt x="2832" y="1906"/>
                    <a:pt x="2832" y="1909"/>
                    <a:pt x="2832" y="1911"/>
                  </a:cubicBezTo>
                  <a:cubicBezTo>
                    <a:pt x="2829" y="1909"/>
                    <a:pt x="2829" y="1906"/>
                    <a:pt x="2829" y="1903"/>
                  </a:cubicBezTo>
                  <a:close/>
                  <a:moveTo>
                    <a:pt x="2809" y="1923"/>
                  </a:moveTo>
                  <a:cubicBezTo>
                    <a:pt x="2806" y="1920"/>
                    <a:pt x="2804" y="1920"/>
                    <a:pt x="2801" y="1917"/>
                  </a:cubicBezTo>
                  <a:cubicBezTo>
                    <a:pt x="2801" y="1909"/>
                    <a:pt x="2812" y="1911"/>
                    <a:pt x="2818" y="1906"/>
                  </a:cubicBezTo>
                  <a:cubicBezTo>
                    <a:pt x="2823" y="1906"/>
                    <a:pt x="2823" y="1911"/>
                    <a:pt x="2826" y="1911"/>
                  </a:cubicBezTo>
                  <a:cubicBezTo>
                    <a:pt x="2823" y="1917"/>
                    <a:pt x="2815" y="1920"/>
                    <a:pt x="2809" y="1923"/>
                  </a:cubicBezTo>
                  <a:close/>
                  <a:moveTo>
                    <a:pt x="2795" y="1931"/>
                  </a:moveTo>
                  <a:cubicBezTo>
                    <a:pt x="2801" y="1928"/>
                    <a:pt x="2809" y="1928"/>
                    <a:pt x="2815" y="1931"/>
                  </a:cubicBezTo>
                  <a:cubicBezTo>
                    <a:pt x="2815" y="1934"/>
                    <a:pt x="2809" y="1937"/>
                    <a:pt x="2806" y="1937"/>
                  </a:cubicBezTo>
                  <a:cubicBezTo>
                    <a:pt x="2798" y="1937"/>
                    <a:pt x="2801" y="1931"/>
                    <a:pt x="2795" y="1931"/>
                  </a:cubicBezTo>
                  <a:close/>
                  <a:moveTo>
                    <a:pt x="2806" y="1988"/>
                  </a:moveTo>
                  <a:cubicBezTo>
                    <a:pt x="2806" y="1990"/>
                    <a:pt x="2798" y="1990"/>
                    <a:pt x="2795" y="1988"/>
                  </a:cubicBezTo>
                  <a:cubicBezTo>
                    <a:pt x="2795" y="1982"/>
                    <a:pt x="2804" y="1985"/>
                    <a:pt x="2806" y="1988"/>
                  </a:cubicBezTo>
                  <a:close/>
                  <a:moveTo>
                    <a:pt x="2795" y="1824"/>
                  </a:moveTo>
                  <a:cubicBezTo>
                    <a:pt x="2795" y="1818"/>
                    <a:pt x="2806" y="1827"/>
                    <a:pt x="2795" y="1824"/>
                  </a:cubicBezTo>
                  <a:close/>
                  <a:moveTo>
                    <a:pt x="2812" y="1954"/>
                  </a:moveTo>
                  <a:cubicBezTo>
                    <a:pt x="2815" y="1954"/>
                    <a:pt x="2809" y="1957"/>
                    <a:pt x="2806" y="1957"/>
                  </a:cubicBezTo>
                  <a:cubicBezTo>
                    <a:pt x="2804" y="1957"/>
                    <a:pt x="2812" y="1954"/>
                    <a:pt x="2812" y="1954"/>
                  </a:cubicBezTo>
                  <a:close/>
                  <a:moveTo>
                    <a:pt x="2804" y="2041"/>
                  </a:moveTo>
                  <a:cubicBezTo>
                    <a:pt x="2806" y="2041"/>
                    <a:pt x="2812" y="2047"/>
                    <a:pt x="2809" y="2047"/>
                  </a:cubicBezTo>
                  <a:cubicBezTo>
                    <a:pt x="2804" y="2044"/>
                    <a:pt x="2801" y="2041"/>
                    <a:pt x="2804" y="2041"/>
                  </a:cubicBezTo>
                  <a:close/>
                  <a:moveTo>
                    <a:pt x="2806" y="2027"/>
                  </a:moveTo>
                  <a:cubicBezTo>
                    <a:pt x="2804" y="2024"/>
                    <a:pt x="2806" y="2021"/>
                    <a:pt x="2809" y="2019"/>
                  </a:cubicBezTo>
                  <a:lnTo>
                    <a:pt x="2820" y="2019"/>
                  </a:lnTo>
                  <a:cubicBezTo>
                    <a:pt x="2815" y="2024"/>
                    <a:pt x="2815" y="2033"/>
                    <a:pt x="2806" y="2027"/>
                  </a:cubicBezTo>
                  <a:close/>
                  <a:moveTo>
                    <a:pt x="2829" y="1957"/>
                  </a:moveTo>
                  <a:cubicBezTo>
                    <a:pt x="2823" y="1957"/>
                    <a:pt x="2820" y="1951"/>
                    <a:pt x="2823" y="1948"/>
                  </a:cubicBezTo>
                  <a:cubicBezTo>
                    <a:pt x="2820" y="1948"/>
                    <a:pt x="2820" y="1951"/>
                    <a:pt x="2815" y="1948"/>
                  </a:cubicBezTo>
                  <a:cubicBezTo>
                    <a:pt x="2812" y="1945"/>
                    <a:pt x="2815" y="1937"/>
                    <a:pt x="2820" y="1940"/>
                  </a:cubicBezTo>
                  <a:cubicBezTo>
                    <a:pt x="2826" y="1943"/>
                    <a:pt x="2823" y="1951"/>
                    <a:pt x="2832" y="1951"/>
                  </a:cubicBezTo>
                  <a:cubicBezTo>
                    <a:pt x="2832" y="1951"/>
                    <a:pt x="2832" y="1954"/>
                    <a:pt x="2829" y="1957"/>
                  </a:cubicBezTo>
                  <a:close/>
                  <a:moveTo>
                    <a:pt x="2843" y="1945"/>
                  </a:moveTo>
                  <a:cubicBezTo>
                    <a:pt x="2840" y="1945"/>
                    <a:pt x="2840" y="1943"/>
                    <a:pt x="2837" y="1943"/>
                  </a:cubicBezTo>
                  <a:lnTo>
                    <a:pt x="2840" y="1940"/>
                  </a:lnTo>
                  <a:cubicBezTo>
                    <a:pt x="2843" y="1940"/>
                    <a:pt x="2843" y="1940"/>
                    <a:pt x="2845" y="1942"/>
                  </a:cubicBezTo>
                  <a:cubicBezTo>
                    <a:pt x="2845" y="1943"/>
                    <a:pt x="2844" y="1944"/>
                    <a:pt x="2843" y="1945"/>
                  </a:cubicBezTo>
                  <a:close/>
                  <a:moveTo>
                    <a:pt x="2846" y="1943"/>
                  </a:moveTo>
                  <a:cubicBezTo>
                    <a:pt x="2846" y="1941"/>
                    <a:pt x="2846" y="1941"/>
                    <a:pt x="2845" y="1942"/>
                  </a:cubicBezTo>
                  <a:cubicBezTo>
                    <a:pt x="2846" y="1942"/>
                    <a:pt x="2846" y="1942"/>
                    <a:pt x="2846" y="1943"/>
                  </a:cubicBezTo>
                  <a:close/>
                  <a:moveTo>
                    <a:pt x="2820" y="1866"/>
                  </a:moveTo>
                  <a:lnTo>
                    <a:pt x="2823" y="1864"/>
                  </a:lnTo>
                  <a:lnTo>
                    <a:pt x="2826" y="1864"/>
                  </a:lnTo>
                  <a:lnTo>
                    <a:pt x="2826" y="1861"/>
                  </a:lnTo>
                  <a:cubicBezTo>
                    <a:pt x="2843" y="1864"/>
                    <a:pt x="2851" y="1872"/>
                    <a:pt x="2851" y="1878"/>
                  </a:cubicBezTo>
                  <a:cubicBezTo>
                    <a:pt x="2849" y="1897"/>
                    <a:pt x="2806" y="1878"/>
                    <a:pt x="2820" y="1866"/>
                  </a:cubicBezTo>
                  <a:close/>
                  <a:moveTo>
                    <a:pt x="2860" y="1816"/>
                  </a:moveTo>
                  <a:cubicBezTo>
                    <a:pt x="2857" y="1816"/>
                    <a:pt x="2863" y="1813"/>
                    <a:pt x="2860" y="1816"/>
                  </a:cubicBezTo>
                  <a:close/>
                  <a:moveTo>
                    <a:pt x="2854" y="1720"/>
                  </a:moveTo>
                  <a:cubicBezTo>
                    <a:pt x="2854" y="1717"/>
                    <a:pt x="2854" y="1714"/>
                    <a:pt x="2857" y="1711"/>
                  </a:cubicBezTo>
                  <a:cubicBezTo>
                    <a:pt x="2858" y="1711"/>
                    <a:pt x="2859" y="1711"/>
                    <a:pt x="2859" y="1712"/>
                  </a:cubicBezTo>
                  <a:cubicBezTo>
                    <a:pt x="2861" y="1713"/>
                    <a:pt x="2864" y="1714"/>
                    <a:pt x="2866" y="1714"/>
                  </a:cubicBezTo>
                  <a:cubicBezTo>
                    <a:pt x="2866" y="1720"/>
                    <a:pt x="2860" y="1722"/>
                    <a:pt x="2854" y="1720"/>
                  </a:cubicBezTo>
                  <a:close/>
                  <a:moveTo>
                    <a:pt x="2863" y="1652"/>
                  </a:moveTo>
                  <a:lnTo>
                    <a:pt x="2863" y="1643"/>
                  </a:lnTo>
                  <a:cubicBezTo>
                    <a:pt x="2866" y="1643"/>
                    <a:pt x="2868" y="1643"/>
                    <a:pt x="2871" y="1646"/>
                  </a:cubicBezTo>
                  <a:cubicBezTo>
                    <a:pt x="2871" y="1649"/>
                    <a:pt x="2868" y="1655"/>
                    <a:pt x="2863" y="1652"/>
                  </a:cubicBezTo>
                  <a:close/>
                  <a:moveTo>
                    <a:pt x="2868" y="1553"/>
                  </a:moveTo>
                  <a:cubicBezTo>
                    <a:pt x="2874" y="1550"/>
                    <a:pt x="2863" y="1562"/>
                    <a:pt x="2868" y="1553"/>
                  </a:cubicBezTo>
                  <a:close/>
                  <a:moveTo>
                    <a:pt x="2880" y="1759"/>
                  </a:moveTo>
                  <a:cubicBezTo>
                    <a:pt x="2874" y="1754"/>
                    <a:pt x="2871" y="1748"/>
                    <a:pt x="2874" y="1739"/>
                  </a:cubicBezTo>
                  <a:cubicBezTo>
                    <a:pt x="2883" y="1742"/>
                    <a:pt x="2883" y="1754"/>
                    <a:pt x="2880" y="1759"/>
                  </a:cubicBezTo>
                  <a:close/>
                  <a:moveTo>
                    <a:pt x="2888" y="1334"/>
                  </a:moveTo>
                  <a:cubicBezTo>
                    <a:pt x="2899" y="1345"/>
                    <a:pt x="2874" y="1360"/>
                    <a:pt x="2888" y="1334"/>
                  </a:cubicBezTo>
                  <a:close/>
                  <a:moveTo>
                    <a:pt x="2885" y="1455"/>
                  </a:moveTo>
                  <a:cubicBezTo>
                    <a:pt x="2868" y="1439"/>
                    <a:pt x="2908" y="1444"/>
                    <a:pt x="2885" y="1455"/>
                  </a:cubicBezTo>
                  <a:close/>
                  <a:moveTo>
                    <a:pt x="2885" y="1615"/>
                  </a:moveTo>
                  <a:cubicBezTo>
                    <a:pt x="2888" y="1615"/>
                    <a:pt x="2891" y="1621"/>
                    <a:pt x="2888" y="1618"/>
                  </a:cubicBezTo>
                  <a:cubicBezTo>
                    <a:pt x="2885" y="1615"/>
                    <a:pt x="2883" y="1615"/>
                    <a:pt x="2885" y="1615"/>
                  </a:cubicBezTo>
                  <a:close/>
                  <a:moveTo>
                    <a:pt x="2891" y="1624"/>
                  </a:moveTo>
                  <a:cubicBezTo>
                    <a:pt x="2891" y="1621"/>
                    <a:pt x="2897" y="1621"/>
                    <a:pt x="2897" y="1621"/>
                  </a:cubicBezTo>
                  <a:cubicBezTo>
                    <a:pt x="2897" y="1621"/>
                    <a:pt x="2897" y="1624"/>
                    <a:pt x="2899" y="1624"/>
                  </a:cubicBezTo>
                  <a:lnTo>
                    <a:pt x="2891" y="1624"/>
                  </a:lnTo>
                  <a:close/>
                  <a:moveTo>
                    <a:pt x="2902" y="1612"/>
                  </a:moveTo>
                  <a:cubicBezTo>
                    <a:pt x="2894" y="1612"/>
                    <a:pt x="2891" y="1607"/>
                    <a:pt x="2883" y="1604"/>
                  </a:cubicBezTo>
                  <a:cubicBezTo>
                    <a:pt x="2877" y="1587"/>
                    <a:pt x="2916" y="1601"/>
                    <a:pt x="2902" y="1612"/>
                  </a:cubicBezTo>
                  <a:close/>
                  <a:moveTo>
                    <a:pt x="2891" y="1528"/>
                  </a:moveTo>
                  <a:cubicBezTo>
                    <a:pt x="2894" y="1522"/>
                    <a:pt x="2905" y="1525"/>
                    <a:pt x="2905" y="1519"/>
                  </a:cubicBezTo>
                  <a:cubicBezTo>
                    <a:pt x="2919" y="1528"/>
                    <a:pt x="2899" y="1536"/>
                    <a:pt x="2891" y="1528"/>
                  </a:cubicBezTo>
                  <a:close/>
                  <a:moveTo>
                    <a:pt x="2914" y="1604"/>
                  </a:moveTo>
                  <a:cubicBezTo>
                    <a:pt x="2930" y="1621"/>
                    <a:pt x="2894" y="1607"/>
                    <a:pt x="2914" y="1604"/>
                  </a:cubicBezTo>
                  <a:close/>
                  <a:moveTo>
                    <a:pt x="2911" y="1463"/>
                  </a:moveTo>
                  <a:cubicBezTo>
                    <a:pt x="2899" y="1447"/>
                    <a:pt x="2936" y="1447"/>
                    <a:pt x="2911" y="1463"/>
                  </a:cubicBezTo>
                  <a:close/>
                  <a:moveTo>
                    <a:pt x="2916" y="1416"/>
                  </a:moveTo>
                  <a:cubicBezTo>
                    <a:pt x="2914" y="1430"/>
                    <a:pt x="2902" y="1424"/>
                    <a:pt x="2902" y="1441"/>
                  </a:cubicBezTo>
                  <a:cubicBezTo>
                    <a:pt x="2888" y="1436"/>
                    <a:pt x="2899" y="1416"/>
                    <a:pt x="2905" y="1402"/>
                  </a:cubicBezTo>
                  <a:cubicBezTo>
                    <a:pt x="2908" y="1408"/>
                    <a:pt x="2905" y="1416"/>
                    <a:pt x="2916" y="1416"/>
                  </a:cubicBezTo>
                  <a:close/>
                  <a:moveTo>
                    <a:pt x="2899" y="1317"/>
                  </a:moveTo>
                  <a:cubicBezTo>
                    <a:pt x="2894" y="1309"/>
                    <a:pt x="2896" y="1306"/>
                    <a:pt x="2900" y="1305"/>
                  </a:cubicBezTo>
                  <a:cubicBezTo>
                    <a:pt x="2897" y="1300"/>
                    <a:pt x="2900" y="1291"/>
                    <a:pt x="2894" y="1289"/>
                  </a:cubicBezTo>
                  <a:cubicBezTo>
                    <a:pt x="2902" y="1276"/>
                    <a:pt x="2913" y="1296"/>
                    <a:pt x="2906" y="1307"/>
                  </a:cubicBezTo>
                  <a:cubicBezTo>
                    <a:pt x="2908" y="1310"/>
                    <a:pt x="2907" y="1313"/>
                    <a:pt x="2899" y="1317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8" name="Freeform 5"/>
            <p:cNvSpPr>
              <a:spLocks noChangeArrowheads="1"/>
            </p:cNvSpPr>
            <p:nvPr/>
          </p:nvSpPr>
          <p:spPr bwMode="auto">
            <a:xfrm>
              <a:off x="3633788" y="2085975"/>
              <a:ext cx="987425" cy="990600"/>
            </a:xfrm>
            <a:custGeom>
              <a:avLst/>
              <a:gdLst>
                <a:gd name="T0" fmla="*/ 2705 w 2743"/>
                <a:gd name="T1" fmla="*/ 1063 h 2753"/>
                <a:gd name="T2" fmla="*/ 2609 w 2743"/>
                <a:gd name="T3" fmla="*/ 784 h 2753"/>
                <a:gd name="T4" fmla="*/ 2457 w 2743"/>
                <a:gd name="T5" fmla="*/ 533 h 2753"/>
                <a:gd name="T6" fmla="*/ 2245 w 2743"/>
                <a:gd name="T7" fmla="*/ 310 h 2753"/>
                <a:gd name="T8" fmla="*/ 1974 w 2743"/>
                <a:gd name="T9" fmla="*/ 141 h 2753"/>
                <a:gd name="T10" fmla="*/ 1689 w 2743"/>
                <a:gd name="T11" fmla="*/ 36 h 2753"/>
                <a:gd name="T12" fmla="*/ 1393 w 2743"/>
                <a:gd name="T13" fmla="*/ 0 h 2753"/>
                <a:gd name="T14" fmla="*/ 1100 w 2743"/>
                <a:gd name="T15" fmla="*/ 25 h 2753"/>
                <a:gd name="T16" fmla="*/ 818 w 2743"/>
                <a:gd name="T17" fmla="*/ 115 h 2753"/>
                <a:gd name="T18" fmla="*/ 564 w 2743"/>
                <a:gd name="T19" fmla="*/ 262 h 2753"/>
                <a:gd name="T20" fmla="*/ 339 w 2743"/>
                <a:gd name="T21" fmla="*/ 468 h 2753"/>
                <a:gd name="T22" fmla="*/ 161 w 2743"/>
                <a:gd name="T23" fmla="*/ 727 h 2753"/>
                <a:gd name="T24" fmla="*/ 45 w 2743"/>
                <a:gd name="T25" fmla="*/ 1015 h 2753"/>
                <a:gd name="T26" fmla="*/ 0 w 2743"/>
                <a:gd name="T27" fmla="*/ 1314 h 2753"/>
                <a:gd name="T28" fmla="*/ 25 w 2743"/>
                <a:gd name="T29" fmla="*/ 1604 h 2753"/>
                <a:gd name="T30" fmla="*/ 104 w 2743"/>
                <a:gd name="T31" fmla="*/ 1889 h 2753"/>
                <a:gd name="T32" fmla="*/ 248 w 2743"/>
                <a:gd name="T33" fmla="*/ 2154 h 2753"/>
                <a:gd name="T34" fmla="*/ 449 w 2743"/>
                <a:gd name="T35" fmla="*/ 2385 h 2753"/>
                <a:gd name="T36" fmla="*/ 708 w 2743"/>
                <a:gd name="T37" fmla="*/ 2571 h 2753"/>
                <a:gd name="T38" fmla="*/ 987 w 2743"/>
                <a:gd name="T39" fmla="*/ 2693 h 2753"/>
                <a:gd name="T40" fmla="*/ 1284 w 2743"/>
                <a:gd name="T41" fmla="*/ 2749 h 2753"/>
                <a:gd name="T42" fmla="*/ 1585 w 2743"/>
                <a:gd name="T43" fmla="*/ 2735 h 2753"/>
                <a:gd name="T44" fmla="*/ 1867 w 2743"/>
                <a:gd name="T45" fmla="*/ 2659 h 2753"/>
                <a:gd name="T46" fmla="*/ 2132 w 2743"/>
                <a:gd name="T47" fmla="*/ 2523 h 2753"/>
                <a:gd name="T48" fmla="*/ 2366 w 2743"/>
                <a:gd name="T49" fmla="*/ 2329 h 2753"/>
                <a:gd name="T50" fmla="*/ 2555 w 2743"/>
                <a:gd name="T51" fmla="*/ 2078 h 2753"/>
                <a:gd name="T52" fmla="*/ 2679 w 2743"/>
                <a:gd name="T53" fmla="*/ 1796 h 2753"/>
                <a:gd name="T54" fmla="*/ 2736 w 2743"/>
                <a:gd name="T55" fmla="*/ 1499 h 2753"/>
                <a:gd name="T56" fmla="*/ 2694 w 2743"/>
                <a:gd name="T57" fmla="*/ 1482 h 2753"/>
                <a:gd name="T58" fmla="*/ 2637 w 2743"/>
                <a:gd name="T59" fmla="*/ 1762 h 2753"/>
                <a:gd name="T60" fmla="*/ 2516 w 2743"/>
                <a:gd name="T61" fmla="*/ 2038 h 2753"/>
                <a:gd name="T62" fmla="*/ 2332 w 2743"/>
                <a:gd name="T63" fmla="*/ 2281 h 2753"/>
                <a:gd name="T64" fmla="*/ 2104 w 2743"/>
                <a:gd name="T65" fmla="*/ 2470 h 2753"/>
                <a:gd name="T66" fmla="*/ 1847 w 2743"/>
                <a:gd name="T67" fmla="*/ 2605 h 2753"/>
                <a:gd name="T68" fmla="*/ 1571 w 2743"/>
                <a:gd name="T69" fmla="*/ 2687 h 2753"/>
                <a:gd name="T70" fmla="*/ 1292 w 2743"/>
                <a:gd name="T71" fmla="*/ 2698 h 2753"/>
                <a:gd name="T72" fmla="*/ 1013 w 2743"/>
                <a:gd name="T73" fmla="*/ 2645 h 2753"/>
                <a:gd name="T74" fmla="*/ 736 w 2743"/>
                <a:gd name="T75" fmla="*/ 2529 h 2753"/>
                <a:gd name="T76" fmla="*/ 485 w 2743"/>
                <a:gd name="T77" fmla="*/ 2354 h 2753"/>
                <a:gd name="T78" fmla="*/ 291 w 2743"/>
                <a:gd name="T79" fmla="*/ 2128 h 2753"/>
                <a:gd name="T80" fmla="*/ 152 w 2743"/>
                <a:gd name="T81" fmla="*/ 1875 h 2753"/>
                <a:gd name="T82" fmla="*/ 56 w 2743"/>
                <a:gd name="T83" fmla="*/ 1598 h 2753"/>
                <a:gd name="T84" fmla="*/ 37 w 2743"/>
                <a:gd name="T85" fmla="*/ 1314 h 2753"/>
                <a:gd name="T86" fmla="*/ 79 w 2743"/>
                <a:gd name="T87" fmla="*/ 1026 h 2753"/>
                <a:gd name="T88" fmla="*/ 189 w 2743"/>
                <a:gd name="T89" fmla="*/ 753 h 2753"/>
                <a:gd name="T90" fmla="*/ 361 w 2743"/>
                <a:gd name="T91" fmla="*/ 502 h 2753"/>
                <a:gd name="T92" fmla="*/ 578 w 2743"/>
                <a:gd name="T93" fmla="*/ 296 h 2753"/>
                <a:gd name="T94" fmla="*/ 832 w 2743"/>
                <a:gd name="T95" fmla="*/ 155 h 2753"/>
                <a:gd name="T96" fmla="*/ 1106 w 2743"/>
                <a:gd name="T97" fmla="*/ 62 h 2753"/>
                <a:gd name="T98" fmla="*/ 1390 w 2743"/>
                <a:gd name="T99" fmla="*/ 36 h 2753"/>
                <a:gd name="T100" fmla="*/ 1675 w 2743"/>
                <a:gd name="T101" fmla="*/ 67 h 2753"/>
                <a:gd name="T102" fmla="*/ 1954 w 2743"/>
                <a:gd name="T103" fmla="*/ 166 h 2753"/>
                <a:gd name="T104" fmla="*/ 2217 w 2743"/>
                <a:gd name="T105" fmla="*/ 333 h 2753"/>
                <a:gd name="T106" fmla="*/ 2426 w 2743"/>
                <a:gd name="T107" fmla="*/ 550 h 2753"/>
                <a:gd name="T108" fmla="*/ 2572 w 2743"/>
                <a:gd name="T109" fmla="*/ 801 h 2753"/>
                <a:gd name="T110" fmla="*/ 2668 w 2743"/>
                <a:gd name="T111" fmla="*/ 1072 h 2753"/>
                <a:gd name="T112" fmla="*/ 2699 w 2743"/>
                <a:gd name="T113" fmla="*/ 1351 h 2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43" h="2753">
                  <a:moveTo>
                    <a:pt x="2739" y="1325"/>
                  </a:moveTo>
                  <a:cubicBezTo>
                    <a:pt x="2739" y="1314"/>
                    <a:pt x="2736" y="1303"/>
                    <a:pt x="2736" y="1292"/>
                  </a:cubicBezTo>
                  <a:cubicBezTo>
                    <a:pt x="2736" y="1280"/>
                    <a:pt x="2736" y="1269"/>
                    <a:pt x="2736" y="1258"/>
                  </a:cubicBezTo>
                  <a:cubicBezTo>
                    <a:pt x="2736" y="1246"/>
                    <a:pt x="2733" y="1235"/>
                    <a:pt x="2733" y="1224"/>
                  </a:cubicBezTo>
                  <a:cubicBezTo>
                    <a:pt x="2733" y="1213"/>
                    <a:pt x="2727" y="1201"/>
                    <a:pt x="2727" y="1193"/>
                  </a:cubicBezTo>
                  <a:cubicBezTo>
                    <a:pt x="2727" y="1184"/>
                    <a:pt x="2725" y="1170"/>
                    <a:pt x="2722" y="1159"/>
                  </a:cubicBezTo>
                  <a:cubicBezTo>
                    <a:pt x="2719" y="1148"/>
                    <a:pt x="2719" y="1136"/>
                    <a:pt x="2716" y="1125"/>
                  </a:cubicBezTo>
                  <a:cubicBezTo>
                    <a:pt x="2713" y="1114"/>
                    <a:pt x="2711" y="1102"/>
                    <a:pt x="2711" y="1094"/>
                  </a:cubicBezTo>
                  <a:cubicBezTo>
                    <a:pt x="2711" y="1085"/>
                    <a:pt x="2708" y="1071"/>
                    <a:pt x="2705" y="1063"/>
                  </a:cubicBezTo>
                  <a:cubicBezTo>
                    <a:pt x="2702" y="1054"/>
                    <a:pt x="2699" y="1040"/>
                    <a:pt x="2696" y="1032"/>
                  </a:cubicBezTo>
                  <a:cubicBezTo>
                    <a:pt x="2694" y="1023"/>
                    <a:pt x="2694" y="1009"/>
                    <a:pt x="2691" y="1001"/>
                  </a:cubicBezTo>
                  <a:cubicBezTo>
                    <a:pt x="2688" y="992"/>
                    <a:pt x="2682" y="981"/>
                    <a:pt x="2679" y="970"/>
                  </a:cubicBezTo>
                  <a:cubicBezTo>
                    <a:pt x="2677" y="959"/>
                    <a:pt x="2677" y="947"/>
                    <a:pt x="2671" y="939"/>
                  </a:cubicBezTo>
                  <a:cubicBezTo>
                    <a:pt x="2665" y="931"/>
                    <a:pt x="2663" y="919"/>
                    <a:pt x="2657" y="908"/>
                  </a:cubicBezTo>
                  <a:cubicBezTo>
                    <a:pt x="2651" y="897"/>
                    <a:pt x="2651" y="885"/>
                    <a:pt x="2648" y="877"/>
                  </a:cubicBezTo>
                  <a:cubicBezTo>
                    <a:pt x="2646" y="868"/>
                    <a:pt x="2640" y="857"/>
                    <a:pt x="2634" y="846"/>
                  </a:cubicBezTo>
                  <a:cubicBezTo>
                    <a:pt x="2629" y="835"/>
                    <a:pt x="2626" y="826"/>
                    <a:pt x="2623" y="815"/>
                  </a:cubicBezTo>
                  <a:cubicBezTo>
                    <a:pt x="2620" y="804"/>
                    <a:pt x="2612" y="795"/>
                    <a:pt x="2609" y="784"/>
                  </a:cubicBezTo>
                  <a:cubicBezTo>
                    <a:pt x="2606" y="773"/>
                    <a:pt x="2598" y="764"/>
                    <a:pt x="2595" y="756"/>
                  </a:cubicBezTo>
                  <a:cubicBezTo>
                    <a:pt x="2592" y="747"/>
                    <a:pt x="2584" y="735"/>
                    <a:pt x="2581" y="727"/>
                  </a:cubicBezTo>
                  <a:cubicBezTo>
                    <a:pt x="2578" y="718"/>
                    <a:pt x="2570" y="707"/>
                    <a:pt x="2564" y="699"/>
                  </a:cubicBezTo>
                  <a:cubicBezTo>
                    <a:pt x="2559" y="690"/>
                    <a:pt x="2553" y="679"/>
                    <a:pt x="2547" y="671"/>
                  </a:cubicBezTo>
                  <a:cubicBezTo>
                    <a:pt x="2541" y="662"/>
                    <a:pt x="2536" y="651"/>
                    <a:pt x="2530" y="643"/>
                  </a:cubicBezTo>
                  <a:cubicBezTo>
                    <a:pt x="2524" y="634"/>
                    <a:pt x="2519" y="623"/>
                    <a:pt x="2513" y="615"/>
                  </a:cubicBezTo>
                  <a:cubicBezTo>
                    <a:pt x="2507" y="606"/>
                    <a:pt x="2499" y="597"/>
                    <a:pt x="2493" y="586"/>
                  </a:cubicBezTo>
                  <a:cubicBezTo>
                    <a:pt x="2488" y="574"/>
                    <a:pt x="2480" y="569"/>
                    <a:pt x="2474" y="561"/>
                  </a:cubicBezTo>
                  <a:cubicBezTo>
                    <a:pt x="2469" y="553"/>
                    <a:pt x="2463" y="541"/>
                    <a:pt x="2457" y="533"/>
                  </a:cubicBezTo>
                  <a:cubicBezTo>
                    <a:pt x="2452" y="524"/>
                    <a:pt x="2440" y="515"/>
                    <a:pt x="2434" y="507"/>
                  </a:cubicBezTo>
                  <a:cubicBezTo>
                    <a:pt x="2428" y="498"/>
                    <a:pt x="2423" y="487"/>
                    <a:pt x="2414" y="479"/>
                  </a:cubicBezTo>
                  <a:cubicBezTo>
                    <a:pt x="2406" y="470"/>
                    <a:pt x="2401" y="462"/>
                    <a:pt x="2392" y="454"/>
                  </a:cubicBezTo>
                  <a:cubicBezTo>
                    <a:pt x="2384" y="445"/>
                    <a:pt x="2375" y="439"/>
                    <a:pt x="2366" y="431"/>
                  </a:cubicBezTo>
                  <a:cubicBezTo>
                    <a:pt x="2358" y="422"/>
                    <a:pt x="2353" y="414"/>
                    <a:pt x="2344" y="406"/>
                  </a:cubicBezTo>
                  <a:cubicBezTo>
                    <a:pt x="2336" y="397"/>
                    <a:pt x="2330" y="388"/>
                    <a:pt x="2321" y="380"/>
                  </a:cubicBezTo>
                  <a:cubicBezTo>
                    <a:pt x="2313" y="371"/>
                    <a:pt x="2305" y="366"/>
                    <a:pt x="2296" y="358"/>
                  </a:cubicBezTo>
                  <a:cubicBezTo>
                    <a:pt x="2288" y="349"/>
                    <a:pt x="2279" y="343"/>
                    <a:pt x="2270" y="335"/>
                  </a:cubicBezTo>
                  <a:cubicBezTo>
                    <a:pt x="2262" y="326"/>
                    <a:pt x="2254" y="318"/>
                    <a:pt x="2245" y="310"/>
                  </a:cubicBezTo>
                  <a:cubicBezTo>
                    <a:pt x="2237" y="302"/>
                    <a:pt x="2229" y="295"/>
                    <a:pt x="2220" y="287"/>
                  </a:cubicBezTo>
                  <a:cubicBezTo>
                    <a:pt x="2212" y="278"/>
                    <a:pt x="2200" y="276"/>
                    <a:pt x="2191" y="268"/>
                  </a:cubicBezTo>
                  <a:cubicBezTo>
                    <a:pt x="2183" y="259"/>
                    <a:pt x="2172" y="253"/>
                    <a:pt x="2163" y="245"/>
                  </a:cubicBezTo>
                  <a:cubicBezTo>
                    <a:pt x="2155" y="236"/>
                    <a:pt x="2144" y="231"/>
                    <a:pt x="2135" y="223"/>
                  </a:cubicBezTo>
                  <a:cubicBezTo>
                    <a:pt x="2127" y="214"/>
                    <a:pt x="2107" y="211"/>
                    <a:pt x="2098" y="206"/>
                  </a:cubicBezTo>
                  <a:cubicBezTo>
                    <a:pt x="2090" y="200"/>
                    <a:pt x="2076" y="197"/>
                    <a:pt x="2067" y="189"/>
                  </a:cubicBezTo>
                  <a:cubicBezTo>
                    <a:pt x="2059" y="180"/>
                    <a:pt x="2047" y="175"/>
                    <a:pt x="2039" y="169"/>
                  </a:cubicBezTo>
                  <a:cubicBezTo>
                    <a:pt x="2031" y="163"/>
                    <a:pt x="2017" y="160"/>
                    <a:pt x="2008" y="155"/>
                  </a:cubicBezTo>
                  <a:cubicBezTo>
                    <a:pt x="2000" y="149"/>
                    <a:pt x="1985" y="144"/>
                    <a:pt x="1974" y="141"/>
                  </a:cubicBezTo>
                  <a:cubicBezTo>
                    <a:pt x="1963" y="138"/>
                    <a:pt x="1954" y="132"/>
                    <a:pt x="1943" y="127"/>
                  </a:cubicBezTo>
                  <a:cubicBezTo>
                    <a:pt x="1932" y="121"/>
                    <a:pt x="1923" y="118"/>
                    <a:pt x="1912" y="113"/>
                  </a:cubicBezTo>
                  <a:cubicBezTo>
                    <a:pt x="1901" y="107"/>
                    <a:pt x="1892" y="100"/>
                    <a:pt x="1881" y="98"/>
                  </a:cubicBezTo>
                  <a:cubicBezTo>
                    <a:pt x="1870" y="95"/>
                    <a:pt x="1861" y="90"/>
                    <a:pt x="1850" y="87"/>
                  </a:cubicBezTo>
                  <a:cubicBezTo>
                    <a:pt x="1839" y="84"/>
                    <a:pt x="1830" y="79"/>
                    <a:pt x="1819" y="76"/>
                  </a:cubicBezTo>
                  <a:cubicBezTo>
                    <a:pt x="1808" y="73"/>
                    <a:pt x="1796" y="67"/>
                    <a:pt x="1785" y="65"/>
                  </a:cubicBezTo>
                  <a:cubicBezTo>
                    <a:pt x="1774" y="62"/>
                    <a:pt x="1765" y="56"/>
                    <a:pt x="1754" y="53"/>
                  </a:cubicBezTo>
                  <a:cubicBezTo>
                    <a:pt x="1743" y="50"/>
                    <a:pt x="1731" y="50"/>
                    <a:pt x="1720" y="48"/>
                  </a:cubicBezTo>
                  <a:cubicBezTo>
                    <a:pt x="1709" y="45"/>
                    <a:pt x="1700" y="36"/>
                    <a:pt x="1689" y="36"/>
                  </a:cubicBezTo>
                  <a:cubicBezTo>
                    <a:pt x="1678" y="36"/>
                    <a:pt x="1667" y="31"/>
                    <a:pt x="1655" y="31"/>
                  </a:cubicBezTo>
                  <a:cubicBezTo>
                    <a:pt x="1644" y="31"/>
                    <a:pt x="1633" y="25"/>
                    <a:pt x="1621" y="22"/>
                  </a:cubicBezTo>
                  <a:cubicBezTo>
                    <a:pt x="1610" y="19"/>
                    <a:pt x="1600" y="21"/>
                    <a:pt x="1588" y="19"/>
                  </a:cubicBezTo>
                  <a:cubicBezTo>
                    <a:pt x="1577" y="16"/>
                    <a:pt x="1566" y="14"/>
                    <a:pt x="1554" y="11"/>
                  </a:cubicBezTo>
                  <a:cubicBezTo>
                    <a:pt x="1543" y="8"/>
                    <a:pt x="1537" y="8"/>
                    <a:pt x="1525" y="8"/>
                  </a:cubicBezTo>
                  <a:cubicBezTo>
                    <a:pt x="1514" y="8"/>
                    <a:pt x="1504" y="5"/>
                    <a:pt x="1492" y="5"/>
                  </a:cubicBezTo>
                  <a:cubicBezTo>
                    <a:pt x="1481" y="5"/>
                    <a:pt x="1470" y="5"/>
                    <a:pt x="1458" y="3"/>
                  </a:cubicBezTo>
                  <a:cubicBezTo>
                    <a:pt x="1447" y="0"/>
                    <a:pt x="1439" y="5"/>
                    <a:pt x="1427" y="5"/>
                  </a:cubicBezTo>
                  <a:cubicBezTo>
                    <a:pt x="1416" y="5"/>
                    <a:pt x="1404" y="0"/>
                    <a:pt x="1393" y="0"/>
                  </a:cubicBezTo>
                  <a:cubicBezTo>
                    <a:pt x="1382" y="0"/>
                    <a:pt x="1370" y="3"/>
                    <a:pt x="1360" y="3"/>
                  </a:cubicBezTo>
                  <a:cubicBezTo>
                    <a:pt x="1349" y="3"/>
                    <a:pt x="1337" y="0"/>
                    <a:pt x="1326" y="0"/>
                  </a:cubicBezTo>
                  <a:cubicBezTo>
                    <a:pt x="1315" y="0"/>
                    <a:pt x="1303" y="3"/>
                    <a:pt x="1292" y="3"/>
                  </a:cubicBezTo>
                  <a:cubicBezTo>
                    <a:pt x="1280" y="3"/>
                    <a:pt x="1269" y="2"/>
                    <a:pt x="1258" y="5"/>
                  </a:cubicBezTo>
                  <a:cubicBezTo>
                    <a:pt x="1246" y="7"/>
                    <a:pt x="1236" y="5"/>
                    <a:pt x="1225" y="5"/>
                  </a:cubicBezTo>
                  <a:cubicBezTo>
                    <a:pt x="1213" y="5"/>
                    <a:pt x="1201" y="11"/>
                    <a:pt x="1193" y="11"/>
                  </a:cubicBezTo>
                  <a:cubicBezTo>
                    <a:pt x="1184" y="11"/>
                    <a:pt x="1171" y="14"/>
                    <a:pt x="1160" y="14"/>
                  </a:cubicBezTo>
                  <a:cubicBezTo>
                    <a:pt x="1148" y="14"/>
                    <a:pt x="1137" y="14"/>
                    <a:pt x="1126" y="17"/>
                  </a:cubicBezTo>
                  <a:cubicBezTo>
                    <a:pt x="1114" y="19"/>
                    <a:pt x="1111" y="22"/>
                    <a:pt x="1100" y="25"/>
                  </a:cubicBezTo>
                  <a:cubicBezTo>
                    <a:pt x="1088" y="28"/>
                    <a:pt x="1080" y="31"/>
                    <a:pt x="1069" y="34"/>
                  </a:cubicBezTo>
                  <a:cubicBezTo>
                    <a:pt x="1057" y="36"/>
                    <a:pt x="1046" y="39"/>
                    <a:pt x="1038" y="42"/>
                  </a:cubicBezTo>
                  <a:cubicBezTo>
                    <a:pt x="1029" y="45"/>
                    <a:pt x="1015" y="45"/>
                    <a:pt x="1007" y="48"/>
                  </a:cubicBezTo>
                  <a:cubicBezTo>
                    <a:pt x="998" y="50"/>
                    <a:pt x="987" y="56"/>
                    <a:pt x="976" y="59"/>
                  </a:cubicBezTo>
                  <a:cubicBezTo>
                    <a:pt x="965" y="62"/>
                    <a:pt x="950" y="64"/>
                    <a:pt x="942" y="67"/>
                  </a:cubicBezTo>
                  <a:cubicBezTo>
                    <a:pt x="933" y="69"/>
                    <a:pt x="919" y="73"/>
                    <a:pt x="911" y="76"/>
                  </a:cubicBezTo>
                  <a:cubicBezTo>
                    <a:pt x="902" y="79"/>
                    <a:pt x="891" y="81"/>
                    <a:pt x="880" y="87"/>
                  </a:cubicBezTo>
                  <a:cubicBezTo>
                    <a:pt x="868" y="93"/>
                    <a:pt x="860" y="98"/>
                    <a:pt x="852" y="104"/>
                  </a:cubicBezTo>
                  <a:cubicBezTo>
                    <a:pt x="843" y="110"/>
                    <a:pt x="829" y="109"/>
                    <a:pt x="818" y="115"/>
                  </a:cubicBezTo>
                  <a:cubicBezTo>
                    <a:pt x="807" y="120"/>
                    <a:pt x="798" y="126"/>
                    <a:pt x="790" y="129"/>
                  </a:cubicBezTo>
                  <a:cubicBezTo>
                    <a:pt x="782" y="131"/>
                    <a:pt x="770" y="141"/>
                    <a:pt x="762" y="144"/>
                  </a:cubicBezTo>
                  <a:cubicBezTo>
                    <a:pt x="753" y="146"/>
                    <a:pt x="739" y="149"/>
                    <a:pt x="731" y="155"/>
                  </a:cubicBezTo>
                  <a:cubicBezTo>
                    <a:pt x="722" y="160"/>
                    <a:pt x="710" y="166"/>
                    <a:pt x="702" y="172"/>
                  </a:cubicBezTo>
                  <a:cubicBezTo>
                    <a:pt x="693" y="177"/>
                    <a:pt x="685" y="185"/>
                    <a:pt x="674" y="191"/>
                  </a:cubicBezTo>
                  <a:cubicBezTo>
                    <a:pt x="662" y="196"/>
                    <a:pt x="654" y="202"/>
                    <a:pt x="646" y="208"/>
                  </a:cubicBezTo>
                  <a:cubicBezTo>
                    <a:pt x="637" y="213"/>
                    <a:pt x="626" y="219"/>
                    <a:pt x="618" y="225"/>
                  </a:cubicBezTo>
                  <a:cubicBezTo>
                    <a:pt x="609" y="230"/>
                    <a:pt x="598" y="236"/>
                    <a:pt x="590" y="242"/>
                  </a:cubicBezTo>
                  <a:cubicBezTo>
                    <a:pt x="581" y="247"/>
                    <a:pt x="572" y="256"/>
                    <a:pt x="564" y="262"/>
                  </a:cubicBezTo>
                  <a:cubicBezTo>
                    <a:pt x="555" y="268"/>
                    <a:pt x="547" y="276"/>
                    <a:pt x="539" y="285"/>
                  </a:cubicBezTo>
                  <a:cubicBezTo>
                    <a:pt x="530" y="293"/>
                    <a:pt x="519" y="295"/>
                    <a:pt x="511" y="304"/>
                  </a:cubicBezTo>
                  <a:cubicBezTo>
                    <a:pt x="502" y="312"/>
                    <a:pt x="490" y="315"/>
                    <a:pt x="482" y="324"/>
                  </a:cubicBezTo>
                  <a:cubicBezTo>
                    <a:pt x="473" y="332"/>
                    <a:pt x="468" y="340"/>
                    <a:pt x="460" y="349"/>
                  </a:cubicBezTo>
                  <a:cubicBezTo>
                    <a:pt x="451" y="357"/>
                    <a:pt x="442" y="364"/>
                    <a:pt x="434" y="372"/>
                  </a:cubicBezTo>
                  <a:cubicBezTo>
                    <a:pt x="425" y="380"/>
                    <a:pt x="420" y="388"/>
                    <a:pt x="412" y="397"/>
                  </a:cubicBezTo>
                  <a:cubicBezTo>
                    <a:pt x="403" y="405"/>
                    <a:pt x="394" y="412"/>
                    <a:pt x="386" y="420"/>
                  </a:cubicBezTo>
                  <a:cubicBezTo>
                    <a:pt x="377" y="428"/>
                    <a:pt x="372" y="436"/>
                    <a:pt x="364" y="445"/>
                  </a:cubicBezTo>
                  <a:cubicBezTo>
                    <a:pt x="355" y="453"/>
                    <a:pt x="344" y="459"/>
                    <a:pt x="339" y="468"/>
                  </a:cubicBezTo>
                  <a:cubicBezTo>
                    <a:pt x="333" y="476"/>
                    <a:pt x="324" y="485"/>
                    <a:pt x="316" y="496"/>
                  </a:cubicBezTo>
                  <a:cubicBezTo>
                    <a:pt x="307" y="507"/>
                    <a:pt x="301" y="515"/>
                    <a:pt x="293" y="524"/>
                  </a:cubicBezTo>
                  <a:cubicBezTo>
                    <a:pt x="284" y="532"/>
                    <a:pt x="279" y="541"/>
                    <a:pt x="271" y="553"/>
                  </a:cubicBezTo>
                  <a:cubicBezTo>
                    <a:pt x="262" y="564"/>
                    <a:pt x="256" y="572"/>
                    <a:pt x="248" y="581"/>
                  </a:cubicBezTo>
                  <a:cubicBezTo>
                    <a:pt x="239" y="589"/>
                    <a:pt x="233" y="601"/>
                    <a:pt x="228" y="609"/>
                  </a:cubicBezTo>
                  <a:cubicBezTo>
                    <a:pt x="222" y="617"/>
                    <a:pt x="214" y="628"/>
                    <a:pt x="209" y="637"/>
                  </a:cubicBezTo>
                  <a:cubicBezTo>
                    <a:pt x="203" y="645"/>
                    <a:pt x="200" y="659"/>
                    <a:pt x="195" y="668"/>
                  </a:cubicBezTo>
                  <a:cubicBezTo>
                    <a:pt x="189" y="676"/>
                    <a:pt x="180" y="687"/>
                    <a:pt x="175" y="696"/>
                  </a:cubicBezTo>
                  <a:cubicBezTo>
                    <a:pt x="169" y="704"/>
                    <a:pt x="166" y="718"/>
                    <a:pt x="161" y="727"/>
                  </a:cubicBezTo>
                  <a:cubicBezTo>
                    <a:pt x="155" y="735"/>
                    <a:pt x="147" y="744"/>
                    <a:pt x="141" y="756"/>
                  </a:cubicBezTo>
                  <a:cubicBezTo>
                    <a:pt x="135" y="767"/>
                    <a:pt x="130" y="775"/>
                    <a:pt x="127" y="787"/>
                  </a:cubicBezTo>
                  <a:cubicBezTo>
                    <a:pt x="124" y="798"/>
                    <a:pt x="121" y="809"/>
                    <a:pt x="116" y="821"/>
                  </a:cubicBezTo>
                  <a:cubicBezTo>
                    <a:pt x="110" y="832"/>
                    <a:pt x="104" y="842"/>
                    <a:pt x="99" y="854"/>
                  </a:cubicBezTo>
                  <a:cubicBezTo>
                    <a:pt x="93" y="865"/>
                    <a:pt x="89" y="873"/>
                    <a:pt x="87" y="885"/>
                  </a:cubicBezTo>
                  <a:cubicBezTo>
                    <a:pt x="84" y="896"/>
                    <a:pt x="82" y="907"/>
                    <a:pt x="79" y="919"/>
                  </a:cubicBezTo>
                  <a:cubicBezTo>
                    <a:pt x="76" y="930"/>
                    <a:pt x="73" y="941"/>
                    <a:pt x="68" y="950"/>
                  </a:cubicBezTo>
                  <a:cubicBezTo>
                    <a:pt x="62" y="958"/>
                    <a:pt x="56" y="969"/>
                    <a:pt x="54" y="981"/>
                  </a:cubicBezTo>
                  <a:cubicBezTo>
                    <a:pt x="51" y="992"/>
                    <a:pt x="48" y="1004"/>
                    <a:pt x="45" y="1015"/>
                  </a:cubicBezTo>
                  <a:cubicBezTo>
                    <a:pt x="42" y="1026"/>
                    <a:pt x="41" y="1037"/>
                    <a:pt x="39" y="1046"/>
                  </a:cubicBezTo>
                  <a:cubicBezTo>
                    <a:pt x="36" y="1054"/>
                    <a:pt x="34" y="1069"/>
                    <a:pt x="31" y="1080"/>
                  </a:cubicBezTo>
                  <a:cubicBezTo>
                    <a:pt x="28" y="1091"/>
                    <a:pt x="31" y="1103"/>
                    <a:pt x="28" y="1114"/>
                  </a:cubicBezTo>
                  <a:cubicBezTo>
                    <a:pt x="25" y="1125"/>
                    <a:pt x="22" y="1136"/>
                    <a:pt x="22" y="1148"/>
                  </a:cubicBezTo>
                  <a:cubicBezTo>
                    <a:pt x="22" y="1159"/>
                    <a:pt x="17" y="1170"/>
                    <a:pt x="14" y="1179"/>
                  </a:cubicBezTo>
                  <a:cubicBezTo>
                    <a:pt x="11" y="1187"/>
                    <a:pt x="8" y="1201"/>
                    <a:pt x="8" y="1213"/>
                  </a:cubicBezTo>
                  <a:cubicBezTo>
                    <a:pt x="8" y="1224"/>
                    <a:pt x="8" y="1234"/>
                    <a:pt x="6" y="1246"/>
                  </a:cubicBezTo>
                  <a:cubicBezTo>
                    <a:pt x="3" y="1257"/>
                    <a:pt x="6" y="1268"/>
                    <a:pt x="3" y="1280"/>
                  </a:cubicBezTo>
                  <a:cubicBezTo>
                    <a:pt x="0" y="1291"/>
                    <a:pt x="0" y="1303"/>
                    <a:pt x="0" y="1314"/>
                  </a:cubicBezTo>
                  <a:cubicBezTo>
                    <a:pt x="0" y="1325"/>
                    <a:pt x="0" y="1337"/>
                    <a:pt x="0" y="1348"/>
                  </a:cubicBezTo>
                  <a:cubicBezTo>
                    <a:pt x="0" y="1358"/>
                    <a:pt x="0" y="1370"/>
                    <a:pt x="0" y="1381"/>
                  </a:cubicBezTo>
                  <a:cubicBezTo>
                    <a:pt x="0" y="1392"/>
                    <a:pt x="3" y="1404"/>
                    <a:pt x="3" y="1415"/>
                  </a:cubicBezTo>
                  <a:cubicBezTo>
                    <a:pt x="3" y="1427"/>
                    <a:pt x="6" y="1438"/>
                    <a:pt x="6" y="1449"/>
                  </a:cubicBezTo>
                  <a:cubicBezTo>
                    <a:pt x="6" y="1461"/>
                    <a:pt x="3" y="1471"/>
                    <a:pt x="6" y="1482"/>
                  </a:cubicBezTo>
                  <a:cubicBezTo>
                    <a:pt x="8" y="1494"/>
                    <a:pt x="11" y="1494"/>
                    <a:pt x="11" y="1505"/>
                  </a:cubicBezTo>
                  <a:cubicBezTo>
                    <a:pt x="11" y="1516"/>
                    <a:pt x="14" y="1528"/>
                    <a:pt x="17" y="1539"/>
                  </a:cubicBezTo>
                  <a:cubicBezTo>
                    <a:pt x="20" y="1550"/>
                    <a:pt x="17" y="1562"/>
                    <a:pt x="20" y="1573"/>
                  </a:cubicBezTo>
                  <a:cubicBezTo>
                    <a:pt x="22" y="1585"/>
                    <a:pt x="22" y="1596"/>
                    <a:pt x="25" y="1604"/>
                  </a:cubicBezTo>
                  <a:cubicBezTo>
                    <a:pt x="28" y="1613"/>
                    <a:pt x="31" y="1627"/>
                    <a:pt x="34" y="1635"/>
                  </a:cubicBezTo>
                  <a:cubicBezTo>
                    <a:pt x="37" y="1644"/>
                    <a:pt x="34" y="1657"/>
                    <a:pt x="37" y="1669"/>
                  </a:cubicBezTo>
                  <a:cubicBezTo>
                    <a:pt x="39" y="1680"/>
                    <a:pt x="39" y="1689"/>
                    <a:pt x="42" y="1700"/>
                  </a:cubicBezTo>
                  <a:cubicBezTo>
                    <a:pt x="45" y="1712"/>
                    <a:pt x="51" y="1720"/>
                    <a:pt x="54" y="1731"/>
                  </a:cubicBezTo>
                  <a:cubicBezTo>
                    <a:pt x="56" y="1743"/>
                    <a:pt x="53" y="1754"/>
                    <a:pt x="59" y="1765"/>
                  </a:cubicBezTo>
                  <a:cubicBezTo>
                    <a:pt x="64" y="1777"/>
                    <a:pt x="67" y="1785"/>
                    <a:pt x="70" y="1796"/>
                  </a:cubicBezTo>
                  <a:cubicBezTo>
                    <a:pt x="72" y="1808"/>
                    <a:pt x="79" y="1816"/>
                    <a:pt x="85" y="1827"/>
                  </a:cubicBezTo>
                  <a:cubicBezTo>
                    <a:pt x="90" y="1839"/>
                    <a:pt x="93" y="1846"/>
                    <a:pt x="96" y="1858"/>
                  </a:cubicBezTo>
                  <a:cubicBezTo>
                    <a:pt x="99" y="1869"/>
                    <a:pt x="101" y="1881"/>
                    <a:pt x="104" y="1889"/>
                  </a:cubicBezTo>
                  <a:cubicBezTo>
                    <a:pt x="107" y="1898"/>
                    <a:pt x="115" y="1909"/>
                    <a:pt x="118" y="1920"/>
                  </a:cubicBezTo>
                  <a:cubicBezTo>
                    <a:pt x="120" y="1932"/>
                    <a:pt x="129" y="1940"/>
                    <a:pt x="135" y="1948"/>
                  </a:cubicBezTo>
                  <a:cubicBezTo>
                    <a:pt x="140" y="1957"/>
                    <a:pt x="143" y="1968"/>
                    <a:pt x="149" y="1979"/>
                  </a:cubicBezTo>
                  <a:cubicBezTo>
                    <a:pt x="154" y="1990"/>
                    <a:pt x="158" y="1999"/>
                    <a:pt x="164" y="2010"/>
                  </a:cubicBezTo>
                  <a:cubicBezTo>
                    <a:pt x="169" y="2021"/>
                    <a:pt x="172" y="2030"/>
                    <a:pt x="178" y="2041"/>
                  </a:cubicBezTo>
                  <a:cubicBezTo>
                    <a:pt x="183" y="2052"/>
                    <a:pt x="189" y="2061"/>
                    <a:pt x="195" y="2069"/>
                  </a:cubicBezTo>
                  <a:cubicBezTo>
                    <a:pt x="200" y="2078"/>
                    <a:pt x="206" y="2089"/>
                    <a:pt x="212" y="2097"/>
                  </a:cubicBezTo>
                  <a:cubicBezTo>
                    <a:pt x="217" y="2106"/>
                    <a:pt x="222" y="2118"/>
                    <a:pt x="228" y="2126"/>
                  </a:cubicBezTo>
                  <a:cubicBezTo>
                    <a:pt x="233" y="2135"/>
                    <a:pt x="239" y="2146"/>
                    <a:pt x="248" y="2154"/>
                  </a:cubicBezTo>
                  <a:cubicBezTo>
                    <a:pt x="256" y="2163"/>
                    <a:pt x="262" y="2171"/>
                    <a:pt x="268" y="2179"/>
                  </a:cubicBezTo>
                  <a:cubicBezTo>
                    <a:pt x="274" y="2188"/>
                    <a:pt x="279" y="2199"/>
                    <a:pt x="285" y="2207"/>
                  </a:cubicBezTo>
                  <a:cubicBezTo>
                    <a:pt x="291" y="2216"/>
                    <a:pt x="301" y="2225"/>
                    <a:pt x="307" y="2233"/>
                  </a:cubicBezTo>
                  <a:cubicBezTo>
                    <a:pt x="312" y="2242"/>
                    <a:pt x="322" y="2253"/>
                    <a:pt x="327" y="2261"/>
                  </a:cubicBezTo>
                  <a:cubicBezTo>
                    <a:pt x="333" y="2269"/>
                    <a:pt x="341" y="2278"/>
                    <a:pt x="350" y="2286"/>
                  </a:cubicBezTo>
                  <a:cubicBezTo>
                    <a:pt x="358" y="2295"/>
                    <a:pt x="369" y="2301"/>
                    <a:pt x="375" y="2309"/>
                  </a:cubicBezTo>
                  <a:cubicBezTo>
                    <a:pt x="380" y="2318"/>
                    <a:pt x="389" y="2329"/>
                    <a:pt x="398" y="2334"/>
                  </a:cubicBezTo>
                  <a:cubicBezTo>
                    <a:pt x="406" y="2340"/>
                    <a:pt x="418" y="2349"/>
                    <a:pt x="426" y="2357"/>
                  </a:cubicBezTo>
                  <a:cubicBezTo>
                    <a:pt x="434" y="2366"/>
                    <a:pt x="440" y="2377"/>
                    <a:pt x="449" y="2385"/>
                  </a:cubicBezTo>
                  <a:cubicBezTo>
                    <a:pt x="457" y="2394"/>
                    <a:pt x="465" y="2400"/>
                    <a:pt x="477" y="2408"/>
                  </a:cubicBezTo>
                  <a:cubicBezTo>
                    <a:pt x="488" y="2417"/>
                    <a:pt x="493" y="2422"/>
                    <a:pt x="502" y="2430"/>
                  </a:cubicBezTo>
                  <a:cubicBezTo>
                    <a:pt x="510" y="2439"/>
                    <a:pt x="518" y="2445"/>
                    <a:pt x="530" y="2453"/>
                  </a:cubicBezTo>
                  <a:cubicBezTo>
                    <a:pt x="541" y="2462"/>
                    <a:pt x="549" y="2465"/>
                    <a:pt x="561" y="2473"/>
                  </a:cubicBezTo>
                  <a:cubicBezTo>
                    <a:pt x="572" y="2482"/>
                    <a:pt x="581" y="2487"/>
                    <a:pt x="590" y="2495"/>
                  </a:cubicBezTo>
                  <a:cubicBezTo>
                    <a:pt x="598" y="2504"/>
                    <a:pt x="609" y="2509"/>
                    <a:pt x="618" y="2515"/>
                  </a:cubicBezTo>
                  <a:cubicBezTo>
                    <a:pt x="626" y="2521"/>
                    <a:pt x="635" y="2532"/>
                    <a:pt x="646" y="2537"/>
                  </a:cubicBezTo>
                  <a:cubicBezTo>
                    <a:pt x="657" y="2543"/>
                    <a:pt x="666" y="2549"/>
                    <a:pt x="677" y="2554"/>
                  </a:cubicBezTo>
                  <a:cubicBezTo>
                    <a:pt x="688" y="2560"/>
                    <a:pt x="697" y="2566"/>
                    <a:pt x="708" y="2571"/>
                  </a:cubicBezTo>
                  <a:cubicBezTo>
                    <a:pt x="719" y="2577"/>
                    <a:pt x="727" y="2583"/>
                    <a:pt x="736" y="2588"/>
                  </a:cubicBezTo>
                  <a:cubicBezTo>
                    <a:pt x="744" y="2594"/>
                    <a:pt x="759" y="2597"/>
                    <a:pt x="767" y="2602"/>
                  </a:cubicBezTo>
                  <a:cubicBezTo>
                    <a:pt x="776" y="2608"/>
                    <a:pt x="786" y="2614"/>
                    <a:pt x="798" y="2619"/>
                  </a:cubicBezTo>
                  <a:cubicBezTo>
                    <a:pt x="809" y="2625"/>
                    <a:pt x="817" y="2631"/>
                    <a:pt x="829" y="2636"/>
                  </a:cubicBezTo>
                  <a:cubicBezTo>
                    <a:pt x="840" y="2642"/>
                    <a:pt x="851" y="2642"/>
                    <a:pt x="863" y="2647"/>
                  </a:cubicBezTo>
                  <a:cubicBezTo>
                    <a:pt x="874" y="2653"/>
                    <a:pt x="885" y="2654"/>
                    <a:pt x="894" y="2659"/>
                  </a:cubicBezTo>
                  <a:cubicBezTo>
                    <a:pt x="902" y="2665"/>
                    <a:pt x="913" y="2667"/>
                    <a:pt x="925" y="2670"/>
                  </a:cubicBezTo>
                  <a:cubicBezTo>
                    <a:pt x="936" y="2673"/>
                    <a:pt x="944" y="2681"/>
                    <a:pt x="956" y="2684"/>
                  </a:cubicBezTo>
                  <a:cubicBezTo>
                    <a:pt x="967" y="2687"/>
                    <a:pt x="978" y="2691"/>
                    <a:pt x="987" y="2693"/>
                  </a:cubicBezTo>
                  <a:cubicBezTo>
                    <a:pt x="995" y="2696"/>
                    <a:pt x="1010" y="2701"/>
                    <a:pt x="1019" y="2704"/>
                  </a:cubicBezTo>
                  <a:cubicBezTo>
                    <a:pt x="1027" y="2707"/>
                    <a:pt x="1040" y="2707"/>
                    <a:pt x="1052" y="2709"/>
                  </a:cubicBezTo>
                  <a:cubicBezTo>
                    <a:pt x="1063" y="2712"/>
                    <a:pt x="1074" y="2718"/>
                    <a:pt x="1083" y="2718"/>
                  </a:cubicBezTo>
                  <a:cubicBezTo>
                    <a:pt x="1091" y="2718"/>
                    <a:pt x="1105" y="2722"/>
                    <a:pt x="1117" y="2724"/>
                  </a:cubicBezTo>
                  <a:cubicBezTo>
                    <a:pt x="1128" y="2727"/>
                    <a:pt x="1139" y="2729"/>
                    <a:pt x="1148" y="2732"/>
                  </a:cubicBezTo>
                  <a:cubicBezTo>
                    <a:pt x="1156" y="2735"/>
                    <a:pt x="1171" y="2735"/>
                    <a:pt x="1182" y="2738"/>
                  </a:cubicBezTo>
                  <a:cubicBezTo>
                    <a:pt x="1193" y="2741"/>
                    <a:pt x="1205" y="2741"/>
                    <a:pt x="1216" y="2741"/>
                  </a:cubicBezTo>
                  <a:cubicBezTo>
                    <a:pt x="1227" y="2741"/>
                    <a:pt x="1239" y="2741"/>
                    <a:pt x="1250" y="2741"/>
                  </a:cubicBezTo>
                  <a:cubicBezTo>
                    <a:pt x="1261" y="2741"/>
                    <a:pt x="1272" y="2746"/>
                    <a:pt x="1284" y="2749"/>
                  </a:cubicBezTo>
                  <a:cubicBezTo>
                    <a:pt x="1295" y="2752"/>
                    <a:pt x="1306" y="2749"/>
                    <a:pt x="1318" y="2749"/>
                  </a:cubicBezTo>
                  <a:cubicBezTo>
                    <a:pt x="1329" y="2749"/>
                    <a:pt x="1339" y="2749"/>
                    <a:pt x="1351" y="2749"/>
                  </a:cubicBezTo>
                  <a:cubicBezTo>
                    <a:pt x="1362" y="2749"/>
                    <a:pt x="1373" y="2749"/>
                    <a:pt x="1384" y="2749"/>
                  </a:cubicBezTo>
                  <a:cubicBezTo>
                    <a:pt x="1396" y="2749"/>
                    <a:pt x="1407" y="2749"/>
                    <a:pt x="1418" y="2749"/>
                  </a:cubicBezTo>
                  <a:cubicBezTo>
                    <a:pt x="1429" y="2749"/>
                    <a:pt x="1441" y="2749"/>
                    <a:pt x="1452" y="2749"/>
                  </a:cubicBezTo>
                  <a:cubicBezTo>
                    <a:pt x="1463" y="2749"/>
                    <a:pt x="1475" y="2749"/>
                    <a:pt x="1486" y="2749"/>
                  </a:cubicBezTo>
                  <a:cubicBezTo>
                    <a:pt x="1497" y="2749"/>
                    <a:pt x="1509" y="2746"/>
                    <a:pt x="1520" y="2743"/>
                  </a:cubicBezTo>
                  <a:cubicBezTo>
                    <a:pt x="1532" y="2741"/>
                    <a:pt x="1543" y="2744"/>
                    <a:pt x="1554" y="2741"/>
                  </a:cubicBezTo>
                  <a:cubicBezTo>
                    <a:pt x="1566" y="2739"/>
                    <a:pt x="1577" y="2735"/>
                    <a:pt x="1585" y="2735"/>
                  </a:cubicBezTo>
                  <a:cubicBezTo>
                    <a:pt x="1594" y="2735"/>
                    <a:pt x="1608" y="2729"/>
                    <a:pt x="1616" y="2729"/>
                  </a:cubicBezTo>
                  <a:cubicBezTo>
                    <a:pt x="1625" y="2729"/>
                    <a:pt x="1639" y="2724"/>
                    <a:pt x="1647" y="2724"/>
                  </a:cubicBezTo>
                  <a:cubicBezTo>
                    <a:pt x="1656" y="2724"/>
                    <a:pt x="1669" y="2718"/>
                    <a:pt x="1678" y="2715"/>
                  </a:cubicBezTo>
                  <a:cubicBezTo>
                    <a:pt x="1689" y="2712"/>
                    <a:pt x="1701" y="2710"/>
                    <a:pt x="1709" y="2707"/>
                  </a:cubicBezTo>
                  <a:cubicBezTo>
                    <a:pt x="1718" y="2705"/>
                    <a:pt x="1732" y="2701"/>
                    <a:pt x="1740" y="2698"/>
                  </a:cubicBezTo>
                  <a:cubicBezTo>
                    <a:pt x="1749" y="2695"/>
                    <a:pt x="1763" y="2693"/>
                    <a:pt x="1771" y="2690"/>
                  </a:cubicBezTo>
                  <a:cubicBezTo>
                    <a:pt x="1780" y="2687"/>
                    <a:pt x="1794" y="2687"/>
                    <a:pt x="1805" y="2684"/>
                  </a:cubicBezTo>
                  <a:cubicBezTo>
                    <a:pt x="1817" y="2681"/>
                    <a:pt x="1825" y="2676"/>
                    <a:pt x="1836" y="2673"/>
                  </a:cubicBezTo>
                  <a:cubicBezTo>
                    <a:pt x="1847" y="2670"/>
                    <a:pt x="1856" y="2665"/>
                    <a:pt x="1867" y="2659"/>
                  </a:cubicBezTo>
                  <a:cubicBezTo>
                    <a:pt x="1878" y="2654"/>
                    <a:pt x="1890" y="2653"/>
                    <a:pt x="1898" y="2650"/>
                  </a:cubicBezTo>
                  <a:cubicBezTo>
                    <a:pt x="1907" y="2647"/>
                    <a:pt x="1918" y="2642"/>
                    <a:pt x="1929" y="2636"/>
                  </a:cubicBezTo>
                  <a:cubicBezTo>
                    <a:pt x="1940" y="2631"/>
                    <a:pt x="1949" y="2628"/>
                    <a:pt x="1960" y="2625"/>
                  </a:cubicBezTo>
                  <a:cubicBezTo>
                    <a:pt x="1971" y="2622"/>
                    <a:pt x="1980" y="2611"/>
                    <a:pt x="1988" y="2608"/>
                  </a:cubicBezTo>
                  <a:cubicBezTo>
                    <a:pt x="1997" y="2605"/>
                    <a:pt x="2008" y="2600"/>
                    <a:pt x="2019" y="2594"/>
                  </a:cubicBezTo>
                  <a:cubicBezTo>
                    <a:pt x="2031" y="2589"/>
                    <a:pt x="2039" y="2583"/>
                    <a:pt x="2047" y="2577"/>
                  </a:cubicBezTo>
                  <a:cubicBezTo>
                    <a:pt x="2056" y="2571"/>
                    <a:pt x="2068" y="2566"/>
                    <a:pt x="2076" y="2560"/>
                  </a:cubicBezTo>
                  <a:cubicBezTo>
                    <a:pt x="2085" y="2554"/>
                    <a:pt x="2096" y="2552"/>
                    <a:pt x="2104" y="2543"/>
                  </a:cubicBezTo>
                  <a:cubicBezTo>
                    <a:pt x="2113" y="2535"/>
                    <a:pt x="2121" y="2529"/>
                    <a:pt x="2132" y="2523"/>
                  </a:cubicBezTo>
                  <a:cubicBezTo>
                    <a:pt x="2143" y="2518"/>
                    <a:pt x="2152" y="2512"/>
                    <a:pt x="2160" y="2506"/>
                  </a:cubicBezTo>
                  <a:cubicBezTo>
                    <a:pt x="2169" y="2501"/>
                    <a:pt x="2181" y="2496"/>
                    <a:pt x="2189" y="2487"/>
                  </a:cubicBezTo>
                  <a:cubicBezTo>
                    <a:pt x="2198" y="2479"/>
                    <a:pt x="2206" y="2473"/>
                    <a:pt x="2214" y="2464"/>
                  </a:cubicBezTo>
                  <a:cubicBezTo>
                    <a:pt x="2223" y="2456"/>
                    <a:pt x="2231" y="2448"/>
                    <a:pt x="2239" y="2442"/>
                  </a:cubicBezTo>
                  <a:cubicBezTo>
                    <a:pt x="2248" y="2437"/>
                    <a:pt x="2260" y="2431"/>
                    <a:pt x="2268" y="2425"/>
                  </a:cubicBezTo>
                  <a:cubicBezTo>
                    <a:pt x="2277" y="2420"/>
                    <a:pt x="2285" y="2410"/>
                    <a:pt x="2293" y="2402"/>
                  </a:cubicBezTo>
                  <a:cubicBezTo>
                    <a:pt x="2302" y="2394"/>
                    <a:pt x="2307" y="2383"/>
                    <a:pt x="2315" y="2374"/>
                  </a:cubicBezTo>
                  <a:cubicBezTo>
                    <a:pt x="2324" y="2366"/>
                    <a:pt x="2333" y="2360"/>
                    <a:pt x="2341" y="2351"/>
                  </a:cubicBezTo>
                  <a:cubicBezTo>
                    <a:pt x="2350" y="2343"/>
                    <a:pt x="2361" y="2338"/>
                    <a:pt x="2366" y="2329"/>
                  </a:cubicBezTo>
                  <a:cubicBezTo>
                    <a:pt x="2372" y="2321"/>
                    <a:pt x="2380" y="2309"/>
                    <a:pt x="2386" y="2300"/>
                  </a:cubicBezTo>
                  <a:cubicBezTo>
                    <a:pt x="2392" y="2292"/>
                    <a:pt x="2403" y="2286"/>
                    <a:pt x="2411" y="2275"/>
                  </a:cubicBezTo>
                  <a:cubicBezTo>
                    <a:pt x="2420" y="2264"/>
                    <a:pt x="2426" y="2259"/>
                    <a:pt x="2434" y="2250"/>
                  </a:cubicBezTo>
                  <a:cubicBezTo>
                    <a:pt x="2442" y="2242"/>
                    <a:pt x="2449" y="2230"/>
                    <a:pt x="2454" y="2221"/>
                  </a:cubicBezTo>
                  <a:cubicBezTo>
                    <a:pt x="2460" y="2213"/>
                    <a:pt x="2471" y="2205"/>
                    <a:pt x="2476" y="2196"/>
                  </a:cubicBezTo>
                  <a:cubicBezTo>
                    <a:pt x="2482" y="2188"/>
                    <a:pt x="2488" y="2176"/>
                    <a:pt x="2493" y="2165"/>
                  </a:cubicBezTo>
                  <a:cubicBezTo>
                    <a:pt x="2499" y="2154"/>
                    <a:pt x="2511" y="2148"/>
                    <a:pt x="2516" y="2137"/>
                  </a:cubicBezTo>
                  <a:cubicBezTo>
                    <a:pt x="2522" y="2126"/>
                    <a:pt x="2528" y="2115"/>
                    <a:pt x="2533" y="2106"/>
                  </a:cubicBezTo>
                  <a:cubicBezTo>
                    <a:pt x="2539" y="2098"/>
                    <a:pt x="2547" y="2090"/>
                    <a:pt x="2555" y="2078"/>
                  </a:cubicBezTo>
                  <a:cubicBezTo>
                    <a:pt x="2564" y="2067"/>
                    <a:pt x="2564" y="2056"/>
                    <a:pt x="2569" y="2047"/>
                  </a:cubicBezTo>
                  <a:cubicBezTo>
                    <a:pt x="2575" y="2039"/>
                    <a:pt x="2579" y="2028"/>
                    <a:pt x="2584" y="2016"/>
                  </a:cubicBezTo>
                  <a:cubicBezTo>
                    <a:pt x="2590" y="2005"/>
                    <a:pt x="2598" y="1996"/>
                    <a:pt x="2603" y="1987"/>
                  </a:cubicBezTo>
                  <a:cubicBezTo>
                    <a:pt x="2609" y="1979"/>
                    <a:pt x="2615" y="1968"/>
                    <a:pt x="2617" y="1956"/>
                  </a:cubicBezTo>
                  <a:cubicBezTo>
                    <a:pt x="2620" y="1945"/>
                    <a:pt x="2627" y="1937"/>
                    <a:pt x="2632" y="1925"/>
                  </a:cubicBezTo>
                  <a:cubicBezTo>
                    <a:pt x="2638" y="1914"/>
                    <a:pt x="2637" y="1903"/>
                    <a:pt x="2640" y="1891"/>
                  </a:cubicBezTo>
                  <a:cubicBezTo>
                    <a:pt x="2643" y="1880"/>
                    <a:pt x="2651" y="1872"/>
                    <a:pt x="2657" y="1860"/>
                  </a:cubicBezTo>
                  <a:cubicBezTo>
                    <a:pt x="2663" y="1849"/>
                    <a:pt x="2663" y="1839"/>
                    <a:pt x="2665" y="1827"/>
                  </a:cubicBezTo>
                  <a:cubicBezTo>
                    <a:pt x="2668" y="1816"/>
                    <a:pt x="2677" y="1808"/>
                    <a:pt x="2679" y="1796"/>
                  </a:cubicBezTo>
                  <a:cubicBezTo>
                    <a:pt x="2682" y="1785"/>
                    <a:pt x="2685" y="1774"/>
                    <a:pt x="2688" y="1765"/>
                  </a:cubicBezTo>
                  <a:cubicBezTo>
                    <a:pt x="2691" y="1757"/>
                    <a:pt x="2694" y="1742"/>
                    <a:pt x="2696" y="1733"/>
                  </a:cubicBezTo>
                  <a:cubicBezTo>
                    <a:pt x="2699" y="1725"/>
                    <a:pt x="2699" y="1712"/>
                    <a:pt x="2702" y="1700"/>
                  </a:cubicBezTo>
                  <a:cubicBezTo>
                    <a:pt x="2705" y="1689"/>
                    <a:pt x="2709" y="1678"/>
                    <a:pt x="2711" y="1669"/>
                  </a:cubicBezTo>
                  <a:cubicBezTo>
                    <a:pt x="2714" y="1661"/>
                    <a:pt x="2716" y="1647"/>
                    <a:pt x="2719" y="1635"/>
                  </a:cubicBezTo>
                  <a:cubicBezTo>
                    <a:pt x="2722" y="1624"/>
                    <a:pt x="2725" y="1612"/>
                    <a:pt x="2725" y="1601"/>
                  </a:cubicBezTo>
                  <a:cubicBezTo>
                    <a:pt x="2725" y="1590"/>
                    <a:pt x="2727" y="1578"/>
                    <a:pt x="2727" y="1567"/>
                  </a:cubicBezTo>
                  <a:cubicBezTo>
                    <a:pt x="2727" y="1556"/>
                    <a:pt x="2730" y="1544"/>
                    <a:pt x="2733" y="1533"/>
                  </a:cubicBezTo>
                  <a:cubicBezTo>
                    <a:pt x="2736" y="1522"/>
                    <a:pt x="2736" y="1511"/>
                    <a:pt x="2736" y="1499"/>
                  </a:cubicBezTo>
                  <a:cubicBezTo>
                    <a:pt x="2736" y="1488"/>
                    <a:pt x="2733" y="1478"/>
                    <a:pt x="2736" y="1466"/>
                  </a:cubicBezTo>
                  <a:cubicBezTo>
                    <a:pt x="2739" y="1455"/>
                    <a:pt x="2742" y="1444"/>
                    <a:pt x="2742" y="1432"/>
                  </a:cubicBezTo>
                  <a:cubicBezTo>
                    <a:pt x="2742" y="1421"/>
                    <a:pt x="2742" y="1409"/>
                    <a:pt x="2742" y="1398"/>
                  </a:cubicBezTo>
                  <a:cubicBezTo>
                    <a:pt x="2742" y="1387"/>
                    <a:pt x="2739" y="1375"/>
                    <a:pt x="2739" y="1364"/>
                  </a:cubicBezTo>
                  <a:cubicBezTo>
                    <a:pt x="2739" y="1354"/>
                    <a:pt x="2742" y="1337"/>
                    <a:pt x="2739" y="1325"/>
                  </a:cubicBezTo>
                  <a:close/>
                  <a:moveTo>
                    <a:pt x="2699" y="1389"/>
                  </a:moveTo>
                  <a:cubicBezTo>
                    <a:pt x="2699" y="1401"/>
                    <a:pt x="2699" y="1412"/>
                    <a:pt x="2699" y="1420"/>
                  </a:cubicBezTo>
                  <a:cubicBezTo>
                    <a:pt x="2699" y="1429"/>
                    <a:pt x="2696" y="1443"/>
                    <a:pt x="2696" y="1451"/>
                  </a:cubicBezTo>
                  <a:cubicBezTo>
                    <a:pt x="2696" y="1460"/>
                    <a:pt x="2697" y="1474"/>
                    <a:pt x="2694" y="1482"/>
                  </a:cubicBezTo>
                  <a:cubicBezTo>
                    <a:pt x="2692" y="1491"/>
                    <a:pt x="2694" y="1505"/>
                    <a:pt x="2694" y="1513"/>
                  </a:cubicBezTo>
                  <a:cubicBezTo>
                    <a:pt x="2694" y="1522"/>
                    <a:pt x="2691" y="1536"/>
                    <a:pt x="2691" y="1544"/>
                  </a:cubicBezTo>
                  <a:cubicBezTo>
                    <a:pt x="2691" y="1553"/>
                    <a:pt x="2688" y="1568"/>
                    <a:pt x="2685" y="1576"/>
                  </a:cubicBezTo>
                  <a:cubicBezTo>
                    <a:pt x="2682" y="1585"/>
                    <a:pt x="2682" y="1599"/>
                    <a:pt x="2679" y="1607"/>
                  </a:cubicBezTo>
                  <a:cubicBezTo>
                    <a:pt x="2677" y="1616"/>
                    <a:pt x="2674" y="1627"/>
                    <a:pt x="2671" y="1638"/>
                  </a:cubicBezTo>
                  <a:cubicBezTo>
                    <a:pt x="2668" y="1650"/>
                    <a:pt x="2668" y="1661"/>
                    <a:pt x="2665" y="1669"/>
                  </a:cubicBezTo>
                  <a:cubicBezTo>
                    <a:pt x="2663" y="1678"/>
                    <a:pt x="2657" y="1689"/>
                    <a:pt x="2654" y="1700"/>
                  </a:cubicBezTo>
                  <a:cubicBezTo>
                    <a:pt x="2651" y="1712"/>
                    <a:pt x="2651" y="1723"/>
                    <a:pt x="2648" y="1731"/>
                  </a:cubicBezTo>
                  <a:cubicBezTo>
                    <a:pt x="2646" y="1740"/>
                    <a:pt x="2640" y="1751"/>
                    <a:pt x="2637" y="1762"/>
                  </a:cubicBezTo>
                  <a:cubicBezTo>
                    <a:pt x="2634" y="1774"/>
                    <a:pt x="2632" y="1785"/>
                    <a:pt x="2629" y="1793"/>
                  </a:cubicBezTo>
                  <a:cubicBezTo>
                    <a:pt x="2626" y="1802"/>
                    <a:pt x="2621" y="1813"/>
                    <a:pt x="2615" y="1824"/>
                  </a:cubicBezTo>
                  <a:cubicBezTo>
                    <a:pt x="2610" y="1836"/>
                    <a:pt x="2609" y="1847"/>
                    <a:pt x="2603" y="1855"/>
                  </a:cubicBezTo>
                  <a:cubicBezTo>
                    <a:pt x="2598" y="1864"/>
                    <a:pt x="2595" y="1875"/>
                    <a:pt x="2589" y="1886"/>
                  </a:cubicBezTo>
                  <a:cubicBezTo>
                    <a:pt x="2584" y="1897"/>
                    <a:pt x="2581" y="1906"/>
                    <a:pt x="2578" y="1917"/>
                  </a:cubicBezTo>
                  <a:cubicBezTo>
                    <a:pt x="2575" y="1928"/>
                    <a:pt x="2570" y="1937"/>
                    <a:pt x="2564" y="1948"/>
                  </a:cubicBezTo>
                  <a:cubicBezTo>
                    <a:pt x="2559" y="1959"/>
                    <a:pt x="2553" y="1968"/>
                    <a:pt x="2550" y="1979"/>
                  </a:cubicBezTo>
                  <a:cubicBezTo>
                    <a:pt x="2547" y="1990"/>
                    <a:pt x="2539" y="1999"/>
                    <a:pt x="2533" y="2010"/>
                  </a:cubicBezTo>
                  <a:cubicBezTo>
                    <a:pt x="2528" y="2021"/>
                    <a:pt x="2522" y="2030"/>
                    <a:pt x="2516" y="2038"/>
                  </a:cubicBezTo>
                  <a:cubicBezTo>
                    <a:pt x="2511" y="2047"/>
                    <a:pt x="2505" y="2058"/>
                    <a:pt x="2499" y="2066"/>
                  </a:cubicBezTo>
                  <a:cubicBezTo>
                    <a:pt x="2493" y="2075"/>
                    <a:pt x="2485" y="2084"/>
                    <a:pt x="2479" y="2095"/>
                  </a:cubicBezTo>
                  <a:cubicBezTo>
                    <a:pt x="2474" y="2107"/>
                    <a:pt x="2468" y="2115"/>
                    <a:pt x="2462" y="2123"/>
                  </a:cubicBezTo>
                  <a:cubicBezTo>
                    <a:pt x="2457" y="2132"/>
                    <a:pt x="2451" y="2143"/>
                    <a:pt x="2442" y="2151"/>
                  </a:cubicBezTo>
                  <a:cubicBezTo>
                    <a:pt x="2434" y="2159"/>
                    <a:pt x="2426" y="2168"/>
                    <a:pt x="2420" y="2176"/>
                  </a:cubicBezTo>
                  <a:cubicBezTo>
                    <a:pt x="2414" y="2185"/>
                    <a:pt x="2409" y="2197"/>
                    <a:pt x="2400" y="2205"/>
                  </a:cubicBezTo>
                  <a:cubicBezTo>
                    <a:pt x="2392" y="2214"/>
                    <a:pt x="2384" y="2222"/>
                    <a:pt x="2375" y="2230"/>
                  </a:cubicBezTo>
                  <a:cubicBezTo>
                    <a:pt x="2367" y="2239"/>
                    <a:pt x="2358" y="2247"/>
                    <a:pt x="2352" y="2255"/>
                  </a:cubicBezTo>
                  <a:cubicBezTo>
                    <a:pt x="2347" y="2264"/>
                    <a:pt x="2338" y="2276"/>
                    <a:pt x="2332" y="2281"/>
                  </a:cubicBezTo>
                  <a:cubicBezTo>
                    <a:pt x="2327" y="2287"/>
                    <a:pt x="2316" y="2298"/>
                    <a:pt x="2310" y="2303"/>
                  </a:cubicBezTo>
                  <a:cubicBezTo>
                    <a:pt x="2305" y="2309"/>
                    <a:pt x="2293" y="2317"/>
                    <a:pt x="2284" y="2323"/>
                  </a:cubicBezTo>
                  <a:cubicBezTo>
                    <a:pt x="2276" y="2329"/>
                    <a:pt x="2271" y="2340"/>
                    <a:pt x="2262" y="2348"/>
                  </a:cubicBezTo>
                  <a:cubicBezTo>
                    <a:pt x="2254" y="2357"/>
                    <a:pt x="2245" y="2363"/>
                    <a:pt x="2236" y="2371"/>
                  </a:cubicBezTo>
                  <a:cubicBezTo>
                    <a:pt x="2228" y="2379"/>
                    <a:pt x="2220" y="2383"/>
                    <a:pt x="2211" y="2391"/>
                  </a:cubicBezTo>
                  <a:cubicBezTo>
                    <a:pt x="2203" y="2400"/>
                    <a:pt x="2195" y="2405"/>
                    <a:pt x="2186" y="2410"/>
                  </a:cubicBezTo>
                  <a:cubicBezTo>
                    <a:pt x="2178" y="2416"/>
                    <a:pt x="2169" y="2425"/>
                    <a:pt x="2160" y="2433"/>
                  </a:cubicBezTo>
                  <a:cubicBezTo>
                    <a:pt x="2152" y="2442"/>
                    <a:pt x="2143" y="2445"/>
                    <a:pt x="2132" y="2453"/>
                  </a:cubicBezTo>
                  <a:cubicBezTo>
                    <a:pt x="2121" y="2462"/>
                    <a:pt x="2113" y="2465"/>
                    <a:pt x="2104" y="2470"/>
                  </a:cubicBezTo>
                  <a:cubicBezTo>
                    <a:pt x="2096" y="2476"/>
                    <a:pt x="2088" y="2482"/>
                    <a:pt x="2076" y="2487"/>
                  </a:cubicBezTo>
                  <a:cubicBezTo>
                    <a:pt x="2065" y="2493"/>
                    <a:pt x="2059" y="2501"/>
                    <a:pt x="2050" y="2506"/>
                  </a:cubicBezTo>
                  <a:cubicBezTo>
                    <a:pt x="2042" y="2512"/>
                    <a:pt x="2031" y="2516"/>
                    <a:pt x="2022" y="2521"/>
                  </a:cubicBezTo>
                  <a:cubicBezTo>
                    <a:pt x="2014" y="2527"/>
                    <a:pt x="2006" y="2535"/>
                    <a:pt x="1997" y="2540"/>
                  </a:cubicBezTo>
                  <a:cubicBezTo>
                    <a:pt x="1989" y="2546"/>
                    <a:pt x="1978" y="2549"/>
                    <a:pt x="1966" y="2554"/>
                  </a:cubicBezTo>
                  <a:cubicBezTo>
                    <a:pt x="1955" y="2560"/>
                    <a:pt x="1946" y="2566"/>
                    <a:pt x="1937" y="2568"/>
                  </a:cubicBezTo>
                  <a:cubicBezTo>
                    <a:pt x="1929" y="2571"/>
                    <a:pt x="1918" y="2578"/>
                    <a:pt x="1909" y="2583"/>
                  </a:cubicBezTo>
                  <a:cubicBezTo>
                    <a:pt x="1901" y="2589"/>
                    <a:pt x="1889" y="2591"/>
                    <a:pt x="1878" y="2594"/>
                  </a:cubicBezTo>
                  <a:cubicBezTo>
                    <a:pt x="1867" y="2597"/>
                    <a:pt x="1858" y="2602"/>
                    <a:pt x="1847" y="2605"/>
                  </a:cubicBezTo>
                  <a:cubicBezTo>
                    <a:pt x="1836" y="2608"/>
                    <a:pt x="1827" y="2614"/>
                    <a:pt x="1816" y="2616"/>
                  </a:cubicBezTo>
                  <a:cubicBezTo>
                    <a:pt x="1805" y="2619"/>
                    <a:pt x="1799" y="2631"/>
                    <a:pt x="1788" y="2633"/>
                  </a:cubicBezTo>
                  <a:cubicBezTo>
                    <a:pt x="1777" y="2636"/>
                    <a:pt x="1768" y="2637"/>
                    <a:pt x="1757" y="2642"/>
                  </a:cubicBezTo>
                  <a:cubicBezTo>
                    <a:pt x="1746" y="2648"/>
                    <a:pt x="1738" y="2653"/>
                    <a:pt x="1726" y="2656"/>
                  </a:cubicBezTo>
                  <a:cubicBezTo>
                    <a:pt x="1715" y="2659"/>
                    <a:pt x="1704" y="2660"/>
                    <a:pt x="1695" y="2662"/>
                  </a:cubicBezTo>
                  <a:cubicBezTo>
                    <a:pt x="1687" y="2665"/>
                    <a:pt x="1676" y="2667"/>
                    <a:pt x="1664" y="2670"/>
                  </a:cubicBezTo>
                  <a:cubicBezTo>
                    <a:pt x="1653" y="2673"/>
                    <a:pt x="1645" y="2674"/>
                    <a:pt x="1633" y="2676"/>
                  </a:cubicBezTo>
                  <a:cubicBezTo>
                    <a:pt x="1622" y="2679"/>
                    <a:pt x="1614" y="2681"/>
                    <a:pt x="1602" y="2684"/>
                  </a:cubicBezTo>
                  <a:cubicBezTo>
                    <a:pt x="1591" y="2687"/>
                    <a:pt x="1580" y="2684"/>
                    <a:pt x="1571" y="2687"/>
                  </a:cubicBezTo>
                  <a:cubicBezTo>
                    <a:pt x="1563" y="2690"/>
                    <a:pt x="1552" y="2691"/>
                    <a:pt x="1540" y="2693"/>
                  </a:cubicBezTo>
                  <a:cubicBezTo>
                    <a:pt x="1529" y="2696"/>
                    <a:pt x="1520" y="2695"/>
                    <a:pt x="1508" y="2698"/>
                  </a:cubicBezTo>
                  <a:cubicBezTo>
                    <a:pt x="1497" y="2701"/>
                    <a:pt x="1486" y="2701"/>
                    <a:pt x="1477" y="2701"/>
                  </a:cubicBezTo>
                  <a:cubicBezTo>
                    <a:pt x="1469" y="2701"/>
                    <a:pt x="1455" y="2701"/>
                    <a:pt x="1446" y="2701"/>
                  </a:cubicBezTo>
                  <a:cubicBezTo>
                    <a:pt x="1438" y="2701"/>
                    <a:pt x="1424" y="2701"/>
                    <a:pt x="1415" y="2701"/>
                  </a:cubicBezTo>
                  <a:cubicBezTo>
                    <a:pt x="1407" y="2701"/>
                    <a:pt x="1393" y="2704"/>
                    <a:pt x="1384" y="2704"/>
                  </a:cubicBezTo>
                  <a:cubicBezTo>
                    <a:pt x="1376" y="2704"/>
                    <a:pt x="1362" y="2701"/>
                    <a:pt x="1354" y="2701"/>
                  </a:cubicBezTo>
                  <a:cubicBezTo>
                    <a:pt x="1345" y="2701"/>
                    <a:pt x="1331" y="2704"/>
                    <a:pt x="1323" y="2701"/>
                  </a:cubicBezTo>
                  <a:cubicBezTo>
                    <a:pt x="1314" y="2698"/>
                    <a:pt x="1300" y="2698"/>
                    <a:pt x="1292" y="2698"/>
                  </a:cubicBezTo>
                  <a:cubicBezTo>
                    <a:pt x="1283" y="2698"/>
                    <a:pt x="1269" y="2693"/>
                    <a:pt x="1261" y="2693"/>
                  </a:cubicBezTo>
                  <a:cubicBezTo>
                    <a:pt x="1252" y="2693"/>
                    <a:pt x="1238" y="2693"/>
                    <a:pt x="1230" y="2693"/>
                  </a:cubicBezTo>
                  <a:cubicBezTo>
                    <a:pt x="1221" y="2693"/>
                    <a:pt x="1207" y="2690"/>
                    <a:pt x="1199" y="2687"/>
                  </a:cubicBezTo>
                  <a:cubicBezTo>
                    <a:pt x="1190" y="2684"/>
                    <a:pt x="1179" y="2681"/>
                    <a:pt x="1168" y="2678"/>
                  </a:cubicBezTo>
                  <a:cubicBezTo>
                    <a:pt x="1157" y="2676"/>
                    <a:pt x="1145" y="2676"/>
                    <a:pt x="1137" y="2673"/>
                  </a:cubicBezTo>
                  <a:cubicBezTo>
                    <a:pt x="1129" y="2670"/>
                    <a:pt x="1114" y="2670"/>
                    <a:pt x="1106" y="2667"/>
                  </a:cubicBezTo>
                  <a:cubicBezTo>
                    <a:pt x="1098" y="2664"/>
                    <a:pt x="1086" y="2662"/>
                    <a:pt x="1075" y="2659"/>
                  </a:cubicBezTo>
                  <a:cubicBezTo>
                    <a:pt x="1064" y="2656"/>
                    <a:pt x="1055" y="2653"/>
                    <a:pt x="1044" y="2650"/>
                  </a:cubicBezTo>
                  <a:cubicBezTo>
                    <a:pt x="1033" y="2647"/>
                    <a:pt x="1021" y="2648"/>
                    <a:pt x="1013" y="2645"/>
                  </a:cubicBezTo>
                  <a:cubicBezTo>
                    <a:pt x="1004" y="2643"/>
                    <a:pt x="993" y="2636"/>
                    <a:pt x="982" y="2633"/>
                  </a:cubicBezTo>
                  <a:cubicBezTo>
                    <a:pt x="971" y="2631"/>
                    <a:pt x="962" y="2625"/>
                    <a:pt x="951" y="2622"/>
                  </a:cubicBezTo>
                  <a:cubicBezTo>
                    <a:pt x="940" y="2619"/>
                    <a:pt x="931" y="2614"/>
                    <a:pt x="920" y="2611"/>
                  </a:cubicBezTo>
                  <a:cubicBezTo>
                    <a:pt x="908" y="2608"/>
                    <a:pt x="897" y="2608"/>
                    <a:pt x="889" y="2602"/>
                  </a:cubicBezTo>
                  <a:cubicBezTo>
                    <a:pt x="880" y="2597"/>
                    <a:pt x="869" y="2591"/>
                    <a:pt x="858" y="2588"/>
                  </a:cubicBezTo>
                  <a:cubicBezTo>
                    <a:pt x="846" y="2585"/>
                    <a:pt x="838" y="2580"/>
                    <a:pt x="827" y="2577"/>
                  </a:cubicBezTo>
                  <a:cubicBezTo>
                    <a:pt x="815" y="2574"/>
                    <a:pt x="807" y="2569"/>
                    <a:pt x="796" y="2563"/>
                  </a:cubicBezTo>
                  <a:cubicBezTo>
                    <a:pt x="784" y="2558"/>
                    <a:pt x="778" y="2549"/>
                    <a:pt x="767" y="2543"/>
                  </a:cubicBezTo>
                  <a:cubicBezTo>
                    <a:pt x="755" y="2537"/>
                    <a:pt x="747" y="2535"/>
                    <a:pt x="736" y="2529"/>
                  </a:cubicBezTo>
                  <a:cubicBezTo>
                    <a:pt x="724" y="2523"/>
                    <a:pt x="716" y="2521"/>
                    <a:pt x="705" y="2515"/>
                  </a:cubicBezTo>
                  <a:cubicBezTo>
                    <a:pt x="693" y="2509"/>
                    <a:pt x="685" y="2504"/>
                    <a:pt x="677" y="2498"/>
                  </a:cubicBezTo>
                  <a:cubicBezTo>
                    <a:pt x="668" y="2492"/>
                    <a:pt x="657" y="2484"/>
                    <a:pt x="649" y="2478"/>
                  </a:cubicBezTo>
                  <a:cubicBezTo>
                    <a:pt x="640" y="2473"/>
                    <a:pt x="629" y="2464"/>
                    <a:pt x="621" y="2458"/>
                  </a:cubicBezTo>
                  <a:cubicBezTo>
                    <a:pt x="612" y="2453"/>
                    <a:pt x="600" y="2448"/>
                    <a:pt x="592" y="2439"/>
                  </a:cubicBezTo>
                  <a:cubicBezTo>
                    <a:pt x="583" y="2431"/>
                    <a:pt x="572" y="2428"/>
                    <a:pt x="564" y="2419"/>
                  </a:cubicBezTo>
                  <a:cubicBezTo>
                    <a:pt x="555" y="2411"/>
                    <a:pt x="547" y="2402"/>
                    <a:pt x="539" y="2396"/>
                  </a:cubicBezTo>
                  <a:cubicBezTo>
                    <a:pt x="530" y="2391"/>
                    <a:pt x="521" y="2380"/>
                    <a:pt x="513" y="2374"/>
                  </a:cubicBezTo>
                  <a:cubicBezTo>
                    <a:pt x="504" y="2369"/>
                    <a:pt x="493" y="2360"/>
                    <a:pt x="485" y="2354"/>
                  </a:cubicBezTo>
                  <a:cubicBezTo>
                    <a:pt x="476" y="2348"/>
                    <a:pt x="468" y="2341"/>
                    <a:pt x="460" y="2332"/>
                  </a:cubicBezTo>
                  <a:cubicBezTo>
                    <a:pt x="451" y="2324"/>
                    <a:pt x="442" y="2318"/>
                    <a:pt x="434" y="2309"/>
                  </a:cubicBezTo>
                  <a:cubicBezTo>
                    <a:pt x="425" y="2301"/>
                    <a:pt x="420" y="2293"/>
                    <a:pt x="412" y="2284"/>
                  </a:cubicBezTo>
                  <a:cubicBezTo>
                    <a:pt x="403" y="2276"/>
                    <a:pt x="394" y="2269"/>
                    <a:pt x="389" y="2261"/>
                  </a:cubicBezTo>
                  <a:cubicBezTo>
                    <a:pt x="383" y="2253"/>
                    <a:pt x="378" y="2242"/>
                    <a:pt x="370" y="2233"/>
                  </a:cubicBezTo>
                  <a:cubicBezTo>
                    <a:pt x="361" y="2225"/>
                    <a:pt x="355" y="2216"/>
                    <a:pt x="347" y="2207"/>
                  </a:cubicBezTo>
                  <a:cubicBezTo>
                    <a:pt x="339" y="2199"/>
                    <a:pt x="332" y="2190"/>
                    <a:pt x="327" y="2182"/>
                  </a:cubicBezTo>
                  <a:cubicBezTo>
                    <a:pt x="321" y="2174"/>
                    <a:pt x="315" y="2166"/>
                    <a:pt x="307" y="2157"/>
                  </a:cubicBezTo>
                  <a:cubicBezTo>
                    <a:pt x="298" y="2149"/>
                    <a:pt x="296" y="2140"/>
                    <a:pt x="291" y="2128"/>
                  </a:cubicBezTo>
                  <a:cubicBezTo>
                    <a:pt x="285" y="2117"/>
                    <a:pt x="279" y="2111"/>
                    <a:pt x="271" y="2103"/>
                  </a:cubicBezTo>
                  <a:cubicBezTo>
                    <a:pt x="262" y="2095"/>
                    <a:pt x="259" y="2086"/>
                    <a:pt x="254" y="2075"/>
                  </a:cubicBezTo>
                  <a:cubicBezTo>
                    <a:pt x="248" y="2064"/>
                    <a:pt x="240" y="2058"/>
                    <a:pt x="234" y="2049"/>
                  </a:cubicBezTo>
                  <a:cubicBezTo>
                    <a:pt x="228" y="2041"/>
                    <a:pt x="226" y="2030"/>
                    <a:pt x="220" y="2021"/>
                  </a:cubicBezTo>
                  <a:cubicBezTo>
                    <a:pt x="214" y="2013"/>
                    <a:pt x="206" y="2004"/>
                    <a:pt x="203" y="1993"/>
                  </a:cubicBezTo>
                  <a:cubicBezTo>
                    <a:pt x="200" y="1982"/>
                    <a:pt x="197" y="1970"/>
                    <a:pt x="192" y="1962"/>
                  </a:cubicBezTo>
                  <a:cubicBezTo>
                    <a:pt x="186" y="1954"/>
                    <a:pt x="183" y="1943"/>
                    <a:pt x="178" y="1934"/>
                  </a:cubicBezTo>
                  <a:cubicBezTo>
                    <a:pt x="172" y="1926"/>
                    <a:pt x="166" y="1918"/>
                    <a:pt x="161" y="1906"/>
                  </a:cubicBezTo>
                  <a:cubicBezTo>
                    <a:pt x="155" y="1895"/>
                    <a:pt x="155" y="1887"/>
                    <a:pt x="152" y="1875"/>
                  </a:cubicBezTo>
                  <a:cubicBezTo>
                    <a:pt x="149" y="1864"/>
                    <a:pt x="144" y="1856"/>
                    <a:pt x="141" y="1844"/>
                  </a:cubicBezTo>
                  <a:cubicBezTo>
                    <a:pt x="138" y="1833"/>
                    <a:pt x="130" y="1824"/>
                    <a:pt x="127" y="1815"/>
                  </a:cubicBezTo>
                  <a:cubicBezTo>
                    <a:pt x="124" y="1807"/>
                    <a:pt x="103" y="1796"/>
                    <a:pt x="101" y="1784"/>
                  </a:cubicBezTo>
                  <a:cubicBezTo>
                    <a:pt x="98" y="1773"/>
                    <a:pt x="99" y="1762"/>
                    <a:pt x="96" y="1753"/>
                  </a:cubicBezTo>
                  <a:cubicBezTo>
                    <a:pt x="93" y="1745"/>
                    <a:pt x="87" y="1733"/>
                    <a:pt x="85" y="1722"/>
                  </a:cubicBezTo>
                  <a:cubicBezTo>
                    <a:pt x="82" y="1711"/>
                    <a:pt x="79" y="1702"/>
                    <a:pt x="79" y="1691"/>
                  </a:cubicBezTo>
                  <a:cubicBezTo>
                    <a:pt x="79" y="1680"/>
                    <a:pt x="73" y="1671"/>
                    <a:pt x="73" y="1660"/>
                  </a:cubicBezTo>
                  <a:cubicBezTo>
                    <a:pt x="73" y="1649"/>
                    <a:pt x="65" y="1640"/>
                    <a:pt x="62" y="1629"/>
                  </a:cubicBezTo>
                  <a:cubicBezTo>
                    <a:pt x="59" y="1618"/>
                    <a:pt x="58" y="1609"/>
                    <a:pt x="56" y="1598"/>
                  </a:cubicBezTo>
                  <a:cubicBezTo>
                    <a:pt x="53" y="1587"/>
                    <a:pt x="56" y="1576"/>
                    <a:pt x="54" y="1567"/>
                  </a:cubicBezTo>
                  <a:cubicBezTo>
                    <a:pt x="51" y="1559"/>
                    <a:pt x="54" y="1544"/>
                    <a:pt x="51" y="1536"/>
                  </a:cubicBezTo>
                  <a:cubicBezTo>
                    <a:pt x="48" y="1528"/>
                    <a:pt x="45" y="1513"/>
                    <a:pt x="45" y="1502"/>
                  </a:cubicBezTo>
                  <a:cubicBezTo>
                    <a:pt x="45" y="1491"/>
                    <a:pt x="42" y="1480"/>
                    <a:pt x="42" y="1471"/>
                  </a:cubicBezTo>
                  <a:cubicBezTo>
                    <a:pt x="42" y="1463"/>
                    <a:pt x="42" y="1449"/>
                    <a:pt x="42" y="1440"/>
                  </a:cubicBezTo>
                  <a:cubicBezTo>
                    <a:pt x="42" y="1432"/>
                    <a:pt x="39" y="1418"/>
                    <a:pt x="39" y="1406"/>
                  </a:cubicBezTo>
                  <a:cubicBezTo>
                    <a:pt x="39" y="1395"/>
                    <a:pt x="39" y="1384"/>
                    <a:pt x="39" y="1375"/>
                  </a:cubicBezTo>
                  <a:cubicBezTo>
                    <a:pt x="39" y="1367"/>
                    <a:pt x="37" y="1353"/>
                    <a:pt x="37" y="1345"/>
                  </a:cubicBezTo>
                  <a:cubicBezTo>
                    <a:pt x="37" y="1336"/>
                    <a:pt x="37" y="1322"/>
                    <a:pt x="37" y="1314"/>
                  </a:cubicBezTo>
                  <a:cubicBezTo>
                    <a:pt x="37" y="1305"/>
                    <a:pt x="39" y="1291"/>
                    <a:pt x="42" y="1283"/>
                  </a:cubicBezTo>
                  <a:cubicBezTo>
                    <a:pt x="45" y="1274"/>
                    <a:pt x="39" y="1257"/>
                    <a:pt x="39" y="1246"/>
                  </a:cubicBezTo>
                  <a:cubicBezTo>
                    <a:pt x="39" y="1234"/>
                    <a:pt x="39" y="1223"/>
                    <a:pt x="42" y="1215"/>
                  </a:cubicBezTo>
                  <a:cubicBezTo>
                    <a:pt x="45" y="1206"/>
                    <a:pt x="48" y="1195"/>
                    <a:pt x="51" y="1184"/>
                  </a:cubicBezTo>
                  <a:cubicBezTo>
                    <a:pt x="54" y="1172"/>
                    <a:pt x="53" y="1161"/>
                    <a:pt x="56" y="1153"/>
                  </a:cubicBezTo>
                  <a:cubicBezTo>
                    <a:pt x="58" y="1144"/>
                    <a:pt x="59" y="1130"/>
                    <a:pt x="62" y="1122"/>
                  </a:cubicBezTo>
                  <a:cubicBezTo>
                    <a:pt x="65" y="1113"/>
                    <a:pt x="68" y="1100"/>
                    <a:pt x="68" y="1089"/>
                  </a:cubicBezTo>
                  <a:cubicBezTo>
                    <a:pt x="68" y="1077"/>
                    <a:pt x="70" y="1065"/>
                    <a:pt x="73" y="1057"/>
                  </a:cubicBezTo>
                  <a:cubicBezTo>
                    <a:pt x="76" y="1048"/>
                    <a:pt x="76" y="1034"/>
                    <a:pt x="79" y="1026"/>
                  </a:cubicBezTo>
                  <a:cubicBezTo>
                    <a:pt x="82" y="1017"/>
                    <a:pt x="90" y="1006"/>
                    <a:pt x="93" y="995"/>
                  </a:cubicBezTo>
                  <a:cubicBezTo>
                    <a:pt x="96" y="983"/>
                    <a:pt x="98" y="972"/>
                    <a:pt x="101" y="964"/>
                  </a:cubicBezTo>
                  <a:cubicBezTo>
                    <a:pt x="103" y="955"/>
                    <a:pt x="104" y="941"/>
                    <a:pt x="110" y="933"/>
                  </a:cubicBezTo>
                  <a:cubicBezTo>
                    <a:pt x="116" y="924"/>
                    <a:pt x="118" y="913"/>
                    <a:pt x="121" y="902"/>
                  </a:cubicBezTo>
                  <a:cubicBezTo>
                    <a:pt x="124" y="890"/>
                    <a:pt x="132" y="882"/>
                    <a:pt x="135" y="874"/>
                  </a:cubicBezTo>
                  <a:cubicBezTo>
                    <a:pt x="137" y="865"/>
                    <a:pt x="141" y="854"/>
                    <a:pt x="147" y="843"/>
                  </a:cubicBezTo>
                  <a:cubicBezTo>
                    <a:pt x="152" y="832"/>
                    <a:pt x="152" y="820"/>
                    <a:pt x="158" y="812"/>
                  </a:cubicBezTo>
                  <a:cubicBezTo>
                    <a:pt x="164" y="803"/>
                    <a:pt x="166" y="792"/>
                    <a:pt x="172" y="781"/>
                  </a:cubicBezTo>
                  <a:cubicBezTo>
                    <a:pt x="178" y="770"/>
                    <a:pt x="183" y="761"/>
                    <a:pt x="189" y="753"/>
                  </a:cubicBezTo>
                  <a:cubicBezTo>
                    <a:pt x="195" y="744"/>
                    <a:pt x="200" y="733"/>
                    <a:pt x="206" y="725"/>
                  </a:cubicBezTo>
                  <a:cubicBezTo>
                    <a:pt x="212" y="716"/>
                    <a:pt x="217" y="705"/>
                    <a:pt x="223" y="694"/>
                  </a:cubicBezTo>
                  <a:cubicBezTo>
                    <a:pt x="228" y="682"/>
                    <a:pt x="234" y="673"/>
                    <a:pt x="240" y="665"/>
                  </a:cubicBezTo>
                  <a:cubicBezTo>
                    <a:pt x="245" y="656"/>
                    <a:pt x="251" y="645"/>
                    <a:pt x="257" y="637"/>
                  </a:cubicBezTo>
                  <a:cubicBezTo>
                    <a:pt x="262" y="628"/>
                    <a:pt x="270" y="617"/>
                    <a:pt x="276" y="609"/>
                  </a:cubicBezTo>
                  <a:cubicBezTo>
                    <a:pt x="281" y="601"/>
                    <a:pt x="287" y="589"/>
                    <a:pt x="296" y="581"/>
                  </a:cubicBezTo>
                  <a:cubicBezTo>
                    <a:pt x="304" y="572"/>
                    <a:pt x="313" y="563"/>
                    <a:pt x="319" y="555"/>
                  </a:cubicBezTo>
                  <a:cubicBezTo>
                    <a:pt x="324" y="546"/>
                    <a:pt x="330" y="535"/>
                    <a:pt x="339" y="527"/>
                  </a:cubicBezTo>
                  <a:cubicBezTo>
                    <a:pt x="347" y="518"/>
                    <a:pt x="355" y="510"/>
                    <a:pt x="361" y="502"/>
                  </a:cubicBezTo>
                  <a:cubicBezTo>
                    <a:pt x="367" y="493"/>
                    <a:pt x="378" y="484"/>
                    <a:pt x="384" y="476"/>
                  </a:cubicBezTo>
                  <a:cubicBezTo>
                    <a:pt x="389" y="467"/>
                    <a:pt x="394" y="456"/>
                    <a:pt x="403" y="448"/>
                  </a:cubicBezTo>
                  <a:cubicBezTo>
                    <a:pt x="411" y="439"/>
                    <a:pt x="420" y="434"/>
                    <a:pt x="429" y="426"/>
                  </a:cubicBezTo>
                  <a:cubicBezTo>
                    <a:pt x="437" y="417"/>
                    <a:pt x="442" y="405"/>
                    <a:pt x="451" y="400"/>
                  </a:cubicBezTo>
                  <a:cubicBezTo>
                    <a:pt x="459" y="394"/>
                    <a:pt x="471" y="388"/>
                    <a:pt x="480" y="380"/>
                  </a:cubicBezTo>
                  <a:cubicBezTo>
                    <a:pt x="488" y="371"/>
                    <a:pt x="493" y="364"/>
                    <a:pt x="502" y="358"/>
                  </a:cubicBezTo>
                  <a:cubicBezTo>
                    <a:pt x="510" y="352"/>
                    <a:pt x="519" y="343"/>
                    <a:pt x="528" y="338"/>
                  </a:cubicBezTo>
                  <a:cubicBezTo>
                    <a:pt x="536" y="332"/>
                    <a:pt x="544" y="323"/>
                    <a:pt x="553" y="318"/>
                  </a:cubicBezTo>
                  <a:cubicBezTo>
                    <a:pt x="561" y="312"/>
                    <a:pt x="566" y="302"/>
                    <a:pt x="578" y="296"/>
                  </a:cubicBezTo>
                  <a:cubicBezTo>
                    <a:pt x="589" y="290"/>
                    <a:pt x="595" y="285"/>
                    <a:pt x="607" y="279"/>
                  </a:cubicBezTo>
                  <a:cubicBezTo>
                    <a:pt x="618" y="273"/>
                    <a:pt x="623" y="264"/>
                    <a:pt x="632" y="259"/>
                  </a:cubicBezTo>
                  <a:cubicBezTo>
                    <a:pt x="640" y="253"/>
                    <a:pt x="651" y="251"/>
                    <a:pt x="660" y="245"/>
                  </a:cubicBezTo>
                  <a:cubicBezTo>
                    <a:pt x="668" y="239"/>
                    <a:pt x="676" y="231"/>
                    <a:pt x="688" y="228"/>
                  </a:cubicBezTo>
                  <a:cubicBezTo>
                    <a:pt x="699" y="225"/>
                    <a:pt x="705" y="216"/>
                    <a:pt x="717" y="211"/>
                  </a:cubicBezTo>
                  <a:cubicBezTo>
                    <a:pt x="728" y="205"/>
                    <a:pt x="736" y="203"/>
                    <a:pt x="745" y="197"/>
                  </a:cubicBezTo>
                  <a:cubicBezTo>
                    <a:pt x="753" y="191"/>
                    <a:pt x="762" y="186"/>
                    <a:pt x="773" y="180"/>
                  </a:cubicBezTo>
                  <a:cubicBezTo>
                    <a:pt x="782" y="175"/>
                    <a:pt x="792" y="172"/>
                    <a:pt x="801" y="166"/>
                  </a:cubicBezTo>
                  <a:cubicBezTo>
                    <a:pt x="809" y="160"/>
                    <a:pt x="820" y="160"/>
                    <a:pt x="832" y="155"/>
                  </a:cubicBezTo>
                  <a:cubicBezTo>
                    <a:pt x="843" y="149"/>
                    <a:pt x="852" y="144"/>
                    <a:pt x="861" y="141"/>
                  </a:cubicBezTo>
                  <a:cubicBezTo>
                    <a:pt x="869" y="138"/>
                    <a:pt x="880" y="132"/>
                    <a:pt x="889" y="127"/>
                  </a:cubicBezTo>
                  <a:cubicBezTo>
                    <a:pt x="897" y="121"/>
                    <a:pt x="908" y="117"/>
                    <a:pt x="920" y="115"/>
                  </a:cubicBezTo>
                  <a:cubicBezTo>
                    <a:pt x="931" y="112"/>
                    <a:pt x="942" y="113"/>
                    <a:pt x="951" y="107"/>
                  </a:cubicBezTo>
                  <a:cubicBezTo>
                    <a:pt x="959" y="101"/>
                    <a:pt x="971" y="98"/>
                    <a:pt x="982" y="96"/>
                  </a:cubicBezTo>
                  <a:cubicBezTo>
                    <a:pt x="993" y="93"/>
                    <a:pt x="1002" y="90"/>
                    <a:pt x="1013" y="87"/>
                  </a:cubicBezTo>
                  <a:cubicBezTo>
                    <a:pt x="1024" y="84"/>
                    <a:pt x="1033" y="79"/>
                    <a:pt x="1044" y="76"/>
                  </a:cubicBezTo>
                  <a:cubicBezTo>
                    <a:pt x="1055" y="73"/>
                    <a:pt x="1066" y="73"/>
                    <a:pt x="1075" y="70"/>
                  </a:cubicBezTo>
                  <a:cubicBezTo>
                    <a:pt x="1083" y="67"/>
                    <a:pt x="1095" y="65"/>
                    <a:pt x="1106" y="62"/>
                  </a:cubicBezTo>
                  <a:cubicBezTo>
                    <a:pt x="1117" y="59"/>
                    <a:pt x="1129" y="59"/>
                    <a:pt x="1137" y="59"/>
                  </a:cubicBezTo>
                  <a:cubicBezTo>
                    <a:pt x="1145" y="59"/>
                    <a:pt x="1157" y="56"/>
                    <a:pt x="1168" y="53"/>
                  </a:cubicBezTo>
                  <a:cubicBezTo>
                    <a:pt x="1179" y="50"/>
                    <a:pt x="1188" y="50"/>
                    <a:pt x="1199" y="48"/>
                  </a:cubicBezTo>
                  <a:cubicBezTo>
                    <a:pt x="1210" y="45"/>
                    <a:pt x="1219" y="42"/>
                    <a:pt x="1230" y="42"/>
                  </a:cubicBezTo>
                  <a:cubicBezTo>
                    <a:pt x="1241" y="42"/>
                    <a:pt x="1252" y="45"/>
                    <a:pt x="1261" y="45"/>
                  </a:cubicBezTo>
                  <a:cubicBezTo>
                    <a:pt x="1269" y="45"/>
                    <a:pt x="1287" y="36"/>
                    <a:pt x="1298" y="36"/>
                  </a:cubicBezTo>
                  <a:cubicBezTo>
                    <a:pt x="1309" y="36"/>
                    <a:pt x="1320" y="36"/>
                    <a:pt x="1329" y="36"/>
                  </a:cubicBezTo>
                  <a:cubicBezTo>
                    <a:pt x="1337" y="36"/>
                    <a:pt x="1351" y="36"/>
                    <a:pt x="1360" y="36"/>
                  </a:cubicBezTo>
                  <a:cubicBezTo>
                    <a:pt x="1368" y="36"/>
                    <a:pt x="1382" y="36"/>
                    <a:pt x="1390" y="36"/>
                  </a:cubicBezTo>
                  <a:cubicBezTo>
                    <a:pt x="1398" y="36"/>
                    <a:pt x="1416" y="36"/>
                    <a:pt x="1427" y="36"/>
                  </a:cubicBezTo>
                  <a:cubicBezTo>
                    <a:pt x="1439" y="36"/>
                    <a:pt x="1450" y="39"/>
                    <a:pt x="1458" y="39"/>
                  </a:cubicBezTo>
                  <a:cubicBezTo>
                    <a:pt x="1467" y="39"/>
                    <a:pt x="1481" y="39"/>
                    <a:pt x="1489" y="39"/>
                  </a:cubicBezTo>
                  <a:cubicBezTo>
                    <a:pt x="1498" y="39"/>
                    <a:pt x="1512" y="42"/>
                    <a:pt x="1520" y="45"/>
                  </a:cubicBezTo>
                  <a:cubicBezTo>
                    <a:pt x="1529" y="48"/>
                    <a:pt x="1543" y="45"/>
                    <a:pt x="1551" y="48"/>
                  </a:cubicBezTo>
                  <a:cubicBezTo>
                    <a:pt x="1560" y="50"/>
                    <a:pt x="1574" y="50"/>
                    <a:pt x="1582" y="50"/>
                  </a:cubicBezTo>
                  <a:cubicBezTo>
                    <a:pt x="1591" y="50"/>
                    <a:pt x="1605" y="53"/>
                    <a:pt x="1613" y="56"/>
                  </a:cubicBezTo>
                  <a:cubicBezTo>
                    <a:pt x="1622" y="59"/>
                    <a:pt x="1636" y="59"/>
                    <a:pt x="1644" y="62"/>
                  </a:cubicBezTo>
                  <a:cubicBezTo>
                    <a:pt x="1653" y="65"/>
                    <a:pt x="1667" y="67"/>
                    <a:pt x="1675" y="67"/>
                  </a:cubicBezTo>
                  <a:cubicBezTo>
                    <a:pt x="1683" y="67"/>
                    <a:pt x="1695" y="73"/>
                    <a:pt x="1706" y="76"/>
                  </a:cubicBezTo>
                  <a:cubicBezTo>
                    <a:pt x="1717" y="79"/>
                    <a:pt x="1726" y="81"/>
                    <a:pt x="1737" y="84"/>
                  </a:cubicBezTo>
                  <a:cubicBezTo>
                    <a:pt x="1748" y="87"/>
                    <a:pt x="1757" y="93"/>
                    <a:pt x="1768" y="98"/>
                  </a:cubicBezTo>
                  <a:cubicBezTo>
                    <a:pt x="1779" y="104"/>
                    <a:pt x="1788" y="104"/>
                    <a:pt x="1799" y="107"/>
                  </a:cubicBezTo>
                  <a:cubicBezTo>
                    <a:pt x="1810" y="110"/>
                    <a:pt x="1822" y="112"/>
                    <a:pt x="1830" y="115"/>
                  </a:cubicBezTo>
                  <a:cubicBezTo>
                    <a:pt x="1839" y="117"/>
                    <a:pt x="1850" y="126"/>
                    <a:pt x="1861" y="129"/>
                  </a:cubicBezTo>
                  <a:cubicBezTo>
                    <a:pt x="1872" y="131"/>
                    <a:pt x="1881" y="138"/>
                    <a:pt x="1892" y="141"/>
                  </a:cubicBezTo>
                  <a:cubicBezTo>
                    <a:pt x="1904" y="144"/>
                    <a:pt x="1912" y="152"/>
                    <a:pt x="1923" y="155"/>
                  </a:cubicBezTo>
                  <a:cubicBezTo>
                    <a:pt x="1935" y="158"/>
                    <a:pt x="1946" y="160"/>
                    <a:pt x="1954" y="166"/>
                  </a:cubicBezTo>
                  <a:cubicBezTo>
                    <a:pt x="1963" y="172"/>
                    <a:pt x="1975" y="177"/>
                    <a:pt x="1983" y="183"/>
                  </a:cubicBezTo>
                  <a:cubicBezTo>
                    <a:pt x="1992" y="189"/>
                    <a:pt x="2003" y="194"/>
                    <a:pt x="2014" y="200"/>
                  </a:cubicBezTo>
                  <a:cubicBezTo>
                    <a:pt x="2026" y="206"/>
                    <a:pt x="2034" y="211"/>
                    <a:pt x="2045" y="217"/>
                  </a:cubicBezTo>
                  <a:cubicBezTo>
                    <a:pt x="2057" y="223"/>
                    <a:pt x="2065" y="231"/>
                    <a:pt x="2073" y="237"/>
                  </a:cubicBezTo>
                  <a:cubicBezTo>
                    <a:pt x="2082" y="242"/>
                    <a:pt x="2093" y="248"/>
                    <a:pt x="2104" y="254"/>
                  </a:cubicBezTo>
                  <a:cubicBezTo>
                    <a:pt x="2115" y="259"/>
                    <a:pt x="2124" y="267"/>
                    <a:pt x="2132" y="273"/>
                  </a:cubicBezTo>
                  <a:cubicBezTo>
                    <a:pt x="2141" y="278"/>
                    <a:pt x="2152" y="287"/>
                    <a:pt x="2160" y="293"/>
                  </a:cubicBezTo>
                  <a:cubicBezTo>
                    <a:pt x="2169" y="299"/>
                    <a:pt x="2180" y="304"/>
                    <a:pt x="2189" y="313"/>
                  </a:cubicBezTo>
                  <a:cubicBezTo>
                    <a:pt x="2197" y="318"/>
                    <a:pt x="2209" y="324"/>
                    <a:pt x="2217" y="333"/>
                  </a:cubicBezTo>
                  <a:cubicBezTo>
                    <a:pt x="2226" y="341"/>
                    <a:pt x="2231" y="349"/>
                    <a:pt x="2239" y="358"/>
                  </a:cubicBezTo>
                  <a:cubicBezTo>
                    <a:pt x="2248" y="366"/>
                    <a:pt x="2257" y="371"/>
                    <a:pt x="2265" y="380"/>
                  </a:cubicBezTo>
                  <a:cubicBezTo>
                    <a:pt x="2274" y="388"/>
                    <a:pt x="2285" y="391"/>
                    <a:pt x="2293" y="400"/>
                  </a:cubicBezTo>
                  <a:cubicBezTo>
                    <a:pt x="2302" y="408"/>
                    <a:pt x="2307" y="417"/>
                    <a:pt x="2315" y="426"/>
                  </a:cubicBezTo>
                  <a:cubicBezTo>
                    <a:pt x="2324" y="434"/>
                    <a:pt x="2330" y="443"/>
                    <a:pt x="2335" y="451"/>
                  </a:cubicBezTo>
                  <a:cubicBezTo>
                    <a:pt x="2341" y="459"/>
                    <a:pt x="2353" y="465"/>
                    <a:pt x="2361" y="474"/>
                  </a:cubicBezTo>
                  <a:cubicBezTo>
                    <a:pt x="2370" y="482"/>
                    <a:pt x="2372" y="491"/>
                    <a:pt x="2380" y="499"/>
                  </a:cubicBezTo>
                  <a:cubicBezTo>
                    <a:pt x="2389" y="507"/>
                    <a:pt x="2395" y="515"/>
                    <a:pt x="2403" y="524"/>
                  </a:cubicBezTo>
                  <a:cubicBezTo>
                    <a:pt x="2412" y="532"/>
                    <a:pt x="2418" y="541"/>
                    <a:pt x="2426" y="550"/>
                  </a:cubicBezTo>
                  <a:cubicBezTo>
                    <a:pt x="2435" y="558"/>
                    <a:pt x="2437" y="569"/>
                    <a:pt x="2442" y="578"/>
                  </a:cubicBezTo>
                  <a:cubicBezTo>
                    <a:pt x="2448" y="586"/>
                    <a:pt x="2457" y="594"/>
                    <a:pt x="2465" y="603"/>
                  </a:cubicBezTo>
                  <a:cubicBezTo>
                    <a:pt x="2474" y="611"/>
                    <a:pt x="2474" y="623"/>
                    <a:pt x="2479" y="632"/>
                  </a:cubicBezTo>
                  <a:cubicBezTo>
                    <a:pt x="2485" y="640"/>
                    <a:pt x="2493" y="648"/>
                    <a:pt x="2499" y="657"/>
                  </a:cubicBezTo>
                  <a:cubicBezTo>
                    <a:pt x="2505" y="665"/>
                    <a:pt x="2507" y="676"/>
                    <a:pt x="2513" y="685"/>
                  </a:cubicBezTo>
                  <a:cubicBezTo>
                    <a:pt x="2519" y="693"/>
                    <a:pt x="2527" y="701"/>
                    <a:pt x="2530" y="713"/>
                  </a:cubicBezTo>
                  <a:cubicBezTo>
                    <a:pt x="2533" y="724"/>
                    <a:pt x="2541" y="730"/>
                    <a:pt x="2547" y="742"/>
                  </a:cubicBezTo>
                  <a:cubicBezTo>
                    <a:pt x="2553" y="753"/>
                    <a:pt x="2553" y="761"/>
                    <a:pt x="2558" y="773"/>
                  </a:cubicBezTo>
                  <a:cubicBezTo>
                    <a:pt x="2564" y="784"/>
                    <a:pt x="2567" y="792"/>
                    <a:pt x="2572" y="801"/>
                  </a:cubicBezTo>
                  <a:cubicBezTo>
                    <a:pt x="2578" y="809"/>
                    <a:pt x="2581" y="821"/>
                    <a:pt x="2586" y="829"/>
                  </a:cubicBezTo>
                  <a:cubicBezTo>
                    <a:pt x="2592" y="837"/>
                    <a:pt x="2598" y="846"/>
                    <a:pt x="2603" y="857"/>
                  </a:cubicBezTo>
                  <a:cubicBezTo>
                    <a:pt x="2609" y="868"/>
                    <a:pt x="2607" y="879"/>
                    <a:pt x="2612" y="888"/>
                  </a:cubicBezTo>
                  <a:cubicBezTo>
                    <a:pt x="2618" y="896"/>
                    <a:pt x="2623" y="907"/>
                    <a:pt x="2626" y="916"/>
                  </a:cubicBezTo>
                  <a:cubicBezTo>
                    <a:pt x="2629" y="924"/>
                    <a:pt x="2632" y="935"/>
                    <a:pt x="2634" y="947"/>
                  </a:cubicBezTo>
                  <a:cubicBezTo>
                    <a:pt x="2637" y="958"/>
                    <a:pt x="2644" y="967"/>
                    <a:pt x="2646" y="979"/>
                  </a:cubicBezTo>
                  <a:cubicBezTo>
                    <a:pt x="2649" y="990"/>
                    <a:pt x="2651" y="998"/>
                    <a:pt x="2654" y="1010"/>
                  </a:cubicBezTo>
                  <a:cubicBezTo>
                    <a:pt x="2657" y="1021"/>
                    <a:pt x="2663" y="1029"/>
                    <a:pt x="2663" y="1041"/>
                  </a:cubicBezTo>
                  <a:cubicBezTo>
                    <a:pt x="2663" y="1052"/>
                    <a:pt x="2665" y="1060"/>
                    <a:pt x="2668" y="1072"/>
                  </a:cubicBezTo>
                  <a:cubicBezTo>
                    <a:pt x="2671" y="1083"/>
                    <a:pt x="2671" y="1091"/>
                    <a:pt x="2674" y="1103"/>
                  </a:cubicBezTo>
                  <a:cubicBezTo>
                    <a:pt x="2677" y="1114"/>
                    <a:pt x="2677" y="1122"/>
                    <a:pt x="2679" y="1134"/>
                  </a:cubicBezTo>
                  <a:cubicBezTo>
                    <a:pt x="2682" y="1145"/>
                    <a:pt x="2685" y="1153"/>
                    <a:pt x="2685" y="1165"/>
                  </a:cubicBezTo>
                  <a:cubicBezTo>
                    <a:pt x="2685" y="1176"/>
                    <a:pt x="2688" y="1187"/>
                    <a:pt x="2688" y="1196"/>
                  </a:cubicBezTo>
                  <a:cubicBezTo>
                    <a:pt x="2688" y="1204"/>
                    <a:pt x="2691" y="1218"/>
                    <a:pt x="2691" y="1227"/>
                  </a:cubicBezTo>
                  <a:cubicBezTo>
                    <a:pt x="2691" y="1235"/>
                    <a:pt x="2696" y="1246"/>
                    <a:pt x="2696" y="1258"/>
                  </a:cubicBezTo>
                  <a:cubicBezTo>
                    <a:pt x="2696" y="1269"/>
                    <a:pt x="2694" y="1280"/>
                    <a:pt x="2694" y="1289"/>
                  </a:cubicBezTo>
                  <a:cubicBezTo>
                    <a:pt x="2694" y="1297"/>
                    <a:pt x="2696" y="1311"/>
                    <a:pt x="2696" y="1320"/>
                  </a:cubicBezTo>
                  <a:cubicBezTo>
                    <a:pt x="2696" y="1328"/>
                    <a:pt x="2699" y="1342"/>
                    <a:pt x="2699" y="1351"/>
                  </a:cubicBezTo>
                  <a:cubicBezTo>
                    <a:pt x="2699" y="1359"/>
                    <a:pt x="2702" y="1378"/>
                    <a:pt x="2699" y="1389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9" name="Freeform 6"/>
            <p:cNvSpPr>
              <a:spLocks noChangeArrowheads="1"/>
            </p:cNvSpPr>
            <p:nvPr/>
          </p:nvSpPr>
          <p:spPr bwMode="auto">
            <a:xfrm>
              <a:off x="4498975" y="2205038"/>
              <a:ext cx="9525" cy="7937"/>
            </a:xfrm>
            <a:custGeom>
              <a:avLst/>
              <a:gdLst>
                <a:gd name="T0" fmla="*/ 14 w 26"/>
                <a:gd name="T1" fmla="*/ 0 h 23"/>
                <a:gd name="T2" fmla="*/ 0 w 26"/>
                <a:gd name="T3" fmla="*/ 8 h 23"/>
                <a:gd name="T4" fmla="*/ 0 w 26"/>
                <a:gd name="T5" fmla="*/ 22 h 23"/>
                <a:gd name="T6" fmla="*/ 3 w 26"/>
                <a:gd name="T7" fmla="*/ 22 h 23"/>
                <a:gd name="T8" fmla="*/ 14 w 26"/>
                <a:gd name="T9" fmla="*/ 22 h 23"/>
                <a:gd name="T10" fmla="*/ 14 w 26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3">
                  <a:moveTo>
                    <a:pt x="14" y="0"/>
                  </a:moveTo>
                  <a:cubicBezTo>
                    <a:pt x="8" y="3"/>
                    <a:pt x="6" y="5"/>
                    <a:pt x="0" y="8"/>
                  </a:cubicBezTo>
                  <a:lnTo>
                    <a:pt x="0" y="22"/>
                  </a:lnTo>
                  <a:lnTo>
                    <a:pt x="3" y="22"/>
                  </a:lnTo>
                  <a:cubicBezTo>
                    <a:pt x="6" y="22"/>
                    <a:pt x="11" y="22"/>
                    <a:pt x="14" y="22"/>
                  </a:cubicBezTo>
                  <a:cubicBezTo>
                    <a:pt x="23" y="19"/>
                    <a:pt x="25" y="3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0" name="Freeform 7"/>
            <p:cNvSpPr>
              <a:spLocks noChangeArrowheads="1"/>
            </p:cNvSpPr>
            <p:nvPr/>
          </p:nvSpPr>
          <p:spPr bwMode="auto">
            <a:xfrm>
              <a:off x="4487863" y="2219325"/>
              <a:ext cx="3175" cy="3175"/>
            </a:xfrm>
            <a:custGeom>
              <a:avLst/>
              <a:gdLst>
                <a:gd name="T0" fmla="*/ 0 w 9"/>
                <a:gd name="T1" fmla="*/ 3 h 10"/>
                <a:gd name="T2" fmla="*/ 0 w 9"/>
                <a:gd name="T3" fmla="*/ 3 h 10"/>
                <a:gd name="T4" fmla="*/ 6 w 9"/>
                <a:gd name="T5" fmla="*/ 9 h 10"/>
                <a:gd name="T6" fmla="*/ 0 w 9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3"/>
                  </a:moveTo>
                  <a:lnTo>
                    <a:pt x="0" y="3"/>
                  </a:lnTo>
                  <a:cubicBezTo>
                    <a:pt x="3" y="6"/>
                    <a:pt x="3" y="9"/>
                    <a:pt x="6" y="9"/>
                  </a:cubicBezTo>
                  <a:cubicBezTo>
                    <a:pt x="8" y="6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1" name="Freeform 8"/>
            <p:cNvSpPr>
              <a:spLocks noChangeArrowheads="1"/>
            </p:cNvSpPr>
            <p:nvPr/>
          </p:nvSpPr>
          <p:spPr bwMode="auto">
            <a:xfrm>
              <a:off x="4522788" y="2224088"/>
              <a:ext cx="3175" cy="3175"/>
            </a:xfrm>
            <a:custGeom>
              <a:avLst/>
              <a:gdLst>
                <a:gd name="T0" fmla="*/ 8 w 9"/>
                <a:gd name="T1" fmla="*/ 3 h 7"/>
                <a:gd name="T2" fmla="*/ 0 w 9"/>
                <a:gd name="T3" fmla="*/ 0 h 7"/>
                <a:gd name="T4" fmla="*/ 3 w 9"/>
                <a:gd name="T5" fmla="*/ 6 h 7"/>
                <a:gd name="T6" fmla="*/ 8 w 9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8" y="3"/>
                  </a:moveTo>
                  <a:cubicBezTo>
                    <a:pt x="6" y="3"/>
                    <a:pt x="6" y="0"/>
                    <a:pt x="0" y="0"/>
                  </a:cubicBezTo>
                  <a:cubicBezTo>
                    <a:pt x="0" y="3"/>
                    <a:pt x="3" y="3"/>
                    <a:pt x="3" y="6"/>
                  </a:cubicBezTo>
                  <a:cubicBezTo>
                    <a:pt x="8" y="6"/>
                    <a:pt x="8" y="6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2" name="Freeform 9"/>
            <p:cNvSpPr>
              <a:spLocks noChangeArrowheads="1"/>
            </p:cNvSpPr>
            <p:nvPr/>
          </p:nvSpPr>
          <p:spPr bwMode="auto">
            <a:xfrm>
              <a:off x="3778250" y="2181225"/>
              <a:ext cx="14288" cy="11113"/>
            </a:xfrm>
            <a:custGeom>
              <a:avLst/>
              <a:gdLst>
                <a:gd name="T0" fmla="*/ 23 w 38"/>
                <a:gd name="T1" fmla="*/ 8 h 32"/>
                <a:gd name="T2" fmla="*/ 9 w 38"/>
                <a:gd name="T3" fmla="*/ 0 h 32"/>
                <a:gd name="T4" fmla="*/ 3 w 38"/>
                <a:gd name="T5" fmla="*/ 23 h 32"/>
                <a:gd name="T6" fmla="*/ 12 w 38"/>
                <a:gd name="T7" fmla="*/ 31 h 32"/>
                <a:gd name="T8" fmla="*/ 23 w 38"/>
                <a:gd name="T9" fmla="*/ 20 h 32"/>
                <a:gd name="T10" fmla="*/ 31 w 38"/>
                <a:gd name="T11" fmla="*/ 3 h 32"/>
                <a:gd name="T12" fmla="*/ 23 w 38"/>
                <a:gd name="T13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32">
                  <a:moveTo>
                    <a:pt x="23" y="8"/>
                  </a:moveTo>
                  <a:cubicBezTo>
                    <a:pt x="15" y="11"/>
                    <a:pt x="17" y="0"/>
                    <a:pt x="9" y="0"/>
                  </a:cubicBezTo>
                  <a:cubicBezTo>
                    <a:pt x="6" y="8"/>
                    <a:pt x="0" y="14"/>
                    <a:pt x="3" y="23"/>
                  </a:cubicBezTo>
                  <a:cubicBezTo>
                    <a:pt x="9" y="23"/>
                    <a:pt x="15" y="23"/>
                    <a:pt x="12" y="31"/>
                  </a:cubicBezTo>
                  <a:cubicBezTo>
                    <a:pt x="20" y="31"/>
                    <a:pt x="20" y="23"/>
                    <a:pt x="23" y="20"/>
                  </a:cubicBezTo>
                  <a:cubicBezTo>
                    <a:pt x="29" y="17"/>
                    <a:pt x="37" y="11"/>
                    <a:pt x="31" y="3"/>
                  </a:cubicBezTo>
                  <a:cubicBezTo>
                    <a:pt x="26" y="0"/>
                    <a:pt x="31" y="11"/>
                    <a:pt x="2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3" name="Freeform 10"/>
            <p:cNvSpPr>
              <a:spLocks noChangeArrowheads="1"/>
            </p:cNvSpPr>
            <p:nvPr/>
          </p:nvSpPr>
          <p:spPr bwMode="auto">
            <a:xfrm>
              <a:off x="3813175" y="2162175"/>
              <a:ext cx="3175" cy="3175"/>
            </a:xfrm>
            <a:custGeom>
              <a:avLst/>
              <a:gdLst>
                <a:gd name="T0" fmla="*/ 2 w 9"/>
                <a:gd name="T1" fmla="*/ 0 h 10"/>
                <a:gd name="T2" fmla="*/ 0 w 9"/>
                <a:gd name="T3" fmla="*/ 9 h 10"/>
                <a:gd name="T4" fmla="*/ 5 w 9"/>
                <a:gd name="T5" fmla="*/ 9 h 10"/>
                <a:gd name="T6" fmla="*/ 2 w 9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2" y="0"/>
                  </a:moveTo>
                  <a:cubicBezTo>
                    <a:pt x="2" y="3"/>
                    <a:pt x="0" y="3"/>
                    <a:pt x="0" y="9"/>
                  </a:cubicBezTo>
                  <a:lnTo>
                    <a:pt x="5" y="9"/>
                  </a:lnTo>
                  <a:cubicBezTo>
                    <a:pt x="8" y="6"/>
                    <a:pt x="8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4" name="Freeform 11"/>
            <p:cNvSpPr>
              <a:spLocks noChangeArrowheads="1"/>
            </p:cNvSpPr>
            <p:nvPr/>
          </p:nvSpPr>
          <p:spPr bwMode="auto">
            <a:xfrm>
              <a:off x="3767138" y="2208213"/>
              <a:ext cx="1587" cy="3175"/>
            </a:xfrm>
            <a:custGeom>
              <a:avLst/>
              <a:gdLst>
                <a:gd name="T0" fmla="*/ 3 w 4"/>
                <a:gd name="T1" fmla="*/ 6 h 10"/>
                <a:gd name="T2" fmla="*/ 3 w 4"/>
                <a:gd name="T3" fmla="*/ 9 h 10"/>
                <a:gd name="T4" fmla="*/ 0 w 4"/>
                <a:gd name="T5" fmla="*/ 0 h 10"/>
                <a:gd name="T6" fmla="*/ 3 w 4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6"/>
                  </a:moveTo>
                  <a:lnTo>
                    <a:pt x="3" y="9"/>
                  </a:lnTo>
                  <a:cubicBezTo>
                    <a:pt x="3" y="6"/>
                    <a:pt x="3" y="3"/>
                    <a:pt x="0" y="0"/>
                  </a:cubicBezTo>
                  <a:cubicBezTo>
                    <a:pt x="3" y="3"/>
                    <a:pt x="3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5" name="Freeform 12"/>
            <p:cNvSpPr>
              <a:spLocks noChangeArrowheads="1"/>
            </p:cNvSpPr>
            <p:nvPr/>
          </p:nvSpPr>
          <p:spPr bwMode="auto">
            <a:xfrm>
              <a:off x="4486275" y="2189163"/>
              <a:ext cx="1588" cy="3175"/>
            </a:xfrm>
            <a:custGeom>
              <a:avLst/>
              <a:gdLst>
                <a:gd name="T0" fmla="*/ 0 w 4"/>
                <a:gd name="T1" fmla="*/ 0 h 10"/>
                <a:gd name="T2" fmla="*/ 3 w 4"/>
                <a:gd name="T3" fmla="*/ 9 h 10"/>
                <a:gd name="T4" fmla="*/ 3 w 4"/>
                <a:gd name="T5" fmla="*/ 9 h 10"/>
                <a:gd name="T6" fmla="*/ 0 w 4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0" y="0"/>
                  </a:moveTo>
                  <a:cubicBezTo>
                    <a:pt x="0" y="3"/>
                    <a:pt x="3" y="6"/>
                    <a:pt x="3" y="9"/>
                  </a:cubicBezTo>
                  <a:lnTo>
                    <a:pt x="3" y="9"/>
                  </a:lnTo>
                  <a:cubicBezTo>
                    <a:pt x="3" y="6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6" name="Freeform 13"/>
            <p:cNvSpPr>
              <a:spLocks noChangeArrowheads="1"/>
            </p:cNvSpPr>
            <p:nvPr/>
          </p:nvSpPr>
          <p:spPr bwMode="auto">
            <a:xfrm>
              <a:off x="4456113" y="2189163"/>
              <a:ext cx="4762" cy="4762"/>
            </a:xfrm>
            <a:custGeom>
              <a:avLst/>
              <a:gdLst>
                <a:gd name="T0" fmla="*/ 8 w 12"/>
                <a:gd name="T1" fmla="*/ 0 h 13"/>
                <a:gd name="T2" fmla="*/ 0 w 12"/>
                <a:gd name="T3" fmla="*/ 3 h 13"/>
                <a:gd name="T4" fmla="*/ 8 w 12"/>
                <a:gd name="T5" fmla="*/ 12 h 13"/>
                <a:gd name="T6" fmla="*/ 8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8" y="0"/>
                  </a:moveTo>
                  <a:cubicBezTo>
                    <a:pt x="5" y="0"/>
                    <a:pt x="2" y="0"/>
                    <a:pt x="0" y="3"/>
                  </a:cubicBezTo>
                  <a:cubicBezTo>
                    <a:pt x="2" y="6"/>
                    <a:pt x="5" y="9"/>
                    <a:pt x="8" y="12"/>
                  </a:cubicBezTo>
                  <a:cubicBezTo>
                    <a:pt x="11" y="6"/>
                    <a:pt x="11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7" name="Freeform 14"/>
            <p:cNvSpPr>
              <a:spLocks noChangeArrowheads="1"/>
            </p:cNvSpPr>
            <p:nvPr/>
          </p:nvSpPr>
          <p:spPr bwMode="auto">
            <a:xfrm>
              <a:off x="4443413" y="2971800"/>
              <a:ext cx="1587" cy="1588"/>
            </a:xfrm>
            <a:custGeom>
              <a:avLst/>
              <a:gdLst>
                <a:gd name="T0" fmla="*/ 2 w 3"/>
                <a:gd name="T1" fmla="*/ 3 h 4"/>
                <a:gd name="T2" fmla="*/ 2 w 3"/>
                <a:gd name="T3" fmla="*/ 3 h 4"/>
                <a:gd name="T4" fmla="*/ 2 w 3"/>
                <a:gd name="T5" fmla="*/ 3 h 4"/>
                <a:gd name="T6" fmla="*/ 0 w 3"/>
                <a:gd name="T7" fmla="*/ 3 h 4"/>
                <a:gd name="T8" fmla="*/ 2 w 3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2" y="3"/>
                  </a:moveTo>
                  <a:lnTo>
                    <a:pt x="2" y="3"/>
                  </a:lnTo>
                  <a:cubicBezTo>
                    <a:pt x="2" y="3"/>
                    <a:pt x="2" y="0"/>
                    <a:pt x="2" y="3"/>
                  </a:cubicBezTo>
                  <a:cubicBezTo>
                    <a:pt x="2" y="0"/>
                    <a:pt x="0" y="0"/>
                    <a:pt x="0" y="3"/>
                  </a:cubicBezTo>
                  <a:lnTo>
                    <a:pt x="2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8" name="Freeform 15"/>
            <p:cNvSpPr>
              <a:spLocks noChangeArrowheads="1"/>
            </p:cNvSpPr>
            <p:nvPr/>
          </p:nvSpPr>
          <p:spPr bwMode="auto">
            <a:xfrm>
              <a:off x="4240213" y="3087688"/>
              <a:ext cx="3175" cy="1587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3 h 6"/>
                <a:gd name="T4" fmla="*/ 6 w 7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cubicBezTo>
                    <a:pt x="3" y="0"/>
                    <a:pt x="3" y="3"/>
                    <a:pt x="0" y="3"/>
                  </a:cubicBezTo>
                  <a:cubicBezTo>
                    <a:pt x="3" y="5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9" name="Freeform 16"/>
            <p:cNvSpPr>
              <a:spLocks noChangeArrowheads="1"/>
            </p:cNvSpPr>
            <p:nvPr/>
          </p:nvSpPr>
          <p:spPr bwMode="auto">
            <a:xfrm>
              <a:off x="4340225" y="3033713"/>
              <a:ext cx="6350" cy="4762"/>
            </a:xfrm>
            <a:custGeom>
              <a:avLst/>
              <a:gdLst>
                <a:gd name="T0" fmla="*/ 0 w 18"/>
                <a:gd name="T1" fmla="*/ 11 h 12"/>
                <a:gd name="T2" fmla="*/ 17 w 18"/>
                <a:gd name="T3" fmla="*/ 0 h 12"/>
                <a:gd name="T4" fmla="*/ 0 w 18"/>
                <a:gd name="T5" fmla="*/ 8 h 12"/>
                <a:gd name="T6" fmla="*/ 0 w 18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2">
                  <a:moveTo>
                    <a:pt x="0" y="11"/>
                  </a:moveTo>
                  <a:cubicBezTo>
                    <a:pt x="11" y="11"/>
                    <a:pt x="14" y="8"/>
                    <a:pt x="17" y="0"/>
                  </a:cubicBezTo>
                  <a:cubicBezTo>
                    <a:pt x="11" y="2"/>
                    <a:pt x="5" y="5"/>
                    <a:pt x="0" y="8"/>
                  </a:cubicBezTo>
                  <a:cubicBezTo>
                    <a:pt x="0" y="11"/>
                    <a:pt x="0" y="11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0" name="Freeform 17"/>
            <p:cNvSpPr>
              <a:spLocks noChangeArrowheads="1"/>
            </p:cNvSpPr>
            <p:nvPr/>
          </p:nvSpPr>
          <p:spPr bwMode="auto">
            <a:xfrm>
              <a:off x="4552950" y="2290763"/>
              <a:ext cx="15875" cy="6350"/>
            </a:xfrm>
            <a:custGeom>
              <a:avLst/>
              <a:gdLst>
                <a:gd name="T0" fmla="*/ 37 w 46"/>
                <a:gd name="T1" fmla="*/ 9 h 16"/>
                <a:gd name="T2" fmla="*/ 3 w 46"/>
                <a:gd name="T3" fmla="*/ 0 h 16"/>
                <a:gd name="T4" fmla="*/ 0 w 46"/>
                <a:gd name="T5" fmla="*/ 9 h 16"/>
                <a:gd name="T6" fmla="*/ 45 w 46"/>
                <a:gd name="T7" fmla="*/ 15 h 16"/>
                <a:gd name="T8" fmla="*/ 37 w 46"/>
                <a:gd name="T9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6">
                  <a:moveTo>
                    <a:pt x="37" y="9"/>
                  </a:moveTo>
                  <a:cubicBezTo>
                    <a:pt x="26" y="3"/>
                    <a:pt x="14" y="0"/>
                    <a:pt x="3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14" y="9"/>
                    <a:pt x="31" y="12"/>
                    <a:pt x="45" y="15"/>
                  </a:cubicBezTo>
                  <a:cubicBezTo>
                    <a:pt x="45" y="15"/>
                    <a:pt x="43" y="12"/>
                    <a:pt x="37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1" name="Freeform 18"/>
            <p:cNvSpPr>
              <a:spLocks noChangeArrowheads="1"/>
            </p:cNvSpPr>
            <p:nvPr/>
          </p:nvSpPr>
          <p:spPr bwMode="auto">
            <a:xfrm>
              <a:off x="4624388" y="2436813"/>
              <a:ext cx="4762" cy="4762"/>
            </a:xfrm>
            <a:custGeom>
              <a:avLst/>
              <a:gdLst>
                <a:gd name="T0" fmla="*/ 0 w 15"/>
                <a:gd name="T1" fmla="*/ 0 h 15"/>
                <a:gd name="T2" fmla="*/ 0 w 15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0" y="0"/>
                  </a:moveTo>
                  <a:cubicBezTo>
                    <a:pt x="0" y="14"/>
                    <a:pt x="14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2" name="Freeform 19"/>
            <p:cNvSpPr>
              <a:spLocks noChangeArrowheads="1"/>
            </p:cNvSpPr>
            <p:nvPr/>
          </p:nvSpPr>
          <p:spPr bwMode="auto">
            <a:xfrm>
              <a:off x="4443413" y="2170113"/>
              <a:ext cx="3175" cy="4762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11 h 15"/>
                <a:gd name="T4" fmla="*/ 0 w 9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lnTo>
                    <a:pt x="0" y="11"/>
                  </a:lnTo>
                  <a:cubicBezTo>
                    <a:pt x="8" y="14"/>
                    <a:pt x="8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3" name="Freeform 20"/>
            <p:cNvSpPr>
              <a:spLocks noChangeArrowheads="1"/>
            </p:cNvSpPr>
            <p:nvPr/>
          </p:nvSpPr>
          <p:spPr bwMode="auto">
            <a:xfrm>
              <a:off x="4470400" y="2181225"/>
              <a:ext cx="4763" cy="4763"/>
            </a:xfrm>
            <a:custGeom>
              <a:avLst/>
              <a:gdLst>
                <a:gd name="T0" fmla="*/ 0 w 12"/>
                <a:gd name="T1" fmla="*/ 0 h 12"/>
                <a:gd name="T2" fmla="*/ 3 w 12"/>
                <a:gd name="T3" fmla="*/ 11 h 12"/>
                <a:gd name="T4" fmla="*/ 11 w 12"/>
                <a:gd name="T5" fmla="*/ 0 h 12"/>
                <a:gd name="T6" fmla="*/ 0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0" y="0"/>
                  </a:moveTo>
                  <a:cubicBezTo>
                    <a:pt x="0" y="6"/>
                    <a:pt x="3" y="6"/>
                    <a:pt x="3" y="11"/>
                  </a:cubicBezTo>
                  <a:cubicBezTo>
                    <a:pt x="8" y="11"/>
                    <a:pt x="11" y="8"/>
                    <a:pt x="11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4" name="Freeform 21"/>
            <p:cNvSpPr>
              <a:spLocks noChangeArrowheads="1"/>
            </p:cNvSpPr>
            <p:nvPr/>
          </p:nvSpPr>
          <p:spPr bwMode="auto">
            <a:xfrm>
              <a:off x="4178300" y="3079750"/>
              <a:ext cx="11113" cy="4763"/>
            </a:xfrm>
            <a:custGeom>
              <a:avLst/>
              <a:gdLst>
                <a:gd name="T0" fmla="*/ 31 w 32"/>
                <a:gd name="T1" fmla="*/ 0 h 15"/>
                <a:gd name="T2" fmla="*/ 0 w 32"/>
                <a:gd name="T3" fmla="*/ 3 h 15"/>
                <a:gd name="T4" fmla="*/ 26 w 32"/>
                <a:gd name="T5" fmla="*/ 9 h 15"/>
                <a:gd name="T6" fmla="*/ 31 w 32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31" y="0"/>
                  </a:moveTo>
                  <a:cubicBezTo>
                    <a:pt x="20" y="0"/>
                    <a:pt x="9" y="3"/>
                    <a:pt x="0" y="3"/>
                  </a:cubicBezTo>
                  <a:cubicBezTo>
                    <a:pt x="6" y="12"/>
                    <a:pt x="17" y="14"/>
                    <a:pt x="26" y="9"/>
                  </a:cubicBezTo>
                  <a:cubicBezTo>
                    <a:pt x="26" y="9"/>
                    <a:pt x="29" y="3"/>
                    <a:pt x="3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5" name="Freeform 22"/>
            <p:cNvSpPr>
              <a:spLocks noChangeArrowheads="1"/>
            </p:cNvSpPr>
            <p:nvPr/>
          </p:nvSpPr>
          <p:spPr bwMode="auto">
            <a:xfrm>
              <a:off x="4429125" y="2146300"/>
              <a:ext cx="6350" cy="7938"/>
            </a:xfrm>
            <a:custGeom>
              <a:avLst/>
              <a:gdLst>
                <a:gd name="T0" fmla="*/ 6 w 18"/>
                <a:gd name="T1" fmla="*/ 0 h 21"/>
                <a:gd name="T2" fmla="*/ 0 w 18"/>
                <a:gd name="T3" fmla="*/ 11 h 21"/>
                <a:gd name="T4" fmla="*/ 17 w 18"/>
                <a:gd name="T5" fmla="*/ 14 h 21"/>
                <a:gd name="T6" fmla="*/ 6 w 18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6" y="0"/>
                  </a:moveTo>
                  <a:cubicBezTo>
                    <a:pt x="3" y="6"/>
                    <a:pt x="0" y="9"/>
                    <a:pt x="0" y="11"/>
                  </a:cubicBezTo>
                  <a:cubicBezTo>
                    <a:pt x="9" y="11"/>
                    <a:pt x="11" y="20"/>
                    <a:pt x="17" y="14"/>
                  </a:cubicBezTo>
                  <a:cubicBezTo>
                    <a:pt x="14" y="9"/>
                    <a:pt x="14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6" name="Freeform 23"/>
            <p:cNvSpPr>
              <a:spLocks noChangeArrowheads="1"/>
            </p:cNvSpPr>
            <p:nvPr/>
          </p:nvSpPr>
          <p:spPr bwMode="auto">
            <a:xfrm>
              <a:off x="4427538" y="2157413"/>
              <a:ext cx="4762" cy="4762"/>
            </a:xfrm>
            <a:custGeom>
              <a:avLst/>
              <a:gdLst>
                <a:gd name="T0" fmla="*/ 5 w 12"/>
                <a:gd name="T1" fmla="*/ 0 h 12"/>
                <a:gd name="T2" fmla="*/ 11 w 12"/>
                <a:gd name="T3" fmla="*/ 8 h 12"/>
                <a:gd name="T4" fmla="*/ 5 w 12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cubicBezTo>
                    <a:pt x="0" y="3"/>
                    <a:pt x="2" y="11"/>
                    <a:pt x="11" y="8"/>
                  </a:cubicBezTo>
                  <a:cubicBezTo>
                    <a:pt x="11" y="6"/>
                    <a:pt x="11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7" name="Freeform 24"/>
            <p:cNvSpPr>
              <a:spLocks noChangeArrowheads="1"/>
            </p:cNvSpPr>
            <p:nvPr/>
          </p:nvSpPr>
          <p:spPr bwMode="auto">
            <a:xfrm>
              <a:off x="3709988" y="2262188"/>
              <a:ext cx="4762" cy="3175"/>
            </a:xfrm>
            <a:custGeom>
              <a:avLst/>
              <a:gdLst>
                <a:gd name="T0" fmla="*/ 11 w 12"/>
                <a:gd name="T1" fmla="*/ 8 h 9"/>
                <a:gd name="T2" fmla="*/ 11 w 12"/>
                <a:gd name="T3" fmla="*/ 0 h 9"/>
                <a:gd name="T4" fmla="*/ 2 w 12"/>
                <a:gd name="T5" fmla="*/ 0 h 9"/>
                <a:gd name="T6" fmla="*/ 11 w 12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11" y="8"/>
                  </a:moveTo>
                  <a:lnTo>
                    <a:pt x="11" y="0"/>
                  </a:lnTo>
                  <a:lnTo>
                    <a:pt x="2" y="0"/>
                  </a:lnTo>
                  <a:cubicBezTo>
                    <a:pt x="0" y="5"/>
                    <a:pt x="8" y="5"/>
                    <a:pt x="11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8" name="Freeform 25"/>
            <p:cNvSpPr>
              <a:spLocks noChangeArrowheads="1"/>
            </p:cNvSpPr>
            <p:nvPr/>
          </p:nvSpPr>
          <p:spPr bwMode="auto">
            <a:xfrm>
              <a:off x="3632200" y="2360613"/>
              <a:ext cx="4763" cy="4762"/>
            </a:xfrm>
            <a:custGeom>
              <a:avLst/>
              <a:gdLst>
                <a:gd name="T0" fmla="*/ 9 w 15"/>
                <a:gd name="T1" fmla="*/ 0 h 15"/>
                <a:gd name="T2" fmla="*/ 9 w 15"/>
                <a:gd name="T3" fmla="*/ 14 h 15"/>
                <a:gd name="T4" fmla="*/ 9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0"/>
                  </a:moveTo>
                  <a:cubicBezTo>
                    <a:pt x="6" y="3"/>
                    <a:pt x="0" y="12"/>
                    <a:pt x="9" y="14"/>
                  </a:cubicBezTo>
                  <a:cubicBezTo>
                    <a:pt x="9" y="12"/>
                    <a:pt x="14" y="0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9" name="Freeform 26"/>
            <p:cNvSpPr>
              <a:spLocks noChangeArrowheads="1"/>
            </p:cNvSpPr>
            <p:nvPr/>
          </p:nvSpPr>
          <p:spPr bwMode="auto">
            <a:xfrm>
              <a:off x="3644900" y="2398713"/>
              <a:ext cx="3175" cy="3175"/>
            </a:xfrm>
            <a:custGeom>
              <a:avLst/>
              <a:gdLst>
                <a:gd name="T0" fmla="*/ 0 w 7"/>
                <a:gd name="T1" fmla="*/ 0 h 10"/>
                <a:gd name="T2" fmla="*/ 6 w 7"/>
                <a:gd name="T3" fmla="*/ 9 h 10"/>
                <a:gd name="T4" fmla="*/ 3 w 7"/>
                <a:gd name="T5" fmla="*/ 3 h 10"/>
                <a:gd name="T6" fmla="*/ 0 w 7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0" y="0"/>
                  </a:moveTo>
                  <a:cubicBezTo>
                    <a:pt x="0" y="3"/>
                    <a:pt x="0" y="9"/>
                    <a:pt x="6" y="9"/>
                  </a:cubicBezTo>
                  <a:cubicBezTo>
                    <a:pt x="6" y="6"/>
                    <a:pt x="3" y="6"/>
                    <a:pt x="3" y="3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0" name="Freeform 27"/>
            <p:cNvSpPr>
              <a:spLocks noChangeArrowheads="1"/>
            </p:cNvSpPr>
            <p:nvPr/>
          </p:nvSpPr>
          <p:spPr bwMode="auto">
            <a:xfrm>
              <a:off x="3641725" y="2335213"/>
              <a:ext cx="20638" cy="12700"/>
            </a:xfrm>
            <a:custGeom>
              <a:avLst/>
              <a:gdLst>
                <a:gd name="T0" fmla="*/ 0 w 58"/>
                <a:gd name="T1" fmla="*/ 36 h 37"/>
                <a:gd name="T2" fmla="*/ 57 w 58"/>
                <a:gd name="T3" fmla="*/ 5 h 37"/>
                <a:gd name="T4" fmla="*/ 54 w 58"/>
                <a:gd name="T5" fmla="*/ 0 h 37"/>
                <a:gd name="T6" fmla="*/ 0 w 58"/>
                <a:gd name="T7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37">
                  <a:moveTo>
                    <a:pt x="0" y="36"/>
                  </a:moveTo>
                  <a:cubicBezTo>
                    <a:pt x="15" y="20"/>
                    <a:pt x="34" y="8"/>
                    <a:pt x="57" y="5"/>
                  </a:cubicBezTo>
                  <a:cubicBezTo>
                    <a:pt x="57" y="3"/>
                    <a:pt x="57" y="3"/>
                    <a:pt x="54" y="0"/>
                  </a:cubicBezTo>
                  <a:cubicBezTo>
                    <a:pt x="34" y="5"/>
                    <a:pt x="15" y="20"/>
                    <a:pt x="0" y="3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1" name="Freeform 28"/>
            <p:cNvSpPr>
              <a:spLocks noChangeArrowheads="1"/>
            </p:cNvSpPr>
            <p:nvPr/>
          </p:nvSpPr>
          <p:spPr bwMode="auto">
            <a:xfrm>
              <a:off x="3729038" y="2228850"/>
              <a:ext cx="4762" cy="3175"/>
            </a:xfrm>
            <a:custGeom>
              <a:avLst/>
              <a:gdLst>
                <a:gd name="T0" fmla="*/ 0 w 12"/>
                <a:gd name="T1" fmla="*/ 0 h 10"/>
                <a:gd name="T2" fmla="*/ 0 w 12"/>
                <a:gd name="T3" fmla="*/ 9 h 10"/>
                <a:gd name="T4" fmla="*/ 11 w 12"/>
                <a:gd name="T5" fmla="*/ 6 h 10"/>
                <a:gd name="T6" fmla="*/ 0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lnTo>
                    <a:pt x="0" y="9"/>
                  </a:lnTo>
                  <a:cubicBezTo>
                    <a:pt x="6" y="9"/>
                    <a:pt x="6" y="6"/>
                    <a:pt x="11" y="6"/>
                  </a:cubicBezTo>
                  <a:cubicBezTo>
                    <a:pt x="11" y="3"/>
                    <a:pt x="6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2" name="Freeform 29"/>
            <p:cNvSpPr>
              <a:spLocks noChangeArrowheads="1"/>
            </p:cNvSpPr>
            <p:nvPr/>
          </p:nvSpPr>
          <p:spPr bwMode="auto">
            <a:xfrm>
              <a:off x="3648075" y="2382838"/>
              <a:ext cx="3175" cy="4762"/>
            </a:xfrm>
            <a:custGeom>
              <a:avLst/>
              <a:gdLst>
                <a:gd name="T0" fmla="*/ 3 w 7"/>
                <a:gd name="T1" fmla="*/ 0 h 12"/>
                <a:gd name="T2" fmla="*/ 3 w 7"/>
                <a:gd name="T3" fmla="*/ 0 h 12"/>
                <a:gd name="T4" fmla="*/ 0 w 7"/>
                <a:gd name="T5" fmla="*/ 0 h 12"/>
                <a:gd name="T6" fmla="*/ 3 w 7"/>
                <a:gd name="T7" fmla="*/ 0 h 12"/>
                <a:gd name="T8" fmla="*/ 6 w 7"/>
                <a:gd name="T9" fmla="*/ 11 h 12"/>
                <a:gd name="T10" fmla="*/ 6 w 7"/>
                <a:gd name="T11" fmla="*/ 11 h 12"/>
                <a:gd name="T12" fmla="*/ 6 w 7"/>
                <a:gd name="T13" fmla="*/ 9 h 12"/>
                <a:gd name="T14" fmla="*/ 3 w 7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2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cubicBezTo>
                    <a:pt x="0" y="0"/>
                    <a:pt x="0" y="3"/>
                    <a:pt x="3" y="0"/>
                  </a:cubicBezTo>
                  <a:cubicBezTo>
                    <a:pt x="3" y="6"/>
                    <a:pt x="6" y="9"/>
                    <a:pt x="6" y="11"/>
                  </a:cubicBezTo>
                  <a:lnTo>
                    <a:pt x="6" y="11"/>
                  </a:lnTo>
                  <a:lnTo>
                    <a:pt x="6" y="9"/>
                  </a:lnTo>
                  <a:cubicBezTo>
                    <a:pt x="6" y="6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3" name="Freeform 30"/>
            <p:cNvSpPr>
              <a:spLocks noChangeArrowheads="1"/>
            </p:cNvSpPr>
            <p:nvPr/>
          </p:nvSpPr>
          <p:spPr bwMode="auto">
            <a:xfrm>
              <a:off x="3705225" y="2247900"/>
              <a:ext cx="7938" cy="9525"/>
            </a:xfrm>
            <a:custGeom>
              <a:avLst/>
              <a:gdLst>
                <a:gd name="T0" fmla="*/ 20 w 21"/>
                <a:gd name="T1" fmla="*/ 17 h 26"/>
                <a:gd name="T2" fmla="*/ 9 w 21"/>
                <a:gd name="T3" fmla="*/ 0 h 26"/>
                <a:gd name="T4" fmla="*/ 9 w 21"/>
                <a:gd name="T5" fmla="*/ 0 h 26"/>
                <a:gd name="T6" fmla="*/ 20 w 21"/>
                <a:gd name="T7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6">
                  <a:moveTo>
                    <a:pt x="20" y="17"/>
                  </a:moveTo>
                  <a:cubicBezTo>
                    <a:pt x="20" y="8"/>
                    <a:pt x="17" y="3"/>
                    <a:pt x="9" y="0"/>
                  </a:cubicBezTo>
                  <a:lnTo>
                    <a:pt x="9" y="0"/>
                  </a:lnTo>
                  <a:cubicBezTo>
                    <a:pt x="0" y="11"/>
                    <a:pt x="12" y="25"/>
                    <a:pt x="20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4" name="Freeform 31"/>
            <p:cNvSpPr>
              <a:spLocks noChangeArrowheads="1"/>
            </p:cNvSpPr>
            <p:nvPr/>
          </p:nvSpPr>
          <p:spPr bwMode="auto">
            <a:xfrm>
              <a:off x="4056063" y="3094038"/>
              <a:ext cx="3175" cy="4762"/>
            </a:xfrm>
            <a:custGeom>
              <a:avLst/>
              <a:gdLst>
                <a:gd name="T0" fmla="*/ 0 w 9"/>
                <a:gd name="T1" fmla="*/ 0 h 15"/>
                <a:gd name="T2" fmla="*/ 3 w 9"/>
                <a:gd name="T3" fmla="*/ 11 h 15"/>
                <a:gd name="T4" fmla="*/ 3 w 9"/>
                <a:gd name="T5" fmla="*/ 11 h 15"/>
                <a:gd name="T6" fmla="*/ 8 w 9"/>
                <a:gd name="T7" fmla="*/ 14 h 15"/>
                <a:gd name="T8" fmla="*/ 0 w 9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0" y="0"/>
                  </a:moveTo>
                  <a:cubicBezTo>
                    <a:pt x="0" y="3"/>
                    <a:pt x="3" y="5"/>
                    <a:pt x="3" y="11"/>
                  </a:cubicBezTo>
                  <a:lnTo>
                    <a:pt x="3" y="11"/>
                  </a:lnTo>
                  <a:cubicBezTo>
                    <a:pt x="5" y="11"/>
                    <a:pt x="5" y="14"/>
                    <a:pt x="8" y="14"/>
                  </a:cubicBezTo>
                  <a:cubicBezTo>
                    <a:pt x="5" y="8"/>
                    <a:pt x="5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5" name="Freeform 32"/>
            <p:cNvSpPr>
              <a:spLocks noChangeArrowheads="1"/>
            </p:cNvSpPr>
            <p:nvPr/>
          </p:nvSpPr>
          <p:spPr bwMode="auto">
            <a:xfrm>
              <a:off x="3660775" y="2317750"/>
              <a:ext cx="12700" cy="7938"/>
            </a:xfrm>
            <a:custGeom>
              <a:avLst/>
              <a:gdLst>
                <a:gd name="T0" fmla="*/ 3 w 35"/>
                <a:gd name="T1" fmla="*/ 0 h 23"/>
                <a:gd name="T2" fmla="*/ 0 w 35"/>
                <a:gd name="T3" fmla="*/ 14 h 23"/>
                <a:gd name="T4" fmla="*/ 6 w 35"/>
                <a:gd name="T5" fmla="*/ 14 h 23"/>
                <a:gd name="T6" fmla="*/ 20 w 35"/>
                <a:gd name="T7" fmla="*/ 22 h 23"/>
                <a:gd name="T8" fmla="*/ 31 w 35"/>
                <a:gd name="T9" fmla="*/ 8 h 23"/>
                <a:gd name="T10" fmla="*/ 3 w 35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23">
                  <a:moveTo>
                    <a:pt x="3" y="0"/>
                  </a:moveTo>
                  <a:cubicBezTo>
                    <a:pt x="3" y="5"/>
                    <a:pt x="0" y="8"/>
                    <a:pt x="0" y="14"/>
                  </a:cubicBezTo>
                  <a:cubicBezTo>
                    <a:pt x="3" y="14"/>
                    <a:pt x="3" y="14"/>
                    <a:pt x="6" y="14"/>
                  </a:cubicBezTo>
                  <a:cubicBezTo>
                    <a:pt x="6" y="20"/>
                    <a:pt x="14" y="22"/>
                    <a:pt x="20" y="22"/>
                  </a:cubicBezTo>
                  <a:cubicBezTo>
                    <a:pt x="17" y="14"/>
                    <a:pt x="34" y="17"/>
                    <a:pt x="31" y="8"/>
                  </a:cubicBezTo>
                  <a:cubicBezTo>
                    <a:pt x="28" y="0"/>
                    <a:pt x="14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6" name="Freeform 33"/>
            <p:cNvSpPr>
              <a:spLocks noChangeArrowheads="1"/>
            </p:cNvSpPr>
            <p:nvPr/>
          </p:nvSpPr>
          <p:spPr bwMode="auto">
            <a:xfrm>
              <a:off x="3692525" y="2265363"/>
              <a:ext cx="1588" cy="3175"/>
            </a:xfrm>
            <a:custGeom>
              <a:avLst/>
              <a:gdLst>
                <a:gd name="T0" fmla="*/ 0 w 6"/>
                <a:gd name="T1" fmla="*/ 8 h 9"/>
                <a:gd name="T2" fmla="*/ 5 w 6"/>
                <a:gd name="T3" fmla="*/ 8 h 9"/>
                <a:gd name="T4" fmla="*/ 5 w 6"/>
                <a:gd name="T5" fmla="*/ 0 h 9"/>
                <a:gd name="T6" fmla="*/ 0 w 6"/>
                <a:gd name="T7" fmla="*/ 0 h 9"/>
                <a:gd name="T8" fmla="*/ 0 w 6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0" y="8"/>
                  </a:moveTo>
                  <a:lnTo>
                    <a:pt x="5" y="8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7" name="Freeform 34"/>
            <p:cNvSpPr>
              <a:spLocks noChangeArrowheads="1"/>
            </p:cNvSpPr>
            <p:nvPr/>
          </p:nvSpPr>
          <p:spPr bwMode="auto">
            <a:xfrm>
              <a:off x="3605213" y="2652713"/>
              <a:ext cx="3175" cy="1587"/>
            </a:xfrm>
            <a:custGeom>
              <a:avLst/>
              <a:gdLst>
                <a:gd name="T0" fmla="*/ 0 w 9"/>
                <a:gd name="T1" fmla="*/ 0 h 6"/>
                <a:gd name="T2" fmla="*/ 4 w 9"/>
                <a:gd name="T3" fmla="*/ 2 h 6"/>
                <a:gd name="T4" fmla="*/ 0 w 9"/>
                <a:gd name="T5" fmla="*/ 0 h 6"/>
                <a:gd name="T6" fmla="*/ 8 w 9"/>
                <a:gd name="T7" fmla="*/ 5 h 6"/>
                <a:gd name="T8" fmla="*/ 4 w 9"/>
                <a:gd name="T9" fmla="*/ 2 h 6"/>
                <a:gd name="T10" fmla="*/ 8 w 9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6">
                  <a:moveTo>
                    <a:pt x="0" y="0"/>
                  </a:moveTo>
                  <a:cubicBezTo>
                    <a:pt x="2" y="1"/>
                    <a:pt x="3" y="2"/>
                    <a:pt x="4" y="2"/>
                  </a:cubicBezTo>
                  <a:cubicBezTo>
                    <a:pt x="3" y="2"/>
                    <a:pt x="1" y="1"/>
                    <a:pt x="0" y="0"/>
                  </a:cubicBezTo>
                  <a:close/>
                  <a:moveTo>
                    <a:pt x="8" y="5"/>
                  </a:moveTo>
                  <a:cubicBezTo>
                    <a:pt x="7" y="4"/>
                    <a:pt x="5" y="3"/>
                    <a:pt x="4" y="2"/>
                  </a:cubicBezTo>
                  <a:cubicBezTo>
                    <a:pt x="6" y="4"/>
                    <a:pt x="7" y="5"/>
                    <a:pt x="8" y="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8" name="Freeform 35"/>
            <p:cNvSpPr>
              <a:spLocks noChangeArrowheads="1"/>
            </p:cNvSpPr>
            <p:nvPr/>
          </p:nvSpPr>
          <p:spPr bwMode="auto">
            <a:xfrm>
              <a:off x="3930650" y="2105025"/>
              <a:ext cx="4763" cy="3175"/>
            </a:xfrm>
            <a:custGeom>
              <a:avLst/>
              <a:gdLst>
                <a:gd name="T0" fmla="*/ 0 w 12"/>
                <a:gd name="T1" fmla="*/ 6 h 10"/>
                <a:gd name="T2" fmla="*/ 5 w 12"/>
                <a:gd name="T3" fmla="*/ 9 h 10"/>
                <a:gd name="T4" fmla="*/ 11 w 12"/>
                <a:gd name="T5" fmla="*/ 6 h 10"/>
                <a:gd name="T6" fmla="*/ 0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3" y="6"/>
                    <a:pt x="3" y="6"/>
                    <a:pt x="5" y="9"/>
                  </a:cubicBezTo>
                  <a:cubicBezTo>
                    <a:pt x="8" y="9"/>
                    <a:pt x="11" y="6"/>
                    <a:pt x="11" y="6"/>
                  </a:cubicBezTo>
                  <a:cubicBezTo>
                    <a:pt x="8" y="0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9" name="Freeform 36"/>
            <p:cNvSpPr>
              <a:spLocks noChangeArrowheads="1"/>
            </p:cNvSpPr>
            <p:nvPr/>
          </p:nvSpPr>
          <p:spPr bwMode="auto">
            <a:xfrm>
              <a:off x="4491038" y="2947988"/>
              <a:ext cx="7937" cy="9525"/>
            </a:xfrm>
            <a:custGeom>
              <a:avLst/>
              <a:gdLst>
                <a:gd name="T0" fmla="*/ 0 w 24"/>
                <a:gd name="T1" fmla="*/ 14 h 27"/>
                <a:gd name="T2" fmla="*/ 23 w 24"/>
                <a:gd name="T3" fmla="*/ 14 h 27"/>
                <a:gd name="T4" fmla="*/ 14 w 24"/>
                <a:gd name="T5" fmla="*/ 0 h 27"/>
                <a:gd name="T6" fmla="*/ 0 w 24"/>
                <a:gd name="T7" fmla="*/ 0 h 27"/>
                <a:gd name="T8" fmla="*/ 0 w 24"/>
                <a:gd name="T9" fmla="*/ 3 h 27"/>
                <a:gd name="T10" fmla="*/ 0 w 24"/>
                <a:gd name="T11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7">
                  <a:moveTo>
                    <a:pt x="0" y="14"/>
                  </a:moveTo>
                  <a:cubicBezTo>
                    <a:pt x="3" y="23"/>
                    <a:pt x="20" y="26"/>
                    <a:pt x="23" y="14"/>
                  </a:cubicBezTo>
                  <a:cubicBezTo>
                    <a:pt x="20" y="9"/>
                    <a:pt x="17" y="6"/>
                    <a:pt x="14" y="0"/>
                  </a:cubicBezTo>
                  <a:lnTo>
                    <a:pt x="0" y="0"/>
                  </a:lnTo>
                  <a:lnTo>
                    <a:pt x="0" y="3"/>
                  </a:lnTo>
                  <a:cubicBezTo>
                    <a:pt x="0" y="6"/>
                    <a:pt x="0" y="12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10" name="Freeform 37"/>
            <p:cNvSpPr>
              <a:spLocks noChangeArrowheads="1"/>
            </p:cNvSpPr>
            <p:nvPr/>
          </p:nvSpPr>
          <p:spPr bwMode="auto">
            <a:xfrm>
              <a:off x="4446588" y="2968625"/>
              <a:ext cx="6350" cy="7938"/>
            </a:xfrm>
            <a:custGeom>
              <a:avLst/>
              <a:gdLst>
                <a:gd name="T0" fmla="*/ 14 w 18"/>
                <a:gd name="T1" fmla="*/ 0 h 21"/>
                <a:gd name="T2" fmla="*/ 0 w 18"/>
                <a:gd name="T3" fmla="*/ 3 h 21"/>
                <a:gd name="T4" fmla="*/ 3 w 18"/>
                <a:gd name="T5" fmla="*/ 11 h 21"/>
                <a:gd name="T6" fmla="*/ 3 w 18"/>
                <a:gd name="T7" fmla="*/ 14 h 21"/>
                <a:gd name="T8" fmla="*/ 3 w 18"/>
                <a:gd name="T9" fmla="*/ 20 h 21"/>
                <a:gd name="T10" fmla="*/ 6 w 18"/>
                <a:gd name="T11" fmla="*/ 20 h 21"/>
                <a:gd name="T12" fmla="*/ 6 w 18"/>
                <a:gd name="T13" fmla="*/ 14 h 21"/>
                <a:gd name="T14" fmla="*/ 6 w 18"/>
                <a:gd name="T15" fmla="*/ 11 h 21"/>
                <a:gd name="T16" fmla="*/ 17 w 18"/>
                <a:gd name="T17" fmla="*/ 14 h 21"/>
                <a:gd name="T18" fmla="*/ 17 w 18"/>
                <a:gd name="T19" fmla="*/ 0 h 21"/>
                <a:gd name="T20" fmla="*/ 14 w 18"/>
                <a:gd name="T2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21">
                  <a:moveTo>
                    <a:pt x="14" y="0"/>
                  </a:moveTo>
                  <a:cubicBezTo>
                    <a:pt x="9" y="0"/>
                    <a:pt x="6" y="3"/>
                    <a:pt x="0" y="3"/>
                  </a:cubicBezTo>
                  <a:cubicBezTo>
                    <a:pt x="0" y="6"/>
                    <a:pt x="0" y="8"/>
                    <a:pt x="3" y="11"/>
                  </a:cubicBezTo>
                  <a:lnTo>
                    <a:pt x="3" y="14"/>
                  </a:lnTo>
                  <a:lnTo>
                    <a:pt x="3" y="20"/>
                  </a:lnTo>
                  <a:lnTo>
                    <a:pt x="6" y="20"/>
                  </a:lnTo>
                  <a:lnTo>
                    <a:pt x="6" y="14"/>
                  </a:lnTo>
                  <a:lnTo>
                    <a:pt x="6" y="11"/>
                  </a:lnTo>
                  <a:cubicBezTo>
                    <a:pt x="9" y="14"/>
                    <a:pt x="14" y="17"/>
                    <a:pt x="17" y="14"/>
                  </a:cubicBezTo>
                  <a:lnTo>
                    <a:pt x="17" y="0"/>
                  </a:lnTo>
                  <a:cubicBezTo>
                    <a:pt x="14" y="3"/>
                    <a:pt x="14" y="3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11" name="Freeform 38"/>
            <p:cNvSpPr>
              <a:spLocks noChangeArrowheads="1"/>
            </p:cNvSpPr>
            <p:nvPr/>
          </p:nvSpPr>
          <p:spPr bwMode="auto">
            <a:xfrm>
              <a:off x="3986213" y="3065463"/>
              <a:ext cx="7937" cy="4762"/>
            </a:xfrm>
            <a:custGeom>
              <a:avLst/>
              <a:gdLst>
                <a:gd name="T0" fmla="*/ 17 w 21"/>
                <a:gd name="T1" fmla="*/ 3 h 15"/>
                <a:gd name="T2" fmla="*/ 6 w 21"/>
                <a:gd name="T3" fmla="*/ 0 h 15"/>
                <a:gd name="T4" fmla="*/ 8 w 21"/>
                <a:gd name="T5" fmla="*/ 8 h 15"/>
                <a:gd name="T6" fmla="*/ 0 w 21"/>
                <a:gd name="T7" fmla="*/ 14 h 15"/>
                <a:gd name="T8" fmla="*/ 8 w 21"/>
                <a:gd name="T9" fmla="*/ 14 h 15"/>
                <a:gd name="T10" fmla="*/ 17 w 21"/>
                <a:gd name="T11" fmla="*/ 5 h 15"/>
                <a:gd name="T12" fmla="*/ 17 w 21"/>
                <a:gd name="T13" fmla="*/ 5 h 15"/>
                <a:gd name="T14" fmla="*/ 17 w 21"/>
                <a:gd name="T15" fmla="*/ 5 h 15"/>
                <a:gd name="T16" fmla="*/ 17 w 21"/>
                <a:gd name="T1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5">
                  <a:moveTo>
                    <a:pt x="17" y="3"/>
                  </a:moveTo>
                  <a:cubicBezTo>
                    <a:pt x="14" y="3"/>
                    <a:pt x="11" y="0"/>
                    <a:pt x="6" y="0"/>
                  </a:cubicBezTo>
                  <a:cubicBezTo>
                    <a:pt x="6" y="3"/>
                    <a:pt x="6" y="5"/>
                    <a:pt x="8" y="8"/>
                  </a:cubicBezTo>
                  <a:cubicBezTo>
                    <a:pt x="6" y="11"/>
                    <a:pt x="0" y="11"/>
                    <a:pt x="0" y="14"/>
                  </a:cubicBezTo>
                  <a:lnTo>
                    <a:pt x="8" y="14"/>
                  </a:lnTo>
                  <a:cubicBezTo>
                    <a:pt x="11" y="11"/>
                    <a:pt x="14" y="8"/>
                    <a:pt x="17" y="5"/>
                  </a:cubicBezTo>
                  <a:lnTo>
                    <a:pt x="17" y="5"/>
                  </a:lnTo>
                  <a:lnTo>
                    <a:pt x="17" y="5"/>
                  </a:lnTo>
                  <a:cubicBezTo>
                    <a:pt x="20" y="3"/>
                    <a:pt x="17" y="3"/>
                    <a:pt x="17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12" name="Freeform 39"/>
            <p:cNvSpPr>
              <a:spLocks noChangeArrowheads="1"/>
            </p:cNvSpPr>
            <p:nvPr/>
          </p:nvSpPr>
          <p:spPr bwMode="auto">
            <a:xfrm>
              <a:off x="3992563" y="3067050"/>
              <a:ext cx="1587" cy="1588"/>
            </a:xfrm>
            <a:custGeom>
              <a:avLst/>
              <a:gdLst>
                <a:gd name="T0" fmla="*/ 3 w 4"/>
                <a:gd name="T1" fmla="*/ 2 h 3"/>
                <a:gd name="T2" fmla="*/ 3 w 4"/>
                <a:gd name="T3" fmla="*/ 0 h 3"/>
                <a:gd name="T4" fmla="*/ 3 w 4"/>
                <a:gd name="T5" fmla="*/ 0 h 3"/>
                <a:gd name="T6" fmla="*/ 3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lnTo>
                    <a:pt x="3" y="0"/>
                  </a:lnTo>
                  <a:lnTo>
                    <a:pt x="3" y="0"/>
                  </a:lnTo>
                  <a:cubicBezTo>
                    <a:pt x="0" y="0"/>
                    <a:pt x="3" y="0"/>
                    <a:pt x="3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13" name="Freeform 40"/>
            <p:cNvSpPr>
              <a:spLocks noChangeArrowheads="1"/>
            </p:cNvSpPr>
            <p:nvPr/>
          </p:nvSpPr>
          <p:spPr bwMode="auto">
            <a:xfrm>
              <a:off x="4121150" y="3084513"/>
              <a:ext cx="7938" cy="4762"/>
            </a:xfrm>
            <a:custGeom>
              <a:avLst/>
              <a:gdLst>
                <a:gd name="T0" fmla="*/ 3 w 23"/>
                <a:gd name="T1" fmla="*/ 0 h 15"/>
                <a:gd name="T2" fmla="*/ 3 w 23"/>
                <a:gd name="T3" fmla="*/ 8 h 15"/>
                <a:gd name="T4" fmla="*/ 16 w 23"/>
                <a:gd name="T5" fmla="*/ 11 h 15"/>
                <a:gd name="T6" fmla="*/ 22 w 23"/>
                <a:gd name="T7" fmla="*/ 2 h 15"/>
                <a:gd name="T8" fmla="*/ 13 w 23"/>
                <a:gd name="T9" fmla="*/ 2 h 15"/>
                <a:gd name="T10" fmla="*/ 3 w 23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5">
                  <a:moveTo>
                    <a:pt x="3" y="0"/>
                  </a:moveTo>
                  <a:cubicBezTo>
                    <a:pt x="3" y="2"/>
                    <a:pt x="0" y="8"/>
                    <a:pt x="3" y="8"/>
                  </a:cubicBezTo>
                  <a:cubicBezTo>
                    <a:pt x="6" y="2"/>
                    <a:pt x="9" y="14"/>
                    <a:pt x="16" y="11"/>
                  </a:cubicBezTo>
                  <a:cubicBezTo>
                    <a:pt x="19" y="8"/>
                    <a:pt x="22" y="5"/>
                    <a:pt x="22" y="2"/>
                  </a:cubicBezTo>
                  <a:cubicBezTo>
                    <a:pt x="19" y="2"/>
                    <a:pt x="16" y="2"/>
                    <a:pt x="13" y="2"/>
                  </a:cubicBezTo>
                  <a:cubicBezTo>
                    <a:pt x="12" y="0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14" name="Freeform 41"/>
            <p:cNvSpPr>
              <a:spLocks noChangeArrowheads="1"/>
            </p:cNvSpPr>
            <p:nvPr/>
          </p:nvSpPr>
          <p:spPr bwMode="auto">
            <a:xfrm>
              <a:off x="4151313" y="3084513"/>
              <a:ext cx="4762" cy="6350"/>
            </a:xfrm>
            <a:custGeom>
              <a:avLst/>
              <a:gdLst>
                <a:gd name="T0" fmla="*/ 3 w 15"/>
                <a:gd name="T1" fmla="*/ 5 h 17"/>
                <a:gd name="T2" fmla="*/ 0 w 15"/>
                <a:gd name="T3" fmla="*/ 11 h 17"/>
                <a:gd name="T4" fmla="*/ 0 w 15"/>
                <a:gd name="T5" fmla="*/ 11 h 17"/>
                <a:gd name="T6" fmla="*/ 6 w 15"/>
                <a:gd name="T7" fmla="*/ 16 h 17"/>
                <a:gd name="T8" fmla="*/ 11 w 15"/>
                <a:gd name="T9" fmla="*/ 8 h 17"/>
                <a:gd name="T10" fmla="*/ 14 w 15"/>
                <a:gd name="T11" fmla="*/ 0 h 17"/>
                <a:gd name="T12" fmla="*/ 14 w 15"/>
                <a:gd name="T13" fmla="*/ 0 h 17"/>
                <a:gd name="T14" fmla="*/ 8 w 15"/>
                <a:gd name="T15" fmla="*/ 0 h 17"/>
                <a:gd name="T16" fmla="*/ 3 w 15"/>
                <a:gd name="T1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7">
                  <a:moveTo>
                    <a:pt x="3" y="5"/>
                  </a:moveTo>
                  <a:cubicBezTo>
                    <a:pt x="3" y="8"/>
                    <a:pt x="0" y="8"/>
                    <a:pt x="0" y="11"/>
                  </a:cubicBezTo>
                  <a:lnTo>
                    <a:pt x="0" y="11"/>
                  </a:lnTo>
                  <a:cubicBezTo>
                    <a:pt x="3" y="14"/>
                    <a:pt x="3" y="14"/>
                    <a:pt x="6" y="16"/>
                  </a:cubicBezTo>
                  <a:cubicBezTo>
                    <a:pt x="8" y="14"/>
                    <a:pt x="8" y="11"/>
                    <a:pt x="11" y="8"/>
                  </a:cubicBezTo>
                  <a:cubicBezTo>
                    <a:pt x="11" y="5"/>
                    <a:pt x="14" y="2"/>
                    <a:pt x="14" y="0"/>
                  </a:cubicBezTo>
                  <a:lnTo>
                    <a:pt x="14" y="0"/>
                  </a:lnTo>
                  <a:cubicBezTo>
                    <a:pt x="11" y="0"/>
                    <a:pt x="11" y="0"/>
                    <a:pt x="8" y="0"/>
                  </a:cubicBezTo>
                  <a:lnTo>
                    <a:pt x="3" y="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15" name="Freeform 42"/>
            <p:cNvSpPr>
              <a:spLocks noChangeArrowheads="1"/>
            </p:cNvSpPr>
            <p:nvPr/>
          </p:nvSpPr>
          <p:spPr bwMode="auto">
            <a:xfrm>
              <a:off x="4486275" y="2932113"/>
              <a:ext cx="3175" cy="6350"/>
            </a:xfrm>
            <a:custGeom>
              <a:avLst/>
              <a:gdLst>
                <a:gd name="T0" fmla="*/ 0 w 10"/>
                <a:gd name="T1" fmla="*/ 9 h 18"/>
                <a:gd name="T2" fmla="*/ 0 w 10"/>
                <a:gd name="T3" fmla="*/ 9 h 18"/>
                <a:gd name="T4" fmla="*/ 3 w 10"/>
                <a:gd name="T5" fmla="*/ 17 h 18"/>
                <a:gd name="T6" fmla="*/ 9 w 10"/>
                <a:gd name="T7" fmla="*/ 17 h 18"/>
                <a:gd name="T8" fmla="*/ 9 w 10"/>
                <a:gd name="T9" fmla="*/ 12 h 18"/>
                <a:gd name="T10" fmla="*/ 6 w 10"/>
                <a:gd name="T11" fmla="*/ 0 h 18"/>
                <a:gd name="T12" fmla="*/ 0 w 10"/>
                <a:gd name="T1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8">
                  <a:moveTo>
                    <a:pt x="0" y="9"/>
                  </a:moveTo>
                  <a:lnTo>
                    <a:pt x="0" y="9"/>
                  </a:lnTo>
                  <a:cubicBezTo>
                    <a:pt x="0" y="12"/>
                    <a:pt x="0" y="14"/>
                    <a:pt x="3" y="17"/>
                  </a:cubicBezTo>
                  <a:cubicBezTo>
                    <a:pt x="6" y="17"/>
                    <a:pt x="9" y="17"/>
                    <a:pt x="9" y="17"/>
                  </a:cubicBezTo>
                  <a:cubicBezTo>
                    <a:pt x="9" y="14"/>
                    <a:pt x="9" y="14"/>
                    <a:pt x="9" y="12"/>
                  </a:cubicBezTo>
                  <a:cubicBezTo>
                    <a:pt x="9" y="9"/>
                    <a:pt x="6" y="6"/>
                    <a:pt x="6" y="0"/>
                  </a:cubicBezTo>
                  <a:cubicBezTo>
                    <a:pt x="3" y="3"/>
                    <a:pt x="3" y="6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16" name="Freeform 43"/>
            <p:cNvSpPr>
              <a:spLocks noChangeArrowheads="1"/>
            </p:cNvSpPr>
            <p:nvPr/>
          </p:nvSpPr>
          <p:spPr bwMode="auto">
            <a:xfrm>
              <a:off x="4483100" y="2935288"/>
              <a:ext cx="1588" cy="3175"/>
            </a:xfrm>
            <a:custGeom>
              <a:avLst/>
              <a:gdLst>
                <a:gd name="T0" fmla="*/ 0 w 6"/>
                <a:gd name="T1" fmla="*/ 6 h 7"/>
                <a:gd name="T2" fmla="*/ 5 w 6"/>
                <a:gd name="T3" fmla="*/ 0 h 7"/>
                <a:gd name="T4" fmla="*/ 5 w 6"/>
                <a:gd name="T5" fmla="*/ 0 h 7"/>
                <a:gd name="T6" fmla="*/ 0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6"/>
                  </a:moveTo>
                  <a:cubicBezTo>
                    <a:pt x="2" y="6"/>
                    <a:pt x="5" y="3"/>
                    <a:pt x="5" y="0"/>
                  </a:cubicBezTo>
                  <a:lnTo>
                    <a:pt x="5" y="0"/>
                  </a:lnTo>
                  <a:cubicBezTo>
                    <a:pt x="2" y="3"/>
                    <a:pt x="2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17" name="Freeform 44"/>
            <p:cNvSpPr>
              <a:spLocks noChangeArrowheads="1"/>
            </p:cNvSpPr>
            <p:nvPr/>
          </p:nvSpPr>
          <p:spPr bwMode="auto">
            <a:xfrm>
              <a:off x="3663950" y="2790825"/>
              <a:ext cx="3175" cy="6350"/>
            </a:xfrm>
            <a:custGeom>
              <a:avLst/>
              <a:gdLst>
                <a:gd name="T0" fmla="*/ 0 w 9"/>
                <a:gd name="T1" fmla="*/ 3 h 18"/>
                <a:gd name="T2" fmla="*/ 5 w 9"/>
                <a:gd name="T3" fmla="*/ 17 h 18"/>
                <a:gd name="T4" fmla="*/ 8 w 9"/>
                <a:gd name="T5" fmla="*/ 12 h 18"/>
                <a:gd name="T6" fmla="*/ 2 w 9"/>
                <a:gd name="T7" fmla="*/ 0 h 18"/>
                <a:gd name="T8" fmla="*/ 0 w 9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8">
                  <a:moveTo>
                    <a:pt x="0" y="3"/>
                  </a:moveTo>
                  <a:cubicBezTo>
                    <a:pt x="0" y="12"/>
                    <a:pt x="2" y="17"/>
                    <a:pt x="5" y="17"/>
                  </a:cubicBezTo>
                  <a:cubicBezTo>
                    <a:pt x="5" y="14"/>
                    <a:pt x="5" y="14"/>
                    <a:pt x="8" y="12"/>
                  </a:cubicBezTo>
                  <a:cubicBezTo>
                    <a:pt x="5" y="9"/>
                    <a:pt x="5" y="3"/>
                    <a:pt x="2" y="0"/>
                  </a:cubicBezTo>
                  <a:cubicBezTo>
                    <a:pt x="0" y="0"/>
                    <a:pt x="0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18" name="Freeform 45"/>
            <p:cNvSpPr>
              <a:spLocks noChangeArrowheads="1"/>
            </p:cNvSpPr>
            <p:nvPr/>
          </p:nvSpPr>
          <p:spPr bwMode="auto">
            <a:xfrm>
              <a:off x="3649663" y="2757488"/>
              <a:ext cx="3175" cy="3175"/>
            </a:xfrm>
            <a:custGeom>
              <a:avLst/>
              <a:gdLst>
                <a:gd name="T0" fmla="*/ 0 w 10"/>
                <a:gd name="T1" fmla="*/ 9 h 10"/>
                <a:gd name="T2" fmla="*/ 0 w 10"/>
                <a:gd name="T3" fmla="*/ 9 h 10"/>
                <a:gd name="T4" fmla="*/ 9 w 10"/>
                <a:gd name="T5" fmla="*/ 3 h 10"/>
                <a:gd name="T6" fmla="*/ 9 w 10"/>
                <a:gd name="T7" fmla="*/ 0 h 10"/>
                <a:gd name="T8" fmla="*/ 0 w 10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0" y="9"/>
                  </a:moveTo>
                  <a:cubicBezTo>
                    <a:pt x="0" y="9"/>
                    <a:pt x="3" y="9"/>
                    <a:pt x="0" y="9"/>
                  </a:cubicBezTo>
                  <a:cubicBezTo>
                    <a:pt x="3" y="6"/>
                    <a:pt x="6" y="6"/>
                    <a:pt x="9" y="3"/>
                  </a:cubicBezTo>
                  <a:lnTo>
                    <a:pt x="9" y="0"/>
                  </a:lnTo>
                  <a:cubicBezTo>
                    <a:pt x="3" y="3"/>
                    <a:pt x="3" y="6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19" name="Freeform 46"/>
            <p:cNvSpPr>
              <a:spLocks noChangeArrowheads="1"/>
            </p:cNvSpPr>
            <p:nvPr/>
          </p:nvSpPr>
          <p:spPr bwMode="auto">
            <a:xfrm>
              <a:off x="3619500" y="2632075"/>
              <a:ext cx="1588" cy="3175"/>
            </a:xfrm>
            <a:custGeom>
              <a:avLst/>
              <a:gdLst>
                <a:gd name="T0" fmla="*/ 0 w 6"/>
                <a:gd name="T1" fmla="*/ 0 h 7"/>
                <a:gd name="T2" fmla="*/ 2 w 6"/>
                <a:gd name="T3" fmla="*/ 6 h 7"/>
                <a:gd name="T4" fmla="*/ 5 w 6"/>
                <a:gd name="T5" fmla="*/ 6 h 7"/>
                <a:gd name="T6" fmla="*/ 5 w 6"/>
                <a:gd name="T7" fmla="*/ 0 h 7"/>
                <a:gd name="T8" fmla="*/ 0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cubicBezTo>
                    <a:pt x="0" y="3"/>
                    <a:pt x="0" y="6"/>
                    <a:pt x="2" y="6"/>
                  </a:cubicBezTo>
                  <a:lnTo>
                    <a:pt x="5" y="6"/>
                  </a:lnTo>
                  <a:cubicBezTo>
                    <a:pt x="5" y="3"/>
                    <a:pt x="5" y="3"/>
                    <a:pt x="5" y="0"/>
                  </a:cubicBezTo>
                  <a:cubicBezTo>
                    <a:pt x="2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20" name="Freeform 47"/>
            <p:cNvSpPr>
              <a:spLocks noChangeArrowheads="1"/>
            </p:cNvSpPr>
            <p:nvPr/>
          </p:nvSpPr>
          <p:spPr bwMode="auto">
            <a:xfrm>
              <a:off x="3614738" y="2503488"/>
              <a:ext cx="7937" cy="14287"/>
            </a:xfrm>
            <a:custGeom>
              <a:avLst/>
              <a:gdLst>
                <a:gd name="T0" fmla="*/ 14 w 21"/>
                <a:gd name="T1" fmla="*/ 0 h 38"/>
                <a:gd name="T2" fmla="*/ 3 w 21"/>
                <a:gd name="T3" fmla="*/ 6 h 38"/>
                <a:gd name="T4" fmla="*/ 17 w 21"/>
                <a:gd name="T5" fmla="*/ 37 h 38"/>
                <a:gd name="T6" fmla="*/ 20 w 21"/>
                <a:gd name="T7" fmla="*/ 6 h 38"/>
                <a:gd name="T8" fmla="*/ 14 w 21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38">
                  <a:moveTo>
                    <a:pt x="14" y="0"/>
                  </a:moveTo>
                  <a:cubicBezTo>
                    <a:pt x="9" y="0"/>
                    <a:pt x="6" y="3"/>
                    <a:pt x="3" y="6"/>
                  </a:cubicBezTo>
                  <a:cubicBezTo>
                    <a:pt x="0" y="17"/>
                    <a:pt x="6" y="28"/>
                    <a:pt x="17" y="37"/>
                  </a:cubicBezTo>
                  <a:cubicBezTo>
                    <a:pt x="17" y="25"/>
                    <a:pt x="20" y="17"/>
                    <a:pt x="20" y="6"/>
                  </a:cubicBezTo>
                  <a:cubicBezTo>
                    <a:pt x="17" y="3"/>
                    <a:pt x="17" y="0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21" name="Freeform 48"/>
            <p:cNvSpPr>
              <a:spLocks noChangeArrowheads="1"/>
            </p:cNvSpPr>
            <p:nvPr/>
          </p:nvSpPr>
          <p:spPr bwMode="auto">
            <a:xfrm>
              <a:off x="3724275" y="2890838"/>
              <a:ext cx="4763" cy="4762"/>
            </a:xfrm>
            <a:custGeom>
              <a:avLst/>
              <a:gdLst>
                <a:gd name="T0" fmla="*/ 3 w 15"/>
                <a:gd name="T1" fmla="*/ 0 h 15"/>
                <a:gd name="T2" fmla="*/ 0 w 15"/>
                <a:gd name="T3" fmla="*/ 14 h 15"/>
                <a:gd name="T4" fmla="*/ 11 w 15"/>
                <a:gd name="T5" fmla="*/ 14 h 15"/>
                <a:gd name="T6" fmla="*/ 14 w 15"/>
                <a:gd name="T7" fmla="*/ 8 h 15"/>
                <a:gd name="T8" fmla="*/ 8 w 15"/>
                <a:gd name="T9" fmla="*/ 0 h 15"/>
                <a:gd name="T10" fmla="*/ 3 w 15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5">
                  <a:moveTo>
                    <a:pt x="3" y="0"/>
                  </a:moveTo>
                  <a:cubicBezTo>
                    <a:pt x="3" y="5"/>
                    <a:pt x="0" y="8"/>
                    <a:pt x="0" y="14"/>
                  </a:cubicBezTo>
                  <a:cubicBezTo>
                    <a:pt x="3" y="14"/>
                    <a:pt x="8" y="14"/>
                    <a:pt x="11" y="14"/>
                  </a:cubicBezTo>
                  <a:cubicBezTo>
                    <a:pt x="11" y="11"/>
                    <a:pt x="11" y="11"/>
                    <a:pt x="14" y="8"/>
                  </a:cubicBezTo>
                  <a:cubicBezTo>
                    <a:pt x="11" y="5"/>
                    <a:pt x="11" y="2"/>
                    <a:pt x="8" y="0"/>
                  </a:cubicBezTo>
                  <a:cubicBezTo>
                    <a:pt x="6" y="0"/>
                    <a:pt x="6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22" name="Freeform 49"/>
            <p:cNvSpPr>
              <a:spLocks noChangeArrowheads="1"/>
            </p:cNvSpPr>
            <p:nvPr/>
          </p:nvSpPr>
          <p:spPr bwMode="auto">
            <a:xfrm>
              <a:off x="3937000" y="3048000"/>
              <a:ext cx="1588" cy="1588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0 h 6"/>
                <a:gd name="T4" fmla="*/ 0 w 6"/>
                <a:gd name="T5" fmla="*/ 5 h 6"/>
                <a:gd name="T6" fmla="*/ 5 w 6"/>
                <a:gd name="T7" fmla="*/ 3 h 6"/>
                <a:gd name="T8" fmla="*/ 5 w 6"/>
                <a:gd name="T9" fmla="*/ 3 h 6"/>
                <a:gd name="T10" fmla="*/ 0 w 6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0" y="0"/>
                  </a:lnTo>
                  <a:cubicBezTo>
                    <a:pt x="0" y="3"/>
                    <a:pt x="0" y="3"/>
                    <a:pt x="0" y="5"/>
                  </a:cubicBezTo>
                  <a:cubicBezTo>
                    <a:pt x="2" y="5"/>
                    <a:pt x="2" y="3"/>
                    <a:pt x="5" y="3"/>
                  </a:cubicBezTo>
                  <a:lnTo>
                    <a:pt x="5" y="3"/>
                  </a:lnTo>
                  <a:cubicBezTo>
                    <a:pt x="2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23" name="Freeform 50"/>
            <p:cNvSpPr>
              <a:spLocks noChangeArrowheads="1"/>
            </p:cNvSpPr>
            <p:nvPr/>
          </p:nvSpPr>
          <p:spPr bwMode="auto">
            <a:xfrm>
              <a:off x="3763963" y="2933700"/>
              <a:ext cx="3175" cy="3175"/>
            </a:xfrm>
            <a:custGeom>
              <a:avLst/>
              <a:gdLst>
                <a:gd name="T0" fmla="*/ 0 w 10"/>
                <a:gd name="T1" fmla="*/ 0 h 7"/>
                <a:gd name="T2" fmla="*/ 0 w 10"/>
                <a:gd name="T3" fmla="*/ 6 h 7"/>
                <a:gd name="T4" fmla="*/ 6 w 10"/>
                <a:gd name="T5" fmla="*/ 6 h 7"/>
                <a:gd name="T6" fmla="*/ 9 w 10"/>
                <a:gd name="T7" fmla="*/ 6 h 7"/>
                <a:gd name="T8" fmla="*/ 6 w 10"/>
                <a:gd name="T9" fmla="*/ 3 h 7"/>
                <a:gd name="T10" fmla="*/ 0 w 10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7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3" y="6"/>
                    <a:pt x="3" y="6"/>
                    <a:pt x="6" y="6"/>
                  </a:cubicBezTo>
                  <a:lnTo>
                    <a:pt x="9" y="6"/>
                  </a:lnTo>
                  <a:lnTo>
                    <a:pt x="6" y="3"/>
                  </a:lnTo>
                  <a:cubicBezTo>
                    <a:pt x="3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24" name="Freeform 51"/>
            <p:cNvSpPr>
              <a:spLocks noChangeArrowheads="1"/>
            </p:cNvSpPr>
            <p:nvPr/>
          </p:nvSpPr>
          <p:spPr bwMode="auto">
            <a:xfrm>
              <a:off x="3630613" y="2439988"/>
              <a:ext cx="3175" cy="3175"/>
            </a:xfrm>
            <a:custGeom>
              <a:avLst/>
              <a:gdLst>
                <a:gd name="T0" fmla="*/ 0 w 7"/>
                <a:gd name="T1" fmla="*/ 0 h 7"/>
                <a:gd name="T2" fmla="*/ 0 w 7"/>
                <a:gd name="T3" fmla="*/ 6 h 7"/>
                <a:gd name="T4" fmla="*/ 3 w 7"/>
                <a:gd name="T5" fmla="*/ 6 h 7"/>
                <a:gd name="T6" fmla="*/ 0 w 7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cubicBezTo>
                    <a:pt x="6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25" name="Freeform 52"/>
            <p:cNvSpPr>
              <a:spLocks noChangeArrowheads="1"/>
            </p:cNvSpPr>
            <p:nvPr/>
          </p:nvSpPr>
          <p:spPr bwMode="auto">
            <a:xfrm>
              <a:off x="3967163" y="2078038"/>
              <a:ext cx="3175" cy="6350"/>
            </a:xfrm>
            <a:custGeom>
              <a:avLst/>
              <a:gdLst>
                <a:gd name="T0" fmla="*/ 3 w 10"/>
                <a:gd name="T1" fmla="*/ 0 h 18"/>
                <a:gd name="T2" fmla="*/ 0 w 10"/>
                <a:gd name="T3" fmla="*/ 9 h 18"/>
                <a:gd name="T4" fmla="*/ 3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3" y="0"/>
                  </a:moveTo>
                  <a:lnTo>
                    <a:pt x="0" y="9"/>
                  </a:lnTo>
                  <a:cubicBezTo>
                    <a:pt x="9" y="17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26" name="Freeform 53"/>
            <p:cNvSpPr>
              <a:spLocks noChangeArrowheads="1"/>
            </p:cNvSpPr>
            <p:nvPr/>
          </p:nvSpPr>
          <p:spPr bwMode="auto">
            <a:xfrm>
              <a:off x="3871913" y="2117725"/>
              <a:ext cx="3175" cy="3175"/>
            </a:xfrm>
            <a:custGeom>
              <a:avLst/>
              <a:gdLst>
                <a:gd name="T0" fmla="*/ 0 w 7"/>
                <a:gd name="T1" fmla="*/ 6 h 7"/>
                <a:gd name="T2" fmla="*/ 6 w 7"/>
                <a:gd name="T3" fmla="*/ 6 h 7"/>
                <a:gd name="T4" fmla="*/ 6 w 7"/>
                <a:gd name="T5" fmla="*/ 0 h 7"/>
                <a:gd name="T6" fmla="*/ 0 w 7"/>
                <a:gd name="T7" fmla="*/ 0 h 7"/>
                <a:gd name="T8" fmla="*/ 0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27" name="Freeform 54"/>
            <p:cNvSpPr>
              <a:spLocks noChangeArrowheads="1"/>
            </p:cNvSpPr>
            <p:nvPr/>
          </p:nvSpPr>
          <p:spPr bwMode="auto">
            <a:xfrm>
              <a:off x="3911600" y="2103438"/>
              <a:ext cx="9525" cy="9525"/>
            </a:xfrm>
            <a:custGeom>
              <a:avLst/>
              <a:gdLst>
                <a:gd name="T0" fmla="*/ 14 w 26"/>
                <a:gd name="T1" fmla="*/ 11 h 26"/>
                <a:gd name="T2" fmla="*/ 11 w 26"/>
                <a:gd name="T3" fmla="*/ 0 h 26"/>
                <a:gd name="T4" fmla="*/ 3 w 26"/>
                <a:gd name="T5" fmla="*/ 0 h 26"/>
                <a:gd name="T6" fmla="*/ 14 w 26"/>
                <a:gd name="T7" fmla="*/ 11 h 26"/>
                <a:gd name="T8" fmla="*/ 3 w 26"/>
                <a:gd name="T9" fmla="*/ 25 h 26"/>
                <a:gd name="T10" fmla="*/ 23 w 26"/>
                <a:gd name="T11" fmla="*/ 19 h 26"/>
                <a:gd name="T12" fmla="*/ 14 w 26"/>
                <a:gd name="T13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14" y="11"/>
                  </a:moveTo>
                  <a:cubicBezTo>
                    <a:pt x="14" y="5"/>
                    <a:pt x="9" y="5"/>
                    <a:pt x="11" y="0"/>
                  </a:cubicBezTo>
                  <a:lnTo>
                    <a:pt x="3" y="0"/>
                  </a:lnTo>
                  <a:cubicBezTo>
                    <a:pt x="0" y="8"/>
                    <a:pt x="11" y="8"/>
                    <a:pt x="14" y="11"/>
                  </a:cubicBezTo>
                  <a:cubicBezTo>
                    <a:pt x="6" y="11"/>
                    <a:pt x="6" y="19"/>
                    <a:pt x="3" y="25"/>
                  </a:cubicBezTo>
                  <a:cubicBezTo>
                    <a:pt x="11" y="25"/>
                    <a:pt x="14" y="19"/>
                    <a:pt x="23" y="19"/>
                  </a:cubicBezTo>
                  <a:cubicBezTo>
                    <a:pt x="25" y="14"/>
                    <a:pt x="17" y="17"/>
                    <a:pt x="14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28" name="Freeform 55"/>
            <p:cNvSpPr>
              <a:spLocks noChangeArrowheads="1"/>
            </p:cNvSpPr>
            <p:nvPr/>
          </p:nvSpPr>
          <p:spPr bwMode="auto">
            <a:xfrm>
              <a:off x="3748088" y="2235200"/>
              <a:ext cx="1587" cy="1588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3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29" name="Freeform 56"/>
            <p:cNvSpPr>
              <a:spLocks noChangeArrowheads="1"/>
            </p:cNvSpPr>
            <p:nvPr/>
          </p:nvSpPr>
          <p:spPr bwMode="auto">
            <a:xfrm>
              <a:off x="3738563" y="2217738"/>
              <a:ext cx="3175" cy="1587"/>
            </a:xfrm>
            <a:custGeom>
              <a:avLst/>
              <a:gdLst>
                <a:gd name="T0" fmla="*/ 0 w 9"/>
                <a:gd name="T1" fmla="*/ 2 h 3"/>
                <a:gd name="T2" fmla="*/ 8 w 9"/>
                <a:gd name="T3" fmla="*/ 0 h 3"/>
                <a:gd name="T4" fmla="*/ 8 w 9"/>
                <a:gd name="T5" fmla="*/ 0 h 3"/>
                <a:gd name="T6" fmla="*/ 0 w 9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3">
                  <a:moveTo>
                    <a:pt x="0" y="2"/>
                  </a:moveTo>
                  <a:cubicBezTo>
                    <a:pt x="2" y="2"/>
                    <a:pt x="5" y="0"/>
                    <a:pt x="8" y="0"/>
                  </a:cubicBezTo>
                  <a:lnTo>
                    <a:pt x="8" y="0"/>
                  </a:lnTo>
                  <a:cubicBezTo>
                    <a:pt x="5" y="0"/>
                    <a:pt x="2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30" name="Freeform 57"/>
            <p:cNvSpPr>
              <a:spLocks noChangeArrowheads="1"/>
            </p:cNvSpPr>
            <p:nvPr/>
          </p:nvSpPr>
          <p:spPr bwMode="auto">
            <a:xfrm>
              <a:off x="3700463" y="2266950"/>
              <a:ext cx="3175" cy="1588"/>
            </a:xfrm>
            <a:custGeom>
              <a:avLst/>
              <a:gdLst>
                <a:gd name="T0" fmla="*/ 3 w 10"/>
                <a:gd name="T1" fmla="*/ 0 h 4"/>
                <a:gd name="T2" fmla="*/ 0 w 10"/>
                <a:gd name="T3" fmla="*/ 0 h 4"/>
                <a:gd name="T4" fmla="*/ 0 w 10"/>
                <a:gd name="T5" fmla="*/ 3 h 4"/>
                <a:gd name="T6" fmla="*/ 0 w 10"/>
                <a:gd name="T7" fmla="*/ 3 h 4"/>
                <a:gd name="T8" fmla="*/ 3 w 10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cubicBezTo>
                    <a:pt x="0" y="3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31" name="Freeform 58"/>
            <p:cNvSpPr>
              <a:spLocks noChangeArrowheads="1"/>
            </p:cNvSpPr>
            <p:nvPr/>
          </p:nvSpPr>
          <p:spPr bwMode="auto">
            <a:xfrm>
              <a:off x="3697288" y="2271713"/>
              <a:ext cx="9525" cy="14287"/>
            </a:xfrm>
            <a:custGeom>
              <a:avLst/>
              <a:gdLst>
                <a:gd name="T0" fmla="*/ 0 w 26"/>
                <a:gd name="T1" fmla="*/ 14 h 38"/>
                <a:gd name="T2" fmla="*/ 11 w 26"/>
                <a:gd name="T3" fmla="*/ 37 h 38"/>
                <a:gd name="T4" fmla="*/ 0 w 26"/>
                <a:gd name="T5" fmla="*/ 1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38">
                  <a:moveTo>
                    <a:pt x="0" y="14"/>
                  </a:moveTo>
                  <a:cubicBezTo>
                    <a:pt x="0" y="28"/>
                    <a:pt x="8" y="28"/>
                    <a:pt x="11" y="37"/>
                  </a:cubicBezTo>
                  <a:cubicBezTo>
                    <a:pt x="25" y="25"/>
                    <a:pt x="11" y="0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32" name="Freeform 59"/>
            <p:cNvSpPr>
              <a:spLocks noChangeArrowheads="1"/>
            </p:cNvSpPr>
            <p:nvPr/>
          </p:nvSpPr>
          <p:spPr bwMode="auto">
            <a:xfrm>
              <a:off x="3633788" y="2443163"/>
              <a:ext cx="1587" cy="1587"/>
            </a:xfrm>
            <a:custGeom>
              <a:avLst/>
              <a:gdLst>
                <a:gd name="T0" fmla="*/ 0 w 4"/>
                <a:gd name="T1" fmla="*/ 2 h 3"/>
                <a:gd name="T2" fmla="*/ 3 w 4"/>
                <a:gd name="T3" fmla="*/ 2 h 3"/>
                <a:gd name="T4" fmla="*/ 3 w 4"/>
                <a:gd name="T5" fmla="*/ 2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3" y="2"/>
                  </a:lnTo>
                  <a:lnTo>
                    <a:pt x="3" y="2"/>
                  </a:lnTo>
                  <a:cubicBezTo>
                    <a:pt x="3" y="0"/>
                    <a:pt x="3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33" name="Freeform 60"/>
            <p:cNvSpPr>
              <a:spLocks noChangeArrowheads="1"/>
            </p:cNvSpPr>
            <p:nvPr/>
          </p:nvSpPr>
          <p:spPr bwMode="auto">
            <a:xfrm>
              <a:off x="3632200" y="2439988"/>
              <a:ext cx="4763" cy="4762"/>
            </a:xfrm>
            <a:custGeom>
              <a:avLst/>
              <a:gdLst>
                <a:gd name="T0" fmla="*/ 9 w 13"/>
                <a:gd name="T1" fmla="*/ 12 h 15"/>
                <a:gd name="T2" fmla="*/ 12 w 13"/>
                <a:gd name="T3" fmla="*/ 0 h 15"/>
                <a:gd name="T4" fmla="*/ 3 w 13"/>
                <a:gd name="T5" fmla="*/ 3 h 15"/>
                <a:gd name="T6" fmla="*/ 3 w 13"/>
                <a:gd name="T7" fmla="*/ 3 h 15"/>
                <a:gd name="T8" fmla="*/ 0 w 13"/>
                <a:gd name="T9" fmla="*/ 6 h 15"/>
                <a:gd name="T10" fmla="*/ 6 w 13"/>
                <a:gd name="T11" fmla="*/ 14 h 15"/>
                <a:gd name="T12" fmla="*/ 6 w 13"/>
                <a:gd name="T13" fmla="*/ 14 h 15"/>
                <a:gd name="T14" fmla="*/ 6 w 13"/>
                <a:gd name="T15" fmla="*/ 14 h 15"/>
                <a:gd name="T16" fmla="*/ 9 w 13"/>
                <a:gd name="T17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5">
                  <a:moveTo>
                    <a:pt x="9" y="12"/>
                  </a:moveTo>
                  <a:cubicBezTo>
                    <a:pt x="9" y="9"/>
                    <a:pt x="12" y="6"/>
                    <a:pt x="12" y="0"/>
                  </a:cubicBezTo>
                  <a:cubicBezTo>
                    <a:pt x="9" y="0"/>
                    <a:pt x="6" y="0"/>
                    <a:pt x="3" y="3"/>
                  </a:cubicBezTo>
                  <a:lnTo>
                    <a:pt x="3" y="3"/>
                  </a:lnTo>
                  <a:cubicBezTo>
                    <a:pt x="3" y="3"/>
                    <a:pt x="0" y="3"/>
                    <a:pt x="0" y="6"/>
                  </a:cubicBezTo>
                  <a:cubicBezTo>
                    <a:pt x="0" y="9"/>
                    <a:pt x="3" y="12"/>
                    <a:pt x="6" y="14"/>
                  </a:cubicBezTo>
                  <a:lnTo>
                    <a:pt x="6" y="14"/>
                  </a:lnTo>
                  <a:lnTo>
                    <a:pt x="6" y="14"/>
                  </a:lnTo>
                  <a:cubicBezTo>
                    <a:pt x="9" y="12"/>
                    <a:pt x="9" y="12"/>
                    <a:pt x="9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34" name="Freeform 61"/>
            <p:cNvSpPr>
              <a:spLocks noChangeArrowheads="1"/>
            </p:cNvSpPr>
            <p:nvPr/>
          </p:nvSpPr>
          <p:spPr bwMode="auto">
            <a:xfrm>
              <a:off x="3765550" y="2208213"/>
              <a:ext cx="3175" cy="9525"/>
            </a:xfrm>
            <a:custGeom>
              <a:avLst/>
              <a:gdLst>
                <a:gd name="T0" fmla="*/ 0 w 9"/>
                <a:gd name="T1" fmla="*/ 0 h 27"/>
                <a:gd name="T2" fmla="*/ 3 w 9"/>
                <a:gd name="T3" fmla="*/ 14 h 27"/>
                <a:gd name="T4" fmla="*/ 6 w 9"/>
                <a:gd name="T5" fmla="*/ 26 h 27"/>
                <a:gd name="T6" fmla="*/ 8 w 9"/>
                <a:gd name="T7" fmla="*/ 26 h 27"/>
                <a:gd name="T8" fmla="*/ 8 w 9"/>
                <a:gd name="T9" fmla="*/ 26 h 27"/>
                <a:gd name="T10" fmla="*/ 6 w 9"/>
                <a:gd name="T11" fmla="*/ 17 h 27"/>
                <a:gd name="T12" fmla="*/ 0 w 9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7">
                  <a:moveTo>
                    <a:pt x="0" y="0"/>
                  </a:moveTo>
                  <a:cubicBezTo>
                    <a:pt x="0" y="6"/>
                    <a:pt x="3" y="9"/>
                    <a:pt x="3" y="14"/>
                  </a:cubicBezTo>
                  <a:cubicBezTo>
                    <a:pt x="3" y="17"/>
                    <a:pt x="6" y="23"/>
                    <a:pt x="6" y="26"/>
                  </a:cubicBezTo>
                  <a:lnTo>
                    <a:pt x="8" y="26"/>
                  </a:lnTo>
                  <a:lnTo>
                    <a:pt x="8" y="26"/>
                  </a:lnTo>
                  <a:cubicBezTo>
                    <a:pt x="8" y="23"/>
                    <a:pt x="6" y="20"/>
                    <a:pt x="6" y="17"/>
                  </a:cubicBezTo>
                  <a:cubicBezTo>
                    <a:pt x="3" y="9"/>
                    <a:pt x="0" y="6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35" name="Freeform 62"/>
            <p:cNvSpPr>
              <a:spLocks noChangeArrowheads="1"/>
            </p:cNvSpPr>
            <p:nvPr/>
          </p:nvSpPr>
          <p:spPr bwMode="auto">
            <a:xfrm>
              <a:off x="3613150" y="2573338"/>
              <a:ext cx="4763" cy="7937"/>
            </a:xfrm>
            <a:custGeom>
              <a:avLst/>
              <a:gdLst>
                <a:gd name="T0" fmla="*/ 14 w 15"/>
                <a:gd name="T1" fmla="*/ 3 h 22"/>
                <a:gd name="T2" fmla="*/ 5 w 15"/>
                <a:gd name="T3" fmla="*/ 3 h 22"/>
                <a:gd name="T4" fmla="*/ 2 w 15"/>
                <a:gd name="T5" fmla="*/ 16 h 22"/>
                <a:gd name="T6" fmla="*/ 11 w 15"/>
                <a:gd name="T7" fmla="*/ 21 h 22"/>
                <a:gd name="T8" fmla="*/ 11 w 15"/>
                <a:gd name="T9" fmla="*/ 13 h 22"/>
                <a:gd name="T10" fmla="*/ 14 w 15"/>
                <a:gd name="T1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14" y="3"/>
                  </a:moveTo>
                  <a:cubicBezTo>
                    <a:pt x="11" y="3"/>
                    <a:pt x="5" y="0"/>
                    <a:pt x="5" y="3"/>
                  </a:cubicBezTo>
                  <a:cubicBezTo>
                    <a:pt x="11" y="6"/>
                    <a:pt x="0" y="7"/>
                    <a:pt x="2" y="16"/>
                  </a:cubicBezTo>
                  <a:cubicBezTo>
                    <a:pt x="5" y="19"/>
                    <a:pt x="8" y="21"/>
                    <a:pt x="11" y="21"/>
                  </a:cubicBezTo>
                  <a:cubicBezTo>
                    <a:pt x="11" y="19"/>
                    <a:pt x="11" y="16"/>
                    <a:pt x="11" y="13"/>
                  </a:cubicBezTo>
                  <a:cubicBezTo>
                    <a:pt x="14" y="7"/>
                    <a:pt x="14" y="5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36" name="Freeform 63"/>
            <p:cNvSpPr>
              <a:spLocks noChangeArrowheads="1"/>
            </p:cNvSpPr>
            <p:nvPr/>
          </p:nvSpPr>
          <p:spPr bwMode="auto">
            <a:xfrm>
              <a:off x="3846513" y="2143125"/>
              <a:ext cx="1587" cy="3175"/>
            </a:xfrm>
            <a:custGeom>
              <a:avLst/>
              <a:gdLst>
                <a:gd name="T0" fmla="*/ 2 w 3"/>
                <a:gd name="T1" fmla="*/ 0 h 10"/>
                <a:gd name="T2" fmla="*/ 0 w 3"/>
                <a:gd name="T3" fmla="*/ 0 h 10"/>
                <a:gd name="T4" fmla="*/ 0 w 3"/>
                <a:gd name="T5" fmla="*/ 6 h 10"/>
                <a:gd name="T6" fmla="*/ 0 w 3"/>
                <a:gd name="T7" fmla="*/ 9 h 10"/>
                <a:gd name="T8" fmla="*/ 2 w 3"/>
                <a:gd name="T9" fmla="*/ 9 h 10"/>
                <a:gd name="T10" fmla="*/ 2 w 3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10">
                  <a:moveTo>
                    <a:pt x="2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37" name="Freeform 64"/>
            <p:cNvSpPr>
              <a:spLocks noChangeArrowheads="1"/>
            </p:cNvSpPr>
            <p:nvPr/>
          </p:nvSpPr>
          <p:spPr bwMode="auto">
            <a:xfrm>
              <a:off x="3890963" y="3027363"/>
              <a:ext cx="3175" cy="1587"/>
            </a:xfrm>
            <a:custGeom>
              <a:avLst/>
              <a:gdLst>
                <a:gd name="T0" fmla="*/ 0 w 9"/>
                <a:gd name="T1" fmla="*/ 5 h 6"/>
                <a:gd name="T2" fmla="*/ 8 w 9"/>
                <a:gd name="T3" fmla="*/ 2 h 6"/>
                <a:gd name="T4" fmla="*/ 8 w 9"/>
                <a:gd name="T5" fmla="*/ 2 h 6"/>
                <a:gd name="T6" fmla="*/ 0 w 9"/>
                <a:gd name="T7" fmla="*/ 0 h 6"/>
                <a:gd name="T8" fmla="*/ 0 w 9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0" y="5"/>
                  </a:moveTo>
                  <a:cubicBezTo>
                    <a:pt x="3" y="5"/>
                    <a:pt x="5" y="5"/>
                    <a:pt x="8" y="2"/>
                  </a:cubicBezTo>
                  <a:lnTo>
                    <a:pt x="8" y="2"/>
                  </a:lnTo>
                  <a:cubicBezTo>
                    <a:pt x="5" y="2"/>
                    <a:pt x="3" y="0"/>
                    <a:pt x="0" y="0"/>
                  </a:cubicBezTo>
                  <a:cubicBezTo>
                    <a:pt x="0" y="0"/>
                    <a:pt x="0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38" name="Freeform 65"/>
            <p:cNvSpPr>
              <a:spLocks noChangeArrowheads="1"/>
            </p:cNvSpPr>
            <p:nvPr/>
          </p:nvSpPr>
          <p:spPr bwMode="auto">
            <a:xfrm>
              <a:off x="3614738" y="2651125"/>
              <a:ext cx="1587" cy="1588"/>
            </a:xfrm>
            <a:custGeom>
              <a:avLst/>
              <a:gdLst>
                <a:gd name="T0" fmla="*/ 0 w 4"/>
                <a:gd name="T1" fmla="*/ 0 h 1"/>
                <a:gd name="T2" fmla="*/ 0 w 4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39" name="Freeform 66"/>
            <p:cNvSpPr>
              <a:spLocks noChangeArrowheads="1"/>
            </p:cNvSpPr>
            <p:nvPr/>
          </p:nvSpPr>
          <p:spPr bwMode="auto">
            <a:xfrm>
              <a:off x="3613150" y="2593975"/>
              <a:ext cx="3175" cy="3175"/>
            </a:xfrm>
            <a:custGeom>
              <a:avLst/>
              <a:gdLst>
                <a:gd name="T0" fmla="*/ 5 w 9"/>
                <a:gd name="T1" fmla="*/ 6 h 7"/>
                <a:gd name="T2" fmla="*/ 8 w 9"/>
                <a:gd name="T3" fmla="*/ 3 h 7"/>
                <a:gd name="T4" fmla="*/ 2 w 9"/>
                <a:gd name="T5" fmla="*/ 0 h 7"/>
                <a:gd name="T6" fmla="*/ 0 w 9"/>
                <a:gd name="T7" fmla="*/ 3 h 7"/>
                <a:gd name="T8" fmla="*/ 5 w 9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5" y="6"/>
                  </a:moveTo>
                  <a:cubicBezTo>
                    <a:pt x="5" y="6"/>
                    <a:pt x="8" y="6"/>
                    <a:pt x="8" y="3"/>
                  </a:cubicBezTo>
                  <a:cubicBezTo>
                    <a:pt x="5" y="3"/>
                    <a:pt x="5" y="0"/>
                    <a:pt x="2" y="0"/>
                  </a:cubicBezTo>
                  <a:lnTo>
                    <a:pt x="0" y="3"/>
                  </a:lnTo>
                  <a:cubicBezTo>
                    <a:pt x="5" y="3"/>
                    <a:pt x="5" y="6"/>
                    <a:pt x="5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40" name="Freeform 67"/>
            <p:cNvSpPr>
              <a:spLocks noChangeArrowheads="1"/>
            </p:cNvSpPr>
            <p:nvPr/>
          </p:nvSpPr>
          <p:spPr bwMode="auto">
            <a:xfrm>
              <a:off x="4137025" y="3084513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41" name="Freeform 68"/>
            <p:cNvSpPr>
              <a:spLocks noChangeArrowheads="1"/>
            </p:cNvSpPr>
            <p:nvPr/>
          </p:nvSpPr>
          <p:spPr bwMode="auto">
            <a:xfrm>
              <a:off x="4078288" y="3082925"/>
              <a:ext cx="4762" cy="4763"/>
            </a:xfrm>
            <a:custGeom>
              <a:avLst/>
              <a:gdLst>
                <a:gd name="T0" fmla="*/ 0 w 12"/>
                <a:gd name="T1" fmla="*/ 11 h 15"/>
                <a:gd name="T2" fmla="*/ 8 w 12"/>
                <a:gd name="T3" fmla="*/ 14 h 15"/>
                <a:gd name="T4" fmla="*/ 8 w 12"/>
                <a:gd name="T5" fmla="*/ 0 h 15"/>
                <a:gd name="T6" fmla="*/ 0 w 12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0" y="11"/>
                  </a:moveTo>
                  <a:cubicBezTo>
                    <a:pt x="3" y="11"/>
                    <a:pt x="5" y="14"/>
                    <a:pt x="8" y="14"/>
                  </a:cubicBezTo>
                  <a:cubicBezTo>
                    <a:pt x="11" y="11"/>
                    <a:pt x="11" y="5"/>
                    <a:pt x="8" y="0"/>
                  </a:cubicBezTo>
                  <a:cubicBezTo>
                    <a:pt x="3" y="0"/>
                    <a:pt x="0" y="3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42" name="Freeform 69"/>
            <p:cNvSpPr>
              <a:spLocks noChangeArrowheads="1"/>
            </p:cNvSpPr>
            <p:nvPr/>
          </p:nvSpPr>
          <p:spPr bwMode="auto">
            <a:xfrm>
              <a:off x="3971925" y="3070225"/>
              <a:ext cx="11113" cy="7938"/>
            </a:xfrm>
            <a:custGeom>
              <a:avLst/>
              <a:gdLst>
                <a:gd name="T0" fmla="*/ 25 w 29"/>
                <a:gd name="T1" fmla="*/ 0 h 21"/>
                <a:gd name="T2" fmla="*/ 0 w 29"/>
                <a:gd name="T3" fmla="*/ 8 h 21"/>
                <a:gd name="T4" fmla="*/ 0 w 29"/>
                <a:gd name="T5" fmla="*/ 11 h 21"/>
                <a:gd name="T6" fmla="*/ 19 w 29"/>
                <a:gd name="T7" fmla="*/ 20 h 21"/>
                <a:gd name="T8" fmla="*/ 28 w 29"/>
                <a:gd name="T9" fmla="*/ 14 h 21"/>
                <a:gd name="T10" fmla="*/ 25 w 29"/>
                <a:gd name="T11" fmla="*/ 8 h 21"/>
                <a:gd name="T12" fmla="*/ 25 w 2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1">
                  <a:moveTo>
                    <a:pt x="25" y="0"/>
                  </a:moveTo>
                  <a:cubicBezTo>
                    <a:pt x="16" y="3"/>
                    <a:pt x="8" y="6"/>
                    <a:pt x="0" y="8"/>
                  </a:cubicBezTo>
                  <a:cubicBezTo>
                    <a:pt x="0" y="8"/>
                    <a:pt x="0" y="8"/>
                    <a:pt x="0" y="11"/>
                  </a:cubicBezTo>
                  <a:cubicBezTo>
                    <a:pt x="2" y="14"/>
                    <a:pt x="8" y="17"/>
                    <a:pt x="19" y="20"/>
                  </a:cubicBezTo>
                  <a:cubicBezTo>
                    <a:pt x="22" y="17"/>
                    <a:pt x="25" y="17"/>
                    <a:pt x="28" y="14"/>
                  </a:cubicBezTo>
                  <a:cubicBezTo>
                    <a:pt x="28" y="11"/>
                    <a:pt x="25" y="11"/>
                    <a:pt x="25" y="8"/>
                  </a:cubicBezTo>
                  <a:cubicBezTo>
                    <a:pt x="28" y="6"/>
                    <a:pt x="25" y="3"/>
                    <a:pt x="2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43" name="Freeform 70"/>
            <p:cNvSpPr>
              <a:spLocks noChangeArrowheads="1"/>
            </p:cNvSpPr>
            <p:nvPr/>
          </p:nvSpPr>
          <p:spPr bwMode="auto">
            <a:xfrm>
              <a:off x="3611563" y="2522538"/>
              <a:ext cx="3175" cy="4762"/>
            </a:xfrm>
            <a:custGeom>
              <a:avLst/>
              <a:gdLst>
                <a:gd name="T0" fmla="*/ 8 w 9"/>
                <a:gd name="T1" fmla="*/ 14 h 15"/>
                <a:gd name="T2" fmla="*/ 0 w 9"/>
                <a:gd name="T3" fmla="*/ 3 h 15"/>
                <a:gd name="T4" fmla="*/ 8 w 9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8" y="14"/>
                  </a:moveTo>
                  <a:cubicBezTo>
                    <a:pt x="8" y="8"/>
                    <a:pt x="8" y="0"/>
                    <a:pt x="0" y="3"/>
                  </a:cubicBezTo>
                  <a:cubicBezTo>
                    <a:pt x="0" y="8"/>
                    <a:pt x="3" y="11"/>
                    <a:pt x="8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44" name="Freeform 71"/>
            <p:cNvSpPr>
              <a:spLocks noChangeArrowheads="1"/>
            </p:cNvSpPr>
            <p:nvPr/>
          </p:nvSpPr>
          <p:spPr bwMode="auto">
            <a:xfrm>
              <a:off x="3609975" y="2601913"/>
              <a:ext cx="3175" cy="1587"/>
            </a:xfrm>
            <a:custGeom>
              <a:avLst/>
              <a:gdLst>
                <a:gd name="T0" fmla="*/ 0 w 7"/>
                <a:gd name="T1" fmla="*/ 2 h 3"/>
                <a:gd name="T2" fmla="*/ 6 w 7"/>
                <a:gd name="T3" fmla="*/ 0 h 3"/>
                <a:gd name="T4" fmla="*/ 0 w 7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cubicBezTo>
                    <a:pt x="3" y="2"/>
                    <a:pt x="3" y="2"/>
                    <a:pt x="6" y="0"/>
                  </a:cubicBezTo>
                  <a:cubicBezTo>
                    <a:pt x="3" y="2"/>
                    <a:pt x="0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45" name="Freeform 72"/>
            <p:cNvSpPr>
              <a:spLocks noChangeArrowheads="1"/>
            </p:cNvSpPr>
            <p:nvPr/>
          </p:nvSpPr>
          <p:spPr bwMode="auto">
            <a:xfrm>
              <a:off x="3598863" y="2527300"/>
              <a:ext cx="11112" cy="14288"/>
            </a:xfrm>
            <a:custGeom>
              <a:avLst/>
              <a:gdLst>
                <a:gd name="T0" fmla="*/ 28 w 29"/>
                <a:gd name="T1" fmla="*/ 39 h 40"/>
                <a:gd name="T2" fmla="*/ 28 w 29"/>
                <a:gd name="T3" fmla="*/ 39 h 40"/>
                <a:gd name="T4" fmla="*/ 0 w 29"/>
                <a:gd name="T5" fmla="*/ 0 h 40"/>
                <a:gd name="T6" fmla="*/ 0 w 29"/>
                <a:gd name="T7" fmla="*/ 0 h 40"/>
                <a:gd name="T8" fmla="*/ 20 w 29"/>
                <a:gd name="T9" fmla="*/ 34 h 40"/>
                <a:gd name="T10" fmla="*/ 28 w 29"/>
                <a:gd name="T11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40">
                  <a:moveTo>
                    <a:pt x="28" y="39"/>
                  </a:moveTo>
                  <a:lnTo>
                    <a:pt x="28" y="39"/>
                  </a:lnTo>
                  <a:cubicBezTo>
                    <a:pt x="17" y="28"/>
                    <a:pt x="6" y="17"/>
                    <a:pt x="0" y="0"/>
                  </a:cubicBezTo>
                  <a:lnTo>
                    <a:pt x="0" y="0"/>
                  </a:lnTo>
                  <a:cubicBezTo>
                    <a:pt x="0" y="3"/>
                    <a:pt x="0" y="14"/>
                    <a:pt x="20" y="34"/>
                  </a:cubicBezTo>
                  <a:cubicBezTo>
                    <a:pt x="26" y="39"/>
                    <a:pt x="26" y="39"/>
                    <a:pt x="28" y="3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46" name="Freeform 73"/>
            <p:cNvSpPr>
              <a:spLocks noChangeArrowheads="1"/>
            </p:cNvSpPr>
            <p:nvPr/>
          </p:nvSpPr>
          <p:spPr bwMode="auto">
            <a:xfrm>
              <a:off x="3603625" y="2605088"/>
              <a:ext cx="7938" cy="9525"/>
            </a:xfrm>
            <a:custGeom>
              <a:avLst/>
              <a:gdLst>
                <a:gd name="T0" fmla="*/ 0 w 24"/>
                <a:gd name="T1" fmla="*/ 26 h 27"/>
                <a:gd name="T2" fmla="*/ 23 w 24"/>
                <a:gd name="T3" fmla="*/ 3 h 27"/>
                <a:gd name="T4" fmla="*/ 20 w 24"/>
                <a:gd name="T5" fmla="*/ 0 h 27"/>
                <a:gd name="T6" fmla="*/ 3 w 24"/>
                <a:gd name="T7" fmla="*/ 20 h 27"/>
                <a:gd name="T8" fmla="*/ 0 w 24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7">
                  <a:moveTo>
                    <a:pt x="0" y="26"/>
                  </a:moveTo>
                  <a:cubicBezTo>
                    <a:pt x="6" y="17"/>
                    <a:pt x="14" y="11"/>
                    <a:pt x="23" y="3"/>
                  </a:cubicBezTo>
                  <a:cubicBezTo>
                    <a:pt x="23" y="3"/>
                    <a:pt x="20" y="3"/>
                    <a:pt x="20" y="0"/>
                  </a:cubicBezTo>
                  <a:cubicBezTo>
                    <a:pt x="14" y="6"/>
                    <a:pt x="9" y="11"/>
                    <a:pt x="3" y="20"/>
                  </a:cubicBezTo>
                  <a:cubicBezTo>
                    <a:pt x="3" y="23"/>
                    <a:pt x="0" y="23"/>
                    <a:pt x="0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47" name="Freeform 74"/>
            <p:cNvSpPr>
              <a:spLocks noChangeArrowheads="1"/>
            </p:cNvSpPr>
            <p:nvPr/>
          </p:nvSpPr>
          <p:spPr bwMode="auto">
            <a:xfrm>
              <a:off x="3613150" y="2593975"/>
              <a:ext cx="1588" cy="1588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3 h 4"/>
                <a:gd name="T4" fmla="*/ 2 w 3"/>
                <a:gd name="T5" fmla="*/ 3 h 4"/>
                <a:gd name="T6" fmla="*/ 2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48" name="Freeform 75"/>
            <p:cNvSpPr>
              <a:spLocks noChangeArrowheads="1"/>
            </p:cNvSpPr>
            <p:nvPr/>
          </p:nvSpPr>
          <p:spPr bwMode="auto">
            <a:xfrm>
              <a:off x="3613150" y="2601913"/>
              <a:ext cx="3175" cy="3175"/>
            </a:xfrm>
            <a:custGeom>
              <a:avLst/>
              <a:gdLst>
                <a:gd name="T0" fmla="*/ 5 w 9"/>
                <a:gd name="T1" fmla="*/ 5 h 9"/>
                <a:gd name="T2" fmla="*/ 8 w 9"/>
                <a:gd name="T3" fmla="*/ 2 h 9"/>
                <a:gd name="T4" fmla="*/ 5 w 9"/>
                <a:gd name="T5" fmla="*/ 0 h 9"/>
                <a:gd name="T6" fmla="*/ 0 w 9"/>
                <a:gd name="T7" fmla="*/ 5 h 9"/>
                <a:gd name="T8" fmla="*/ 3 w 9"/>
                <a:gd name="T9" fmla="*/ 6 h 9"/>
                <a:gd name="T10" fmla="*/ 5 w 9"/>
                <a:gd name="T11" fmla="*/ 5 h 9"/>
                <a:gd name="T12" fmla="*/ 5 w 9"/>
                <a:gd name="T13" fmla="*/ 5 h 9"/>
                <a:gd name="T14" fmla="*/ 3 w 9"/>
                <a:gd name="T15" fmla="*/ 6 h 9"/>
                <a:gd name="T16" fmla="*/ 5 w 9"/>
                <a:gd name="T1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5" y="5"/>
                  </a:moveTo>
                  <a:lnTo>
                    <a:pt x="8" y="2"/>
                  </a:lnTo>
                  <a:lnTo>
                    <a:pt x="5" y="0"/>
                  </a:lnTo>
                  <a:lnTo>
                    <a:pt x="0" y="5"/>
                  </a:lnTo>
                  <a:cubicBezTo>
                    <a:pt x="0" y="8"/>
                    <a:pt x="0" y="8"/>
                    <a:pt x="3" y="6"/>
                  </a:cubicBezTo>
                  <a:cubicBezTo>
                    <a:pt x="3" y="6"/>
                    <a:pt x="4" y="5"/>
                    <a:pt x="5" y="5"/>
                  </a:cubicBezTo>
                  <a:close/>
                  <a:moveTo>
                    <a:pt x="5" y="5"/>
                  </a:moveTo>
                  <a:cubicBezTo>
                    <a:pt x="4" y="7"/>
                    <a:pt x="3" y="7"/>
                    <a:pt x="3" y="6"/>
                  </a:cubicBezTo>
                  <a:cubicBezTo>
                    <a:pt x="4" y="6"/>
                    <a:pt x="4" y="6"/>
                    <a:pt x="5" y="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49" name="Freeform 76"/>
            <p:cNvSpPr>
              <a:spLocks noChangeArrowheads="1"/>
            </p:cNvSpPr>
            <p:nvPr/>
          </p:nvSpPr>
          <p:spPr bwMode="auto">
            <a:xfrm>
              <a:off x="4171950" y="3094038"/>
              <a:ext cx="3175" cy="1587"/>
            </a:xfrm>
            <a:custGeom>
              <a:avLst/>
              <a:gdLst>
                <a:gd name="T0" fmla="*/ 6 w 10"/>
                <a:gd name="T1" fmla="*/ 5 h 6"/>
                <a:gd name="T2" fmla="*/ 6 w 10"/>
                <a:gd name="T3" fmla="*/ 0 h 6"/>
                <a:gd name="T4" fmla="*/ 0 w 10"/>
                <a:gd name="T5" fmla="*/ 0 h 6"/>
                <a:gd name="T6" fmla="*/ 0 w 10"/>
                <a:gd name="T7" fmla="*/ 3 h 6"/>
                <a:gd name="T8" fmla="*/ 0 w 10"/>
                <a:gd name="T9" fmla="*/ 3 h 6"/>
                <a:gd name="T10" fmla="*/ 6 w 10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6">
                  <a:moveTo>
                    <a:pt x="6" y="5"/>
                  </a:moveTo>
                  <a:cubicBezTo>
                    <a:pt x="6" y="5"/>
                    <a:pt x="9" y="3"/>
                    <a:pt x="6" y="0"/>
                  </a:cubicBez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cubicBezTo>
                    <a:pt x="3" y="5"/>
                    <a:pt x="3" y="5"/>
                    <a:pt x="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50" name="Freeform 77"/>
            <p:cNvSpPr>
              <a:spLocks noChangeArrowheads="1"/>
            </p:cNvSpPr>
            <p:nvPr/>
          </p:nvSpPr>
          <p:spPr bwMode="auto">
            <a:xfrm>
              <a:off x="4214813" y="3089275"/>
              <a:ext cx="4762" cy="3175"/>
            </a:xfrm>
            <a:custGeom>
              <a:avLst/>
              <a:gdLst>
                <a:gd name="T0" fmla="*/ 3 w 15"/>
                <a:gd name="T1" fmla="*/ 0 h 9"/>
                <a:gd name="T2" fmla="*/ 14 w 15"/>
                <a:gd name="T3" fmla="*/ 8 h 9"/>
                <a:gd name="T4" fmla="*/ 3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3" y="0"/>
                  </a:moveTo>
                  <a:cubicBezTo>
                    <a:pt x="0" y="8"/>
                    <a:pt x="5" y="8"/>
                    <a:pt x="14" y="8"/>
                  </a:cubicBezTo>
                  <a:cubicBezTo>
                    <a:pt x="14" y="0"/>
                    <a:pt x="8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51" name="Freeform 78"/>
            <p:cNvSpPr>
              <a:spLocks noChangeArrowheads="1"/>
            </p:cNvSpPr>
            <p:nvPr/>
          </p:nvSpPr>
          <p:spPr bwMode="auto">
            <a:xfrm>
              <a:off x="4289425" y="3055938"/>
              <a:ext cx="7938" cy="7937"/>
            </a:xfrm>
            <a:custGeom>
              <a:avLst/>
              <a:gdLst>
                <a:gd name="T0" fmla="*/ 8 w 20"/>
                <a:gd name="T1" fmla="*/ 23 h 24"/>
                <a:gd name="T2" fmla="*/ 19 w 20"/>
                <a:gd name="T3" fmla="*/ 6 h 24"/>
                <a:gd name="T4" fmla="*/ 8 w 20"/>
                <a:gd name="T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8" y="23"/>
                  </a:moveTo>
                  <a:cubicBezTo>
                    <a:pt x="19" y="23"/>
                    <a:pt x="19" y="17"/>
                    <a:pt x="19" y="6"/>
                  </a:cubicBezTo>
                  <a:cubicBezTo>
                    <a:pt x="14" y="0"/>
                    <a:pt x="0" y="14"/>
                    <a:pt x="8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52" name="Freeform 79"/>
            <p:cNvSpPr>
              <a:spLocks noChangeArrowheads="1"/>
            </p:cNvSpPr>
            <p:nvPr/>
          </p:nvSpPr>
          <p:spPr bwMode="auto">
            <a:xfrm>
              <a:off x="4262438" y="3073400"/>
              <a:ext cx="4762" cy="6350"/>
            </a:xfrm>
            <a:custGeom>
              <a:avLst/>
              <a:gdLst>
                <a:gd name="T0" fmla="*/ 14 w 15"/>
                <a:gd name="T1" fmla="*/ 3 h 18"/>
                <a:gd name="T2" fmla="*/ 14 w 15"/>
                <a:gd name="T3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14" y="3"/>
                  </a:moveTo>
                  <a:cubicBezTo>
                    <a:pt x="0" y="0"/>
                    <a:pt x="11" y="17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53" name="Freeform 80"/>
            <p:cNvSpPr>
              <a:spLocks noChangeArrowheads="1"/>
            </p:cNvSpPr>
            <p:nvPr/>
          </p:nvSpPr>
          <p:spPr bwMode="auto">
            <a:xfrm>
              <a:off x="4149725" y="3090863"/>
              <a:ext cx="3175" cy="3175"/>
            </a:xfrm>
            <a:custGeom>
              <a:avLst/>
              <a:gdLst>
                <a:gd name="T0" fmla="*/ 0 w 7"/>
                <a:gd name="T1" fmla="*/ 0 h 10"/>
                <a:gd name="T2" fmla="*/ 0 w 7"/>
                <a:gd name="T3" fmla="*/ 0 h 10"/>
                <a:gd name="T4" fmla="*/ 3 w 7"/>
                <a:gd name="T5" fmla="*/ 9 h 10"/>
                <a:gd name="T6" fmla="*/ 6 w 7"/>
                <a:gd name="T7" fmla="*/ 3 h 10"/>
                <a:gd name="T8" fmla="*/ 0 w 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0" y="0"/>
                  </a:moveTo>
                  <a:lnTo>
                    <a:pt x="0" y="0"/>
                  </a:lnTo>
                  <a:cubicBezTo>
                    <a:pt x="0" y="6"/>
                    <a:pt x="3" y="9"/>
                    <a:pt x="3" y="9"/>
                  </a:cubicBezTo>
                  <a:cubicBezTo>
                    <a:pt x="3" y="6"/>
                    <a:pt x="6" y="6"/>
                    <a:pt x="6" y="3"/>
                  </a:cubicBez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54" name="Freeform 81"/>
            <p:cNvSpPr>
              <a:spLocks noChangeArrowheads="1"/>
            </p:cNvSpPr>
            <p:nvPr/>
          </p:nvSpPr>
          <p:spPr bwMode="auto">
            <a:xfrm>
              <a:off x="3614738" y="2587625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55" name="Freeform 82"/>
            <p:cNvSpPr>
              <a:spLocks noChangeArrowheads="1"/>
            </p:cNvSpPr>
            <p:nvPr/>
          </p:nvSpPr>
          <p:spPr bwMode="auto">
            <a:xfrm>
              <a:off x="3629025" y="2708275"/>
              <a:ext cx="1588" cy="1588"/>
            </a:xfrm>
            <a:custGeom>
              <a:avLst/>
              <a:gdLst>
                <a:gd name="T0" fmla="*/ 5 w 6"/>
                <a:gd name="T1" fmla="*/ 3 h 4"/>
                <a:gd name="T2" fmla="*/ 3 w 6"/>
                <a:gd name="T3" fmla="*/ 0 h 4"/>
                <a:gd name="T4" fmla="*/ 0 w 6"/>
                <a:gd name="T5" fmla="*/ 3 h 4"/>
                <a:gd name="T6" fmla="*/ 5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5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56" name="Freeform 83"/>
            <p:cNvSpPr>
              <a:spLocks noChangeArrowheads="1"/>
            </p:cNvSpPr>
            <p:nvPr/>
          </p:nvSpPr>
          <p:spPr bwMode="auto">
            <a:xfrm>
              <a:off x="3609975" y="2484438"/>
              <a:ext cx="7938" cy="7937"/>
            </a:xfrm>
            <a:custGeom>
              <a:avLst/>
              <a:gdLst>
                <a:gd name="T0" fmla="*/ 0 w 24"/>
                <a:gd name="T1" fmla="*/ 0 h 24"/>
                <a:gd name="T2" fmla="*/ 20 w 24"/>
                <a:gd name="T3" fmla="*/ 23 h 24"/>
                <a:gd name="T4" fmla="*/ 23 w 24"/>
                <a:gd name="T5" fmla="*/ 23 h 24"/>
                <a:gd name="T6" fmla="*/ 0 w 2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4">
                  <a:moveTo>
                    <a:pt x="0" y="0"/>
                  </a:moveTo>
                  <a:cubicBezTo>
                    <a:pt x="6" y="9"/>
                    <a:pt x="11" y="17"/>
                    <a:pt x="20" y="23"/>
                  </a:cubicBezTo>
                  <a:lnTo>
                    <a:pt x="23" y="23"/>
                  </a:lnTo>
                  <a:cubicBezTo>
                    <a:pt x="11" y="14"/>
                    <a:pt x="6" y="9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57" name="Freeform 84"/>
            <p:cNvSpPr>
              <a:spLocks noChangeArrowheads="1"/>
            </p:cNvSpPr>
            <p:nvPr/>
          </p:nvSpPr>
          <p:spPr bwMode="auto">
            <a:xfrm>
              <a:off x="4200525" y="3089275"/>
              <a:ext cx="3175" cy="3175"/>
            </a:xfrm>
            <a:custGeom>
              <a:avLst/>
              <a:gdLst>
                <a:gd name="T0" fmla="*/ 6 w 10"/>
                <a:gd name="T1" fmla="*/ 6 h 7"/>
                <a:gd name="T2" fmla="*/ 9 w 10"/>
                <a:gd name="T3" fmla="*/ 3 h 7"/>
                <a:gd name="T4" fmla="*/ 0 w 10"/>
                <a:gd name="T5" fmla="*/ 0 h 7"/>
                <a:gd name="T6" fmla="*/ 6 w 10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6" y="6"/>
                  </a:moveTo>
                  <a:lnTo>
                    <a:pt x="9" y="3"/>
                  </a:lnTo>
                  <a:cubicBezTo>
                    <a:pt x="6" y="3"/>
                    <a:pt x="3" y="3"/>
                    <a:pt x="0" y="0"/>
                  </a:cubicBezTo>
                  <a:lnTo>
                    <a:pt x="6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58" name="Freeform 85"/>
            <p:cNvSpPr>
              <a:spLocks noChangeArrowheads="1"/>
            </p:cNvSpPr>
            <p:nvPr/>
          </p:nvSpPr>
          <p:spPr bwMode="auto">
            <a:xfrm>
              <a:off x="3703638" y="2881313"/>
              <a:ext cx="3175" cy="3175"/>
            </a:xfrm>
            <a:custGeom>
              <a:avLst/>
              <a:gdLst>
                <a:gd name="T0" fmla="*/ 5 w 9"/>
                <a:gd name="T1" fmla="*/ 9 h 10"/>
                <a:gd name="T2" fmla="*/ 8 w 9"/>
                <a:gd name="T3" fmla="*/ 0 h 10"/>
                <a:gd name="T4" fmla="*/ 2 w 9"/>
                <a:gd name="T5" fmla="*/ 0 h 10"/>
                <a:gd name="T6" fmla="*/ 5 w 9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5" y="9"/>
                  </a:moveTo>
                  <a:cubicBezTo>
                    <a:pt x="5" y="6"/>
                    <a:pt x="5" y="3"/>
                    <a:pt x="8" y="0"/>
                  </a:cubicBezTo>
                  <a:lnTo>
                    <a:pt x="2" y="0"/>
                  </a:lnTo>
                  <a:cubicBezTo>
                    <a:pt x="0" y="3"/>
                    <a:pt x="0" y="6"/>
                    <a:pt x="5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59" name="Freeform 86"/>
            <p:cNvSpPr>
              <a:spLocks noChangeArrowheads="1"/>
            </p:cNvSpPr>
            <p:nvPr/>
          </p:nvSpPr>
          <p:spPr bwMode="auto">
            <a:xfrm>
              <a:off x="3665538" y="2828925"/>
              <a:ext cx="3175" cy="1588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5 h 6"/>
                <a:gd name="T4" fmla="*/ 6 w 7"/>
                <a:gd name="T5" fmla="*/ 0 h 6"/>
                <a:gd name="T6" fmla="*/ 0 w 7"/>
                <a:gd name="T7" fmla="*/ 0 h 6"/>
                <a:gd name="T8" fmla="*/ 0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lnTo>
                    <a:pt x="6" y="5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60" name="Freeform 87"/>
            <p:cNvSpPr>
              <a:spLocks noChangeArrowheads="1"/>
            </p:cNvSpPr>
            <p:nvPr/>
          </p:nvSpPr>
          <p:spPr bwMode="auto">
            <a:xfrm>
              <a:off x="3625850" y="2732088"/>
              <a:ext cx="6350" cy="1587"/>
            </a:xfrm>
            <a:custGeom>
              <a:avLst/>
              <a:gdLst>
                <a:gd name="T0" fmla="*/ 3 w 18"/>
                <a:gd name="T1" fmla="*/ 3 h 6"/>
                <a:gd name="T2" fmla="*/ 12 w 18"/>
                <a:gd name="T3" fmla="*/ 5 h 6"/>
                <a:gd name="T4" fmla="*/ 3 w 18"/>
                <a:gd name="T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6">
                  <a:moveTo>
                    <a:pt x="3" y="3"/>
                  </a:moveTo>
                  <a:lnTo>
                    <a:pt x="12" y="5"/>
                  </a:lnTo>
                  <a:cubicBezTo>
                    <a:pt x="17" y="0"/>
                    <a:pt x="0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61" name="Freeform 88"/>
            <p:cNvSpPr>
              <a:spLocks noChangeArrowheads="1"/>
            </p:cNvSpPr>
            <p:nvPr/>
          </p:nvSpPr>
          <p:spPr bwMode="auto">
            <a:xfrm>
              <a:off x="3890963" y="3028950"/>
              <a:ext cx="3175" cy="4763"/>
            </a:xfrm>
            <a:custGeom>
              <a:avLst/>
              <a:gdLst>
                <a:gd name="T0" fmla="*/ 8 w 9"/>
                <a:gd name="T1" fmla="*/ 9 h 13"/>
                <a:gd name="T2" fmla="*/ 8 w 9"/>
                <a:gd name="T3" fmla="*/ 0 h 13"/>
                <a:gd name="T4" fmla="*/ 0 w 9"/>
                <a:gd name="T5" fmla="*/ 3 h 13"/>
                <a:gd name="T6" fmla="*/ 0 w 9"/>
                <a:gd name="T7" fmla="*/ 12 h 13"/>
                <a:gd name="T8" fmla="*/ 8 w 9"/>
                <a:gd name="T9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3">
                  <a:moveTo>
                    <a:pt x="8" y="9"/>
                  </a:moveTo>
                  <a:cubicBezTo>
                    <a:pt x="8" y="6"/>
                    <a:pt x="8" y="3"/>
                    <a:pt x="8" y="0"/>
                  </a:cubicBezTo>
                  <a:cubicBezTo>
                    <a:pt x="5" y="3"/>
                    <a:pt x="3" y="3"/>
                    <a:pt x="0" y="3"/>
                  </a:cubicBezTo>
                  <a:cubicBezTo>
                    <a:pt x="0" y="6"/>
                    <a:pt x="0" y="9"/>
                    <a:pt x="0" y="12"/>
                  </a:cubicBezTo>
                  <a:cubicBezTo>
                    <a:pt x="3" y="12"/>
                    <a:pt x="5" y="9"/>
                    <a:pt x="8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62" name="Freeform 89"/>
            <p:cNvSpPr>
              <a:spLocks noChangeArrowheads="1"/>
            </p:cNvSpPr>
            <p:nvPr/>
          </p:nvSpPr>
          <p:spPr bwMode="auto">
            <a:xfrm>
              <a:off x="3756025" y="2936875"/>
              <a:ext cx="3175" cy="1588"/>
            </a:xfrm>
            <a:custGeom>
              <a:avLst/>
              <a:gdLst>
                <a:gd name="T0" fmla="*/ 6 w 7"/>
                <a:gd name="T1" fmla="*/ 0 h 3"/>
                <a:gd name="T2" fmla="*/ 6 w 7"/>
                <a:gd name="T3" fmla="*/ 0 h 3"/>
                <a:gd name="T4" fmla="*/ 0 w 7"/>
                <a:gd name="T5" fmla="*/ 0 h 3"/>
                <a:gd name="T6" fmla="*/ 6 w 7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6" y="0"/>
                  </a:moveTo>
                  <a:lnTo>
                    <a:pt x="6" y="0"/>
                  </a:lnTo>
                  <a:cubicBezTo>
                    <a:pt x="3" y="0"/>
                    <a:pt x="3" y="0"/>
                    <a:pt x="0" y="0"/>
                  </a:cubicBezTo>
                  <a:cubicBezTo>
                    <a:pt x="0" y="2"/>
                    <a:pt x="3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63" name="Freeform 90"/>
            <p:cNvSpPr>
              <a:spLocks noChangeArrowheads="1"/>
            </p:cNvSpPr>
            <p:nvPr/>
          </p:nvSpPr>
          <p:spPr bwMode="auto">
            <a:xfrm>
              <a:off x="3609975" y="2565400"/>
              <a:ext cx="3175" cy="4763"/>
            </a:xfrm>
            <a:custGeom>
              <a:avLst/>
              <a:gdLst>
                <a:gd name="T0" fmla="*/ 9 w 10"/>
                <a:gd name="T1" fmla="*/ 11 h 15"/>
                <a:gd name="T2" fmla="*/ 3 w 10"/>
                <a:gd name="T3" fmla="*/ 0 h 15"/>
                <a:gd name="T4" fmla="*/ 9 w 10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9" y="11"/>
                  </a:moveTo>
                  <a:cubicBezTo>
                    <a:pt x="9" y="6"/>
                    <a:pt x="9" y="0"/>
                    <a:pt x="3" y="0"/>
                  </a:cubicBezTo>
                  <a:cubicBezTo>
                    <a:pt x="0" y="6"/>
                    <a:pt x="0" y="14"/>
                    <a:pt x="9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64" name="Freeform 91"/>
            <p:cNvSpPr>
              <a:spLocks noChangeArrowheads="1"/>
            </p:cNvSpPr>
            <p:nvPr/>
          </p:nvSpPr>
          <p:spPr bwMode="auto">
            <a:xfrm>
              <a:off x="3854450" y="3016250"/>
              <a:ext cx="9525" cy="11113"/>
            </a:xfrm>
            <a:custGeom>
              <a:avLst/>
              <a:gdLst>
                <a:gd name="T0" fmla="*/ 6 w 27"/>
                <a:gd name="T1" fmla="*/ 0 h 30"/>
                <a:gd name="T2" fmla="*/ 6 w 27"/>
                <a:gd name="T3" fmla="*/ 29 h 30"/>
                <a:gd name="T4" fmla="*/ 26 w 27"/>
                <a:gd name="T5" fmla="*/ 23 h 30"/>
                <a:gd name="T6" fmla="*/ 6 w 27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30">
                  <a:moveTo>
                    <a:pt x="6" y="0"/>
                  </a:moveTo>
                  <a:cubicBezTo>
                    <a:pt x="0" y="6"/>
                    <a:pt x="9" y="14"/>
                    <a:pt x="6" y="29"/>
                  </a:cubicBezTo>
                  <a:cubicBezTo>
                    <a:pt x="11" y="29"/>
                    <a:pt x="20" y="26"/>
                    <a:pt x="26" y="23"/>
                  </a:cubicBezTo>
                  <a:cubicBezTo>
                    <a:pt x="26" y="6"/>
                    <a:pt x="17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65" name="Freeform 92"/>
            <p:cNvSpPr>
              <a:spLocks noChangeArrowheads="1"/>
            </p:cNvSpPr>
            <p:nvPr/>
          </p:nvSpPr>
          <p:spPr bwMode="auto">
            <a:xfrm>
              <a:off x="3722688" y="2898775"/>
              <a:ext cx="4762" cy="3175"/>
            </a:xfrm>
            <a:custGeom>
              <a:avLst/>
              <a:gdLst>
                <a:gd name="T0" fmla="*/ 11 w 12"/>
                <a:gd name="T1" fmla="*/ 0 h 7"/>
                <a:gd name="T2" fmla="*/ 0 w 12"/>
                <a:gd name="T3" fmla="*/ 0 h 7"/>
                <a:gd name="T4" fmla="*/ 0 w 12"/>
                <a:gd name="T5" fmla="*/ 3 h 7"/>
                <a:gd name="T6" fmla="*/ 11 w 12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9" y="0"/>
                    <a:pt x="3" y="0"/>
                    <a:pt x="0" y="0"/>
                  </a:cubicBezTo>
                  <a:lnTo>
                    <a:pt x="0" y="3"/>
                  </a:lnTo>
                  <a:cubicBezTo>
                    <a:pt x="3" y="6"/>
                    <a:pt x="6" y="3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66" name="Freeform 93"/>
            <p:cNvSpPr>
              <a:spLocks noChangeArrowheads="1"/>
            </p:cNvSpPr>
            <p:nvPr/>
          </p:nvSpPr>
          <p:spPr bwMode="auto">
            <a:xfrm>
              <a:off x="3910013" y="3063875"/>
              <a:ext cx="4762" cy="4763"/>
            </a:xfrm>
            <a:custGeom>
              <a:avLst/>
              <a:gdLst>
                <a:gd name="T0" fmla="*/ 14 w 15"/>
                <a:gd name="T1" fmla="*/ 6 h 15"/>
                <a:gd name="T2" fmla="*/ 0 w 15"/>
                <a:gd name="T3" fmla="*/ 6 h 15"/>
                <a:gd name="T4" fmla="*/ 14 w 15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6"/>
                  </a:moveTo>
                  <a:cubicBezTo>
                    <a:pt x="11" y="6"/>
                    <a:pt x="0" y="0"/>
                    <a:pt x="0" y="6"/>
                  </a:cubicBezTo>
                  <a:cubicBezTo>
                    <a:pt x="2" y="9"/>
                    <a:pt x="11" y="14"/>
                    <a:pt x="14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67" name="Freeform 94"/>
            <p:cNvSpPr>
              <a:spLocks noChangeArrowheads="1"/>
            </p:cNvSpPr>
            <p:nvPr/>
          </p:nvSpPr>
          <p:spPr bwMode="auto">
            <a:xfrm>
              <a:off x="3729038" y="2909888"/>
              <a:ext cx="11112" cy="14287"/>
            </a:xfrm>
            <a:custGeom>
              <a:avLst/>
              <a:gdLst>
                <a:gd name="T0" fmla="*/ 23 w 32"/>
                <a:gd name="T1" fmla="*/ 34 h 38"/>
                <a:gd name="T2" fmla="*/ 31 w 32"/>
                <a:gd name="T3" fmla="*/ 26 h 38"/>
                <a:gd name="T4" fmla="*/ 20 w 32"/>
                <a:gd name="T5" fmla="*/ 14 h 38"/>
                <a:gd name="T6" fmla="*/ 3 w 32"/>
                <a:gd name="T7" fmla="*/ 6 h 38"/>
                <a:gd name="T8" fmla="*/ 9 w 32"/>
                <a:gd name="T9" fmla="*/ 14 h 38"/>
                <a:gd name="T10" fmla="*/ 0 w 32"/>
                <a:gd name="T11" fmla="*/ 29 h 38"/>
                <a:gd name="T12" fmla="*/ 23 w 32"/>
                <a:gd name="T13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8">
                  <a:moveTo>
                    <a:pt x="23" y="34"/>
                  </a:moveTo>
                  <a:cubicBezTo>
                    <a:pt x="23" y="29"/>
                    <a:pt x="23" y="23"/>
                    <a:pt x="31" y="26"/>
                  </a:cubicBezTo>
                  <a:cubicBezTo>
                    <a:pt x="31" y="17"/>
                    <a:pt x="23" y="17"/>
                    <a:pt x="20" y="14"/>
                  </a:cubicBezTo>
                  <a:cubicBezTo>
                    <a:pt x="17" y="9"/>
                    <a:pt x="11" y="0"/>
                    <a:pt x="3" y="6"/>
                  </a:cubicBezTo>
                  <a:cubicBezTo>
                    <a:pt x="0" y="14"/>
                    <a:pt x="11" y="9"/>
                    <a:pt x="9" y="14"/>
                  </a:cubicBezTo>
                  <a:cubicBezTo>
                    <a:pt x="11" y="23"/>
                    <a:pt x="0" y="20"/>
                    <a:pt x="0" y="29"/>
                  </a:cubicBezTo>
                  <a:cubicBezTo>
                    <a:pt x="6" y="31"/>
                    <a:pt x="14" y="37"/>
                    <a:pt x="23" y="3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68" name="Freeform 95"/>
            <p:cNvSpPr>
              <a:spLocks noChangeArrowheads="1"/>
            </p:cNvSpPr>
            <p:nvPr/>
          </p:nvSpPr>
          <p:spPr bwMode="auto">
            <a:xfrm>
              <a:off x="3813175" y="3008313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6 h 7"/>
                <a:gd name="T4" fmla="*/ 9 w 10"/>
                <a:gd name="T5" fmla="*/ 0 h 7"/>
                <a:gd name="T6" fmla="*/ 0 w 10"/>
                <a:gd name="T7" fmla="*/ 0 h 7"/>
                <a:gd name="T8" fmla="*/ 0 w 10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lnTo>
                    <a:pt x="9" y="6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69" name="Freeform 96"/>
            <p:cNvSpPr>
              <a:spLocks noChangeArrowheads="1"/>
            </p:cNvSpPr>
            <p:nvPr/>
          </p:nvSpPr>
          <p:spPr bwMode="auto">
            <a:xfrm>
              <a:off x="3937000" y="3048000"/>
              <a:ext cx="1588" cy="3175"/>
            </a:xfrm>
            <a:custGeom>
              <a:avLst/>
              <a:gdLst>
                <a:gd name="T0" fmla="*/ 5 w 6"/>
                <a:gd name="T1" fmla="*/ 0 h 9"/>
                <a:gd name="T2" fmla="*/ 0 w 6"/>
                <a:gd name="T3" fmla="*/ 5 h 9"/>
                <a:gd name="T4" fmla="*/ 0 w 6"/>
                <a:gd name="T5" fmla="*/ 8 h 9"/>
                <a:gd name="T6" fmla="*/ 5 w 6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9">
                  <a:moveTo>
                    <a:pt x="5" y="0"/>
                  </a:moveTo>
                  <a:cubicBezTo>
                    <a:pt x="2" y="3"/>
                    <a:pt x="2" y="3"/>
                    <a:pt x="0" y="5"/>
                  </a:cubicBezTo>
                  <a:lnTo>
                    <a:pt x="0" y="8"/>
                  </a:lnTo>
                  <a:cubicBezTo>
                    <a:pt x="2" y="5"/>
                    <a:pt x="2" y="5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70" name="Freeform 97"/>
            <p:cNvSpPr>
              <a:spLocks noChangeArrowheads="1"/>
            </p:cNvSpPr>
            <p:nvPr/>
          </p:nvSpPr>
          <p:spPr bwMode="auto">
            <a:xfrm>
              <a:off x="3937000" y="3051175"/>
              <a:ext cx="4763" cy="7938"/>
            </a:xfrm>
            <a:custGeom>
              <a:avLst/>
              <a:gdLst>
                <a:gd name="T0" fmla="*/ 14 w 15"/>
                <a:gd name="T1" fmla="*/ 23 h 24"/>
                <a:gd name="T2" fmla="*/ 8 w 15"/>
                <a:gd name="T3" fmla="*/ 3 h 24"/>
                <a:gd name="T4" fmla="*/ 8 w 15"/>
                <a:gd name="T5" fmla="*/ 0 h 24"/>
                <a:gd name="T6" fmla="*/ 0 w 15"/>
                <a:gd name="T7" fmla="*/ 0 h 24"/>
                <a:gd name="T8" fmla="*/ 2 w 15"/>
                <a:gd name="T9" fmla="*/ 12 h 24"/>
                <a:gd name="T10" fmla="*/ 5 w 15"/>
                <a:gd name="T11" fmla="*/ 23 h 24"/>
                <a:gd name="T12" fmla="*/ 14 w 15"/>
                <a:gd name="T13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4">
                  <a:moveTo>
                    <a:pt x="14" y="23"/>
                  </a:moveTo>
                  <a:cubicBezTo>
                    <a:pt x="11" y="17"/>
                    <a:pt x="8" y="9"/>
                    <a:pt x="8" y="3"/>
                  </a:cubicBezTo>
                  <a:lnTo>
                    <a:pt x="8" y="0"/>
                  </a:lnTo>
                  <a:cubicBezTo>
                    <a:pt x="5" y="0"/>
                    <a:pt x="2" y="0"/>
                    <a:pt x="0" y="0"/>
                  </a:cubicBezTo>
                  <a:cubicBezTo>
                    <a:pt x="0" y="3"/>
                    <a:pt x="2" y="9"/>
                    <a:pt x="2" y="12"/>
                  </a:cubicBezTo>
                  <a:cubicBezTo>
                    <a:pt x="2" y="14"/>
                    <a:pt x="5" y="20"/>
                    <a:pt x="5" y="23"/>
                  </a:cubicBezTo>
                  <a:cubicBezTo>
                    <a:pt x="8" y="23"/>
                    <a:pt x="11" y="23"/>
                    <a:pt x="14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71" name="Freeform 98"/>
            <p:cNvSpPr>
              <a:spLocks noChangeArrowheads="1"/>
            </p:cNvSpPr>
            <p:nvPr/>
          </p:nvSpPr>
          <p:spPr bwMode="auto">
            <a:xfrm>
              <a:off x="3863975" y="3027363"/>
              <a:ext cx="1588" cy="1587"/>
            </a:xfrm>
            <a:custGeom>
              <a:avLst/>
              <a:gdLst>
                <a:gd name="T0" fmla="*/ 3 w 4"/>
                <a:gd name="T1" fmla="*/ 3 h 4"/>
                <a:gd name="T2" fmla="*/ 0 w 4"/>
                <a:gd name="T3" fmla="*/ 0 h 4"/>
                <a:gd name="T4" fmla="*/ 3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3" y="3"/>
                    <a:pt x="0" y="3"/>
                    <a:pt x="0" y="0"/>
                  </a:cubicBezTo>
                  <a:cubicBezTo>
                    <a:pt x="0" y="0"/>
                    <a:pt x="3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72" name="Freeform 99"/>
            <p:cNvSpPr>
              <a:spLocks noChangeArrowheads="1"/>
            </p:cNvSpPr>
            <p:nvPr/>
          </p:nvSpPr>
          <p:spPr bwMode="auto">
            <a:xfrm>
              <a:off x="3609975" y="2649538"/>
              <a:ext cx="1588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0 h 7"/>
                <a:gd name="T4" fmla="*/ 3 w 4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6"/>
                    <a:pt x="3" y="3"/>
                    <a:pt x="3" y="0"/>
                  </a:cubicBezTo>
                  <a:cubicBezTo>
                    <a:pt x="3" y="3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73" name="Freeform 100"/>
            <p:cNvSpPr>
              <a:spLocks noChangeArrowheads="1"/>
            </p:cNvSpPr>
            <p:nvPr/>
          </p:nvSpPr>
          <p:spPr bwMode="auto">
            <a:xfrm>
              <a:off x="3890963" y="3033713"/>
              <a:ext cx="3175" cy="4762"/>
            </a:xfrm>
            <a:custGeom>
              <a:avLst/>
              <a:gdLst>
                <a:gd name="T0" fmla="*/ 0 w 9"/>
                <a:gd name="T1" fmla="*/ 5 h 12"/>
                <a:gd name="T2" fmla="*/ 0 w 9"/>
                <a:gd name="T3" fmla="*/ 11 h 12"/>
                <a:gd name="T4" fmla="*/ 8 w 9"/>
                <a:gd name="T5" fmla="*/ 8 h 12"/>
                <a:gd name="T6" fmla="*/ 5 w 9"/>
                <a:gd name="T7" fmla="*/ 0 h 12"/>
                <a:gd name="T8" fmla="*/ 0 w 9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5"/>
                  </a:moveTo>
                  <a:cubicBezTo>
                    <a:pt x="0" y="8"/>
                    <a:pt x="0" y="11"/>
                    <a:pt x="0" y="11"/>
                  </a:cubicBezTo>
                  <a:cubicBezTo>
                    <a:pt x="3" y="11"/>
                    <a:pt x="5" y="8"/>
                    <a:pt x="8" y="8"/>
                  </a:cubicBezTo>
                  <a:cubicBezTo>
                    <a:pt x="8" y="5"/>
                    <a:pt x="8" y="2"/>
                    <a:pt x="5" y="0"/>
                  </a:cubicBezTo>
                  <a:cubicBezTo>
                    <a:pt x="5" y="2"/>
                    <a:pt x="3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74" name="Freeform 101"/>
            <p:cNvSpPr>
              <a:spLocks noChangeArrowheads="1"/>
            </p:cNvSpPr>
            <p:nvPr/>
          </p:nvSpPr>
          <p:spPr bwMode="auto">
            <a:xfrm>
              <a:off x="3867150" y="3016250"/>
              <a:ext cx="6350" cy="7938"/>
            </a:xfrm>
            <a:custGeom>
              <a:avLst/>
              <a:gdLst>
                <a:gd name="T0" fmla="*/ 3 w 18"/>
                <a:gd name="T1" fmla="*/ 16 h 20"/>
                <a:gd name="T2" fmla="*/ 17 w 18"/>
                <a:gd name="T3" fmla="*/ 8 h 20"/>
                <a:gd name="T4" fmla="*/ 3 w 18"/>
                <a:gd name="T5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0">
                  <a:moveTo>
                    <a:pt x="3" y="16"/>
                  </a:moveTo>
                  <a:cubicBezTo>
                    <a:pt x="8" y="19"/>
                    <a:pt x="14" y="16"/>
                    <a:pt x="17" y="8"/>
                  </a:cubicBezTo>
                  <a:cubicBezTo>
                    <a:pt x="8" y="5"/>
                    <a:pt x="0" y="0"/>
                    <a:pt x="3" y="1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75" name="Freeform 102"/>
            <p:cNvSpPr>
              <a:spLocks noChangeArrowheads="1"/>
            </p:cNvSpPr>
            <p:nvPr/>
          </p:nvSpPr>
          <p:spPr bwMode="auto">
            <a:xfrm>
              <a:off x="3609975" y="2665413"/>
              <a:ext cx="3175" cy="6350"/>
            </a:xfrm>
            <a:custGeom>
              <a:avLst/>
              <a:gdLst>
                <a:gd name="T0" fmla="*/ 9 w 10"/>
                <a:gd name="T1" fmla="*/ 3 h 18"/>
                <a:gd name="T2" fmla="*/ 0 w 10"/>
                <a:gd name="T3" fmla="*/ 14 h 18"/>
                <a:gd name="T4" fmla="*/ 9 w 10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9" y="3"/>
                  </a:moveTo>
                  <a:cubicBezTo>
                    <a:pt x="0" y="0"/>
                    <a:pt x="0" y="6"/>
                    <a:pt x="0" y="14"/>
                  </a:cubicBezTo>
                  <a:cubicBezTo>
                    <a:pt x="9" y="17"/>
                    <a:pt x="9" y="12"/>
                    <a:pt x="9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76" name="Freeform 103"/>
            <p:cNvSpPr>
              <a:spLocks noChangeArrowheads="1"/>
            </p:cNvSpPr>
            <p:nvPr/>
          </p:nvSpPr>
          <p:spPr bwMode="auto">
            <a:xfrm>
              <a:off x="3611563" y="2689225"/>
              <a:ext cx="1587" cy="3175"/>
            </a:xfrm>
            <a:custGeom>
              <a:avLst/>
              <a:gdLst>
                <a:gd name="T0" fmla="*/ 5 w 6"/>
                <a:gd name="T1" fmla="*/ 6 h 7"/>
                <a:gd name="T2" fmla="*/ 3 w 6"/>
                <a:gd name="T3" fmla="*/ 0 h 7"/>
                <a:gd name="T4" fmla="*/ 5 w 6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5" y="6"/>
                  </a:moveTo>
                  <a:cubicBezTo>
                    <a:pt x="5" y="3"/>
                    <a:pt x="3" y="3"/>
                    <a:pt x="3" y="0"/>
                  </a:cubicBezTo>
                  <a:cubicBezTo>
                    <a:pt x="0" y="3"/>
                    <a:pt x="3" y="6"/>
                    <a:pt x="5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77" name="Freeform 104"/>
            <p:cNvSpPr>
              <a:spLocks noChangeArrowheads="1"/>
            </p:cNvSpPr>
            <p:nvPr/>
          </p:nvSpPr>
          <p:spPr bwMode="auto">
            <a:xfrm>
              <a:off x="3884613" y="3041650"/>
              <a:ext cx="12700" cy="17463"/>
            </a:xfrm>
            <a:custGeom>
              <a:avLst/>
              <a:gdLst>
                <a:gd name="T0" fmla="*/ 0 w 35"/>
                <a:gd name="T1" fmla="*/ 3 h 49"/>
                <a:gd name="T2" fmla="*/ 34 w 35"/>
                <a:gd name="T3" fmla="*/ 48 h 49"/>
                <a:gd name="T4" fmla="*/ 5 w 35"/>
                <a:gd name="T5" fmla="*/ 3 h 49"/>
                <a:gd name="T6" fmla="*/ 0 w 35"/>
                <a:gd name="T7" fmla="*/ 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49">
                  <a:moveTo>
                    <a:pt x="0" y="3"/>
                  </a:moveTo>
                  <a:cubicBezTo>
                    <a:pt x="5" y="20"/>
                    <a:pt x="17" y="37"/>
                    <a:pt x="34" y="48"/>
                  </a:cubicBezTo>
                  <a:cubicBezTo>
                    <a:pt x="20" y="37"/>
                    <a:pt x="11" y="20"/>
                    <a:pt x="5" y="3"/>
                  </a:cubicBezTo>
                  <a:cubicBezTo>
                    <a:pt x="3" y="0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78" name="Freeform 105"/>
            <p:cNvSpPr>
              <a:spLocks noChangeArrowheads="1"/>
            </p:cNvSpPr>
            <p:nvPr/>
          </p:nvSpPr>
          <p:spPr bwMode="auto">
            <a:xfrm>
              <a:off x="3608388" y="2654300"/>
              <a:ext cx="3175" cy="3175"/>
            </a:xfrm>
            <a:custGeom>
              <a:avLst/>
              <a:gdLst>
                <a:gd name="T0" fmla="*/ 6 w 7"/>
                <a:gd name="T1" fmla="*/ 9 h 10"/>
                <a:gd name="T2" fmla="*/ 6 w 7"/>
                <a:gd name="T3" fmla="*/ 3 h 10"/>
                <a:gd name="T4" fmla="*/ 0 w 7"/>
                <a:gd name="T5" fmla="*/ 0 h 10"/>
                <a:gd name="T6" fmla="*/ 6 w 7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9"/>
                  </a:moveTo>
                  <a:cubicBezTo>
                    <a:pt x="6" y="6"/>
                    <a:pt x="6" y="6"/>
                    <a:pt x="6" y="3"/>
                  </a:cubicBezTo>
                  <a:cubicBezTo>
                    <a:pt x="3" y="3"/>
                    <a:pt x="3" y="0"/>
                    <a:pt x="0" y="0"/>
                  </a:cubicBezTo>
                  <a:cubicBezTo>
                    <a:pt x="3" y="6"/>
                    <a:pt x="3" y="9"/>
                    <a:pt x="6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79" name="Freeform 106"/>
            <p:cNvSpPr>
              <a:spLocks noChangeArrowheads="1"/>
            </p:cNvSpPr>
            <p:nvPr/>
          </p:nvSpPr>
          <p:spPr bwMode="auto">
            <a:xfrm>
              <a:off x="3875088" y="3025775"/>
              <a:ext cx="4762" cy="7938"/>
            </a:xfrm>
            <a:custGeom>
              <a:avLst/>
              <a:gdLst>
                <a:gd name="T0" fmla="*/ 0 w 12"/>
                <a:gd name="T1" fmla="*/ 8 h 21"/>
                <a:gd name="T2" fmla="*/ 11 w 12"/>
                <a:gd name="T3" fmla="*/ 17 h 21"/>
                <a:gd name="T4" fmla="*/ 8 w 12"/>
                <a:gd name="T5" fmla="*/ 3 h 21"/>
                <a:gd name="T6" fmla="*/ 0 w 12"/>
                <a:gd name="T7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1">
                  <a:moveTo>
                    <a:pt x="0" y="8"/>
                  </a:moveTo>
                  <a:cubicBezTo>
                    <a:pt x="5" y="8"/>
                    <a:pt x="2" y="20"/>
                    <a:pt x="11" y="17"/>
                  </a:cubicBezTo>
                  <a:cubicBezTo>
                    <a:pt x="11" y="11"/>
                    <a:pt x="11" y="8"/>
                    <a:pt x="8" y="3"/>
                  </a:cubicBezTo>
                  <a:cubicBezTo>
                    <a:pt x="2" y="0"/>
                    <a:pt x="0" y="3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80" name="Freeform 107"/>
            <p:cNvSpPr>
              <a:spLocks noChangeArrowheads="1"/>
            </p:cNvSpPr>
            <p:nvPr/>
          </p:nvSpPr>
          <p:spPr bwMode="auto">
            <a:xfrm>
              <a:off x="3878263" y="3033713"/>
              <a:ext cx="6350" cy="1587"/>
            </a:xfrm>
            <a:custGeom>
              <a:avLst/>
              <a:gdLst>
                <a:gd name="T0" fmla="*/ 0 w 18"/>
                <a:gd name="T1" fmla="*/ 5 h 6"/>
                <a:gd name="T2" fmla="*/ 17 w 18"/>
                <a:gd name="T3" fmla="*/ 5 h 6"/>
                <a:gd name="T4" fmla="*/ 17 w 18"/>
                <a:gd name="T5" fmla="*/ 0 h 6"/>
                <a:gd name="T6" fmla="*/ 0 w 18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0" y="5"/>
                  </a:moveTo>
                  <a:cubicBezTo>
                    <a:pt x="6" y="5"/>
                    <a:pt x="11" y="5"/>
                    <a:pt x="17" y="5"/>
                  </a:cubicBezTo>
                  <a:cubicBezTo>
                    <a:pt x="17" y="2"/>
                    <a:pt x="17" y="2"/>
                    <a:pt x="17" y="0"/>
                  </a:cubicBezTo>
                  <a:cubicBezTo>
                    <a:pt x="11" y="2"/>
                    <a:pt x="6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81" name="Freeform 108"/>
            <p:cNvSpPr>
              <a:spLocks noChangeArrowheads="1"/>
            </p:cNvSpPr>
            <p:nvPr/>
          </p:nvSpPr>
          <p:spPr bwMode="auto">
            <a:xfrm>
              <a:off x="3600450" y="2470150"/>
              <a:ext cx="4763" cy="7938"/>
            </a:xfrm>
            <a:custGeom>
              <a:avLst/>
              <a:gdLst>
                <a:gd name="T0" fmla="*/ 0 w 15"/>
                <a:gd name="T1" fmla="*/ 6 h 21"/>
                <a:gd name="T2" fmla="*/ 3 w 15"/>
                <a:gd name="T3" fmla="*/ 20 h 21"/>
                <a:gd name="T4" fmla="*/ 8 w 15"/>
                <a:gd name="T5" fmla="*/ 0 h 21"/>
                <a:gd name="T6" fmla="*/ 0 w 15"/>
                <a:gd name="T7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1">
                  <a:moveTo>
                    <a:pt x="0" y="6"/>
                  </a:moveTo>
                  <a:cubicBezTo>
                    <a:pt x="0" y="11"/>
                    <a:pt x="3" y="14"/>
                    <a:pt x="3" y="20"/>
                  </a:cubicBezTo>
                  <a:cubicBezTo>
                    <a:pt x="5" y="14"/>
                    <a:pt x="14" y="8"/>
                    <a:pt x="8" y="0"/>
                  </a:cubicBezTo>
                  <a:cubicBezTo>
                    <a:pt x="5" y="3"/>
                    <a:pt x="3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82" name="Freeform 109"/>
            <p:cNvSpPr>
              <a:spLocks noChangeArrowheads="1"/>
            </p:cNvSpPr>
            <p:nvPr/>
          </p:nvSpPr>
          <p:spPr bwMode="auto">
            <a:xfrm>
              <a:off x="3619500" y="2468563"/>
              <a:ext cx="6350" cy="4762"/>
            </a:xfrm>
            <a:custGeom>
              <a:avLst/>
              <a:gdLst>
                <a:gd name="T0" fmla="*/ 12 w 16"/>
                <a:gd name="T1" fmla="*/ 0 h 15"/>
                <a:gd name="T2" fmla="*/ 0 w 16"/>
                <a:gd name="T3" fmla="*/ 0 h 15"/>
                <a:gd name="T4" fmla="*/ 9 w 16"/>
                <a:gd name="T5" fmla="*/ 14 h 15"/>
                <a:gd name="T6" fmla="*/ 15 w 16"/>
                <a:gd name="T7" fmla="*/ 6 h 15"/>
                <a:gd name="T8" fmla="*/ 12 w 1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2" y="0"/>
                  </a:moveTo>
                  <a:lnTo>
                    <a:pt x="0" y="0"/>
                  </a:lnTo>
                  <a:cubicBezTo>
                    <a:pt x="3" y="6"/>
                    <a:pt x="6" y="12"/>
                    <a:pt x="9" y="14"/>
                  </a:cubicBezTo>
                  <a:cubicBezTo>
                    <a:pt x="9" y="12"/>
                    <a:pt x="12" y="9"/>
                    <a:pt x="15" y="6"/>
                  </a:cubicBezTo>
                  <a:cubicBezTo>
                    <a:pt x="12" y="3"/>
                    <a:pt x="12" y="3"/>
                    <a:pt x="1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83" name="Freeform 110"/>
            <p:cNvSpPr>
              <a:spLocks noChangeArrowheads="1"/>
            </p:cNvSpPr>
            <p:nvPr/>
          </p:nvSpPr>
          <p:spPr bwMode="auto">
            <a:xfrm>
              <a:off x="3630613" y="2441575"/>
              <a:ext cx="4762" cy="3175"/>
            </a:xfrm>
            <a:custGeom>
              <a:avLst/>
              <a:gdLst>
                <a:gd name="T0" fmla="*/ 11 w 12"/>
                <a:gd name="T1" fmla="*/ 8 h 9"/>
                <a:gd name="T2" fmla="*/ 5 w 12"/>
                <a:gd name="T3" fmla="*/ 0 h 9"/>
                <a:gd name="T4" fmla="*/ 0 w 12"/>
                <a:gd name="T5" fmla="*/ 3 h 9"/>
                <a:gd name="T6" fmla="*/ 5 w 12"/>
                <a:gd name="T7" fmla="*/ 8 h 9"/>
                <a:gd name="T8" fmla="*/ 11 w 12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1" y="8"/>
                  </a:moveTo>
                  <a:cubicBezTo>
                    <a:pt x="8" y="6"/>
                    <a:pt x="8" y="3"/>
                    <a:pt x="5" y="0"/>
                  </a:cubicBezTo>
                  <a:cubicBezTo>
                    <a:pt x="2" y="0"/>
                    <a:pt x="2" y="0"/>
                    <a:pt x="0" y="3"/>
                  </a:cubicBezTo>
                  <a:cubicBezTo>
                    <a:pt x="2" y="6"/>
                    <a:pt x="2" y="8"/>
                    <a:pt x="5" y="8"/>
                  </a:cubicBezTo>
                  <a:cubicBezTo>
                    <a:pt x="8" y="8"/>
                    <a:pt x="8" y="8"/>
                    <a:pt x="11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84" name="Freeform 111"/>
            <p:cNvSpPr>
              <a:spLocks noChangeArrowheads="1"/>
            </p:cNvSpPr>
            <p:nvPr/>
          </p:nvSpPr>
          <p:spPr bwMode="auto">
            <a:xfrm>
              <a:off x="4632325" y="2619375"/>
              <a:ext cx="6350" cy="4763"/>
            </a:xfrm>
            <a:custGeom>
              <a:avLst/>
              <a:gdLst>
                <a:gd name="T0" fmla="*/ 15 w 16"/>
                <a:gd name="T1" fmla="*/ 3 h 13"/>
                <a:gd name="T2" fmla="*/ 0 w 16"/>
                <a:gd name="T3" fmla="*/ 3 h 13"/>
                <a:gd name="T4" fmla="*/ 12 w 16"/>
                <a:gd name="T5" fmla="*/ 12 h 13"/>
                <a:gd name="T6" fmla="*/ 15 w 16"/>
                <a:gd name="T7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3">
                  <a:moveTo>
                    <a:pt x="15" y="3"/>
                  </a:moveTo>
                  <a:cubicBezTo>
                    <a:pt x="12" y="0"/>
                    <a:pt x="6" y="0"/>
                    <a:pt x="0" y="3"/>
                  </a:cubicBezTo>
                  <a:cubicBezTo>
                    <a:pt x="0" y="9"/>
                    <a:pt x="3" y="12"/>
                    <a:pt x="12" y="12"/>
                  </a:cubicBezTo>
                  <a:cubicBezTo>
                    <a:pt x="12" y="9"/>
                    <a:pt x="15" y="6"/>
                    <a:pt x="1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85" name="Freeform 112"/>
            <p:cNvSpPr>
              <a:spLocks noChangeArrowheads="1"/>
            </p:cNvSpPr>
            <p:nvPr/>
          </p:nvSpPr>
          <p:spPr bwMode="auto">
            <a:xfrm>
              <a:off x="3616325" y="2476500"/>
              <a:ext cx="7938" cy="7938"/>
            </a:xfrm>
            <a:custGeom>
              <a:avLst/>
              <a:gdLst>
                <a:gd name="T0" fmla="*/ 0 w 24"/>
                <a:gd name="T1" fmla="*/ 8 h 23"/>
                <a:gd name="T2" fmla="*/ 23 w 24"/>
                <a:gd name="T3" fmla="*/ 14 h 23"/>
                <a:gd name="T4" fmla="*/ 23 w 24"/>
                <a:gd name="T5" fmla="*/ 5 h 23"/>
                <a:gd name="T6" fmla="*/ 0 w 24"/>
                <a:gd name="T7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3">
                  <a:moveTo>
                    <a:pt x="0" y="8"/>
                  </a:moveTo>
                  <a:cubicBezTo>
                    <a:pt x="0" y="22"/>
                    <a:pt x="14" y="19"/>
                    <a:pt x="23" y="14"/>
                  </a:cubicBezTo>
                  <a:lnTo>
                    <a:pt x="23" y="5"/>
                  </a:lnTo>
                  <a:cubicBezTo>
                    <a:pt x="14" y="0"/>
                    <a:pt x="11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86" name="Freeform 113"/>
            <p:cNvSpPr>
              <a:spLocks noChangeArrowheads="1"/>
            </p:cNvSpPr>
            <p:nvPr/>
          </p:nvSpPr>
          <p:spPr bwMode="auto">
            <a:xfrm>
              <a:off x="3797300" y="2989263"/>
              <a:ext cx="9525" cy="7937"/>
            </a:xfrm>
            <a:custGeom>
              <a:avLst/>
              <a:gdLst>
                <a:gd name="T0" fmla="*/ 0 w 27"/>
                <a:gd name="T1" fmla="*/ 12 h 21"/>
                <a:gd name="T2" fmla="*/ 17 w 27"/>
                <a:gd name="T3" fmla="*/ 0 h 21"/>
                <a:gd name="T4" fmla="*/ 0 w 27"/>
                <a:gd name="T5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1">
                  <a:moveTo>
                    <a:pt x="0" y="12"/>
                  </a:moveTo>
                  <a:cubicBezTo>
                    <a:pt x="9" y="20"/>
                    <a:pt x="26" y="6"/>
                    <a:pt x="17" y="0"/>
                  </a:cubicBezTo>
                  <a:cubicBezTo>
                    <a:pt x="9" y="0"/>
                    <a:pt x="0" y="6"/>
                    <a:pt x="0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87" name="Freeform 114"/>
            <p:cNvSpPr>
              <a:spLocks noChangeArrowheads="1"/>
            </p:cNvSpPr>
            <p:nvPr/>
          </p:nvSpPr>
          <p:spPr bwMode="auto">
            <a:xfrm>
              <a:off x="4587875" y="2325688"/>
              <a:ext cx="4763" cy="4762"/>
            </a:xfrm>
            <a:custGeom>
              <a:avLst/>
              <a:gdLst>
                <a:gd name="T0" fmla="*/ 12 w 13"/>
                <a:gd name="T1" fmla="*/ 12 h 13"/>
                <a:gd name="T2" fmla="*/ 0 w 13"/>
                <a:gd name="T3" fmla="*/ 3 h 13"/>
                <a:gd name="T4" fmla="*/ 12 w 13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2" y="12"/>
                  </a:moveTo>
                  <a:cubicBezTo>
                    <a:pt x="12" y="3"/>
                    <a:pt x="9" y="0"/>
                    <a:pt x="0" y="3"/>
                  </a:cubicBezTo>
                  <a:cubicBezTo>
                    <a:pt x="0" y="9"/>
                    <a:pt x="6" y="12"/>
                    <a:pt x="12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88" name="Freeform 115"/>
            <p:cNvSpPr>
              <a:spLocks noChangeArrowheads="1"/>
            </p:cNvSpPr>
            <p:nvPr/>
          </p:nvSpPr>
          <p:spPr bwMode="auto">
            <a:xfrm>
              <a:off x="4583113" y="2317750"/>
              <a:ext cx="3175" cy="4763"/>
            </a:xfrm>
            <a:custGeom>
              <a:avLst/>
              <a:gdLst>
                <a:gd name="T0" fmla="*/ 0 w 7"/>
                <a:gd name="T1" fmla="*/ 3 h 15"/>
                <a:gd name="T2" fmla="*/ 0 w 7"/>
                <a:gd name="T3" fmla="*/ 11 h 15"/>
                <a:gd name="T4" fmla="*/ 0 w 7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lnTo>
                    <a:pt x="0" y="11"/>
                  </a:lnTo>
                  <a:cubicBezTo>
                    <a:pt x="6" y="14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89" name="Freeform 116"/>
            <p:cNvSpPr>
              <a:spLocks noChangeArrowheads="1"/>
            </p:cNvSpPr>
            <p:nvPr/>
          </p:nvSpPr>
          <p:spPr bwMode="auto">
            <a:xfrm>
              <a:off x="4581525" y="2336800"/>
              <a:ext cx="4763" cy="3175"/>
            </a:xfrm>
            <a:custGeom>
              <a:avLst/>
              <a:gdLst>
                <a:gd name="T0" fmla="*/ 6 w 13"/>
                <a:gd name="T1" fmla="*/ 0 h 10"/>
                <a:gd name="T2" fmla="*/ 6 w 13"/>
                <a:gd name="T3" fmla="*/ 9 h 10"/>
                <a:gd name="T4" fmla="*/ 6 w 13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6" y="0"/>
                  </a:moveTo>
                  <a:cubicBezTo>
                    <a:pt x="6" y="3"/>
                    <a:pt x="0" y="9"/>
                    <a:pt x="6" y="9"/>
                  </a:cubicBezTo>
                  <a:cubicBezTo>
                    <a:pt x="6" y="9"/>
                    <a:pt x="12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90" name="Freeform 117"/>
            <p:cNvSpPr>
              <a:spLocks noChangeArrowheads="1"/>
            </p:cNvSpPr>
            <p:nvPr/>
          </p:nvSpPr>
          <p:spPr bwMode="auto">
            <a:xfrm>
              <a:off x="4595813" y="2381250"/>
              <a:ext cx="3175" cy="1588"/>
            </a:xfrm>
            <a:custGeom>
              <a:avLst/>
              <a:gdLst>
                <a:gd name="T0" fmla="*/ 3 w 7"/>
                <a:gd name="T1" fmla="*/ 0 h 3"/>
                <a:gd name="T2" fmla="*/ 0 w 7"/>
                <a:gd name="T3" fmla="*/ 2 h 3"/>
                <a:gd name="T4" fmla="*/ 6 w 7"/>
                <a:gd name="T5" fmla="*/ 2 h 3"/>
                <a:gd name="T6" fmla="*/ 3 w 7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3" y="0"/>
                  </a:moveTo>
                  <a:cubicBezTo>
                    <a:pt x="3" y="2"/>
                    <a:pt x="3" y="2"/>
                    <a:pt x="0" y="2"/>
                  </a:cubicBezTo>
                  <a:cubicBezTo>
                    <a:pt x="3" y="2"/>
                    <a:pt x="3" y="2"/>
                    <a:pt x="6" y="2"/>
                  </a:cubicBezTo>
                  <a:cubicBezTo>
                    <a:pt x="6" y="2"/>
                    <a:pt x="6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91" name="Freeform 118"/>
            <p:cNvSpPr>
              <a:spLocks noChangeArrowheads="1"/>
            </p:cNvSpPr>
            <p:nvPr/>
          </p:nvSpPr>
          <p:spPr bwMode="auto">
            <a:xfrm>
              <a:off x="4551363" y="2293938"/>
              <a:ext cx="1587" cy="1587"/>
            </a:xfrm>
            <a:custGeom>
              <a:avLst/>
              <a:gdLst>
                <a:gd name="T0" fmla="*/ 3 w 4"/>
                <a:gd name="T1" fmla="*/ 0 h 4"/>
                <a:gd name="T2" fmla="*/ 0 w 4"/>
                <a:gd name="T3" fmla="*/ 3 h 4"/>
                <a:gd name="T4" fmla="*/ 3 w 4"/>
                <a:gd name="T5" fmla="*/ 3 h 4"/>
                <a:gd name="T6" fmla="*/ 3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3" y="0"/>
                    <a:pt x="3" y="3"/>
                    <a:pt x="0" y="3"/>
                  </a:cubicBezTo>
                  <a:lnTo>
                    <a:pt x="3" y="3"/>
                  </a:lnTo>
                  <a:lnTo>
                    <a:pt x="3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92" name="Freeform 119"/>
            <p:cNvSpPr>
              <a:spLocks noChangeArrowheads="1"/>
            </p:cNvSpPr>
            <p:nvPr/>
          </p:nvSpPr>
          <p:spPr bwMode="auto">
            <a:xfrm>
              <a:off x="4319588" y="3059113"/>
              <a:ext cx="1587" cy="1587"/>
            </a:xfrm>
            <a:custGeom>
              <a:avLst/>
              <a:gdLst>
                <a:gd name="T0" fmla="*/ 5 w 6"/>
                <a:gd name="T1" fmla="*/ 3 h 4"/>
                <a:gd name="T2" fmla="*/ 5 w 6"/>
                <a:gd name="T3" fmla="*/ 3 h 4"/>
                <a:gd name="T4" fmla="*/ 0 w 6"/>
                <a:gd name="T5" fmla="*/ 0 h 4"/>
                <a:gd name="T6" fmla="*/ 5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5" y="3"/>
                  </a:lnTo>
                  <a:cubicBezTo>
                    <a:pt x="2" y="3"/>
                    <a:pt x="0" y="0"/>
                    <a:pt x="0" y="0"/>
                  </a:cubicBezTo>
                  <a:cubicBezTo>
                    <a:pt x="0" y="3"/>
                    <a:pt x="2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93" name="Freeform 120"/>
            <p:cNvSpPr>
              <a:spLocks noChangeArrowheads="1"/>
            </p:cNvSpPr>
            <p:nvPr/>
          </p:nvSpPr>
          <p:spPr bwMode="auto">
            <a:xfrm>
              <a:off x="4591050" y="2363788"/>
              <a:ext cx="9525" cy="7937"/>
            </a:xfrm>
            <a:custGeom>
              <a:avLst/>
              <a:gdLst>
                <a:gd name="T0" fmla="*/ 14 w 26"/>
                <a:gd name="T1" fmla="*/ 11 h 23"/>
                <a:gd name="T2" fmla="*/ 0 w 26"/>
                <a:gd name="T3" fmla="*/ 2 h 23"/>
                <a:gd name="T4" fmla="*/ 6 w 26"/>
                <a:gd name="T5" fmla="*/ 22 h 23"/>
                <a:gd name="T6" fmla="*/ 14 w 26"/>
                <a:gd name="T7" fmla="*/ 11 h 23"/>
                <a:gd name="T8" fmla="*/ 25 w 26"/>
                <a:gd name="T9" fmla="*/ 11 h 23"/>
                <a:gd name="T10" fmla="*/ 25 w 26"/>
                <a:gd name="T11" fmla="*/ 2 h 23"/>
                <a:gd name="T12" fmla="*/ 14 w 26"/>
                <a:gd name="T1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3">
                  <a:moveTo>
                    <a:pt x="14" y="11"/>
                  </a:moveTo>
                  <a:cubicBezTo>
                    <a:pt x="14" y="5"/>
                    <a:pt x="6" y="5"/>
                    <a:pt x="0" y="2"/>
                  </a:cubicBezTo>
                  <a:cubicBezTo>
                    <a:pt x="0" y="11"/>
                    <a:pt x="6" y="14"/>
                    <a:pt x="6" y="22"/>
                  </a:cubicBezTo>
                  <a:cubicBezTo>
                    <a:pt x="14" y="22"/>
                    <a:pt x="11" y="14"/>
                    <a:pt x="14" y="11"/>
                  </a:cubicBezTo>
                  <a:cubicBezTo>
                    <a:pt x="20" y="14"/>
                    <a:pt x="20" y="8"/>
                    <a:pt x="25" y="11"/>
                  </a:cubicBezTo>
                  <a:lnTo>
                    <a:pt x="25" y="2"/>
                  </a:lnTo>
                  <a:cubicBezTo>
                    <a:pt x="17" y="0"/>
                    <a:pt x="20" y="8"/>
                    <a:pt x="14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94" name="Freeform 121"/>
            <p:cNvSpPr>
              <a:spLocks noChangeArrowheads="1"/>
            </p:cNvSpPr>
            <p:nvPr/>
          </p:nvSpPr>
          <p:spPr bwMode="auto">
            <a:xfrm>
              <a:off x="4564063" y="2309813"/>
              <a:ext cx="7937" cy="7937"/>
            </a:xfrm>
            <a:custGeom>
              <a:avLst/>
              <a:gdLst>
                <a:gd name="T0" fmla="*/ 8 w 20"/>
                <a:gd name="T1" fmla="*/ 0 h 24"/>
                <a:gd name="T2" fmla="*/ 5 w 20"/>
                <a:gd name="T3" fmla="*/ 23 h 24"/>
                <a:gd name="T4" fmla="*/ 8 w 20"/>
                <a:gd name="T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8" y="0"/>
                  </a:moveTo>
                  <a:cubicBezTo>
                    <a:pt x="0" y="3"/>
                    <a:pt x="0" y="17"/>
                    <a:pt x="5" y="23"/>
                  </a:cubicBezTo>
                  <a:cubicBezTo>
                    <a:pt x="19" y="20"/>
                    <a:pt x="16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95" name="Freeform 122"/>
            <p:cNvSpPr>
              <a:spLocks noChangeArrowheads="1"/>
            </p:cNvSpPr>
            <p:nvPr/>
          </p:nvSpPr>
          <p:spPr bwMode="auto">
            <a:xfrm>
              <a:off x="3819525" y="2994025"/>
              <a:ext cx="14288" cy="9525"/>
            </a:xfrm>
            <a:custGeom>
              <a:avLst/>
              <a:gdLst>
                <a:gd name="T0" fmla="*/ 40 w 41"/>
                <a:gd name="T1" fmla="*/ 12 h 27"/>
                <a:gd name="T2" fmla="*/ 17 w 41"/>
                <a:gd name="T3" fmla="*/ 23 h 27"/>
                <a:gd name="T4" fmla="*/ 40 w 41"/>
                <a:gd name="T5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27">
                  <a:moveTo>
                    <a:pt x="40" y="12"/>
                  </a:moveTo>
                  <a:cubicBezTo>
                    <a:pt x="28" y="0"/>
                    <a:pt x="0" y="12"/>
                    <a:pt x="17" y="23"/>
                  </a:cubicBezTo>
                  <a:cubicBezTo>
                    <a:pt x="31" y="26"/>
                    <a:pt x="31" y="17"/>
                    <a:pt x="40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96" name="Freeform 123"/>
            <p:cNvSpPr>
              <a:spLocks noChangeArrowheads="1"/>
            </p:cNvSpPr>
            <p:nvPr/>
          </p:nvSpPr>
          <p:spPr bwMode="auto">
            <a:xfrm>
              <a:off x="3810000" y="2987675"/>
              <a:ext cx="3175" cy="3175"/>
            </a:xfrm>
            <a:custGeom>
              <a:avLst/>
              <a:gdLst>
                <a:gd name="T0" fmla="*/ 8 w 9"/>
                <a:gd name="T1" fmla="*/ 0 h 10"/>
                <a:gd name="T2" fmla="*/ 0 w 9"/>
                <a:gd name="T3" fmla="*/ 0 h 10"/>
                <a:gd name="T4" fmla="*/ 0 w 9"/>
                <a:gd name="T5" fmla="*/ 9 h 10"/>
                <a:gd name="T6" fmla="*/ 8 w 9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8" y="0"/>
                  </a:moveTo>
                  <a:lnTo>
                    <a:pt x="0" y="0"/>
                  </a:lnTo>
                  <a:lnTo>
                    <a:pt x="0" y="9"/>
                  </a:lnTo>
                  <a:cubicBezTo>
                    <a:pt x="8" y="9"/>
                    <a:pt x="6" y="0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97" name="Freeform 124"/>
            <p:cNvSpPr>
              <a:spLocks noChangeArrowheads="1"/>
            </p:cNvSpPr>
            <p:nvPr/>
          </p:nvSpPr>
          <p:spPr bwMode="auto">
            <a:xfrm>
              <a:off x="4606925" y="2406650"/>
              <a:ext cx="7938" cy="7938"/>
            </a:xfrm>
            <a:custGeom>
              <a:avLst/>
              <a:gdLst>
                <a:gd name="T0" fmla="*/ 6 w 23"/>
                <a:gd name="T1" fmla="*/ 0 h 21"/>
                <a:gd name="T2" fmla="*/ 22 w 23"/>
                <a:gd name="T3" fmla="*/ 12 h 21"/>
                <a:gd name="T4" fmla="*/ 6 w 23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21">
                  <a:moveTo>
                    <a:pt x="6" y="0"/>
                  </a:moveTo>
                  <a:cubicBezTo>
                    <a:pt x="0" y="6"/>
                    <a:pt x="14" y="20"/>
                    <a:pt x="22" y="12"/>
                  </a:cubicBezTo>
                  <a:cubicBezTo>
                    <a:pt x="22" y="3"/>
                    <a:pt x="14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98" name="Freeform 125"/>
            <p:cNvSpPr>
              <a:spLocks noChangeArrowheads="1"/>
            </p:cNvSpPr>
            <p:nvPr/>
          </p:nvSpPr>
          <p:spPr bwMode="auto">
            <a:xfrm>
              <a:off x="3814763" y="2998788"/>
              <a:ext cx="1587" cy="3175"/>
            </a:xfrm>
            <a:custGeom>
              <a:avLst/>
              <a:gdLst>
                <a:gd name="T0" fmla="*/ 3 w 4"/>
                <a:gd name="T1" fmla="*/ 9 h 10"/>
                <a:gd name="T2" fmla="*/ 3 w 4"/>
                <a:gd name="T3" fmla="*/ 9 h 10"/>
                <a:gd name="T4" fmla="*/ 0 w 4"/>
                <a:gd name="T5" fmla="*/ 3 h 10"/>
                <a:gd name="T6" fmla="*/ 3 w 4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9"/>
                  </a:moveTo>
                  <a:lnTo>
                    <a:pt x="3" y="9"/>
                  </a:lnTo>
                  <a:cubicBezTo>
                    <a:pt x="3" y="6"/>
                    <a:pt x="0" y="0"/>
                    <a:pt x="0" y="3"/>
                  </a:cubicBezTo>
                  <a:cubicBezTo>
                    <a:pt x="0" y="6"/>
                    <a:pt x="0" y="6"/>
                    <a:pt x="3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99" name="Freeform 126"/>
            <p:cNvSpPr>
              <a:spLocks noChangeArrowheads="1"/>
            </p:cNvSpPr>
            <p:nvPr/>
          </p:nvSpPr>
          <p:spPr bwMode="auto">
            <a:xfrm>
              <a:off x="3617913" y="2493963"/>
              <a:ext cx="4762" cy="3175"/>
            </a:xfrm>
            <a:custGeom>
              <a:avLst/>
              <a:gdLst>
                <a:gd name="T0" fmla="*/ 0 w 15"/>
                <a:gd name="T1" fmla="*/ 2 h 9"/>
                <a:gd name="T2" fmla="*/ 8 w 15"/>
                <a:gd name="T3" fmla="*/ 8 h 9"/>
                <a:gd name="T4" fmla="*/ 8 w 15"/>
                <a:gd name="T5" fmla="*/ 8 h 9"/>
                <a:gd name="T6" fmla="*/ 14 w 15"/>
                <a:gd name="T7" fmla="*/ 5 h 9"/>
                <a:gd name="T8" fmla="*/ 5 w 15"/>
                <a:gd name="T9" fmla="*/ 0 h 9"/>
                <a:gd name="T10" fmla="*/ 0 w 15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9">
                  <a:moveTo>
                    <a:pt x="0" y="2"/>
                  </a:moveTo>
                  <a:cubicBezTo>
                    <a:pt x="3" y="5"/>
                    <a:pt x="5" y="8"/>
                    <a:pt x="8" y="8"/>
                  </a:cubicBezTo>
                  <a:lnTo>
                    <a:pt x="8" y="8"/>
                  </a:lnTo>
                  <a:cubicBezTo>
                    <a:pt x="11" y="8"/>
                    <a:pt x="14" y="5"/>
                    <a:pt x="14" y="5"/>
                  </a:cubicBezTo>
                  <a:cubicBezTo>
                    <a:pt x="11" y="2"/>
                    <a:pt x="8" y="2"/>
                    <a:pt x="5" y="0"/>
                  </a:cubicBezTo>
                  <a:cubicBezTo>
                    <a:pt x="3" y="0"/>
                    <a:pt x="3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00" name="Freeform 127"/>
            <p:cNvSpPr>
              <a:spLocks noChangeArrowheads="1"/>
            </p:cNvSpPr>
            <p:nvPr/>
          </p:nvSpPr>
          <p:spPr bwMode="auto">
            <a:xfrm>
              <a:off x="4573588" y="2332038"/>
              <a:ext cx="4762" cy="3175"/>
            </a:xfrm>
            <a:custGeom>
              <a:avLst/>
              <a:gdLst>
                <a:gd name="T0" fmla="*/ 3 w 15"/>
                <a:gd name="T1" fmla="*/ 3 h 10"/>
                <a:gd name="T2" fmla="*/ 11 w 15"/>
                <a:gd name="T3" fmla="*/ 3 h 10"/>
                <a:gd name="T4" fmla="*/ 3 w 15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3" y="3"/>
                  </a:moveTo>
                  <a:cubicBezTo>
                    <a:pt x="0" y="9"/>
                    <a:pt x="14" y="9"/>
                    <a:pt x="11" y="3"/>
                  </a:cubicBezTo>
                  <a:cubicBezTo>
                    <a:pt x="8" y="0"/>
                    <a:pt x="3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01" name="Freeform 128"/>
            <p:cNvSpPr>
              <a:spLocks noChangeArrowheads="1"/>
            </p:cNvSpPr>
            <p:nvPr/>
          </p:nvSpPr>
          <p:spPr bwMode="auto">
            <a:xfrm>
              <a:off x="4432300" y="2994025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8 w 9"/>
                <a:gd name="T3" fmla="*/ 3 h 10"/>
                <a:gd name="T4" fmla="*/ 0 w 9"/>
                <a:gd name="T5" fmla="*/ 0 h 10"/>
                <a:gd name="T6" fmla="*/ 0 w 9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cubicBezTo>
                    <a:pt x="3" y="9"/>
                    <a:pt x="5" y="9"/>
                    <a:pt x="8" y="3"/>
                  </a:cubicBezTo>
                  <a:cubicBezTo>
                    <a:pt x="5" y="3"/>
                    <a:pt x="3" y="3"/>
                    <a:pt x="0" y="0"/>
                  </a:cubicBez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02" name="Freeform 129"/>
            <p:cNvSpPr>
              <a:spLocks noChangeArrowheads="1"/>
            </p:cNvSpPr>
            <p:nvPr/>
          </p:nvSpPr>
          <p:spPr bwMode="auto">
            <a:xfrm>
              <a:off x="4541838" y="2878138"/>
              <a:ext cx="3175" cy="3175"/>
            </a:xfrm>
            <a:custGeom>
              <a:avLst/>
              <a:gdLst>
                <a:gd name="T0" fmla="*/ 0 w 10"/>
                <a:gd name="T1" fmla="*/ 8 h 9"/>
                <a:gd name="T2" fmla="*/ 9 w 10"/>
                <a:gd name="T3" fmla="*/ 3 h 9"/>
                <a:gd name="T4" fmla="*/ 0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8"/>
                  </a:moveTo>
                  <a:cubicBezTo>
                    <a:pt x="6" y="8"/>
                    <a:pt x="9" y="8"/>
                    <a:pt x="9" y="3"/>
                  </a:cubicBezTo>
                  <a:cubicBezTo>
                    <a:pt x="6" y="0"/>
                    <a:pt x="0" y="0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03" name="Freeform 130"/>
            <p:cNvSpPr>
              <a:spLocks noChangeArrowheads="1"/>
            </p:cNvSpPr>
            <p:nvPr/>
          </p:nvSpPr>
          <p:spPr bwMode="auto">
            <a:xfrm>
              <a:off x="4551363" y="2879725"/>
              <a:ext cx="6350" cy="6350"/>
            </a:xfrm>
            <a:custGeom>
              <a:avLst/>
              <a:gdLst>
                <a:gd name="T0" fmla="*/ 6 w 18"/>
                <a:gd name="T1" fmla="*/ 16 h 17"/>
                <a:gd name="T2" fmla="*/ 17 w 18"/>
                <a:gd name="T3" fmla="*/ 5 h 17"/>
                <a:gd name="T4" fmla="*/ 8 w 18"/>
                <a:gd name="T5" fmla="*/ 0 h 17"/>
                <a:gd name="T6" fmla="*/ 6 w 18"/>
                <a:gd name="T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7">
                  <a:moveTo>
                    <a:pt x="6" y="16"/>
                  </a:moveTo>
                  <a:cubicBezTo>
                    <a:pt x="11" y="14"/>
                    <a:pt x="17" y="14"/>
                    <a:pt x="17" y="5"/>
                  </a:cubicBezTo>
                  <a:cubicBezTo>
                    <a:pt x="14" y="2"/>
                    <a:pt x="11" y="2"/>
                    <a:pt x="8" y="0"/>
                  </a:cubicBezTo>
                  <a:cubicBezTo>
                    <a:pt x="8" y="8"/>
                    <a:pt x="0" y="11"/>
                    <a:pt x="6" y="1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04" name="Freeform 131"/>
            <p:cNvSpPr>
              <a:spLocks noChangeArrowheads="1"/>
            </p:cNvSpPr>
            <p:nvPr/>
          </p:nvSpPr>
          <p:spPr bwMode="auto">
            <a:xfrm>
              <a:off x="4529138" y="2892425"/>
              <a:ext cx="4762" cy="4763"/>
            </a:xfrm>
            <a:custGeom>
              <a:avLst/>
              <a:gdLst>
                <a:gd name="T0" fmla="*/ 3 w 15"/>
                <a:gd name="T1" fmla="*/ 0 h 13"/>
                <a:gd name="T2" fmla="*/ 11 w 15"/>
                <a:gd name="T3" fmla="*/ 0 h 13"/>
                <a:gd name="T4" fmla="*/ 3 w 15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3" y="0"/>
                  </a:moveTo>
                  <a:cubicBezTo>
                    <a:pt x="0" y="12"/>
                    <a:pt x="14" y="12"/>
                    <a:pt x="11" y="0"/>
                  </a:cubicBezTo>
                  <a:lnTo>
                    <a:pt x="3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05" name="Freeform 132"/>
            <p:cNvSpPr>
              <a:spLocks noChangeArrowheads="1"/>
            </p:cNvSpPr>
            <p:nvPr/>
          </p:nvSpPr>
          <p:spPr bwMode="auto">
            <a:xfrm>
              <a:off x="4538663" y="2265363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8 w 9"/>
                <a:gd name="T3" fmla="*/ 3 h 10"/>
                <a:gd name="T4" fmla="*/ 0 w 9"/>
                <a:gd name="T5" fmla="*/ 0 h 10"/>
                <a:gd name="T6" fmla="*/ 0 w 9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cubicBezTo>
                    <a:pt x="3" y="9"/>
                    <a:pt x="6" y="9"/>
                    <a:pt x="8" y="3"/>
                  </a:cubicBezTo>
                  <a:cubicBezTo>
                    <a:pt x="6" y="3"/>
                    <a:pt x="6" y="0"/>
                    <a:pt x="0" y="0"/>
                  </a:cubicBez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06" name="Freeform 133"/>
            <p:cNvSpPr>
              <a:spLocks noChangeArrowheads="1"/>
            </p:cNvSpPr>
            <p:nvPr/>
          </p:nvSpPr>
          <p:spPr bwMode="auto">
            <a:xfrm>
              <a:off x="4362450" y="3030538"/>
              <a:ext cx="3175" cy="4762"/>
            </a:xfrm>
            <a:custGeom>
              <a:avLst/>
              <a:gdLst>
                <a:gd name="T0" fmla="*/ 0 w 9"/>
                <a:gd name="T1" fmla="*/ 6 h 12"/>
                <a:gd name="T2" fmla="*/ 8 w 9"/>
                <a:gd name="T3" fmla="*/ 6 h 12"/>
                <a:gd name="T4" fmla="*/ 0 w 9"/>
                <a:gd name="T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0" y="6"/>
                  </a:moveTo>
                  <a:cubicBezTo>
                    <a:pt x="3" y="6"/>
                    <a:pt x="8" y="11"/>
                    <a:pt x="8" y="6"/>
                  </a:cubicBezTo>
                  <a:cubicBezTo>
                    <a:pt x="8" y="6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07" name="Freeform 134"/>
            <p:cNvSpPr>
              <a:spLocks noChangeArrowheads="1"/>
            </p:cNvSpPr>
            <p:nvPr/>
          </p:nvSpPr>
          <p:spPr bwMode="auto">
            <a:xfrm>
              <a:off x="4367213" y="3022600"/>
              <a:ext cx="3175" cy="4763"/>
            </a:xfrm>
            <a:custGeom>
              <a:avLst/>
              <a:gdLst>
                <a:gd name="T0" fmla="*/ 6 w 10"/>
                <a:gd name="T1" fmla="*/ 12 h 13"/>
                <a:gd name="T2" fmla="*/ 6 w 10"/>
                <a:gd name="T3" fmla="*/ 3 h 13"/>
                <a:gd name="T4" fmla="*/ 6 w 10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3">
                  <a:moveTo>
                    <a:pt x="6" y="12"/>
                  </a:moveTo>
                  <a:cubicBezTo>
                    <a:pt x="9" y="12"/>
                    <a:pt x="9" y="3"/>
                    <a:pt x="6" y="3"/>
                  </a:cubicBezTo>
                  <a:cubicBezTo>
                    <a:pt x="0" y="0"/>
                    <a:pt x="0" y="12"/>
                    <a:pt x="6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08" name="Freeform 135"/>
            <p:cNvSpPr>
              <a:spLocks noChangeArrowheads="1"/>
            </p:cNvSpPr>
            <p:nvPr/>
          </p:nvSpPr>
          <p:spPr bwMode="auto">
            <a:xfrm>
              <a:off x="4373563" y="3036888"/>
              <a:ext cx="4762" cy="4762"/>
            </a:xfrm>
            <a:custGeom>
              <a:avLst/>
              <a:gdLst>
                <a:gd name="T0" fmla="*/ 0 w 12"/>
                <a:gd name="T1" fmla="*/ 11 h 12"/>
                <a:gd name="T2" fmla="*/ 9 w 12"/>
                <a:gd name="T3" fmla="*/ 0 h 12"/>
                <a:gd name="T4" fmla="*/ 0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0" y="11"/>
                  </a:moveTo>
                  <a:cubicBezTo>
                    <a:pt x="9" y="11"/>
                    <a:pt x="11" y="8"/>
                    <a:pt x="9" y="0"/>
                  </a:cubicBezTo>
                  <a:cubicBezTo>
                    <a:pt x="3" y="0"/>
                    <a:pt x="3" y="5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09" name="Freeform 136"/>
            <p:cNvSpPr>
              <a:spLocks noChangeArrowheads="1"/>
            </p:cNvSpPr>
            <p:nvPr/>
          </p:nvSpPr>
          <p:spPr bwMode="auto">
            <a:xfrm>
              <a:off x="4386263" y="3014663"/>
              <a:ext cx="7937" cy="7937"/>
            </a:xfrm>
            <a:custGeom>
              <a:avLst/>
              <a:gdLst>
                <a:gd name="T0" fmla="*/ 0 w 23"/>
                <a:gd name="T1" fmla="*/ 6 h 21"/>
                <a:gd name="T2" fmla="*/ 22 w 23"/>
                <a:gd name="T3" fmla="*/ 8 h 21"/>
                <a:gd name="T4" fmla="*/ 0 w 23"/>
                <a:gd name="T5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21">
                  <a:moveTo>
                    <a:pt x="0" y="6"/>
                  </a:moveTo>
                  <a:cubicBezTo>
                    <a:pt x="3" y="20"/>
                    <a:pt x="17" y="17"/>
                    <a:pt x="22" y="8"/>
                  </a:cubicBezTo>
                  <a:cubicBezTo>
                    <a:pt x="20" y="0"/>
                    <a:pt x="5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10" name="Freeform 137"/>
            <p:cNvSpPr>
              <a:spLocks noChangeArrowheads="1"/>
            </p:cNvSpPr>
            <p:nvPr/>
          </p:nvSpPr>
          <p:spPr bwMode="auto">
            <a:xfrm>
              <a:off x="4406900" y="3011488"/>
              <a:ext cx="4763" cy="7937"/>
            </a:xfrm>
            <a:custGeom>
              <a:avLst/>
              <a:gdLst>
                <a:gd name="T0" fmla="*/ 0 w 12"/>
                <a:gd name="T1" fmla="*/ 20 h 24"/>
                <a:gd name="T2" fmla="*/ 6 w 12"/>
                <a:gd name="T3" fmla="*/ 14 h 24"/>
                <a:gd name="T4" fmla="*/ 11 w 12"/>
                <a:gd name="T5" fmla="*/ 0 h 24"/>
                <a:gd name="T6" fmla="*/ 6 w 12"/>
                <a:gd name="T7" fmla="*/ 0 h 24"/>
                <a:gd name="T8" fmla="*/ 0 w 12"/>
                <a:gd name="T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4">
                  <a:moveTo>
                    <a:pt x="0" y="20"/>
                  </a:moveTo>
                  <a:cubicBezTo>
                    <a:pt x="0" y="23"/>
                    <a:pt x="0" y="23"/>
                    <a:pt x="6" y="14"/>
                  </a:cubicBezTo>
                  <a:cubicBezTo>
                    <a:pt x="8" y="9"/>
                    <a:pt x="8" y="6"/>
                    <a:pt x="11" y="0"/>
                  </a:cubicBezTo>
                  <a:cubicBezTo>
                    <a:pt x="8" y="0"/>
                    <a:pt x="8" y="0"/>
                    <a:pt x="6" y="0"/>
                  </a:cubicBezTo>
                  <a:cubicBezTo>
                    <a:pt x="3" y="6"/>
                    <a:pt x="0" y="12"/>
                    <a:pt x="0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11" name="Freeform 138"/>
            <p:cNvSpPr>
              <a:spLocks noChangeArrowheads="1"/>
            </p:cNvSpPr>
            <p:nvPr/>
          </p:nvSpPr>
          <p:spPr bwMode="auto">
            <a:xfrm>
              <a:off x="4381500" y="3032125"/>
              <a:ext cx="4763" cy="3175"/>
            </a:xfrm>
            <a:custGeom>
              <a:avLst/>
              <a:gdLst>
                <a:gd name="T0" fmla="*/ 2 w 15"/>
                <a:gd name="T1" fmla="*/ 0 h 9"/>
                <a:gd name="T2" fmla="*/ 11 w 15"/>
                <a:gd name="T3" fmla="*/ 0 h 9"/>
                <a:gd name="T4" fmla="*/ 2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2" y="0"/>
                  </a:moveTo>
                  <a:cubicBezTo>
                    <a:pt x="0" y="8"/>
                    <a:pt x="14" y="8"/>
                    <a:pt x="11" y="0"/>
                  </a:cubicBezTo>
                  <a:lnTo>
                    <a:pt x="2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12" name="Freeform 139"/>
            <p:cNvSpPr>
              <a:spLocks noChangeArrowheads="1"/>
            </p:cNvSpPr>
            <p:nvPr/>
          </p:nvSpPr>
          <p:spPr bwMode="auto">
            <a:xfrm>
              <a:off x="3619500" y="2400300"/>
              <a:ext cx="4763" cy="3175"/>
            </a:xfrm>
            <a:custGeom>
              <a:avLst/>
              <a:gdLst>
                <a:gd name="T0" fmla="*/ 12 w 13"/>
                <a:gd name="T1" fmla="*/ 0 h 10"/>
                <a:gd name="T2" fmla="*/ 6 w 13"/>
                <a:gd name="T3" fmla="*/ 0 h 10"/>
                <a:gd name="T4" fmla="*/ 0 w 13"/>
                <a:gd name="T5" fmla="*/ 9 h 10"/>
                <a:gd name="T6" fmla="*/ 12 w 1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12" y="0"/>
                  </a:moveTo>
                  <a:cubicBezTo>
                    <a:pt x="9" y="0"/>
                    <a:pt x="9" y="0"/>
                    <a:pt x="6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6" y="9"/>
                    <a:pt x="12" y="6"/>
                    <a:pt x="1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13" name="Freeform 140"/>
            <p:cNvSpPr>
              <a:spLocks noChangeArrowheads="1"/>
            </p:cNvSpPr>
            <p:nvPr/>
          </p:nvSpPr>
          <p:spPr bwMode="auto">
            <a:xfrm>
              <a:off x="3621088" y="2398713"/>
              <a:ext cx="3175" cy="3175"/>
            </a:xfrm>
            <a:custGeom>
              <a:avLst/>
              <a:gdLst>
                <a:gd name="T0" fmla="*/ 0 w 7"/>
                <a:gd name="T1" fmla="*/ 6 h 7"/>
                <a:gd name="T2" fmla="*/ 0 w 7"/>
                <a:gd name="T3" fmla="*/ 6 h 7"/>
                <a:gd name="T4" fmla="*/ 6 w 7"/>
                <a:gd name="T5" fmla="*/ 0 h 7"/>
                <a:gd name="T6" fmla="*/ 0 w 7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6"/>
                  </a:moveTo>
                  <a:lnTo>
                    <a:pt x="0" y="6"/>
                  </a:lnTo>
                  <a:cubicBezTo>
                    <a:pt x="3" y="3"/>
                    <a:pt x="3" y="3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14" name="Freeform 141"/>
            <p:cNvSpPr>
              <a:spLocks noChangeArrowheads="1"/>
            </p:cNvSpPr>
            <p:nvPr/>
          </p:nvSpPr>
          <p:spPr bwMode="auto">
            <a:xfrm>
              <a:off x="3621088" y="2413000"/>
              <a:ext cx="1587" cy="3175"/>
            </a:xfrm>
            <a:custGeom>
              <a:avLst/>
              <a:gdLst>
                <a:gd name="T0" fmla="*/ 3 w 4"/>
                <a:gd name="T1" fmla="*/ 3 h 7"/>
                <a:gd name="T2" fmla="*/ 0 w 4"/>
                <a:gd name="T3" fmla="*/ 0 h 7"/>
                <a:gd name="T4" fmla="*/ 0 w 4"/>
                <a:gd name="T5" fmla="*/ 3 h 7"/>
                <a:gd name="T6" fmla="*/ 3 w 4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3"/>
                  </a:moveTo>
                  <a:cubicBezTo>
                    <a:pt x="3" y="3"/>
                    <a:pt x="0" y="3"/>
                    <a:pt x="0" y="0"/>
                  </a:cubicBezTo>
                  <a:lnTo>
                    <a:pt x="0" y="3"/>
                  </a:lnTo>
                  <a:cubicBezTo>
                    <a:pt x="0" y="6"/>
                    <a:pt x="0" y="6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15" name="Freeform 142"/>
            <p:cNvSpPr>
              <a:spLocks noChangeArrowheads="1"/>
            </p:cNvSpPr>
            <p:nvPr/>
          </p:nvSpPr>
          <p:spPr bwMode="auto">
            <a:xfrm>
              <a:off x="3667125" y="2832100"/>
              <a:ext cx="4763" cy="3175"/>
            </a:xfrm>
            <a:custGeom>
              <a:avLst/>
              <a:gdLst>
                <a:gd name="T0" fmla="*/ 8 w 15"/>
                <a:gd name="T1" fmla="*/ 6 h 7"/>
                <a:gd name="T2" fmla="*/ 0 w 15"/>
                <a:gd name="T3" fmla="*/ 3 h 7"/>
                <a:gd name="T4" fmla="*/ 3 w 15"/>
                <a:gd name="T5" fmla="*/ 6 h 7"/>
                <a:gd name="T6" fmla="*/ 8 w 15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8" y="6"/>
                  </a:moveTo>
                  <a:cubicBezTo>
                    <a:pt x="14" y="0"/>
                    <a:pt x="0" y="0"/>
                    <a:pt x="0" y="3"/>
                  </a:cubicBezTo>
                  <a:cubicBezTo>
                    <a:pt x="3" y="3"/>
                    <a:pt x="3" y="3"/>
                    <a:pt x="3" y="6"/>
                  </a:cubicBezTo>
                  <a:lnTo>
                    <a:pt x="8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16" name="Freeform 143"/>
            <p:cNvSpPr>
              <a:spLocks noChangeArrowheads="1"/>
            </p:cNvSpPr>
            <p:nvPr/>
          </p:nvSpPr>
          <p:spPr bwMode="auto">
            <a:xfrm>
              <a:off x="3663950" y="2847975"/>
              <a:ext cx="1588" cy="1588"/>
            </a:xfrm>
            <a:custGeom>
              <a:avLst/>
              <a:gdLst>
                <a:gd name="T0" fmla="*/ 0 w 6"/>
                <a:gd name="T1" fmla="*/ 0 h 4"/>
                <a:gd name="T2" fmla="*/ 0 w 6"/>
                <a:gd name="T3" fmla="*/ 0 h 4"/>
                <a:gd name="T4" fmla="*/ 0 w 6"/>
                <a:gd name="T5" fmla="*/ 0 h 4"/>
                <a:gd name="T6" fmla="*/ 5 w 6"/>
                <a:gd name="T7" fmla="*/ 3 h 4"/>
                <a:gd name="T8" fmla="*/ 0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2" y="3"/>
                    <a:pt x="5" y="3"/>
                  </a:cubicBezTo>
                  <a:cubicBezTo>
                    <a:pt x="2" y="3"/>
                    <a:pt x="2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17" name="Freeform 144"/>
            <p:cNvSpPr>
              <a:spLocks noChangeArrowheads="1"/>
            </p:cNvSpPr>
            <p:nvPr/>
          </p:nvSpPr>
          <p:spPr bwMode="auto">
            <a:xfrm>
              <a:off x="3663950" y="2847975"/>
              <a:ext cx="3175" cy="3175"/>
            </a:xfrm>
            <a:custGeom>
              <a:avLst/>
              <a:gdLst>
                <a:gd name="T0" fmla="*/ 5 w 9"/>
                <a:gd name="T1" fmla="*/ 6 h 7"/>
                <a:gd name="T2" fmla="*/ 3 w 9"/>
                <a:gd name="T3" fmla="*/ 0 h 7"/>
                <a:gd name="T4" fmla="*/ 0 w 9"/>
                <a:gd name="T5" fmla="*/ 0 h 7"/>
                <a:gd name="T6" fmla="*/ 5 w 9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5" y="6"/>
                  </a:moveTo>
                  <a:cubicBezTo>
                    <a:pt x="8" y="6"/>
                    <a:pt x="5" y="6"/>
                    <a:pt x="3" y="0"/>
                  </a:cubicBezTo>
                  <a:lnTo>
                    <a:pt x="0" y="0"/>
                  </a:lnTo>
                  <a:cubicBezTo>
                    <a:pt x="3" y="3"/>
                    <a:pt x="3" y="6"/>
                    <a:pt x="5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18" name="Freeform 145"/>
            <p:cNvSpPr>
              <a:spLocks noChangeArrowheads="1"/>
            </p:cNvSpPr>
            <p:nvPr/>
          </p:nvSpPr>
          <p:spPr bwMode="auto">
            <a:xfrm>
              <a:off x="3614738" y="2403475"/>
              <a:ext cx="9525" cy="9525"/>
            </a:xfrm>
            <a:custGeom>
              <a:avLst/>
              <a:gdLst>
                <a:gd name="T0" fmla="*/ 12 w 27"/>
                <a:gd name="T1" fmla="*/ 25 h 26"/>
                <a:gd name="T2" fmla="*/ 12 w 27"/>
                <a:gd name="T3" fmla="*/ 25 h 26"/>
                <a:gd name="T4" fmla="*/ 26 w 27"/>
                <a:gd name="T5" fmla="*/ 2 h 26"/>
                <a:gd name="T6" fmla="*/ 14 w 27"/>
                <a:gd name="T7" fmla="*/ 0 h 26"/>
                <a:gd name="T8" fmla="*/ 9 w 27"/>
                <a:gd name="T9" fmla="*/ 14 h 26"/>
                <a:gd name="T10" fmla="*/ 3 w 27"/>
                <a:gd name="T11" fmla="*/ 14 h 26"/>
                <a:gd name="T12" fmla="*/ 0 w 27"/>
                <a:gd name="T13" fmla="*/ 19 h 26"/>
                <a:gd name="T14" fmla="*/ 0 w 27"/>
                <a:gd name="T15" fmla="*/ 19 h 26"/>
                <a:gd name="T16" fmla="*/ 12 w 27"/>
                <a:gd name="T17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6">
                  <a:moveTo>
                    <a:pt x="12" y="25"/>
                  </a:moveTo>
                  <a:lnTo>
                    <a:pt x="12" y="25"/>
                  </a:lnTo>
                  <a:cubicBezTo>
                    <a:pt x="14" y="17"/>
                    <a:pt x="20" y="8"/>
                    <a:pt x="26" y="2"/>
                  </a:cubicBezTo>
                  <a:cubicBezTo>
                    <a:pt x="23" y="0"/>
                    <a:pt x="17" y="0"/>
                    <a:pt x="14" y="0"/>
                  </a:cubicBezTo>
                  <a:cubicBezTo>
                    <a:pt x="12" y="2"/>
                    <a:pt x="6" y="5"/>
                    <a:pt x="9" y="14"/>
                  </a:cubicBezTo>
                  <a:cubicBezTo>
                    <a:pt x="6" y="14"/>
                    <a:pt x="6" y="14"/>
                    <a:pt x="3" y="14"/>
                  </a:cubicBezTo>
                  <a:cubicBezTo>
                    <a:pt x="3" y="17"/>
                    <a:pt x="3" y="17"/>
                    <a:pt x="0" y="19"/>
                  </a:cubicBezTo>
                  <a:lnTo>
                    <a:pt x="0" y="19"/>
                  </a:lnTo>
                  <a:cubicBezTo>
                    <a:pt x="6" y="14"/>
                    <a:pt x="6" y="25"/>
                    <a:pt x="12" y="2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19" name="Freeform 146"/>
            <p:cNvSpPr>
              <a:spLocks noChangeArrowheads="1"/>
            </p:cNvSpPr>
            <p:nvPr/>
          </p:nvSpPr>
          <p:spPr bwMode="auto">
            <a:xfrm>
              <a:off x="3738563" y="2217738"/>
              <a:ext cx="3175" cy="1587"/>
            </a:xfrm>
            <a:custGeom>
              <a:avLst/>
              <a:gdLst>
                <a:gd name="T0" fmla="*/ 0 w 9"/>
                <a:gd name="T1" fmla="*/ 2 h 3"/>
                <a:gd name="T2" fmla="*/ 8 w 9"/>
                <a:gd name="T3" fmla="*/ 0 h 3"/>
                <a:gd name="T4" fmla="*/ 0 w 9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0" y="2"/>
                  </a:moveTo>
                  <a:cubicBezTo>
                    <a:pt x="2" y="2"/>
                    <a:pt x="5" y="0"/>
                    <a:pt x="8" y="0"/>
                  </a:cubicBezTo>
                  <a:cubicBezTo>
                    <a:pt x="5" y="0"/>
                    <a:pt x="2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20" name="Freeform 147"/>
            <p:cNvSpPr>
              <a:spLocks noChangeArrowheads="1"/>
            </p:cNvSpPr>
            <p:nvPr/>
          </p:nvSpPr>
          <p:spPr bwMode="auto">
            <a:xfrm>
              <a:off x="3616325" y="2420938"/>
              <a:ext cx="1588" cy="1587"/>
            </a:xfrm>
            <a:custGeom>
              <a:avLst/>
              <a:gdLst>
                <a:gd name="T0" fmla="*/ 0 w 4"/>
                <a:gd name="T1" fmla="*/ 0 h 6"/>
                <a:gd name="T2" fmla="*/ 3 w 4"/>
                <a:gd name="T3" fmla="*/ 5 h 6"/>
                <a:gd name="T4" fmla="*/ 0 w 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cubicBezTo>
                    <a:pt x="3" y="2"/>
                    <a:pt x="3" y="5"/>
                    <a:pt x="3" y="5"/>
                  </a:cubicBezTo>
                  <a:cubicBezTo>
                    <a:pt x="3" y="2"/>
                    <a:pt x="3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21" name="Freeform 148"/>
            <p:cNvSpPr>
              <a:spLocks noChangeArrowheads="1"/>
            </p:cNvSpPr>
            <p:nvPr/>
          </p:nvSpPr>
          <p:spPr bwMode="auto">
            <a:xfrm>
              <a:off x="4240213" y="3089275"/>
              <a:ext cx="3175" cy="1588"/>
            </a:xfrm>
            <a:custGeom>
              <a:avLst/>
              <a:gdLst>
                <a:gd name="T0" fmla="*/ 0 w 7"/>
                <a:gd name="T1" fmla="*/ 2 h 3"/>
                <a:gd name="T2" fmla="*/ 0 w 7"/>
                <a:gd name="T3" fmla="*/ 2 h 3"/>
                <a:gd name="T4" fmla="*/ 6 w 7"/>
                <a:gd name="T5" fmla="*/ 0 h 3"/>
                <a:gd name="T6" fmla="*/ 6 w 7"/>
                <a:gd name="T7" fmla="*/ 0 h 3"/>
                <a:gd name="T8" fmla="*/ 0 w 7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lnTo>
                    <a:pt x="0" y="2"/>
                  </a:lnTo>
                  <a:cubicBezTo>
                    <a:pt x="3" y="2"/>
                    <a:pt x="3" y="0"/>
                    <a:pt x="6" y="0"/>
                  </a:cubicBezTo>
                  <a:lnTo>
                    <a:pt x="6" y="0"/>
                  </a:lnTo>
                  <a:cubicBezTo>
                    <a:pt x="3" y="0"/>
                    <a:pt x="3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22" name="Freeform 149"/>
            <p:cNvSpPr>
              <a:spLocks noChangeArrowheads="1"/>
            </p:cNvSpPr>
            <p:nvPr/>
          </p:nvSpPr>
          <p:spPr bwMode="auto">
            <a:xfrm>
              <a:off x="3603625" y="2498725"/>
              <a:ext cx="4763" cy="3175"/>
            </a:xfrm>
            <a:custGeom>
              <a:avLst/>
              <a:gdLst>
                <a:gd name="T0" fmla="*/ 0 w 13"/>
                <a:gd name="T1" fmla="*/ 8 h 9"/>
                <a:gd name="T2" fmla="*/ 0 w 13"/>
                <a:gd name="T3" fmla="*/ 8 h 9"/>
                <a:gd name="T4" fmla="*/ 12 w 13"/>
                <a:gd name="T5" fmla="*/ 0 h 9"/>
                <a:gd name="T6" fmla="*/ 0 w 13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0" y="8"/>
                  </a:moveTo>
                  <a:lnTo>
                    <a:pt x="0" y="8"/>
                  </a:lnTo>
                  <a:cubicBezTo>
                    <a:pt x="3" y="5"/>
                    <a:pt x="9" y="3"/>
                    <a:pt x="12" y="0"/>
                  </a:cubicBezTo>
                  <a:cubicBezTo>
                    <a:pt x="6" y="0"/>
                    <a:pt x="3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23" name="Freeform 150"/>
            <p:cNvSpPr>
              <a:spLocks noChangeArrowheads="1"/>
            </p:cNvSpPr>
            <p:nvPr/>
          </p:nvSpPr>
          <p:spPr bwMode="auto">
            <a:xfrm>
              <a:off x="4438650" y="2989263"/>
              <a:ext cx="1588" cy="3175"/>
            </a:xfrm>
            <a:custGeom>
              <a:avLst/>
              <a:gdLst>
                <a:gd name="T0" fmla="*/ 2 w 3"/>
                <a:gd name="T1" fmla="*/ 0 h 7"/>
                <a:gd name="T2" fmla="*/ 2 w 3"/>
                <a:gd name="T3" fmla="*/ 0 h 7"/>
                <a:gd name="T4" fmla="*/ 0 w 3"/>
                <a:gd name="T5" fmla="*/ 6 h 7"/>
                <a:gd name="T6" fmla="*/ 2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2" y="0"/>
                  </a:moveTo>
                  <a:lnTo>
                    <a:pt x="2" y="0"/>
                  </a:lnTo>
                  <a:cubicBezTo>
                    <a:pt x="2" y="3"/>
                    <a:pt x="2" y="3"/>
                    <a:pt x="0" y="6"/>
                  </a:cubicBezTo>
                  <a:cubicBezTo>
                    <a:pt x="0" y="3"/>
                    <a:pt x="2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24" name="Freeform 151"/>
            <p:cNvSpPr>
              <a:spLocks noChangeArrowheads="1"/>
            </p:cNvSpPr>
            <p:nvPr/>
          </p:nvSpPr>
          <p:spPr bwMode="auto">
            <a:xfrm>
              <a:off x="3992563" y="3067050"/>
              <a:ext cx="1587" cy="1588"/>
            </a:xfrm>
            <a:custGeom>
              <a:avLst/>
              <a:gdLst>
                <a:gd name="T0" fmla="*/ 0 w 4"/>
                <a:gd name="T1" fmla="*/ 0 h 3"/>
                <a:gd name="T2" fmla="*/ 0 w 4"/>
                <a:gd name="T3" fmla="*/ 2 h 3"/>
                <a:gd name="T4" fmla="*/ 0 w 4"/>
                <a:gd name="T5" fmla="*/ 2 h 3"/>
                <a:gd name="T6" fmla="*/ 0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cubicBezTo>
                    <a:pt x="3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25" name="Freeform 152"/>
            <p:cNvSpPr>
              <a:spLocks noChangeArrowheads="1"/>
            </p:cNvSpPr>
            <p:nvPr/>
          </p:nvSpPr>
          <p:spPr bwMode="auto">
            <a:xfrm>
              <a:off x="3625850" y="2420938"/>
              <a:ext cx="7938" cy="7937"/>
            </a:xfrm>
            <a:custGeom>
              <a:avLst/>
              <a:gdLst>
                <a:gd name="T0" fmla="*/ 0 w 24"/>
                <a:gd name="T1" fmla="*/ 2 h 20"/>
                <a:gd name="T2" fmla="*/ 17 w 24"/>
                <a:gd name="T3" fmla="*/ 19 h 20"/>
                <a:gd name="T4" fmla="*/ 23 w 24"/>
                <a:gd name="T5" fmla="*/ 16 h 20"/>
                <a:gd name="T6" fmla="*/ 0 w 24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0">
                  <a:moveTo>
                    <a:pt x="0" y="2"/>
                  </a:moveTo>
                  <a:cubicBezTo>
                    <a:pt x="3" y="11"/>
                    <a:pt x="6" y="16"/>
                    <a:pt x="17" y="19"/>
                  </a:cubicBezTo>
                  <a:cubicBezTo>
                    <a:pt x="17" y="16"/>
                    <a:pt x="20" y="16"/>
                    <a:pt x="23" y="16"/>
                  </a:cubicBezTo>
                  <a:cubicBezTo>
                    <a:pt x="23" y="5"/>
                    <a:pt x="6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26" name="Freeform 153"/>
            <p:cNvSpPr>
              <a:spLocks noChangeArrowheads="1"/>
            </p:cNvSpPr>
            <p:nvPr/>
          </p:nvSpPr>
          <p:spPr bwMode="auto">
            <a:xfrm>
              <a:off x="3854450" y="2112963"/>
              <a:ext cx="4763" cy="4762"/>
            </a:xfrm>
            <a:custGeom>
              <a:avLst/>
              <a:gdLst>
                <a:gd name="T0" fmla="*/ 0 w 15"/>
                <a:gd name="T1" fmla="*/ 11 h 12"/>
                <a:gd name="T2" fmla="*/ 14 w 15"/>
                <a:gd name="T3" fmla="*/ 0 h 12"/>
                <a:gd name="T4" fmla="*/ 0 w 15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0" y="11"/>
                  </a:moveTo>
                  <a:cubicBezTo>
                    <a:pt x="3" y="5"/>
                    <a:pt x="8" y="3"/>
                    <a:pt x="14" y="0"/>
                  </a:cubicBezTo>
                  <a:cubicBezTo>
                    <a:pt x="8" y="5"/>
                    <a:pt x="3" y="8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27" name="Freeform 154"/>
            <p:cNvSpPr>
              <a:spLocks noChangeArrowheads="1"/>
            </p:cNvSpPr>
            <p:nvPr/>
          </p:nvSpPr>
          <p:spPr bwMode="auto">
            <a:xfrm>
              <a:off x="3849688" y="3033713"/>
              <a:ext cx="4762" cy="3175"/>
            </a:xfrm>
            <a:custGeom>
              <a:avLst/>
              <a:gdLst>
                <a:gd name="T0" fmla="*/ 11 w 12"/>
                <a:gd name="T1" fmla="*/ 9 h 10"/>
                <a:gd name="T2" fmla="*/ 0 w 12"/>
                <a:gd name="T3" fmla="*/ 0 h 10"/>
                <a:gd name="T4" fmla="*/ 11 w 12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9"/>
                  </a:moveTo>
                  <a:cubicBezTo>
                    <a:pt x="9" y="6"/>
                    <a:pt x="3" y="3"/>
                    <a:pt x="0" y="0"/>
                  </a:cubicBezTo>
                  <a:cubicBezTo>
                    <a:pt x="3" y="3"/>
                    <a:pt x="6" y="6"/>
                    <a:pt x="11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28" name="Freeform 155"/>
            <p:cNvSpPr>
              <a:spLocks noChangeArrowheads="1"/>
            </p:cNvSpPr>
            <p:nvPr/>
          </p:nvSpPr>
          <p:spPr bwMode="auto">
            <a:xfrm>
              <a:off x="3587750" y="2574925"/>
              <a:ext cx="4763" cy="15875"/>
            </a:xfrm>
            <a:custGeom>
              <a:avLst/>
              <a:gdLst>
                <a:gd name="T0" fmla="*/ 11 w 15"/>
                <a:gd name="T1" fmla="*/ 33 h 43"/>
                <a:gd name="T2" fmla="*/ 0 w 15"/>
                <a:gd name="T3" fmla="*/ 0 h 43"/>
                <a:gd name="T4" fmla="*/ 14 w 15"/>
                <a:gd name="T5" fmla="*/ 42 h 43"/>
                <a:gd name="T6" fmla="*/ 11 w 15"/>
                <a:gd name="T7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43">
                  <a:moveTo>
                    <a:pt x="11" y="33"/>
                  </a:moveTo>
                  <a:cubicBezTo>
                    <a:pt x="9" y="22"/>
                    <a:pt x="3" y="11"/>
                    <a:pt x="0" y="0"/>
                  </a:cubicBezTo>
                  <a:cubicBezTo>
                    <a:pt x="3" y="14"/>
                    <a:pt x="6" y="31"/>
                    <a:pt x="14" y="42"/>
                  </a:cubicBezTo>
                  <a:cubicBezTo>
                    <a:pt x="14" y="39"/>
                    <a:pt x="11" y="36"/>
                    <a:pt x="11" y="3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29" name="Freeform 156"/>
            <p:cNvSpPr>
              <a:spLocks noChangeArrowheads="1"/>
            </p:cNvSpPr>
            <p:nvPr/>
          </p:nvSpPr>
          <p:spPr bwMode="auto">
            <a:xfrm>
              <a:off x="3852863" y="2116138"/>
              <a:ext cx="1587" cy="3175"/>
            </a:xfrm>
            <a:custGeom>
              <a:avLst/>
              <a:gdLst>
                <a:gd name="T0" fmla="*/ 4 w 5"/>
                <a:gd name="T1" fmla="*/ 0 h 9"/>
                <a:gd name="T2" fmla="*/ 1 w 5"/>
                <a:gd name="T3" fmla="*/ 5 h 9"/>
                <a:gd name="T4" fmla="*/ 4 w 5"/>
                <a:gd name="T5" fmla="*/ 0 h 9"/>
                <a:gd name="T6" fmla="*/ 1 w 5"/>
                <a:gd name="T7" fmla="*/ 6 h 9"/>
                <a:gd name="T8" fmla="*/ 1 w 5"/>
                <a:gd name="T9" fmla="*/ 5 h 9"/>
                <a:gd name="T10" fmla="*/ 1 w 5"/>
                <a:gd name="T11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9">
                  <a:moveTo>
                    <a:pt x="4" y="0"/>
                  </a:moveTo>
                  <a:cubicBezTo>
                    <a:pt x="2" y="3"/>
                    <a:pt x="1" y="3"/>
                    <a:pt x="1" y="5"/>
                  </a:cubicBezTo>
                  <a:cubicBezTo>
                    <a:pt x="2" y="4"/>
                    <a:pt x="3" y="3"/>
                    <a:pt x="4" y="0"/>
                  </a:cubicBezTo>
                  <a:close/>
                  <a:moveTo>
                    <a:pt x="1" y="6"/>
                  </a:moveTo>
                  <a:cubicBezTo>
                    <a:pt x="0" y="8"/>
                    <a:pt x="0" y="7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30" name="Freeform 157"/>
            <p:cNvSpPr>
              <a:spLocks noChangeArrowheads="1"/>
            </p:cNvSpPr>
            <p:nvPr/>
          </p:nvSpPr>
          <p:spPr bwMode="auto">
            <a:xfrm>
              <a:off x="4057650" y="3098800"/>
              <a:ext cx="7938" cy="4763"/>
            </a:xfrm>
            <a:custGeom>
              <a:avLst/>
              <a:gdLst>
                <a:gd name="T0" fmla="*/ 2 w 20"/>
                <a:gd name="T1" fmla="*/ 3 h 12"/>
                <a:gd name="T2" fmla="*/ 2 w 20"/>
                <a:gd name="T3" fmla="*/ 3 h 12"/>
                <a:gd name="T4" fmla="*/ 19 w 20"/>
                <a:gd name="T5" fmla="*/ 11 h 12"/>
                <a:gd name="T6" fmla="*/ 0 w 20"/>
                <a:gd name="T7" fmla="*/ 0 h 12"/>
                <a:gd name="T8" fmla="*/ 2 w 20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2">
                  <a:moveTo>
                    <a:pt x="2" y="3"/>
                  </a:moveTo>
                  <a:lnTo>
                    <a:pt x="2" y="3"/>
                  </a:lnTo>
                  <a:cubicBezTo>
                    <a:pt x="5" y="6"/>
                    <a:pt x="11" y="8"/>
                    <a:pt x="19" y="11"/>
                  </a:cubicBezTo>
                  <a:cubicBezTo>
                    <a:pt x="14" y="8"/>
                    <a:pt x="5" y="6"/>
                    <a:pt x="0" y="0"/>
                  </a:cubicBezTo>
                  <a:cubicBezTo>
                    <a:pt x="0" y="3"/>
                    <a:pt x="2" y="3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31" name="Freeform 158"/>
            <p:cNvSpPr>
              <a:spLocks noChangeArrowheads="1"/>
            </p:cNvSpPr>
            <p:nvPr/>
          </p:nvSpPr>
          <p:spPr bwMode="auto">
            <a:xfrm>
              <a:off x="3852863" y="2116138"/>
              <a:ext cx="1587" cy="3175"/>
            </a:xfrm>
            <a:custGeom>
              <a:avLst/>
              <a:gdLst>
                <a:gd name="T0" fmla="*/ 3 w 4"/>
                <a:gd name="T1" fmla="*/ 3 h 10"/>
                <a:gd name="T2" fmla="*/ 3 w 4"/>
                <a:gd name="T3" fmla="*/ 3 h 10"/>
                <a:gd name="T4" fmla="*/ 3 w 4"/>
                <a:gd name="T5" fmla="*/ 3 h 10"/>
                <a:gd name="T6" fmla="*/ 0 w 4"/>
                <a:gd name="T7" fmla="*/ 9 h 10"/>
                <a:gd name="T8" fmla="*/ 3 w 4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3" y="3"/>
                  </a:moveTo>
                  <a:lnTo>
                    <a:pt x="3" y="3"/>
                  </a:lnTo>
                  <a:cubicBezTo>
                    <a:pt x="3" y="3"/>
                    <a:pt x="3" y="0"/>
                    <a:pt x="3" y="3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0" y="6"/>
                    <a:pt x="3" y="6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32" name="Freeform 159"/>
            <p:cNvSpPr>
              <a:spLocks noChangeArrowheads="1"/>
            </p:cNvSpPr>
            <p:nvPr/>
          </p:nvSpPr>
          <p:spPr bwMode="auto">
            <a:xfrm>
              <a:off x="3633788" y="2443163"/>
              <a:ext cx="1587" cy="1587"/>
            </a:xfrm>
            <a:custGeom>
              <a:avLst/>
              <a:gdLst>
                <a:gd name="T0" fmla="*/ 3 w 4"/>
                <a:gd name="T1" fmla="*/ 0 h 3"/>
                <a:gd name="T2" fmla="*/ 0 w 4"/>
                <a:gd name="T3" fmla="*/ 0 h 3"/>
                <a:gd name="T4" fmla="*/ 0 w 4"/>
                <a:gd name="T5" fmla="*/ 0 h 3"/>
                <a:gd name="T6" fmla="*/ 3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3" y="2"/>
                    <a:pt x="3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33" name="Freeform 160"/>
            <p:cNvSpPr>
              <a:spLocks noChangeArrowheads="1"/>
            </p:cNvSpPr>
            <p:nvPr/>
          </p:nvSpPr>
          <p:spPr bwMode="auto">
            <a:xfrm>
              <a:off x="3868738" y="2119313"/>
              <a:ext cx="1587" cy="4762"/>
            </a:xfrm>
            <a:custGeom>
              <a:avLst/>
              <a:gdLst>
                <a:gd name="T0" fmla="*/ 3 w 6"/>
                <a:gd name="T1" fmla="*/ 0 h 12"/>
                <a:gd name="T2" fmla="*/ 2 w 6"/>
                <a:gd name="T3" fmla="*/ 2 h 12"/>
                <a:gd name="T4" fmla="*/ 0 w 6"/>
                <a:gd name="T5" fmla="*/ 8 h 12"/>
                <a:gd name="T6" fmla="*/ 3 w 6"/>
                <a:gd name="T7" fmla="*/ 0 h 12"/>
                <a:gd name="T8" fmla="*/ 3 w 6"/>
                <a:gd name="T9" fmla="*/ 0 h 12"/>
                <a:gd name="T10" fmla="*/ 2 w 6"/>
                <a:gd name="T11" fmla="*/ 2 h 12"/>
                <a:gd name="T12" fmla="*/ 3 w 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cubicBezTo>
                    <a:pt x="3" y="1"/>
                    <a:pt x="2" y="1"/>
                    <a:pt x="2" y="2"/>
                  </a:cubicBezTo>
                  <a:lnTo>
                    <a:pt x="0" y="8"/>
                  </a:lnTo>
                  <a:cubicBezTo>
                    <a:pt x="5" y="11"/>
                    <a:pt x="5" y="0"/>
                    <a:pt x="3" y="0"/>
                  </a:cubicBezTo>
                  <a:close/>
                  <a:moveTo>
                    <a:pt x="3" y="0"/>
                  </a:moveTo>
                  <a:lnTo>
                    <a:pt x="2" y="2"/>
                  </a:lnTo>
                  <a:cubicBezTo>
                    <a:pt x="1" y="2"/>
                    <a:pt x="1" y="2"/>
                    <a:pt x="3" y="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34" name="Freeform 161"/>
            <p:cNvSpPr>
              <a:spLocks noChangeArrowheads="1"/>
            </p:cNvSpPr>
            <p:nvPr/>
          </p:nvSpPr>
          <p:spPr bwMode="auto">
            <a:xfrm>
              <a:off x="3649663" y="2386013"/>
              <a:ext cx="3175" cy="4762"/>
            </a:xfrm>
            <a:custGeom>
              <a:avLst/>
              <a:gdLst>
                <a:gd name="T0" fmla="*/ 0 w 10"/>
                <a:gd name="T1" fmla="*/ 0 h 12"/>
                <a:gd name="T2" fmla="*/ 0 w 10"/>
                <a:gd name="T3" fmla="*/ 2 h 12"/>
                <a:gd name="T4" fmla="*/ 9 w 10"/>
                <a:gd name="T5" fmla="*/ 11 h 12"/>
                <a:gd name="T6" fmla="*/ 9 w 10"/>
                <a:gd name="T7" fmla="*/ 11 h 12"/>
                <a:gd name="T8" fmla="*/ 0 w 1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0" y="0"/>
                  </a:moveTo>
                  <a:lnTo>
                    <a:pt x="0" y="2"/>
                  </a:lnTo>
                  <a:cubicBezTo>
                    <a:pt x="3" y="5"/>
                    <a:pt x="6" y="8"/>
                    <a:pt x="9" y="11"/>
                  </a:cubicBezTo>
                  <a:lnTo>
                    <a:pt x="9" y="11"/>
                  </a:lnTo>
                  <a:cubicBezTo>
                    <a:pt x="6" y="8"/>
                    <a:pt x="3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35" name="Freeform 162"/>
            <p:cNvSpPr>
              <a:spLocks noChangeArrowheads="1"/>
            </p:cNvSpPr>
            <p:nvPr/>
          </p:nvSpPr>
          <p:spPr bwMode="auto">
            <a:xfrm>
              <a:off x="4056063" y="3098800"/>
              <a:ext cx="1587" cy="1588"/>
            </a:xfrm>
            <a:custGeom>
              <a:avLst/>
              <a:gdLst>
                <a:gd name="T0" fmla="*/ 5 w 6"/>
                <a:gd name="T1" fmla="*/ 3 h 4"/>
                <a:gd name="T2" fmla="*/ 5 w 6"/>
                <a:gd name="T3" fmla="*/ 3 h 4"/>
                <a:gd name="T4" fmla="*/ 0 w 6"/>
                <a:gd name="T5" fmla="*/ 0 h 4"/>
                <a:gd name="T6" fmla="*/ 5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5" y="3"/>
                  </a:lnTo>
                  <a:cubicBezTo>
                    <a:pt x="3" y="3"/>
                    <a:pt x="3" y="0"/>
                    <a:pt x="0" y="0"/>
                  </a:cubicBezTo>
                  <a:cubicBezTo>
                    <a:pt x="3" y="0"/>
                    <a:pt x="5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36" name="Freeform 163"/>
            <p:cNvSpPr>
              <a:spLocks noChangeArrowheads="1"/>
            </p:cNvSpPr>
            <p:nvPr/>
          </p:nvSpPr>
          <p:spPr bwMode="auto">
            <a:xfrm>
              <a:off x="4448175" y="2967038"/>
              <a:ext cx="4763" cy="3175"/>
            </a:xfrm>
            <a:custGeom>
              <a:avLst/>
              <a:gdLst>
                <a:gd name="T0" fmla="*/ 0 w 15"/>
                <a:gd name="T1" fmla="*/ 9 h 10"/>
                <a:gd name="T2" fmla="*/ 14 w 15"/>
                <a:gd name="T3" fmla="*/ 6 h 10"/>
                <a:gd name="T4" fmla="*/ 14 w 15"/>
                <a:gd name="T5" fmla="*/ 0 h 10"/>
                <a:gd name="T6" fmla="*/ 0 w 15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0" y="9"/>
                  </a:moveTo>
                  <a:cubicBezTo>
                    <a:pt x="3" y="6"/>
                    <a:pt x="8" y="6"/>
                    <a:pt x="14" y="6"/>
                  </a:cubicBezTo>
                  <a:lnTo>
                    <a:pt x="14" y="0"/>
                  </a:lnTo>
                  <a:cubicBezTo>
                    <a:pt x="8" y="0"/>
                    <a:pt x="3" y="3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37" name="Freeform 164"/>
            <p:cNvSpPr>
              <a:spLocks noChangeArrowheads="1"/>
            </p:cNvSpPr>
            <p:nvPr/>
          </p:nvSpPr>
          <p:spPr bwMode="auto">
            <a:xfrm>
              <a:off x="3611563" y="2689225"/>
              <a:ext cx="1587" cy="1588"/>
            </a:xfrm>
            <a:custGeom>
              <a:avLst/>
              <a:gdLst>
                <a:gd name="T0" fmla="*/ 0 w 4"/>
                <a:gd name="T1" fmla="*/ 0 h 6"/>
                <a:gd name="T2" fmla="*/ 3 w 4"/>
                <a:gd name="T3" fmla="*/ 5 h 6"/>
                <a:gd name="T4" fmla="*/ 0 w 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cubicBezTo>
                    <a:pt x="0" y="3"/>
                    <a:pt x="2" y="3"/>
                    <a:pt x="3" y="5"/>
                  </a:cubicBezTo>
                  <a:cubicBezTo>
                    <a:pt x="2" y="4"/>
                    <a:pt x="2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38" name="Freeform 165"/>
            <p:cNvSpPr>
              <a:spLocks noChangeArrowheads="1"/>
            </p:cNvSpPr>
            <p:nvPr/>
          </p:nvSpPr>
          <p:spPr bwMode="auto">
            <a:xfrm>
              <a:off x="4486275" y="2949575"/>
              <a:ext cx="1588" cy="3175"/>
            </a:xfrm>
            <a:custGeom>
              <a:avLst/>
              <a:gdLst>
                <a:gd name="T0" fmla="*/ 3 w 4"/>
                <a:gd name="T1" fmla="*/ 0 h 10"/>
                <a:gd name="T2" fmla="*/ 0 w 4"/>
                <a:gd name="T3" fmla="*/ 9 h 10"/>
                <a:gd name="T4" fmla="*/ 0 w 4"/>
                <a:gd name="T5" fmla="*/ 9 h 10"/>
                <a:gd name="T6" fmla="*/ 3 w 4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0"/>
                  </a:moveTo>
                  <a:cubicBezTo>
                    <a:pt x="3" y="3"/>
                    <a:pt x="3" y="6"/>
                    <a:pt x="0" y="9"/>
                  </a:cubicBezTo>
                  <a:lnTo>
                    <a:pt x="0" y="9"/>
                  </a:lnTo>
                  <a:cubicBezTo>
                    <a:pt x="0" y="6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39" name="Freeform 166"/>
            <p:cNvSpPr>
              <a:spLocks noChangeArrowheads="1"/>
            </p:cNvSpPr>
            <p:nvPr/>
          </p:nvSpPr>
          <p:spPr bwMode="auto">
            <a:xfrm>
              <a:off x="3776663" y="2965450"/>
              <a:ext cx="3175" cy="1588"/>
            </a:xfrm>
            <a:custGeom>
              <a:avLst/>
              <a:gdLst>
                <a:gd name="T0" fmla="*/ 8 w 9"/>
                <a:gd name="T1" fmla="*/ 2 h 3"/>
                <a:gd name="T2" fmla="*/ 0 w 9"/>
                <a:gd name="T3" fmla="*/ 0 h 3"/>
                <a:gd name="T4" fmla="*/ 8 w 9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8" y="2"/>
                  </a:moveTo>
                  <a:cubicBezTo>
                    <a:pt x="5" y="2"/>
                    <a:pt x="3" y="0"/>
                    <a:pt x="0" y="0"/>
                  </a:cubicBezTo>
                  <a:cubicBezTo>
                    <a:pt x="3" y="2"/>
                    <a:pt x="5" y="2"/>
                    <a:pt x="8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40" name="Freeform 167"/>
            <p:cNvSpPr>
              <a:spLocks noChangeArrowheads="1"/>
            </p:cNvSpPr>
            <p:nvPr/>
          </p:nvSpPr>
          <p:spPr bwMode="auto">
            <a:xfrm>
              <a:off x="3644900" y="2382838"/>
              <a:ext cx="3175" cy="1587"/>
            </a:xfrm>
            <a:custGeom>
              <a:avLst/>
              <a:gdLst>
                <a:gd name="T0" fmla="*/ 3 w 7"/>
                <a:gd name="T1" fmla="*/ 0 h 4"/>
                <a:gd name="T2" fmla="*/ 6 w 7"/>
                <a:gd name="T3" fmla="*/ 3 h 4"/>
                <a:gd name="T4" fmla="*/ 3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3" y="0"/>
                  </a:moveTo>
                  <a:cubicBezTo>
                    <a:pt x="0" y="3"/>
                    <a:pt x="3" y="3"/>
                    <a:pt x="6" y="3"/>
                  </a:cubicBezTo>
                  <a:cubicBezTo>
                    <a:pt x="3" y="3"/>
                    <a:pt x="3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41" name="Freeform 168"/>
            <p:cNvSpPr>
              <a:spLocks noChangeArrowheads="1"/>
            </p:cNvSpPr>
            <p:nvPr/>
          </p:nvSpPr>
          <p:spPr bwMode="auto">
            <a:xfrm>
              <a:off x="3638550" y="2389188"/>
              <a:ext cx="1588" cy="1587"/>
            </a:xfrm>
            <a:custGeom>
              <a:avLst/>
              <a:gdLst>
                <a:gd name="T0" fmla="*/ 0 w 4"/>
                <a:gd name="T1" fmla="*/ 0 h 4"/>
                <a:gd name="T2" fmla="*/ 3 w 4"/>
                <a:gd name="T3" fmla="*/ 3 h 4"/>
                <a:gd name="T4" fmla="*/ 3 w 4"/>
                <a:gd name="T5" fmla="*/ 3 h 4"/>
                <a:gd name="T6" fmla="*/ 0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3" y="3"/>
                  </a:lnTo>
                  <a:lnTo>
                    <a:pt x="3" y="3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42" name="Freeform 169"/>
            <p:cNvSpPr>
              <a:spLocks noChangeArrowheads="1"/>
            </p:cNvSpPr>
            <p:nvPr/>
          </p:nvSpPr>
          <p:spPr bwMode="auto">
            <a:xfrm>
              <a:off x="3636963" y="2389188"/>
              <a:ext cx="1587" cy="1587"/>
            </a:xfrm>
            <a:custGeom>
              <a:avLst/>
              <a:gdLst>
                <a:gd name="T0" fmla="*/ 3 w 4"/>
                <a:gd name="T1" fmla="*/ 3 h 4"/>
                <a:gd name="T2" fmla="*/ 0 w 4"/>
                <a:gd name="T3" fmla="*/ 0 h 4"/>
                <a:gd name="T4" fmla="*/ 3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3" y="0"/>
                    <a:pt x="0" y="0"/>
                    <a:pt x="0" y="0"/>
                  </a:cubicBezTo>
                  <a:cubicBezTo>
                    <a:pt x="3" y="0"/>
                    <a:pt x="3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43" name="Freeform 170"/>
            <p:cNvSpPr>
              <a:spLocks noChangeArrowheads="1"/>
            </p:cNvSpPr>
            <p:nvPr/>
          </p:nvSpPr>
          <p:spPr bwMode="auto">
            <a:xfrm>
              <a:off x="3617913" y="2705100"/>
              <a:ext cx="4762" cy="1588"/>
            </a:xfrm>
            <a:custGeom>
              <a:avLst/>
              <a:gdLst>
                <a:gd name="T0" fmla="*/ 5 w 12"/>
                <a:gd name="T1" fmla="*/ 3 h 4"/>
                <a:gd name="T2" fmla="*/ 11 w 12"/>
                <a:gd name="T3" fmla="*/ 3 h 4"/>
                <a:gd name="T4" fmla="*/ 5 w 12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4">
                  <a:moveTo>
                    <a:pt x="5" y="3"/>
                  </a:moveTo>
                  <a:cubicBezTo>
                    <a:pt x="8" y="3"/>
                    <a:pt x="11" y="3"/>
                    <a:pt x="11" y="3"/>
                  </a:cubicBezTo>
                  <a:cubicBezTo>
                    <a:pt x="5" y="3"/>
                    <a:pt x="0" y="0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44" name="Freeform 171"/>
            <p:cNvSpPr>
              <a:spLocks noChangeArrowheads="1"/>
            </p:cNvSpPr>
            <p:nvPr/>
          </p:nvSpPr>
          <p:spPr bwMode="auto">
            <a:xfrm>
              <a:off x="3940175" y="2087563"/>
              <a:ext cx="1588" cy="4762"/>
            </a:xfrm>
            <a:custGeom>
              <a:avLst/>
              <a:gdLst>
                <a:gd name="T0" fmla="*/ 0 w 4"/>
                <a:gd name="T1" fmla="*/ 11 h 12"/>
                <a:gd name="T2" fmla="*/ 0 w 4"/>
                <a:gd name="T3" fmla="*/ 11 h 12"/>
                <a:gd name="T4" fmla="*/ 3 w 4"/>
                <a:gd name="T5" fmla="*/ 0 h 12"/>
                <a:gd name="T6" fmla="*/ 0 w 4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2">
                  <a:moveTo>
                    <a:pt x="0" y="11"/>
                  </a:moveTo>
                  <a:lnTo>
                    <a:pt x="0" y="11"/>
                  </a:lnTo>
                  <a:cubicBezTo>
                    <a:pt x="0" y="8"/>
                    <a:pt x="3" y="2"/>
                    <a:pt x="3" y="0"/>
                  </a:cubicBezTo>
                  <a:cubicBezTo>
                    <a:pt x="3" y="2"/>
                    <a:pt x="0" y="5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45" name="Freeform 172"/>
            <p:cNvSpPr>
              <a:spLocks noChangeArrowheads="1"/>
            </p:cNvSpPr>
            <p:nvPr/>
          </p:nvSpPr>
          <p:spPr bwMode="auto">
            <a:xfrm>
              <a:off x="3646488" y="2381250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3 w 9"/>
                <a:gd name="T3" fmla="*/ 0 h 9"/>
                <a:gd name="T4" fmla="*/ 0 w 9"/>
                <a:gd name="T5" fmla="*/ 3 h 9"/>
                <a:gd name="T6" fmla="*/ 3 w 9"/>
                <a:gd name="T7" fmla="*/ 8 h 9"/>
                <a:gd name="T8" fmla="*/ 8 w 9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cubicBezTo>
                    <a:pt x="5" y="5"/>
                    <a:pt x="5" y="3"/>
                    <a:pt x="3" y="0"/>
                  </a:cubicBezTo>
                  <a:lnTo>
                    <a:pt x="0" y="3"/>
                  </a:lnTo>
                  <a:cubicBezTo>
                    <a:pt x="0" y="5"/>
                    <a:pt x="3" y="5"/>
                    <a:pt x="3" y="8"/>
                  </a:cubicBezTo>
                  <a:cubicBezTo>
                    <a:pt x="5" y="8"/>
                    <a:pt x="5" y="8"/>
                    <a:pt x="8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46" name="Freeform 173"/>
            <p:cNvSpPr>
              <a:spLocks noChangeArrowheads="1"/>
            </p:cNvSpPr>
            <p:nvPr/>
          </p:nvSpPr>
          <p:spPr bwMode="auto">
            <a:xfrm>
              <a:off x="4405313" y="2921000"/>
              <a:ext cx="7937" cy="4763"/>
            </a:xfrm>
            <a:custGeom>
              <a:avLst/>
              <a:gdLst>
                <a:gd name="T0" fmla="*/ 2 w 20"/>
                <a:gd name="T1" fmla="*/ 3 h 15"/>
                <a:gd name="T2" fmla="*/ 8 w 20"/>
                <a:gd name="T3" fmla="*/ 14 h 15"/>
                <a:gd name="T4" fmla="*/ 19 w 20"/>
                <a:gd name="T5" fmla="*/ 6 h 15"/>
                <a:gd name="T6" fmla="*/ 2 w 20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5">
                  <a:moveTo>
                    <a:pt x="2" y="3"/>
                  </a:moveTo>
                  <a:cubicBezTo>
                    <a:pt x="0" y="12"/>
                    <a:pt x="8" y="9"/>
                    <a:pt x="8" y="14"/>
                  </a:cubicBezTo>
                  <a:cubicBezTo>
                    <a:pt x="14" y="14"/>
                    <a:pt x="16" y="12"/>
                    <a:pt x="19" y="6"/>
                  </a:cubicBezTo>
                  <a:cubicBezTo>
                    <a:pt x="14" y="3"/>
                    <a:pt x="8" y="0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47" name="Freeform 174"/>
            <p:cNvSpPr>
              <a:spLocks noChangeArrowheads="1"/>
            </p:cNvSpPr>
            <p:nvPr/>
          </p:nvSpPr>
          <p:spPr bwMode="auto">
            <a:xfrm>
              <a:off x="4403725" y="2874963"/>
              <a:ext cx="6350" cy="7937"/>
            </a:xfrm>
            <a:custGeom>
              <a:avLst/>
              <a:gdLst>
                <a:gd name="T0" fmla="*/ 3 w 18"/>
                <a:gd name="T1" fmla="*/ 20 h 21"/>
                <a:gd name="T2" fmla="*/ 11 w 18"/>
                <a:gd name="T3" fmla="*/ 6 h 21"/>
                <a:gd name="T4" fmla="*/ 17 w 18"/>
                <a:gd name="T5" fmla="*/ 6 h 21"/>
                <a:gd name="T6" fmla="*/ 3 w 18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3" y="20"/>
                  </a:moveTo>
                  <a:cubicBezTo>
                    <a:pt x="5" y="14"/>
                    <a:pt x="8" y="12"/>
                    <a:pt x="11" y="6"/>
                  </a:cubicBezTo>
                  <a:lnTo>
                    <a:pt x="17" y="6"/>
                  </a:lnTo>
                  <a:cubicBezTo>
                    <a:pt x="8" y="0"/>
                    <a:pt x="0" y="9"/>
                    <a:pt x="3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48" name="Freeform 175"/>
            <p:cNvSpPr>
              <a:spLocks noChangeArrowheads="1"/>
            </p:cNvSpPr>
            <p:nvPr/>
          </p:nvSpPr>
          <p:spPr bwMode="auto">
            <a:xfrm>
              <a:off x="4411663" y="2697163"/>
              <a:ext cx="3175" cy="4762"/>
            </a:xfrm>
            <a:custGeom>
              <a:avLst/>
              <a:gdLst>
                <a:gd name="T0" fmla="*/ 9 w 10"/>
                <a:gd name="T1" fmla="*/ 11 h 15"/>
                <a:gd name="T2" fmla="*/ 9 w 10"/>
                <a:gd name="T3" fmla="*/ 3 h 15"/>
                <a:gd name="T4" fmla="*/ 3 w 10"/>
                <a:gd name="T5" fmla="*/ 0 h 15"/>
                <a:gd name="T6" fmla="*/ 9 w 10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5">
                  <a:moveTo>
                    <a:pt x="9" y="11"/>
                  </a:moveTo>
                  <a:lnTo>
                    <a:pt x="9" y="3"/>
                  </a:lnTo>
                  <a:cubicBezTo>
                    <a:pt x="9" y="3"/>
                    <a:pt x="6" y="0"/>
                    <a:pt x="3" y="0"/>
                  </a:cubicBezTo>
                  <a:cubicBezTo>
                    <a:pt x="0" y="3"/>
                    <a:pt x="3" y="14"/>
                    <a:pt x="9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49" name="Freeform 176"/>
            <p:cNvSpPr>
              <a:spLocks noChangeArrowheads="1"/>
            </p:cNvSpPr>
            <p:nvPr/>
          </p:nvSpPr>
          <p:spPr bwMode="auto">
            <a:xfrm>
              <a:off x="4405313" y="2717800"/>
              <a:ext cx="4762" cy="3175"/>
            </a:xfrm>
            <a:custGeom>
              <a:avLst/>
              <a:gdLst>
                <a:gd name="T0" fmla="*/ 0 w 15"/>
                <a:gd name="T1" fmla="*/ 3 h 10"/>
                <a:gd name="T2" fmla="*/ 12 w 15"/>
                <a:gd name="T3" fmla="*/ 9 h 10"/>
                <a:gd name="T4" fmla="*/ 14 w 15"/>
                <a:gd name="T5" fmla="*/ 3 h 10"/>
                <a:gd name="T6" fmla="*/ 0 w 15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0" y="3"/>
                  </a:moveTo>
                  <a:cubicBezTo>
                    <a:pt x="3" y="6"/>
                    <a:pt x="6" y="9"/>
                    <a:pt x="12" y="9"/>
                  </a:cubicBezTo>
                  <a:cubicBezTo>
                    <a:pt x="14" y="9"/>
                    <a:pt x="14" y="6"/>
                    <a:pt x="14" y="3"/>
                  </a:cubicBezTo>
                  <a:cubicBezTo>
                    <a:pt x="9" y="0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50" name="Freeform 177"/>
            <p:cNvSpPr>
              <a:spLocks noChangeArrowheads="1"/>
            </p:cNvSpPr>
            <p:nvPr/>
          </p:nvSpPr>
          <p:spPr bwMode="auto">
            <a:xfrm>
              <a:off x="4408488" y="2735263"/>
              <a:ext cx="3175" cy="6350"/>
            </a:xfrm>
            <a:custGeom>
              <a:avLst/>
              <a:gdLst>
                <a:gd name="T0" fmla="*/ 5 w 9"/>
                <a:gd name="T1" fmla="*/ 3 h 18"/>
                <a:gd name="T2" fmla="*/ 0 w 9"/>
                <a:gd name="T3" fmla="*/ 3 h 18"/>
                <a:gd name="T4" fmla="*/ 0 w 9"/>
                <a:gd name="T5" fmla="*/ 6 h 18"/>
                <a:gd name="T6" fmla="*/ 0 w 9"/>
                <a:gd name="T7" fmla="*/ 14 h 18"/>
                <a:gd name="T8" fmla="*/ 8 w 9"/>
                <a:gd name="T9" fmla="*/ 17 h 18"/>
                <a:gd name="T10" fmla="*/ 5 w 9"/>
                <a:gd name="T11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8">
                  <a:moveTo>
                    <a:pt x="5" y="3"/>
                  </a:moveTo>
                  <a:cubicBezTo>
                    <a:pt x="3" y="3"/>
                    <a:pt x="3" y="0"/>
                    <a:pt x="0" y="3"/>
                  </a:cubicBezTo>
                  <a:lnTo>
                    <a:pt x="0" y="6"/>
                  </a:lnTo>
                  <a:cubicBezTo>
                    <a:pt x="0" y="9"/>
                    <a:pt x="0" y="11"/>
                    <a:pt x="0" y="14"/>
                  </a:cubicBezTo>
                  <a:cubicBezTo>
                    <a:pt x="3" y="17"/>
                    <a:pt x="5" y="17"/>
                    <a:pt x="8" y="17"/>
                  </a:cubicBezTo>
                  <a:cubicBezTo>
                    <a:pt x="5" y="11"/>
                    <a:pt x="5" y="6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51" name="Freeform 178"/>
            <p:cNvSpPr>
              <a:spLocks noChangeArrowheads="1"/>
            </p:cNvSpPr>
            <p:nvPr/>
          </p:nvSpPr>
          <p:spPr bwMode="auto">
            <a:xfrm>
              <a:off x="4413250" y="2425700"/>
              <a:ext cx="3175" cy="3175"/>
            </a:xfrm>
            <a:custGeom>
              <a:avLst/>
              <a:gdLst>
                <a:gd name="T0" fmla="*/ 3 w 10"/>
                <a:gd name="T1" fmla="*/ 0 h 9"/>
                <a:gd name="T2" fmla="*/ 0 w 10"/>
                <a:gd name="T3" fmla="*/ 2 h 9"/>
                <a:gd name="T4" fmla="*/ 6 w 10"/>
                <a:gd name="T5" fmla="*/ 8 h 9"/>
                <a:gd name="T6" fmla="*/ 3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3" y="0"/>
                  </a:moveTo>
                  <a:cubicBezTo>
                    <a:pt x="0" y="0"/>
                    <a:pt x="0" y="2"/>
                    <a:pt x="0" y="2"/>
                  </a:cubicBezTo>
                  <a:cubicBezTo>
                    <a:pt x="0" y="5"/>
                    <a:pt x="3" y="8"/>
                    <a:pt x="6" y="8"/>
                  </a:cubicBezTo>
                  <a:cubicBezTo>
                    <a:pt x="9" y="5"/>
                    <a:pt x="9" y="2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52" name="Freeform 179"/>
            <p:cNvSpPr>
              <a:spLocks noChangeArrowheads="1"/>
            </p:cNvSpPr>
            <p:nvPr/>
          </p:nvSpPr>
          <p:spPr bwMode="auto">
            <a:xfrm>
              <a:off x="4416425" y="2343150"/>
              <a:ext cx="1588" cy="1588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3 h 4"/>
                <a:gd name="T4" fmla="*/ 2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0" y="0"/>
                    <a:pt x="0" y="0"/>
                    <a:pt x="0" y="3"/>
                  </a:cubicBezTo>
                  <a:lnTo>
                    <a:pt x="2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53" name="Freeform 180"/>
            <p:cNvSpPr>
              <a:spLocks noChangeArrowheads="1"/>
            </p:cNvSpPr>
            <p:nvPr/>
          </p:nvSpPr>
          <p:spPr bwMode="auto">
            <a:xfrm>
              <a:off x="4397375" y="2462213"/>
              <a:ext cx="1588" cy="3175"/>
            </a:xfrm>
            <a:custGeom>
              <a:avLst/>
              <a:gdLst>
                <a:gd name="T0" fmla="*/ 5 w 6"/>
                <a:gd name="T1" fmla="*/ 3 h 7"/>
                <a:gd name="T2" fmla="*/ 3 w 6"/>
                <a:gd name="T3" fmla="*/ 0 h 7"/>
                <a:gd name="T4" fmla="*/ 0 w 6"/>
                <a:gd name="T5" fmla="*/ 0 h 7"/>
                <a:gd name="T6" fmla="*/ 3 w 6"/>
                <a:gd name="T7" fmla="*/ 6 h 7"/>
                <a:gd name="T8" fmla="*/ 5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3"/>
                  </a:moveTo>
                  <a:lnTo>
                    <a:pt x="3" y="0"/>
                  </a:lnTo>
                  <a:lnTo>
                    <a:pt x="0" y="0"/>
                  </a:lnTo>
                  <a:cubicBezTo>
                    <a:pt x="0" y="3"/>
                    <a:pt x="0" y="6"/>
                    <a:pt x="3" y="6"/>
                  </a:cubicBezTo>
                  <a:cubicBezTo>
                    <a:pt x="3" y="6"/>
                    <a:pt x="3" y="6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54" name="Freeform 181"/>
            <p:cNvSpPr>
              <a:spLocks noChangeArrowheads="1"/>
            </p:cNvSpPr>
            <p:nvPr/>
          </p:nvSpPr>
          <p:spPr bwMode="auto">
            <a:xfrm>
              <a:off x="4403725" y="2965450"/>
              <a:ext cx="6350" cy="4763"/>
            </a:xfrm>
            <a:custGeom>
              <a:avLst/>
              <a:gdLst>
                <a:gd name="T0" fmla="*/ 5 w 18"/>
                <a:gd name="T1" fmla="*/ 0 h 13"/>
                <a:gd name="T2" fmla="*/ 0 w 18"/>
                <a:gd name="T3" fmla="*/ 6 h 13"/>
                <a:gd name="T4" fmla="*/ 17 w 18"/>
                <a:gd name="T5" fmla="*/ 12 h 13"/>
                <a:gd name="T6" fmla="*/ 5 w 18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3">
                  <a:moveTo>
                    <a:pt x="5" y="0"/>
                  </a:moveTo>
                  <a:cubicBezTo>
                    <a:pt x="3" y="3"/>
                    <a:pt x="3" y="3"/>
                    <a:pt x="0" y="6"/>
                  </a:cubicBezTo>
                  <a:cubicBezTo>
                    <a:pt x="3" y="12"/>
                    <a:pt x="8" y="12"/>
                    <a:pt x="17" y="12"/>
                  </a:cubicBezTo>
                  <a:cubicBezTo>
                    <a:pt x="14" y="6"/>
                    <a:pt x="11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55" name="Freeform 182"/>
            <p:cNvSpPr>
              <a:spLocks noChangeArrowheads="1"/>
            </p:cNvSpPr>
            <p:nvPr/>
          </p:nvSpPr>
          <p:spPr bwMode="auto">
            <a:xfrm>
              <a:off x="4368800" y="2495550"/>
              <a:ext cx="3175" cy="6350"/>
            </a:xfrm>
            <a:custGeom>
              <a:avLst/>
              <a:gdLst>
                <a:gd name="T0" fmla="*/ 0 w 9"/>
                <a:gd name="T1" fmla="*/ 0 h 18"/>
                <a:gd name="T2" fmla="*/ 3 w 9"/>
                <a:gd name="T3" fmla="*/ 17 h 18"/>
                <a:gd name="T4" fmla="*/ 5 w 9"/>
                <a:gd name="T5" fmla="*/ 17 h 18"/>
                <a:gd name="T6" fmla="*/ 8 w 9"/>
                <a:gd name="T7" fmla="*/ 3 h 18"/>
                <a:gd name="T8" fmla="*/ 0 w 9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8">
                  <a:moveTo>
                    <a:pt x="0" y="0"/>
                  </a:moveTo>
                  <a:cubicBezTo>
                    <a:pt x="0" y="6"/>
                    <a:pt x="0" y="12"/>
                    <a:pt x="3" y="17"/>
                  </a:cubicBezTo>
                  <a:lnTo>
                    <a:pt x="5" y="17"/>
                  </a:lnTo>
                  <a:cubicBezTo>
                    <a:pt x="8" y="12"/>
                    <a:pt x="8" y="9"/>
                    <a:pt x="8" y="3"/>
                  </a:cubicBezTo>
                  <a:cubicBezTo>
                    <a:pt x="5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56" name="Freeform 183"/>
            <p:cNvSpPr>
              <a:spLocks noChangeArrowheads="1"/>
            </p:cNvSpPr>
            <p:nvPr/>
          </p:nvSpPr>
          <p:spPr bwMode="auto">
            <a:xfrm>
              <a:off x="4376738" y="2995613"/>
              <a:ext cx="3175" cy="1587"/>
            </a:xfrm>
            <a:custGeom>
              <a:avLst/>
              <a:gdLst>
                <a:gd name="T0" fmla="*/ 3 w 7"/>
                <a:gd name="T1" fmla="*/ 3 h 4"/>
                <a:gd name="T2" fmla="*/ 6 w 7"/>
                <a:gd name="T3" fmla="*/ 3 h 4"/>
                <a:gd name="T4" fmla="*/ 3 w 7"/>
                <a:gd name="T5" fmla="*/ 0 h 4"/>
                <a:gd name="T6" fmla="*/ 0 w 7"/>
                <a:gd name="T7" fmla="*/ 0 h 4"/>
                <a:gd name="T8" fmla="*/ 3 w 7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57" name="Freeform 184"/>
            <p:cNvSpPr>
              <a:spLocks noChangeArrowheads="1"/>
            </p:cNvSpPr>
            <p:nvPr/>
          </p:nvSpPr>
          <p:spPr bwMode="auto">
            <a:xfrm>
              <a:off x="4365625" y="3005138"/>
              <a:ext cx="9525" cy="11112"/>
            </a:xfrm>
            <a:custGeom>
              <a:avLst/>
              <a:gdLst>
                <a:gd name="T0" fmla="*/ 17 w 27"/>
                <a:gd name="T1" fmla="*/ 2 h 32"/>
                <a:gd name="T2" fmla="*/ 9 w 27"/>
                <a:gd name="T3" fmla="*/ 11 h 32"/>
                <a:gd name="T4" fmla="*/ 14 w 27"/>
                <a:gd name="T5" fmla="*/ 2 h 32"/>
                <a:gd name="T6" fmla="*/ 14 w 27"/>
                <a:gd name="T7" fmla="*/ 2 h 32"/>
                <a:gd name="T8" fmla="*/ 0 w 27"/>
                <a:gd name="T9" fmla="*/ 19 h 32"/>
                <a:gd name="T10" fmla="*/ 9 w 27"/>
                <a:gd name="T11" fmla="*/ 31 h 32"/>
                <a:gd name="T12" fmla="*/ 17 w 27"/>
                <a:gd name="T13" fmla="*/ 14 h 32"/>
                <a:gd name="T14" fmla="*/ 23 w 27"/>
                <a:gd name="T15" fmla="*/ 0 h 32"/>
                <a:gd name="T16" fmla="*/ 17 w 27"/>
                <a:gd name="T17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32">
                  <a:moveTo>
                    <a:pt x="17" y="2"/>
                  </a:moveTo>
                  <a:cubicBezTo>
                    <a:pt x="14" y="5"/>
                    <a:pt x="12" y="8"/>
                    <a:pt x="9" y="11"/>
                  </a:cubicBezTo>
                  <a:cubicBezTo>
                    <a:pt x="14" y="5"/>
                    <a:pt x="14" y="2"/>
                    <a:pt x="14" y="2"/>
                  </a:cubicBezTo>
                  <a:lnTo>
                    <a:pt x="14" y="2"/>
                  </a:lnTo>
                  <a:cubicBezTo>
                    <a:pt x="9" y="8"/>
                    <a:pt x="0" y="8"/>
                    <a:pt x="0" y="19"/>
                  </a:cubicBezTo>
                  <a:cubicBezTo>
                    <a:pt x="0" y="25"/>
                    <a:pt x="3" y="31"/>
                    <a:pt x="9" y="31"/>
                  </a:cubicBezTo>
                  <a:cubicBezTo>
                    <a:pt x="17" y="31"/>
                    <a:pt x="14" y="19"/>
                    <a:pt x="17" y="14"/>
                  </a:cubicBezTo>
                  <a:cubicBezTo>
                    <a:pt x="17" y="5"/>
                    <a:pt x="26" y="5"/>
                    <a:pt x="23" y="0"/>
                  </a:cubicBezTo>
                  <a:cubicBezTo>
                    <a:pt x="20" y="0"/>
                    <a:pt x="20" y="2"/>
                    <a:pt x="17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58" name="Freeform 185"/>
            <p:cNvSpPr>
              <a:spLocks noChangeArrowheads="1"/>
            </p:cNvSpPr>
            <p:nvPr/>
          </p:nvSpPr>
          <p:spPr bwMode="auto">
            <a:xfrm>
              <a:off x="4370388" y="2652713"/>
              <a:ext cx="3175" cy="3175"/>
            </a:xfrm>
            <a:custGeom>
              <a:avLst/>
              <a:gdLst>
                <a:gd name="T0" fmla="*/ 0 w 10"/>
                <a:gd name="T1" fmla="*/ 0 h 9"/>
                <a:gd name="T2" fmla="*/ 0 w 10"/>
                <a:gd name="T3" fmla="*/ 8 h 9"/>
                <a:gd name="T4" fmla="*/ 9 w 10"/>
                <a:gd name="T5" fmla="*/ 0 h 9"/>
                <a:gd name="T6" fmla="*/ 0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lnTo>
                    <a:pt x="0" y="8"/>
                  </a:lnTo>
                  <a:cubicBezTo>
                    <a:pt x="6" y="8"/>
                    <a:pt x="9" y="5"/>
                    <a:pt x="9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59" name="Freeform 186"/>
            <p:cNvSpPr>
              <a:spLocks noChangeArrowheads="1"/>
            </p:cNvSpPr>
            <p:nvPr/>
          </p:nvSpPr>
          <p:spPr bwMode="auto">
            <a:xfrm>
              <a:off x="4413250" y="2828925"/>
              <a:ext cx="3175" cy="1588"/>
            </a:xfrm>
            <a:custGeom>
              <a:avLst/>
              <a:gdLst>
                <a:gd name="T0" fmla="*/ 0 w 10"/>
                <a:gd name="T1" fmla="*/ 5 h 6"/>
                <a:gd name="T2" fmla="*/ 9 w 10"/>
                <a:gd name="T3" fmla="*/ 2 h 6"/>
                <a:gd name="T4" fmla="*/ 3 w 10"/>
                <a:gd name="T5" fmla="*/ 0 h 6"/>
                <a:gd name="T6" fmla="*/ 0 w 10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6">
                  <a:moveTo>
                    <a:pt x="0" y="5"/>
                  </a:moveTo>
                  <a:cubicBezTo>
                    <a:pt x="3" y="5"/>
                    <a:pt x="9" y="5"/>
                    <a:pt x="9" y="2"/>
                  </a:cubicBezTo>
                  <a:cubicBezTo>
                    <a:pt x="6" y="0"/>
                    <a:pt x="6" y="0"/>
                    <a:pt x="3" y="0"/>
                  </a:cubicBezTo>
                  <a:cubicBezTo>
                    <a:pt x="3" y="2"/>
                    <a:pt x="0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60" name="Freeform 187"/>
            <p:cNvSpPr>
              <a:spLocks noChangeArrowheads="1"/>
            </p:cNvSpPr>
            <p:nvPr/>
          </p:nvSpPr>
          <p:spPr bwMode="auto">
            <a:xfrm>
              <a:off x="4395788" y="2878138"/>
              <a:ext cx="7937" cy="7937"/>
            </a:xfrm>
            <a:custGeom>
              <a:avLst/>
              <a:gdLst>
                <a:gd name="T0" fmla="*/ 0 w 21"/>
                <a:gd name="T1" fmla="*/ 17 h 21"/>
                <a:gd name="T2" fmla="*/ 20 w 21"/>
                <a:gd name="T3" fmla="*/ 11 h 21"/>
                <a:gd name="T4" fmla="*/ 6 w 21"/>
                <a:gd name="T5" fmla="*/ 0 h 21"/>
                <a:gd name="T6" fmla="*/ 0 w 21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1">
                  <a:moveTo>
                    <a:pt x="0" y="17"/>
                  </a:moveTo>
                  <a:cubicBezTo>
                    <a:pt x="9" y="20"/>
                    <a:pt x="17" y="20"/>
                    <a:pt x="20" y="11"/>
                  </a:cubicBezTo>
                  <a:cubicBezTo>
                    <a:pt x="14" y="8"/>
                    <a:pt x="11" y="3"/>
                    <a:pt x="6" y="0"/>
                  </a:cubicBezTo>
                  <a:cubicBezTo>
                    <a:pt x="3" y="3"/>
                    <a:pt x="3" y="11"/>
                    <a:pt x="0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61" name="Freeform 188"/>
            <p:cNvSpPr>
              <a:spLocks noChangeArrowheads="1"/>
            </p:cNvSpPr>
            <p:nvPr/>
          </p:nvSpPr>
          <p:spPr bwMode="auto">
            <a:xfrm>
              <a:off x="4511675" y="2709863"/>
              <a:ext cx="4763" cy="6350"/>
            </a:xfrm>
            <a:custGeom>
              <a:avLst/>
              <a:gdLst>
                <a:gd name="T0" fmla="*/ 0 w 15"/>
                <a:gd name="T1" fmla="*/ 9 h 16"/>
                <a:gd name="T2" fmla="*/ 2 w 15"/>
                <a:gd name="T3" fmla="*/ 15 h 16"/>
                <a:gd name="T4" fmla="*/ 14 w 15"/>
                <a:gd name="T5" fmla="*/ 6 h 16"/>
                <a:gd name="T6" fmla="*/ 0 w 15"/>
                <a:gd name="T7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9"/>
                  </a:moveTo>
                  <a:cubicBezTo>
                    <a:pt x="2" y="9"/>
                    <a:pt x="2" y="12"/>
                    <a:pt x="2" y="15"/>
                  </a:cubicBezTo>
                  <a:cubicBezTo>
                    <a:pt x="8" y="15"/>
                    <a:pt x="14" y="15"/>
                    <a:pt x="14" y="6"/>
                  </a:cubicBezTo>
                  <a:cubicBezTo>
                    <a:pt x="8" y="3"/>
                    <a:pt x="0" y="0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62" name="Freeform 189"/>
            <p:cNvSpPr>
              <a:spLocks noChangeArrowheads="1"/>
            </p:cNvSpPr>
            <p:nvPr/>
          </p:nvSpPr>
          <p:spPr bwMode="auto">
            <a:xfrm>
              <a:off x="4521200" y="2713038"/>
              <a:ext cx="3175" cy="4762"/>
            </a:xfrm>
            <a:custGeom>
              <a:avLst/>
              <a:gdLst>
                <a:gd name="T0" fmla="*/ 3 w 7"/>
                <a:gd name="T1" fmla="*/ 11 h 15"/>
                <a:gd name="T2" fmla="*/ 3 w 7"/>
                <a:gd name="T3" fmla="*/ 3 h 15"/>
                <a:gd name="T4" fmla="*/ 3 w 7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3" y="11"/>
                  </a:moveTo>
                  <a:cubicBezTo>
                    <a:pt x="6" y="11"/>
                    <a:pt x="6" y="3"/>
                    <a:pt x="3" y="3"/>
                  </a:cubicBezTo>
                  <a:cubicBezTo>
                    <a:pt x="0" y="0"/>
                    <a:pt x="0" y="14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63" name="Freeform 190"/>
            <p:cNvSpPr>
              <a:spLocks noChangeArrowheads="1"/>
            </p:cNvSpPr>
            <p:nvPr/>
          </p:nvSpPr>
          <p:spPr bwMode="auto">
            <a:xfrm>
              <a:off x="4370388" y="3003550"/>
              <a:ext cx="3175" cy="1588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3 h 6"/>
                <a:gd name="T4" fmla="*/ 0 w 7"/>
                <a:gd name="T5" fmla="*/ 5 h 6"/>
                <a:gd name="T6" fmla="*/ 6 w 7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cubicBezTo>
                    <a:pt x="3" y="0"/>
                    <a:pt x="3" y="0"/>
                    <a:pt x="0" y="3"/>
                  </a:cubicBezTo>
                  <a:lnTo>
                    <a:pt x="0" y="5"/>
                  </a:lnTo>
                  <a:cubicBezTo>
                    <a:pt x="6" y="5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64" name="Freeform 191"/>
            <p:cNvSpPr>
              <a:spLocks noChangeArrowheads="1"/>
            </p:cNvSpPr>
            <p:nvPr/>
          </p:nvSpPr>
          <p:spPr bwMode="auto">
            <a:xfrm>
              <a:off x="4511675" y="2695575"/>
              <a:ext cx="3175" cy="3175"/>
            </a:xfrm>
            <a:custGeom>
              <a:avLst/>
              <a:gdLst>
                <a:gd name="T0" fmla="*/ 0 w 9"/>
                <a:gd name="T1" fmla="*/ 0 h 7"/>
                <a:gd name="T2" fmla="*/ 0 w 9"/>
                <a:gd name="T3" fmla="*/ 6 h 7"/>
                <a:gd name="T4" fmla="*/ 8 w 9"/>
                <a:gd name="T5" fmla="*/ 6 h 7"/>
                <a:gd name="T6" fmla="*/ 5 w 9"/>
                <a:gd name="T7" fmla="*/ 0 h 7"/>
                <a:gd name="T8" fmla="*/ 0 w 9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0" y="0"/>
                  </a:moveTo>
                  <a:lnTo>
                    <a:pt x="0" y="6"/>
                  </a:lnTo>
                  <a:lnTo>
                    <a:pt x="8" y="6"/>
                  </a:lnTo>
                  <a:cubicBezTo>
                    <a:pt x="8" y="3"/>
                    <a:pt x="5" y="3"/>
                    <a:pt x="5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65" name="Freeform 192"/>
            <p:cNvSpPr>
              <a:spLocks noChangeArrowheads="1"/>
            </p:cNvSpPr>
            <p:nvPr/>
          </p:nvSpPr>
          <p:spPr bwMode="auto">
            <a:xfrm>
              <a:off x="4518025" y="2425700"/>
              <a:ext cx="3175" cy="3175"/>
            </a:xfrm>
            <a:custGeom>
              <a:avLst/>
              <a:gdLst>
                <a:gd name="T0" fmla="*/ 5 w 9"/>
                <a:gd name="T1" fmla="*/ 8 h 9"/>
                <a:gd name="T2" fmla="*/ 8 w 9"/>
                <a:gd name="T3" fmla="*/ 8 h 9"/>
                <a:gd name="T4" fmla="*/ 5 w 9"/>
                <a:gd name="T5" fmla="*/ 0 h 9"/>
                <a:gd name="T6" fmla="*/ 0 w 9"/>
                <a:gd name="T7" fmla="*/ 0 h 9"/>
                <a:gd name="T8" fmla="*/ 5 w 9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5" y="8"/>
                  </a:moveTo>
                  <a:lnTo>
                    <a:pt x="8" y="8"/>
                  </a:lnTo>
                  <a:cubicBezTo>
                    <a:pt x="8" y="5"/>
                    <a:pt x="8" y="2"/>
                    <a:pt x="5" y="0"/>
                  </a:cubicBezTo>
                  <a:cubicBezTo>
                    <a:pt x="2" y="0"/>
                    <a:pt x="2" y="0"/>
                    <a:pt x="0" y="0"/>
                  </a:cubicBezTo>
                  <a:cubicBezTo>
                    <a:pt x="0" y="2"/>
                    <a:pt x="0" y="5"/>
                    <a:pt x="5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66" name="Freeform 193"/>
            <p:cNvSpPr>
              <a:spLocks noChangeArrowheads="1"/>
            </p:cNvSpPr>
            <p:nvPr/>
          </p:nvSpPr>
          <p:spPr bwMode="auto">
            <a:xfrm>
              <a:off x="4519613" y="2289175"/>
              <a:ext cx="3175" cy="1588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3 w 7"/>
                <a:gd name="T5" fmla="*/ 3 h 4"/>
                <a:gd name="T6" fmla="*/ 6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0" y="0"/>
                    <a:pt x="0" y="0"/>
                  </a:cubicBezTo>
                  <a:lnTo>
                    <a:pt x="3" y="3"/>
                  </a:lnTo>
                  <a:cubicBezTo>
                    <a:pt x="3" y="3"/>
                    <a:pt x="3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67" name="Freeform 194"/>
            <p:cNvSpPr>
              <a:spLocks noChangeArrowheads="1"/>
            </p:cNvSpPr>
            <p:nvPr/>
          </p:nvSpPr>
          <p:spPr bwMode="auto">
            <a:xfrm>
              <a:off x="4529138" y="2309813"/>
              <a:ext cx="1587" cy="3175"/>
            </a:xfrm>
            <a:custGeom>
              <a:avLst/>
              <a:gdLst>
                <a:gd name="T0" fmla="*/ 0 w 6"/>
                <a:gd name="T1" fmla="*/ 9 h 10"/>
                <a:gd name="T2" fmla="*/ 5 w 6"/>
                <a:gd name="T3" fmla="*/ 0 h 10"/>
                <a:gd name="T4" fmla="*/ 0 w 6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0">
                  <a:moveTo>
                    <a:pt x="0" y="9"/>
                  </a:moveTo>
                  <a:cubicBezTo>
                    <a:pt x="2" y="6"/>
                    <a:pt x="5" y="3"/>
                    <a:pt x="5" y="0"/>
                  </a:cubicBezTo>
                  <a:cubicBezTo>
                    <a:pt x="2" y="0"/>
                    <a:pt x="0" y="3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68" name="Freeform 195"/>
            <p:cNvSpPr>
              <a:spLocks noChangeArrowheads="1"/>
            </p:cNvSpPr>
            <p:nvPr/>
          </p:nvSpPr>
          <p:spPr bwMode="auto">
            <a:xfrm>
              <a:off x="4522788" y="2535238"/>
              <a:ext cx="19050" cy="17462"/>
            </a:xfrm>
            <a:custGeom>
              <a:avLst/>
              <a:gdLst>
                <a:gd name="T0" fmla="*/ 22 w 51"/>
                <a:gd name="T1" fmla="*/ 26 h 49"/>
                <a:gd name="T2" fmla="*/ 22 w 51"/>
                <a:gd name="T3" fmla="*/ 34 h 49"/>
                <a:gd name="T4" fmla="*/ 34 w 51"/>
                <a:gd name="T5" fmla="*/ 23 h 49"/>
                <a:gd name="T6" fmla="*/ 28 w 51"/>
                <a:gd name="T7" fmla="*/ 46 h 49"/>
                <a:gd name="T8" fmla="*/ 28 w 51"/>
                <a:gd name="T9" fmla="*/ 46 h 49"/>
                <a:gd name="T10" fmla="*/ 50 w 51"/>
                <a:gd name="T11" fmla="*/ 37 h 49"/>
                <a:gd name="T12" fmla="*/ 50 w 51"/>
                <a:gd name="T13" fmla="*/ 34 h 49"/>
                <a:gd name="T14" fmla="*/ 39 w 51"/>
                <a:gd name="T15" fmla="*/ 20 h 49"/>
                <a:gd name="T16" fmla="*/ 42 w 51"/>
                <a:gd name="T17" fmla="*/ 15 h 49"/>
                <a:gd name="T18" fmla="*/ 42 w 51"/>
                <a:gd name="T19" fmla="*/ 12 h 49"/>
                <a:gd name="T20" fmla="*/ 45 w 51"/>
                <a:gd name="T21" fmla="*/ 12 h 49"/>
                <a:gd name="T22" fmla="*/ 48 w 51"/>
                <a:gd name="T23" fmla="*/ 0 h 49"/>
                <a:gd name="T24" fmla="*/ 36 w 51"/>
                <a:gd name="T25" fmla="*/ 6 h 49"/>
                <a:gd name="T26" fmla="*/ 19 w 51"/>
                <a:gd name="T27" fmla="*/ 9 h 49"/>
                <a:gd name="T28" fmla="*/ 14 w 51"/>
                <a:gd name="T29" fmla="*/ 20 h 49"/>
                <a:gd name="T30" fmla="*/ 11 w 51"/>
                <a:gd name="T31" fmla="*/ 26 h 49"/>
                <a:gd name="T32" fmla="*/ 0 w 51"/>
                <a:gd name="T33" fmla="*/ 34 h 49"/>
                <a:gd name="T34" fmla="*/ 0 w 51"/>
                <a:gd name="T35" fmla="*/ 37 h 49"/>
                <a:gd name="T36" fmla="*/ 8 w 51"/>
                <a:gd name="T37" fmla="*/ 43 h 49"/>
                <a:gd name="T38" fmla="*/ 22 w 51"/>
                <a:gd name="T39" fmla="*/ 2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" h="49">
                  <a:moveTo>
                    <a:pt x="22" y="26"/>
                  </a:moveTo>
                  <a:cubicBezTo>
                    <a:pt x="22" y="29"/>
                    <a:pt x="22" y="32"/>
                    <a:pt x="22" y="34"/>
                  </a:cubicBezTo>
                  <a:cubicBezTo>
                    <a:pt x="25" y="32"/>
                    <a:pt x="22" y="20"/>
                    <a:pt x="34" y="23"/>
                  </a:cubicBezTo>
                  <a:cubicBezTo>
                    <a:pt x="28" y="29"/>
                    <a:pt x="31" y="40"/>
                    <a:pt x="28" y="46"/>
                  </a:cubicBezTo>
                  <a:lnTo>
                    <a:pt x="28" y="46"/>
                  </a:lnTo>
                  <a:cubicBezTo>
                    <a:pt x="36" y="48"/>
                    <a:pt x="45" y="46"/>
                    <a:pt x="50" y="37"/>
                  </a:cubicBezTo>
                  <a:cubicBezTo>
                    <a:pt x="50" y="37"/>
                    <a:pt x="50" y="37"/>
                    <a:pt x="50" y="34"/>
                  </a:cubicBezTo>
                  <a:cubicBezTo>
                    <a:pt x="45" y="29"/>
                    <a:pt x="42" y="26"/>
                    <a:pt x="39" y="20"/>
                  </a:cubicBezTo>
                  <a:cubicBezTo>
                    <a:pt x="39" y="17"/>
                    <a:pt x="39" y="15"/>
                    <a:pt x="42" y="15"/>
                  </a:cubicBezTo>
                  <a:cubicBezTo>
                    <a:pt x="42" y="15"/>
                    <a:pt x="42" y="15"/>
                    <a:pt x="42" y="12"/>
                  </a:cubicBezTo>
                  <a:lnTo>
                    <a:pt x="45" y="12"/>
                  </a:lnTo>
                  <a:cubicBezTo>
                    <a:pt x="48" y="9"/>
                    <a:pt x="48" y="3"/>
                    <a:pt x="48" y="0"/>
                  </a:cubicBezTo>
                  <a:cubicBezTo>
                    <a:pt x="45" y="3"/>
                    <a:pt x="42" y="6"/>
                    <a:pt x="36" y="6"/>
                  </a:cubicBezTo>
                  <a:cubicBezTo>
                    <a:pt x="28" y="3"/>
                    <a:pt x="25" y="9"/>
                    <a:pt x="19" y="9"/>
                  </a:cubicBezTo>
                  <a:cubicBezTo>
                    <a:pt x="17" y="12"/>
                    <a:pt x="19" y="20"/>
                    <a:pt x="14" y="20"/>
                  </a:cubicBezTo>
                  <a:cubicBezTo>
                    <a:pt x="14" y="15"/>
                    <a:pt x="11" y="20"/>
                    <a:pt x="11" y="26"/>
                  </a:cubicBezTo>
                  <a:cubicBezTo>
                    <a:pt x="5" y="26"/>
                    <a:pt x="0" y="29"/>
                    <a:pt x="0" y="34"/>
                  </a:cubicBezTo>
                  <a:lnTo>
                    <a:pt x="0" y="37"/>
                  </a:lnTo>
                  <a:cubicBezTo>
                    <a:pt x="3" y="40"/>
                    <a:pt x="5" y="40"/>
                    <a:pt x="8" y="43"/>
                  </a:cubicBezTo>
                  <a:cubicBezTo>
                    <a:pt x="11" y="34"/>
                    <a:pt x="11" y="26"/>
                    <a:pt x="22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69" name="Freeform 196"/>
            <p:cNvSpPr>
              <a:spLocks noChangeArrowheads="1"/>
            </p:cNvSpPr>
            <p:nvPr/>
          </p:nvSpPr>
          <p:spPr bwMode="auto">
            <a:xfrm>
              <a:off x="4427538" y="2717800"/>
              <a:ext cx="3175" cy="3175"/>
            </a:xfrm>
            <a:custGeom>
              <a:avLst/>
              <a:gdLst>
                <a:gd name="T0" fmla="*/ 9 w 10"/>
                <a:gd name="T1" fmla="*/ 6 h 7"/>
                <a:gd name="T2" fmla="*/ 9 w 10"/>
                <a:gd name="T3" fmla="*/ 0 h 7"/>
                <a:gd name="T4" fmla="*/ 0 w 10"/>
                <a:gd name="T5" fmla="*/ 3 h 7"/>
                <a:gd name="T6" fmla="*/ 9 w 10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9" y="6"/>
                  </a:moveTo>
                  <a:cubicBezTo>
                    <a:pt x="9" y="6"/>
                    <a:pt x="9" y="3"/>
                    <a:pt x="9" y="0"/>
                  </a:cubicBezTo>
                  <a:cubicBezTo>
                    <a:pt x="6" y="0"/>
                    <a:pt x="3" y="0"/>
                    <a:pt x="0" y="3"/>
                  </a:cubicBezTo>
                  <a:cubicBezTo>
                    <a:pt x="3" y="6"/>
                    <a:pt x="6" y="6"/>
                    <a:pt x="9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70" name="Freeform 197"/>
            <p:cNvSpPr>
              <a:spLocks noChangeArrowheads="1"/>
            </p:cNvSpPr>
            <p:nvPr/>
          </p:nvSpPr>
          <p:spPr bwMode="auto">
            <a:xfrm>
              <a:off x="4432300" y="2605088"/>
              <a:ext cx="6350" cy="7937"/>
            </a:xfrm>
            <a:custGeom>
              <a:avLst/>
              <a:gdLst>
                <a:gd name="T0" fmla="*/ 11 w 18"/>
                <a:gd name="T1" fmla="*/ 17 h 21"/>
                <a:gd name="T2" fmla="*/ 0 w 18"/>
                <a:gd name="T3" fmla="*/ 9 h 21"/>
                <a:gd name="T4" fmla="*/ 8 w 18"/>
                <a:gd name="T5" fmla="*/ 20 h 21"/>
                <a:gd name="T6" fmla="*/ 11 w 18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11" y="17"/>
                  </a:moveTo>
                  <a:cubicBezTo>
                    <a:pt x="17" y="9"/>
                    <a:pt x="5" y="0"/>
                    <a:pt x="0" y="9"/>
                  </a:cubicBezTo>
                  <a:cubicBezTo>
                    <a:pt x="0" y="14"/>
                    <a:pt x="3" y="17"/>
                    <a:pt x="8" y="20"/>
                  </a:cubicBezTo>
                  <a:cubicBezTo>
                    <a:pt x="8" y="17"/>
                    <a:pt x="8" y="17"/>
                    <a:pt x="11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71" name="Freeform 198"/>
            <p:cNvSpPr>
              <a:spLocks noChangeArrowheads="1"/>
            </p:cNvSpPr>
            <p:nvPr/>
          </p:nvSpPr>
          <p:spPr bwMode="auto">
            <a:xfrm>
              <a:off x="4506913" y="2363788"/>
              <a:ext cx="7937" cy="12700"/>
            </a:xfrm>
            <a:custGeom>
              <a:avLst/>
              <a:gdLst>
                <a:gd name="T0" fmla="*/ 14 w 20"/>
                <a:gd name="T1" fmla="*/ 33 h 34"/>
                <a:gd name="T2" fmla="*/ 14 w 20"/>
                <a:gd name="T3" fmla="*/ 8 h 34"/>
                <a:gd name="T4" fmla="*/ 16 w 20"/>
                <a:gd name="T5" fmla="*/ 2 h 34"/>
                <a:gd name="T6" fmla="*/ 8 w 20"/>
                <a:gd name="T7" fmla="*/ 0 h 34"/>
                <a:gd name="T8" fmla="*/ 0 w 20"/>
                <a:gd name="T9" fmla="*/ 33 h 34"/>
                <a:gd name="T10" fmla="*/ 14 w 20"/>
                <a:gd name="T11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4">
                  <a:moveTo>
                    <a:pt x="14" y="33"/>
                  </a:moveTo>
                  <a:cubicBezTo>
                    <a:pt x="14" y="25"/>
                    <a:pt x="19" y="17"/>
                    <a:pt x="14" y="8"/>
                  </a:cubicBezTo>
                  <a:cubicBezTo>
                    <a:pt x="16" y="5"/>
                    <a:pt x="16" y="2"/>
                    <a:pt x="16" y="2"/>
                  </a:cubicBezTo>
                  <a:cubicBezTo>
                    <a:pt x="14" y="2"/>
                    <a:pt x="11" y="0"/>
                    <a:pt x="8" y="0"/>
                  </a:cubicBezTo>
                  <a:cubicBezTo>
                    <a:pt x="2" y="8"/>
                    <a:pt x="5" y="22"/>
                    <a:pt x="0" y="33"/>
                  </a:cubicBezTo>
                  <a:lnTo>
                    <a:pt x="14" y="3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72" name="Freeform 199"/>
            <p:cNvSpPr>
              <a:spLocks noChangeArrowheads="1"/>
            </p:cNvSpPr>
            <p:nvPr/>
          </p:nvSpPr>
          <p:spPr bwMode="auto">
            <a:xfrm>
              <a:off x="4435475" y="2593975"/>
              <a:ext cx="3175" cy="1588"/>
            </a:xfrm>
            <a:custGeom>
              <a:avLst/>
              <a:gdLst>
                <a:gd name="T0" fmla="*/ 0 w 7"/>
                <a:gd name="T1" fmla="*/ 0 h 4"/>
                <a:gd name="T2" fmla="*/ 0 w 7"/>
                <a:gd name="T3" fmla="*/ 3 h 4"/>
                <a:gd name="T4" fmla="*/ 6 w 7"/>
                <a:gd name="T5" fmla="*/ 3 h 4"/>
                <a:gd name="T6" fmla="*/ 0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lnTo>
                    <a:pt x="0" y="3"/>
                  </a:lnTo>
                  <a:cubicBezTo>
                    <a:pt x="3" y="3"/>
                    <a:pt x="6" y="3"/>
                    <a:pt x="6" y="3"/>
                  </a:cubicBezTo>
                  <a:cubicBezTo>
                    <a:pt x="6" y="3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73" name="Freeform 200"/>
            <p:cNvSpPr>
              <a:spLocks noChangeArrowheads="1"/>
            </p:cNvSpPr>
            <p:nvPr/>
          </p:nvSpPr>
          <p:spPr bwMode="auto">
            <a:xfrm>
              <a:off x="4433888" y="2841625"/>
              <a:ext cx="3175" cy="3175"/>
            </a:xfrm>
            <a:custGeom>
              <a:avLst/>
              <a:gdLst>
                <a:gd name="T0" fmla="*/ 0 w 10"/>
                <a:gd name="T1" fmla="*/ 3 h 7"/>
                <a:gd name="T2" fmla="*/ 6 w 10"/>
                <a:gd name="T3" fmla="*/ 6 h 7"/>
                <a:gd name="T4" fmla="*/ 9 w 10"/>
                <a:gd name="T5" fmla="*/ 3 h 7"/>
                <a:gd name="T6" fmla="*/ 0 w 10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0" y="6"/>
                    <a:pt x="3" y="6"/>
                    <a:pt x="6" y="6"/>
                  </a:cubicBezTo>
                  <a:lnTo>
                    <a:pt x="9" y="3"/>
                  </a:lnTo>
                  <a:cubicBezTo>
                    <a:pt x="3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74" name="Freeform 201"/>
            <p:cNvSpPr>
              <a:spLocks noChangeArrowheads="1"/>
            </p:cNvSpPr>
            <p:nvPr/>
          </p:nvSpPr>
          <p:spPr bwMode="auto">
            <a:xfrm>
              <a:off x="4518025" y="2698750"/>
              <a:ext cx="3175" cy="4763"/>
            </a:xfrm>
            <a:custGeom>
              <a:avLst/>
              <a:gdLst>
                <a:gd name="T0" fmla="*/ 8 w 9"/>
                <a:gd name="T1" fmla="*/ 0 h 12"/>
                <a:gd name="T2" fmla="*/ 8 w 9"/>
                <a:gd name="T3" fmla="*/ 0 h 12"/>
                <a:gd name="T4" fmla="*/ 8 w 9"/>
                <a:gd name="T5" fmla="*/ 0 h 12"/>
                <a:gd name="T6" fmla="*/ 0 w 9"/>
                <a:gd name="T7" fmla="*/ 11 h 12"/>
                <a:gd name="T8" fmla="*/ 8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cubicBezTo>
                    <a:pt x="5" y="5"/>
                    <a:pt x="2" y="8"/>
                    <a:pt x="0" y="11"/>
                  </a:cubicBezTo>
                  <a:cubicBezTo>
                    <a:pt x="5" y="8"/>
                    <a:pt x="8" y="5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75" name="Freeform 202"/>
            <p:cNvSpPr>
              <a:spLocks noChangeArrowheads="1"/>
            </p:cNvSpPr>
            <p:nvPr/>
          </p:nvSpPr>
          <p:spPr bwMode="auto">
            <a:xfrm>
              <a:off x="4537075" y="2473325"/>
              <a:ext cx="4763" cy="7938"/>
            </a:xfrm>
            <a:custGeom>
              <a:avLst/>
              <a:gdLst>
                <a:gd name="T0" fmla="*/ 14 w 15"/>
                <a:gd name="T1" fmla="*/ 0 h 21"/>
                <a:gd name="T2" fmla="*/ 3 w 15"/>
                <a:gd name="T3" fmla="*/ 17 h 21"/>
                <a:gd name="T4" fmla="*/ 14 w 15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1">
                  <a:moveTo>
                    <a:pt x="14" y="0"/>
                  </a:moveTo>
                  <a:cubicBezTo>
                    <a:pt x="6" y="0"/>
                    <a:pt x="0" y="6"/>
                    <a:pt x="3" y="17"/>
                  </a:cubicBezTo>
                  <a:cubicBezTo>
                    <a:pt x="11" y="20"/>
                    <a:pt x="14" y="12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76" name="Freeform 203"/>
            <p:cNvSpPr>
              <a:spLocks noChangeArrowheads="1"/>
            </p:cNvSpPr>
            <p:nvPr/>
          </p:nvSpPr>
          <p:spPr bwMode="auto">
            <a:xfrm>
              <a:off x="4370388" y="2139950"/>
              <a:ext cx="1587" cy="1588"/>
            </a:xfrm>
            <a:custGeom>
              <a:avLst/>
              <a:gdLst>
                <a:gd name="T0" fmla="*/ 2 w 3"/>
                <a:gd name="T1" fmla="*/ 3 h 4"/>
                <a:gd name="T2" fmla="*/ 2 w 3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3"/>
                  </a:moveTo>
                  <a:cubicBezTo>
                    <a:pt x="2" y="3"/>
                    <a:pt x="0" y="0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77" name="Freeform 204"/>
            <p:cNvSpPr>
              <a:spLocks noChangeArrowheads="1"/>
            </p:cNvSpPr>
            <p:nvPr/>
          </p:nvSpPr>
          <p:spPr bwMode="auto">
            <a:xfrm>
              <a:off x="4483100" y="2727325"/>
              <a:ext cx="1588" cy="1588"/>
            </a:xfrm>
            <a:custGeom>
              <a:avLst/>
              <a:gdLst>
                <a:gd name="T0" fmla="*/ 0 w 4"/>
                <a:gd name="T1" fmla="*/ 2 h 3"/>
                <a:gd name="T2" fmla="*/ 0 w 4"/>
                <a:gd name="T3" fmla="*/ 2 h 3"/>
                <a:gd name="T4" fmla="*/ 3 w 4"/>
                <a:gd name="T5" fmla="*/ 2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0" y="2"/>
                  </a:lnTo>
                  <a:lnTo>
                    <a:pt x="3" y="2"/>
                  </a:lnTo>
                  <a:cubicBezTo>
                    <a:pt x="3" y="0"/>
                    <a:pt x="0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78" name="Freeform 205"/>
            <p:cNvSpPr>
              <a:spLocks noChangeArrowheads="1"/>
            </p:cNvSpPr>
            <p:nvPr/>
          </p:nvSpPr>
          <p:spPr bwMode="auto">
            <a:xfrm>
              <a:off x="4479925" y="2749550"/>
              <a:ext cx="3175" cy="1588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0 h 6"/>
                <a:gd name="T4" fmla="*/ 6 w 7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cubicBezTo>
                    <a:pt x="3" y="0"/>
                    <a:pt x="3" y="0"/>
                    <a:pt x="0" y="0"/>
                  </a:cubicBezTo>
                  <a:cubicBezTo>
                    <a:pt x="0" y="3"/>
                    <a:pt x="3" y="5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79" name="Freeform 206"/>
            <p:cNvSpPr>
              <a:spLocks noChangeArrowheads="1"/>
            </p:cNvSpPr>
            <p:nvPr/>
          </p:nvSpPr>
          <p:spPr bwMode="auto">
            <a:xfrm>
              <a:off x="4486275" y="2381250"/>
              <a:ext cx="3175" cy="3175"/>
            </a:xfrm>
            <a:custGeom>
              <a:avLst/>
              <a:gdLst>
                <a:gd name="T0" fmla="*/ 6 w 10"/>
                <a:gd name="T1" fmla="*/ 0 h 9"/>
                <a:gd name="T2" fmla="*/ 0 w 10"/>
                <a:gd name="T3" fmla="*/ 8 h 9"/>
                <a:gd name="T4" fmla="*/ 9 w 10"/>
                <a:gd name="T5" fmla="*/ 8 h 9"/>
                <a:gd name="T6" fmla="*/ 6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6" y="0"/>
                  </a:moveTo>
                  <a:cubicBezTo>
                    <a:pt x="3" y="2"/>
                    <a:pt x="0" y="5"/>
                    <a:pt x="0" y="8"/>
                  </a:cubicBezTo>
                  <a:cubicBezTo>
                    <a:pt x="3" y="8"/>
                    <a:pt x="6" y="8"/>
                    <a:pt x="9" y="8"/>
                  </a:cubicBezTo>
                  <a:cubicBezTo>
                    <a:pt x="9" y="5"/>
                    <a:pt x="9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80" name="Freeform 207"/>
            <p:cNvSpPr>
              <a:spLocks noChangeArrowheads="1"/>
            </p:cNvSpPr>
            <p:nvPr/>
          </p:nvSpPr>
          <p:spPr bwMode="auto">
            <a:xfrm>
              <a:off x="4478338" y="2838450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3 w 4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3"/>
                    <a:pt x="0" y="0"/>
                  </a:cubicBezTo>
                  <a:cubicBezTo>
                    <a:pt x="3" y="0"/>
                    <a:pt x="3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81" name="Freeform 208"/>
            <p:cNvSpPr>
              <a:spLocks noChangeArrowheads="1"/>
            </p:cNvSpPr>
            <p:nvPr/>
          </p:nvSpPr>
          <p:spPr bwMode="auto">
            <a:xfrm>
              <a:off x="4473575" y="2317750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6 w 10"/>
                <a:gd name="T3" fmla="*/ 0 h 9"/>
                <a:gd name="T4" fmla="*/ 0 w 10"/>
                <a:gd name="T5" fmla="*/ 3 h 9"/>
                <a:gd name="T6" fmla="*/ 9 w 10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cubicBezTo>
                    <a:pt x="9" y="5"/>
                    <a:pt x="6" y="3"/>
                    <a:pt x="6" y="0"/>
                  </a:cubicBezTo>
                  <a:cubicBezTo>
                    <a:pt x="3" y="0"/>
                    <a:pt x="0" y="0"/>
                    <a:pt x="0" y="3"/>
                  </a:cubicBezTo>
                  <a:cubicBezTo>
                    <a:pt x="0" y="5"/>
                    <a:pt x="3" y="8"/>
                    <a:pt x="9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82" name="Freeform 209"/>
            <p:cNvSpPr>
              <a:spLocks noChangeArrowheads="1"/>
            </p:cNvSpPr>
            <p:nvPr/>
          </p:nvSpPr>
          <p:spPr bwMode="auto">
            <a:xfrm>
              <a:off x="4467225" y="2392363"/>
              <a:ext cx="1588" cy="1587"/>
            </a:xfrm>
            <a:custGeom>
              <a:avLst/>
              <a:gdLst>
                <a:gd name="T0" fmla="*/ 2 w 6"/>
                <a:gd name="T1" fmla="*/ 0 h 6"/>
                <a:gd name="T2" fmla="*/ 2 w 6"/>
                <a:gd name="T3" fmla="*/ 0 h 6"/>
                <a:gd name="T4" fmla="*/ 2 w 6"/>
                <a:gd name="T5" fmla="*/ 5 h 6"/>
                <a:gd name="T6" fmla="*/ 2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2" y="0"/>
                  </a:lnTo>
                  <a:cubicBezTo>
                    <a:pt x="0" y="2"/>
                    <a:pt x="2" y="2"/>
                    <a:pt x="2" y="5"/>
                  </a:cubicBezTo>
                  <a:cubicBezTo>
                    <a:pt x="5" y="2"/>
                    <a:pt x="2" y="0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83" name="Freeform 210"/>
            <p:cNvSpPr>
              <a:spLocks noChangeArrowheads="1"/>
            </p:cNvSpPr>
            <p:nvPr/>
          </p:nvSpPr>
          <p:spPr bwMode="auto">
            <a:xfrm>
              <a:off x="4475163" y="2293938"/>
              <a:ext cx="1587" cy="1587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0"/>
                    <a:pt x="0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84" name="Freeform 211"/>
            <p:cNvSpPr>
              <a:spLocks noChangeArrowheads="1"/>
            </p:cNvSpPr>
            <p:nvPr/>
          </p:nvSpPr>
          <p:spPr bwMode="auto">
            <a:xfrm>
              <a:off x="4489450" y="2233613"/>
              <a:ext cx="3175" cy="3175"/>
            </a:xfrm>
            <a:custGeom>
              <a:avLst/>
              <a:gdLst>
                <a:gd name="T0" fmla="*/ 2 w 9"/>
                <a:gd name="T1" fmla="*/ 0 h 9"/>
                <a:gd name="T2" fmla="*/ 0 w 9"/>
                <a:gd name="T3" fmla="*/ 8 h 9"/>
                <a:gd name="T4" fmla="*/ 5 w 9"/>
                <a:gd name="T5" fmla="*/ 8 h 9"/>
                <a:gd name="T6" fmla="*/ 2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2" y="0"/>
                  </a:moveTo>
                  <a:cubicBezTo>
                    <a:pt x="2" y="3"/>
                    <a:pt x="0" y="3"/>
                    <a:pt x="0" y="8"/>
                  </a:cubicBezTo>
                  <a:lnTo>
                    <a:pt x="5" y="8"/>
                  </a:lnTo>
                  <a:cubicBezTo>
                    <a:pt x="8" y="5"/>
                    <a:pt x="8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85" name="Freeform 212"/>
            <p:cNvSpPr>
              <a:spLocks noChangeArrowheads="1"/>
            </p:cNvSpPr>
            <p:nvPr/>
          </p:nvSpPr>
          <p:spPr bwMode="auto">
            <a:xfrm>
              <a:off x="4502150" y="2347913"/>
              <a:ext cx="7938" cy="7937"/>
            </a:xfrm>
            <a:custGeom>
              <a:avLst/>
              <a:gdLst>
                <a:gd name="T0" fmla="*/ 15 w 24"/>
                <a:gd name="T1" fmla="*/ 23 h 24"/>
                <a:gd name="T2" fmla="*/ 12 w 24"/>
                <a:gd name="T3" fmla="*/ 9 h 24"/>
                <a:gd name="T4" fmla="*/ 23 w 24"/>
                <a:gd name="T5" fmla="*/ 6 h 24"/>
                <a:gd name="T6" fmla="*/ 23 w 24"/>
                <a:gd name="T7" fmla="*/ 0 h 24"/>
                <a:gd name="T8" fmla="*/ 12 w 24"/>
                <a:gd name="T9" fmla="*/ 0 h 24"/>
                <a:gd name="T10" fmla="*/ 0 w 24"/>
                <a:gd name="T11" fmla="*/ 6 h 24"/>
                <a:gd name="T12" fmla="*/ 0 w 24"/>
                <a:gd name="T13" fmla="*/ 6 h 24"/>
                <a:gd name="T14" fmla="*/ 15 w 24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15" y="23"/>
                  </a:moveTo>
                  <a:cubicBezTo>
                    <a:pt x="12" y="20"/>
                    <a:pt x="9" y="17"/>
                    <a:pt x="12" y="9"/>
                  </a:cubicBezTo>
                  <a:cubicBezTo>
                    <a:pt x="15" y="9"/>
                    <a:pt x="20" y="6"/>
                    <a:pt x="23" y="6"/>
                  </a:cubicBezTo>
                  <a:cubicBezTo>
                    <a:pt x="23" y="3"/>
                    <a:pt x="23" y="3"/>
                    <a:pt x="23" y="0"/>
                  </a:cubicBezTo>
                  <a:cubicBezTo>
                    <a:pt x="20" y="0"/>
                    <a:pt x="15" y="0"/>
                    <a:pt x="12" y="0"/>
                  </a:cubicBezTo>
                  <a:cubicBezTo>
                    <a:pt x="9" y="3"/>
                    <a:pt x="3" y="6"/>
                    <a:pt x="0" y="6"/>
                  </a:cubicBezTo>
                  <a:lnTo>
                    <a:pt x="0" y="6"/>
                  </a:lnTo>
                  <a:cubicBezTo>
                    <a:pt x="3" y="12"/>
                    <a:pt x="6" y="20"/>
                    <a:pt x="15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86" name="Freeform 213"/>
            <p:cNvSpPr>
              <a:spLocks noChangeArrowheads="1"/>
            </p:cNvSpPr>
            <p:nvPr/>
          </p:nvSpPr>
          <p:spPr bwMode="auto">
            <a:xfrm>
              <a:off x="4500563" y="2439988"/>
              <a:ext cx="1587" cy="1587"/>
            </a:xfrm>
            <a:custGeom>
              <a:avLst/>
              <a:gdLst>
                <a:gd name="T0" fmla="*/ 5 w 6"/>
                <a:gd name="T1" fmla="*/ 3 h 4"/>
                <a:gd name="T2" fmla="*/ 3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3" y="0"/>
                  </a:lnTo>
                  <a:cubicBezTo>
                    <a:pt x="0" y="0"/>
                    <a:pt x="3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87" name="Freeform 214"/>
            <p:cNvSpPr>
              <a:spLocks noChangeArrowheads="1"/>
            </p:cNvSpPr>
            <p:nvPr/>
          </p:nvSpPr>
          <p:spPr bwMode="auto">
            <a:xfrm>
              <a:off x="4465638" y="2347913"/>
              <a:ext cx="1587" cy="3175"/>
            </a:xfrm>
            <a:custGeom>
              <a:avLst/>
              <a:gdLst>
                <a:gd name="T0" fmla="*/ 0 w 6"/>
                <a:gd name="T1" fmla="*/ 6 h 7"/>
                <a:gd name="T2" fmla="*/ 5 w 6"/>
                <a:gd name="T3" fmla="*/ 6 h 7"/>
                <a:gd name="T4" fmla="*/ 5 w 6"/>
                <a:gd name="T5" fmla="*/ 3 h 7"/>
                <a:gd name="T6" fmla="*/ 0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6"/>
                  </a:moveTo>
                  <a:cubicBezTo>
                    <a:pt x="3" y="6"/>
                    <a:pt x="3" y="6"/>
                    <a:pt x="5" y="6"/>
                  </a:cubicBezTo>
                  <a:lnTo>
                    <a:pt x="5" y="3"/>
                  </a:lnTo>
                  <a:cubicBezTo>
                    <a:pt x="0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88" name="Freeform 215"/>
            <p:cNvSpPr>
              <a:spLocks noChangeArrowheads="1"/>
            </p:cNvSpPr>
            <p:nvPr/>
          </p:nvSpPr>
          <p:spPr bwMode="auto">
            <a:xfrm>
              <a:off x="4491038" y="2370138"/>
              <a:ext cx="6350" cy="7937"/>
            </a:xfrm>
            <a:custGeom>
              <a:avLst/>
              <a:gdLst>
                <a:gd name="T0" fmla="*/ 12 w 18"/>
                <a:gd name="T1" fmla="*/ 3 h 23"/>
                <a:gd name="T2" fmla="*/ 0 w 18"/>
                <a:gd name="T3" fmla="*/ 14 h 23"/>
                <a:gd name="T4" fmla="*/ 12 w 18"/>
                <a:gd name="T5" fmla="*/ 22 h 23"/>
                <a:gd name="T6" fmla="*/ 17 w 18"/>
                <a:gd name="T7" fmla="*/ 5 h 23"/>
                <a:gd name="T8" fmla="*/ 12 w 18"/>
                <a:gd name="T9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3">
                  <a:moveTo>
                    <a:pt x="12" y="3"/>
                  </a:moveTo>
                  <a:cubicBezTo>
                    <a:pt x="6" y="8"/>
                    <a:pt x="6" y="11"/>
                    <a:pt x="0" y="14"/>
                  </a:cubicBezTo>
                  <a:cubicBezTo>
                    <a:pt x="3" y="17"/>
                    <a:pt x="9" y="19"/>
                    <a:pt x="12" y="22"/>
                  </a:cubicBezTo>
                  <a:cubicBezTo>
                    <a:pt x="14" y="19"/>
                    <a:pt x="14" y="8"/>
                    <a:pt x="17" y="5"/>
                  </a:cubicBezTo>
                  <a:cubicBezTo>
                    <a:pt x="17" y="3"/>
                    <a:pt x="14" y="0"/>
                    <a:pt x="1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89" name="Freeform 216"/>
            <p:cNvSpPr>
              <a:spLocks noChangeArrowheads="1"/>
            </p:cNvSpPr>
            <p:nvPr/>
          </p:nvSpPr>
          <p:spPr bwMode="auto">
            <a:xfrm>
              <a:off x="4492625" y="2246313"/>
              <a:ext cx="3175" cy="3175"/>
            </a:xfrm>
            <a:custGeom>
              <a:avLst/>
              <a:gdLst>
                <a:gd name="T0" fmla="*/ 0 w 9"/>
                <a:gd name="T1" fmla="*/ 0 h 7"/>
                <a:gd name="T2" fmla="*/ 8 w 9"/>
                <a:gd name="T3" fmla="*/ 6 h 7"/>
                <a:gd name="T4" fmla="*/ 0 w 9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0" y="0"/>
                  </a:moveTo>
                  <a:cubicBezTo>
                    <a:pt x="3" y="3"/>
                    <a:pt x="6" y="6"/>
                    <a:pt x="8" y="6"/>
                  </a:cubicBezTo>
                  <a:cubicBezTo>
                    <a:pt x="6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90" name="Freeform 217"/>
            <p:cNvSpPr>
              <a:spLocks noChangeArrowheads="1"/>
            </p:cNvSpPr>
            <p:nvPr/>
          </p:nvSpPr>
          <p:spPr bwMode="auto">
            <a:xfrm>
              <a:off x="4494213" y="2328863"/>
              <a:ext cx="1587" cy="3175"/>
            </a:xfrm>
            <a:custGeom>
              <a:avLst/>
              <a:gdLst>
                <a:gd name="T0" fmla="*/ 0 w 6"/>
                <a:gd name="T1" fmla="*/ 3 h 7"/>
                <a:gd name="T2" fmla="*/ 5 w 6"/>
                <a:gd name="T3" fmla="*/ 6 h 7"/>
                <a:gd name="T4" fmla="*/ 0 w 6"/>
                <a:gd name="T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0" y="3"/>
                  </a:moveTo>
                  <a:cubicBezTo>
                    <a:pt x="2" y="3"/>
                    <a:pt x="2" y="6"/>
                    <a:pt x="5" y="6"/>
                  </a:cubicBezTo>
                  <a:cubicBezTo>
                    <a:pt x="2" y="3"/>
                    <a:pt x="2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91" name="Freeform 218"/>
            <p:cNvSpPr>
              <a:spLocks noChangeArrowheads="1"/>
            </p:cNvSpPr>
            <p:nvPr/>
          </p:nvSpPr>
          <p:spPr bwMode="auto">
            <a:xfrm>
              <a:off x="4497388" y="2854325"/>
              <a:ext cx="6350" cy="4763"/>
            </a:xfrm>
            <a:custGeom>
              <a:avLst/>
              <a:gdLst>
                <a:gd name="T0" fmla="*/ 6 w 18"/>
                <a:gd name="T1" fmla="*/ 14 h 15"/>
                <a:gd name="T2" fmla="*/ 14 w 18"/>
                <a:gd name="T3" fmla="*/ 0 h 15"/>
                <a:gd name="T4" fmla="*/ 0 w 18"/>
                <a:gd name="T5" fmla="*/ 9 h 15"/>
                <a:gd name="T6" fmla="*/ 6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6" y="14"/>
                  </a:moveTo>
                  <a:cubicBezTo>
                    <a:pt x="6" y="6"/>
                    <a:pt x="17" y="9"/>
                    <a:pt x="14" y="0"/>
                  </a:cubicBezTo>
                  <a:cubicBezTo>
                    <a:pt x="9" y="3"/>
                    <a:pt x="0" y="3"/>
                    <a:pt x="0" y="9"/>
                  </a:cubicBezTo>
                  <a:cubicBezTo>
                    <a:pt x="3" y="9"/>
                    <a:pt x="3" y="11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92" name="Freeform 219"/>
            <p:cNvSpPr>
              <a:spLocks noChangeArrowheads="1"/>
            </p:cNvSpPr>
            <p:nvPr/>
          </p:nvSpPr>
          <p:spPr bwMode="auto">
            <a:xfrm>
              <a:off x="4445000" y="2936875"/>
              <a:ext cx="4763" cy="1588"/>
            </a:xfrm>
            <a:custGeom>
              <a:avLst/>
              <a:gdLst>
                <a:gd name="T0" fmla="*/ 12 w 13"/>
                <a:gd name="T1" fmla="*/ 2 h 6"/>
                <a:gd name="T2" fmla="*/ 12 w 13"/>
                <a:gd name="T3" fmla="*/ 2 h 6"/>
                <a:gd name="T4" fmla="*/ 0 w 13"/>
                <a:gd name="T5" fmla="*/ 0 h 6"/>
                <a:gd name="T6" fmla="*/ 0 w 13"/>
                <a:gd name="T7" fmla="*/ 2 h 6"/>
                <a:gd name="T8" fmla="*/ 12 w 13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6">
                  <a:moveTo>
                    <a:pt x="12" y="2"/>
                  </a:moveTo>
                  <a:cubicBezTo>
                    <a:pt x="12" y="0"/>
                    <a:pt x="9" y="0"/>
                    <a:pt x="12" y="2"/>
                  </a:cubicBezTo>
                  <a:lnTo>
                    <a:pt x="0" y="0"/>
                  </a:lnTo>
                  <a:lnTo>
                    <a:pt x="0" y="2"/>
                  </a:lnTo>
                  <a:cubicBezTo>
                    <a:pt x="3" y="5"/>
                    <a:pt x="6" y="2"/>
                    <a:pt x="12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93" name="Freeform 220"/>
            <p:cNvSpPr>
              <a:spLocks noChangeArrowheads="1"/>
            </p:cNvSpPr>
            <p:nvPr/>
          </p:nvSpPr>
          <p:spPr bwMode="auto">
            <a:xfrm>
              <a:off x="4464050" y="2332038"/>
              <a:ext cx="3175" cy="3175"/>
            </a:xfrm>
            <a:custGeom>
              <a:avLst/>
              <a:gdLst>
                <a:gd name="T0" fmla="*/ 6 w 7"/>
                <a:gd name="T1" fmla="*/ 3 h 10"/>
                <a:gd name="T2" fmla="*/ 0 w 7"/>
                <a:gd name="T3" fmla="*/ 0 h 10"/>
                <a:gd name="T4" fmla="*/ 0 w 7"/>
                <a:gd name="T5" fmla="*/ 9 h 10"/>
                <a:gd name="T6" fmla="*/ 6 w 7"/>
                <a:gd name="T7" fmla="*/ 9 h 10"/>
                <a:gd name="T8" fmla="*/ 6 w 7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6" y="3"/>
                  </a:moveTo>
                  <a:cubicBezTo>
                    <a:pt x="3" y="3"/>
                    <a:pt x="3" y="0"/>
                    <a:pt x="0" y="0"/>
                  </a:cubicBezTo>
                  <a:lnTo>
                    <a:pt x="0" y="9"/>
                  </a:lnTo>
                  <a:lnTo>
                    <a:pt x="6" y="9"/>
                  </a:lnTo>
                  <a:cubicBezTo>
                    <a:pt x="6" y="9"/>
                    <a:pt x="6" y="6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94" name="Freeform 221"/>
            <p:cNvSpPr>
              <a:spLocks noChangeArrowheads="1"/>
            </p:cNvSpPr>
            <p:nvPr/>
          </p:nvSpPr>
          <p:spPr bwMode="auto">
            <a:xfrm>
              <a:off x="4365625" y="2352675"/>
              <a:ext cx="4763" cy="11113"/>
            </a:xfrm>
            <a:custGeom>
              <a:avLst/>
              <a:gdLst>
                <a:gd name="T0" fmla="*/ 0 w 13"/>
                <a:gd name="T1" fmla="*/ 8 h 32"/>
                <a:gd name="T2" fmla="*/ 6 w 13"/>
                <a:gd name="T3" fmla="*/ 31 h 32"/>
                <a:gd name="T4" fmla="*/ 6 w 13"/>
                <a:gd name="T5" fmla="*/ 31 h 32"/>
                <a:gd name="T6" fmla="*/ 12 w 13"/>
                <a:gd name="T7" fmla="*/ 0 h 32"/>
                <a:gd name="T8" fmla="*/ 0 w 13"/>
                <a:gd name="T9" fmla="*/ 2 h 32"/>
                <a:gd name="T10" fmla="*/ 0 w 13"/>
                <a:gd name="T11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2">
                  <a:moveTo>
                    <a:pt x="0" y="8"/>
                  </a:moveTo>
                  <a:cubicBezTo>
                    <a:pt x="0" y="16"/>
                    <a:pt x="3" y="25"/>
                    <a:pt x="6" y="31"/>
                  </a:cubicBezTo>
                  <a:lnTo>
                    <a:pt x="6" y="31"/>
                  </a:lnTo>
                  <a:cubicBezTo>
                    <a:pt x="3" y="19"/>
                    <a:pt x="6" y="8"/>
                    <a:pt x="12" y="0"/>
                  </a:cubicBezTo>
                  <a:cubicBezTo>
                    <a:pt x="9" y="2"/>
                    <a:pt x="6" y="2"/>
                    <a:pt x="0" y="2"/>
                  </a:cubicBezTo>
                  <a:cubicBezTo>
                    <a:pt x="0" y="5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95" name="Freeform 222"/>
            <p:cNvSpPr>
              <a:spLocks noChangeArrowheads="1"/>
            </p:cNvSpPr>
            <p:nvPr/>
          </p:nvSpPr>
          <p:spPr bwMode="auto">
            <a:xfrm>
              <a:off x="4446588" y="2243138"/>
              <a:ext cx="4762" cy="4762"/>
            </a:xfrm>
            <a:custGeom>
              <a:avLst/>
              <a:gdLst>
                <a:gd name="T0" fmla="*/ 6 w 12"/>
                <a:gd name="T1" fmla="*/ 14 h 15"/>
                <a:gd name="T2" fmla="*/ 11 w 12"/>
                <a:gd name="T3" fmla="*/ 6 h 15"/>
                <a:gd name="T4" fmla="*/ 0 w 12"/>
                <a:gd name="T5" fmla="*/ 0 h 15"/>
                <a:gd name="T6" fmla="*/ 3 w 12"/>
                <a:gd name="T7" fmla="*/ 14 h 15"/>
                <a:gd name="T8" fmla="*/ 6 w 12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6" y="14"/>
                  </a:moveTo>
                  <a:cubicBezTo>
                    <a:pt x="9" y="11"/>
                    <a:pt x="9" y="8"/>
                    <a:pt x="11" y="6"/>
                  </a:cubicBezTo>
                  <a:cubicBezTo>
                    <a:pt x="9" y="3"/>
                    <a:pt x="6" y="3"/>
                    <a:pt x="0" y="0"/>
                  </a:cubicBezTo>
                  <a:cubicBezTo>
                    <a:pt x="0" y="6"/>
                    <a:pt x="0" y="8"/>
                    <a:pt x="3" y="14"/>
                  </a:cubicBezTo>
                  <a:cubicBezTo>
                    <a:pt x="6" y="14"/>
                    <a:pt x="6" y="14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96" name="Freeform 223"/>
            <p:cNvSpPr>
              <a:spLocks noChangeArrowheads="1"/>
            </p:cNvSpPr>
            <p:nvPr/>
          </p:nvSpPr>
          <p:spPr bwMode="auto">
            <a:xfrm>
              <a:off x="4352925" y="2555875"/>
              <a:ext cx="1588" cy="1588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0 h 4"/>
                <a:gd name="T4" fmla="*/ 3 w 4"/>
                <a:gd name="T5" fmla="*/ 3 h 4"/>
                <a:gd name="T6" fmla="*/ 0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0"/>
                  </a:lnTo>
                  <a:cubicBezTo>
                    <a:pt x="3" y="3"/>
                    <a:pt x="3" y="3"/>
                    <a:pt x="3" y="3"/>
                  </a:cubicBezTo>
                  <a:cubicBezTo>
                    <a:pt x="3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97" name="Freeform 224"/>
            <p:cNvSpPr>
              <a:spLocks noChangeArrowheads="1"/>
            </p:cNvSpPr>
            <p:nvPr/>
          </p:nvSpPr>
          <p:spPr bwMode="auto">
            <a:xfrm>
              <a:off x="4370388" y="2332038"/>
              <a:ext cx="1587" cy="3175"/>
            </a:xfrm>
            <a:custGeom>
              <a:avLst/>
              <a:gdLst>
                <a:gd name="T0" fmla="*/ 5 w 6"/>
                <a:gd name="T1" fmla="*/ 9 h 10"/>
                <a:gd name="T2" fmla="*/ 5 w 6"/>
                <a:gd name="T3" fmla="*/ 0 h 10"/>
                <a:gd name="T4" fmla="*/ 0 w 6"/>
                <a:gd name="T5" fmla="*/ 0 h 10"/>
                <a:gd name="T6" fmla="*/ 0 w 6"/>
                <a:gd name="T7" fmla="*/ 9 h 10"/>
                <a:gd name="T8" fmla="*/ 5 w 6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5" y="9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5" y="9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98" name="Freeform 225"/>
            <p:cNvSpPr>
              <a:spLocks noChangeArrowheads="1"/>
            </p:cNvSpPr>
            <p:nvPr/>
          </p:nvSpPr>
          <p:spPr bwMode="auto">
            <a:xfrm>
              <a:off x="4456113" y="2811463"/>
              <a:ext cx="3175" cy="1587"/>
            </a:xfrm>
            <a:custGeom>
              <a:avLst/>
              <a:gdLst>
                <a:gd name="T0" fmla="*/ 0 w 7"/>
                <a:gd name="T1" fmla="*/ 0 h 4"/>
                <a:gd name="T2" fmla="*/ 0 w 7"/>
                <a:gd name="T3" fmla="*/ 0 h 4"/>
                <a:gd name="T4" fmla="*/ 6 w 7"/>
                <a:gd name="T5" fmla="*/ 0 h 4"/>
                <a:gd name="T6" fmla="*/ 6 w 7"/>
                <a:gd name="T7" fmla="*/ 0 h 4"/>
                <a:gd name="T8" fmla="*/ 0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lnTo>
                    <a:pt x="0" y="0"/>
                  </a:lnTo>
                  <a:cubicBezTo>
                    <a:pt x="3" y="3"/>
                    <a:pt x="6" y="0"/>
                    <a:pt x="6" y="0"/>
                  </a:cubicBezTo>
                  <a:lnTo>
                    <a:pt x="6" y="0"/>
                  </a:ln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99" name="Freeform 226"/>
            <p:cNvSpPr>
              <a:spLocks noChangeArrowheads="1"/>
            </p:cNvSpPr>
            <p:nvPr/>
          </p:nvSpPr>
          <p:spPr bwMode="auto">
            <a:xfrm>
              <a:off x="4459288" y="2670175"/>
              <a:ext cx="3175" cy="1588"/>
            </a:xfrm>
            <a:custGeom>
              <a:avLst/>
              <a:gdLst>
                <a:gd name="T0" fmla="*/ 0 w 9"/>
                <a:gd name="T1" fmla="*/ 0 h 4"/>
                <a:gd name="T2" fmla="*/ 0 w 9"/>
                <a:gd name="T3" fmla="*/ 3 h 4"/>
                <a:gd name="T4" fmla="*/ 8 w 9"/>
                <a:gd name="T5" fmla="*/ 0 h 4"/>
                <a:gd name="T6" fmla="*/ 0 w 9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4">
                  <a:moveTo>
                    <a:pt x="0" y="0"/>
                  </a:moveTo>
                  <a:lnTo>
                    <a:pt x="0" y="3"/>
                  </a:lnTo>
                  <a:cubicBezTo>
                    <a:pt x="3" y="3"/>
                    <a:pt x="6" y="0"/>
                    <a:pt x="8" y="0"/>
                  </a:cubicBezTo>
                  <a:cubicBezTo>
                    <a:pt x="6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00" name="Freeform 227"/>
            <p:cNvSpPr>
              <a:spLocks noChangeArrowheads="1"/>
            </p:cNvSpPr>
            <p:nvPr/>
          </p:nvSpPr>
          <p:spPr bwMode="auto">
            <a:xfrm>
              <a:off x="4459288" y="2266950"/>
              <a:ext cx="3175" cy="3175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6 w 7"/>
                <a:gd name="T5" fmla="*/ 8 h 9"/>
                <a:gd name="T6" fmla="*/ 3 w 7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cubicBezTo>
                    <a:pt x="3" y="0"/>
                    <a:pt x="0" y="0"/>
                    <a:pt x="3" y="0"/>
                  </a:cubicBezTo>
                  <a:cubicBezTo>
                    <a:pt x="0" y="3"/>
                    <a:pt x="3" y="8"/>
                    <a:pt x="6" y="8"/>
                  </a:cubicBezTo>
                  <a:cubicBezTo>
                    <a:pt x="3" y="5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01" name="Freeform 228"/>
            <p:cNvSpPr>
              <a:spLocks noChangeArrowheads="1"/>
            </p:cNvSpPr>
            <p:nvPr/>
          </p:nvSpPr>
          <p:spPr bwMode="auto">
            <a:xfrm>
              <a:off x="4456113" y="2565400"/>
              <a:ext cx="3175" cy="3175"/>
            </a:xfrm>
            <a:custGeom>
              <a:avLst/>
              <a:gdLst>
                <a:gd name="T0" fmla="*/ 0 w 7"/>
                <a:gd name="T1" fmla="*/ 3 h 7"/>
                <a:gd name="T2" fmla="*/ 6 w 7"/>
                <a:gd name="T3" fmla="*/ 6 h 7"/>
                <a:gd name="T4" fmla="*/ 6 w 7"/>
                <a:gd name="T5" fmla="*/ 0 h 7"/>
                <a:gd name="T6" fmla="*/ 0 w 7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3"/>
                  </a:moveTo>
                  <a:cubicBezTo>
                    <a:pt x="3" y="3"/>
                    <a:pt x="6" y="3"/>
                    <a:pt x="6" y="6"/>
                  </a:cubicBezTo>
                  <a:lnTo>
                    <a:pt x="6" y="0"/>
                  </a:lnTo>
                  <a:cubicBezTo>
                    <a:pt x="6" y="0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02" name="Freeform 229"/>
            <p:cNvSpPr>
              <a:spLocks noChangeArrowheads="1"/>
            </p:cNvSpPr>
            <p:nvPr/>
          </p:nvSpPr>
          <p:spPr bwMode="auto">
            <a:xfrm>
              <a:off x="4452938" y="2379663"/>
              <a:ext cx="3175" cy="3175"/>
            </a:xfrm>
            <a:custGeom>
              <a:avLst/>
              <a:gdLst>
                <a:gd name="T0" fmla="*/ 8 w 9"/>
                <a:gd name="T1" fmla="*/ 3 h 9"/>
                <a:gd name="T2" fmla="*/ 8 w 9"/>
                <a:gd name="T3" fmla="*/ 3 h 9"/>
                <a:gd name="T4" fmla="*/ 8 w 9"/>
                <a:gd name="T5" fmla="*/ 3 h 9"/>
                <a:gd name="T6" fmla="*/ 3 w 9"/>
                <a:gd name="T7" fmla="*/ 0 h 9"/>
                <a:gd name="T8" fmla="*/ 0 w 9"/>
                <a:gd name="T9" fmla="*/ 6 h 9"/>
                <a:gd name="T10" fmla="*/ 8 w 9"/>
                <a:gd name="T11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9">
                  <a:moveTo>
                    <a:pt x="8" y="3"/>
                  </a:moveTo>
                  <a:lnTo>
                    <a:pt x="8" y="3"/>
                  </a:lnTo>
                  <a:lnTo>
                    <a:pt x="8" y="3"/>
                  </a:lnTo>
                  <a:cubicBezTo>
                    <a:pt x="6" y="0"/>
                    <a:pt x="3" y="0"/>
                    <a:pt x="3" y="0"/>
                  </a:cubicBezTo>
                  <a:cubicBezTo>
                    <a:pt x="0" y="3"/>
                    <a:pt x="0" y="3"/>
                    <a:pt x="0" y="6"/>
                  </a:cubicBezTo>
                  <a:cubicBezTo>
                    <a:pt x="6" y="8"/>
                    <a:pt x="8" y="8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03" name="Freeform 230"/>
            <p:cNvSpPr>
              <a:spLocks noChangeArrowheads="1"/>
            </p:cNvSpPr>
            <p:nvPr/>
          </p:nvSpPr>
          <p:spPr bwMode="auto">
            <a:xfrm>
              <a:off x="4449763" y="2941638"/>
              <a:ext cx="7937" cy="1587"/>
            </a:xfrm>
            <a:custGeom>
              <a:avLst/>
              <a:gdLst>
                <a:gd name="T0" fmla="*/ 2 w 20"/>
                <a:gd name="T1" fmla="*/ 2 h 3"/>
                <a:gd name="T2" fmla="*/ 2 w 20"/>
                <a:gd name="T3" fmla="*/ 2 h 3"/>
                <a:gd name="T4" fmla="*/ 2 w 20"/>
                <a:gd name="T5" fmla="*/ 2 h 3"/>
                <a:gd name="T6" fmla="*/ 19 w 20"/>
                <a:gd name="T7" fmla="*/ 0 h 3"/>
                <a:gd name="T8" fmla="*/ 0 w 20"/>
                <a:gd name="T9" fmla="*/ 0 h 3"/>
                <a:gd name="T10" fmla="*/ 2 w 20"/>
                <a:gd name="T1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cubicBezTo>
                    <a:pt x="8" y="2"/>
                    <a:pt x="14" y="2"/>
                    <a:pt x="19" y="0"/>
                  </a:cubicBezTo>
                  <a:lnTo>
                    <a:pt x="0" y="0"/>
                  </a:lnTo>
                  <a:cubicBezTo>
                    <a:pt x="0" y="2"/>
                    <a:pt x="0" y="2"/>
                    <a:pt x="2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04" name="Freeform 231"/>
            <p:cNvSpPr>
              <a:spLocks noChangeArrowheads="1"/>
            </p:cNvSpPr>
            <p:nvPr/>
          </p:nvSpPr>
          <p:spPr bwMode="auto">
            <a:xfrm>
              <a:off x="4456113" y="2422525"/>
              <a:ext cx="1587" cy="1588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3 h 4"/>
                <a:gd name="T4" fmla="*/ 2 w 3"/>
                <a:gd name="T5" fmla="*/ 3 h 4"/>
                <a:gd name="T6" fmla="*/ 2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lnTo>
                    <a:pt x="0" y="3"/>
                  </a:lnTo>
                  <a:lnTo>
                    <a:pt x="2" y="3"/>
                  </a:ln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05" name="Freeform 232"/>
            <p:cNvSpPr>
              <a:spLocks noChangeArrowheads="1"/>
            </p:cNvSpPr>
            <p:nvPr/>
          </p:nvSpPr>
          <p:spPr bwMode="auto">
            <a:xfrm>
              <a:off x="4344988" y="2320925"/>
              <a:ext cx="4762" cy="3175"/>
            </a:xfrm>
            <a:custGeom>
              <a:avLst/>
              <a:gdLst>
                <a:gd name="T0" fmla="*/ 3 w 15"/>
                <a:gd name="T1" fmla="*/ 6 h 10"/>
                <a:gd name="T2" fmla="*/ 11 w 15"/>
                <a:gd name="T3" fmla="*/ 6 h 10"/>
                <a:gd name="T4" fmla="*/ 11 w 15"/>
                <a:gd name="T5" fmla="*/ 0 h 10"/>
                <a:gd name="T6" fmla="*/ 0 w 15"/>
                <a:gd name="T7" fmla="*/ 0 h 10"/>
                <a:gd name="T8" fmla="*/ 3 w 15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0">
                  <a:moveTo>
                    <a:pt x="3" y="6"/>
                  </a:moveTo>
                  <a:cubicBezTo>
                    <a:pt x="6" y="9"/>
                    <a:pt x="9" y="9"/>
                    <a:pt x="11" y="6"/>
                  </a:cubicBezTo>
                  <a:cubicBezTo>
                    <a:pt x="14" y="3"/>
                    <a:pt x="14" y="3"/>
                    <a:pt x="11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06" name="Freeform 233"/>
            <p:cNvSpPr>
              <a:spLocks noChangeArrowheads="1"/>
            </p:cNvSpPr>
            <p:nvPr/>
          </p:nvSpPr>
          <p:spPr bwMode="auto">
            <a:xfrm>
              <a:off x="4413250" y="2333625"/>
              <a:ext cx="4763" cy="4763"/>
            </a:xfrm>
            <a:custGeom>
              <a:avLst/>
              <a:gdLst>
                <a:gd name="T0" fmla="*/ 9 w 12"/>
                <a:gd name="T1" fmla="*/ 11 h 12"/>
                <a:gd name="T2" fmla="*/ 11 w 12"/>
                <a:gd name="T3" fmla="*/ 3 h 12"/>
                <a:gd name="T4" fmla="*/ 6 w 12"/>
                <a:gd name="T5" fmla="*/ 0 h 12"/>
                <a:gd name="T6" fmla="*/ 6 w 12"/>
                <a:gd name="T7" fmla="*/ 0 h 12"/>
                <a:gd name="T8" fmla="*/ 3 w 12"/>
                <a:gd name="T9" fmla="*/ 0 h 12"/>
                <a:gd name="T10" fmla="*/ 9 w 12"/>
                <a:gd name="T11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9" y="11"/>
                  </a:moveTo>
                  <a:cubicBezTo>
                    <a:pt x="11" y="8"/>
                    <a:pt x="11" y="6"/>
                    <a:pt x="11" y="3"/>
                  </a:cubicBezTo>
                  <a:cubicBezTo>
                    <a:pt x="9" y="3"/>
                    <a:pt x="9" y="3"/>
                    <a:pt x="6" y="0"/>
                  </a:cubicBezTo>
                  <a:lnTo>
                    <a:pt x="6" y="0"/>
                  </a:lnTo>
                  <a:cubicBezTo>
                    <a:pt x="6" y="0"/>
                    <a:pt x="6" y="0"/>
                    <a:pt x="3" y="0"/>
                  </a:cubicBezTo>
                  <a:cubicBezTo>
                    <a:pt x="0" y="3"/>
                    <a:pt x="0" y="11"/>
                    <a:pt x="9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07" name="Freeform 234"/>
            <p:cNvSpPr>
              <a:spLocks noChangeArrowheads="1"/>
            </p:cNvSpPr>
            <p:nvPr/>
          </p:nvSpPr>
          <p:spPr bwMode="auto">
            <a:xfrm>
              <a:off x="4344988" y="2425700"/>
              <a:ext cx="1587" cy="1588"/>
            </a:xfrm>
            <a:custGeom>
              <a:avLst/>
              <a:gdLst>
                <a:gd name="T0" fmla="*/ 0 w 4"/>
                <a:gd name="T1" fmla="*/ 0 h 4"/>
                <a:gd name="T2" fmla="*/ 3 w 4"/>
                <a:gd name="T3" fmla="*/ 0 h 4"/>
                <a:gd name="T4" fmla="*/ 0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3" y="0"/>
                  </a:lnTo>
                  <a:cubicBezTo>
                    <a:pt x="0" y="3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08" name="Freeform 235"/>
            <p:cNvSpPr>
              <a:spLocks noChangeArrowheads="1"/>
            </p:cNvSpPr>
            <p:nvPr/>
          </p:nvSpPr>
          <p:spPr bwMode="auto">
            <a:xfrm>
              <a:off x="4195763" y="2681288"/>
              <a:ext cx="4762" cy="4762"/>
            </a:xfrm>
            <a:custGeom>
              <a:avLst/>
              <a:gdLst>
                <a:gd name="T0" fmla="*/ 12 w 13"/>
                <a:gd name="T1" fmla="*/ 0 h 12"/>
                <a:gd name="T2" fmla="*/ 0 w 13"/>
                <a:gd name="T3" fmla="*/ 5 h 12"/>
                <a:gd name="T4" fmla="*/ 0 w 13"/>
                <a:gd name="T5" fmla="*/ 11 h 12"/>
                <a:gd name="T6" fmla="*/ 12 w 13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2">
                  <a:moveTo>
                    <a:pt x="12" y="0"/>
                  </a:moveTo>
                  <a:cubicBezTo>
                    <a:pt x="9" y="0"/>
                    <a:pt x="3" y="3"/>
                    <a:pt x="0" y="5"/>
                  </a:cubicBezTo>
                  <a:cubicBezTo>
                    <a:pt x="0" y="8"/>
                    <a:pt x="0" y="8"/>
                    <a:pt x="0" y="11"/>
                  </a:cubicBezTo>
                  <a:cubicBezTo>
                    <a:pt x="6" y="8"/>
                    <a:pt x="9" y="5"/>
                    <a:pt x="1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09" name="Freeform 236"/>
            <p:cNvSpPr>
              <a:spLocks noChangeArrowheads="1"/>
            </p:cNvSpPr>
            <p:nvPr/>
          </p:nvSpPr>
          <p:spPr bwMode="auto">
            <a:xfrm>
              <a:off x="4405313" y="2203450"/>
              <a:ext cx="3175" cy="3175"/>
            </a:xfrm>
            <a:custGeom>
              <a:avLst/>
              <a:gdLst>
                <a:gd name="T0" fmla="*/ 6 w 10"/>
                <a:gd name="T1" fmla="*/ 6 h 7"/>
                <a:gd name="T2" fmla="*/ 9 w 10"/>
                <a:gd name="T3" fmla="*/ 3 h 7"/>
                <a:gd name="T4" fmla="*/ 0 w 10"/>
                <a:gd name="T5" fmla="*/ 3 h 7"/>
                <a:gd name="T6" fmla="*/ 6 w 10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6" y="6"/>
                  </a:moveTo>
                  <a:cubicBezTo>
                    <a:pt x="6" y="3"/>
                    <a:pt x="9" y="3"/>
                    <a:pt x="9" y="3"/>
                  </a:cubicBezTo>
                  <a:cubicBezTo>
                    <a:pt x="6" y="0"/>
                    <a:pt x="3" y="3"/>
                    <a:pt x="0" y="3"/>
                  </a:cubicBezTo>
                  <a:cubicBezTo>
                    <a:pt x="0" y="6"/>
                    <a:pt x="3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10" name="Freeform 237"/>
            <p:cNvSpPr>
              <a:spLocks noChangeArrowheads="1"/>
            </p:cNvSpPr>
            <p:nvPr/>
          </p:nvSpPr>
          <p:spPr bwMode="auto">
            <a:xfrm>
              <a:off x="4278313" y="2568575"/>
              <a:ext cx="3175" cy="3175"/>
            </a:xfrm>
            <a:custGeom>
              <a:avLst/>
              <a:gdLst>
                <a:gd name="T0" fmla="*/ 0 w 9"/>
                <a:gd name="T1" fmla="*/ 2 h 9"/>
                <a:gd name="T2" fmla="*/ 2 w 9"/>
                <a:gd name="T3" fmla="*/ 8 h 9"/>
                <a:gd name="T4" fmla="*/ 8 w 9"/>
                <a:gd name="T5" fmla="*/ 2 h 9"/>
                <a:gd name="T6" fmla="*/ 0 w 9"/>
                <a:gd name="T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0" y="2"/>
                  </a:moveTo>
                  <a:cubicBezTo>
                    <a:pt x="0" y="5"/>
                    <a:pt x="2" y="5"/>
                    <a:pt x="2" y="8"/>
                  </a:cubicBezTo>
                  <a:cubicBezTo>
                    <a:pt x="5" y="8"/>
                    <a:pt x="8" y="5"/>
                    <a:pt x="8" y="2"/>
                  </a:cubicBezTo>
                  <a:cubicBezTo>
                    <a:pt x="2" y="0"/>
                    <a:pt x="0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11" name="Freeform 238"/>
            <p:cNvSpPr>
              <a:spLocks noChangeArrowheads="1"/>
            </p:cNvSpPr>
            <p:nvPr/>
          </p:nvSpPr>
          <p:spPr bwMode="auto">
            <a:xfrm>
              <a:off x="4206875" y="2436813"/>
              <a:ext cx="3175" cy="3175"/>
            </a:xfrm>
            <a:custGeom>
              <a:avLst/>
              <a:gdLst>
                <a:gd name="T0" fmla="*/ 6 w 10"/>
                <a:gd name="T1" fmla="*/ 8 h 9"/>
                <a:gd name="T2" fmla="*/ 6 w 10"/>
                <a:gd name="T3" fmla="*/ 3 h 9"/>
                <a:gd name="T4" fmla="*/ 0 w 10"/>
                <a:gd name="T5" fmla="*/ 0 h 9"/>
                <a:gd name="T6" fmla="*/ 6 w 10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6" y="8"/>
                  </a:moveTo>
                  <a:cubicBezTo>
                    <a:pt x="6" y="5"/>
                    <a:pt x="9" y="5"/>
                    <a:pt x="6" y="3"/>
                  </a:cubicBezTo>
                  <a:cubicBezTo>
                    <a:pt x="3" y="3"/>
                    <a:pt x="0" y="0"/>
                    <a:pt x="0" y="0"/>
                  </a:cubicBezTo>
                  <a:cubicBezTo>
                    <a:pt x="0" y="5"/>
                    <a:pt x="3" y="8"/>
                    <a:pt x="6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12" name="Freeform 239"/>
            <p:cNvSpPr>
              <a:spLocks noChangeArrowheads="1"/>
            </p:cNvSpPr>
            <p:nvPr/>
          </p:nvSpPr>
          <p:spPr bwMode="auto">
            <a:xfrm>
              <a:off x="4352925" y="2400300"/>
              <a:ext cx="4763" cy="3175"/>
            </a:xfrm>
            <a:custGeom>
              <a:avLst/>
              <a:gdLst>
                <a:gd name="T0" fmla="*/ 14 w 15"/>
                <a:gd name="T1" fmla="*/ 0 h 7"/>
                <a:gd name="T2" fmla="*/ 0 w 15"/>
                <a:gd name="T3" fmla="*/ 0 h 7"/>
                <a:gd name="T4" fmla="*/ 2 w 15"/>
                <a:gd name="T5" fmla="*/ 6 h 7"/>
                <a:gd name="T6" fmla="*/ 14 w 15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14" y="0"/>
                  </a:moveTo>
                  <a:cubicBezTo>
                    <a:pt x="8" y="0"/>
                    <a:pt x="5" y="0"/>
                    <a:pt x="0" y="0"/>
                  </a:cubicBezTo>
                  <a:cubicBezTo>
                    <a:pt x="0" y="3"/>
                    <a:pt x="2" y="3"/>
                    <a:pt x="2" y="6"/>
                  </a:cubicBezTo>
                  <a:cubicBezTo>
                    <a:pt x="5" y="3"/>
                    <a:pt x="11" y="3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13" name="Freeform 240"/>
            <p:cNvSpPr>
              <a:spLocks noChangeArrowheads="1"/>
            </p:cNvSpPr>
            <p:nvPr/>
          </p:nvSpPr>
          <p:spPr bwMode="auto">
            <a:xfrm>
              <a:off x="4202113" y="2528888"/>
              <a:ext cx="3175" cy="1587"/>
            </a:xfrm>
            <a:custGeom>
              <a:avLst/>
              <a:gdLst>
                <a:gd name="T0" fmla="*/ 0 w 7"/>
                <a:gd name="T1" fmla="*/ 0 h 6"/>
                <a:gd name="T2" fmla="*/ 3 w 7"/>
                <a:gd name="T3" fmla="*/ 5 h 6"/>
                <a:gd name="T4" fmla="*/ 6 w 7"/>
                <a:gd name="T5" fmla="*/ 2 h 6"/>
                <a:gd name="T6" fmla="*/ 0 w 7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cubicBezTo>
                    <a:pt x="0" y="2"/>
                    <a:pt x="3" y="2"/>
                    <a:pt x="3" y="5"/>
                  </a:cubicBezTo>
                  <a:cubicBezTo>
                    <a:pt x="3" y="2"/>
                    <a:pt x="6" y="2"/>
                    <a:pt x="6" y="2"/>
                  </a:cubicBez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14" name="Freeform 241"/>
            <p:cNvSpPr>
              <a:spLocks noChangeArrowheads="1"/>
            </p:cNvSpPr>
            <p:nvPr/>
          </p:nvSpPr>
          <p:spPr bwMode="auto">
            <a:xfrm>
              <a:off x="4194175" y="2886075"/>
              <a:ext cx="4763" cy="3175"/>
            </a:xfrm>
            <a:custGeom>
              <a:avLst/>
              <a:gdLst>
                <a:gd name="T0" fmla="*/ 9 w 13"/>
                <a:gd name="T1" fmla="*/ 3 h 7"/>
                <a:gd name="T2" fmla="*/ 6 w 13"/>
                <a:gd name="T3" fmla="*/ 0 h 7"/>
                <a:gd name="T4" fmla="*/ 0 w 13"/>
                <a:gd name="T5" fmla="*/ 6 h 7"/>
                <a:gd name="T6" fmla="*/ 9 w 13"/>
                <a:gd name="T7" fmla="*/ 6 h 7"/>
                <a:gd name="T8" fmla="*/ 9 w 1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9" y="3"/>
                  </a:moveTo>
                  <a:lnTo>
                    <a:pt x="6" y="0"/>
                  </a:lnTo>
                  <a:cubicBezTo>
                    <a:pt x="3" y="0"/>
                    <a:pt x="3" y="3"/>
                    <a:pt x="0" y="6"/>
                  </a:cubicBezTo>
                  <a:cubicBezTo>
                    <a:pt x="3" y="6"/>
                    <a:pt x="6" y="6"/>
                    <a:pt x="9" y="6"/>
                  </a:cubicBezTo>
                  <a:cubicBezTo>
                    <a:pt x="12" y="6"/>
                    <a:pt x="12" y="6"/>
                    <a:pt x="9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15" name="Freeform 242"/>
            <p:cNvSpPr>
              <a:spLocks noChangeArrowheads="1"/>
            </p:cNvSpPr>
            <p:nvPr/>
          </p:nvSpPr>
          <p:spPr bwMode="auto">
            <a:xfrm>
              <a:off x="4208463" y="2895600"/>
              <a:ext cx="3175" cy="3175"/>
            </a:xfrm>
            <a:custGeom>
              <a:avLst/>
              <a:gdLst>
                <a:gd name="T0" fmla="*/ 0 w 7"/>
                <a:gd name="T1" fmla="*/ 8 h 9"/>
                <a:gd name="T2" fmla="*/ 6 w 7"/>
                <a:gd name="T3" fmla="*/ 3 h 9"/>
                <a:gd name="T4" fmla="*/ 0 w 7"/>
                <a:gd name="T5" fmla="*/ 0 h 9"/>
                <a:gd name="T6" fmla="*/ 0 w 7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0" y="8"/>
                  </a:moveTo>
                  <a:cubicBezTo>
                    <a:pt x="3" y="8"/>
                    <a:pt x="6" y="5"/>
                    <a:pt x="6" y="3"/>
                  </a:cubicBezTo>
                  <a:cubicBezTo>
                    <a:pt x="6" y="3"/>
                    <a:pt x="3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16" name="Freeform 243"/>
            <p:cNvSpPr>
              <a:spLocks noChangeArrowheads="1"/>
            </p:cNvSpPr>
            <p:nvPr/>
          </p:nvSpPr>
          <p:spPr bwMode="auto">
            <a:xfrm>
              <a:off x="4198938" y="2732088"/>
              <a:ext cx="4762" cy="3175"/>
            </a:xfrm>
            <a:custGeom>
              <a:avLst/>
              <a:gdLst>
                <a:gd name="T0" fmla="*/ 0 w 15"/>
                <a:gd name="T1" fmla="*/ 2 h 9"/>
                <a:gd name="T2" fmla="*/ 11 w 15"/>
                <a:gd name="T3" fmla="*/ 8 h 9"/>
                <a:gd name="T4" fmla="*/ 14 w 15"/>
                <a:gd name="T5" fmla="*/ 5 h 9"/>
                <a:gd name="T6" fmla="*/ 0 w 15"/>
                <a:gd name="T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9">
                  <a:moveTo>
                    <a:pt x="0" y="2"/>
                  </a:moveTo>
                  <a:cubicBezTo>
                    <a:pt x="3" y="5"/>
                    <a:pt x="5" y="8"/>
                    <a:pt x="11" y="8"/>
                  </a:cubicBezTo>
                  <a:cubicBezTo>
                    <a:pt x="11" y="8"/>
                    <a:pt x="11" y="8"/>
                    <a:pt x="14" y="5"/>
                  </a:cubicBezTo>
                  <a:cubicBezTo>
                    <a:pt x="11" y="2"/>
                    <a:pt x="5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17" name="Freeform 244"/>
            <p:cNvSpPr>
              <a:spLocks noChangeArrowheads="1"/>
            </p:cNvSpPr>
            <p:nvPr/>
          </p:nvSpPr>
          <p:spPr bwMode="auto">
            <a:xfrm>
              <a:off x="4197350" y="3068638"/>
              <a:ext cx="3175" cy="1587"/>
            </a:xfrm>
            <a:custGeom>
              <a:avLst/>
              <a:gdLst>
                <a:gd name="T0" fmla="*/ 3 w 9"/>
                <a:gd name="T1" fmla="*/ 3 h 4"/>
                <a:gd name="T2" fmla="*/ 8 w 9"/>
                <a:gd name="T3" fmla="*/ 3 h 4"/>
                <a:gd name="T4" fmla="*/ 8 w 9"/>
                <a:gd name="T5" fmla="*/ 0 h 4"/>
                <a:gd name="T6" fmla="*/ 3 w 9"/>
                <a:gd name="T7" fmla="*/ 0 h 4"/>
                <a:gd name="T8" fmla="*/ 3 w 9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lnTo>
                    <a:pt x="8" y="3"/>
                  </a:lnTo>
                  <a:lnTo>
                    <a:pt x="8" y="0"/>
                  </a:lnTo>
                  <a:cubicBezTo>
                    <a:pt x="6" y="0"/>
                    <a:pt x="3" y="0"/>
                    <a:pt x="3" y="0"/>
                  </a:cubicBezTo>
                  <a:cubicBezTo>
                    <a:pt x="0" y="0"/>
                    <a:pt x="3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18" name="Freeform 245"/>
            <p:cNvSpPr>
              <a:spLocks noChangeArrowheads="1"/>
            </p:cNvSpPr>
            <p:nvPr/>
          </p:nvSpPr>
          <p:spPr bwMode="auto">
            <a:xfrm>
              <a:off x="4356100" y="2552700"/>
              <a:ext cx="1588" cy="3175"/>
            </a:xfrm>
            <a:custGeom>
              <a:avLst/>
              <a:gdLst>
                <a:gd name="T0" fmla="*/ 0 w 4"/>
                <a:gd name="T1" fmla="*/ 6 h 7"/>
                <a:gd name="T2" fmla="*/ 3 w 4"/>
                <a:gd name="T3" fmla="*/ 0 h 7"/>
                <a:gd name="T4" fmla="*/ 0 w 4"/>
                <a:gd name="T5" fmla="*/ 0 h 7"/>
                <a:gd name="T6" fmla="*/ 0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6"/>
                  </a:moveTo>
                  <a:cubicBezTo>
                    <a:pt x="0" y="3"/>
                    <a:pt x="3" y="0"/>
                    <a:pt x="3" y="0"/>
                  </a:cubicBezTo>
                  <a:lnTo>
                    <a:pt x="0" y="0"/>
                  </a:lnTo>
                  <a:cubicBezTo>
                    <a:pt x="0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19" name="Freeform 246"/>
            <p:cNvSpPr>
              <a:spLocks noChangeArrowheads="1"/>
            </p:cNvSpPr>
            <p:nvPr/>
          </p:nvSpPr>
          <p:spPr bwMode="auto">
            <a:xfrm>
              <a:off x="4376738" y="2652713"/>
              <a:ext cx="4762" cy="1587"/>
            </a:xfrm>
            <a:custGeom>
              <a:avLst/>
              <a:gdLst>
                <a:gd name="T0" fmla="*/ 12 w 13"/>
                <a:gd name="T1" fmla="*/ 3 h 4"/>
                <a:gd name="T2" fmla="*/ 12 w 13"/>
                <a:gd name="T3" fmla="*/ 3 h 4"/>
                <a:gd name="T4" fmla="*/ 0 w 13"/>
                <a:gd name="T5" fmla="*/ 3 h 4"/>
                <a:gd name="T6" fmla="*/ 12 w 13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">
                  <a:moveTo>
                    <a:pt x="12" y="3"/>
                  </a:moveTo>
                  <a:lnTo>
                    <a:pt x="12" y="3"/>
                  </a:lnTo>
                  <a:cubicBezTo>
                    <a:pt x="9" y="0"/>
                    <a:pt x="6" y="3"/>
                    <a:pt x="0" y="3"/>
                  </a:cubicBezTo>
                  <a:cubicBezTo>
                    <a:pt x="3" y="3"/>
                    <a:pt x="9" y="3"/>
                    <a:pt x="1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20" name="Freeform 247"/>
            <p:cNvSpPr>
              <a:spLocks noChangeArrowheads="1"/>
            </p:cNvSpPr>
            <p:nvPr/>
          </p:nvSpPr>
          <p:spPr bwMode="auto">
            <a:xfrm>
              <a:off x="4364038" y="2414588"/>
              <a:ext cx="12700" cy="15875"/>
            </a:xfrm>
            <a:custGeom>
              <a:avLst/>
              <a:gdLst>
                <a:gd name="T0" fmla="*/ 31 w 35"/>
                <a:gd name="T1" fmla="*/ 5 h 43"/>
                <a:gd name="T2" fmla="*/ 14 w 35"/>
                <a:gd name="T3" fmla="*/ 0 h 43"/>
                <a:gd name="T4" fmla="*/ 11 w 35"/>
                <a:gd name="T5" fmla="*/ 2 h 43"/>
                <a:gd name="T6" fmla="*/ 17 w 35"/>
                <a:gd name="T7" fmla="*/ 28 h 43"/>
                <a:gd name="T8" fmla="*/ 0 w 35"/>
                <a:gd name="T9" fmla="*/ 17 h 43"/>
                <a:gd name="T10" fmla="*/ 11 w 35"/>
                <a:gd name="T11" fmla="*/ 42 h 43"/>
                <a:gd name="T12" fmla="*/ 14 w 35"/>
                <a:gd name="T13" fmla="*/ 42 h 43"/>
                <a:gd name="T14" fmla="*/ 25 w 35"/>
                <a:gd name="T15" fmla="*/ 33 h 43"/>
                <a:gd name="T16" fmla="*/ 28 w 35"/>
                <a:gd name="T17" fmla="*/ 33 h 43"/>
                <a:gd name="T18" fmla="*/ 34 w 35"/>
                <a:gd name="T19" fmla="*/ 17 h 43"/>
                <a:gd name="T20" fmla="*/ 22 w 35"/>
                <a:gd name="T21" fmla="*/ 11 h 43"/>
                <a:gd name="T22" fmla="*/ 31 w 35"/>
                <a:gd name="T23" fmla="*/ 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43">
                  <a:moveTo>
                    <a:pt x="31" y="5"/>
                  </a:moveTo>
                  <a:cubicBezTo>
                    <a:pt x="28" y="0"/>
                    <a:pt x="19" y="2"/>
                    <a:pt x="14" y="0"/>
                  </a:cubicBezTo>
                  <a:cubicBezTo>
                    <a:pt x="14" y="0"/>
                    <a:pt x="14" y="2"/>
                    <a:pt x="11" y="2"/>
                  </a:cubicBezTo>
                  <a:cubicBezTo>
                    <a:pt x="11" y="8"/>
                    <a:pt x="25" y="19"/>
                    <a:pt x="17" y="28"/>
                  </a:cubicBezTo>
                  <a:cubicBezTo>
                    <a:pt x="14" y="22"/>
                    <a:pt x="8" y="17"/>
                    <a:pt x="0" y="17"/>
                  </a:cubicBezTo>
                  <a:cubicBezTo>
                    <a:pt x="3" y="25"/>
                    <a:pt x="8" y="33"/>
                    <a:pt x="11" y="42"/>
                  </a:cubicBezTo>
                  <a:lnTo>
                    <a:pt x="14" y="42"/>
                  </a:lnTo>
                  <a:cubicBezTo>
                    <a:pt x="17" y="39"/>
                    <a:pt x="19" y="33"/>
                    <a:pt x="25" y="33"/>
                  </a:cubicBezTo>
                  <a:lnTo>
                    <a:pt x="28" y="33"/>
                  </a:lnTo>
                  <a:cubicBezTo>
                    <a:pt x="31" y="28"/>
                    <a:pt x="34" y="22"/>
                    <a:pt x="34" y="17"/>
                  </a:cubicBezTo>
                  <a:cubicBezTo>
                    <a:pt x="28" y="11"/>
                    <a:pt x="22" y="22"/>
                    <a:pt x="22" y="11"/>
                  </a:cubicBezTo>
                  <a:cubicBezTo>
                    <a:pt x="25" y="8"/>
                    <a:pt x="28" y="8"/>
                    <a:pt x="31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21" name="Freeform 248"/>
            <p:cNvSpPr>
              <a:spLocks noChangeArrowheads="1"/>
            </p:cNvSpPr>
            <p:nvPr/>
          </p:nvSpPr>
          <p:spPr bwMode="auto">
            <a:xfrm>
              <a:off x="4376738" y="2378075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3"/>
                    <a:pt x="0" y="0"/>
                  </a:cubicBezTo>
                  <a:lnTo>
                    <a:pt x="0" y="0"/>
                  </a:lnTo>
                  <a:cubicBezTo>
                    <a:pt x="0" y="3"/>
                    <a:pt x="3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22" name="Freeform 249"/>
            <p:cNvSpPr>
              <a:spLocks noChangeArrowheads="1"/>
            </p:cNvSpPr>
            <p:nvPr/>
          </p:nvSpPr>
          <p:spPr bwMode="auto">
            <a:xfrm>
              <a:off x="4379913" y="2419350"/>
              <a:ext cx="1587" cy="3175"/>
            </a:xfrm>
            <a:custGeom>
              <a:avLst/>
              <a:gdLst>
                <a:gd name="T0" fmla="*/ 5 w 6"/>
                <a:gd name="T1" fmla="*/ 0 h 7"/>
                <a:gd name="T2" fmla="*/ 5 w 6"/>
                <a:gd name="T3" fmla="*/ 0 h 7"/>
                <a:gd name="T4" fmla="*/ 3 w 6"/>
                <a:gd name="T5" fmla="*/ 6 h 7"/>
                <a:gd name="T6" fmla="*/ 5 w 6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5" y="0"/>
                  </a:moveTo>
                  <a:cubicBezTo>
                    <a:pt x="5" y="0"/>
                    <a:pt x="3" y="0"/>
                    <a:pt x="5" y="0"/>
                  </a:cubicBezTo>
                  <a:cubicBezTo>
                    <a:pt x="0" y="0"/>
                    <a:pt x="0" y="3"/>
                    <a:pt x="3" y="6"/>
                  </a:cubicBezTo>
                  <a:cubicBezTo>
                    <a:pt x="5" y="3"/>
                    <a:pt x="5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23" name="Freeform 250"/>
            <p:cNvSpPr>
              <a:spLocks noChangeArrowheads="1"/>
            </p:cNvSpPr>
            <p:nvPr/>
          </p:nvSpPr>
          <p:spPr bwMode="auto">
            <a:xfrm>
              <a:off x="4370388" y="2138363"/>
              <a:ext cx="3175" cy="3175"/>
            </a:xfrm>
            <a:custGeom>
              <a:avLst/>
              <a:gdLst>
                <a:gd name="T0" fmla="*/ 8 w 9"/>
                <a:gd name="T1" fmla="*/ 0 h 10"/>
                <a:gd name="T2" fmla="*/ 0 w 9"/>
                <a:gd name="T3" fmla="*/ 3 h 10"/>
                <a:gd name="T4" fmla="*/ 8 w 9"/>
                <a:gd name="T5" fmla="*/ 9 h 10"/>
                <a:gd name="T6" fmla="*/ 8 w 9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8" y="0"/>
                  </a:moveTo>
                  <a:cubicBezTo>
                    <a:pt x="5" y="0"/>
                    <a:pt x="2" y="0"/>
                    <a:pt x="0" y="3"/>
                  </a:cubicBezTo>
                  <a:cubicBezTo>
                    <a:pt x="2" y="6"/>
                    <a:pt x="5" y="6"/>
                    <a:pt x="8" y="9"/>
                  </a:cubicBezTo>
                  <a:cubicBezTo>
                    <a:pt x="8" y="6"/>
                    <a:pt x="8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24" name="Freeform 251"/>
            <p:cNvSpPr>
              <a:spLocks noChangeArrowheads="1"/>
            </p:cNvSpPr>
            <p:nvPr/>
          </p:nvSpPr>
          <p:spPr bwMode="auto">
            <a:xfrm>
              <a:off x="4387850" y="2792413"/>
              <a:ext cx="11113" cy="14287"/>
            </a:xfrm>
            <a:custGeom>
              <a:avLst/>
              <a:gdLst>
                <a:gd name="T0" fmla="*/ 3 w 30"/>
                <a:gd name="T1" fmla="*/ 23 h 38"/>
                <a:gd name="T2" fmla="*/ 9 w 30"/>
                <a:gd name="T3" fmla="*/ 20 h 38"/>
                <a:gd name="T4" fmla="*/ 3 w 30"/>
                <a:gd name="T5" fmla="*/ 23 h 38"/>
                <a:gd name="T6" fmla="*/ 0 w 30"/>
                <a:gd name="T7" fmla="*/ 28 h 38"/>
                <a:gd name="T8" fmla="*/ 3 w 30"/>
                <a:gd name="T9" fmla="*/ 37 h 38"/>
                <a:gd name="T10" fmla="*/ 14 w 30"/>
                <a:gd name="T11" fmla="*/ 34 h 38"/>
                <a:gd name="T12" fmla="*/ 12 w 30"/>
                <a:gd name="T13" fmla="*/ 34 h 38"/>
                <a:gd name="T14" fmla="*/ 12 w 30"/>
                <a:gd name="T15" fmla="*/ 25 h 38"/>
                <a:gd name="T16" fmla="*/ 20 w 30"/>
                <a:gd name="T17" fmla="*/ 25 h 38"/>
                <a:gd name="T18" fmla="*/ 15 w 30"/>
                <a:gd name="T19" fmla="*/ 33 h 38"/>
                <a:gd name="T20" fmla="*/ 23 w 30"/>
                <a:gd name="T21" fmla="*/ 31 h 38"/>
                <a:gd name="T22" fmla="*/ 0 w 30"/>
                <a:gd name="T23" fmla="*/ 11 h 38"/>
                <a:gd name="T24" fmla="*/ 3 w 30"/>
                <a:gd name="T25" fmla="*/ 23 h 38"/>
                <a:gd name="T26" fmla="*/ 15 w 30"/>
                <a:gd name="T27" fmla="*/ 33 h 38"/>
                <a:gd name="T28" fmla="*/ 14 w 30"/>
                <a:gd name="T29" fmla="*/ 34 h 38"/>
                <a:gd name="T30" fmla="*/ 15 w 30"/>
                <a:gd name="T31" fmla="*/ 3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8">
                  <a:moveTo>
                    <a:pt x="3" y="23"/>
                  </a:moveTo>
                  <a:cubicBezTo>
                    <a:pt x="6" y="23"/>
                    <a:pt x="6" y="20"/>
                    <a:pt x="9" y="20"/>
                  </a:cubicBezTo>
                  <a:cubicBezTo>
                    <a:pt x="9" y="23"/>
                    <a:pt x="6" y="25"/>
                    <a:pt x="3" y="23"/>
                  </a:cubicBezTo>
                  <a:cubicBezTo>
                    <a:pt x="3" y="25"/>
                    <a:pt x="0" y="28"/>
                    <a:pt x="0" y="28"/>
                  </a:cubicBezTo>
                  <a:cubicBezTo>
                    <a:pt x="0" y="31"/>
                    <a:pt x="0" y="34"/>
                    <a:pt x="3" y="37"/>
                  </a:cubicBezTo>
                  <a:cubicBezTo>
                    <a:pt x="8" y="37"/>
                    <a:pt x="11" y="35"/>
                    <a:pt x="14" y="34"/>
                  </a:cubicBezTo>
                  <a:cubicBezTo>
                    <a:pt x="13" y="34"/>
                    <a:pt x="12" y="34"/>
                    <a:pt x="12" y="34"/>
                  </a:cubicBezTo>
                  <a:lnTo>
                    <a:pt x="12" y="25"/>
                  </a:lnTo>
                  <a:lnTo>
                    <a:pt x="20" y="25"/>
                  </a:lnTo>
                  <a:cubicBezTo>
                    <a:pt x="18" y="27"/>
                    <a:pt x="18" y="31"/>
                    <a:pt x="15" y="33"/>
                  </a:cubicBezTo>
                  <a:cubicBezTo>
                    <a:pt x="17" y="32"/>
                    <a:pt x="20" y="31"/>
                    <a:pt x="23" y="31"/>
                  </a:cubicBezTo>
                  <a:cubicBezTo>
                    <a:pt x="29" y="17"/>
                    <a:pt x="17" y="0"/>
                    <a:pt x="0" y="11"/>
                  </a:cubicBezTo>
                  <a:cubicBezTo>
                    <a:pt x="3" y="17"/>
                    <a:pt x="6" y="20"/>
                    <a:pt x="3" y="23"/>
                  </a:cubicBezTo>
                  <a:close/>
                  <a:moveTo>
                    <a:pt x="15" y="33"/>
                  </a:moveTo>
                  <a:cubicBezTo>
                    <a:pt x="15" y="33"/>
                    <a:pt x="14" y="33"/>
                    <a:pt x="14" y="34"/>
                  </a:cubicBezTo>
                  <a:cubicBezTo>
                    <a:pt x="14" y="33"/>
                    <a:pt x="15" y="33"/>
                    <a:pt x="15" y="33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25" name="Freeform 252"/>
            <p:cNvSpPr>
              <a:spLocks noChangeArrowheads="1"/>
            </p:cNvSpPr>
            <p:nvPr/>
          </p:nvSpPr>
          <p:spPr bwMode="auto">
            <a:xfrm>
              <a:off x="4395788" y="2154238"/>
              <a:ext cx="1587" cy="1587"/>
            </a:xfrm>
            <a:custGeom>
              <a:avLst/>
              <a:gdLst>
                <a:gd name="T0" fmla="*/ 3 w 4"/>
                <a:gd name="T1" fmla="*/ 5 h 6"/>
                <a:gd name="T2" fmla="*/ 3 w 4"/>
                <a:gd name="T3" fmla="*/ 0 h 6"/>
                <a:gd name="T4" fmla="*/ 3 w 4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3" y="5"/>
                  </a:moveTo>
                  <a:cubicBezTo>
                    <a:pt x="3" y="2"/>
                    <a:pt x="3" y="2"/>
                    <a:pt x="3" y="0"/>
                  </a:cubicBezTo>
                  <a:cubicBezTo>
                    <a:pt x="0" y="2"/>
                    <a:pt x="0" y="2"/>
                    <a:pt x="3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26" name="Freeform 253"/>
            <p:cNvSpPr>
              <a:spLocks noChangeArrowheads="1"/>
            </p:cNvSpPr>
            <p:nvPr/>
          </p:nvSpPr>
          <p:spPr bwMode="auto">
            <a:xfrm>
              <a:off x="4268788" y="2797175"/>
              <a:ext cx="4762" cy="4763"/>
            </a:xfrm>
            <a:custGeom>
              <a:avLst/>
              <a:gdLst>
                <a:gd name="T0" fmla="*/ 0 w 13"/>
                <a:gd name="T1" fmla="*/ 3 h 13"/>
                <a:gd name="T2" fmla="*/ 3 w 13"/>
                <a:gd name="T3" fmla="*/ 12 h 13"/>
                <a:gd name="T4" fmla="*/ 12 w 13"/>
                <a:gd name="T5" fmla="*/ 9 h 13"/>
                <a:gd name="T6" fmla="*/ 0 w 13"/>
                <a:gd name="T7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3">
                  <a:moveTo>
                    <a:pt x="0" y="3"/>
                  </a:moveTo>
                  <a:cubicBezTo>
                    <a:pt x="0" y="6"/>
                    <a:pt x="3" y="9"/>
                    <a:pt x="3" y="12"/>
                  </a:cubicBezTo>
                  <a:cubicBezTo>
                    <a:pt x="6" y="12"/>
                    <a:pt x="9" y="12"/>
                    <a:pt x="12" y="9"/>
                  </a:cubicBezTo>
                  <a:cubicBezTo>
                    <a:pt x="12" y="3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27" name="Freeform 254"/>
            <p:cNvSpPr>
              <a:spLocks noChangeArrowheads="1"/>
            </p:cNvSpPr>
            <p:nvPr/>
          </p:nvSpPr>
          <p:spPr bwMode="auto">
            <a:xfrm>
              <a:off x="4395788" y="2370138"/>
              <a:ext cx="7937" cy="4762"/>
            </a:xfrm>
            <a:custGeom>
              <a:avLst/>
              <a:gdLst>
                <a:gd name="T0" fmla="*/ 0 w 21"/>
                <a:gd name="T1" fmla="*/ 8 h 15"/>
                <a:gd name="T2" fmla="*/ 11 w 21"/>
                <a:gd name="T3" fmla="*/ 14 h 15"/>
                <a:gd name="T4" fmla="*/ 17 w 21"/>
                <a:gd name="T5" fmla="*/ 11 h 15"/>
                <a:gd name="T6" fmla="*/ 17 w 21"/>
                <a:gd name="T7" fmla="*/ 11 h 15"/>
                <a:gd name="T8" fmla="*/ 20 w 21"/>
                <a:gd name="T9" fmla="*/ 5 h 15"/>
                <a:gd name="T10" fmla="*/ 0 w 21"/>
                <a:gd name="T11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5">
                  <a:moveTo>
                    <a:pt x="0" y="8"/>
                  </a:moveTo>
                  <a:cubicBezTo>
                    <a:pt x="3" y="11"/>
                    <a:pt x="8" y="14"/>
                    <a:pt x="11" y="14"/>
                  </a:cubicBezTo>
                  <a:cubicBezTo>
                    <a:pt x="14" y="14"/>
                    <a:pt x="14" y="11"/>
                    <a:pt x="17" y="11"/>
                  </a:cubicBezTo>
                  <a:lnTo>
                    <a:pt x="17" y="11"/>
                  </a:lnTo>
                  <a:cubicBezTo>
                    <a:pt x="20" y="8"/>
                    <a:pt x="20" y="8"/>
                    <a:pt x="20" y="5"/>
                  </a:cubicBezTo>
                  <a:cubicBezTo>
                    <a:pt x="11" y="3"/>
                    <a:pt x="6" y="0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28" name="Freeform 255"/>
            <p:cNvSpPr>
              <a:spLocks noChangeArrowheads="1"/>
            </p:cNvSpPr>
            <p:nvPr/>
          </p:nvSpPr>
          <p:spPr bwMode="auto">
            <a:xfrm>
              <a:off x="4359275" y="2246313"/>
              <a:ext cx="1588" cy="3175"/>
            </a:xfrm>
            <a:custGeom>
              <a:avLst/>
              <a:gdLst>
                <a:gd name="T0" fmla="*/ 3 w 4"/>
                <a:gd name="T1" fmla="*/ 0 h 9"/>
                <a:gd name="T2" fmla="*/ 0 w 4"/>
                <a:gd name="T3" fmla="*/ 5 h 9"/>
                <a:gd name="T4" fmla="*/ 3 w 4"/>
                <a:gd name="T5" fmla="*/ 8 h 9"/>
                <a:gd name="T6" fmla="*/ 3 w 4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3" y="0"/>
                  </a:moveTo>
                  <a:cubicBezTo>
                    <a:pt x="0" y="2"/>
                    <a:pt x="0" y="2"/>
                    <a:pt x="0" y="5"/>
                  </a:cubicBezTo>
                  <a:cubicBezTo>
                    <a:pt x="0" y="5"/>
                    <a:pt x="3" y="5"/>
                    <a:pt x="3" y="8"/>
                  </a:cubicBezTo>
                  <a:lnTo>
                    <a:pt x="3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29" name="Freeform 256"/>
            <p:cNvSpPr>
              <a:spLocks noChangeArrowheads="1"/>
            </p:cNvSpPr>
            <p:nvPr/>
          </p:nvSpPr>
          <p:spPr bwMode="auto">
            <a:xfrm>
              <a:off x="4400550" y="2359025"/>
              <a:ext cx="12700" cy="7938"/>
            </a:xfrm>
            <a:custGeom>
              <a:avLst/>
              <a:gdLst>
                <a:gd name="T0" fmla="*/ 34 w 35"/>
                <a:gd name="T1" fmla="*/ 11 h 23"/>
                <a:gd name="T2" fmla="*/ 34 w 35"/>
                <a:gd name="T3" fmla="*/ 8 h 23"/>
                <a:gd name="T4" fmla="*/ 28 w 35"/>
                <a:gd name="T5" fmla="*/ 8 h 23"/>
                <a:gd name="T6" fmla="*/ 31 w 35"/>
                <a:gd name="T7" fmla="*/ 5 h 23"/>
                <a:gd name="T8" fmla="*/ 20 w 35"/>
                <a:gd name="T9" fmla="*/ 0 h 23"/>
                <a:gd name="T10" fmla="*/ 6 w 35"/>
                <a:gd name="T11" fmla="*/ 11 h 23"/>
                <a:gd name="T12" fmla="*/ 6 w 35"/>
                <a:gd name="T13" fmla="*/ 14 h 23"/>
                <a:gd name="T14" fmla="*/ 6 w 35"/>
                <a:gd name="T15" fmla="*/ 14 h 23"/>
                <a:gd name="T16" fmla="*/ 0 w 35"/>
                <a:gd name="T17" fmla="*/ 22 h 23"/>
                <a:gd name="T18" fmla="*/ 34 w 35"/>
                <a:gd name="T1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3">
                  <a:moveTo>
                    <a:pt x="34" y="11"/>
                  </a:moveTo>
                  <a:lnTo>
                    <a:pt x="34" y="8"/>
                  </a:lnTo>
                  <a:cubicBezTo>
                    <a:pt x="31" y="8"/>
                    <a:pt x="31" y="8"/>
                    <a:pt x="28" y="8"/>
                  </a:cubicBezTo>
                  <a:lnTo>
                    <a:pt x="31" y="5"/>
                  </a:lnTo>
                  <a:cubicBezTo>
                    <a:pt x="28" y="2"/>
                    <a:pt x="23" y="2"/>
                    <a:pt x="20" y="0"/>
                  </a:cubicBezTo>
                  <a:cubicBezTo>
                    <a:pt x="14" y="2"/>
                    <a:pt x="12" y="5"/>
                    <a:pt x="6" y="11"/>
                  </a:cubicBezTo>
                  <a:lnTo>
                    <a:pt x="6" y="14"/>
                  </a:lnTo>
                  <a:lnTo>
                    <a:pt x="6" y="14"/>
                  </a:lnTo>
                  <a:cubicBezTo>
                    <a:pt x="3" y="17"/>
                    <a:pt x="0" y="19"/>
                    <a:pt x="0" y="22"/>
                  </a:cubicBezTo>
                  <a:cubicBezTo>
                    <a:pt x="17" y="19"/>
                    <a:pt x="17" y="5"/>
                    <a:pt x="34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30" name="Freeform 257"/>
            <p:cNvSpPr>
              <a:spLocks noChangeArrowheads="1"/>
            </p:cNvSpPr>
            <p:nvPr/>
          </p:nvSpPr>
          <p:spPr bwMode="auto">
            <a:xfrm>
              <a:off x="4386263" y="2789238"/>
              <a:ext cx="4762" cy="4762"/>
            </a:xfrm>
            <a:custGeom>
              <a:avLst/>
              <a:gdLst>
                <a:gd name="T0" fmla="*/ 11 w 12"/>
                <a:gd name="T1" fmla="*/ 2 h 15"/>
                <a:gd name="T2" fmla="*/ 8 w 12"/>
                <a:gd name="T3" fmla="*/ 0 h 15"/>
                <a:gd name="T4" fmla="*/ 0 w 12"/>
                <a:gd name="T5" fmla="*/ 8 h 15"/>
                <a:gd name="T6" fmla="*/ 11 w 12"/>
                <a:gd name="T7" fmla="*/ 14 h 15"/>
                <a:gd name="T8" fmla="*/ 11 w 12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11" y="2"/>
                  </a:moveTo>
                  <a:cubicBezTo>
                    <a:pt x="11" y="2"/>
                    <a:pt x="8" y="2"/>
                    <a:pt x="8" y="0"/>
                  </a:cubicBezTo>
                  <a:cubicBezTo>
                    <a:pt x="8" y="5"/>
                    <a:pt x="5" y="8"/>
                    <a:pt x="0" y="8"/>
                  </a:cubicBezTo>
                  <a:cubicBezTo>
                    <a:pt x="3" y="8"/>
                    <a:pt x="8" y="11"/>
                    <a:pt x="11" y="14"/>
                  </a:cubicBezTo>
                  <a:cubicBezTo>
                    <a:pt x="11" y="8"/>
                    <a:pt x="11" y="5"/>
                    <a:pt x="11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31" name="Freeform 258"/>
            <p:cNvSpPr>
              <a:spLocks noChangeArrowheads="1"/>
            </p:cNvSpPr>
            <p:nvPr/>
          </p:nvSpPr>
          <p:spPr bwMode="auto">
            <a:xfrm>
              <a:off x="4395788" y="2338388"/>
              <a:ext cx="3175" cy="3175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3 h 7"/>
                <a:gd name="T4" fmla="*/ 8 w 9"/>
                <a:gd name="T5" fmla="*/ 6 h 7"/>
                <a:gd name="T6" fmla="*/ 3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lnTo>
                    <a:pt x="0" y="3"/>
                  </a:lnTo>
                  <a:cubicBezTo>
                    <a:pt x="0" y="6"/>
                    <a:pt x="3" y="6"/>
                    <a:pt x="8" y="6"/>
                  </a:cubicBezTo>
                  <a:cubicBezTo>
                    <a:pt x="8" y="6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32" name="Freeform 259"/>
            <p:cNvSpPr>
              <a:spLocks noChangeArrowheads="1"/>
            </p:cNvSpPr>
            <p:nvPr/>
          </p:nvSpPr>
          <p:spPr bwMode="auto">
            <a:xfrm>
              <a:off x="4438650" y="2328863"/>
              <a:ext cx="3175" cy="3175"/>
            </a:xfrm>
            <a:custGeom>
              <a:avLst/>
              <a:gdLst>
                <a:gd name="T0" fmla="*/ 5 w 9"/>
                <a:gd name="T1" fmla="*/ 8 h 9"/>
                <a:gd name="T2" fmla="*/ 2 w 9"/>
                <a:gd name="T3" fmla="*/ 0 h 9"/>
                <a:gd name="T4" fmla="*/ 5 w 9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5" y="8"/>
                  </a:moveTo>
                  <a:cubicBezTo>
                    <a:pt x="8" y="3"/>
                    <a:pt x="8" y="0"/>
                    <a:pt x="2" y="0"/>
                  </a:cubicBezTo>
                  <a:cubicBezTo>
                    <a:pt x="2" y="6"/>
                    <a:pt x="0" y="8"/>
                    <a:pt x="5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33" name="Freeform 260"/>
            <p:cNvSpPr>
              <a:spLocks noChangeArrowheads="1"/>
            </p:cNvSpPr>
            <p:nvPr/>
          </p:nvSpPr>
          <p:spPr bwMode="auto">
            <a:xfrm>
              <a:off x="4440238" y="2636838"/>
              <a:ext cx="1587" cy="1587"/>
            </a:xfrm>
            <a:custGeom>
              <a:avLst/>
              <a:gdLst>
                <a:gd name="T0" fmla="*/ 0 w 4"/>
                <a:gd name="T1" fmla="*/ 2 h 3"/>
                <a:gd name="T2" fmla="*/ 3 w 4"/>
                <a:gd name="T3" fmla="*/ 0 h 3"/>
                <a:gd name="T4" fmla="*/ 0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3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34" name="Freeform 261"/>
            <p:cNvSpPr>
              <a:spLocks noChangeArrowheads="1"/>
            </p:cNvSpPr>
            <p:nvPr/>
          </p:nvSpPr>
          <p:spPr bwMode="auto">
            <a:xfrm>
              <a:off x="4435475" y="2560638"/>
              <a:ext cx="3175" cy="6350"/>
            </a:xfrm>
            <a:custGeom>
              <a:avLst/>
              <a:gdLst>
                <a:gd name="T0" fmla="*/ 6 w 9"/>
                <a:gd name="T1" fmla="*/ 17 h 18"/>
                <a:gd name="T2" fmla="*/ 8 w 9"/>
                <a:gd name="T3" fmla="*/ 8 h 18"/>
                <a:gd name="T4" fmla="*/ 8 w 9"/>
                <a:gd name="T5" fmla="*/ 0 h 18"/>
                <a:gd name="T6" fmla="*/ 3 w 9"/>
                <a:gd name="T7" fmla="*/ 0 h 18"/>
                <a:gd name="T8" fmla="*/ 6 w 9"/>
                <a:gd name="T9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8">
                  <a:moveTo>
                    <a:pt x="6" y="17"/>
                  </a:moveTo>
                  <a:cubicBezTo>
                    <a:pt x="6" y="14"/>
                    <a:pt x="6" y="11"/>
                    <a:pt x="8" y="8"/>
                  </a:cubicBezTo>
                  <a:lnTo>
                    <a:pt x="8" y="0"/>
                  </a:lnTo>
                  <a:cubicBezTo>
                    <a:pt x="6" y="0"/>
                    <a:pt x="6" y="0"/>
                    <a:pt x="3" y="0"/>
                  </a:cubicBezTo>
                  <a:cubicBezTo>
                    <a:pt x="0" y="5"/>
                    <a:pt x="0" y="17"/>
                    <a:pt x="6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35" name="Freeform 262"/>
            <p:cNvSpPr>
              <a:spLocks noChangeArrowheads="1"/>
            </p:cNvSpPr>
            <p:nvPr/>
          </p:nvSpPr>
          <p:spPr bwMode="auto">
            <a:xfrm>
              <a:off x="4257675" y="2913063"/>
              <a:ext cx="4763" cy="4762"/>
            </a:xfrm>
            <a:custGeom>
              <a:avLst/>
              <a:gdLst>
                <a:gd name="T0" fmla="*/ 14 w 15"/>
                <a:gd name="T1" fmla="*/ 3 h 12"/>
                <a:gd name="T2" fmla="*/ 3 w 15"/>
                <a:gd name="T3" fmla="*/ 0 h 12"/>
                <a:gd name="T4" fmla="*/ 0 w 15"/>
                <a:gd name="T5" fmla="*/ 5 h 12"/>
                <a:gd name="T6" fmla="*/ 12 w 15"/>
                <a:gd name="T7" fmla="*/ 11 h 12"/>
                <a:gd name="T8" fmla="*/ 14 w 15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2">
                  <a:moveTo>
                    <a:pt x="14" y="3"/>
                  </a:moveTo>
                  <a:cubicBezTo>
                    <a:pt x="12" y="0"/>
                    <a:pt x="9" y="0"/>
                    <a:pt x="3" y="0"/>
                  </a:cubicBezTo>
                  <a:cubicBezTo>
                    <a:pt x="3" y="3"/>
                    <a:pt x="3" y="3"/>
                    <a:pt x="0" y="5"/>
                  </a:cubicBezTo>
                  <a:cubicBezTo>
                    <a:pt x="3" y="8"/>
                    <a:pt x="6" y="11"/>
                    <a:pt x="12" y="11"/>
                  </a:cubicBezTo>
                  <a:cubicBezTo>
                    <a:pt x="14" y="8"/>
                    <a:pt x="14" y="5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36" name="Freeform 263"/>
            <p:cNvSpPr>
              <a:spLocks noChangeArrowheads="1"/>
            </p:cNvSpPr>
            <p:nvPr/>
          </p:nvSpPr>
          <p:spPr bwMode="auto">
            <a:xfrm>
              <a:off x="4241800" y="3048000"/>
              <a:ext cx="3175" cy="1588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0 h 6"/>
                <a:gd name="T4" fmla="*/ 0 w 7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cubicBezTo>
                    <a:pt x="3" y="5"/>
                    <a:pt x="3" y="3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37" name="Freeform 264"/>
            <p:cNvSpPr>
              <a:spLocks noChangeArrowheads="1"/>
            </p:cNvSpPr>
            <p:nvPr/>
          </p:nvSpPr>
          <p:spPr bwMode="auto">
            <a:xfrm>
              <a:off x="4256088" y="2338388"/>
              <a:ext cx="1587" cy="4762"/>
            </a:xfrm>
            <a:custGeom>
              <a:avLst/>
              <a:gdLst>
                <a:gd name="T0" fmla="*/ 0 w 6"/>
                <a:gd name="T1" fmla="*/ 6 h 15"/>
                <a:gd name="T2" fmla="*/ 0 w 6"/>
                <a:gd name="T3" fmla="*/ 14 h 15"/>
                <a:gd name="T4" fmla="*/ 5 w 6"/>
                <a:gd name="T5" fmla="*/ 0 h 15"/>
                <a:gd name="T6" fmla="*/ 0 w 6"/>
                <a:gd name="T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5">
                  <a:moveTo>
                    <a:pt x="0" y="6"/>
                  </a:moveTo>
                  <a:cubicBezTo>
                    <a:pt x="0" y="9"/>
                    <a:pt x="0" y="11"/>
                    <a:pt x="0" y="14"/>
                  </a:cubicBezTo>
                  <a:cubicBezTo>
                    <a:pt x="2" y="9"/>
                    <a:pt x="2" y="6"/>
                    <a:pt x="5" y="0"/>
                  </a:cubicBezTo>
                  <a:cubicBezTo>
                    <a:pt x="2" y="3"/>
                    <a:pt x="2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38" name="Freeform 265"/>
            <p:cNvSpPr>
              <a:spLocks noChangeArrowheads="1"/>
            </p:cNvSpPr>
            <p:nvPr/>
          </p:nvSpPr>
          <p:spPr bwMode="auto">
            <a:xfrm>
              <a:off x="4240213" y="2847975"/>
              <a:ext cx="1587" cy="3175"/>
            </a:xfrm>
            <a:custGeom>
              <a:avLst/>
              <a:gdLst>
                <a:gd name="T0" fmla="*/ 0 w 4"/>
                <a:gd name="T1" fmla="*/ 0 h 7"/>
                <a:gd name="T2" fmla="*/ 0 w 4"/>
                <a:gd name="T3" fmla="*/ 6 h 7"/>
                <a:gd name="T4" fmla="*/ 3 w 4"/>
                <a:gd name="T5" fmla="*/ 6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cubicBezTo>
                    <a:pt x="3" y="3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39" name="Freeform 266"/>
            <p:cNvSpPr>
              <a:spLocks noChangeArrowheads="1"/>
            </p:cNvSpPr>
            <p:nvPr/>
          </p:nvSpPr>
          <p:spPr bwMode="auto">
            <a:xfrm>
              <a:off x="4264025" y="2379663"/>
              <a:ext cx="3175" cy="4762"/>
            </a:xfrm>
            <a:custGeom>
              <a:avLst/>
              <a:gdLst>
                <a:gd name="T0" fmla="*/ 3 w 7"/>
                <a:gd name="T1" fmla="*/ 14 h 15"/>
                <a:gd name="T2" fmla="*/ 6 w 7"/>
                <a:gd name="T3" fmla="*/ 11 h 15"/>
                <a:gd name="T4" fmla="*/ 0 w 7"/>
                <a:gd name="T5" fmla="*/ 0 h 15"/>
                <a:gd name="T6" fmla="*/ 3 w 7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5">
                  <a:moveTo>
                    <a:pt x="3" y="14"/>
                  </a:moveTo>
                  <a:cubicBezTo>
                    <a:pt x="3" y="14"/>
                    <a:pt x="6" y="14"/>
                    <a:pt x="6" y="11"/>
                  </a:cubicBezTo>
                  <a:cubicBezTo>
                    <a:pt x="6" y="6"/>
                    <a:pt x="6" y="0"/>
                    <a:pt x="0" y="0"/>
                  </a:cubicBezTo>
                  <a:cubicBezTo>
                    <a:pt x="0" y="6"/>
                    <a:pt x="0" y="14"/>
                    <a:pt x="3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40" name="Freeform 267"/>
            <p:cNvSpPr>
              <a:spLocks noChangeArrowheads="1"/>
            </p:cNvSpPr>
            <p:nvPr/>
          </p:nvSpPr>
          <p:spPr bwMode="auto">
            <a:xfrm>
              <a:off x="4265613" y="2371725"/>
              <a:ext cx="4762" cy="3175"/>
            </a:xfrm>
            <a:custGeom>
              <a:avLst/>
              <a:gdLst>
                <a:gd name="T0" fmla="*/ 0 w 12"/>
                <a:gd name="T1" fmla="*/ 3 h 10"/>
                <a:gd name="T2" fmla="*/ 0 w 12"/>
                <a:gd name="T3" fmla="*/ 9 h 10"/>
                <a:gd name="T4" fmla="*/ 11 w 12"/>
                <a:gd name="T5" fmla="*/ 3 h 10"/>
                <a:gd name="T6" fmla="*/ 0 w 12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3"/>
                  </a:moveTo>
                  <a:cubicBezTo>
                    <a:pt x="0" y="6"/>
                    <a:pt x="0" y="6"/>
                    <a:pt x="0" y="9"/>
                  </a:cubicBezTo>
                  <a:cubicBezTo>
                    <a:pt x="3" y="6"/>
                    <a:pt x="8" y="6"/>
                    <a:pt x="11" y="3"/>
                  </a:cubicBezTo>
                  <a:cubicBezTo>
                    <a:pt x="5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41" name="Freeform 268"/>
            <p:cNvSpPr>
              <a:spLocks noChangeArrowheads="1"/>
            </p:cNvSpPr>
            <p:nvPr/>
          </p:nvSpPr>
          <p:spPr bwMode="auto">
            <a:xfrm>
              <a:off x="4435475" y="2768600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6 w 9"/>
                <a:gd name="T3" fmla="*/ 9 h 10"/>
                <a:gd name="T4" fmla="*/ 8 w 9"/>
                <a:gd name="T5" fmla="*/ 3 h 10"/>
                <a:gd name="T6" fmla="*/ 0 w 9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cubicBezTo>
                    <a:pt x="3" y="6"/>
                    <a:pt x="3" y="9"/>
                    <a:pt x="6" y="9"/>
                  </a:cubicBezTo>
                  <a:cubicBezTo>
                    <a:pt x="8" y="6"/>
                    <a:pt x="8" y="6"/>
                    <a:pt x="8" y="3"/>
                  </a:cubicBezTo>
                  <a:cubicBezTo>
                    <a:pt x="6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42" name="Freeform 269"/>
            <p:cNvSpPr>
              <a:spLocks noChangeArrowheads="1"/>
            </p:cNvSpPr>
            <p:nvPr/>
          </p:nvSpPr>
          <p:spPr bwMode="auto">
            <a:xfrm>
              <a:off x="4262438" y="2924175"/>
              <a:ext cx="1587" cy="3175"/>
            </a:xfrm>
            <a:custGeom>
              <a:avLst/>
              <a:gdLst>
                <a:gd name="T0" fmla="*/ 0 w 3"/>
                <a:gd name="T1" fmla="*/ 0 h 7"/>
                <a:gd name="T2" fmla="*/ 0 w 3"/>
                <a:gd name="T3" fmla="*/ 6 h 7"/>
                <a:gd name="T4" fmla="*/ 2 w 3"/>
                <a:gd name="T5" fmla="*/ 6 h 7"/>
                <a:gd name="T6" fmla="*/ 0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cubicBezTo>
                    <a:pt x="0" y="0"/>
                    <a:pt x="0" y="3"/>
                    <a:pt x="0" y="6"/>
                  </a:cubicBezTo>
                  <a:cubicBezTo>
                    <a:pt x="0" y="6"/>
                    <a:pt x="0" y="6"/>
                    <a:pt x="2" y="6"/>
                  </a:cubicBezTo>
                  <a:cubicBezTo>
                    <a:pt x="0" y="3"/>
                    <a:pt x="0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43" name="Freeform 270"/>
            <p:cNvSpPr>
              <a:spLocks noChangeArrowheads="1"/>
            </p:cNvSpPr>
            <p:nvPr/>
          </p:nvSpPr>
          <p:spPr bwMode="auto">
            <a:xfrm>
              <a:off x="4262438" y="2681288"/>
              <a:ext cx="4762" cy="4762"/>
            </a:xfrm>
            <a:custGeom>
              <a:avLst/>
              <a:gdLst>
                <a:gd name="T0" fmla="*/ 12 w 13"/>
                <a:gd name="T1" fmla="*/ 0 h 15"/>
                <a:gd name="T2" fmla="*/ 9 w 13"/>
                <a:gd name="T3" fmla="*/ 2 h 15"/>
                <a:gd name="T4" fmla="*/ 12 w 13"/>
                <a:gd name="T5" fmla="*/ 0 h 15"/>
                <a:gd name="T6" fmla="*/ 0 w 13"/>
                <a:gd name="T7" fmla="*/ 5 h 15"/>
                <a:gd name="T8" fmla="*/ 9 w 13"/>
                <a:gd name="T9" fmla="*/ 14 h 15"/>
                <a:gd name="T10" fmla="*/ 9 w 13"/>
                <a:gd name="T11" fmla="*/ 2 h 15"/>
                <a:gd name="T12" fmla="*/ 0 w 13"/>
                <a:gd name="T1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5">
                  <a:moveTo>
                    <a:pt x="12" y="0"/>
                  </a:moveTo>
                  <a:cubicBezTo>
                    <a:pt x="11" y="1"/>
                    <a:pt x="10" y="2"/>
                    <a:pt x="9" y="2"/>
                  </a:cubicBezTo>
                  <a:cubicBezTo>
                    <a:pt x="10" y="1"/>
                    <a:pt x="11" y="1"/>
                    <a:pt x="12" y="0"/>
                  </a:cubicBezTo>
                  <a:close/>
                  <a:moveTo>
                    <a:pt x="0" y="5"/>
                  </a:moveTo>
                  <a:lnTo>
                    <a:pt x="9" y="14"/>
                  </a:lnTo>
                  <a:cubicBezTo>
                    <a:pt x="5" y="8"/>
                    <a:pt x="6" y="5"/>
                    <a:pt x="9" y="2"/>
                  </a:cubicBezTo>
                  <a:cubicBezTo>
                    <a:pt x="7" y="4"/>
                    <a:pt x="4" y="5"/>
                    <a:pt x="0" y="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44" name="Freeform 271"/>
            <p:cNvSpPr>
              <a:spLocks noChangeArrowheads="1"/>
            </p:cNvSpPr>
            <p:nvPr/>
          </p:nvSpPr>
          <p:spPr bwMode="auto">
            <a:xfrm>
              <a:off x="4262438" y="2947988"/>
              <a:ext cx="1587" cy="4762"/>
            </a:xfrm>
            <a:custGeom>
              <a:avLst/>
              <a:gdLst>
                <a:gd name="T0" fmla="*/ 2 w 6"/>
                <a:gd name="T1" fmla="*/ 14 h 15"/>
                <a:gd name="T2" fmla="*/ 5 w 6"/>
                <a:gd name="T3" fmla="*/ 6 h 15"/>
                <a:gd name="T4" fmla="*/ 2 w 6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5">
                  <a:moveTo>
                    <a:pt x="2" y="14"/>
                  </a:moveTo>
                  <a:cubicBezTo>
                    <a:pt x="2" y="12"/>
                    <a:pt x="5" y="12"/>
                    <a:pt x="5" y="6"/>
                  </a:cubicBezTo>
                  <a:cubicBezTo>
                    <a:pt x="0" y="0"/>
                    <a:pt x="0" y="14"/>
                    <a:pt x="2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45" name="Freeform 272"/>
            <p:cNvSpPr>
              <a:spLocks noChangeArrowheads="1"/>
            </p:cNvSpPr>
            <p:nvPr/>
          </p:nvSpPr>
          <p:spPr bwMode="auto">
            <a:xfrm>
              <a:off x="4210050" y="2522538"/>
              <a:ext cx="4763" cy="3175"/>
            </a:xfrm>
            <a:custGeom>
              <a:avLst/>
              <a:gdLst>
                <a:gd name="T0" fmla="*/ 0 w 15"/>
                <a:gd name="T1" fmla="*/ 2 h 9"/>
                <a:gd name="T2" fmla="*/ 2 w 15"/>
                <a:gd name="T3" fmla="*/ 8 h 9"/>
                <a:gd name="T4" fmla="*/ 14 w 15"/>
                <a:gd name="T5" fmla="*/ 2 h 9"/>
                <a:gd name="T6" fmla="*/ 11 w 15"/>
                <a:gd name="T7" fmla="*/ 0 h 9"/>
                <a:gd name="T8" fmla="*/ 0 w 15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9">
                  <a:moveTo>
                    <a:pt x="0" y="2"/>
                  </a:moveTo>
                  <a:cubicBezTo>
                    <a:pt x="0" y="5"/>
                    <a:pt x="2" y="8"/>
                    <a:pt x="2" y="8"/>
                  </a:cubicBezTo>
                  <a:cubicBezTo>
                    <a:pt x="5" y="8"/>
                    <a:pt x="11" y="5"/>
                    <a:pt x="14" y="2"/>
                  </a:cubicBezTo>
                  <a:lnTo>
                    <a:pt x="11" y="0"/>
                  </a:lnTo>
                  <a:cubicBezTo>
                    <a:pt x="5" y="2"/>
                    <a:pt x="2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46" name="Freeform 273"/>
            <p:cNvSpPr>
              <a:spLocks noChangeArrowheads="1"/>
            </p:cNvSpPr>
            <p:nvPr/>
          </p:nvSpPr>
          <p:spPr bwMode="auto">
            <a:xfrm>
              <a:off x="4427538" y="2170113"/>
              <a:ext cx="6350" cy="6350"/>
            </a:xfrm>
            <a:custGeom>
              <a:avLst/>
              <a:gdLst>
                <a:gd name="T0" fmla="*/ 2 w 18"/>
                <a:gd name="T1" fmla="*/ 0 h 18"/>
                <a:gd name="T2" fmla="*/ 0 w 18"/>
                <a:gd name="T3" fmla="*/ 8 h 18"/>
                <a:gd name="T4" fmla="*/ 17 w 18"/>
                <a:gd name="T5" fmla="*/ 17 h 18"/>
                <a:gd name="T6" fmla="*/ 2 w 18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8">
                  <a:moveTo>
                    <a:pt x="2" y="0"/>
                  </a:moveTo>
                  <a:cubicBezTo>
                    <a:pt x="2" y="3"/>
                    <a:pt x="2" y="5"/>
                    <a:pt x="0" y="8"/>
                  </a:cubicBezTo>
                  <a:cubicBezTo>
                    <a:pt x="5" y="11"/>
                    <a:pt x="11" y="14"/>
                    <a:pt x="17" y="17"/>
                  </a:cubicBezTo>
                  <a:cubicBezTo>
                    <a:pt x="17" y="8"/>
                    <a:pt x="11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47" name="Freeform 274"/>
            <p:cNvSpPr>
              <a:spLocks noChangeArrowheads="1"/>
            </p:cNvSpPr>
            <p:nvPr/>
          </p:nvSpPr>
          <p:spPr bwMode="auto">
            <a:xfrm>
              <a:off x="4429125" y="2178050"/>
              <a:ext cx="7938" cy="3175"/>
            </a:xfrm>
            <a:custGeom>
              <a:avLst/>
              <a:gdLst>
                <a:gd name="T0" fmla="*/ 3 w 24"/>
                <a:gd name="T1" fmla="*/ 3 h 10"/>
                <a:gd name="T2" fmla="*/ 3 w 24"/>
                <a:gd name="T3" fmla="*/ 9 h 10"/>
                <a:gd name="T4" fmla="*/ 23 w 24"/>
                <a:gd name="T5" fmla="*/ 9 h 10"/>
                <a:gd name="T6" fmla="*/ 3 w 24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0">
                  <a:moveTo>
                    <a:pt x="3" y="3"/>
                  </a:moveTo>
                  <a:cubicBezTo>
                    <a:pt x="3" y="6"/>
                    <a:pt x="0" y="6"/>
                    <a:pt x="3" y="9"/>
                  </a:cubicBezTo>
                  <a:cubicBezTo>
                    <a:pt x="9" y="9"/>
                    <a:pt x="17" y="9"/>
                    <a:pt x="23" y="9"/>
                  </a:cubicBezTo>
                  <a:cubicBezTo>
                    <a:pt x="17" y="3"/>
                    <a:pt x="12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48" name="Freeform 275"/>
            <p:cNvSpPr>
              <a:spLocks noChangeArrowheads="1"/>
            </p:cNvSpPr>
            <p:nvPr/>
          </p:nvSpPr>
          <p:spPr bwMode="auto">
            <a:xfrm>
              <a:off x="4421188" y="2324100"/>
              <a:ext cx="6350" cy="9525"/>
            </a:xfrm>
            <a:custGeom>
              <a:avLst/>
              <a:gdLst>
                <a:gd name="T0" fmla="*/ 5 w 17"/>
                <a:gd name="T1" fmla="*/ 25 h 26"/>
                <a:gd name="T2" fmla="*/ 16 w 17"/>
                <a:gd name="T3" fmla="*/ 17 h 26"/>
                <a:gd name="T4" fmla="*/ 11 w 17"/>
                <a:gd name="T5" fmla="*/ 8 h 26"/>
                <a:gd name="T6" fmla="*/ 16 w 17"/>
                <a:gd name="T7" fmla="*/ 2 h 26"/>
                <a:gd name="T8" fmla="*/ 14 w 17"/>
                <a:gd name="T9" fmla="*/ 2 h 26"/>
                <a:gd name="T10" fmla="*/ 8 w 17"/>
                <a:gd name="T11" fmla="*/ 5 h 26"/>
                <a:gd name="T12" fmla="*/ 0 w 17"/>
                <a:gd name="T13" fmla="*/ 2 h 26"/>
                <a:gd name="T14" fmla="*/ 0 w 17"/>
                <a:gd name="T15" fmla="*/ 2 h 26"/>
                <a:gd name="T16" fmla="*/ 5 w 17"/>
                <a:gd name="T17" fmla="*/ 11 h 26"/>
                <a:gd name="T18" fmla="*/ 5 w 17"/>
                <a:gd name="T1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5" y="25"/>
                  </a:moveTo>
                  <a:cubicBezTo>
                    <a:pt x="11" y="25"/>
                    <a:pt x="14" y="19"/>
                    <a:pt x="16" y="17"/>
                  </a:cubicBezTo>
                  <a:cubicBezTo>
                    <a:pt x="16" y="17"/>
                    <a:pt x="11" y="11"/>
                    <a:pt x="11" y="8"/>
                  </a:cubicBezTo>
                  <a:cubicBezTo>
                    <a:pt x="11" y="5"/>
                    <a:pt x="16" y="5"/>
                    <a:pt x="16" y="2"/>
                  </a:cubicBezTo>
                  <a:cubicBezTo>
                    <a:pt x="16" y="2"/>
                    <a:pt x="16" y="2"/>
                    <a:pt x="14" y="2"/>
                  </a:cubicBezTo>
                  <a:cubicBezTo>
                    <a:pt x="14" y="2"/>
                    <a:pt x="11" y="5"/>
                    <a:pt x="8" y="5"/>
                  </a:cubicBezTo>
                  <a:cubicBezTo>
                    <a:pt x="8" y="5"/>
                    <a:pt x="5" y="0"/>
                    <a:pt x="0" y="2"/>
                  </a:cubicBezTo>
                  <a:lnTo>
                    <a:pt x="0" y="2"/>
                  </a:lnTo>
                  <a:cubicBezTo>
                    <a:pt x="2" y="5"/>
                    <a:pt x="5" y="5"/>
                    <a:pt x="5" y="11"/>
                  </a:cubicBezTo>
                  <a:cubicBezTo>
                    <a:pt x="5" y="17"/>
                    <a:pt x="0" y="19"/>
                    <a:pt x="5" y="2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49" name="Freeform 276"/>
            <p:cNvSpPr>
              <a:spLocks noChangeArrowheads="1"/>
            </p:cNvSpPr>
            <p:nvPr/>
          </p:nvSpPr>
          <p:spPr bwMode="auto">
            <a:xfrm>
              <a:off x="4214813" y="3008313"/>
              <a:ext cx="1587" cy="4762"/>
            </a:xfrm>
            <a:custGeom>
              <a:avLst/>
              <a:gdLst>
                <a:gd name="T0" fmla="*/ 0 w 6"/>
                <a:gd name="T1" fmla="*/ 8 h 12"/>
                <a:gd name="T2" fmla="*/ 0 w 6"/>
                <a:gd name="T3" fmla="*/ 8 h 12"/>
                <a:gd name="T4" fmla="*/ 5 w 6"/>
                <a:gd name="T5" fmla="*/ 0 h 12"/>
                <a:gd name="T6" fmla="*/ 3 w 6"/>
                <a:gd name="T7" fmla="*/ 0 h 12"/>
                <a:gd name="T8" fmla="*/ 0 w 6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0" y="8"/>
                  </a:moveTo>
                  <a:cubicBezTo>
                    <a:pt x="0" y="8"/>
                    <a:pt x="0" y="11"/>
                    <a:pt x="0" y="8"/>
                  </a:cubicBezTo>
                  <a:cubicBezTo>
                    <a:pt x="3" y="8"/>
                    <a:pt x="5" y="3"/>
                    <a:pt x="5" y="0"/>
                  </a:cubicBezTo>
                  <a:lnTo>
                    <a:pt x="3" y="0"/>
                  </a:lnTo>
                  <a:cubicBezTo>
                    <a:pt x="3" y="3"/>
                    <a:pt x="3" y="8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50" name="Freeform 277"/>
            <p:cNvSpPr>
              <a:spLocks noChangeArrowheads="1"/>
            </p:cNvSpPr>
            <p:nvPr/>
          </p:nvSpPr>
          <p:spPr bwMode="auto">
            <a:xfrm>
              <a:off x="4418013" y="2736850"/>
              <a:ext cx="1587" cy="1588"/>
            </a:xfrm>
            <a:custGeom>
              <a:avLst/>
              <a:gdLst>
                <a:gd name="T0" fmla="*/ 0 w 4"/>
                <a:gd name="T1" fmla="*/ 5 h 6"/>
                <a:gd name="T2" fmla="*/ 3 w 4"/>
                <a:gd name="T3" fmla="*/ 0 h 6"/>
                <a:gd name="T4" fmla="*/ 0 w 4"/>
                <a:gd name="T5" fmla="*/ 3 h 6"/>
                <a:gd name="T6" fmla="*/ 0 w 4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cubicBezTo>
                    <a:pt x="3" y="3"/>
                    <a:pt x="3" y="3"/>
                    <a:pt x="3" y="0"/>
                  </a:cubicBezTo>
                  <a:cubicBezTo>
                    <a:pt x="3" y="0"/>
                    <a:pt x="0" y="0"/>
                    <a:pt x="0" y="3"/>
                  </a:cubicBezTo>
                  <a:cubicBezTo>
                    <a:pt x="0" y="3"/>
                    <a:pt x="0" y="3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51" name="Freeform 278"/>
            <p:cNvSpPr>
              <a:spLocks noChangeArrowheads="1"/>
            </p:cNvSpPr>
            <p:nvPr/>
          </p:nvSpPr>
          <p:spPr bwMode="auto">
            <a:xfrm>
              <a:off x="4413250" y="2327275"/>
              <a:ext cx="4763" cy="4763"/>
            </a:xfrm>
            <a:custGeom>
              <a:avLst/>
              <a:gdLst>
                <a:gd name="T0" fmla="*/ 6 w 12"/>
                <a:gd name="T1" fmla="*/ 11 h 12"/>
                <a:gd name="T2" fmla="*/ 11 w 12"/>
                <a:gd name="T3" fmla="*/ 9 h 12"/>
                <a:gd name="T4" fmla="*/ 0 w 12"/>
                <a:gd name="T5" fmla="*/ 3 h 12"/>
                <a:gd name="T6" fmla="*/ 6 w 12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6" y="11"/>
                  </a:moveTo>
                  <a:cubicBezTo>
                    <a:pt x="8" y="11"/>
                    <a:pt x="11" y="11"/>
                    <a:pt x="11" y="9"/>
                  </a:cubicBezTo>
                  <a:cubicBezTo>
                    <a:pt x="11" y="3"/>
                    <a:pt x="8" y="0"/>
                    <a:pt x="0" y="3"/>
                  </a:cubicBezTo>
                  <a:cubicBezTo>
                    <a:pt x="0" y="6"/>
                    <a:pt x="3" y="9"/>
                    <a:pt x="6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52" name="Freeform 279"/>
            <p:cNvSpPr>
              <a:spLocks noChangeArrowheads="1"/>
            </p:cNvSpPr>
            <p:nvPr/>
          </p:nvSpPr>
          <p:spPr bwMode="auto">
            <a:xfrm>
              <a:off x="4233863" y="3062288"/>
              <a:ext cx="6350" cy="4762"/>
            </a:xfrm>
            <a:custGeom>
              <a:avLst/>
              <a:gdLst>
                <a:gd name="T0" fmla="*/ 2 w 17"/>
                <a:gd name="T1" fmla="*/ 3 h 15"/>
                <a:gd name="T2" fmla="*/ 16 w 17"/>
                <a:gd name="T3" fmla="*/ 6 h 15"/>
                <a:gd name="T4" fmla="*/ 2 w 17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5">
                  <a:moveTo>
                    <a:pt x="2" y="3"/>
                  </a:moveTo>
                  <a:cubicBezTo>
                    <a:pt x="0" y="9"/>
                    <a:pt x="16" y="14"/>
                    <a:pt x="16" y="6"/>
                  </a:cubicBezTo>
                  <a:cubicBezTo>
                    <a:pt x="16" y="0"/>
                    <a:pt x="8" y="3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53" name="Freeform 280"/>
            <p:cNvSpPr>
              <a:spLocks noChangeArrowheads="1"/>
            </p:cNvSpPr>
            <p:nvPr/>
          </p:nvSpPr>
          <p:spPr bwMode="auto">
            <a:xfrm>
              <a:off x="4416425" y="2530475"/>
              <a:ext cx="3175" cy="3175"/>
            </a:xfrm>
            <a:custGeom>
              <a:avLst/>
              <a:gdLst>
                <a:gd name="T0" fmla="*/ 2 w 9"/>
                <a:gd name="T1" fmla="*/ 9 h 10"/>
                <a:gd name="T2" fmla="*/ 8 w 9"/>
                <a:gd name="T3" fmla="*/ 9 h 10"/>
                <a:gd name="T4" fmla="*/ 2 w 9"/>
                <a:gd name="T5" fmla="*/ 0 h 10"/>
                <a:gd name="T6" fmla="*/ 2 w 9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2" y="9"/>
                  </a:moveTo>
                  <a:cubicBezTo>
                    <a:pt x="5" y="9"/>
                    <a:pt x="5" y="9"/>
                    <a:pt x="8" y="9"/>
                  </a:cubicBezTo>
                  <a:cubicBezTo>
                    <a:pt x="8" y="6"/>
                    <a:pt x="5" y="3"/>
                    <a:pt x="2" y="0"/>
                  </a:cubicBezTo>
                  <a:cubicBezTo>
                    <a:pt x="2" y="0"/>
                    <a:pt x="0" y="6"/>
                    <a:pt x="2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54" name="Freeform 281"/>
            <p:cNvSpPr>
              <a:spLocks noChangeArrowheads="1"/>
            </p:cNvSpPr>
            <p:nvPr/>
          </p:nvSpPr>
          <p:spPr bwMode="auto">
            <a:xfrm>
              <a:off x="4222750" y="3038475"/>
              <a:ext cx="3175" cy="1588"/>
            </a:xfrm>
            <a:custGeom>
              <a:avLst/>
              <a:gdLst>
                <a:gd name="T0" fmla="*/ 6 w 7"/>
                <a:gd name="T1" fmla="*/ 2 h 3"/>
                <a:gd name="T2" fmla="*/ 6 w 7"/>
                <a:gd name="T3" fmla="*/ 0 h 3"/>
                <a:gd name="T4" fmla="*/ 0 w 7"/>
                <a:gd name="T5" fmla="*/ 0 h 3"/>
                <a:gd name="T6" fmla="*/ 6 w 7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6" y="2"/>
                  </a:moveTo>
                  <a:lnTo>
                    <a:pt x="6" y="0"/>
                  </a:lnTo>
                  <a:cubicBezTo>
                    <a:pt x="3" y="0"/>
                    <a:pt x="3" y="0"/>
                    <a:pt x="0" y="0"/>
                  </a:cubicBezTo>
                  <a:cubicBezTo>
                    <a:pt x="0" y="2"/>
                    <a:pt x="3" y="2"/>
                    <a:pt x="6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55" name="Freeform 282"/>
            <p:cNvSpPr>
              <a:spLocks noChangeArrowheads="1"/>
            </p:cNvSpPr>
            <p:nvPr/>
          </p:nvSpPr>
          <p:spPr bwMode="auto">
            <a:xfrm>
              <a:off x="4418013" y="2593975"/>
              <a:ext cx="7937" cy="3175"/>
            </a:xfrm>
            <a:custGeom>
              <a:avLst/>
              <a:gdLst>
                <a:gd name="T0" fmla="*/ 20 w 21"/>
                <a:gd name="T1" fmla="*/ 3 h 10"/>
                <a:gd name="T2" fmla="*/ 20 w 21"/>
                <a:gd name="T3" fmla="*/ 0 h 10"/>
                <a:gd name="T4" fmla="*/ 0 w 21"/>
                <a:gd name="T5" fmla="*/ 0 h 10"/>
                <a:gd name="T6" fmla="*/ 3 w 21"/>
                <a:gd name="T7" fmla="*/ 6 h 10"/>
                <a:gd name="T8" fmla="*/ 20 w 21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0">
                  <a:moveTo>
                    <a:pt x="20" y="3"/>
                  </a:moveTo>
                  <a:lnTo>
                    <a:pt x="20" y="0"/>
                  </a:lnTo>
                  <a:cubicBezTo>
                    <a:pt x="14" y="0"/>
                    <a:pt x="9" y="0"/>
                    <a:pt x="0" y="0"/>
                  </a:cubicBezTo>
                  <a:cubicBezTo>
                    <a:pt x="0" y="3"/>
                    <a:pt x="3" y="6"/>
                    <a:pt x="3" y="6"/>
                  </a:cubicBezTo>
                  <a:cubicBezTo>
                    <a:pt x="9" y="9"/>
                    <a:pt x="14" y="6"/>
                    <a:pt x="2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56" name="Freeform 283"/>
            <p:cNvSpPr>
              <a:spLocks noChangeArrowheads="1"/>
            </p:cNvSpPr>
            <p:nvPr/>
          </p:nvSpPr>
          <p:spPr bwMode="auto">
            <a:xfrm>
              <a:off x="4229100" y="3016250"/>
              <a:ext cx="6350" cy="4763"/>
            </a:xfrm>
            <a:custGeom>
              <a:avLst/>
              <a:gdLst>
                <a:gd name="T0" fmla="*/ 0 w 18"/>
                <a:gd name="T1" fmla="*/ 9 h 15"/>
                <a:gd name="T2" fmla="*/ 9 w 18"/>
                <a:gd name="T3" fmla="*/ 14 h 15"/>
                <a:gd name="T4" fmla="*/ 17 w 18"/>
                <a:gd name="T5" fmla="*/ 6 h 15"/>
                <a:gd name="T6" fmla="*/ 0 w 18"/>
                <a:gd name="T7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0" y="9"/>
                  </a:moveTo>
                  <a:cubicBezTo>
                    <a:pt x="3" y="12"/>
                    <a:pt x="6" y="12"/>
                    <a:pt x="9" y="14"/>
                  </a:cubicBezTo>
                  <a:cubicBezTo>
                    <a:pt x="12" y="12"/>
                    <a:pt x="12" y="9"/>
                    <a:pt x="17" y="6"/>
                  </a:cubicBezTo>
                  <a:cubicBezTo>
                    <a:pt x="9" y="0"/>
                    <a:pt x="0" y="0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57" name="Freeform 284"/>
            <p:cNvSpPr>
              <a:spLocks noChangeArrowheads="1"/>
            </p:cNvSpPr>
            <p:nvPr/>
          </p:nvSpPr>
          <p:spPr bwMode="auto">
            <a:xfrm>
              <a:off x="4229100" y="2324100"/>
              <a:ext cx="6350" cy="4763"/>
            </a:xfrm>
            <a:custGeom>
              <a:avLst/>
              <a:gdLst>
                <a:gd name="T0" fmla="*/ 9 w 18"/>
                <a:gd name="T1" fmla="*/ 14 h 15"/>
                <a:gd name="T2" fmla="*/ 17 w 18"/>
                <a:gd name="T3" fmla="*/ 2 h 15"/>
                <a:gd name="T4" fmla="*/ 9 w 18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9" y="14"/>
                  </a:moveTo>
                  <a:cubicBezTo>
                    <a:pt x="9" y="8"/>
                    <a:pt x="17" y="11"/>
                    <a:pt x="17" y="2"/>
                  </a:cubicBezTo>
                  <a:cubicBezTo>
                    <a:pt x="12" y="0"/>
                    <a:pt x="0" y="8"/>
                    <a:pt x="9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58" name="Freeform 285"/>
            <p:cNvSpPr>
              <a:spLocks noChangeArrowheads="1"/>
            </p:cNvSpPr>
            <p:nvPr/>
          </p:nvSpPr>
          <p:spPr bwMode="auto">
            <a:xfrm>
              <a:off x="4227513" y="3009900"/>
              <a:ext cx="1587" cy="1588"/>
            </a:xfrm>
            <a:custGeom>
              <a:avLst/>
              <a:gdLst>
                <a:gd name="T0" fmla="*/ 2 w 6"/>
                <a:gd name="T1" fmla="*/ 0 h 6"/>
                <a:gd name="T2" fmla="*/ 0 w 6"/>
                <a:gd name="T3" fmla="*/ 0 h 6"/>
                <a:gd name="T4" fmla="*/ 2 w 6"/>
                <a:gd name="T5" fmla="*/ 5 h 6"/>
                <a:gd name="T6" fmla="*/ 2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0" y="0"/>
                  </a:lnTo>
                  <a:cubicBezTo>
                    <a:pt x="0" y="2"/>
                    <a:pt x="2" y="2"/>
                    <a:pt x="2" y="5"/>
                  </a:cubicBezTo>
                  <a:cubicBezTo>
                    <a:pt x="5" y="2"/>
                    <a:pt x="5" y="2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59" name="Freeform 286"/>
            <p:cNvSpPr>
              <a:spLocks noChangeArrowheads="1"/>
            </p:cNvSpPr>
            <p:nvPr/>
          </p:nvSpPr>
          <p:spPr bwMode="auto">
            <a:xfrm>
              <a:off x="4221163" y="2279650"/>
              <a:ext cx="1587" cy="1588"/>
            </a:xfrm>
            <a:custGeom>
              <a:avLst/>
              <a:gdLst>
                <a:gd name="T0" fmla="*/ 5 w 6"/>
                <a:gd name="T1" fmla="*/ 5 h 6"/>
                <a:gd name="T2" fmla="*/ 5 w 6"/>
                <a:gd name="T3" fmla="*/ 5 h 6"/>
                <a:gd name="T4" fmla="*/ 2 w 6"/>
                <a:gd name="T5" fmla="*/ 0 h 6"/>
                <a:gd name="T6" fmla="*/ 5 w 6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5" y="5"/>
                  </a:moveTo>
                  <a:lnTo>
                    <a:pt x="5" y="5"/>
                  </a:lnTo>
                  <a:cubicBezTo>
                    <a:pt x="5" y="2"/>
                    <a:pt x="5" y="0"/>
                    <a:pt x="2" y="0"/>
                  </a:cubicBezTo>
                  <a:cubicBezTo>
                    <a:pt x="0" y="2"/>
                    <a:pt x="0" y="5"/>
                    <a:pt x="5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60" name="Freeform 287"/>
            <p:cNvSpPr>
              <a:spLocks noChangeArrowheads="1"/>
            </p:cNvSpPr>
            <p:nvPr/>
          </p:nvSpPr>
          <p:spPr bwMode="auto">
            <a:xfrm>
              <a:off x="4227513" y="2524125"/>
              <a:ext cx="1587" cy="1588"/>
            </a:xfrm>
            <a:custGeom>
              <a:avLst/>
              <a:gdLst>
                <a:gd name="T0" fmla="*/ 0 w 6"/>
                <a:gd name="T1" fmla="*/ 0 h 4"/>
                <a:gd name="T2" fmla="*/ 0 w 6"/>
                <a:gd name="T3" fmla="*/ 0 h 4"/>
                <a:gd name="T4" fmla="*/ 3 w 6"/>
                <a:gd name="T5" fmla="*/ 3 h 4"/>
                <a:gd name="T6" fmla="*/ 5 w 6"/>
                <a:gd name="T7" fmla="*/ 3 h 4"/>
                <a:gd name="T8" fmla="*/ 0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0" y="0"/>
                  </a:lnTo>
                  <a:lnTo>
                    <a:pt x="3" y="3"/>
                  </a:lnTo>
                  <a:cubicBezTo>
                    <a:pt x="3" y="3"/>
                    <a:pt x="3" y="3"/>
                    <a:pt x="5" y="3"/>
                  </a:cubicBezTo>
                  <a:cubicBezTo>
                    <a:pt x="5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61" name="Freeform 288"/>
            <p:cNvSpPr>
              <a:spLocks noChangeArrowheads="1"/>
            </p:cNvSpPr>
            <p:nvPr/>
          </p:nvSpPr>
          <p:spPr bwMode="auto">
            <a:xfrm>
              <a:off x="4227513" y="2309813"/>
              <a:ext cx="1587" cy="1587"/>
            </a:xfrm>
            <a:custGeom>
              <a:avLst/>
              <a:gdLst>
                <a:gd name="T0" fmla="*/ 0 w 3"/>
                <a:gd name="T1" fmla="*/ 0 h 4"/>
                <a:gd name="T2" fmla="*/ 2 w 3"/>
                <a:gd name="T3" fmla="*/ 3 h 4"/>
                <a:gd name="T4" fmla="*/ 0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cubicBezTo>
                    <a:pt x="0" y="0"/>
                    <a:pt x="0" y="3"/>
                    <a:pt x="2" y="3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62" name="Freeform 289"/>
            <p:cNvSpPr>
              <a:spLocks noChangeArrowheads="1"/>
            </p:cNvSpPr>
            <p:nvPr/>
          </p:nvSpPr>
          <p:spPr bwMode="auto">
            <a:xfrm>
              <a:off x="4206875" y="2625725"/>
              <a:ext cx="3175" cy="3175"/>
            </a:xfrm>
            <a:custGeom>
              <a:avLst/>
              <a:gdLst>
                <a:gd name="T0" fmla="*/ 3 w 7"/>
                <a:gd name="T1" fmla="*/ 0 h 10"/>
                <a:gd name="T2" fmla="*/ 3 w 7"/>
                <a:gd name="T3" fmla="*/ 0 h 10"/>
                <a:gd name="T4" fmla="*/ 3 w 7"/>
                <a:gd name="T5" fmla="*/ 9 h 10"/>
                <a:gd name="T6" fmla="*/ 6 w 7"/>
                <a:gd name="T7" fmla="*/ 9 h 10"/>
                <a:gd name="T8" fmla="*/ 3 w 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3" y="0"/>
                  </a:moveTo>
                  <a:lnTo>
                    <a:pt x="3" y="0"/>
                  </a:lnTo>
                  <a:cubicBezTo>
                    <a:pt x="0" y="3"/>
                    <a:pt x="0" y="6"/>
                    <a:pt x="3" y="9"/>
                  </a:cubicBezTo>
                  <a:lnTo>
                    <a:pt x="6" y="9"/>
                  </a:lnTo>
                  <a:cubicBezTo>
                    <a:pt x="6" y="6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63" name="Freeform 290"/>
            <p:cNvSpPr>
              <a:spLocks noChangeArrowheads="1"/>
            </p:cNvSpPr>
            <p:nvPr/>
          </p:nvSpPr>
          <p:spPr bwMode="auto">
            <a:xfrm>
              <a:off x="4487863" y="2220913"/>
              <a:ext cx="3175" cy="3175"/>
            </a:xfrm>
            <a:custGeom>
              <a:avLst/>
              <a:gdLst>
                <a:gd name="T0" fmla="*/ 6 w 7"/>
                <a:gd name="T1" fmla="*/ 6 h 9"/>
                <a:gd name="T2" fmla="*/ 0 w 7"/>
                <a:gd name="T3" fmla="*/ 0 h 9"/>
                <a:gd name="T4" fmla="*/ 0 w 7"/>
                <a:gd name="T5" fmla="*/ 6 h 9"/>
                <a:gd name="T6" fmla="*/ 6 w 7"/>
                <a:gd name="T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6" y="6"/>
                  </a:moveTo>
                  <a:cubicBezTo>
                    <a:pt x="3" y="3"/>
                    <a:pt x="3" y="3"/>
                    <a:pt x="0" y="0"/>
                  </a:cubicBezTo>
                  <a:lnTo>
                    <a:pt x="0" y="6"/>
                  </a:lnTo>
                  <a:cubicBezTo>
                    <a:pt x="3" y="8"/>
                    <a:pt x="3" y="8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64" name="Freeform 291"/>
            <p:cNvSpPr>
              <a:spLocks noChangeArrowheads="1"/>
            </p:cNvSpPr>
            <p:nvPr/>
          </p:nvSpPr>
          <p:spPr bwMode="auto">
            <a:xfrm>
              <a:off x="4514850" y="2251075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0 w 10"/>
                <a:gd name="T3" fmla="*/ 6 h 7"/>
                <a:gd name="T4" fmla="*/ 9 w 10"/>
                <a:gd name="T5" fmla="*/ 6 h 7"/>
                <a:gd name="T6" fmla="*/ 3 w 10"/>
                <a:gd name="T7" fmla="*/ 0 h 7"/>
                <a:gd name="T8" fmla="*/ 0 w 10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lnTo>
                    <a:pt x="0" y="6"/>
                  </a:lnTo>
                  <a:cubicBezTo>
                    <a:pt x="3" y="6"/>
                    <a:pt x="6" y="6"/>
                    <a:pt x="9" y="6"/>
                  </a:cubicBezTo>
                  <a:cubicBezTo>
                    <a:pt x="6" y="3"/>
                    <a:pt x="6" y="0"/>
                    <a:pt x="3" y="0"/>
                  </a:cubicBezTo>
                  <a:cubicBezTo>
                    <a:pt x="3" y="3"/>
                    <a:pt x="3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65" name="Freeform 292"/>
            <p:cNvSpPr>
              <a:spLocks noChangeArrowheads="1"/>
            </p:cNvSpPr>
            <p:nvPr/>
          </p:nvSpPr>
          <p:spPr bwMode="auto">
            <a:xfrm>
              <a:off x="4513263" y="2247900"/>
              <a:ext cx="3175" cy="3175"/>
            </a:xfrm>
            <a:custGeom>
              <a:avLst/>
              <a:gdLst>
                <a:gd name="T0" fmla="*/ 3 w 7"/>
                <a:gd name="T1" fmla="*/ 8 h 9"/>
                <a:gd name="T2" fmla="*/ 6 w 7"/>
                <a:gd name="T3" fmla="*/ 8 h 9"/>
                <a:gd name="T4" fmla="*/ 0 w 7"/>
                <a:gd name="T5" fmla="*/ 0 h 9"/>
                <a:gd name="T6" fmla="*/ 3 w 7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lnTo>
                    <a:pt x="6" y="8"/>
                  </a:lnTo>
                  <a:cubicBezTo>
                    <a:pt x="3" y="6"/>
                    <a:pt x="0" y="3"/>
                    <a:pt x="0" y="0"/>
                  </a:cubicBezTo>
                  <a:cubicBezTo>
                    <a:pt x="0" y="3"/>
                    <a:pt x="3" y="6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66" name="Freeform 293"/>
            <p:cNvSpPr>
              <a:spLocks noChangeArrowheads="1"/>
            </p:cNvSpPr>
            <p:nvPr/>
          </p:nvSpPr>
          <p:spPr bwMode="auto">
            <a:xfrm>
              <a:off x="4486275" y="2220913"/>
              <a:ext cx="1588" cy="3175"/>
            </a:xfrm>
            <a:custGeom>
              <a:avLst/>
              <a:gdLst>
                <a:gd name="T0" fmla="*/ 0 w 4"/>
                <a:gd name="T1" fmla="*/ 8 h 9"/>
                <a:gd name="T2" fmla="*/ 3 w 4"/>
                <a:gd name="T3" fmla="*/ 0 h 9"/>
                <a:gd name="T4" fmla="*/ 0 w 4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9">
                  <a:moveTo>
                    <a:pt x="0" y="8"/>
                  </a:moveTo>
                  <a:cubicBezTo>
                    <a:pt x="3" y="6"/>
                    <a:pt x="3" y="3"/>
                    <a:pt x="3" y="0"/>
                  </a:cubicBezTo>
                  <a:cubicBezTo>
                    <a:pt x="3" y="0"/>
                    <a:pt x="3" y="3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67" name="Freeform 294"/>
            <p:cNvSpPr>
              <a:spLocks noChangeArrowheads="1"/>
            </p:cNvSpPr>
            <p:nvPr/>
          </p:nvSpPr>
          <p:spPr bwMode="auto">
            <a:xfrm>
              <a:off x="4614863" y="2439988"/>
              <a:ext cx="1587" cy="3175"/>
            </a:xfrm>
            <a:custGeom>
              <a:avLst/>
              <a:gdLst>
                <a:gd name="T0" fmla="*/ 0 w 3"/>
                <a:gd name="T1" fmla="*/ 6 h 7"/>
                <a:gd name="T2" fmla="*/ 2 w 3"/>
                <a:gd name="T3" fmla="*/ 3 h 7"/>
                <a:gd name="T4" fmla="*/ 2 w 3"/>
                <a:gd name="T5" fmla="*/ 3 h 7"/>
                <a:gd name="T6" fmla="*/ 2 w 3"/>
                <a:gd name="T7" fmla="*/ 0 h 7"/>
                <a:gd name="T8" fmla="*/ 0 w 3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6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ubicBezTo>
                    <a:pt x="0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68" name="Freeform 295"/>
            <p:cNvSpPr>
              <a:spLocks noChangeArrowheads="1"/>
            </p:cNvSpPr>
            <p:nvPr/>
          </p:nvSpPr>
          <p:spPr bwMode="auto">
            <a:xfrm>
              <a:off x="4452938" y="2190750"/>
              <a:ext cx="4762" cy="9525"/>
            </a:xfrm>
            <a:custGeom>
              <a:avLst/>
              <a:gdLst>
                <a:gd name="T0" fmla="*/ 0 w 15"/>
                <a:gd name="T1" fmla="*/ 12 h 27"/>
                <a:gd name="T2" fmla="*/ 6 w 15"/>
                <a:gd name="T3" fmla="*/ 26 h 27"/>
                <a:gd name="T4" fmla="*/ 14 w 15"/>
                <a:gd name="T5" fmla="*/ 9 h 27"/>
                <a:gd name="T6" fmla="*/ 6 w 15"/>
                <a:gd name="T7" fmla="*/ 0 h 27"/>
                <a:gd name="T8" fmla="*/ 0 w 15"/>
                <a:gd name="T9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7">
                  <a:moveTo>
                    <a:pt x="0" y="12"/>
                  </a:moveTo>
                  <a:cubicBezTo>
                    <a:pt x="3" y="17"/>
                    <a:pt x="3" y="20"/>
                    <a:pt x="6" y="26"/>
                  </a:cubicBezTo>
                  <a:cubicBezTo>
                    <a:pt x="8" y="20"/>
                    <a:pt x="14" y="14"/>
                    <a:pt x="14" y="9"/>
                  </a:cubicBezTo>
                  <a:cubicBezTo>
                    <a:pt x="11" y="6"/>
                    <a:pt x="8" y="3"/>
                    <a:pt x="6" y="0"/>
                  </a:cubicBezTo>
                  <a:cubicBezTo>
                    <a:pt x="3" y="3"/>
                    <a:pt x="0" y="6"/>
                    <a:pt x="0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69" name="Freeform 296"/>
            <p:cNvSpPr>
              <a:spLocks noChangeArrowheads="1"/>
            </p:cNvSpPr>
            <p:nvPr/>
          </p:nvSpPr>
          <p:spPr bwMode="auto">
            <a:xfrm>
              <a:off x="4465638" y="2200275"/>
              <a:ext cx="3175" cy="4763"/>
            </a:xfrm>
            <a:custGeom>
              <a:avLst/>
              <a:gdLst>
                <a:gd name="T0" fmla="*/ 5 w 9"/>
                <a:gd name="T1" fmla="*/ 11 h 12"/>
                <a:gd name="T2" fmla="*/ 8 w 9"/>
                <a:gd name="T3" fmla="*/ 2 h 12"/>
                <a:gd name="T4" fmla="*/ 5 w 9"/>
                <a:gd name="T5" fmla="*/ 0 h 12"/>
                <a:gd name="T6" fmla="*/ 5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5" y="11"/>
                  </a:moveTo>
                  <a:cubicBezTo>
                    <a:pt x="3" y="8"/>
                    <a:pt x="8" y="5"/>
                    <a:pt x="8" y="2"/>
                  </a:cubicBezTo>
                  <a:lnTo>
                    <a:pt x="5" y="0"/>
                  </a:lnTo>
                  <a:cubicBezTo>
                    <a:pt x="3" y="2"/>
                    <a:pt x="0" y="11"/>
                    <a:pt x="5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70" name="Freeform 297"/>
            <p:cNvSpPr>
              <a:spLocks noChangeArrowheads="1"/>
            </p:cNvSpPr>
            <p:nvPr/>
          </p:nvSpPr>
          <p:spPr bwMode="auto">
            <a:xfrm>
              <a:off x="3940175" y="2101850"/>
              <a:ext cx="6350" cy="4763"/>
            </a:xfrm>
            <a:custGeom>
              <a:avLst/>
              <a:gdLst>
                <a:gd name="T0" fmla="*/ 11 w 18"/>
                <a:gd name="T1" fmla="*/ 14 h 15"/>
                <a:gd name="T2" fmla="*/ 17 w 18"/>
                <a:gd name="T3" fmla="*/ 0 h 15"/>
                <a:gd name="T4" fmla="*/ 0 w 18"/>
                <a:gd name="T5" fmla="*/ 5 h 15"/>
                <a:gd name="T6" fmla="*/ 11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1" y="14"/>
                  </a:moveTo>
                  <a:cubicBezTo>
                    <a:pt x="14" y="8"/>
                    <a:pt x="14" y="5"/>
                    <a:pt x="17" y="0"/>
                  </a:cubicBezTo>
                  <a:cubicBezTo>
                    <a:pt x="11" y="3"/>
                    <a:pt x="6" y="5"/>
                    <a:pt x="0" y="5"/>
                  </a:cubicBezTo>
                  <a:cubicBezTo>
                    <a:pt x="3" y="8"/>
                    <a:pt x="9" y="11"/>
                    <a:pt x="11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71" name="Freeform 298"/>
            <p:cNvSpPr>
              <a:spLocks noChangeArrowheads="1"/>
            </p:cNvSpPr>
            <p:nvPr/>
          </p:nvSpPr>
          <p:spPr bwMode="auto">
            <a:xfrm>
              <a:off x="3932238" y="2106613"/>
              <a:ext cx="3175" cy="3175"/>
            </a:xfrm>
            <a:custGeom>
              <a:avLst/>
              <a:gdLst>
                <a:gd name="T0" fmla="*/ 6 w 7"/>
                <a:gd name="T1" fmla="*/ 3 h 7"/>
                <a:gd name="T2" fmla="*/ 6 w 7"/>
                <a:gd name="T3" fmla="*/ 0 h 7"/>
                <a:gd name="T4" fmla="*/ 0 w 7"/>
                <a:gd name="T5" fmla="*/ 3 h 7"/>
                <a:gd name="T6" fmla="*/ 6 w 7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6" y="3"/>
                  </a:moveTo>
                  <a:lnTo>
                    <a:pt x="6" y="0"/>
                  </a:lnTo>
                  <a:cubicBezTo>
                    <a:pt x="3" y="0"/>
                    <a:pt x="0" y="3"/>
                    <a:pt x="0" y="3"/>
                  </a:cubicBezTo>
                  <a:cubicBezTo>
                    <a:pt x="0" y="6"/>
                    <a:pt x="3" y="6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72" name="Freeform 299"/>
            <p:cNvSpPr>
              <a:spLocks noChangeArrowheads="1"/>
            </p:cNvSpPr>
            <p:nvPr/>
          </p:nvSpPr>
          <p:spPr bwMode="auto">
            <a:xfrm>
              <a:off x="3748088" y="2235200"/>
              <a:ext cx="4762" cy="3175"/>
            </a:xfrm>
            <a:custGeom>
              <a:avLst/>
              <a:gdLst>
                <a:gd name="T0" fmla="*/ 11 w 12"/>
                <a:gd name="T1" fmla="*/ 3 h 10"/>
                <a:gd name="T2" fmla="*/ 3 w 12"/>
                <a:gd name="T3" fmla="*/ 0 h 10"/>
                <a:gd name="T4" fmla="*/ 0 w 12"/>
                <a:gd name="T5" fmla="*/ 3 h 10"/>
                <a:gd name="T6" fmla="*/ 11 w 12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1" y="3"/>
                  </a:moveTo>
                  <a:cubicBezTo>
                    <a:pt x="8" y="6"/>
                    <a:pt x="5" y="0"/>
                    <a:pt x="3" y="0"/>
                  </a:cubicBezTo>
                  <a:lnTo>
                    <a:pt x="0" y="3"/>
                  </a:lnTo>
                  <a:cubicBezTo>
                    <a:pt x="3" y="3"/>
                    <a:pt x="11" y="9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73" name="Freeform 300"/>
            <p:cNvSpPr>
              <a:spLocks noChangeArrowheads="1"/>
            </p:cNvSpPr>
            <p:nvPr/>
          </p:nvSpPr>
          <p:spPr bwMode="auto">
            <a:xfrm>
              <a:off x="3851275" y="2149475"/>
              <a:ext cx="1588" cy="4763"/>
            </a:xfrm>
            <a:custGeom>
              <a:avLst/>
              <a:gdLst>
                <a:gd name="T0" fmla="*/ 3 w 4"/>
                <a:gd name="T1" fmla="*/ 14 h 15"/>
                <a:gd name="T2" fmla="*/ 3 w 4"/>
                <a:gd name="T3" fmla="*/ 0 h 15"/>
                <a:gd name="T4" fmla="*/ 0 w 4"/>
                <a:gd name="T5" fmla="*/ 0 h 15"/>
                <a:gd name="T6" fmla="*/ 3 w 4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5">
                  <a:moveTo>
                    <a:pt x="3" y="14"/>
                  </a:moveTo>
                  <a:cubicBezTo>
                    <a:pt x="3" y="8"/>
                    <a:pt x="3" y="5"/>
                    <a:pt x="3" y="0"/>
                  </a:cubicBezTo>
                  <a:lnTo>
                    <a:pt x="0" y="0"/>
                  </a:lnTo>
                  <a:cubicBezTo>
                    <a:pt x="3" y="5"/>
                    <a:pt x="3" y="11"/>
                    <a:pt x="3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74" name="Freeform 301"/>
            <p:cNvSpPr>
              <a:spLocks noChangeArrowheads="1"/>
            </p:cNvSpPr>
            <p:nvPr/>
          </p:nvSpPr>
          <p:spPr bwMode="auto">
            <a:xfrm>
              <a:off x="4541838" y="2439988"/>
              <a:ext cx="6350" cy="9525"/>
            </a:xfrm>
            <a:custGeom>
              <a:avLst/>
              <a:gdLst>
                <a:gd name="T0" fmla="*/ 3 w 18"/>
                <a:gd name="T1" fmla="*/ 23 h 27"/>
                <a:gd name="T2" fmla="*/ 3 w 18"/>
                <a:gd name="T3" fmla="*/ 23 h 27"/>
                <a:gd name="T4" fmla="*/ 17 w 18"/>
                <a:gd name="T5" fmla="*/ 23 h 27"/>
                <a:gd name="T6" fmla="*/ 14 w 18"/>
                <a:gd name="T7" fmla="*/ 9 h 27"/>
                <a:gd name="T8" fmla="*/ 0 w 18"/>
                <a:gd name="T9" fmla="*/ 9 h 27"/>
                <a:gd name="T10" fmla="*/ 3 w 18"/>
                <a:gd name="T11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7">
                  <a:moveTo>
                    <a:pt x="3" y="23"/>
                  </a:moveTo>
                  <a:cubicBezTo>
                    <a:pt x="3" y="26"/>
                    <a:pt x="6" y="26"/>
                    <a:pt x="3" y="23"/>
                  </a:cubicBezTo>
                  <a:cubicBezTo>
                    <a:pt x="12" y="20"/>
                    <a:pt x="9" y="23"/>
                    <a:pt x="17" y="23"/>
                  </a:cubicBezTo>
                  <a:cubicBezTo>
                    <a:pt x="17" y="17"/>
                    <a:pt x="14" y="14"/>
                    <a:pt x="14" y="9"/>
                  </a:cubicBezTo>
                  <a:cubicBezTo>
                    <a:pt x="9" y="3"/>
                    <a:pt x="3" y="0"/>
                    <a:pt x="0" y="9"/>
                  </a:cubicBezTo>
                  <a:cubicBezTo>
                    <a:pt x="6" y="9"/>
                    <a:pt x="0" y="20"/>
                    <a:pt x="3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75" name="Freeform 302"/>
            <p:cNvSpPr>
              <a:spLocks noChangeArrowheads="1"/>
            </p:cNvSpPr>
            <p:nvPr/>
          </p:nvSpPr>
          <p:spPr bwMode="auto">
            <a:xfrm>
              <a:off x="4122738" y="3081338"/>
              <a:ext cx="6350" cy="3175"/>
            </a:xfrm>
            <a:custGeom>
              <a:avLst/>
              <a:gdLst>
                <a:gd name="T0" fmla="*/ 3 w 17"/>
                <a:gd name="T1" fmla="*/ 0 h 10"/>
                <a:gd name="T2" fmla="*/ 0 w 17"/>
                <a:gd name="T3" fmla="*/ 9 h 10"/>
                <a:gd name="T4" fmla="*/ 7 w 17"/>
                <a:gd name="T5" fmla="*/ 9 h 10"/>
                <a:gd name="T6" fmla="*/ 16 w 17"/>
                <a:gd name="T7" fmla="*/ 9 h 10"/>
                <a:gd name="T8" fmla="*/ 3 w 1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0">
                  <a:moveTo>
                    <a:pt x="3" y="0"/>
                  </a:moveTo>
                  <a:cubicBezTo>
                    <a:pt x="3" y="0"/>
                    <a:pt x="0" y="6"/>
                    <a:pt x="0" y="9"/>
                  </a:cubicBezTo>
                  <a:cubicBezTo>
                    <a:pt x="3" y="9"/>
                    <a:pt x="6" y="9"/>
                    <a:pt x="7" y="9"/>
                  </a:cubicBezTo>
                  <a:cubicBezTo>
                    <a:pt x="10" y="9"/>
                    <a:pt x="13" y="9"/>
                    <a:pt x="16" y="9"/>
                  </a:cubicBezTo>
                  <a:cubicBezTo>
                    <a:pt x="16" y="3"/>
                    <a:pt x="10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76" name="Freeform 303"/>
            <p:cNvSpPr>
              <a:spLocks noChangeArrowheads="1"/>
            </p:cNvSpPr>
            <p:nvPr/>
          </p:nvSpPr>
          <p:spPr bwMode="auto">
            <a:xfrm>
              <a:off x="3767138" y="2936875"/>
              <a:ext cx="1587" cy="1588"/>
            </a:xfrm>
            <a:custGeom>
              <a:avLst/>
              <a:gdLst>
                <a:gd name="T0" fmla="*/ 0 w 4"/>
                <a:gd name="T1" fmla="*/ 0 h 3"/>
                <a:gd name="T2" fmla="*/ 0 w 4"/>
                <a:gd name="T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cubicBezTo>
                    <a:pt x="0" y="0"/>
                    <a:pt x="3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77" name="Freeform 304"/>
            <p:cNvSpPr>
              <a:spLocks noChangeArrowheads="1"/>
            </p:cNvSpPr>
            <p:nvPr/>
          </p:nvSpPr>
          <p:spPr bwMode="auto">
            <a:xfrm>
              <a:off x="3725863" y="2890838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5 w 9"/>
                <a:gd name="T3" fmla="*/ 11 h 12"/>
                <a:gd name="T4" fmla="*/ 8 w 9"/>
                <a:gd name="T5" fmla="*/ 3 h 12"/>
                <a:gd name="T6" fmla="*/ 0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2" y="5"/>
                    <a:pt x="2" y="8"/>
                    <a:pt x="5" y="11"/>
                  </a:cubicBezTo>
                  <a:cubicBezTo>
                    <a:pt x="5" y="8"/>
                    <a:pt x="8" y="5"/>
                    <a:pt x="8" y="3"/>
                  </a:cubicBezTo>
                  <a:cubicBezTo>
                    <a:pt x="5" y="0"/>
                    <a:pt x="2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78" name="Freeform 305"/>
            <p:cNvSpPr>
              <a:spLocks noChangeArrowheads="1"/>
            </p:cNvSpPr>
            <p:nvPr/>
          </p:nvSpPr>
          <p:spPr bwMode="auto">
            <a:xfrm>
              <a:off x="3665538" y="2790825"/>
              <a:ext cx="3175" cy="4763"/>
            </a:xfrm>
            <a:custGeom>
              <a:avLst/>
              <a:gdLst>
                <a:gd name="T0" fmla="*/ 0 w 10"/>
                <a:gd name="T1" fmla="*/ 0 h 13"/>
                <a:gd name="T2" fmla="*/ 6 w 10"/>
                <a:gd name="T3" fmla="*/ 12 h 13"/>
                <a:gd name="T4" fmla="*/ 9 w 10"/>
                <a:gd name="T5" fmla="*/ 0 h 13"/>
                <a:gd name="T6" fmla="*/ 0 w 1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0" y="0"/>
                  </a:moveTo>
                  <a:cubicBezTo>
                    <a:pt x="3" y="3"/>
                    <a:pt x="3" y="9"/>
                    <a:pt x="6" y="12"/>
                  </a:cubicBezTo>
                  <a:cubicBezTo>
                    <a:pt x="6" y="9"/>
                    <a:pt x="9" y="3"/>
                    <a:pt x="9" y="0"/>
                  </a:cubicBezTo>
                  <a:cubicBezTo>
                    <a:pt x="6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79" name="Freeform 306"/>
            <p:cNvSpPr>
              <a:spLocks noChangeArrowheads="1"/>
            </p:cNvSpPr>
            <p:nvPr/>
          </p:nvSpPr>
          <p:spPr bwMode="auto">
            <a:xfrm>
              <a:off x="3987800" y="3063875"/>
              <a:ext cx="4763" cy="3175"/>
            </a:xfrm>
            <a:custGeom>
              <a:avLst/>
              <a:gdLst>
                <a:gd name="T0" fmla="*/ 8 w 15"/>
                <a:gd name="T1" fmla="*/ 0 h 7"/>
                <a:gd name="T2" fmla="*/ 5 w 15"/>
                <a:gd name="T3" fmla="*/ 3 h 7"/>
                <a:gd name="T4" fmla="*/ 0 w 15"/>
                <a:gd name="T5" fmla="*/ 0 h 7"/>
                <a:gd name="T6" fmla="*/ 0 w 15"/>
                <a:gd name="T7" fmla="*/ 0 h 7"/>
                <a:gd name="T8" fmla="*/ 0 w 15"/>
                <a:gd name="T9" fmla="*/ 3 h 7"/>
                <a:gd name="T10" fmla="*/ 11 w 15"/>
                <a:gd name="T11" fmla="*/ 6 h 7"/>
                <a:gd name="T12" fmla="*/ 11 w 15"/>
                <a:gd name="T13" fmla="*/ 6 h 7"/>
                <a:gd name="T14" fmla="*/ 11 w 15"/>
                <a:gd name="T15" fmla="*/ 6 h 7"/>
                <a:gd name="T16" fmla="*/ 11 w 15"/>
                <a:gd name="T17" fmla="*/ 6 h 7"/>
                <a:gd name="T18" fmla="*/ 8 w 15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7">
                  <a:moveTo>
                    <a:pt x="8" y="0"/>
                  </a:moveTo>
                  <a:lnTo>
                    <a:pt x="5" y="3"/>
                  </a:lnTo>
                  <a:cubicBezTo>
                    <a:pt x="2" y="3"/>
                    <a:pt x="2" y="0"/>
                    <a:pt x="0" y="0"/>
                  </a:cubicBezTo>
                  <a:lnTo>
                    <a:pt x="0" y="0"/>
                  </a:lnTo>
                  <a:lnTo>
                    <a:pt x="0" y="3"/>
                  </a:lnTo>
                  <a:cubicBezTo>
                    <a:pt x="2" y="3"/>
                    <a:pt x="5" y="6"/>
                    <a:pt x="11" y="6"/>
                  </a:cubicBez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cubicBezTo>
                    <a:pt x="14" y="6"/>
                    <a:pt x="11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80" name="Freeform 307"/>
            <p:cNvSpPr>
              <a:spLocks noChangeArrowheads="1"/>
            </p:cNvSpPr>
            <p:nvPr/>
          </p:nvSpPr>
          <p:spPr bwMode="auto">
            <a:xfrm>
              <a:off x="3938588" y="3046413"/>
              <a:ext cx="3175" cy="3175"/>
            </a:xfrm>
            <a:custGeom>
              <a:avLst/>
              <a:gdLst>
                <a:gd name="T0" fmla="*/ 3 w 7"/>
                <a:gd name="T1" fmla="*/ 0 h 7"/>
                <a:gd name="T2" fmla="*/ 0 w 7"/>
                <a:gd name="T3" fmla="*/ 3 h 7"/>
                <a:gd name="T4" fmla="*/ 3 w 7"/>
                <a:gd name="T5" fmla="*/ 3 h 7"/>
                <a:gd name="T6" fmla="*/ 3 w 7"/>
                <a:gd name="T7" fmla="*/ 0 h 7"/>
                <a:gd name="T8" fmla="*/ 6 w 7"/>
                <a:gd name="T9" fmla="*/ 6 h 7"/>
                <a:gd name="T10" fmla="*/ 3 w 7"/>
                <a:gd name="T11" fmla="*/ 3 h 7"/>
                <a:gd name="T12" fmla="*/ 6 w 7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7">
                  <a:moveTo>
                    <a:pt x="3" y="0"/>
                  </a:moveTo>
                  <a:lnTo>
                    <a:pt x="0" y="3"/>
                  </a:ln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1"/>
                    <a:pt x="3" y="0"/>
                  </a:cubicBezTo>
                  <a:close/>
                  <a:moveTo>
                    <a:pt x="6" y="6"/>
                  </a:moveTo>
                  <a:cubicBezTo>
                    <a:pt x="4" y="6"/>
                    <a:pt x="4" y="5"/>
                    <a:pt x="3" y="3"/>
                  </a:cubicBezTo>
                  <a:cubicBezTo>
                    <a:pt x="4" y="4"/>
                    <a:pt x="5" y="5"/>
                    <a:pt x="6" y="6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81" name="Freeform 308"/>
            <p:cNvSpPr>
              <a:spLocks noChangeArrowheads="1"/>
            </p:cNvSpPr>
            <p:nvPr/>
          </p:nvSpPr>
          <p:spPr bwMode="auto">
            <a:xfrm>
              <a:off x="3652838" y="2755900"/>
              <a:ext cx="1587" cy="3175"/>
            </a:xfrm>
            <a:custGeom>
              <a:avLst/>
              <a:gdLst>
                <a:gd name="T0" fmla="*/ 3 w 4"/>
                <a:gd name="T1" fmla="*/ 0 h 10"/>
                <a:gd name="T2" fmla="*/ 0 w 4"/>
                <a:gd name="T3" fmla="*/ 6 h 10"/>
                <a:gd name="T4" fmla="*/ 0 w 4"/>
                <a:gd name="T5" fmla="*/ 9 h 10"/>
                <a:gd name="T6" fmla="*/ 3 w 4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0"/>
                  </a:moveTo>
                  <a:cubicBezTo>
                    <a:pt x="0" y="3"/>
                    <a:pt x="0" y="3"/>
                    <a:pt x="0" y="6"/>
                  </a:cubicBezTo>
                  <a:lnTo>
                    <a:pt x="0" y="9"/>
                  </a:lnTo>
                  <a:cubicBezTo>
                    <a:pt x="0" y="6"/>
                    <a:pt x="3" y="6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82" name="Freeform 309"/>
            <p:cNvSpPr>
              <a:spLocks noChangeArrowheads="1"/>
            </p:cNvSpPr>
            <p:nvPr/>
          </p:nvSpPr>
          <p:spPr bwMode="auto">
            <a:xfrm>
              <a:off x="3889375" y="3024188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0 w 9"/>
                <a:gd name="T3" fmla="*/ 6 h 10"/>
                <a:gd name="T4" fmla="*/ 8 w 9"/>
                <a:gd name="T5" fmla="*/ 9 h 10"/>
                <a:gd name="T6" fmla="*/ 8 w 9"/>
                <a:gd name="T7" fmla="*/ 0 h 10"/>
                <a:gd name="T8" fmla="*/ 0 w 9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lnTo>
                    <a:pt x="0" y="6"/>
                  </a:lnTo>
                  <a:cubicBezTo>
                    <a:pt x="3" y="9"/>
                    <a:pt x="6" y="9"/>
                    <a:pt x="8" y="9"/>
                  </a:cubicBezTo>
                  <a:cubicBezTo>
                    <a:pt x="8" y="6"/>
                    <a:pt x="8" y="3"/>
                    <a:pt x="8" y="0"/>
                  </a:cubicBezTo>
                  <a:cubicBezTo>
                    <a:pt x="6" y="3"/>
                    <a:pt x="3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83" name="Freeform 310"/>
            <p:cNvSpPr>
              <a:spLocks noChangeArrowheads="1"/>
            </p:cNvSpPr>
            <p:nvPr/>
          </p:nvSpPr>
          <p:spPr bwMode="auto">
            <a:xfrm>
              <a:off x="3765550" y="2930525"/>
              <a:ext cx="4763" cy="4763"/>
            </a:xfrm>
            <a:custGeom>
              <a:avLst/>
              <a:gdLst>
                <a:gd name="T0" fmla="*/ 14 w 15"/>
                <a:gd name="T1" fmla="*/ 0 h 15"/>
                <a:gd name="T2" fmla="*/ 6 w 15"/>
                <a:gd name="T3" fmla="*/ 2 h 15"/>
                <a:gd name="T4" fmla="*/ 6 w 15"/>
                <a:gd name="T5" fmla="*/ 8 h 15"/>
                <a:gd name="T6" fmla="*/ 8 w 15"/>
                <a:gd name="T7" fmla="*/ 8 h 15"/>
                <a:gd name="T8" fmla="*/ 0 w 15"/>
                <a:gd name="T9" fmla="*/ 11 h 15"/>
                <a:gd name="T10" fmla="*/ 3 w 15"/>
                <a:gd name="T11" fmla="*/ 14 h 15"/>
                <a:gd name="T12" fmla="*/ 11 w 15"/>
                <a:gd name="T13" fmla="*/ 14 h 15"/>
                <a:gd name="T14" fmla="*/ 14 w 15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14" y="0"/>
                  </a:moveTo>
                  <a:cubicBezTo>
                    <a:pt x="11" y="0"/>
                    <a:pt x="8" y="0"/>
                    <a:pt x="6" y="2"/>
                  </a:cubicBezTo>
                  <a:cubicBezTo>
                    <a:pt x="6" y="5"/>
                    <a:pt x="6" y="5"/>
                    <a:pt x="6" y="8"/>
                  </a:cubicBezTo>
                  <a:cubicBezTo>
                    <a:pt x="6" y="8"/>
                    <a:pt x="6" y="8"/>
                    <a:pt x="8" y="8"/>
                  </a:cubicBezTo>
                  <a:cubicBezTo>
                    <a:pt x="6" y="8"/>
                    <a:pt x="3" y="11"/>
                    <a:pt x="0" y="11"/>
                  </a:cubicBezTo>
                  <a:lnTo>
                    <a:pt x="3" y="14"/>
                  </a:lnTo>
                  <a:cubicBezTo>
                    <a:pt x="6" y="14"/>
                    <a:pt x="8" y="14"/>
                    <a:pt x="11" y="14"/>
                  </a:cubicBezTo>
                  <a:cubicBezTo>
                    <a:pt x="11" y="8"/>
                    <a:pt x="14" y="5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84" name="Freeform 311"/>
            <p:cNvSpPr>
              <a:spLocks noChangeArrowheads="1"/>
            </p:cNvSpPr>
            <p:nvPr/>
          </p:nvSpPr>
          <p:spPr bwMode="auto">
            <a:xfrm>
              <a:off x="3624263" y="2492375"/>
              <a:ext cx="1587" cy="317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0 h 7"/>
                <a:gd name="T4" fmla="*/ 5 w 6"/>
                <a:gd name="T5" fmla="*/ 6 h 7"/>
                <a:gd name="T6" fmla="*/ 0 w 6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lnTo>
                    <a:pt x="0" y="0"/>
                  </a:lnTo>
                  <a:cubicBezTo>
                    <a:pt x="2" y="3"/>
                    <a:pt x="5" y="3"/>
                    <a:pt x="5" y="6"/>
                  </a:cubicBezTo>
                  <a:cubicBezTo>
                    <a:pt x="5" y="3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85" name="Freeform 312"/>
            <p:cNvSpPr>
              <a:spLocks noChangeArrowheads="1"/>
            </p:cNvSpPr>
            <p:nvPr/>
          </p:nvSpPr>
          <p:spPr bwMode="auto">
            <a:xfrm>
              <a:off x="3619500" y="2532063"/>
              <a:ext cx="3175" cy="3175"/>
            </a:xfrm>
            <a:custGeom>
              <a:avLst/>
              <a:gdLst>
                <a:gd name="T0" fmla="*/ 3 w 7"/>
                <a:gd name="T1" fmla="*/ 8 h 9"/>
                <a:gd name="T2" fmla="*/ 6 w 7"/>
                <a:gd name="T3" fmla="*/ 6 h 9"/>
                <a:gd name="T4" fmla="*/ 0 w 7"/>
                <a:gd name="T5" fmla="*/ 0 h 9"/>
                <a:gd name="T6" fmla="*/ 0 w 7"/>
                <a:gd name="T7" fmla="*/ 3 h 9"/>
                <a:gd name="T8" fmla="*/ 3 w 7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lnTo>
                    <a:pt x="6" y="6"/>
                  </a:lnTo>
                  <a:cubicBezTo>
                    <a:pt x="6" y="3"/>
                    <a:pt x="6" y="0"/>
                    <a:pt x="0" y="0"/>
                  </a:cubicBezTo>
                  <a:lnTo>
                    <a:pt x="0" y="3"/>
                  </a:lnTo>
                  <a:cubicBezTo>
                    <a:pt x="0" y="3"/>
                    <a:pt x="0" y="8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86" name="Freeform 313"/>
            <p:cNvSpPr>
              <a:spLocks noChangeArrowheads="1"/>
            </p:cNvSpPr>
            <p:nvPr/>
          </p:nvSpPr>
          <p:spPr bwMode="auto">
            <a:xfrm>
              <a:off x="3624263" y="2654300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  <a:gd name="T4" fmla="*/ 0 w 4"/>
                <a:gd name="T5" fmla="*/ 3 h 4"/>
                <a:gd name="T6" fmla="*/ 3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0" y="3"/>
                    <a:pt x="3" y="0"/>
                  </a:cubicBezTo>
                  <a:lnTo>
                    <a:pt x="0" y="3"/>
                  </a:lnTo>
                  <a:cubicBezTo>
                    <a:pt x="0" y="3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87" name="Freeform 314"/>
            <p:cNvSpPr>
              <a:spLocks noChangeArrowheads="1"/>
            </p:cNvSpPr>
            <p:nvPr/>
          </p:nvSpPr>
          <p:spPr bwMode="auto">
            <a:xfrm>
              <a:off x="3635375" y="2436813"/>
              <a:ext cx="15875" cy="7937"/>
            </a:xfrm>
            <a:custGeom>
              <a:avLst/>
              <a:gdLst>
                <a:gd name="T0" fmla="*/ 17 w 43"/>
                <a:gd name="T1" fmla="*/ 11 h 23"/>
                <a:gd name="T2" fmla="*/ 17 w 43"/>
                <a:gd name="T3" fmla="*/ 8 h 23"/>
                <a:gd name="T4" fmla="*/ 22 w 43"/>
                <a:gd name="T5" fmla="*/ 8 h 23"/>
                <a:gd name="T6" fmla="*/ 22 w 43"/>
                <a:gd name="T7" fmla="*/ 11 h 23"/>
                <a:gd name="T8" fmla="*/ 42 w 43"/>
                <a:gd name="T9" fmla="*/ 0 h 23"/>
                <a:gd name="T10" fmla="*/ 39 w 43"/>
                <a:gd name="T11" fmla="*/ 0 h 23"/>
                <a:gd name="T12" fmla="*/ 25 w 43"/>
                <a:gd name="T13" fmla="*/ 8 h 23"/>
                <a:gd name="T14" fmla="*/ 25 w 43"/>
                <a:gd name="T15" fmla="*/ 3 h 23"/>
                <a:gd name="T16" fmla="*/ 5 w 43"/>
                <a:gd name="T17" fmla="*/ 11 h 23"/>
                <a:gd name="T18" fmla="*/ 3 w 43"/>
                <a:gd name="T19" fmla="*/ 11 h 23"/>
                <a:gd name="T20" fmla="*/ 0 w 43"/>
                <a:gd name="T21" fmla="*/ 22 h 23"/>
                <a:gd name="T22" fmla="*/ 0 w 43"/>
                <a:gd name="T23" fmla="*/ 22 h 23"/>
                <a:gd name="T24" fmla="*/ 0 w 43"/>
                <a:gd name="T25" fmla="*/ 22 h 23"/>
                <a:gd name="T26" fmla="*/ 0 w 43"/>
                <a:gd name="T27" fmla="*/ 22 h 23"/>
                <a:gd name="T28" fmla="*/ 5 w 43"/>
                <a:gd name="T29" fmla="*/ 19 h 23"/>
                <a:gd name="T30" fmla="*/ 17 w 43"/>
                <a:gd name="T31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" h="23">
                  <a:moveTo>
                    <a:pt x="17" y="11"/>
                  </a:moveTo>
                  <a:lnTo>
                    <a:pt x="17" y="8"/>
                  </a:lnTo>
                  <a:lnTo>
                    <a:pt x="22" y="8"/>
                  </a:lnTo>
                  <a:lnTo>
                    <a:pt x="22" y="11"/>
                  </a:lnTo>
                  <a:cubicBezTo>
                    <a:pt x="28" y="8"/>
                    <a:pt x="36" y="5"/>
                    <a:pt x="42" y="0"/>
                  </a:cubicBezTo>
                  <a:lnTo>
                    <a:pt x="39" y="0"/>
                  </a:lnTo>
                  <a:cubicBezTo>
                    <a:pt x="34" y="0"/>
                    <a:pt x="34" y="8"/>
                    <a:pt x="25" y="8"/>
                  </a:cubicBezTo>
                  <a:cubicBezTo>
                    <a:pt x="25" y="5"/>
                    <a:pt x="25" y="3"/>
                    <a:pt x="25" y="3"/>
                  </a:cubicBezTo>
                  <a:cubicBezTo>
                    <a:pt x="19" y="5"/>
                    <a:pt x="14" y="8"/>
                    <a:pt x="5" y="11"/>
                  </a:cubicBezTo>
                  <a:lnTo>
                    <a:pt x="3" y="11"/>
                  </a:lnTo>
                  <a:cubicBezTo>
                    <a:pt x="3" y="14"/>
                    <a:pt x="0" y="17"/>
                    <a:pt x="0" y="22"/>
                  </a:cubicBez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cubicBezTo>
                    <a:pt x="3" y="22"/>
                    <a:pt x="3" y="22"/>
                    <a:pt x="5" y="19"/>
                  </a:cubicBezTo>
                  <a:cubicBezTo>
                    <a:pt x="8" y="14"/>
                    <a:pt x="14" y="14"/>
                    <a:pt x="17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88" name="Freeform 315"/>
            <p:cNvSpPr>
              <a:spLocks noChangeArrowheads="1"/>
            </p:cNvSpPr>
            <p:nvPr/>
          </p:nvSpPr>
          <p:spPr bwMode="auto">
            <a:xfrm>
              <a:off x="3616325" y="2573338"/>
              <a:ext cx="4763" cy="6350"/>
            </a:xfrm>
            <a:custGeom>
              <a:avLst/>
              <a:gdLst>
                <a:gd name="T0" fmla="*/ 8 w 12"/>
                <a:gd name="T1" fmla="*/ 2 h 19"/>
                <a:gd name="T2" fmla="*/ 0 w 12"/>
                <a:gd name="T3" fmla="*/ 0 h 19"/>
                <a:gd name="T4" fmla="*/ 0 w 12"/>
                <a:gd name="T5" fmla="*/ 7 h 19"/>
                <a:gd name="T6" fmla="*/ 0 w 12"/>
                <a:gd name="T7" fmla="*/ 16 h 19"/>
                <a:gd name="T8" fmla="*/ 8 w 12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">
                  <a:moveTo>
                    <a:pt x="8" y="2"/>
                  </a:moveTo>
                  <a:cubicBezTo>
                    <a:pt x="8" y="2"/>
                    <a:pt x="3" y="0"/>
                    <a:pt x="0" y="0"/>
                  </a:cubicBezTo>
                  <a:cubicBezTo>
                    <a:pt x="0" y="3"/>
                    <a:pt x="0" y="4"/>
                    <a:pt x="0" y="7"/>
                  </a:cubicBezTo>
                  <a:cubicBezTo>
                    <a:pt x="0" y="10"/>
                    <a:pt x="0" y="13"/>
                    <a:pt x="0" y="16"/>
                  </a:cubicBezTo>
                  <a:cubicBezTo>
                    <a:pt x="8" y="18"/>
                    <a:pt x="11" y="13"/>
                    <a:pt x="8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89" name="Freeform 316"/>
            <p:cNvSpPr>
              <a:spLocks noChangeArrowheads="1"/>
            </p:cNvSpPr>
            <p:nvPr/>
          </p:nvSpPr>
          <p:spPr bwMode="auto">
            <a:xfrm>
              <a:off x="3621088" y="2632075"/>
              <a:ext cx="3175" cy="3175"/>
            </a:xfrm>
            <a:custGeom>
              <a:avLst/>
              <a:gdLst>
                <a:gd name="T0" fmla="*/ 6 w 7"/>
                <a:gd name="T1" fmla="*/ 3 h 10"/>
                <a:gd name="T2" fmla="*/ 0 w 7"/>
                <a:gd name="T3" fmla="*/ 0 h 10"/>
                <a:gd name="T4" fmla="*/ 0 w 7"/>
                <a:gd name="T5" fmla="*/ 6 h 10"/>
                <a:gd name="T6" fmla="*/ 6 w 7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3"/>
                  </a:moveTo>
                  <a:cubicBezTo>
                    <a:pt x="3" y="3"/>
                    <a:pt x="3" y="3"/>
                    <a:pt x="0" y="0"/>
                  </a:cubicBezTo>
                  <a:cubicBezTo>
                    <a:pt x="0" y="3"/>
                    <a:pt x="0" y="3"/>
                    <a:pt x="0" y="6"/>
                  </a:cubicBezTo>
                  <a:cubicBezTo>
                    <a:pt x="3" y="9"/>
                    <a:pt x="6" y="6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90" name="Freeform 317"/>
            <p:cNvSpPr>
              <a:spLocks noChangeArrowheads="1"/>
            </p:cNvSpPr>
            <p:nvPr/>
          </p:nvSpPr>
          <p:spPr bwMode="auto">
            <a:xfrm>
              <a:off x="4176713" y="3076575"/>
              <a:ext cx="12700" cy="4763"/>
            </a:xfrm>
            <a:custGeom>
              <a:avLst/>
              <a:gdLst>
                <a:gd name="T0" fmla="*/ 0 w 35"/>
                <a:gd name="T1" fmla="*/ 11 h 12"/>
                <a:gd name="T2" fmla="*/ 0 w 35"/>
                <a:gd name="T3" fmla="*/ 11 h 12"/>
                <a:gd name="T4" fmla="*/ 34 w 35"/>
                <a:gd name="T5" fmla="*/ 8 h 12"/>
                <a:gd name="T6" fmla="*/ 34 w 35"/>
                <a:gd name="T7" fmla="*/ 8 h 12"/>
                <a:gd name="T8" fmla="*/ 0 w 35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2">
                  <a:moveTo>
                    <a:pt x="0" y="11"/>
                  </a:moveTo>
                  <a:lnTo>
                    <a:pt x="0" y="11"/>
                  </a:lnTo>
                  <a:cubicBezTo>
                    <a:pt x="12" y="11"/>
                    <a:pt x="23" y="11"/>
                    <a:pt x="34" y="8"/>
                  </a:cubicBezTo>
                  <a:lnTo>
                    <a:pt x="34" y="8"/>
                  </a:lnTo>
                  <a:cubicBezTo>
                    <a:pt x="23" y="0"/>
                    <a:pt x="9" y="3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91" name="Freeform 318"/>
            <p:cNvSpPr>
              <a:spLocks noChangeArrowheads="1"/>
            </p:cNvSpPr>
            <p:nvPr/>
          </p:nvSpPr>
          <p:spPr bwMode="auto">
            <a:xfrm>
              <a:off x="4479925" y="2933700"/>
              <a:ext cx="4763" cy="3175"/>
            </a:xfrm>
            <a:custGeom>
              <a:avLst/>
              <a:gdLst>
                <a:gd name="T0" fmla="*/ 14 w 15"/>
                <a:gd name="T1" fmla="*/ 3 h 10"/>
                <a:gd name="T2" fmla="*/ 14 w 15"/>
                <a:gd name="T3" fmla="*/ 3 h 10"/>
                <a:gd name="T4" fmla="*/ 14 w 15"/>
                <a:gd name="T5" fmla="*/ 3 h 10"/>
                <a:gd name="T6" fmla="*/ 0 w 15"/>
                <a:gd name="T7" fmla="*/ 9 h 10"/>
                <a:gd name="T8" fmla="*/ 9 w 15"/>
                <a:gd name="T9" fmla="*/ 9 h 10"/>
                <a:gd name="T10" fmla="*/ 14 w 15"/>
                <a:gd name="T1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0">
                  <a:moveTo>
                    <a:pt x="14" y="3"/>
                  </a:moveTo>
                  <a:lnTo>
                    <a:pt x="14" y="3"/>
                  </a:lnTo>
                  <a:lnTo>
                    <a:pt x="14" y="3"/>
                  </a:lnTo>
                  <a:cubicBezTo>
                    <a:pt x="6" y="0"/>
                    <a:pt x="0" y="0"/>
                    <a:pt x="0" y="9"/>
                  </a:cubicBezTo>
                  <a:cubicBezTo>
                    <a:pt x="3" y="9"/>
                    <a:pt x="6" y="9"/>
                    <a:pt x="9" y="9"/>
                  </a:cubicBezTo>
                  <a:cubicBezTo>
                    <a:pt x="11" y="9"/>
                    <a:pt x="11" y="6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92" name="Freeform 319"/>
            <p:cNvSpPr>
              <a:spLocks noChangeArrowheads="1"/>
            </p:cNvSpPr>
            <p:nvPr/>
          </p:nvSpPr>
          <p:spPr bwMode="auto">
            <a:xfrm>
              <a:off x="4451350" y="2963863"/>
              <a:ext cx="3175" cy="3175"/>
            </a:xfrm>
            <a:custGeom>
              <a:avLst/>
              <a:gdLst>
                <a:gd name="T0" fmla="*/ 0 w 7"/>
                <a:gd name="T1" fmla="*/ 3 h 7"/>
                <a:gd name="T2" fmla="*/ 0 w 7"/>
                <a:gd name="T3" fmla="*/ 6 h 7"/>
                <a:gd name="T4" fmla="*/ 6 w 7"/>
                <a:gd name="T5" fmla="*/ 0 h 7"/>
                <a:gd name="T6" fmla="*/ 0 w 7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3"/>
                  </a:moveTo>
                  <a:lnTo>
                    <a:pt x="0" y="6"/>
                  </a:lnTo>
                  <a:cubicBezTo>
                    <a:pt x="3" y="3"/>
                    <a:pt x="3" y="3"/>
                    <a:pt x="6" y="0"/>
                  </a:cubicBezTo>
                  <a:cubicBezTo>
                    <a:pt x="3" y="0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93" name="Freeform 320"/>
            <p:cNvSpPr>
              <a:spLocks noChangeArrowheads="1"/>
            </p:cNvSpPr>
            <p:nvPr/>
          </p:nvSpPr>
          <p:spPr bwMode="auto">
            <a:xfrm>
              <a:off x="4486275" y="2932113"/>
              <a:ext cx="1588" cy="3175"/>
            </a:xfrm>
            <a:custGeom>
              <a:avLst/>
              <a:gdLst>
                <a:gd name="T0" fmla="*/ 3 w 4"/>
                <a:gd name="T1" fmla="*/ 0 h 7"/>
                <a:gd name="T2" fmla="*/ 0 w 4"/>
                <a:gd name="T3" fmla="*/ 0 h 7"/>
                <a:gd name="T4" fmla="*/ 0 w 4"/>
                <a:gd name="T5" fmla="*/ 0 h 7"/>
                <a:gd name="T6" fmla="*/ 0 w 4"/>
                <a:gd name="T7" fmla="*/ 6 h 7"/>
                <a:gd name="T8" fmla="*/ 0 w 4"/>
                <a:gd name="T9" fmla="*/ 6 h 7"/>
                <a:gd name="T10" fmla="*/ 3 w 4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7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0" y="6"/>
                  </a:cubicBezTo>
                  <a:lnTo>
                    <a:pt x="0" y="6"/>
                  </a:lnTo>
                  <a:cubicBezTo>
                    <a:pt x="3" y="6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94" name="Freeform 321"/>
            <p:cNvSpPr>
              <a:spLocks noChangeArrowheads="1"/>
            </p:cNvSpPr>
            <p:nvPr/>
          </p:nvSpPr>
          <p:spPr bwMode="auto">
            <a:xfrm>
              <a:off x="4146550" y="3076575"/>
              <a:ext cx="4763" cy="7938"/>
            </a:xfrm>
            <a:custGeom>
              <a:avLst/>
              <a:gdLst>
                <a:gd name="T0" fmla="*/ 11 w 12"/>
                <a:gd name="T1" fmla="*/ 3 h 21"/>
                <a:gd name="T2" fmla="*/ 8 w 12"/>
                <a:gd name="T3" fmla="*/ 0 h 21"/>
                <a:gd name="T4" fmla="*/ 0 w 12"/>
                <a:gd name="T5" fmla="*/ 14 h 21"/>
                <a:gd name="T6" fmla="*/ 0 w 12"/>
                <a:gd name="T7" fmla="*/ 17 h 21"/>
                <a:gd name="T8" fmla="*/ 3 w 12"/>
                <a:gd name="T9" fmla="*/ 20 h 21"/>
                <a:gd name="T10" fmla="*/ 3 w 12"/>
                <a:gd name="T11" fmla="*/ 20 h 21"/>
                <a:gd name="T12" fmla="*/ 11 w 12"/>
                <a:gd name="T13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1">
                  <a:moveTo>
                    <a:pt x="11" y="3"/>
                  </a:moveTo>
                  <a:lnTo>
                    <a:pt x="8" y="0"/>
                  </a:lnTo>
                  <a:cubicBezTo>
                    <a:pt x="5" y="5"/>
                    <a:pt x="3" y="11"/>
                    <a:pt x="0" y="14"/>
                  </a:cubicBezTo>
                  <a:cubicBezTo>
                    <a:pt x="0" y="14"/>
                    <a:pt x="0" y="14"/>
                    <a:pt x="0" y="17"/>
                  </a:cubicBezTo>
                  <a:lnTo>
                    <a:pt x="3" y="20"/>
                  </a:lnTo>
                  <a:lnTo>
                    <a:pt x="3" y="20"/>
                  </a:lnTo>
                  <a:cubicBezTo>
                    <a:pt x="5" y="14"/>
                    <a:pt x="8" y="8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95" name="Freeform 322"/>
            <p:cNvSpPr>
              <a:spLocks noChangeArrowheads="1"/>
            </p:cNvSpPr>
            <p:nvPr/>
          </p:nvSpPr>
          <p:spPr bwMode="auto">
            <a:xfrm>
              <a:off x="4154488" y="3081338"/>
              <a:ext cx="3175" cy="1587"/>
            </a:xfrm>
            <a:custGeom>
              <a:avLst/>
              <a:gdLst>
                <a:gd name="T0" fmla="*/ 0 w 7"/>
                <a:gd name="T1" fmla="*/ 0 h 4"/>
                <a:gd name="T2" fmla="*/ 0 w 7"/>
                <a:gd name="T3" fmla="*/ 0 h 4"/>
                <a:gd name="T4" fmla="*/ 6 w 7"/>
                <a:gd name="T5" fmla="*/ 3 h 4"/>
                <a:gd name="T6" fmla="*/ 0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lnTo>
                    <a:pt x="0" y="0"/>
                  </a:lnTo>
                  <a:cubicBezTo>
                    <a:pt x="0" y="3"/>
                    <a:pt x="3" y="3"/>
                    <a:pt x="6" y="3"/>
                  </a:cubicBezTo>
                  <a:cubicBezTo>
                    <a:pt x="3" y="3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96" name="Freeform 323"/>
            <p:cNvSpPr>
              <a:spLocks noChangeArrowheads="1"/>
            </p:cNvSpPr>
            <p:nvPr/>
          </p:nvSpPr>
          <p:spPr bwMode="auto">
            <a:xfrm>
              <a:off x="3741738" y="2244725"/>
              <a:ext cx="1587" cy="1588"/>
            </a:xfrm>
            <a:custGeom>
              <a:avLst/>
              <a:gdLst>
                <a:gd name="T0" fmla="*/ 0 w 1"/>
                <a:gd name="T1" fmla="*/ 3 h 4"/>
                <a:gd name="T2" fmla="*/ 0 w 1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4">
                  <a:moveTo>
                    <a:pt x="0" y="3"/>
                  </a:moveTo>
                  <a:cubicBezTo>
                    <a:pt x="0" y="3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97" name="Freeform 324"/>
            <p:cNvSpPr>
              <a:spLocks noChangeArrowheads="1"/>
            </p:cNvSpPr>
            <p:nvPr/>
          </p:nvSpPr>
          <p:spPr bwMode="auto">
            <a:xfrm>
              <a:off x="4440238" y="2963863"/>
              <a:ext cx="6350" cy="9525"/>
            </a:xfrm>
            <a:custGeom>
              <a:avLst/>
              <a:gdLst>
                <a:gd name="T0" fmla="*/ 0 w 18"/>
                <a:gd name="T1" fmla="*/ 0 h 26"/>
                <a:gd name="T2" fmla="*/ 0 w 18"/>
                <a:gd name="T3" fmla="*/ 6 h 26"/>
                <a:gd name="T4" fmla="*/ 3 w 18"/>
                <a:gd name="T5" fmla="*/ 22 h 26"/>
                <a:gd name="T6" fmla="*/ 12 w 18"/>
                <a:gd name="T7" fmla="*/ 25 h 26"/>
                <a:gd name="T8" fmla="*/ 14 w 18"/>
                <a:gd name="T9" fmla="*/ 25 h 26"/>
                <a:gd name="T10" fmla="*/ 17 w 18"/>
                <a:gd name="T11" fmla="*/ 22 h 26"/>
                <a:gd name="T12" fmla="*/ 14 w 18"/>
                <a:gd name="T13" fmla="*/ 3 h 26"/>
                <a:gd name="T14" fmla="*/ 0 w 18"/>
                <a:gd name="T1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6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0" y="11"/>
                    <a:pt x="0" y="17"/>
                    <a:pt x="3" y="22"/>
                  </a:cubicBezTo>
                  <a:cubicBezTo>
                    <a:pt x="6" y="22"/>
                    <a:pt x="9" y="22"/>
                    <a:pt x="12" y="25"/>
                  </a:cubicBezTo>
                  <a:lnTo>
                    <a:pt x="14" y="25"/>
                  </a:lnTo>
                  <a:cubicBezTo>
                    <a:pt x="14" y="25"/>
                    <a:pt x="17" y="25"/>
                    <a:pt x="17" y="22"/>
                  </a:cubicBezTo>
                  <a:cubicBezTo>
                    <a:pt x="17" y="17"/>
                    <a:pt x="14" y="8"/>
                    <a:pt x="14" y="3"/>
                  </a:cubicBezTo>
                  <a:cubicBezTo>
                    <a:pt x="9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98" name="Freeform 325"/>
            <p:cNvSpPr>
              <a:spLocks noChangeArrowheads="1"/>
            </p:cNvSpPr>
            <p:nvPr/>
          </p:nvSpPr>
          <p:spPr bwMode="auto">
            <a:xfrm>
              <a:off x="4340225" y="3028950"/>
              <a:ext cx="7938" cy="7938"/>
            </a:xfrm>
            <a:custGeom>
              <a:avLst/>
              <a:gdLst>
                <a:gd name="T0" fmla="*/ 3 w 21"/>
                <a:gd name="T1" fmla="*/ 20 h 21"/>
                <a:gd name="T2" fmla="*/ 20 w 21"/>
                <a:gd name="T3" fmla="*/ 12 h 21"/>
                <a:gd name="T4" fmla="*/ 20 w 21"/>
                <a:gd name="T5" fmla="*/ 12 h 21"/>
                <a:gd name="T6" fmla="*/ 3 w 21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1">
                  <a:moveTo>
                    <a:pt x="3" y="20"/>
                  </a:moveTo>
                  <a:cubicBezTo>
                    <a:pt x="8" y="17"/>
                    <a:pt x="14" y="14"/>
                    <a:pt x="20" y="12"/>
                  </a:cubicBezTo>
                  <a:lnTo>
                    <a:pt x="20" y="12"/>
                  </a:lnTo>
                  <a:cubicBezTo>
                    <a:pt x="14" y="0"/>
                    <a:pt x="0" y="9"/>
                    <a:pt x="3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99" name="Freeform 326"/>
            <p:cNvSpPr>
              <a:spLocks noChangeArrowheads="1"/>
            </p:cNvSpPr>
            <p:nvPr/>
          </p:nvSpPr>
          <p:spPr bwMode="auto">
            <a:xfrm>
              <a:off x="4306888" y="3048000"/>
              <a:ext cx="1587" cy="1588"/>
            </a:xfrm>
            <a:custGeom>
              <a:avLst/>
              <a:gdLst>
                <a:gd name="T0" fmla="*/ 0 w 3"/>
                <a:gd name="T1" fmla="*/ 0 h 6"/>
                <a:gd name="T2" fmla="*/ 2 w 3"/>
                <a:gd name="T3" fmla="*/ 5 h 6"/>
                <a:gd name="T4" fmla="*/ 0 w 3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6">
                  <a:moveTo>
                    <a:pt x="0" y="0"/>
                  </a:moveTo>
                  <a:cubicBezTo>
                    <a:pt x="0" y="3"/>
                    <a:pt x="2" y="3"/>
                    <a:pt x="2" y="5"/>
                  </a:cubicBezTo>
                  <a:cubicBezTo>
                    <a:pt x="2" y="3"/>
                    <a:pt x="2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00" name="Freeform 327"/>
            <p:cNvSpPr>
              <a:spLocks noChangeArrowheads="1"/>
            </p:cNvSpPr>
            <p:nvPr/>
          </p:nvSpPr>
          <p:spPr bwMode="auto">
            <a:xfrm>
              <a:off x="4516438" y="2873375"/>
              <a:ext cx="4762" cy="4763"/>
            </a:xfrm>
            <a:custGeom>
              <a:avLst/>
              <a:gdLst>
                <a:gd name="T0" fmla="*/ 14 w 15"/>
                <a:gd name="T1" fmla="*/ 5 h 15"/>
                <a:gd name="T2" fmla="*/ 3 w 15"/>
                <a:gd name="T3" fmla="*/ 0 h 15"/>
                <a:gd name="T4" fmla="*/ 0 w 15"/>
                <a:gd name="T5" fmla="*/ 3 h 15"/>
                <a:gd name="T6" fmla="*/ 3 w 15"/>
                <a:gd name="T7" fmla="*/ 11 h 15"/>
                <a:gd name="T8" fmla="*/ 14 w 15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4" y="5"/>
                  </a:moveTo>
                  <a:cubicBezTo>
                    <a:pt x="8" y="5"/>
                    <a:pt x="8" y="0"/>
                    <a:pt x="3" y="0"/>
                  </a:cubicBezTo>
                  <a:cubicBezTo>
                    <a:pt x="3" y="0"/>
                    <a:pt x="3" y="3"/>
                    <a:pt x="0" y="3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8" y="14"/>
                    <a:pt x="11" y="8"/>
                    <a:pt x="14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01" name="Freeform 328"/>
            <p:cNvSpPr>
              <a:spLocks noChangeArrowheads="1"/>
            </p:cNvSpPr>
            <p:nvPr/>
          </p:nvSpPr>
          <p:spPr bwMode="auto">
            <a:xfrm>
              <a:off x="4537075" y="2732088"/>
              <a:ext cx="3175" cy="4762"/>
            </a:xfrm>
            <a:custGeom>
              <a:avLst/>
              <a:gdLst>
                <a:gd name="T0" fmla="*/ 3 w 10"/>
                <a:gd name="T1" fmla="*/ 0 h 15"/>
                <a:gd name="T2" fmla="*/ 0 w 10"/>
                <a:gd name="T3" fmla="*/ 3 h 15"/>
                <a:gd name="T4" fmla="*/ 6 w 10"/>
                <a:gd name="T5" fmla="*/ 14 h 15"/>
                <a:gd name="T6" fmla="*/ 6 w 10"/>
                <a:gd name="T7" fmla="*/ 14 h 15"/>
                <a:gd name="T8" fmla="*/ 3 w 1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3" y="0"/>
                  </a:moveTo>
                  <a:cubicBezTo>
                    <a:pt x="3" y="0"/>
                    <a:pt x="0" y="0"/>
                    <a:pt x="0" y="3"/>
                  </a:cubicBezTo>
                  <a:cubicBezTo>
                    <a:pt x="0" y="8"/>
                    <a:pt x="0" y="11"/>
                    <a:pt x="6" y="14"/>
                  </a:cubicBezTo>
                  <a:lnTo>
                    <a:pt x="6" y="14"/>
                  </a:lnTo>
                  <a:cubicBezTo>
                    <a:pt x="6" y="8"/>
                    <a:pt x="9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02" name="Freeform 329"/>
            <p:cNvSpPr>
              <a:spLocks noChangeArrowheads="1"/>
            </p:cNvSpPr>
            <p:nvPr/>
          </p:nvSpPr>
          <p:spPr bwMode="auto">
            <a:xfrm>
              <a:off x="4541838" y="2552700"/>
              <a:ext cx="3175" cy="3175"/>
            </a:xfrm>
            <a:custGeom>
              <a:avLst/>
              <a:gdLst>
                <a:gd name="T0" fmla="*/ 6 w 7"/>
                <a:gd name="T1" fmla="*/ 6 h 10"/>
                <a:gd name="T2" fmla="*/ 0 w 7"/>
                <a:gd name="T3" fmla="*/ 9 h 10"/>
                <a:gd name="T4" fmla="*/ 0 w 7"/>
                <a:gd name="T5" fmla="*/ 9 h 10"/>
                <a:gd name="T6" fmla="*/ 6 w 7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6"/>
                  </a:moveTo>
                  <a:cubicBezTo>
                    <a:pt x="0" y="0"/>
                    <a:pt x="0" y="6"/>
                    <a:pt x="0" y="9"/>
                  </a:cubicBezTo>
                  <a:lnTo>
                    <a:pt x="0" y="9"/>
                  </a:lnTo>
                  <a:cubicBezTo>
                    <a:pt x="3" y="9"/>
                    <a:pt x="3" y="9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03" name="Freeform 330"/>
            <p:cNvSpPr>
              <a:spLocks noChangeArrowheads="1"/>
            </p:cNvSpPr>
            <p:nvPr/>
          </p:nvSpPr>
          <p:spPr bwMode="auto">
            <a:xfrm>
              <a:off x="4559300" y="2670175"/>
              <a:ext cx="3175" cy="6350"/>
            </a:xfrm>
            <a:custGeom>
              <a:avLst/>
              <a:gdLst>
                <a:gd name="T0" fmla="*/ 6 w 10"/>
                <a:gd name="T1" fmla="*/ 15 h 16"/>
                <a:gd name="T2" fmla="*/ 9 w 10"/>
                <a:gd name="T3" fmla="*/ 3 h 16"/>
                <a:gd name="T4" fmla="*/ 6 w 10"/>
                <a:gd name="T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6" y="15"/>
                  </a:moveTo>
                  <a:cubicBezTo>
                    <a:pt x="6" y="9"/>
                    <a:pt x="9" y="9"/>
                    <a:pt x="9" y="3"/>
                  </a:cubicBezTo>
                  <a:cubicBezTo>
                    <a:pt x="0" y="0"/>
                    <a:pt x="0" y="15"/>
                    <a:pt x="6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04" name="Freeform 331"/>
            <p:cNvSpPr>
              <a:spLocks noChangeArrowheads="1"/>
            </p:cNvSpPr>
            <p:nvPr/>
          </p:nvSpPr>
          <p:spPr bwMode="auto">
            <a:xfrm>
              <a:off x="4548188" y="2678113"/>
              <a:ext cx="3175" cy="4762"/>
            </a:xfrm>
            <a:custGeom>
              <a:avLst/>
              <a:gdLst>
                <a:gd name="T0" fmla="*/ 0 w 7"/>
                <a:gd name="T1" fmla="*/ 12 h 13"/>
                <a:gd name="T2" fmla="*/ 6 w 7"/>
                <a:gd name="T3" fmla="*/ 9 h 13"/>
                <a:gd name="T4" fmla="*/ 0 w 7"/>
                <a:gd name="T5" fmla="*/ 0 h 13"/>
                <a:gd name="T6" fmla="*/ 0 w 7"/>
                <a:gd name="T7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0" y="12"/>
                  </a:moveTo>
                  <a:cubicBezTo>
                    <a:pt x="3" y="12"/>
                    <a:pt x="6" y="12"/>
                    <a:pt x="6" y="9"/>
                  </a:cubicBezTo>
                  <a:cubicBezTo>
                    <a:pt x="6" y="6"/>
                    <a:pt x="3" y="3"/>
                    <a:pt x="0" y="0"/>
                  </a:cubicBezTo>
                  <a:cubicBezTo>
                    <a:pt x="0" y="3"/>
                    <a:pt x="0" y="9"/>
                    <a:pt x="0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05" name="Freeform 332"/>
            <p:cNvSpPr>
              <a:spLocks noChangeArrowheads="1"/>
            </p:cNvSpPr>
            <p:nvPr/>
          </p:nvSpPr>
          <p:spPr bwMode="auto">
            <a:xfrm>
              <a:off x="4545013" y="2757488"/>
              <a:ext cx="4762" cy="3175"/>
            </a:xfrm>
            <a:custGeom>
              <a:avLst/>
              <a:gdLst>
                <a:gd name="T0" fmla="*/ 6 w 12"/>
                <a:gd name="T1" fmla="*/ 0 h 10"/>
                <a:gd name="T2" fmla="*/ 11 w 12"/>
                <a:gd name="T3" fmla="*/ 9 h 10"/>
                <a:gd name="T4" fmla="*/ 6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6" y="0"/>
                  </a:moveTo>
                  <a:cubicBezTo>
                    <a:pt x="0" y="3"/>
                    <a:pt x="6" y="9"/>
                    <a:pt x="11" y="9"/>
                  </a:cubicBezTo>
                  <a:cubicBezTo>
                    <a:pt x="11" y="3"/>
                    <a:pt x="8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06" name="Freeform 333"/>
            <p:cNvSpPr>
              <a:spLocks noChangeArrowheads="1"/>
            </p:cNvSpPr>
            <p:nvPr/>
          </p:nvSpPr>
          <p:spPr bwMode="auto">
            <a:xfrm>
              <a:off x="4541838" y="2554288"/>
              <a:ext cx="4762" cy="6350"/>
            </a:xfrm>
            <a:custGeom>
              <a:avLst/>
              <a:gdLst>
                <a:gd name="T0" fmla="*/ 9 w 15"/>
                <a:gd name="T1" fmla="*/ 0 h 18"/>
                <a:gd name="T2" fmla="*/ 0 w 15"/>
                <a:gd name="T3" fmla="*/ 6 h 18"/>
                <a:gd name="T4" fmla="*/ 0 w 15"/>
                <a:gd name="T5" fmla="*/ 11 h 18"/>
                <a:gd name="T6" fmla="*/ 9 w 15"/>
                <a:gd name="T7" fmla="*/ 17 h 18"/>
                <a:gd name="T8" fmla="*/ 9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9" y="0"/>
                  </a:moveTo>
                  <a:cubicBezTo>
                    <a:pt x="6" y="0"/>
                    <a:pt x="3" y="3"/>
                    <a:pt x="0" y="6"/>
                  </a:cubicBezTo>
                  <a:cubicBezTo>
                    <a:pt x="0" y="9"/>
                    <a:pt x="0" y="9"/>
                    <a:pt x="0" y="11"/>
                  </a:cubicBezTo>
                  <a:cubicBezTo>
                    <a:pt x="3" y="14"/>
                    <a:pt x="6" y="17"/>
                    <a:pt x="9" y="17"/>
                  </a:cubicBezTo>
                  <a:cubicBezTo>
                    <a:pt x="14" y="11"/>
                    <a:pt x="12" y="6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07" name="Freeform 334"/>
            <p:cNvSpPr>
              <a:spLocks noChangeArrowheads="1"/>
            </p:cNvSpPr>
            <p:nvPr/>
          </p:nvSpPr>
          <p:spPr bwMode="auto">
            <a:xfrm>
              <a:off x="4543425" y="2563813"/>
              <a:ext cx="3175" cy="1587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3" y="0"/>
                    <a:pt x="0" y="0"/>
                  </a:cubicBezTo>
                  <a:cubicBezTo>
                    <a:pt x="3" y="3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08" name="Freeform 335"/>
            <p:cNvSpPr>
              <a:spLocks noChangeArrowheads="1"/>
            </p:cNvSpPr>
            <p:nvPr/>
          </p:nvSpPr>
          <p:spPr bwMode="auto">
            <a:xfrm>
              <a:off x="4537075" y="2681288"/>
              <a:ext cx="6350" cy="6350"/>
            </a:xfrm>
            <a:custGeom>
              <a:avLst/>
              <a:gdLst>
                <a:gd name="T0" fmla="*/ 9 w 18"/>
                <a:gd name="T1" fmla="*/ 5 h 17"/>
                <a:gd name="T2" fmla="*/ 0 w 18"/>
                <a:gd name="T3" fmla="*/ 0 h 17"/>
                <a:gd name="T4" fmla="*/ 6 w 18"/>
                <a:gd name="T5" fmla="*/ 16 h 17"/>
                <a:gd name="T6" fmla="*/ 9 w 18"/>
                <a:gd name="T7" fmla="*/ 16 h 17"/>
                <a:gd name="T8" fmla="*/ 17 w 18"/>
                <a:gd name="T9" fmla="*/ 14 h 17"/>
                <a:gd name="T10" fmla="*/ 9 w 18"/>
                <a:gd name="T11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7">
                  <a:moveTo>
                    <a:pt x="9" y="5"/>
                  </a:moveTo>
                  <a:cubicBezTo>
                    <a:pt x="9" y="0"/>
                    <a:pt x="6" y="0"/>
                    <a:pt x="0" y="0"/>
                  </a:cubicBezTo>
                  <a:cubicBezTo>
                    <a:pt x="0" y="8"/>
                    <a:pt x="3" y="11"/>
                    <a:pt x="6" y="16"/>
                  </a:cubicBezTo>
                  <a:lnTo>
                    <a:pt x="9" y="16"/>
                  </a:lnTo>
                  <a:cubicBezTo>
                    <a:pt x="12" y="16"/>
                    <a:pt x="12" y="14"/>
                    <a:pt x="17" y="14"/>
                  </a:cubicBezTo>
                  <a:cubicBezTo>
                    <a:pt x="17" y="2"/>
                    <a:pt x="12" y="11"/>
                    <a:pt x="9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09" name="Freeform 336"/>
            <p:cNvSpPr>
              <a:spLocks noChangeArrowheads="1"/>
            </p:cNvSpPr>
            <p:nvPr/>
          </p:nvSpPr>
          <p:spPr bwMode="auto">
            <a:xfrm>
              <a:off x="4521200" y="2855913"/>
              <a:ext cx="4763" cy="4762"/>
            </a:xfrm>
            <a:custGeom>
              <a:avLst/>
              <a:gdLst>
                <a:gd name="T0" fmla="*/ 0 w 12"/>
                <a:gd name="T1" fmla="*/ 3 h 15"/>
                <a:gd name="T2" fmla="*/ 6 w 12"/>
                <a:gd name="T3" fmla="*/ 14 h 15"/>
                <a:gd name="T4" fmla="*/ 11 w 12"/>
                <a:gd name="T5" fmla="*/ 0 h 15"/>
                <a:gd name="T6" fmla="*/ 0 w 12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0" y="3"/>
                  </a:moveTo>
                  <a:cubicBezTo>
                    <a:pt x="0" y="8"/>
                    <a:pt x="0" y="11"/>
                    <a:pt x="6" y="14"/>
                  </a:cubicBezTo>
                  <a:cubicBezTo>
                    <a:pt x="9" y="11"/>
                    <a:pt x="11" y="6"/>
                    <a:pt x="11" y="0"/>
                  </a:cubicBezTo>
                  <a:cubicBezTo>
                    <a:pt x="6" y="3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10" name="Freeform 337"/>
            <p:cNvSpPr>
              <a:spLocks noChangeArrowheads="1"/>
            </p:cNvSpPr>
            <p:nvPr/>
          </p:nvSpPr>
          <p:spPr bwMode="auto">
            <a:xfrm>
              <a:off x="4524375" y="2722563"/>
              <a:ext cx="3175" cy="6350"/>
            </a:xfrm>
            <a:custGeom>
              <a:avLst/>
              <a:gdLst>
                <a:gd name="T0" fmla="*/ 8 w 9"/>
                <a:gd name="T1" fmla="*/ 0 h 18"/>
                <a:gd name="T2" fmla="*/ 0 w 9"/>
                <a:gd name="T3" fmla="*/ 17 h 18"/>
                <a:gd name="T4" fmla="*/ 0 w 9"/>
                <a:gd name="T5" fmla="*/ 17 h 18"/>
                <a:gd name="T6" fmla="*/ 8 w 9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8">
                  <a:moveTo>
                    <a:pt x="8" y="0"/>
                  </a:moveTo>
                  <a:cubicBezTo>
                    <a:pt x="2" y="3"/>
                    <a:pt x="2" y="12"/>
                    <a:pt x="0" y="17"/>
                  </a:cubicBezTo>
                  <a:lnTo>
                    <a:pt x="0" y="17"/>
                  </a:lnTo>
                  <a:cubicBezTo>
                    <a:pt x="5" y="12"/>
                    <a:pt x="8" y="6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11" name="Freeform 338"/>
            <p:cNvSpPr>
              <a:spLocks noChangeArrowheads="1"/>
            </p:cNvSpPr>
            <p:nvPr/>
          </p:nvSpPr>
          <p:spPr bwMode="auto">
            <a:xfrm>
              <a:off x="4524375" y="2636838"/>
              <a:ext cx="4763" cy="6350"/>
            </a:xfrm>
            <a:custGeom>
              <a:avLst/>
              <a:gdLst>
                <a:gd name="T0" fmla="*/ 11 w 12"/>
                <a:gd name="T1" fmla="*/ 5 h 17"/>
                <a:gd name="T2" fmla="*/ 0 w 12"/>
                <a:gd name="T3" fmla="*/ 16 h 17"/>
                <a:gd name="T4" fmla="*/ 11 w 12"/>
                <a:gd name="T5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7">
                  <a:moveTo>
                    <a:pt x="11" y="5"/>
                  </a:moveTo>
                  <a:cubicBezTo>
                    <a:pt x="5" y="0"/>
                    <a:pt x="0" y="8"/>
                    <a:pt x="0" y="16"/>
                  </a:cubicBezTo>
                  <a:cubicBezTo>
                    <a:pt x="2" y="16"/>
                    <a:pt x="11" y="14"/>
                    <a:pt x="11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12" name="Freeform 339"/>
            <p:cNvSpPr>
              <a:spLocks noChangeArrowheads="1"/>
            </p:cNvSpPr>
            <p:nvPr/>
          </p:nvSpPr>
          <p:spPr bwMode="auto">
            <a:xfrm>
              <a:off x="4518025" y="2878138"/>
              <a:ext cx="6350" cy="7937"/>
            </a:xfrm>
            <a:custGeom>
              <a:avLst/>
              <a:gdLst>
                <a:gd name="T0" fmla="*/ 5 w 18"/>
                <a:gd name="T1" fmla="*/ 22 h 23"/>
                <a:gd name="T2" fmla="*/ 5 w 18"/>
                <a:gd name="T3" fmla="*/ 17 h 23"/>
                <a:gd name="T4" fmla="*/ 17 w 18"/>
                <a:gd name="T5" fmla="*/ 11 h 23"/>
                <a:gd name="T6" fmla="*/ 14 w 18"/>
                <a:gd name="T7" fmla="*/ 6 h 23"/>
                <a:gd name="T8" fmla="*/ 5 w 18"/>
                <a:gd name="T9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3">
                  <a:moveTo>
                    <a:pt x="5" y="22"/>
                  </a:moveTo>
                  <a:cubicBezTo>
                    <a:pt x="5" y="20"/>
                    <a:pt x="5" y="20"/>
                    <a:pt x="5" y="17"/>
                  </a:cubicBezTo>
                  <a:cubicBezTo>
                    <a:pt x="8" y="17"/>
                    <a:pt x="14" y="14"/>
                    <a:pt x="17" y="11"/>
                  </a:cubicBezTo>
                  <a:cubicBezTo>
                    <a:pt x="17" y="8"/>
                    <a:pt x="17" y="8"/>
                    <a:pt x="14" y="6"/>
                  </a:cubicBezTo>
                  <a:cubicBezTo>
                    <a:pt x="8" y="0"/>
                    <a:pt x="0" y="14"/>
                    <a:pt x="5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13" name="Freeform 340"/>
            <p:cNvSpPr>
              <a:spLocks noChangeArrowheads="1"/>
            </p:cNvSpPr>
            <p:nvPr/>
          </p:nvSpPr>
          <p:spPr bwMode="auto">
            <a:xfrm>
              <a:off x="4530725" y="2665413"/>
              <a:ext cx="3175" cy="1587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0 h 6"/>
                <a:gd name="T4" fmla="*/ 0 w 7"/>
                <a:gd name="T5" fmla="*/ 0 h 6"/>
                <a:gd name="T6" fmla="*/ 0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cubicBezTo>
                    <a:pt x="3" y="2"/>
                    <a:pt x="3" y="2"/>
                    <a:pt x="6" y="0"/>
                  </a:cubicBezTo>
                  <a:cubicBezTo>
                    <a:pt x="3" y="0"/>
                    <a:pt x="3" y="0"/>
                    <a:pt x="0" y="0"/>
                  </a:cubicBezTo>
                  <a:lnTo>
                    <a:pt x="0" y="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14" name="Freeform 341"/>
            <p:cNvSpPr>
              <a:spLocks noChangeArrowheads="1"/>
            </p:cNvSpPr>
            <p:nvPr/>
          </p:nvSpPr>
          <p:spPr bwMode="auto">
            <a:xfrm>
              <a:off x="4527550" y="2876550"/>
              <a:ext cx="6350" cy="6350"/>
            </a:xfrm>
            <a:custGeom>
              <a:avLst/>
              <a:gdLst>
                <a:gd name="T0" fmla="*/ 0 w 18"/>
                <a:gd name="T1" fmla="*/ 17 h 18"/>
                <a:gd name="T2" fmla="*/ 17 w 18"/>
                <a:gd name="T3" fmla="*/ 3 h 18"/>
                <a:gd name="T4" fmla="*/ 8 w 18"/>
                <a:gd name="T5" fmla="*/ 0 h 18"/>
                <a:gd name="T6" fmla="*/ 0 w 18"/>
                <a:gd name="T7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8">
                  <a:moveTo>
                    <a:pt x="0" y="17"/>
                  </a:moveTo>
                  <a:cubicBezTo>
                    <a:pt x="8" y="17"/>
                    <a:pt x="14" y="11"/>
                    <a:pt x="17" y="3"/>
                  </a:cubicBezTo>
                  <a:cubicBezTo>
                    <a:pt x="14" y="3"/>
                    <a:pt x="11" y="3"/>
                    <a:pt x="8" y="0"/>
                  </a:cubicBezTo>
                  <a:cubicBezTo>
                    <a:pt x="6" y="6"/>
                    <a:pt x="3" y="11"/>
                    <a:pt x="0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15" name="Freeform 342"/>
            <p:cNvSpPr>
              <a:spLocks noChangeArrowheads="1"/>
            </p:cNvSpPr>
            <p:nvPr/>
          </p:nvSpPr>
          <p:spPr bwMode="auto">
            <a:xfrm>
              <a:off x="4532313" y="2557463"/>
              <a:ext cx="3175" cy="4762"/>
            </a:xfrm>
            <a:custGeom>
              <a:avLst/>
              <a:gdLst>
                <a:gd name="T0" fmla="*/ 3 w 7"/>
                <a:gd name="T1" fmla="*/ 0 h 13"/>
                <a:gd name="T2" fmla="*/ 0 w 7"/>
                <a:gd name="T3" fmla="*/ 0 h 13"/>
                <a:gd name="T4" fmla="*/ 0 w 7"/>
                <a:gd name="T5" fmla="*/ 12 h 13"/>
                <a:gd name="T6" fmla="*/ 3 w 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3" y="0"/>
                  </a:moveTo>
                  <a:lnTo>
                    <a:pt x="0" y="0"/>
                  </a:lnTo>
                  <a:cubicBezTo>
                    <a:pt x="0" y="3"/>
                    <a:pt x="0" y="9"/>
                    <a:pt x="0" y="12"/>
                  </a:cubicBezTo>
                  <a:cubicBezTo>
                    <a:pt x="3" y="9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16" name="Freeform 343"/>
            <p:cNvSpPr>
              <a:spLocks noChangeArrowheads="1"/>
            </p:cNvSpPr>
            <p:nvPr/>
          </p:nvSpPr>
          <p:spPr bwMode="auto">
            <a:xfrm>
              <a:off x="4530725" y="2751138"/>
              <a:ext cx="6350" cy="4762"/>
            </a:xfrm>
            <a:custGeom>
              <a:avLst/>
              <a:gdLst>
                <a:gd name="T0" fmla="*/ 0 w 16"/>
                <a:gd name="T1" fmla="*/ 11 h 12"/>
                <a:gd name="T2" fmla="*/ 15 w 16"/>
                <a:gd name="T3" fmla="*/ 3 h 12"/>
                <a:gd name="T4" fmla="*/ 12 w 16"/>
                <a:gd name="T5" fmla="*/ 3 h 12"/>
                <a:gd name="T6" fmla="*/ 0 w 16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2">
                  <a:moveTo>
                    <a:pt x="0" y="11"/>
                  </a:moveTo>
                  <a:cubicBezTo>
                    <a:pt x="9" y="11"/>
                    <a:pt x="15" y="9"/>
                    <a:pt x="15" y="3"/>
                  </a:cubicBezTo>
                  <a:lnTo>
                    <a:pt x="12" y="3"/>
                  </a:lnTo>
                  <a:cubicBezTo>
                    <a:pt x="6" y="0"/>
                    <a:pt x="0" y="3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17" name="Freeform 344"/>
            <p:cNvSpPr>
              <a:spLocks noChangeArrowheads="1"/>
            </p:cNvSpPr>
            <p:nvPr/>
          </p:nvSpPr>
          <p:spPr bwMode="auto">
            <a:xfrm>
              <a:off x="4568825" y="2470150"/>
              <a:ext cx="3175" cy="4763"/>
            </a:xfrm>
            <a:custGeom>
              <a:avLst/>
              <a:gdLst>
                <a:gd name="T0" fmla="*/ 5 w 9"/>
                <a:gd name="T1" fmla="*/ 11 h 12"/>
                <a:gd name="T2" fmla="*/ 8 w 9"/>
                <a:gd name="T3" fmla="*/ 8 h 12"/>
                <a:gd name="T4" fmla="*/ 0 w 9"/>
                <a:gd name="T5" fmla="*/ 0 h 12"/>
                <a:gd name="T6" fmla="*/ 0 w 9"/>
                <a:gd name="T7" fmla="*/ 6 h 12"/>
                <a:gd name="T8" fmla="*/ 5 w 9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5" y="11"/>
                  </a:moveTo>
                  <a:lnTo>
                    <a:pt x="8" y="8"/>
                  </a:lnTo>
                  <a:cubicBezTo>
                    <a:pt x="5" y="6"/>
                    <a:pt x="3" y="3"/>
                    <a:pt x="0" y="0"/>
                  </a:cubicBezTo>
                  <a:cubicBezTo>
                    <a:pt x="0" y="3"/>
                    <a:pt x="0" y="3"/>
                    <a:pt x="0" y="6"/>
                  </a:cubicBezTo>
                  <a:cubicBezTo>
                    <a:pt x="0" y="11"/>
                    <a:pt x="3" y="11"/>
                    <a:pt x="5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18" name="Freeform 345"/>
            <p:cNvSpPr>
              <a:spLocks noChangeArrowheads="1"/>
            </p:cNvSpPr>
            <p:nvPr/>
          </p:nvSpPr>
          <p:spPr bwMode="auto">
            <a:xfrm>
              <a:off x="4568825" y="2420938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8 w 9"/>
                <a:gd name="T3" fmla="*/ 0 h 9"/>
                <a:gd name="T4" fmla="*/ 0 w 9"/>
                <a:gd name="T5" fmla="*/ 0 h 9"/>
                <a:gd name="T6" fmla="*/ 8 w 9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lnTo>
                    <a:pt x="8" y="0"/>
                  </a:lnTo>
                  <a:lnTo>
                    <a:pt x="0" y="0"/>
                  </a:lnTo>
                  <a:cubicBezTo>
                    <a:pt x="0" y="5"/>
                    <a:pt x="3" y="8"/>
                    <a:pt x="8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19" name="Freeform 346"/>
            <p:cNvSpPr>
              <a:spLocks noChangeArrowheads="1"/>
            </p:cNvSpPr>
            <p:nvPr/>
          </p:nvSpPr>
          <p:spPr bwMode="auto">
            <a:xfrm>
              <a:off x="4564063" y="2481263"/>
              <a:ext cx="4762" cy="4762"/>
            </a:xfrm>
            <a:custGeom>
              <a:avLst/>
              <a:gdLst>
                <a:gd name="T0" fmla="*/ 3 w 13"/>
                <a:gd name="T1" fmla="*/ 14 h 15"/>
                <a:gd name="T2" fmla="*/ 12 w 13"/>
                <a:gd name="T3" fmla="*/ 6 h 15"/>
                <a:gd name="T4" fmla="*/ 12 w 13"/>
                <a:gd name="T5" fmla="*/ 0 h 15"/>
                <a:gd name="T6" fmla="*/ 0 w 13"/>
                <a:gd name="T7" fmla="*/ 6 h 15"/>
                <a:gd name="T8" fmla="*/ 3 w 13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3" y="14"/>
                  </a:moveTo>
                  <a:cubicBezTo>
                    <a:pt x="9" y="11"/>
                    <a:pt x="12" y="8"/>
                    <a:pt x="12" y="6"/>
                  </a:cubicBezTo>
                  <a:cubicBezTo>
                    <a:pt x="12" y="3"/>
                    <a:pt x="12" y="3"/>
                    <a:pt x="12" y="0"/>
                  </a:cubicBezTo>
                  <a:cubicBezTo>
                    <a:pt x="9" y="3"/>
                    <a:pt x="9" y="8"/>
                    <a:pt x="0" y="6"/>
                  </a:cubicBezTo>
                  <a:cubicBezTo>
                    <a:pt x="0" y="6"/>
                    <a:pt x="0" y="8"/>
                    <a:pt x="3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20" name="Freeform 347"/>
            <p:cNvSpPr>
              <a:spLocks noChangeArrowheads="1"/>
            </p:cNvSpPr>
            <p:nvPr/>
          </p:nvSpPr>
          <p:spPr bwMode="auto">
            <a:xfrm>
              <a:off x="4548188" y="2579688"/>
              <a:ext cx="14287" cy="17462"/>
            </a:xfrm>
            <a:custGeom>
              <a:avLst/>
              <a:gdLst>
                <a:gd name="T0" fmla="*/ 3 w 38"/>
                <a:gd name="T1" fmla="*/ 15 h 47"/>
                <a:gd name="T2" fmla="*/ 12 w 38"/>
                <a:gd name="T3" fmla="*/ 15 h 47"/>
                <a:gd name="T4" fmla="*/ 9 w 38"/>
                <a:gd name="T5" fmla="*/ 20 h 47"/>
                <a:gd name="T6" fmla="*/ 15 w 38"/>
                <a:gd name="T7" fmla="*/ 31 h 47"/>
                <a:gd name="T8" fmla="*/ 17 w 38"/>
                <a:gd name="T9" fmla="*/ 46 h 47"/>
                <a:gd name="T10" fmla="*/ 31 w 38"/>
                <a:gd name="T11" fmla="*/ 40 h 47"/>
                <a:gd name="T12" fmla="*/ 34 w 38"/>
                <a:gd name="T13" fmla="*/ 37 h 47"/>
                <a:gd name="T14" fmla="*/ 26 w 38"/>
                <a:gd name="T15" fmla="*/ 23 h 47"/>
                <a:gd name="T16" fmla="*/ 23 w 38"/>
                <a:gd name="T17" fmla="*/ 0 h 47"/>
                <a:gd name="T18" fmla="*/ 0 w 38"/>
                <a:gd name="T19" fmla="*/ 6 h 47"/>
                <a:gd name="T20" fmla="*/ 3 w 38"/>
                <a:gd name="T21" fmla="*/ 1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47">
                  <a:moveTo>
                    <a:pt x="3" y="15"/>
                  </a:moveTo>
                  <a:cubicBezTo>
                    <a:pt x="6" y="15"/>
                    <a:pt x="9" y="15"/>
                    <a:pt x="12" y="15"/>
                  </a:cubicBezTo>
                  <a:cubicBezTo>
                    <a:pt x="12" y="17"/>
                    <a:pt x="12" y="20"/>
                    <a:pt x="9" y="20"/>
                  </a:cubicBezTo>
                  <a:cubicBezTo>
                    <a:pt x="12" y="23"/>
                    <a:pt x="15" y="29"/>
                    <a:pt x="15" y="31"/>
                  </a:cubicBezTo>
                  <a:cubicBezTo>
                    <a:pt x="9" y="34"/>
                    <a:pt x="15" y="46"/>
                    <a:pt x="17" y="46"/>
                  </a:cubicBezTo>
                  <a:cubicBezTo>
                    <a:pt x="20" y="40"/>
                    <a:pt x="26" y="43"/>
                    <a:pt x="31" y="40"/>
                  </a:cubicBezTo>
                  <a:cubicBezTo>
                    <a:pt x="31" y="40"/>
                    <a:pt x="31" y="40"/>
                    <a:pt x="34" y="37"/>
                  </a:cubicBezTo>
                  <a:cubicBezTo>
                    <a:pt x="37" y="29"/>
                    <a:pt x="26" y="31"/>
                    <a:pt x="26" y="23"/>
                  </a:cubicBezTo>
                  <a:cubicBezTo>
                    <a:pt x="26" y="15"/>
                    <a:pt x="26" y="9"/>
                    <a:pt x="23" y="0"/>
                  </a:cubicBezTo>
                  <a:cubicBezTo>
                    <a:pt x="15" y="0"/>
                    <a:pt x="6" y="0"/>
                    <a:pt x="0" y="6"/>
                  </a:cubicBezTo>
                  <a:cubicBezTo>
                    <a:pt x="0" y="12"/>
                    <a:pt x="0" y="12"/>
                    <a:pt x="3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21" name="Freeform 348"/>
            <p:cNvSpPr>
              <a:spLocks noChangeArrowheads="1"/>
            </p:cNvSpPr>
            <p:nvPr/>
          </p:nvSpPr>
          <p:spPr bwMode="auto">
            <a:xfrm>
              <a:off x="4557713" y="2525713"/>
              <a:ext cx="1587" cy="3175"/>
            </a:xfrm>
            <a:custGeom>
              <a:avLst/>
              <a:gdLst>
                <a:gd name="T0" fmla="*/ 2 w 6"/>
                <a:gd name="T1" fmla="*/ 6 h 7"/>
                <a:gd name="T2" fmla="*/ 2 w 6"/>
                <a:gd name="T3" fmla="*/ 0 h 7"/>
                <a:gd name="T4" fmla="*/ 0 w 6"/>
                <a:gd name="T5" fmla="*/ 0 h 7"/>
                <a:gd name="T6" fmla="*/ 2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2" y="6"/>
                  </a:moveTo>
                  <a:cubicBezTo>
                    <a:pt x="5" y="6"/>
                    <a:pt x="5" y="3"/>
                    <a:pt x="2" y="0"/>
                  </a:cubicBezTo>
                  <a:lnTo>
                    <a:pt x="0" y="0"/>
                  </a:lnTo>
                  <a:cubicBezTo>
                    <a:pt x="0" y="3"/>
                    <a:pt x="0" y="6"/>
                    <a:pt x="2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22" name="Freeform 349"/>
            <p:cNvSpPr>
              <a:spLocks noChangeArrowheads="1"/>
            </p:cNvSpPr>
            <p:nvPr/>
          </p:nvSpPr>
          <p:spPr bwMode="auto">
            <a:xfrm>
              <a:off x="4559300" y="2652713"/>
              <a:ext cx="3175" cy="4762"/>
            </a:xfrm>
            <a:custGeom>
              <a:avLst/>
              <a:gdLst>
                <a:gd name="T0" fmla="*/ 9 w 10"/>
                <a:gd name="T1" fmla="*/ 8 h 12"/>
                <a:gd name="T2" fmla="*/ 6 w 10"/>
                <a:gd name="T3" fmla="*/ 0 h 12"/>
                <a:gd name="T4" fmla="*/ 0 w 10"/>
                <a:gd name="T5" fmla="*/ 8 h 12"/>
                <a:gd name="T6" fmla="*/ 6 w 10"/>
                <a:gd name="T7" fmla="*/ 11 h 12"/>
                <a:gd name="T8" fmla="*/ 9 w 10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9" y="8"/>
                  </a:moveTo>
                  <a:cubicBezTo>
                    <a:pt x="9" y="5"/>
                    <a:pt x="9" y="3"/>
                    <a:pt x="6" y="0"/>
                  </a:cubicBezTo>
                  <a:cubicBezTo>
                    <a:pt x="3" y="3"/>
                    <a:pt x="3" y="5"/>
                    <a:pt x="0" y="8"/>
                  </a:cubicBezTo>
                  <a:cubicBezTo>
                    <a:pt x="3" y="8"/>
                    <a:pt x="3" y="11"/>
                    <a:pt x="6" y="11"/>
                  </a:cubicBezTo>
                  <a:cubicBezTo>
                    <a:pt x="6" y="8"/>
                    <a:pt x="9" y="8"/>
                    <a:pt x="9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23" name="Freeform 350"/>
            <p:cNvSpPr>
              <a:spLocks noChangeArrowheads="1"/>
            </p:cNvSpPr>
            <p:nvPr/>
          </p:nvSpPr>
          <p:spPr bwMode="auto">
            <a:xfrm>
              <a:off x="4552950" y="2327275"/>
              <a:ext cx="12700" cy="11113"/>
            </a:xfrm>
            <a:custGeom>
              <a:avLst/>
              <a:gdLst>
                <a:gd name="T0" fmla="*/ 6 w 35"/>
                <a:gd name="T1" fmla="*/ 14 h 29"/>
                <a:gd name="T2" fmla="*/ 12 w 35"/>
                <a:gd name="T3" fmla="*/ 20 h 29"/>
                <a:gd name="T4" fmla="*/ 23 w 35"/>
                <a:gd name="T5" fmla="*/ 28 h 29"/>
                <a:gd name="T6" fmla="*/ 23 w 35"/>
                <a:gd name="T7" fmla="*/ 28 h 29"/>
                <a:gd name="T8" fmla="*/ 34 w 35"/>
                <a:gd name="T9" fmla="*/ 20 h 29"/>
                <a:gd name="T10" fmla="*/ 17 w 35"/>
                <a:gd name="T11" fmla="*/ 11 h 29"/>
                <a:gd name="T12" fmla="*/ 0 w 35"/>
                <a:gd name="T13" fmla="*/ 6 h 29"/>
                <a:gd name="T14" fmla="*/ 6 w 35"/>
                <a:gd name="T15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9">
                  <a:moveTo>
                    <a:pt x="6" y="14"/>
                  </a:moveTo>
                  <a:cubicBezTo>
                    <a:pt x="9" y="17"/>
                    <a:pt x="9" y="17"/>
                    <a:pt x="12" y="20"/>
                  </a:cubicBezTo>
                  <a:cubicBezTo>
                    <a:pt x="14" y="23"/>
                    <a:pt x="17" y="25"/>
                    <a:pt x="23" y="28"/>
                  </a:cubicBezTo>
                  <a:lnTo>
                    <a:pt x="23" y="28"/>
                  </a:lnTo>
                  <a:cubicBezTo>
                    <a:pt x="29" y="28"/>
                    <a:pt x="34" y="25"/>
                    <a:pt x="34" y="20"/>
                  </a:cubicBezTo>
                  <a:cubicBezTo>
                    <a:pt x="34" y="11"/>
                    <a:pt x="23" y="14"/>
                    <a:pt x="17" y="11"/>
                  </a:cubicBezTo>
                  <a:cubicBezTo>
                    <a:pt x="9" y="11"/>
                    <a:pt x="9" y="0"/>
                    <a:pt x="0" y="6"/>
                  </a:cubicBezTo>
                  <a:cubicBezTo>
                    <a:pt x="0" y="9"/>
                    <a:pt x="3" y="14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24" name="Freeform 351"/>
            <p:cNvSpPr>
              <a:spLocks noChangeArrowheads="1"/>
            </p:cNvSpPr>
            <p:nvPr/>
          </p:nvSpPr>
          <p:spPr bwMode="auto">
            <a:xfrm>
              <a:off x="4562475" y="2738438"/>
              <a:ext cx="1588" cy="1587"/>
            </a:xfrm>
            <a:custGeom>
              <a:avLst/>
              <a:gdLst>
                <a:gd name="T0" fmla="*/ 3 w 4"/>
                <a:gd name="T1" fmla="*/ 0 h 6"/>
                <a:gd name="T2" fmla="*/ 3 w 4"/>
                <a:gd name="T3" fmla="*/ 0 h 6"/>
                <a:gd name="T4" fmla="*/ 0 w 4"/>
                <a:gd name="T5" fmla="*/ 5 h 6"/>
                <a:gd name="T6" fmla="*/ 0 w 4"/>
                <a:gd name="T7" fmla="*/ 5 h 6"/>
                <a:gd name="T8" fmla="*/ 3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3" y="0"/>
                  </a:moveTo>
                  <a:lnTo>
                    <a:pt x="3" y="0"/>
                  </a:lnTo>
                  <a:cubicBezTo>
                    <a:pt x="0" y="0"/>
                    <a:pt x="0" y="2"/>
                    <a:pt x="0" y="5"/>
                  </a:cubicBezTo>
                  <a:lnTo>
                    <a:pt x="0" y="5"/>
                  </a:lnTo>
                  <a:cubicBezTo>
                    <a:pt x="3" y="5"/>
                    <a:pt x="3" y="2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25" name="Freeform 352"/>
            <p:cNvSpPr>
              <a:spLocks noChangeArrowheads="1"/>
            </p:cNvSpPr>
            <p:nvPr/>
          </p:nvSpPr>
          <p:spPr bwMode="auto">
            <a:xfrm>
              <a:off x="4564063" y="2527300"/>
              <a:ext cx="1587" cy="4763"/>
            </a:xfrm>
            <a:custGeom>
              <a:avLst/>
              <a:gdLst>
                <a:gd name="T0" fmla="*/ 3 w 4"/>
                <a:gd name="T1" fmla="*/ 11 h 12"/>
                <a:gd name="T2" fmla="*/ 3 w 4"/>
                <a:gd name="T3" fmla="*/ 0 h 12"/>
                <a:gd name="T4" fmla="*/ 3 w 4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3" y="11"/>
                  </a:moveTo>
                  <a:cubicBezTo>
                    <a:pt x="3" y="8"/>
                    <a:pt x="3" y="3"/>
                    <a:pt x="3" y="0"/>
                  </a:cubicBezTo>
                  <a:cubicBezTo>
                    <a:pt x="0" y="3"/>
                    <a:pt x="0" y="6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26" name="Freeform 353"/>
            <p:cNvSpPr>
              <a:spLocks noChangeArrowheads="1"/>
            </p:cNvSpPr>
            <p:nvPr/>
          </p:nvSpPr>
          <p:spPr bwMode="auto">
            <a:xfrm>
              <a:off x="4562475" y="2816225"/>
              <a:ext cx="4763" cy="7938"/>
            </a:xfrm>
            <a:custGeom>
              <a:avLst/>
              <a:gdLst>
                <a:gd name="T0" fmla="*/ 11 w 12"/>
                <a:gd name="T1" fmla="*/ 0 h 21"/>
                <a:gd name="T2" fmla="*/ 3 w 12"/>
                <a:gd name="T3" fmla="*/ 14 h 21"/>
                <a:gd name="T4" fmla="*/ 3 w 12"/>
                <a:gd name="T5" fmla="*/ 14 h 21"/>
                <a:gd name="T6" fmla="*/ 0 w 12"/>
                <a:gd name="T7" fmla="*/ 20 h 21"/>
                <a:gd name="T8" fmla="*/ 11 w 12"/>
                <a:gd name="T9" fmla="*/ 17 h 21"/>
                <a:gd name="T10" fmla="*/ 11 w 12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1">
                  <a:moveTo>
                    <a:pt x="11" y="0"/>
                  </a:moveTo>
                  <a:cubicBezTo>
                    <a:pt x="6" y="3"/>
                    <a:pt x="3" y="8"/>
                    <a:pt x="3" y="14"/>
                  </a:cubicBezTo>
                  <a:lnTo>
                    <a:pt x="3" y="14"/>
                  </a:lnTo>
                  <a:cubicBezTo>
                    <a:pt x="0" y="17"/>
                    <a:pt x="0" y="17"/>
                    <a:pt x="0" y="20"/>
                  </a:cubicBezTo>
                  <a:cubicBezTo>
                    <a:pt x="6" y="20"/>
                    <a:pt x="6" y="20"/>
                    <a:pt x="11" y="17"/>
                  </a:cubicBezTo>
                  <a:cubicBezTo>
                    <a:pt x="8" y="11"/>
                    <a:pt x="8" y="5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27" name="Freeform 354"/>
            <p:cNvSpPr>
              <a:spLocks noChangeArrowheads="1"/>
            </p:cNvSpPr>
            <p:nvPr/>
          </p:nvSpPr>
          <p:spPr bwMode="auto">
            <a:xfrm>
              <a:off x="4572000" y="2387600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3 w 7"/>
                <a:gd name="T3" fmla="*/ 0 h 7"/>
                <a:gd name="T4" fmla="*/ 0 w 7"/>
                <a:gd name="T5" fmla="*/ 3 h 7"/>
                <a:gd name="T6" fmla="*/ 0 w 7"/>
                <a:gd name="T7" fmla="*/ 3 h 7"/>
                <a:gd name="T8" fmla="*/ 0 w 7"/>
                <a:gd name="T9" fmla="*/ 3 h 7"/>
                <a:gd name="T10" fmla="*/ 6 w 7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cubicBezTo>
                    <a:pt x="6" y="3"/>
                    <a:pt x="6" y="3"/>
                    <a:pt x="3" y="0"/>
                  </a:cubicBezTo>
                  <a:cubicBezTo>
                    <a:pt x="3" y="0"/>
                    <a:pt x="3" y="0"/>
                    <a:pt x="0" y="3"/>
                  </a:cubicBezTo>
                  <a:lnTo>
                    <a:pt x="0" y="3"/>
                  </a:lnTo>
                  <a:lnTo>
                    <a:pt x="0" y="3"/>
                  </a:lnTo>
                  <a:cubicBezTo>
                    <a:pt x="3" y="3"/>
                    <a:pt x="6" y="3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28" name="Freeform 355"/>
            <p:cNvSpPr>
              <a:spLocks noChangeArrowheads="1"/>
            </p:cNvSpPr>
            <p:nvPr/>
          </p:nvSpPr>
          <p:spPr bwMode="auto">
            <a:xfrm>
              <a:off x="4568825" y="2568575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8 w 9"/>
                <a:gd name="T3" fmla="*/ 3 h 10"/>
                <a:gd name="T4" fmla="*/ 3 w 9"/>
                <a:gd name="T5" fmla="*/ 0 h 10"/>
                <a:gd name="T6" fmla="*/ 0 w 9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cubicBezTo>
                    <a:pt x="3" y="9"/>
                    <a:pt x="8" y="6"/>
                    <a:pt x="8" y="3"/>
                  </a:cubicBezTo>
                  <a:cubicBezTo>
                    <a:pt x="5" y="3"/>
                    <a:pt x="5" y="3"/>
                    <a:pt x="3" y="0"/>
                  </a:cubicBezTo>
                  <a:cubicBezTo>
                    <a:pt x="3" y="3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29" name="Freeform 356"/>
            <p:cNvSpPr>
              <a:spLocks noChangeArrowheads="1"/>
            </p:cNvSpPr>
            <p:nvPr/>
          </p:nvSpPr>
          <p:spPr bwMode="auto">
            <a:xfrm>
              <a:off x="3633788" y="2700338"/>
              <a:ext cx="3175" cy="3175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6 h 7"/>
                <a:gd name="T4" fmla="*/ 6 w 9"/>
                <a:gd name="T5" fmla="*/ 6 h 7"/>
                <a:gd name="T6" fmla="*/ 8 w 9"/>
                <a:gd name="T7" fmla="*/ 3 h 7"/>
                <a:gd name="T8" fmla="*/ 3 w 9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cubicBezTo>
                    <a:pt x="3" y="3"/>
                    <a:pt x="0" y="3"/>
                    <a:pt x="0" y="6"/>
                  </a:cubicBezTo>
                  <a:cubicBezTo>
                    <a:pt x="3" y="6"/>
                    <a:pt x="3" y="6"/>
                    <a:pt x="6" y="6"/>
                  </a:cubicBezTo>
                  <a:lnTo>
                    <a:pt x="8" y="3"/>
                  </a:lnTo>
                  <a:cubicBezTo>
                    <a:pt x="6" y="3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30" name="Freeform 357"/>
            <p:cNvSpPr>
              <a:spLocks noChangeArrowheads="1"/>
            </p:cNvSpPr>
            <p:nvPr/>
          </p:nvSpPr>
          <p:spPr bwMode="auto">
            <a:xfrm>
              <a:off x="3632200" y="2605088"/>
              <a:ext cx="3175" cy="3175"/>
            </a:xfrm>
            <a:custGeom>
              <a:avLst/>
              <a:gdLst>
                <a:gd name="T0" fmla="*/ 0 w 7"/>
                <a:gd name="T1" fmla="*/ 0 h 9"/>
                <a:gd name="T2" fmla="*/ 0 w 7"/>
                <a:gd name="T3" fmla="*/ 6 h 9"/>
                <a:gd name="T4" fmla="*/ 3 w 7"/>
                <a:gd name="T5" fmla="*/ 8 h 9"/>
                <a:gd name="T6" fmla="*/ 6 w 7"/>
                <a:gd name="T7" fmla="*/ 6 h 9"/>
                <a:gd name="T8" fmla="*/ 0 w 7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0" y="0"/>
                  </a:moveTo>
                  <a:lnTo>
                    <a:pt x="0" y="6"/>
                  </a:lnTo>
                  <a:lnTo>
                    <a:pt x="3" y="8"/>
                  </a:lnTo>
                  <a:cubicBezTo>
                    <a:pt x="6" y="8"/>
                    <a:pt x="6" y="8"/>
                    <a:pt x="6" y="6"/>
                  </a:cubicBezTo>
                  <a:cubicBezTo>
                    <a:pt x="3" y="6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31" name="Freeform 358"/>
            <p:cNvSpPr>
              <a:spLocks noChangeArrowheads="1"/>
            </p:cNvSpPr>
            <p:nvPr/>
          </p:nvSpPr>
          <p:spPr bwMode="auto">
            <a:xfrm>
              <a:off x="3632200" y="2470150"/>
              <a:ext cx="4763" cy="3175"/>
            </a:xfrm>
            <a:custGeom>
              <a:avLst/>
              <a:gdLst>
                <a:gd name="T0" fmla="*/ 9 w 15"/>
                <a:gd name="T1" fmla="*/ 8 h 9"/>
                <a:gd name="T2" fmla="*/ 12 w 15"/>
                <a:gd name="T3" fmla="*/ 0 h 9"/>
                <a:gd name="T4" fmla="*/ 0 w 15"/>
                <a:gd name="T5" fmla="*/ 8 h 9"/>
                <a:gd name="T6" fmla="*/ 9 w 15"/>
                <a:gd name="T7" fmla="*/ 8 h 9"/>
                <a:gd name="T8" fmla="*/ 12 w 15"/>
                <a:gd name="T9" fmla="*/ 0 h 9"/>
                <a:gd name="T10" fmla="*/ 14 w 15"/>
                <a:gd name="T11" fmla="*/ 0 h 9"/>
                <a:gd name="T12" fmla="*/ 12 w 15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9">
                  <a:moveTo>
                    <a:pt x="9" y="8"/>
                  </a:moveTo>
                  <a:cubicBezTo>
                    <a:pt x="9" y="6"/>
                    <a:pt x="12" y="3"/>
                    <a:pt x="12" y="0"/>
                  </a:cubicBezTo>
                  <a:cubicBezTo>
                    <a:pt x="6" y="0"/>
                    <a:pt x="0" y="1"/>
                    <a:pt x="0" y="8"/>
                  </a:cubicBezTo>
                  <a:lnTo>
                    <a:pt x="9" y="8"/>
                  </a:lnTo>
                  <a:close/>
                  <a:moveTo>
                    <a:pt x="12" y="0"/>
                  </a:moveTo>
                  <a:lnTo>
                    <a:pt x="14" y="0"/>
                  </a:lnTo>
                  <a:cubicBezTo>
                    <a:pt x="13" y="0"/>
                    <a:pt x="13" y="0"/>
                    <a:pt x="12" y="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32" name="Freeform 359"/>
            <p:cNvSpPr>
              <a:spLocks noChangeArrowheads="1"/>
            </p:cNvSpPr>
            <p:nvPr/>
          </p:nvSpPr>
          <p:spPr bwMode="auto">
            <a:xfrm>
              <a:off x="3629025" y="2652713"/>
              <a:ext cx="4763" cy="3175"/>
            </a:xfrm>
            <a:custGeom>
              <a:avLst/>
              <a:gdLst>
                <a:gd name="T0" fmla="*/ 0 w 12"/>
                <a:gd name="T1" fmla="*/ 3 h 9"/>
                <a:gd name="T2" fmla="*/ 0 w 12"/>
                <a:gd name="T3" fmla="*/ 3 h 9"/>
                <a:gd name="T4" fmla="*/ 11 w 12"/>
                <a:gd name="T5" fmla="*/ 5 h 9"/>
                <a:gd name="T6" fmla="*/ 11 w 12"/>
                <a:gd name="T7" fmla="*/ 5 h 9"/>
                <a:gd name="T8" fmla="*/ 11 w 12"/>
                <a:gd name="T9" fmla="*/ 5 h 9"/>
                <a:gd name="T10" fmla="*/ 0 w 12"/>
                <a:gd name="T11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9">
                  <a:moveTo>
                    <a:pt x="0" y="3"/>
                  </a:moveTo>
                  <a:lnTo>
                    <a:pt x="0" y="3"/>
                  </a:lnTo>
                  <a:cubicBezTo>
                    <a:pt x="3" y="8"/>
                    <a:pt x="5" y="8"/>
                    <a:pt x="11" y="5"/>
                  </a:cubicBezTo>
                  <a:lnTo>
                    <a:pt x="11" y="5"/>
                  </a:lnTo>
                  <a:lnTo>
                    <a:pt x="11" y="5"/>
                  </a:lnTo>
                  <a:cubicBezTo>
                    <a:pt x="5" y="3"/>
                    <a:pt x="5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33" name="Freeform 360"/>
            <p:cNvSpPr>
              <a:spLocks noChangeArrowheads="1"/>
            </p:cNvSpPr>
            <p:nvPr/>
          </p:nvSpPr>
          <p:spPr bwMode="auto">
            <a:xfrm>
              <a:off x="3700463" y="2297113"/>
              <a:ext cx="4762" cy="4762"/>
            </a:xfrm>
            <a:custGeom>
              <a:avLst/>
              <a:gdLst>
                <a:gd name="T0" fmla="*/ 6 w 12"/>
                <a:gd name="T1" fmla="*/ 8 h 12"/>
                <a:gd name="T2" fmla="*/ 11 w 12"/>
                <a:gd name="T3" fmla="*/ 8 h 12"/>
                <a:gd name="T4" fmla="*/ 9 w 12"/>
                <a:gd name="T5" fmla="*/ 0 h 12"/>
                <a:gd name="T6" fmla="*/ 2 w 12"/>
                <a:gd name="T7" fmla="*/ 8 h 12"/>
                <a:gd name="T8" fmla="*/ 6 w 12"/>
                <a:gd name="T9" fmla="*/ 8 h 12"/>
                <a:gd name="T10" fmla="*/ 0 w 12"/>
                <a:gd name="T11" fmla="*/ 11 h 12"/>
                <a:gd name="T12" fmla="*/ 2 w 12"/>
                <a:gd name="T13" fmla="*/ 8 h 12"/>
                <a:gd name="T14" fmla="*/ 0 w 12"/>
                <a:gd name="T1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6" y="8"/>
                  </a:moveTo>
                  <a:lnTo>
                    <a:pt x="11" y="8"/>
                  </a:lnTo>
                  <a:cubicBezTo>
                    <a:pt x="11" y="5"/>
                    <a:pt x="9" y="2"/>
                    <a:pt x="9" y="0"/>
                  </a:cubicBezTo>
                  <a:cubicBezTo>
                    <a:pt x="6" y="2"/>
                    <a:pt x="4" y="5"/>
                    <a:pt x="2" y="8"/>
                  </a:cubicBezTo>
                  <a:cubicBezTo>
                    <a:pt x="3" y="8"/>
                    <a:pt x="5" y="8"/>
                    <a:pt x="6" y="8"/>
                  </a:cubicBezTo>
                  <a:close/>
                  <a:moveTo>
                    <a:pt x="0" y="11"/>
                  </a:moveTo>
                  <a:cubicBezTo>
                    <a:pt x="0" y="9"/>
                    <a:pt x="1" y="9"/>
                    <a:pt x="2" y="8"/>
                  </a:cubicBezTo>
                  <a:cubicBezTo>
                    <a:pt x="2" y="9"/>
                    <a:pt x="1" y="10"/>
                    <a:pt x="0" y="1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34" name="Freeform 361"/>
            <p:cNvSpPr>
              <a:spLocks noChangeArrowheads="1"/>
            </p:cNvSpPr>
            <p:nvPr/>
          </p:nvSpPr>
          <p:spPr bwMode="auto">
            <a:xfrm>
              <a:off x="3621088" y="2584450"/>
              <a:ext cx="4762" cy="7938"/>
            </a:xfrm>
            <a:custGeom>
              <a:avLst/>
              <a:gdLst>
                <a:gd name="T0" fmla="*/ 3 w 15"/>
                <a:gd name="T1" fmla="*/ 0 h 23"/>
                <a:gd name="T2" fmla="*/ 3 w 15"/>
                <a:gd name="T3" fmla="*/ 3 h 23"/>
                <a:gd name="T4" fmla="*/ 3 w 15"/>
                <a:gd name="T5" fmla="*/ 3 h 23"/>
                <a:gd name="T6" fmla="*/ 0 w 15"/>
                <a:gd name="T7" fmla="*/ 5 h 23"/>
                <a:gd name="T8" fmla="*/ 0 w 15"/>
                <a:gd name="T9" fmla="*/ 11 h 23"/>
                <a:gd name="T10" fmla="*/ 9 w 15"/>
                <a:gd name="T11" fmla="*/ 0 h 23"/>
                <a:gd name="T12" fmla="*/ 3 w 15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3">
                  <a:moveTo>
                    <a:pt x="3" y="0"/>
                  </a:moveTo>
                  <a:lnTo>
                    <a:pt x="3" y="3"/>
                  </a:lnTo>
                  <a:lnTo>
                    <a:pt x="3" y="3"/>
                  </a:lnTo>
                  <a:cubicBezTo>
                    <a:pt x="3" y="3"/>
                    <a:pt x="3" y="5"/>
                    <a:pt x="0" y="5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6" y="22"/>
                    <a:pt x="14" y="11"/>
                    <a:pt x="9" y="0"/>
                  </a:cubicBezTo>
                  <a:cubicBezTo>
                    <a:pt x="6" y="0"/>
                    <a:pt x="3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35" name="Freeform 362"/>
            <p:cNvSpPr>
              <a:spLocks noChangeArrowheads="1"/>
            </p:cNvSpPr>
            <p:nvPr/>
          </p:nvSpPr>
          <p:spPr bwMode="auto">
            <a:xfrm>
              <a:off x="3652838" y="2389188"/>
              <a:ext cx="1587" cy="3175"/>
            </a:xfrm>
            <a:custGeom>
              <a:avLst/>
              <a:gdLst>
                <a:gd name="T0" fmla="*/ 5 w 6"/>
                <a:gd name="T1" fmla="*/ 3 h 7"/>
                <a:gd name="T2" fmla="*/ 3 w 6"/>
                <a:gd name="T3" fmla="*/ 0 h 7"/>
                <a:gd name="T4" fmla="*/ 0 w 6"/>
                <a:gd name="T5" fmla="*/ 6 h 7"/>
                <a:gd name="T6" fmla="*/ 0 w 6"/>
                <a:gd name="T7" fmla="*/ 6 h 7"/>
                <a:gd name="T8" fmla="*/ 5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3"/>
                  </a:moveTo>
                  <a:lnTo>
                    <a:pt x="3" y="0"/>
                  </a:lnTo>
                  <a:cubicBezTo>
                    <a:pt x="3" y="3"/>
                    <a:pt x="0" y="3"/>
                    <a:pt x="0" y="6"/>
                  </a:cubicBezTo>
                  <a:lnTo>
                    <a:pt x="0" y="6"/>
                  </a:lnTo>
                  <a:cubicBezTo>
                    <a:pt x="3" y="3"/>
                    <a:pt x="5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36" name="Freeform 363"/>
            <p:cNvSpPr>
              <a:spLocks noChangeArrowheads="1"/>
            </p:cNvSpPr>
            <p:nvPr/>
          </p:nvSpPr>
          <p:spPr bwMode="auto">
            <a:xfrm>
              <a:off x="3619500" y="2597150"/>
              <a:ext cx="3175" cy="1588"/>
            </a:xfrm>
            <a:custGeom>
              <a:avLst/>
              <a:gdLst>
                <a:gd name="T0" fmla="*/ 8 w 9"/>
                <a:gd name="T1" fmla="*/ 2 h 6"/>
                <a:gd name="T2" fmla="*/ 2 w 9"/>
                <a:gd name="T3" fmla="*/ 0 h 6"/>
                <a:gd name="T4" fmla="*/ 2 w 9"/>
                <a:gd name="T5" fmla="*/ 0 h 6"/>
                <a:gd name="T6" fmla="*/ 2 w 9"/>
                <a:gd name="T7" fmla="*/ 0 h 6"/>
                <a:gd name="T8" fmla="*/ 0 w 9"/>
                <a:gd name="T9" fmla="*/ 2 h 6"/>
                <a:gd name="T10" fmla="*/ 5 w 9"/>
                <a:gd name="T11" fmla="*/ 5 h 6"/>
                <a:gd name="T12" fmla="*/ 8 w 9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8" y="2"/>
                  </a:moveTo>
                  <a:cubicBezTo>
                    <a:pt x="5" y="2"/>
                    <a:pt x="5" y="0"/>
                    <a:pt x="2" y="0"/>
                  </a:cubicBez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ubicBezTo>
                    <a:pt x="2" y="2"/>
                    <a:pt x="2" y="5"/>
                    <a:pt x="5" y="5"/>
                  </a:cubicBezTo>
                  <a:cubicBezTo>
                    <a:pt x="5" y="5"/>
                    <a:pt x="5" y="5"/>
                    <a:pt x="8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37" name="Freeform 364"/>
            <p:cNvSpPr>
              <a:spLocks noChangeArrowheads="1"/>
            </p:cNvSpPr>
            <p:nvPr/>
          </p:nvSpPr>
          <p:spPr bwMode="auto">
            <a:xfrm>
              <a:off x="3619500" y="2605088"/>
              <a:ext cx="3175" cy="3175"/>
            </a:xfrm>
            <a:custGeom>
              <a:avLst/>
              <a:gdLst>
                <a:gd name="T0" fmla="*/ 0 w 9"/>
                <a:gd name="T1" fmla="*/ 3 h 9"/>
                <a:gd name="T2" fmla="*/ 2 w 9"/>
                <a:gd name="T3" fmla="*/ 6 h 9"/>
                <a:gd name="T4" fmla="*/ 2 w 9"/>
                <a:gd name="T5" fmla="*/ 6 h 9"/>
                <a:gd name="T6" fmla="*/ 8 w 9"/>
                <a:gd name="T7" fmla="*/ 8 h 9"/>
                <a:gd name="T8" fmla="*/ 8 w 9"/>
                <a:gd name="T9" fmla="*/ 3 h 9"/>
                <a:gd name="T10" fmla="*/ 5 w 9"/>
                <a:gd name="T11" fmla="*/ 0 h 9"/>
                <a:gd name="T12" fmla="*/ 0 w 9"/>
                <a:gd name="T1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9">
                  <a:moveTo>
                    <a:pt x="0" y="3"/>
                  </a:moveTo>
                  <a:cubicBezTo>
                    <a:pt x="2" y="3"/>
                    <a:pt x="2" y="3"/>
                    <a:pt x="2" y="6"/>
                  </a:cubicBezTo>
                  <a:lnTo>
                    <a:pt x="2" y="6"/>
                  </a:lnTo>
                  <a:cubicBezTo>
                    <a:pt x="5" y="6"/>
                    <a:pt x="5" y="8"/>
                    <a:pt x="8" y="8"/>
                  </a:cubicBezTo>
                  <a:lnTo>
                    <a:pt x="8" y="3"/>
                  </a:lnTo>
                  <a:lnTo>
                    <a:pt x="5" y="0"/>
                  </a:lnTo>
                  <a:cubicBezTo>
                    <a:pt x="2" y="0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38" name="Freeform 365"/>
            <p:cNvSpPr>
              <a:spLocks noChangeArrowheads="1"/>
            </p:cNvSpPr>
            <p:nvPr/>
          </p:nvSpPr>
          <p:spPr bwMode="auto">
            <a:xfrm>
              <a:off x="4592638" y="2411413"/>
              <a:ext cx="4762" cy="3175"/>
            </a:xfrm>
            <a:custGeom>
              <a:avLst/>
              <a:gdLst>
                <a:gd name="T0" fmla="*/ 9 w 13"/>
                <a:gd name="T1" fmla="*/ 9 h 10"/>
                <a:gd name="T2" fmla="*/ 12 w 13"/>
                <a:gd name="T3" fmla="*/ 0 h 10"/>
                <a:gd name="T4" fmla="*/ 0 w 13"/>
                <a:gd name="T5" fmla="*/ 0 h 10"/>
                <a:gd name="T6" fmla="*/ 9 w 13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9" y="9"/>
                  </a:moveTo>
                  <a:cubicBezTo>
                    <a:pt x="9" y="6"/>
                    <a:pt x="12" y="3"/>
                    <a:pt x="12" y="0"/>
                  </a:cubicBezTo>
                  <a:lnTo>
                    <a:pt x="0" y="0"/>
                  </a:lnTo>
                  <a:cubicBezTo>
                    <a:pt x="0" y="3"/>
                    <a:pt x="3" y="9"/>
                    <a:pt x="9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39" name="Freeform 366"/>
            <p:cNvSpPr>
              <a:spLocks noChangeArrowheads="1"/>
            </p:cNvSpPr>
            <p:nvPr/>
          </p:nvSpPr>
          <p:spPr bwMode="auto">
            <a:xfrm>
              <a:off x="4600575" y="2528888"/>
              <a:ext cx="1588" cy="1587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5 h 6"/>
                <a:gd name="T4" fmla="*/ 3 w 4"/>
                <a:gd name="T5" fmla="*/ 0 h 6"/>
                <a:gd name="T6" fmla="*/ 0 w 4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cubicBezTo>
                    <a:pt x="0" y="2"/>
                    <a:pt x="0" y="2"/>
                    <a:pt x="0" y="5"/>
                  </a:cubicBezTo>
                  <a:cubicBezTo>
                    <a:pt x="3" y="5"/>
                    <a:pt x="3" y="2"/>
                    <a:pt x="3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40" name="Freeform 367"/>
            <p:cNvSpPr>
              <a:spLocks noChangeArrowheads="1"/>
            </p:cNvSpPr>
            <p:nvPr/>
          </p:nvSpPr>
          <p:spPr bwMode="auto">
            <a:xfrm>
              <a:off x="4602163" y="2417763"/>
              <a:ext cx="6350" cy="4762"/>
            </a:xfrm>
            <a:custGeom>
              <a:avLst/>
              <a:gdLst>
                <a:gd name="T0" fmla="*/ 17 w 18"/>
                <a:gd name="T1" fmla="*/ 9 h 15"/>
                <a:gd name="T2" fmla="*/ 3 w 18"/>
                <a:gd name="T3" fmla="*/ 0 h 15"/>
                <a:gd name="T4" fmla="*/ 17 w 18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7" y="9"/>
                  </a:moveTo>
                  <a:cubicBezTo>
                    <a:pt x="17" y="0"/>
                    <a:pt x="11" y="0"/>
                    <a:pt x="3" y="0"/>
                  </a:cubicBezTo>
                  <a:cubicBezTo>
                    <a:pt x="0" y="12"/>
                    <a:pt x="11" y="14"/>
                    <a:pt x="17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41" name="Freeform 368"/>
            <p:cNvSpPr>
              <a:spLocks noChangeArrowheads="1"/>
            </p:cNvSpPr>
            <p:nvPr/>
          </p:nvSpPr>
          <p:spPr bwMode="auto">
            <a:xfrm>
              <a:off x="4491038" y="2397125"/>
              <a:ext cx="3175" cy="3175"/>
            </a:xfrm>
            <a:custGeom>
              <a:avLst/>
              <a:gdLst>
                <a:gd name="T0" fmla="*/ 0 w 7"/>
                <a:gd name="T1" fmla="*/ 3 h 9"/>
                <a:gd name="T2" fmla="*/ 3 w 7"/>
                <a:gd name="T3" fmla="*/ 8 h 9"/>
                <a:gd name="T4" fmla="*/ 6 w 7"/>
                <a:gd name="T5" fmla="*/ 8 h 9"/>
                <a:gd name="T6" fmla="*/ 6 w 7"/>
                <a:gd name="T7" fmla="*/ 5 h 9"/>
                <a:gd name="T8" fmla="*/ 0 w 7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0" y="3"/>
                  </a:moveTo>
                  <a:cubicBezTo>
                    <a:pt x="0" y="5"/>
                    <a:pt x="3" y="5"/>
                    <a:pt x="3" y="8"/>
                  </a:cubicBezTo>
                  <a:lnTo>
                    <a:pt x="6" y="8"/>
                  </a:lnTo>
                  <a:lnTo>
                    <a:pt x="6" y="5"/>
                  </a:lnTo>
                  <a:cubicBezTo>
                    <a:pt x="3" y="0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42" name="Freeform 369"/>
            <p:cNvSpPr>
              <a:spLocks noChangeArrowheads="1"/>
            </p:cNvSpPr>
            <p:nvPr/>
          </p:nvSpPr>
          <p:spPr bwMode="auto">
            <a:xfrm>
              <a:off x="4579938" y="2417763"/>
              <a:ext cx="4762" cy="3175"/>
            </a:xfrm>
            <a:custGeom>
              <a:avLst/>
              <a:gdLst>
                <a:gd name="T0" fmla="*/ 5 w 15"/>
                <a:gd name="T1" fmla="*/ 6 h 7"/>
                <a:gd name="T2" fmla="*/ 14 w 15"/>
                <a:gd name="T3" fmla="*/ 0 h 7"/>
                <a:gd name="T4" fmla="*/ 0 w 15"/>
                <a:gd name="T5" fmla="*/ 6 h 7"/>
                <a:gd name="T6" fmla="*/ 5 w 15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5" y="6"/>
                  </a:moveTo>
                  <a:cubicBezTo>
                    <a:pt x="8" y="6"/>
                    <a:pt x="14" y="3"/>
                    <a:pt x="14" y="0"/>
                  </a:cubicBezTo>
                  <a:cubicBezTo>
                    <a:pt x="8" y="0"/>
                    <a:pt x="5" y="3"/>
                    <a:pt x="0" y="6"/>
                  </a:cubicBezTo>
                  <a:cubicBezTo>
                    <a:pt x="3" y="6"/>
                    <a:pt x="3" y="6"/>
                    <a:pt x="5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43" name="Freeform 370"/>
            <p:cNvSpPr>
              <a:spLocks noChangeArrowheads="1"/>
            </p:cNvSpPr>
            <p:nvPr/>
          </p:nvSpPr>
          <p:spPr bwMode="auto">
            <a:xfrm>
              <a:off x="4603750" y="2449513"/>
              <a:ext cx="6350" cy="11112"/>
            </a:xfrm>
            <a:custGeom>
              <a:avLst/>
              <a:gdLst>
                <a:gd name="T0" fmla="*/ 11 w 18"/>
                <a:gd name="T1" fmla="*/ 2 h 32"/>
                <a:gd name="T2" fmla="*/ 2 w 18"/>
                <a:gd name="T3" fmla="*/ 19 h 32"/>
                <a:gd name="T4" fmla="*/ 0 w 18"/>
                <a:gd name="T5" fmla="*/ 31 h 32"/>
                <a:gd name="T6" fmla="*/ 5 w 18"/>
                <a:gd name="T7" fmla="*/ 31 h 32"/>
                <a:gd name="T8" fmla="*/ 11 w 18"/>
                <a:gd name="T9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32">
                  <a:moveTo>
                    <a:pt x="11" y="2"/>
                  </a:moveTo>
                  <a:cubicBezTo>
                    <a:pt x="8" y="8"/>
                    <a:pt x="5" y="14"/>
                    <a:pt x="2" y="19"/>
                  </a:cubicBezTo>
                  <a:cubicBezTo>
                    <a:pt x="2" y="22"/>
                    <a:pt x="0" y="28"/>
                    <a:pt x="0" y="31"/>
                  </a:cubicBezTo>
                  <a:cubicBezTo>
                    <a:pt x="2" y="31"/>
                    <a:pt x="5" y="31"/>
                    <a:pt x="5" y="31"/>
                  </a:cubicBezTo>
                  <a:cubicBezTo>
                    <a:pt x="11" y="14"/>
                    <a:pt x="17" y="0"/>
                    <a:pt x="11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44" name="Freeform 371"/>
            <p:cNvSpPr>
              <a:spLocks noChangeArrowheads="1"/>
            </p:cNvSpPr>
            <p:nvPr/>
          </p:nvSpPr>
          <p:spPr bwMode="auto">
            <a:xfrm>
              <a:off x="4610100" y="2444750"/>
              <a:ext cx="1588" cy="3175"/>
            </a:xfrm>
            <a:custGeom>
              <a:avLst/>
              <a:gdLst>
                <a:gd name="T0" fmla="*/ 5 w 6"/>
                <a:gd name="T1" fmla="*/ 0 h 7"/>
                <a:gd name="T2" fmla="*/ 5 w 6"/>
                <a:gd name="T3" fmla="*/ 0 h 7"/>
                <a:gd name="T4" fmla="*/ 0 w 6"/>
                <a:gd name="T5" fmla="*/ 6 h 7"/>
                <a:gd name="T6" fmla="*/ 0 w 6"/>
                <a:gd name="T7" fmla="*/ 6 h 7"/>
                <a:gd name="T8" fmla="*/ 5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0"/>
                  </a:moveTo>
                  <a:lnTo>
                    <a:pt x="5" y="0"/>
                  </a:lnTo>
                  <a:cubicBezTo>
                    <a:pt x="5" y="0"/>
                    <a:pt x="2" y="3"/>
                    <a:pt x="0" y="6"/>
                  </a:cubicBezTo>
                  <a:lnTo>
                    <a:pt x="0" y="6"/>
                  </a:lnTo>
                  <a:cubicBezTo>
                    <a:pt x="2" y="6"/>
                    <a:pt x="5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45" name="Freeform 372"/>
            <p:cNvSpPr>
              <a:spLocks noChangeArrowheads="1"/>
            </p:cNvSpPr>
            <p:nvPr/>
          </p:nvSpPr>
          <p:spPr bwMode="auto">
            <a:xfrm>
              <a:off x="4502150" y="2398713"/>
              <a:ext cx="3175" cy="1587"/>
            </a:xfrm>
            <a:custGeom>
              <a:avLst/>
              <a:gdLst>
                <a:gd name="T0" fmla="*/ 6 w 7"/>
                <a:gd name="T1" fmla="*/ 2 h 3"/>
                <a:gd name="T2" fmla="*/ 0 w 7"/>
                <a:gd name="T3" fmla="*/ 2 h 3"/>
                <a:gd name="T4" fmla="*/ 6 w 7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6" y="2"/>
                  </a:moveTo>
                  <a:cubicBezTo>
                    <a:pt x="3" y="0"/>
                    <a:pt x="3" y="0"/>
                    <a:pt x="0" y="2"/>
                  </a:cubicBezTo>
                  <a:lnTo>
                    <a:pt x="6" y="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46" name="Freeform 373"/>
            <p:cNvSpPr>
              <a:spLocks noChangeArrowheads="1"/>
            </p:cNvSpPr>
            <p:nvPr/>
          </p:nvSpPr>
          <p:spPr bwMode="auto">
            <a:xfrm>
              <a:off x="4606925" y="2538413"/>
              <a:ext cx="3175" cy="4762"/>
            </a:xfrm>
            <a:custGeom>
              <a:avLst/>
              <a:gdLst>
                <a:gd name="T0" fmla="*/ 0 w 9"/>
                <a:gd name="T1" fmla="*/ 8 h 12"/>
                <a:gd name="T2" fmla="*/ 6 w 9"/>
                <a:gd name="T3" fmla="*/ 11 h 12"/>
                <a:gd name="T4" fmla="*/ 8 w 9"/>
                <a:gd name="T5" fmla="*/ 3 h 12"/>
                <a:gd name="T6" fmla="*/ 0 w 9"/>
                <a:gd name="T7" fmla="*/ 0 h 12"/>
                <a:gd name="T8" fmla="*/ 0 w 9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8"/>
                  </a:moveTo>
                  <a:cubicBezTo>
                    <a:pt x="3" y="8"/>
                    <a:pt x="3" y="11"/>
                    <a:pt x="6" y="11"/>
                  </a:cubicBezTo>
                  <a:cubicBezTo>
                    <a:pt x="8" y="8"/>
                    <a:pt x="8" y="5"/>
                    <a:pt x="8" y="3"/>
                  </a:cubicBezTo>
                  <a:cubicBezTo>
                    <a:pt x="6" y="3"/>
                    <a:pt x="3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47" name="Freeform 374"/>
            <p:cNvSpPr>
              <a:spLocks noChangeArrowheads="1"/>
            </p:cNvSpPr>
            <p:nvPr/>
          </p:nvSpPr>
          <p:spPr bwMode="auto">
            <a:xfrm>
              <a:off x="4008438" y="2305050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6 h 7"/>
                <a:gd name="T4" fmla="*/ 3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lnTo>
                    <a:pt x="3" y="6"/>
                  </a:lnTo>
                  <a:cubicBezTo>
                    <a:pt x="3" y="3"/>
                    <a:pt x="3" y="3"/>
                    <a:pt x="3" y="0"/>
                  </a:cubicBezTo>
                  <a:cubicBezTo>
                    <a:pt x="3" y="0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48" name="Freeform 375"/>
            <p:cNvSpPr>
              <a:spLocks noChangeArrowheads="1"/>
            </p:cNvSpPr>
            <p:nvPr/>
          </p:nvSpPr>
          <p:spPr bwMode="auto">
            <a:xfrm>
              <a:off x="4005263" y="2979738"/>
              <a:ext cx="1587" cy="4762"/>
            </a:xfrm>
            <a:custGeom>
              <a:avLst/>
              <a:gdLst>
                <a:gd name="T0" fmla="*/ 0 w 6"/>
                <a:gd name="T1" fmla="*/ 0 h 12"/>
                <a:gd name="T2" fmla="*/ 2 w 6"/>
                <a:gd name="T3" fmla="*/ 11 h 12"/>
                <a:gd name="T4" fmla="*/ 5 w 6"/>
                <a:gd name="T5" fmla="*/ 6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cubicBezTo>
                    <a:pt x="0" y="8"/>
                    <a:pt x="0" y="8"/>
                    <a:pt x="2" y="11"/>
                  </a:cubicBezTo>
                  <a:cubicBezTo>
                    <a:pt x="5" y="8"/>
                    <a:pt x="5" y="8"/>
                    <a:pt x="5" y="6"/>
                  </a:cubicBezTo>
                  <a:cubicBezTo>
                    <a:pt x="5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49" name="Freeform 376"/>
            <p:cNvSpPr>
              <a:spLocks noChangeArrowheads="1"/>
            </p:cNvSpPr>
            <p:nvPr/>
          </p:nvSpPr>
          <p:spPr bwMode="auto">
            <a:xfrm>
              <a:off x="4002088" y="2347913"/>
              <a:ext cx="4762" cy="7937"/>
            </a:xfrm>
            <a:custGeom>
              <a:avLst/>
              <a:gdLst>
                <a:gd name="T0" fmla="*/ 0 w 13"/>
                <a:gd name="T1" fmla="*/ 14 h 23"/>
                <a:gd name="T2" fmla="*/ 3 w 13"/>
                <a:gd name="T3" fmla="*/ 22 h 23"/>
                <a:gd name="T4" fmla="*/ 6 w 13"/>
                <a:gd name="T5" fmla="*/ 19 h 23"/>
                <a:gd name="T6" fmla="*/ 6 w 13"/>
                <a:gd name="T7" fmla="*/ 17 h 23"/>
                <a:gd name="T8" fmla="*/ 9 w 13"/>
                <a:gd name="T9" fmla="*/ 5 h 23"/>
                <a:gd name="T10" fmla="*/ 9 w 13"/>
                <a:gd name="T11" fmla="*/ 0 h 23"/>
                <a:gd name="T12" fmla="*/ 0 w 13"/>
                <a:gd name="T13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3">
                  <a:moveTo>
                    <a:pt x="0" y="14"/>
                  </a:moveTo>
                  <a:cubicBezTo>
                    <a:pt x="3" y="17"/>
                    <a:pt x="6" y="17"/>
                    <a:pt x="3" y="22"/>
                  </a:cubicBezTo>
                  <a:lnTo>
                    <a:pt x="6" y="19"/>
                  </a:lnTo>
                  <a:lnTo>
                    <a:pt x="6" y="17"/>
                  </a:lnTo>
                  <a:cubicBezTo>
                    <a:pt x="12" y="8"/>
                    <a:pt x="9" y="14"/>
                    <a:pt x="9" y="5"/>
                  </a:cubicBezTo>
                  <a:cubicBezTo>
                    <a:pt x="9" y="2"/>
                    <a:pt x="9" y="2"/>
                    <a:pt x="9" y="0"/>
                  </a:cubicBezTo>
                  <a:cubicBezTo>
                    <a:pt x="6" y="2"/>
                    <a:pt x="3" y="8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50" name="Freeform 377"/>
            <p:cNvSpPr>
              <a:spLocks noChangeArrowheads="1"/>
            </p:cNvSpPr>
            <p:nvPr/>
          </p:nvSpPr>
          <p:spPr bwMode="auto">
            <a:xfrm>
              <a:off x="3994150" y="2967038"/>
              <a:ext cx="9525" cy="4762"/>
            </a:xfrm>
            <a:custGeom>
              <a:avLst/>
              <a:gdLst>
                <a:gd name="T0" fmla="*/ 8 w 26"/>
                <a:gd name="T1" fmla="*/ 0 h 15"/>
                <a:gd name="T2" fmla="*/ 25 w 26"/>
                <a:gd name="T3" fmla="*/ 14 h 15"/>
                <a:gd name="T4" fmla="*/ 8 w 26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15">
                  <a:moveTo>
                    <a:pt x="8" y="0"/>
                  </a:moveTo>
                  <a:cubicBezTo>
                    <a:pt x="0" y="11"/>
                    <a:pt x="14" y="14"/>
                    <a:pt x="25" y="14"/>
                  </a:cubicBezTo>
                  <a:cubicBezTo>
                    <a:pt x="22" y="9"/>
                    <a:pt x="17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51" name="Freeform 378"/>
            <p:cNvSpPr>
              <a:spLocks noChangeArrowheads="1"/>
            </p:cNvSpPr>
            <p:nvPr/>
          </p:nvSpPr>
          <p:spPr bwMode="auto">
            <a:xfrm>
              <a:off x="4000500" y="2546350"/>
              <a:ext cx="3175" cy="4763"/>
            </a:xfrm>
            <a:custGeom>
              <a:avLst/>
              <a:gdLst>
                <a:gd name="T0" fmla="*/ 0 w 9"/>
                <a:gd name="T1" fmla="*/ 6 h 15"/>
                <a:gd name="T2" fmla="*/ 2 w 9"/>
                <a:gd name="T3" fmla="*/ 12 h 15"/>
                <a:gd name="T4" fmla="*/ 8 w 9"/>
                <a:gd name="T5" fmla="*/ 14 h 15"/>
                <a:gd name="T6" fmla="*/ 0 w 9"/>
                <a:gd name="T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5">
                  <a:moveTo>
                    <a:pt x="0" y="6"/>
                  </a:moveTo>
                  <a:cubicBezTo>
                    <a:pt x="2" y="6"/>
                    <a:pt x="2" y="9"/>
                    <a:pt x="2" y="12"/>
                  </a:cubicBezTo>
                  <a:cubicBezTo>
                    <a:pt x="5" y="12"/>
                    <a:pt x="5" y="14"/>
                    <a:pt x="8" y="14"/>
                  </a:cubicBezTo>
                  <a:cubicBezTo>
                    <a:pt x="8" y="6"/>
                    <a:pt x="2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52" name="Freeform 379"/>
            <p:cNvSpPr>
              <a:spLocks noChangeArrowheads="1"/>
            </p:cNvSpPr>
            <p:nvPr/>
          </p:nvSpPr>
          <p:spPr bwMode="auto">
            <a:xfrm>
              <a:off x="4002088" y="2895600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3 h 7"/>
                <a:gd name="T4" fmla="*/ 3 w 10"/>
                <a:gd name="T5" fmla="*/ 6 h 7"/>
                <a:gd name="T6" fmla="*/ 9 w 10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6" y="0"/>
                    <a:pt x="3" y="3"/>
                    <a:pt x="0" y="3"/>
                  </a:cubicBezTo>
                  <a:cubicBezTo>
                    <a:pt x="0" y="3"/>
                    <a:pt x="0" y="6"/>
                    <a:pt x="3" y="6"/>
                  </a:cubicBezTo>
                  <a:cubicBezTo>
                    <a:pt x="6" y="3"/>
                    <a:pt x="6" y="0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53" name="Freeform 380"/>
            <p:cNvSpPr>
              <a:spLocks noChangeArrowheads="1"/>
            </p:cNvSpPr>
            <p:nvPr/>
          </p:nvSpPr>
          <p:spPr bwMode="auto">
            <a:xfrm>
              <a:off x="4005263" y="2892425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3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lnTo>
                    <a:pt x="3" y="3"/>
                  </a:lnTo>
                  <a:lnTo>
                    <a:pt x="0" y="0"/>
                  </a:lnTo>
                  <a:cubicBezTo>
                    <a:pt x="0" y="3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54" name="Freeform 381"/>
            <p:cNvSpPr>
              <a:spLocks noChangeArrowheads="1"/>
            </p:cNvSpPr>
            <p:nvPr/>
          </p:nvSpPr>
          <p:spPr bwMode="auto">
            <a:xfrm>
              <a:off x="3995738" y="2386013"/>
              <a:ext cx="11112" cy="7937"/>
            </a:xfrm>
            <a:custGeom>
              <a:avLst/>
              <a:gdLst>
                <a:gd name="T0" fmla="*/ 6 w 29"/>
                <a:gd name="T1" fmla="*/ 2 h 23"/>
                <a:gd name="T2" fmla="*/ 0 w 29"/>
                <a:gd name="T3" fmla="*/ 11 h 23"/>
                <a:gd name="T4" fmla="*/ 6 w 29"/>
                <a:gd name="T5" fmla="*/ 14 h 23"/>
                <a:gd name="T6" fmla="*/ 3 w 29"/>
                <a:gd name="T7" fmla="*/ 22 h 23"/>
                <a:gd name="T8" fmla="*/ 12 w 29"/>
                <a:gd name="T9" fmla="*/ 19 h 23"/>
                <a:gd name="T10" fmla="*/ 26 w 29"/>
                <a:gd name="T11" fmla="*/ 19 h 23"/>
                <a:gd name="T12" fmla="*/ 26 w 29"/>
                <a:gd name="T13" fmla="*/ 17 h 23"/>
                <a:gd name="T14" fmla="*/ 28 w 29"/>
                <a:gd name="T15" fmla="*/ 11 h 23"/>
                <a:gd name="T16" fmla="*/ 14 w 29"/>
                <a:gd name="T17" fmla="*/ 2 h 23"/>
                <a:gd name="T18" fmla="*/ 9 w 29"/>
                <a:gd name="T19" fmla="*/ 14 h 23"/>
                <a:gd name="T20" fmla="*/ 6 w 29"/>
                <a:gd name="T21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23">
                  <a:moveTo>
                    <a:pt x="6" y="2"/>
                  </a:moveTo>
                  <a:cubicBezTo>
                    <a:pt x="6" y="5"/>
                    <a:pt x="0" y="8"/>
                    <a:pt x="0" y="11"/>
                  </a:cubicBezTo>
                  <a:lnTo>
                    <a:pt x="6" y="14"/>
                  </a:lnTo>
                  <a:cubicBezTo>
                    <a:pt x="6" y="14"/>
                    <a:pt x="0" y="19"/>
                    <a:pt x="3" y="22"/>
                  </a:cubicBezTo>
                  <a:cubicBezTo>
                    <a:pt x="6" y="22"/>
                    <a:pt x="9" y="22"/>
                    <a:pt x="12" y="19"/>
                  </a:cubicBezTo>
                  <a:lnTo>
                    <a:pt x="26" y="19"/>
                  </a:lnTo>
                  <a:lnTo>
                    <a:pt x="26" y="17"/>
                  </a:lnTo>
                  <a:cubicBezTo>
                    <a:pt x="26" y="17"/>
                    <a:pt x="28" y="17"/>
                    <a:pt x="28" y="11"/>
                  </a:cubicBezTo>
                  <a:cubicBezTo>
                    <a:pt x="26" y="5"/>
                    <a:pt x="23" y="0"/>
                    <a:pt x="14" y="2"/>
                  </a:cubicBezTo>
                  <a:cubicBezTo>
                    <a:pt x="14" y="8"/>
                    <a:pt x="17" y="17"/>
                    <a:pt x="9" y="14"/>
                  </a:cubicBezTo>
                  <a:cubicBezTo>
                    <a:pt x="0" y="14"/>
                    <a:pt x="12" y="5"/>
                    <a:pt x="6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55" name="Freeform 382"/>
            <p:cNvSpPr>
              <a:spLocks noChangeArrowheads="1"/>
            </p:cNvSpPr>
            <p:nvPr/>
          </p:nvSpPr>
          <p:spPr bwMode="auto">
            <a:xfrm>
              <a:off x="3975100" y="2381250"/>
              <a:ext cx="22225" cy="19050"/>
            </a:xfrm>
            <a:custGeom>
              <a:avLst/>
              <a:gdLst>
                <a:gd name="T0" fmla="*/ 20 w 60"/>
                <a:gd name="T1" fmla="*/ 19 h 51"/>
                <a:gd name="T2" fmla="*/ 11 w 60"/>
                <a:gd name="T3" fmla="*/ 31 h 51"/>
                <a:gd name="T4" fmla="*/ 6 w 60"/>
                <a:gd name="T5" fmla="*/ 22 h 51"/>
                <a:gd name="T6" fmla="*/ 8 w 60"/>
                <a:gd name="T7" fmla="*/ 19 h 51"/>
                <a:gd name="T8" fmla="*/ 0 w 60"/>
                <a:gd name="T9" fmla="*/ 25 h 51"/>
                <a:gd name="T10" fmla="*/ 0 w 60"/>
                <a:gd name="T11" fmla="*/ 28 h 51"/>
                <a:gd name="T12" fmla="*/ 6 w 60"/>
                <a:gd name="T13" fmla="*/ 31 h 51"/>
                <a:gd name="T14" fmla="*/ 3 w 60"/>
                <a:gd name="T15" fmla="*/ 33 h 51"/>
                <a:gd name="T16" fmla="*/ 11 w 60"/>
                <a:gd name="T17" fmla="*/ 50 h 51"/>
                <a:gd name="T18" fmla="*/ 14 w 60"/>
                <a:gd name="T19" fmla="*/ 50 h 51"/>
                <a:gd name="T20" fmla="*/ 31 w 60"/>
                <a:gd name="T21" fmla="*/ 36 h 51"/>
                <a:gd name="T22" fmla="*/ 31 w 60"/>
                <a:gd name="T23" fmla="*/ 45 h 51"/>
                <a:gd name="T24" fmla="*/ 37 w 60"/>
                <a:gd name="T25" fmla="*/ 42 h 51"/>
                <a:gd name="T26" fmla="*/ 51 w 60"/>
                <a:gd name="T27" fmla="*/ 45 h 51"/>
                <a:gd name="T28" fmla="*/ 59 w 60"/>
                <a:gd name="T29" fmla="*/ 36 h 51"/>
                <a:gd name="T30" fmla="*/ 45 w 60"/>
                <a:gd name="T31" fmla="*/ 25 h 51"/>
                <a:gd name="T32" fmla="*/ 45 w 60"/>
                <a:gd name="T33" fmla="*/ 25 h 51"/>
                <a:gd name="T34" fmla="*/ 42 w 60"/>
                <a:gd name="T35" fmla="*/ 31 h 51"/>
                <a:gd name="T36" fmla="*/ 51 w 60"/>
                <a:gd name="T37" fmla="*/ 39 h 51"/>
                <a:gd name="T38" fmla="*/ 42 w 60"/>
                <a:gd name="T39" fmla="*/ 42 h 51"/>
                <a:gd name="T40" fmla="*/ 37 w 60"/>
                <a:gd name="T41" fmla="*/ 33 h 51"/>
                <a:gd name="T42" fmla="*/ 37 w 60"/>
                <a:gd name="T43" fmla="*/ 31 h 51"/>
                <a:gd name="T44" fmla="*/ 31 w 60"/>
                <a:gd name="T45" fmla="*/ 14 h 51"/>
                <a:gd name="T46" fmla="*/ 34 w 60"/>
                <a:gd name="T47" fmla="*/ 14 h 51"/>
                <a:gd name="T48" fmla="*/ 31 w 60"/>
                <a:gd name="T49" fmla="*/ 2 h 51"/>
                <a:gd name="T50" fmla="*/ 34 w 60"/>
                <a:gd name="T51" fmla="*/ 2 h 51"/>
                <a:gd name="T52" fmla="*/ 28 w 60"/>
                <a:gd name="T53" fmla="*/ 0 h 51"/>
                <a:gd name="T54" fmla="*/ 20 w 60"/>
                <a:gd name="T55" fmla="*/ 1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0" h="51">
                  <a:moveTo>
                    <a:pt x="20" y="19"/>
                  </a:moveTo>
                  <a:cubicBezTo>
                    <a:pt x="20" y="19"/>
                    <a:pt x="20" y="33"/>
                    <a:pt x="11" y="31"/>
                  </a:cubicBezTo>
                  <a:cubicBezTo>
                    <a:pt x="11" y="25"/>
                    <a:pt x="8" y="25"/>
                    <a:pt x="6" y="22"/>
                  </a:cubicBezTo>
                  <a:cubicBezTo>
                    <a:pt x="6" y="22"/>
                    <a:pt x="8" y="22"/>
                    <a:pt x="8" y="19"/>
                  </a:cubicBezTo>
                  <a:cubicBezTo>
                    <a:pt x="6" y="22"/>
                    <a:pt x="3" y="22"/>
                    <a:pt x="0" y="25"/>
                  </a:cubicBezTo>
                  <a:lnTo>
                    <a:pt x="0" y="28"/>
                  </a:lnTo>
                  <a:cubicBezTo>
                    <a:pt x="3" y="28"/>
                    <a:pt x="3" y="31"/>
                    <a:pt x="6" y="31"/>
                  </a:cubicBezTo>
                  <a:cubicBezTo>
                    <a:pt x="3" y="31"/>
                    <a:pt x="3" y="31"/>
                    <a:pt x="3" y="33"/>
                  </a:cubicBezTo>
                  <a:cubicBezTo>
                    <a:pt x="6" y="39"/>
                    <a:pt x="11" y="42"/>
                    <a:pt x="11" y="50"/>
                  </a:cubicBezTo>
                  <a:lnTo>
                    <a:pt x="14" y="50"/>
                  </a:lnTo>
                  <a:cubicBezTo>
                    <a:pt x="14" y="39"/>
                    <a:pt x="23" y="39"/>
                    <a:pt x="31" y="36"/>
                  </a:cubicBezTo>
                  <a:cubicBezTo>
                    <a:pt x="31" y="39"/>
                    <a:pt x="31" y="42"/>
                    <a:pt x="31" y="45"/>
                  </a:cubicBezTo>
                  <a:cubicBezTo>
                    <a:pt x="34" y="45"/>
                    <a:pt x="37" y="42"/>
                    <a:pt x="37" y="42"/>
                  </a:cubicBezTo>
                  <a:cubicBezTo>
                    <a:pt x="42" y="45"/>
                    <a:pt x="45" y="45"/>
                    <a:pt x="51" y="45"/>
                  </a:cubicBezTo>
                  <a:cubicBezTo>
                    <a:pt x="54" y="42"/>
                    <a:pt x="56" y="39"/>
                    <a:pt x="59" y="36"/>
                  </a:cubicBezTo>
                  <a:cubicBezTo>
                    <a:pt x="54" y="33"/>
                    <a:pt x="51" y="28"/>
                    <a:pt x="45" y="25"/>
                  </a:cubicBezTo>
                  <a:lnTo>
                    <a:pt x="45" y="25"/>
                  </a:lnTo>
                  <a:cubicBezTo>
                    <a:pt x="45" y="28"/>
                    <a:pt x="42" y="28"/>
                    <a:pt x="42" y="31"/>
                  </a:cubicBezTo>
                  <a:cubicBezTo>
                    <a:pt x="45" y="33"/>
                    <a:pt x="51" y="31"/>
                    <a:pt x="51" y="39"/>
                  </a:cubicBezTo>
                  <a:cubicBezTo>
                    <a:pt x="48" y="39"/>
                    <a:pt x="45" y="39"/>
                    <a:pt x="42" y="42"/>
                  </a:cubicBezTo>
                  <a:cubicBezTo>
                    <a:pt x="42" y="39"/>
                    <a:pt x="37" y="39"/>
                    <a:pt x="37" y="33"/>
                  </a:cubicBezTo>
                  <a:cubicBezTo>
                    <a:pt x="37" y="33"/>
                    <a:pt x="37" y="33"/>
                    <a:pt x="37" y="31"/>
                  </a:cubicBezTo>
                  <a:cubicBezTo>
                    <a:pt x="31" y="25"/>
                    <a:pt x="28" y="19"/>
                    <a:pt x="31" y="14"/>
                  </a:cubicBezTo>
                  <a:lnTo>
                    <a:pt x="34" y="14"/>
                  </a:lnTo>
                  <a:cubicBezTo>
                    <a:pt x="31" y="11"/>
                    <a:pt x="31" y="8"/>
                    <a:pt x="31" y="2"/>
                  </a:cubicBezTo>
                  <a:cubicBezTo>
                    <a:pt x="31" y="2"/>
                    <a:pt x="31" y="2"/>
                    <a:pt x="34" y="2"/>
                  </a:cubicBezTo>
                  <a:cubicBezTo>
                    <a:pt x="34" y="0"/>
                    <a:pt x="31" y="0"/>
                    <a:pt x="28" y="0"/>
                  </a:cubicBezTo>
                  <a:cubicBezTo>
                    <a:pt x="31" y="14"/>
                    <a:pt x="23" y="14"/>
                    <a:pt x="20" y="1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56" name="Freeform 383"/>
            <p:cNvSpPr>
              <a:spLocks noChangeArrowheads="1"/>
            </p:cNvSpPr>
            <p:nvPr/>
          </p:nvSpPr>
          <p:spPr bwMode="auto">
            <a:xfrm>
              <a:off x="3990975" y="2154238"/>
              <a:ext cx="3175" cy="4762"/>
            </a:xfrm>
            <a:custGeom>
              <a:avLst/>
              <a:gdLst>
                <a:gd name="T0" fmla="*/ 9 w 10"/>
                <a:gd name="T1" fmla="*/ 0 h 13"/>
                <a:gd name="T2" fmla="*/ 9 w 10"/>
                <a:gd name="T3" fmla="*/ 0 h 13"/>
                <a:gd name="T4" fmla="*/ 0 w 10"/>
                <a:gd name="T5" fmla="*/ 12 h 13"/>
                <a:gd name="T6" fmla="*/ 9 w 1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9" y="0"/>
                  </a:moveTo>
                  <a:lnTo>
                    <a:pt x="9" y="0"/>
                  </a:lnTo>
                  <a:cubicBezTo>
                    <a:pt x="6" y="3"/>
                    <a:pt x="0" y="6"/>
                    <a:pt x="0" y="12"/>
                  </a:cubicBezTo>
                  <a:cubicBezTo>
                    <a:pt x="6" y="12"/>
                    <a:pt x="9" y="6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57" name="Freeform 384"/>
            <p:cNvSpPr>
              <a:spLocks noChangeArrowheads="1"/>
            </p:cNvSpPr>
            <p:nvPr/>
          </p:nvSpPr>
          <p:spPr bwMode="auto">
            <a:xfrm>
              <a:off x="3995738" y="2341563"/>
              <a:ext cx="4762" cy="3175"/>
            </a:xfrm>
            <a:custGeom>
              <a:avLst/>
              <a:gdLst>
                <a:gd name="T0" fmla="*/ 3 w 13"/>
                <a:gd name="T1" fmla="*/ 8 h 9"/>
                <a:gd name="T2" fmla="*/ 12 w 13"/>
                <a:gd name="T3" fmla="*/ 0 h 9"/>
                <a:gd name="T4" fmla="*/ 0 w 13"/>
                <a:gd name="T5" fmla="*/ 2 h 9"/>
                <a:gd name="T6" fmla="*/ 3 w 13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3" y="8"/>
                  </a:moveTo>
                  <a:cubicBezTo>
                    <a:pt x="6" y="5"/>
                    <a:pt x="9" y="2"/>
                    <a:pt x="12" y="0"/>
                  </a:cubicBezTo>
                  <a:cubicBezTo>
                    <a:pt x="9" y="0"/>
                    <a:pt x="6" y="2"/>
                    <a:pt x="0" y="2"/>
                  </a:cubicBezTo>
                  <a:cubicBezTo>
                    <a:pt x="0" y="2"/>
                    <a:pt x="3" y="5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58" name="Freeform 385"/>
            <p:cNvSpPr>
              <a:spLocks noChangeArrowheads="1"/>
            </p:cNvSpPr>
            <p:nvPr/>
          </p:nvSpPr>
          <p:spPr bwMode="auto">
            <a:xfrm>
              <a:off x="3900488" y="2466975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3"/>
                    <a:pt x="0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59" name="Freeform 386"/>
            <p:cNvSpPr>
              <a:spLocks noChangeArrowheads="1"/>
            </p:cNvSpPr>
            <p:nvPr/>
          </p:nvSpPr>
          <p:spPr bwMode="auto">
            <a:xfrm>
              <a:off x="3995738" y="2155825"/>
              <a:ext cx="3175" cy="3175"/>
            </a:xfrm>
            <a:custGeom>
              <a:avLst/>
              <a:gdLst>
                <a:gd name="T0" fmla="*/ 6 w 7"/>
                <a:gd name="T1" fmla="*/ 6 h 10"/>
                <a:gd name="T2" fmla="*/ 3 w 7"/>
                <a:gd name="T3" fmla="*/ 0 h 10"/>
                <a:gd name="T4" fmla="*/ 0 w 7"/>
                <a:gd name="T5" fmla="*/ 3 h 10"/>
                <a:gd name="T6" fmla="*/ 0 w 7"/>
                <a:gd name="T7" fmla="*/ 9 h 10"/>
                <a:gd name="T8" fmla="*/ 3 w 7"/>
                <a:gd name="T9" fmla="*/ 9 h 10"/>
                <a:gd name="T10" fmla="*/ 6 w 7"/>
                <a:gd name="T1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0">
                  <a:moveTo>
                    <a:pt x="6" y="6"/>
                  </a:moveTo>
                  <a:cubicBezTo>
                    <a:pt x="6" y="3"/>
                    <a:pt x="6" y="0"/>
                    <a:pt x="3" y="0"/>
                  </a:cubicBezTo>
                  <a:cubicBezTo>
                    <a:pt x="3" y="3"/>
                    <a:pt x="3" y="3"/>
                    <a:pt x="0" y="3"/>
                  </a:cubicBezTo>
                  <a:lnTo>
                    <a:pt x="0" y="9"/>
                  </a:lnTo>
                  <a:cubicBezTo>
                    <a:pt x="0" y="9"/>
                    <a:pt x="0" y="9"/>
                    <a:pt x="3" y="9"/>
                  </a:cubicBezTo>
                  <a:cubicBezTo>
                    <a:pt x="6" y="6"/>
                    <a:pt x="6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60" name="Freeform 387"/>
            <p:cNvSpPr>
              <a:spLocks noChangeArrowheads="1"/>
            </p:cNvSpPr>
            <p:nvPr/>
          </p:nvSpPr>
          <p:spPr bwMode="auto">
            <a:xfrm>
              <a:off x="3987800" y="2424113"/>
              <a:ext cx="4763" cy="4762"/>
            </a:xfrm>
            <a:custGeom>
              <a:avLst/>
              <a:gdLst>
                <a:gd name="T0" fmla="*/ 8 w 12"/>
                <a:gd name="T1" fmla="*/ 3 h 15"/>
                <a:gd name="T2" fmla="*/ 3 w 12"/>
                <a:gd name="T3" fmla="*/ 0 h 15"/>
                <a:gd name="T4" fmla="*/ 0 w 12"/>
                <a:gd name="T5" fmla="*/ 11 h 15"/>
                <a:gd name="T6" fmla="*/ 11 w 12"/>
                <a:gd name="T7" fmla="*/ 14 h 15"/>
                <a:gd name="T8" fmla="*/ 8 w 12"/>
                <a:gd name="T9" fmla="*/ 11 h 15"/>
                <a:gd name="T10" fmla="*/ 8 w 12"/>
                <a:gd name="T11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5">
                  <a:moveTo>
                    <a:pt x="8" y="3"/>
                  </a:moveTo>
                  <a:cubicBezTo>
                    <a:pt x="8" y="3"/>
                    <a:pt x="5" y="3"/>
                    <a:pt x="3" y="0"/>
                  </a:cubicBezTo>
                  <a:cubicBezTo>
                    <a:pt x="0" y="3"/>
                    <a:pt x="0" y="8"/>
                    <a:pt x="0" y="11"/>
                  </a:cubicBezTo>
                  <a:cubicBezTo>
                    <a:pt x="3" y="11"/>
                    <a:pt x="5" y="14"/>
                    <a:pt x="11" y="14"/>
                  </a:cubicBezTo>
                  <a:cubicBezTo>
                    <a:pt x="11" y="14"/>
                    <a:pt x="11" y="11"/>
                    <a:pt x="8" y="11"/>
                  </a:cubicBezTo>
                  <a:cubicBezTo>
                    <a:pt x="11" y="8"/>
                    <a:pt x="11" y="6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61" name="Freeform 388"/>
            <p:cNvSpPr>
              <a:spLocks noChangeArrowheads="1"/>
            </p:cNvSpPr>
            <p:nvPr/>
          </p:nvSpPr>
          <p:spPr bwMode="auto">
            <a:xfrm>
              <a:off x="3987800" y="2566988"/>
              <a:ext cx="3175" cy="3175"/>
            </a:xfrm>
            <a:custGeom>
              <a:avLst/>
              <a:gdLst>
                <a:gd name="T0" fmla="*/ 8 w 9"/>
                <a:gd name="T1" fmla="*/ 5 h 9"/>
                <a:gd name="T2" fmla="*/ 8 w 9"/>
                <a:gd name="T3" fmla="*/ 0 h 9"/>
                <a:gd name="T4" fmla="*/ 0 w 9"/>
                <a:gd name="T5" fmla="*/ 3 h 9"/>
                <a:gd name="T6" fmla="*/ 2 w 9"/>
                <a:gd name="T7" fmla="*/ 5 h 9"/>
                <a:gd name="T8" fmla="*/ 6 w 9"/>
                <a:gd name="T9" fmla="*/ 6 h 9"/>
                <a:gd name="T10" fmla="*/ 8 w 9"/>
                <a:gd name="T11" fmla="*/ 5 h 9"/>
                <a:gd name="T12" fmla="*/ 8 w 9"/>
                <a:gd name="T13" fmla="*/ 5 h 9"/>
                <a:gd name="T14" fmla="*/ 6 w 9"/>
                <a:gd name="T15" fmla="*/ 6 h 9"/>
                <a:gd name="T16" fmla="*/ 8 w 9"/>
                <a:gd name="T1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8" y="5"/>
                  </a:moveTo>
                  <a:lnTo>
                    <a:pt x="8" y="0"/>
                  </a:lnTo>
                  <a:cubicBezTo>
                    <a:pt x="5" y="0"/>
                    <a:pt x="0" y="0"/>
                    <a:pt x="0" y="3"/>
                  </a:cubicBezTo>
                  <a:cubicBezTo>
                    <a:pt x="2" y="3"/>
                    <a:pt x="2" y="3"/>
                    <a:pt x="2" y="5"/>
                  </a:cubicBezTo>
                  <a:cubicBezTo>
                    <a:pt x="2" y="8"/>
                    <a:pt x="2" y="8"/>
                    <a:pt x="6" y="6"/>
                  </a:cubicBezTo>
                  <a:cubicBezTo>
                    <a:pt x="6" y="6"/>
                    <a:pt x="7" y="5"/>
                    <a:pt x="8" y="5"/>
                  </a:cubicBezTo>
                  <a:close/>
                  <a:moveTo>
                    <a:pt x="8" y="5"/>
                  </a:moveTo>
                  <a:cubicBezTo>
                    <a:pt x="7" y="7"/>
                    <a:pt x="6" y="7"/>
                    <a:pt x="6" y="6"/>
                  </a:cubicBezTo>
                  <a:cubicBezTo>
                    <a:pt x="7" y="6"/>
                    <a:pt x="7" y="6"/>
                    <a:pt x="8" y="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62" name="Freeform 389"/>
            <p:cNvSpPr>
              <a:spLocks noChangeArrowheads="1"/>
            </p:cNvSpPr>
            <p:nvPr/>
          </p:nvSpPr>
          <p:spPr bwMode="auto">
            <a:xfrm>
              <a:off x="3986213" y="2444750"/>
              <a:ext cx="3175" cy="6350"/>
            </a:xfrm>
            <a:custGeom>
              <a:avLst/>
              <a:gdLst>
                <a:gd name="T0" fmla="*/ 6 w 9"/>
                <a:gd name="T1" fmla="*/ 0 h 16"/>
                <a:gd name="T2" fmla="*/ 3 w 9"/>
                <a:gd name="T3" fmla="*/ 0 h 16"/>
                <a:gd name="T4" fmla="*/ 0 w 9"/>
                <a:gd name="T5" fmla="*/ 6 h 16"/>
                <a:gd name="T6" fmla="*/ 3 w 9"/>
                <a:gd name="T7" fmla="*/ 6 h 16"/>
                <a:gd name="T8" fmla="*/ 8 w 9"/>
                <a:gd name="T9" fmla="*/ 12 h 16"/>
                <a:gd name="T10" fmla="*/ 6 w 9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6">
                  <a:moveTo>
                    <a:pt x="6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0" y="3"/>
                    <a:pt x="0" y="6"/>
                  </a:cubicBezTo>
                  <a:lnTo>
                    <a:pt x="3" y="6"/>
                  </a:lnTo>
                  <a:cubicBezTo>
                    <a:pt x="3" y="6"/>
                    <a:pt x="3" y="15"/>
                    <a:pt x="8" y="12"/>
                  </a:cubicBezTo>
                  <a:cubicBezTo>
                    <a:pt x="8" y="9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63" name="Freeform 390"/>
            <p:cNvSpPr>
              <a:spLocks noChangeArrowheads="1"/>
            </p:cNvSpPr>
            <p:nvPr/>
          </p:nvSpPr>
          <p:spPr bwMode="auto">
            <a:xfrm>
              <a:off x="3973513" y="2376488"/>
              <a:ext cx="3175" cy="4762"/>
            </a:xfrm>
            <a:custGeom>
              <a:avLst/>
              <a:gdLst>
                <a:gd name="T0" fmla="*/ 0 w 10"/>
                <a:gd name="T1" fmla="*/ 6 h 13"/>
                <a:gd name="T2" fmla="*/ 6 w 10"/>
                <a:gd name="T3" fmla="*/ 12 h 13"/>
                <a:gd name="T4" fmla="*/ 3 w 10"/>
                <a:gd name="T5" fmla="*/ 0 h 13"/>
                <a:gd name="T6" fmla="*/ 0 w 10"/>
                <a:gd name="T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0" y="6"/>
                  </a:moveTo>
                  <a:cubicBezTo>
                    <a:pt x="0" y="9"/>
                    <a:pt x="0" y="12"/>
                    <a:pt x="6" y="12"/>
                  </a:cubicBezTo>
                  <a:cubicBezTo>
                    <a:pt x="9" y="9"/>
                    <a:pt x="6" y="3"/>
                    <a:pt x="3" y="0"/>
                  </a:cubicBezTo>
                  <a:cubicBezTo>
                    <a:pt x="3" y="3"/>
                    <a:pt x="3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64" name="Freeform 391"/>
            <p:cNvSpPr>
              <a:spLocks noChangeArrowheads="1"/>
            </p:cNvSpPr>
            <p:nvPr/>
          </p:nvSpPr>
          <p:spPr bwMode="auto">
            <a:xfrm>
              <a:off x="3997325" y="2863850"/>
              <a:ext cx="7938" cy="3175"/>
            </a:xfrm>
            <a:custGeom>
              <a:avLst/>
              <a:gdLst>
                <a:gd name="T0" fmla="*/ 9 w 21"/>
                <a:gd name="T1" fmla="*/ 0 h 10"/>
                <a:gd name="T2" fmla="*/ 9 w 21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0">
                  <a:moveTo>
                    <a:pt x="9" y="0"/>
                  </a:moveTo>
                  <a:cubicBezTo>
                    <a:pt x="0" y="9"/>
                    <a:pt x="20" y="9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65" name="Freeform 392"/>
            <p:cNvSpPr>
              <a:spLocks noChangeArrowheads="1"/>
            </p:cNvSpPr>
            <p:nvPr/>
          </p:nvSpPr>
          <p:spPr bwMode="auto">
            <a:xfrm>
              <a:off x="3979863" y="2735263"/>
              <a:ext cx="6350" cy="4762"/>
            </a:xfrm>
            <a:custGeom>
              <a:avLst/>
              <a:gdLst>
                <a:gd name="T0" fmla="*/ 0 w 18"/>
                <a:gd name="T1" fmla="*/ 8 h 12"/>
                <a:gd name="T2" fmla="*/ 17 w 18"/>
                <a:gd name="T3" fmla="*/ 6 h 12"/>
                <a:gd name="T4" fmla="*/ 6 w 18"/>
                <a:gd name="T5" fmla="*/ 0 h 12"/>
                <a:gd name="T6" fmla="*/ 0 w 18"/>
                <a:gd name="T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2">
                  <a:moveTo>
                    <a:pt x="0" y="8"/>
                  </a:moveTo>
                  <a:cubicBezTo>
                    <a:pt x="9" y="11"/>
                    <a:pt x="12" y="6"/>
                    <a:pt x="17" y="6"/>
                  </a:cubicBezTo>
                  <a:cubicBezTo>
                    <a:pt x="14" y="6"/>
                    <a:pt x="9" y="3"/>
                    <a:pt x="6" y="0"/>
                  </a:cubicBezTo>
                  <a:cubicBezTo>
                    <a:pt x="3" y="3"/>
                    <a:pt x="0" y="6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66" name="Freeform 393"/>
            <p:cNvSpPr>
              <a:spLocks noChangeArrowheads="1"/>
            </p:cNvSpPr>
            <p:nvPr/>
          </p:nvSpPr>
          <p:spPr bwMode="auto">
            <a:xfrm>
              <a:off x="3979863" y="2516188"/>
              <a:ext cx="1587" cy="1587"/>
            </a:xfrm>
            <a:custGeom>
              <a:avLst/>
              <a:gdLst>
                <a:gd name="T0" fmla="*/ 3 w 4"/>
                <a:gd name="T1" fmla="*/ 0 h 6"/>
                <a:gd name="T2" fmla="*/ 0 w 4"/>
                <a:gd name="T3" fmla="*/ 5 h 6"/>
                <a:gd name="T4" fmla="*/ 3 w 4"/>
                <a:gd name="T5" fmla="*/ 3 h 6"/>
                <a:gd name="T6" fmla="*/ 3 w 4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0"/>
                  </a:moveTo>
                  <a:cubicBezTo>
                    <a:pt x="0" y="3"/>
                    <a:pt x="0" y="5"/>
                    <a:pt x="0" y="5"/>
                  </a:cubicBezTo>
                  <a:cubicBezTo>
                    <a:pt x="0" y="5"/>
                    <a:pt x="3" y="5"/>
                    <a:pt x="3" y="3"/>
                  </a:cubicBezTo>
                  <a:lnTo>
                    <a:pt x="3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67" name="Freeform 394"/>
            <p:cNvSpPr>
              <a:spLocks noChangeArrowheads="1"/>
            </p:cNvSpPr>
            <p:nvPr/>
          </p:nvSpPr>
          <p:spPr bwMode="auto">
            <a:xfrm>
              <a:off x="3976688" y="2416175"/>
              <a:ext cx="3175" cy="3175"/>
            </a:xfrm>
            <a:custGeom>
              <a:avLst/>
              <a:gdLst>
                <a:gd name="T0" fmla="*/ 1 w 7"/>
                <a:gd name="T1" fmla="*/ 3 h 7"/>
                <a:gd name="T2" fmla="*/ 3 w 7"/>
                <a:gd name="T3" fmla="*/ 6 h 7"/>
                <a:gd name="T4" fmla="*/ 6 w 7"/>
                <a:gd name="T5" fmla="*/ 0 h 7"/>
                <a:gd name="T6" fmla="*/ 6 w 7"/>
                <a:gd name="T7" fmla="*/ 0 h 7"/>
                <a:gd name="T8" fmla="*/ 1 w 7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3"/>
                  </a:moveTo>
                  <a:cubicBezTo>
                    <a:pt x="1" y="6"/>
                    <a:pt x="0" y="6"/>
                    <a:pt x="3" y="6"/>
                  </a:cubicBezTo>
                  <a:cubicBezTo>
                    <a:pt x="5" y="6"/>
                    <a:pt x="6" y="3"/>
                    <a:pt x="6" y="0"/>
                  </a:cubicBezTo>
                  <a:lnTo>
                    <a:pt x="6" y="0"/>
                  </a:lnTo>
                  <a:cubicBezTo>
                    <a:pt x="3" y="3"/>
                    <a:pt x="1" y="3"/>
                    <a:pt x="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68" name="Freeform 395"/>
            <p:cNvSpPr>
              <a:spLocks noChangeArrowheads="1"/>
            </p:cNvSpPr>
            <p:nvPr/>
          </p:nvSpPr>
          <p:spPr bwMode="auto">
            <a:xfrm>
              <a:off x="3978275" y="2406650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0 h 7"/>
                <a:gd name="T4" fmla="*/ 0 w 10"/>
                <a:gd name="T5" fmla="*/ 6 h 7"/>
                <a:gd name="T6" fmla="*/ 9 w 10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6" y="0"/>
                    <a:pt x="3" y="0"/>
                    <a:pt x="0" y="0"/>
                  </a:cubicBezTo>
                  <a:cubicBezTo>
                    <a:pt x="0" y="3"/>
                    <a:pt x="0" y="3"/>
                    <a:pt x="0" y="6"/>
                  </a:cubicBezTo>
                  <a:cubicBezTo>
                    <a:pt x="3" y="6"/>
                    <a:pt x="6" y="3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69" name="Freeform 396"/>
            <p:cNvSpPr>
              <a:spLocks noChangeArrowheads="1"/>
            </p:cNvSpPr>
            <p:nvPr/>
          </p:nvSpPr>
          <p:spPr bwMode="auto">
            <a:xfrm>
              <a:off x="3983038" y="2378075"/>
              <a:ext cx="4762" cy="4763"/>
            </a:xfrm>
            <a:custGeom>
              <a:avLst/>
              <a:gdLst>
                <a:gd name="T0" fmla="*/ 2 w 12"/>
                <a:gd name="T1" fmla="*/ 0 h 15"/>
                <a:gd name="T2" fmla="*/ 0 w 12"/>
                <a:gd name="T3" fmla="*/ 14 h 15"/>
                <a:gd name="T4" fmla="*/ 8 w 12"/>
                <a:gd name="T5" fmla="*/ 11 h 15"/>
                <a:gd name="T6" fmla="*/ 11 w 12"/>
                <a:gd name="T7" fmla="*/ 0 h 15"/>
                <a:gd name="T8" fmla="*/ 2 w 1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2" y="0"/>
                  </a:moveTo>
                  <a:cubicBezTo>
                    <a:pt x="2" y="6"/>
                    <a:pt x="2" y="9"/>
                    <a:pt x="0" y="14"/>
                  </a:cubicBezTo>
                  <a:cubicBezTo>
                    <a:pt x="2" y="11"/>
                    <a:pt x="2" y="9"/>
                    <a:pt x="8" y="11"/>
                  </a:cubicBezTo>
                  <a:cubicBezTo>
                    <a:pt x="8" y="9"/>
                    <a:pt x="8" y="3"/>
                    <a:pt x="11" y="0"/>
                  </a:cubicBezTo>
                  <a:cubicBezTo>
                    <a:pt x="5" y="0"/>
                    <a:pt x="2" y="0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70" name="Freeform 397"/>
            <p:cNvSpPr>
              <a:spLocks noChangeArrowheads="1"/>
            </p:cNvSpPr>
            <p:nvPr/>
          </p:nvSpPr>
          <p:spPr bwMode="auto">
            <a:xfrm>
              <a:off x="3997325" y="2398713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0 w 7"/>
                <a:gd name="T3" fmla="*/ 0 h 7"/>
                <a:gd name="T4" fmla="*/ 0 w 7"/>
                <a:gd name="T5" fmla="*/ 3 h 7"/>
                <a:gd name="T6" fmla="*/ 6 w 7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cubicBezTo>
                    <a:pt x="6" y="3"/>
                    <a:pt x="3" y="0"/>
                    <a:pt x="0" y="0"/>
                  </a:cubicBezTo>
                  <a:lnTo>
                    <a:pt x="0" y="3"/>
                  </a:lnTo>
                  <a:cubicBezTo>
                    <a:pt x="3" y="3"/>
                    <a:pt x="6" y="3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71" name="Freeform 398"/>
            <p:cNvSpPr>
              <a:spLocks noChangeArrowheads="1"/>
            </p:cNvSpPr>
            <p:nvPr/>
          </p:nvSpPr>
          <p:spPr bwMode="auto">
            <a:xfrm>
              <a:off x="3997325" y="2428875"/>
              <a:ext cx="1588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3 w 4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0"/>
                    <a:pt x="0" y="0"/>
                  </a:cubicBezTo>
                  <a:cubicBezTo>
                    <a:pt x="0" y="3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72" name="Freeform 399"/>
            <p:cNvSpPr>
              <a:spLocks noChangeArrowheads="1"/>
            </p:cNvSpPr>
            <p:nvPr/>
          </p:nvSpPr>
          <p:spPr bwMode="auto">
            <a:xfrm>
              <a:off x="4002088" y="2395538"/>
              <a:ext cx="4762" cy="9525"/>
            </a:xfrm>
            <a:custGeom>
              <a:avLst/>
              <a:gdLst>
                <a:gd name="T0" fmla="*/ 0 w 15"/>
                <a:gd name="T1" fmla="*/ 20 h 26"/>
                <a:gd name="T2" fmla="*/ 6 w 15"/>
                <a:gd name="T3" fmla="*/ 25 h 26"/>
                <a:gd name="T4" fmla="*/ 12 w 15"/>
                <a:gd name="T5" fmla="*/ 14 h 26"/>
                <a:gd name="T6" fmla="*/ 12 w 15"/>
                <a:gd name="T7" fmla="*/ 14 h 26"/>
                <a:gd name="T8" fmla="*/ 14 w 15"/>
                <a:gd name="T9" fmla="*/ 0 h 26"/>
                <a:gd name="T10" fmla="*/ 9 w 15"/>
                <a:gd name="T11" fmla="*/ 6 h 26"/>
                <a:gd name="T12" fmla="*/ 9 w 15"/>
                <a:gd name="T13" fmla="*/ 11 h 26"/>
                <a:gd name="T14" fmla="*/ 3 w 15"/>
                <a:gd name="T15" fmla="*/ 11 h 26"/>
                <a:gd name="T16" fmla="*/ 0 w 15"/>
                <a:gd name="T17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26">
                  <a:moveTo>
                    <a:pt x="0" y="20"/>
                  </a:moveTo>
                  <a:cubicBezTo>
                    <a:pt x="3" y="23"/>
                    <a:pt x="3" y="23"/>
                    <a:pt x="6" y="25"/>
                  </a:cubicBezTo>
                  <a:cubicBezTo>
                    <a:pt x="9" y="23"/>
                    <a:pt x="12" y="17"/>
                    <a:pt x="12" y="14"/>
                  </a:cubicBezTo>
                  <a:lnTo>
                    <a:pt x="12" y="14"/>
                  </a:lnTo>
                  <a:cubicBezTo>
                    <a:pt x="14" y="8"/>
                    <a:pt x="14" y="6"/>
                    <a:pt x="14" y="0"/>
                  </a:cubicBezTo>
                  <a:cubicBezTo>
                    <a:pt x="12" y="3"/>
                    <a:pt x="12" y="3"/>
                    <a:pt x="9" y="6"/>
                  </a:cubicBezTo>
                  <a:cubicBezTo>
                    <a:pt x="9" y="8"/>
                    <a:pt x="9" y="8"/>
                    <a:pt x="9" y="11"/>
                  </a:cubicBezTo>
                  <a:cubicBezTo>
                    <a:pt x="6" y="11"/>
                    <a:pt x="6" y="11"/>
                    <a:pt x="3" y="11"/>
                  </a:cubicBezTo>
                  <a:cubicBezTo>
                    <a:pt x="0" y="14"/>
                    <a:pt x="0" y="17"/>
                    <a:pt x="0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73" name="Freeform 400"/>
            <p:cNvSpPr>
              <a:spLocks noChangeArrowheads="1"/>
            </p:cNvSpPr>
            <p:nvPr/>
          </p:nvSpPr>
          <p:spPr bwMode="auto">
            <a:xfrm>
              <a:off x="3990975" y="2760663"/>
              <a:ext cx="3175" cy="4762"/>
            </a:xfrm>
            <a:custGeom>
              <a:avLst/>
              <a:gdLst>
                <a:gd name="T0" fmla="*/ 3 w 10"/>
                <a:gd name="T1" fmla="*/ 0 h 12"/>
                <a:gd name="T2" fmla="*/ 0 w 10"/>
                <a:gd name="T3" fmla="*/ 11 h 12"/>
                <a:gd name="T4" fmla="*/ 3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3" y="0"/>
                  </a:moveTo>
                  <a:cubicBezTo>
                    <a:pt x="3" y="2"/>
                    <a:pt x="0" y="5"/>
                    <a:pt x="0" y="11"/>
                  </a:cubicBezTo>
                  <a:cubicBezTo>
                    <a:pt x="9" y="11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74" name="Freeform 401"/>
            <p:cNvSpPr>
              <a:spLocks noChangeArrowheads="1"/>
            </p:cNvSpPr>
            <p:nvPr/>
          </p:nvSpPr>
          <p:spPr bwMode="auto">
            <a:xfrm>
              <a:off x="3995738" y="2570163"/>
              <a:ext cx="4762" cy="3175"/>
            </a:xfrm>
            <a:custGeom>
              <a:avLst/>
              <a:gdLst>
                <a:gd name="T0" fmla="*/ 0 w 13"/>
                <a:gd name="T1" fmla="*/ 0 h 10"/>
                <a:gd name="T2" fmla="*/ 0 w 13"/>
                <a:gd name="T3" fmla="*/ 3 h 10"/>
                <a:gd name="T4" fmla="*/ 12 w 13"/>
                <a:gd name="T5" fmla="*/ 9 h 10"/>
                <a:gd name="T6" fmla="*/ 0 w 1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0" y="0"/>
                  </a:moveTo>
                  <a:lnTo>
                    <a:pt x="0" y="3"/>
                  </a:lnTo>
                  <a:cubicBezTo>
                    <a:pt x="3" y="6"/>
                    <a:pt x="9" y="9"/>
                    <a:pt x="12" y="9"/>
                  </a:cubicBezTo>
                  <a:cubicBezTo>
                    <a:pt x="9" y="6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75" name="Freeform 402"/>
            <p:cNvSpPr>
              <a:spLocks noChangeArrowheads="1"/>
            </p:cNvSpPr>
            <p:nvPr/>
          </p:nvSpPr>
          <p:spPr bwMode="auto">
            <a:xfrm>
              <a:off x="3990975" y="2509838"/>
              <a:ext cx="3175" cy="4762"/>
            </a:xfrm>
            <a:custGeom>
              <a:avLst/>
              <a:gdLst>
                <a:gd name="T0" fmla="*/ 3 w 10"/>
                <a:gd name="T1" fmla="*/ 11 h 12"/>
                <a:gd name="T2" fmla="*/ 9 w 10"/>
                <a:gd name="T3" fmla="*/ 3 h 12"/>
                <a:gd name="T4" fmla="*/ 3 w 10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3" y="11"/>
                  </a:moveTo>
                  <a:cubicBezTo>
                    <a:pt x="6" y="11"/>
                    <a:pt x="9" y="6"/>
                    <a:pt x="9" y="3"/>
                  </a:cubicBezTo>
                  <a:cubicBezTo>
                    <a:pt x="3" y="0"/>
                    <a:pt x="0" y="6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76" name="Freeform 403"/>
            <p:cNvSpPr>
              <a:spLocks noChangeArrowheads="1"/>
            </p:cNvSpPr>
            <p:nvPr/>
          </p:nvSpPr>
          <p:spPr bwMode="auto">
            <a:xfrm>
              <a:off x="3990975" y="2443163"/>
              <a:ext cx="4763" cy="6350"/>
            </a:xfrm>
            <a:custGeom>
              <a:avLst/>
              <a:gdLst>
                <a:gd name="T0" fmla="*/ 14 w 15"/>
                <a:gd name="T1" fmla="*/ 2 h 18"/>
                <a:gd name="T2" fmla="*/ 0 w 15"/>
                <a:gd name="T3" fmla="*/ 2 h 18"/>
                <a:gd name="T4" fmla="*/ 9 w 15"/>
                <a:gd name="T5" fmla="*/ 17 h 18"/>
                <a:gd name="T6" fmla="*/ 11 w 15"/>
                <a:gd name="T7" fmla="*/ 17 h 18"/>
                <a:gd name="T8" fmla="*/ 9 w 15"/>
                <a:gd name="T9" fmla="*/ 5 h 18"/>
                <a:gd name="T10" fmla="*/ 14 w 15"/>
                <a:gd name="T1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8">
                  <a:moveTo>
                    <a:pt x="14" y="2"/>
                  </a:moveTo>
                  <a:cubicBezTo>
                    <a:pt x="9" y="0"/>
                    <a:pt x="6" y="0"/>
                    <a:pt x="0" y="2"/>
                  </a:cubicBezTo>
                  <a:cubicBezTo>
                    <a:pt x="3" y="8"/>
                    <a:pt x="3" y="17"/>
                    <a:pt x="9" y="17"/>
                  </a:cubicBezTo>
                  <a:cubicBezTo>
                    <a:pt x="9" y="17"/>
                    <a:pt x="9" y="17"/>
                    <a:pt x="11" y="17"/>
                  </a:cubicBezTo>
                  <a:cubicBezTo>
                    <a:pt x="11" y="11"/>
                    <a:pt x="9" y="11"/>
                    <a:pt x="9" y="5"/>
                  </a:cubicBezTo>
                  <a:cubicBezTo>
                    <a:pt x="9" y="0"/>
                    <a:pt x="11" y="2"/>
                    <a:pt x="14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77" name="Freeform 404"/>
            <p:cNvSpPr>
              <a:spLocks noChangeArrowheads="1"/>
            </p:cNvSpPr>
            <p:nvPr/>
          </p:nvSpPr>
          <p:spPr bwMode="auto">
            <a:xfrm>
              <a:off x="3922713" y="2335213"/>
              <a:ext cx="3175" cy="1587"/>
            </a:xfrm>
            <a:custGeom>
              <a:avLst/>
              <a:gdLst>
                <a:gd name="T0" fmla="*/ 6 w 7"/>
                <a:gd name="T1" fmla="*/ 3 h 4"/>
                <a:gd name="T2" fmla="*/ 0 w 7"/>
                <a:gd name="T3" fmla="*/ 0 h 4"/>
                <a:gd name="T4" fmla="*/ 0 w 7"/>
                <a:gd name="T5" fmla="*/ 3 h 4"/>
                <a:gd name="T6" fmla="*/ 6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3"/>
                  </a:moveTo>
                  <a:cubicBezTo>
                    <a:pt x="6" y="3"/>
                    <a:pt x="3" y="3"/>
                    <a:pt x="0" y="0"/>
                  </a:cubicBezTo>
                  <a:lnTo>
                    <a:pt x="0" y="3"/>
                  </a:lnTo>
                  <a:cubicBezTo>
                    <a:pt x="3" y="3"/>
                    <a:pt x="6" y="3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78" name="Freeform 405"/>
            <p:cNvSpPr>
              <a:spLocks noChangeArrowheads="1"/>
            </p:cNvSpPr>
            <p:nvPr/>
          </p:nvSpPr>
          <p:spPr bwMode="auto">
            <a:xfrm>
              <a:off x="3925888" y="3040063"/>
              <a:ext cx="4762" cy="4762"/>
            </a:xfrm>
            <a:custGeom>
              <a:avLst/>
              <a:gdLst>
                <a:gd name="T0" fmla="*/ 14 w 15"/>
                <a:gd name="T1" fmla="*/ 6 h 15"/>
                <a:gd name="T2" fmla="*/ 0 w 15"/>
                <a:gd name="T3" fmla="*/ 6 h 15"/>
                <a:gd name="T4" fmla="*/ 14 w 15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6"/>
                  </a:moveTo>
                  <a:cubicBezTo>
                    <a:pt x="11" y="6"/>
                    <a:pt x="0" y="0"/>
                    <a:pt x="0" y="6"/>
                  </a:cubicBezTo>
                  <a:cubicBezTo>
                    <a:pt x="5" y="9"/>
                    <a:pt x="11" y="14"/>
                    <a:pt x="14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79" name="Freeform 406"/>
            <p:cNvSpPr>
              <a:spLocks noChangeArrowheads="1"/>
            </p:cNvSpPr>
            <p:nvPr/>
          </p:nvSpPr>
          <p:spPr bwMode="auto">
            <a:xfrm>
              <a:off x="3929063" y="2124075"/>
              <a:ext cx="3175" cy="3175"/>
            </a:xfrm>
            <a:custGeom>
              <a:avLst/>
              <a:gdLst>
                <a:gd name="T0" fmla="*/ 3 w 7"/>
                <a:gd name="T1" fmla="*/ 3 h 10"/>
                <a:gd name="T2" fmla="*/ 0 w 7"/>
                <a:gd name="T3" fmla="*/ 9 h 10"/>
                <a:gd name="T4" fmla="*/ 6 w 7"/>
                <a:gd name="T5" fmla="*/ 6 h 10"/>
                <a:gd name="T6" fmla="*/ 3 w 7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3" y="3"/>
                  </a:moveTo>
                  <a:cubicBezTo>
                    <a:pt x="3" y="6"/>
                    <a:pt x="3" y="6"/>
                    <a:pt x="0" y="9"/>
                  </a:cubicBezTo>
                  <a:cubicBezTo>
                    <a:pt x="3" y="9"/>
                    <a:pt x="6" y="6"/>
                    <a:pt x="6" y="6"/>
                  </a:cubicBezTo>
                  <a:cubicBezTo>
                    <a:pt x="6" y="3"/>
                    <a:pt x="6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80" name="Freeform 407"/>
            <p:cNvSpPr>
              <a:spLocks noChangeArrowheads="1"/>
            </p:cNvSpPr>
            <p:nvPr/>
          </p:nvSpPr>
          <p:spPr bwMode="auto">
            <a:xfrm>
              <a:off x="3900488" y="2278063"/>
              <a:ext cx="3175" cy="1587"/>
            </a:xfrm>
            <a:custGeom>
              <a:avLst/>
              <a:gdLst>
                <a:gd name="T0" fmla="*/ 6 w 7"/>
                <a:gd name="T1" fmla="*/ 3 h 6"/>
                <a:gd name="T2" fmla="*/ 0 w 7"/>
                <a:gd name="T3" fmla="*/ 0 h 6"/>
                <a:gd name="T4" fmla="*/ 0 w 7"/>
                <a:gd name="T5" fmla="*/ 5 h 6"/>
                <a:gd name="T6" fmla="*/ 6 w 7"/>
                <a:gd name="T7" fmla="*/ 5 h 6"/>
                <a:gd name="T8" fmla="*/ 6 w 7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3"/>
                  </a:moveTo>
                  <a:cubicBezTo>
                    <a:pt x="3" y="3"/>
                    <a:pt x="3" y="3"/>
                    <a:pt x="0" y="0"/>
                  </a:cubicBezTo>
                  <a:lnTo>
                    <a:pt x="0" y="5"/>
                  </a:lnTo>
                  <a:lnTo>
                    <a:pt x="6" y="5"/>
                  </a:lnTo>
                  <a:lnTo>
                    <a:pt x="6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81" name="Freeform 408"/>
            <p:cNvSpPr>
              <a:spLocks noChangeArrowheads="1"/>
            </p:cNvSpPr>
            <p:nvPr/>
          </p:nvSpPr>
          <p:spPr bwMode="auto">
            <a:xfrm>
              <a:off x="3900488" y="2540000"/>
              <a:ext cx="4762" cy="7938"/>
            </a:xfrm>
            <a:custGeom>
              <a:avLst/>
              <a:gdLst>
                <a:gd name="T0" fmla="*/ 3 w 12"/>
                <a:gd name="T1" fmla="*/ 22 h 23"/>
                <a:gd name="T2" fmla="*/ 11 w 12"/>
                <a:gd name="T3" fmla="*/ 17 h 23"/>
                <a:gd name="T4" fmla="*/ 9 w 12"/>
                <a:gd name="T5" fmla="*/ 0 h 23"/>
                <a:gd name="T6" fmla="*/ 3 w 12"/>
                <a:gd name="T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3">
                  <a:moveTo>
                    <a:pt x="3" y="22"/>
                  </a:moveTo>
                  <a:cubicBezTo>
                    <a:pt x="9" y="22"/>
                    <a:pt x="9" y="19"/>
                    <a:pt x="11" y="17"/>
                  </a:cubicBezTo>
                  <a:cubicBezTo>
                    <a:pt x="11" y="11"/>
                    <a:pt x="11" y="5"/>
                    <a:pt x="9" y="0"/>
                  </a:cubicBezTo>
                  <a:cubicBezTo>
                    <a:pt x="3" y="5"/>
                    <a:pt x="0" y="14"/>
                    <a:pt x="3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82" name="Freeform 409"/>
            <p:cNvSpPr>
              <a:spLocks noChangeArrowheads="1"/>
            </p:cNvSpPr>
            <p:nvPr/>
          </p:nvSpPr>
          <p:spPr bwMode="auto">
            <a:xfrm>
              <a:off x="3903663" y="2536825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6 h 7"/>
                <a:gd name="T4" fmla="*/ 0 w 10"/>
                <a:gd name="T5" fmla="*/ 6 h 7"/>
                <a:gd name="T6" fmla="*/ 9 w 10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6" y="3"/>
                    <a:pt x="3" y="6"/>
                    <a:pt x="0" y="6"/>
                  </a:cubicBezTo>
                  <a:lnTo>
                    <a:pt x="0" y="6"/>
                  </a:lnTo>
                  <a:cubicBezTo>
                    <a:pt x="6" y="6"/>
                    <a:pt x="9" y="3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83" name="Freeform 410"/>
            <p:cNvSpPr>
              <a:spLocks noChangeArrowheads="1"/>
            </p:cNvSpPr>
            <p:nvPr/>
          </p:nvSpPr>
          <p:spPr bwMode="auto">
            <a:xfrm>
              <a:off x="3917950" y="2127250"/>
              <a:ext cx="4763" cy="1588"/>
            </a:xfrm>
            <a:custGeom>
              <a:avLst/>
              <a:gdLst>
                <a:gd name="T0" fmla="*/ 14 w 15"/>
                <a:gd name="T1" fmla="*/ 2 h 6"/>
                <a:gd name="T2" fmla="*/ 14 w 15"/>
                <a:gd name="T3" fmla="*/ 2 h 6"/>
                <a:gd name="T4" fmla="*/ 0 w 15"/>
                <a:gd name="T5" fmla="*/ 2 h 6"/>
                <a:gd name="T6" fmla="*/ 0 w 15"/>
                <a:gd name="T7" fmla="*/ 5 h 6"/>
                <a:gd name="T8" fmla="*/ 14 w 15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14" y="2"/>
                  </a:moveTo>
                  <a:cubicBezTo>
                    <a:pt x="14" y="2"/>
                    <a:pt x="14" y="0"/>
                    <a:pt x="14" y="2"/>
                  </a:cubicBezTo>
                  <a:cubicBezTo>
                    <a:pt x="8" y="2"/>
                    <a:pt x="6" y="2"/>
                    <a:pt x="0" y="2"/>
                  </a:cubicBezTo>
                  <a:lnTo>
                    <a:pt x="0" y="5"/>
                  </a:lnTo>
                  <a:cubicBezTo>
                    <a:pt x="6" y="2"/>
                    <a:pt x="11" y="2"/>
                    <a:pt x="14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84" name="Freeform 411"/>
            <p:cNvSpPr>
              <a:spLocks noChangeArrowheads="1"/>
            </p:cNvSpPr>
            <p:nvPr/>
          </p:nvSpPr>
          <p:spPr bwMode="auto">
            <a:xfrm>
              <a:off x="3910013" y="2203450"/>
              <a:ext cx="1587" cy="4763"/>
            </a:xfrm>
            <a:custGeom>
              <a:avLst/>
              <a:gdLst>
                <a:gd name="T0" fmla="*/ 2 w 3"/>
                <a:gd name="T1" fmla="*/ 0 h 12"/>
                <a:gd name="T2" fmla="*/ 0 w 3"/>
                <a:gd name="T3" fmla="*/ 11 h 12"/>
                <a:gd name="T4" fmla="*/ 0 w 3"/>
                <a:gd name="T5" fmla="*/ 11 h 12"/>
                <a:gd name="T6" fmla="*/ 2 w 3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2">
                  <a:moveTo>
                    <a:pt x="2" y="0"/>
                  </a:moveTo>
                  <a:cubicBezTo>
                    <a:pt x="0" y="0"/>
                    <a:pt x="0" y="6"/>
                    <a:pt x="0" y="11"/>
                  </a:cubicBezTo>
                  <a:lnTo>
                    <a:pt x="0" y="11"/>
                  </a:lnTo>
                  <a:cubicBezTo>
                    <a:pt x="0" y="6"/>
                    <a:pt x="0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85" name="Freeform 412"/>
            <p:cNvSpPr>
              <a:spLocks noChangeArrowheads="1"/>
            </p:cNvSpPr>
            <p:nvPr/>
          </p:nvSpPr>
          <p:spPr bwMode="auto">
            <a:xfrm>
              <a:off x="3959225" y="2327275"/>
              <a:ext cx="14288" cy="9525"/>
            </a:xfrm>
            <a:custGeom>
              <a:avLst/>
              <a:gdLst>
                <a:gd name="T0" fmla="*/ 22 w 40"/>
                <a:gd name="T1" fmla="*/ 26 h 27"/>
                <a:gd name="T2" fmla="*/ 32 w 40"/>
                <a:gd name="T3" fmla="*/ 11 h 27"/>
                <a:gd name="T4" fmla="*/ 28 w 40"/>
                <a:gd name="T5" fmla="*/ 12 h 27"/>
                <a:gd name="T6" fmla="*/ 14 w 40"/>
                <a:gd name="T7" fmla="*/ 3 h 27"/>
                <a:gd name="T8" fmla="*/ 14 w 40"/>
                <a:gd name="T9" fmla="*/ 17 h 27"/>
                <a:gd name="T10" fmla="*/ 3 w 40"/>
                <a:gd name="T11" fmla="*/ 20 h 27"/>
                <a:gd name="T12" fmla="*/ 22 w 40"/>
                <a:gd name="T13" fmla="*/ 26 h 27"/>
                <a:gd name="T14" fmla="*/ 33 w 40"/>
                <a:gd name="T15" fmla="*/ 9 h 27"/>
                <a:gd name="T16" fmla="*/ 32 w 40"/>
                <a:gd name="T17" fmla="*/ 11 h 27"/>
                <a:gd name="T18" fmla="*/ 33 w 40"/>
                <a:gd name="T19" fmla="*/ 9 h 27"/>
                <a:gd name="T20" fmla="*/ 39 w 40"/>
                <a:gd name="T21" fmla="*/ 0 h 27"/>
                <a:gd name="T22" fmla="*/ 34 w 40"/>
                <a:gd name="T23" fmla="*/ 0 h 27"/>
                <a:gd name="T24" fmla="*/ 33 w 40"/>
                <a:gd name="T25" fmla="*/ 9 h 27"/>
                <a:gd name="T26" fmla="*/ 39 w 40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27">
                  <a:moveTo>
                    <a:pt x="22" y="26"/>
                  </a:moveTo>
                  <a:lnTo>
                    <a:pt x="32" y="11"/>
                  </a:lnTo>
                  <a:cubicBezTo>
                    <a:pt x="31" y="11"/>
                    <a:pt x="30" y="12"/>
                    <a:pt x="28" y="12"/>
                  </a:cubicBezTo>
                  <a:cubicBezTo>
                    <a:pt x="20" y="12"/>
                    <a:pt x="25" y="0"/>
                    <a:pt x="14" y="3"/>
                  </a:cubicBezTo>
                  <a:lnTo>
                    <a:pt x="14" y="17"/>
                  </a:lnTo>
                  <a:cubicBezTo>
                    <a:pt x="11" y="14"/>
                    <a:pt x="0" y="12"/>
                    <a:pt x="3" y="20"/>
                  </a:cubicBezTo>
                  <a:cubicBezTo>
                    <a:pt x="11" y="20"/>
                    <a:pt x="17" y="23"/>
                    <a:pt x="22" y="26"/>
                  </a:cubicBezTo>
                  <a:close/>
                  <a:moveTo>
                    <a:pt x="33" y="9"/>
                  </a:moveTo>
                  <a:cubicBezTo>
                    <a:pt x="33" y="10"/>
                    <a:pt x="33" y="11"/>
                    <a:pt x="32" y="11"/>
                  </a:cubicBezTo>
                  <a:lnTo>
                    <a:pt x="33" y="9"/>
                  </a:lnTo>
                  <a:close/>
                  <a:moveTo>
                    <a:pt x="39" y="0"/>
                  </a:moveTo>
                  <a:lnTo>
                    <a:pt x="34" y="0"/>
                  </a:lnTo>
                  <a:cubicBezTo>
                    <a:pt x="30" y="4"/>
                    <a:pt x="33" y="7"/>
                    <a:pt x="33" y="9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86" name="Freeform 413"/>
            <p:cNvSpPr>
              <a:spLocks noChangeArrowheads="1"/>
            </p:cNvSpPr>
            <p:nvPr/>
          </p:nvSpPr>
          <p:spPr bwMode="auto">
            <a:xfrm>
              <a:off x="3978275" y="2103438"/>
              <a:ext cx="4763" cy="3175"/>
            </a:xfrm>
            <a:custGeom>
              <a:avLst/>
              <a:gdLst>
                <a:gd name="T0" fmla="*/ 12 w 13"/>
                <a:gd name="T1" fmla="*/ 2 h 9"/>
                <a:gd name="T2" fmla="*/ 9 w 13"/>
                <a:gd name="T3" fmla="*/ 0 h 9"/>
                <a:gd name="T4" fmla="*/ 0 w 13"/>
                <a:gd name="T5" fmla="*/ 5 h 9"/>
                <a:gd name="T6" fmla="*/ 12 w 13"/>
                <a:gd name="T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12" y="2"/>
                  </a:moveTo>
                  <a:cubicBezTo>
                    <a:pt x="9" y="2"/>
                    <a:pt x="9" y="2"/>
                    <a:pt x="9" y="0"/>
                  </a:cubicBezTo>
                  <a:cubicBezTo>
                    <a:pt x="6" y="2"/>
                    <a:pt x="3" y="5"/>
                    <a:pt x="0" y="5"/>
                  </a:cubicBezTo>
                  <a:cubicBezTo>
                    <a:pt x="6" y="8"/>
                    <a:pt x="9" y="5"/>
                    <a:pt x="12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87" name="Freeform 414"/>
            <p:cNvSpPr>
              <a:spLocks noChangeArrowheads="1"/>
            </p:cNvSpPr>
            <p:nvPr/>
          </p:nvSpPr>
          <p:spPr bwMode="auto">
            <a:xfrm>
              <a:off x="3971925" y="2098675"/>
              <a:ext cx="11113" cy="11113"/>
            </a:xfrm>
            <a:custGeom>
              <a:avLst/>
              <a:gdLst>
                <a:gd name="T0" fmla="*/ 19 w 29"/>
                <a:gd name="T1" fmla="*/ 22 h 32"/>
                <a:gd name="T2" fmla="*/ 19 w 29"/>
                <a:gd name="T3" fmla="*/ 22 h 32"/>
                <a:gd name="T4" fmla="*/ 28 w 29"/>
                <a:gd name="T5" fmla="*/ 16 h 32"/>
                <a:gd name="T6" fmla="*/ 22 w 29"/>
                <a:gd name="T7" fmla="*/ 0 h 32"/>
                <a:gd name="T8" fmla="*/ 0 w 29"/>
                <a:gd name="T9" fmla="*/ 19 h 32"/>
                <a:gd name="T10" fmla="*/ 5 w 29"/>
                <a:gd name="T11" fmla="*/ 31 h 32"/>
                <a:gd name="T12" fmla="*/ 19 w 29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2">
                  <a:moveTo>
                    <a:pt x="19" y="22"/>
                  </a:moveTo>
                  <a:lnTo>
                    <a:pt x="19" y="22"/>
                  </a:lnTo>
                  <a:cubicBezTo>
                    <a:pt x="22" y="19"/>
                    <a:pt x="25" y="19"/>
                    <a:pt x="28" y="16"/>
                  </a:cubicBezTo>
                  <a:cubicBezTo>
                    <a:pt x="25" y="11"/>
                    <a:pt x="22" y="5"/>
                    <a:pt x="22" y="0"/>
                  </a:cubicBezTo>
                  <a:cubicBezTo>
                    <a:pt x="11" y="2"/>
                    <a:pt x="3" y="8"/>
                    <a:pt x="0" y="19"/>
                  </a:cubicBezTo>
                  <a:cubicBezTo>
                    <a:pt x="3" y="22"/>
                    <a:pt x="5" y="28"/>
                    <a:pt x="5" y="31"/>
                  </a:cubicBezTo>
                  <a:cubicBezTo>
                    <a:pt x="11" y="28"/>
                    <a:pt x="17" y="25"/>
                    <a:pt x="19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88" name="Freeform 415"/>
            <p:cNvSpPr>
              <a:spLocks noChangeArrowheads="1"/>
            </p:cNvSpPr>
            <p:nvPr/>
          </p:nvSpPr>
          <p:spPr bwMode="auto">
            <a:xfrm>
              <a:off x="3970338" y="2132013"/>
              <a:ext cx="4762" cy="4762"/>
            </a:xfrm>
            <a:custGeom>
              <a:avLst/>
              <a:gdLst>
                <a:gd name="T0" fmla="*/ 8 w 12"/>
                <a:gd name="T1" fmla="*/ 0 h 12"/>
                <a:gd name="T2" fmla="*/ 0 w 12"/>
                <a:gd name="T3" fmla="*/ 11 h 12"/>
                <a:gd name="T4" fmla="*/ 11 w 12"/>
                <a:gd name="T5" fmla="*/ 2 h 12"/>
                <a:gd name="T6" fmla="*/ 8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cubicBezTo>
                    <a:pt x="6" y="2"/>
                    <a:pt x="3" y="8"/>
                    <a:pt x="0" y="11"/>
                  </a:cubicBezTo>
                  <a:cubicBezTo>
                    <a:pt x="3" y="8"/>
                    <a:pt x="8" y="8"/>
                    <a:pt x="11" y="2"/>
                  </a:cubicBezTo>
                  <a:cubicBezTo>
                    <a:pt x="8" y="2"/>
                    <a:pt x="8" y="2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89" name="Freeform 416"/>
            <p:cNvSpPr>
              <a:spLocks noChangeArrowheads="1"/>
            </p:cNvSpPr>
            <p:nvPr/>
          </p:nvSpPr>
          <p:spPr bwMode="auto">
            <a:xfrm>
              <a:off x="3983038" y="2114550"/>
              <a:ext cx="3175" cy="1588"/>
            </a:xfrm>
            <a:custGeom>
              <a:avLst/>
              <a:gdLst>
                <a:gd name="T0" fmla="*/ 8 w 9"/>
                <a:gd name="T1" fmla="*/ 0 h 6"/>
                <a:gd name="T2" fmla="*/ 0 w 9"/>
                <a:gd name="T3" fmla="*/ 5 h 6"/>
                <a:gd name="T4" fmla="*/ 8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8" y="0"/>
                  </a:moveTo>
                  <a:cubicBezTo>
                    <a:pt x="5" y="0"/>
                    <a:pt x="3" y="2"/>
                    <a:pt x="0" y="5"/>
                  </a:cubicBezTo>
                  <a:cubicBezTo>
                    <a:pt x="5" y="5"/>
                    <a:pt x="8" y="2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90" name="Freeform 417"/>
            <p:cNvSpPr>
              <a:spLocks noChangeArrowheads="1"/>
            </p:cNvSpPr>
            <p:nvPr/>
          </p:nvSpPr>
          <p:spPr bwMode="auto">
            <a:xfrm>
              <a:off x="3965575" y="2319338"/>
              <a:ext cx="4763" cy="6350"/>
            </a:xfrm>
            <a:custGeom>
              <a:avLst/>
              <a:gdLst>
                <a:gd name="T0" fmla="*/ 11 w 12"/>
                <a:gd name="T1" fmla="*/ 8 h 18"/>
                <a:gd name="T2" fmla="*/ 11 w 12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11" y="8"/>
                  </a:moveTo>
                  <a:cubicBezTo>
                    <a:pt x="0" y="0"/>
                    <a:pt x="5" y="17"/>
                    <a:pt x="11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91" name="Freeform 418"/>
            <p:cNvSpPr>
              <a:spLocks noChangeArrowheads="1"/>
            </p:cNvSpPr>
            <p:nvPr/>
          </p:nvSpPr>
          <p:spPr bwMode="auto">
            <a:xfrm>
              <a:off x="3984625" y="2157413"/>
              <a:ext cx="1588" cy="3175"/>
            </a:xfrm>
            <a:custGeom>
              <a:avLst/>
              <a:gdLst>
                <a:gd name="T0" fmla="*/ 0 w 4"/>
                <a:gd name="T1" fmla="*/ 6 h 7"/>
                <a:gd name="T2" fmla="*/ 0 w 4"/>
                <a:gd name="T3" fmla="*/ 6 h 7"/>
                <a:gd name="T4" fmla="*/ 3 w 4"/>
                <a:gd name="T5" fmla="*/ 0 h 7"/>
                <a:gd name="T6" fmla="*/ 0 w 4"/>
                <a:gd name="T7" fmla="*/ 0 h 7"/>
                <a:gd name="T8" fmla="*/ 0 w 4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0" y="6"/>
                  </a:moveTo>
                  <a:lnTo>
                    <a:pt x="0" y="6"/>
                  </a:lnTo>
                  <a:cubicBezTo>
                    <a:pt x="3" y="3"/>
                    <a:pt x="3" y="3"/>
                    <a:pt x="3" y="0"/>
                  </a:cubicBez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92" name="Freeform 419"/>
            <p:cNvSpPr>
              <a:spLocks noChangeArrowheads="1"/>
            </p:cNvSpPr>
            <p:nvPr/>
          </p:nvSpPr>
          <p:spPr bwMode="auto">
            <a:xfrm>
              <a:off x="3875088" y="2641600"/>
              <a:ext cx="1587" cy="1588"/>
            </a:xfrm>
            <a:custGeom>
              <a:avLst/>
              <a:gdLst>
                <a:gd name="T0" fmla="*/ 0 w 4"/>
                <a:gd name="T1" fmla="*/ 4 h 5"/>
                <a:gd name="T2" fmla="*/ 3 w 4"/>
                <a:gd name="T3" fmla="*/ 0 h 5"/>
                <a:gd name="T4" fmla="*/ 0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0" y="4"/>
                  </a:moveTo>
                  <a:cubicBezTo>
                    <a:pt x="2" y="3"/>
                    <a:pt x="3" y="1"/>
                    <a:pt x="3" y="0"/>
                  </a:cubicBezTo>
                  <a:cubicBezTo>
                    <a:pt x="3" y="2"/>
                    <a:pt x="0" y="2"/>
                    <a:pt x="0" y="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93" name="Freeform 420"/>
            <p:cNvSpPr>
              <a:spLocks noChangeArrowheads="1"/>
            </p:cNvSpPr>
            <p:nvPr/>
          </p:nvSpPr>
          <p:spPr bwMode="auto">
            <a:xfrm>
              <a:off x="3948113" y="2328863"/>
              <a:ext cx="1587" cy="3175"/>
            </a:xfrm>
            <a:custGeom>
              <a:avLst/>
              <a:gdLst>
                <a:gd name="T0" fmla="*/ 0 w 6"/>
                <a:gd name="T1" fmla="*/ 6 h 7"/>
                <a:gd name="T2" fmla="*/ 5 w 6"/>
                <a:gd name="T3" fmla="*/ 6 h 7"/>
                <a:gd name="T4" fmla="*/ 5 w 6"/>
                <a:gd name="T5" fmla="*/ 0 h 7"/>
                <a:gd name="T6" fmla="*/ 0 w 6"/>
                <a:gd name="T7" fmla="*/ 0 h 7"/>
                <a:gd name="T8" fmla="*/ 0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6"/>
                  </a:moveTo>
                  <a:lnTo>
                    <a:pt x="5" y="6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94" name="Freeform 421"/>
            <p:cNvSpPr>
              <a:spLocks noChangeArrowheads="1"/>
            </p:cNvSpPr>
            <p:nvPr/>
          </p:nvSpPr>
          <p:spPr bwMode="auto">
            <a:xfrm>
              <a:off x="3979863" y="2320925"/>
              <a:ext cx="6350" cy="4763"/>
            </a:xfrm>
            <a:custGeom>
              <a:avLst/>
              <a:gdLst>
                <a:gd name="T0" fmla="*/ 0 w 18"/>
                <a:gd name="T1" fmla="*/ 3 h 13"/>
                <a:gd name="T2" fmla="*/ 0 w 18"/>
                <a:gd name="T3" fmla="*/ 3 h 13"/>
                <a:gd name="T4" fmla="*/ 17 w 18"/>
                <a:gd name="T5" fmla="*/ 12 h 13"/>
                <a:gd name="T6" fmla="*/ 17 w 18"/>
                <a:gd name="T7" fmla="*/ 9 h 13"/>
                <a:gd name="T8" fmla="*/ 14 w 18"/>
                <a:gd name="T9" fmla="*/ 3 h 13"/>
                <a:gd name="T10" fmla="*/ 0 w 18"/>
                <a:gd name="T11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3">
                  <a:moveTo>
                    <a:pt x="0" y="3"/>
                  </a:moveTo>
                  <a:cubicBezTo>
                    <a:pt x="0" y="3"/>
                    <a:pt x="0" y="6"/>
                    <a:pt x="0" y="3"/>
                  </a:cubicBezTo>
                  <a:cubicBezTo>
                    <a:pt x="3" y="9"/>
                    <a:pt x="12" y="6"/>
                    <a:pt x="17" y="12"/>
                  </a:cubicBezTo>
                  <a:lnTo>
                    <a:pt x="17" y="9"/>
                  </a:lnTo>
                  <a:cubicBezTo>
                    <a:pt x="17" y="6"/>
                    <a:pt x="14" y="6"/>
                    <a:pt x="14" y="3"/>
                  </a:cubicBezTo>
                  <a:cubicBezTo>
                    <a:pt x="9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95" name="Freeform 422"/>
            <p:cNvSpPr>
              <a:spLocks noChangeArrowheads="1"/>
            </p:cNvSpPr>
            <p:nvPr/>
          </p:nvSpPr>
          <p:spPr bwMode="auto">
            <a:xfrm>
              <a:off x="3956050" y="2109788"/>
              <a:ext cx="3175" cy="1587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3" y="0"/>
                    <a:pt x="0" y="0"/>
                  </a:cubicBezTo>
                  <a:cubicBezTo>
                    <a:pt x="3" y="3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96" name="Freeform 423"/>
            <p:cNvSpPr>
              <a:spLocks noChangeArrowheads="1"/>
            </p:cNvSpPr>
            <p:nvPr/>
          </p:nvSpPr>
          <p:spPr bwMode="auto">
            <a:xfrm>
              <a:off x="3941763" y="2328863"/>
              <a:ext cx="17462" cy="28575"/>
            </a:xfrm>
            <a:custGeom>
              <a:avLst/>
              <a:gdLst>
                <a:gd name="T0" fmla="*/ 22 w 49"/>
                <a:gd name="T1" fmla="*/ 8 h 80"/>
                <a:gd name="T2" fmla="*/ 8 w 49"/>
                <a:gd name="T3" fmla="*/ 17 h 80"/>
                <a:gd name="T4" fmla="*/ 8 w 49"/>
                <a:gd name="T5" fmla="*/ 17 h 80"/>
                <a:gd name="T6" fmla="*/ 6 w 49"/>
                <a:gd name="T7" fmla="*/ 22 h 80"/>
                <a:gd name="T8" fmla="*/ 6 w 49"/>
                <a:gd name="T9" fmla="*/ 22 h 80"/>
                <a:gd name="T10" fmla="*/ 8 w 49"/>
                <a:gd name="T11" fmla="*/ 34 h 80"/>
                <a:gd name="T12" fmla="*/ 11 w 49"/>
                <a:gd name="T13" fmla="*/ 34 h 80"/>
                <a:gd name="T14" fmla="*/ 11 w 49"/>
                <a:gd name="T15" fmla="*/ 39 h 80"/>
                <a:gd name="T16" fmla="*/ 8 w 49"/>
                <a:gd name="T17" fmla="*/ 39 h 80"/>
                <a:gd name="T18" fmla="*/ 3 w 49"/>
                <a:gd name="T19" fmla="*/ 70 h 80"/>
                <a:gd name="T20" fmla="*/ 0 w 49"/>
                <a:gd name="T21" fmla="*/ 70 h 80"/>
                <a:gd name="T22" fmla="*/ 0 w 49"/>
                <a:gd name="T23" fmla="*/ 73 h 80"/>
                <a:gd name="T24" fmla="*/ 14 w 49"/>
                <a:gd name="T25" fmla="*/ 73 h 80"/>
                <a:gd name="T26" fmla="*/ 8 w 49"/>
                <a:gd name="T27" fmla="*/ 70 h 80"/>
                <a:gd name="T28" fmla="*/ 11 w 49"/>
                <a:gd name="T29" fmla="*/ 65 h 80"/>
                <a:gd name="T30" fmla="*/ 6 w 49"/>
                <a:gd name="T31" fmla="*/ 56 h 80"/>
                <a:gd name="T32" fmla="*/ 25 w 49"/>
                <a:gd name="T33" fmla="*/ 59 h 80"/>
                <a:gd name="T34" fmla="*/ 20 w 49"/>
                <a:gd name="T35" fmla="*/ 37 h 80"/>
                <a:gd name="T36" fmla="*/ 39 w 49"/>
                <a:gd name="T37" fmla="*/ 22 h 80"/>
                <a:gd name="T38" fmla="*/ 48 w 49"/>
                <a:gd name="T39" fmla="*/ 8 h 80"/>
                <a:gd name="T40" fmla="*/ 39 w 49"/>
                <a:gd name="T41" fmla="*/ 0 h 80"/>
                <a:gd name="T42" fmla="*/ 22 w 49"/>
                <a:gd name="T43" fmla="*/ 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9" h="80">
                  <a:moveTo>
                    <a:pt x="22" y="8"/>
                  </a:moveTo>
                  <a:cubicBezTo>
                    <a:pt x="20" y="17"/>
                    <a:pt x="17" y="22"/>
                    <a:pt x="8" y="17"/>
                  </a:cubicBezTo>
                  <a:lnTo>
                    <a:pt x="8" y="17"/>
                  </a:lnTo>
                  <a:cubicBezTo>
                    <a:pt x="8" y="20"/>
                    <a:pt x="8" y="22"/>
                    <a:pt x="6" y="22"/>
                  </a:cubicBezTo>
                  <a:lnTo>
                    <a:pt x="6" y="22"/>
                  </a:lnTo>
                  <a:cubicBezTo>
                    <a:pt x="6" y="25"/>
                    <a:pt x="8" y="31"/>
                    <a:pt x="8" y="34"/>
                  </a:cubicBezTo>
                  <a:lnTo>
                    <a:pt x="11" y="34"/>
                  </a:lnTo>
                  <a:lnTo>
                    <a:pt x="11" y="39"/>
                  </a:lnTo>
                  <a:lnTo>
                    <a:pt x="8" y="39"/>
                  </a:lnTo>
                  <a:cubicBezTo>
                    <a:pt x="3" y="48"/>
                    <a:pt x="0" y="59"/>
                    <a:pt x="3" y="70"/>
                  </a:cubicBezTo>
                  <a:lnTo>
                    <a:pt x="0" y="70"/>
                  </a:lnTo>
                  <a:lnTo>
                    <a:pt x="0" y="73"/>
                  </a:lnTo>
                  <a:cubicBezTo>
                    <a:pt x="6" y="73"/>
                    <a:pt x="11" y="79"/>
                    <a:pt x="14" y="73"/>
                  </a:cubicBezTo>
                  <a:cubicBezTo>
                    <a:pt x="11" y="73"/>
                    <a:pt x="11" y="70"/>
                    <a:pt x="8" y="70"/>
                  </a:cubicBezTo>
                  <a:cubicBezTo>
                    <a:pt x="8" y="68"/>
                    <a:pt x="8" y="68"/>
                    <a:pt x="11" y="65"/>
                  </a:cubicBezTo>
                  <a:cubicBezTo>
                    <a:pt x="8" y="62"/>
                    <a:pt x="6" y="62"/>
                    <a:pt x="6" y="56"/>
                  </a:cubicBezTo>
                  <a:cubicBezTo>
                    <a:pt x="11" y="51"/>
                    <a:pt x="20" y="56"/>
                    <a:pt x="25" y="59"/>
                  </a:cubicBezTo>
                  <a:cubicBezTo>
                    <a:pt x="28" y="48"/>
                    <a:pt x="20" y="45"/>
                    <a:pt x="20" y="37"/>
                  </a:cubicBezTo>
                  <a:cubicBezTo>
                    <a:pt x="25" y="31"/>
                    <a:pt x="31" y="25"/>
                    <a:pt x="39" y="22"/>
                  </a:cubicBezTo>
                  <a:cubicBezTo>
                    <a:pt x="39" y="14"/>
                    <a:pt x="39" y="8"/>
                    <a:pt x="48" y="8"/>
                  </a:cubicBezTo>
                  <a:cubicBezTo>
                    <a:pt x="48" y="3"/>
                    <a:pt x="42" y="0"/>
                    <a:pt x="39" y="0"/>
                  </a:cubicBezTo>
                  <a:cubicBezTo>
                    <a:pt x="42" y="11"/>
                    <a:pt x="28" y="6"/>
                    <a:pt x="22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97" name="Freeform 424"/>
            <p:cNvSpPr>
              <a:spLocks noChangeArrowheads="1"/>
            </p:cNvSpPr>
            <p:nvPr/>
          </p:nvSpPr>
          <p:spPr bwMode="auto">
            <a:xfrm>
              <a:off x="3994150" y="2336800"/>
              <a:ext cx="1588" cy="1588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5 h 6"/>
                <a:gd name="T4" fmla="*/ 5 w 6"/>
                <a:gd name="T5" fmla="*/ 2 h 6"/>
                <a:gd name="T6" fmla="*/ 0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cubicBezTo>
                    <a:pt x="0" y="2"/>
                    <a:pt x="0" y="2"/>
                    <a:pt x="0" y="5"/>
                  </a:cubicBezTo>
                  <a:cubicBezTo>
                    <a:pt x="2" y="5"/>
                    <a:pt x="5" y="5"/>
                    <a:pt x="5" y="2"/>
                  </a:cubicBezTo>
                  <a:cubicBezTo>
                    <a:pt x="5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98" name="Freeform 425"/>
            <p:cNvSpPr>
              <a:spLocks noChangeArrowheads="1"/>
            </p:cNvSpPr>
            <p:nvPr/>
          </p:nvSpPr>
          <p:spPr bwMode="auto">
            <a:xfrm>
              <a:off x="3919538" y="2589213"/>
              <a:ext cx="3175" cy="3175"/>
            </a:xfrm>
            <a:custGeom>
              <a:avLst/>
              <a:gdLst>
                <a:gd name="T0" fmla="*/ 0 w 9"/>
                <a:gd name="T1" fmla="*/ 0 h 9"/>
                <a:gd name="T2" fmla="*/ 5 w 9"/>
                <a:gd name="T3" fmla="*/ 8 h 9"/>
                <a:gd name="T4" fmla="*/ 8 w 9"/>
                <a:gd name="T5" fmla="*/ 3 h 9"/>
                <a:gd name="T6" fmla="*/ 0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cubicBezTo>
                    <a:pt x="0" y="3"/>
                    <a:pt x="3" y="8"/>
                    <a:pt x="5" y="8"/>
                  </a:cubicBezTo>
                  <a:cubicBezTo>
                    <a:pt x="5" y="5"/>
                    <a:pt x="8" y="5"/>
                    <a:pt x="8" y="3"/>
                  </a:cubicBezTo>
                  <a:cubicBezTo>
                    <a:pt x="5" y="3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99" name="Freeform 426"/>
            <p:cNvSpPr>
              <a:spLocks noChangeArrowheads="1"/>
            </p:cNvSpPr>
            <p:nvPr/>
          </p:nvSpPr>
          <p:spPr bwMode="auto">
            <a:xfrm>
              <a:off x="3910013" y="2541588"/>
              <a:ext cx="7937" cy="4762"/>
            </a:xfrm>
            <a:custGeom>
              <a:avLst/>
              <a:gdLst>
                <a:gd name="T0" fmla="*/ 2 w 20"/>
                <a:gd name="T1" fmla="*/ 12 h 13"/>
                <a:gd name="T2" fmla="*/ 19 w 20"/>
                <a:gd name="T3" fmla="*/ 0 h 13"/>
                <a:gd name="T4" fmla="*/ 2 w 20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3">
                  <a:moveTo>
                    <a:pt x="2" y="12"/>
                  </a:moveTo>
                  <a:cubicBezTo>
                    <a:pt x="11" y="12"/>
                    <a:pt x="19" y="12"/>
                    <a:pt x="19" y="0"/>
                  </a:cubicBezTo>
                  <a:cubicBezTo>
                    <a:pt x="11" y="0"/>
                    <a:pt x="0" y="0"/>
                    <a:pt x="2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00" name="Freeform 427"/>
            <p:cNvSpPr>
              <a:spLocks noChangeArrowheads="1"/>
            </p:cNvSpPr>
            <p:nvPr/>
          </p:nvSpPr>
          <p:spPr bwMode="auto">
            <a:xfrm>
              <a:off x="3917950" y="2368550"/>
              <a:ext cx="4763" cy="6350"/>
            </a:xfrm>
            <a:custGeom>
              <a:avLst/>
              <a:gdLst>
                <a:gd name="T0" fmla="*/ 6 w 15"/>
                <a:gd name="T1" fmla="*/ 0 h 18"/>
                <a:gd name="T2" fmla="*/ 0 w 15"/>
                <a:gd name="T3" fmla="*/ 14 h 18"/>
                <a:gd name="T4" fmla="*/ 6 w 15"/>
                <a:gd name="T5" fmla="*/ 17 h 18"/>
                <a:gd name="T6" fmla="*/ 9 w 15"/>
                <a:gd name="T7" fmla="*/ 17 h 18"/>
                <a:gd name="T8" fmla="*/ 9 w 15"/>
                <a:gd name="T9" fmla="*/ 17 h 18"/>
                <a:gd name="T10" fmla="*/ 9 w 15"/>
                <a:gd name="T11" fmla="*/ 0 h 18"/>
                <a:gd name="T12" fmla="*/ 6 w 15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8">
                  <a:moveTo>
                    <a:pt x="6" y="0"/>
                  </a:moveTo>
                  <a:cubicBezTo>
                    <a:pt x="6" y="6"/>
                    <a:pt x="0" y="6"/>
                    <a:pt x="0" y="14"/>
                  </a:cubicBezTo>
                  <a:cubicBezTo>
                    <a:pt x="3" y="14"/>
                    <a:pt x="3" y="17"/>
                    <a:pt x="6" y="17"/>
                  </a:cubicBezTo>
                  <a:lnTo>
                    <a:pt x="9" y="17"/>
                  </a:lnTo>
                  <a:lnTo>
                    <a:pt x="9" y="17"/>
                  </a:lnTo>
                  <a:cubicBezTo>
                    <a:pt x="14" y="11"/>
                    <a:pt x="14" y="6"/>
                    <a:pt x="9" y="0"/>
                  </a:cubicBez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01" name="Freeform 428"/>
            <p:cNvSpPr>
              <a:spLocks noChangeArrowheads="1"/>
            </p:cNvSpPr>
            <p:nvPr/>
          </p:nvSpPr>
          <p:spPr bwMode="auto">
            <a:xfrm>
              <a:off x="3914775" y="2544763"/>
              <a:ext cx="4763" cy="6350"/>
            </a:xfrm>
            <a:custGeom>
              <a:avLst/>
              <a:gdLst>
                <a:gd name="T0" fmla="*/ 14 w 15"/>
                <a:gd name="T1" fmla="*/ 0 h 18"/>
                <a:gd name="T2" fmla="*/ 5 w 15"/>
                <a:gd name="T3" fmla="*/ 17 h 18"/>
                <a:gd name="T4" fmla="*/ 14 w 15"/>
                <a:gd name="T5" fmla="*/ 14 h 18"/>
                <a:gd name="T6" fmla="*/ 14 w 15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8">
                  <a:moveTo>
                    <a:pt x="14" y="0"/>
                  </a:moveTo>
                  <a:cubicBezTo>
                    <a:pt x="5" y="0"/>
                    <a:pt x="0" y="11"/>
                    <a:pt x="5" y="17"/>
                  </a:cubicBezTo>
                  <a:cubicBezTo>
                    <a:pt x="11" y="17"/>
                    <a:pt x="11" y="14"/>
                    <a:pt x="14" y="14"/>
                  </a:cubicBezTo>
                  <a:lnTo>
                    <a:pt x="14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02" name="Freeform 429"/>
            <p:cNvSpPr>
              <a:spLocks noChangeArrowheads="1"/>
            </p:cNvSpPr>
            <p:nvPr/>
          </p:nvSpPr>
          <p:spPr bwMode="auto">
            <a:xfrm>
              <a:off x="3919538" y="2414588"/>
              <a:ext cx="4762" cy="1587"/>
            </a:xfrm>
            <a:custGeom>
              <a:avLst/>
              <a:gdLst>
                <a:gd name="T0" fmla="*/ 0 w 12"/>
                <a:gd name="T1" fmla="*/ 5 h 6"/>
                <a:gd name="T2" fmla="*/ 11 w 12"/>
                <a:gd name="T3" fmla="*/ 5 h 6"/>
                <a:gd name="T4" fmla="*/ 8 w 12"/>
                <a:gd name="T5" fmla="*/ 0 h 6"/>
                <a:gd name="T6" fmla="*/ 0 w 12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0" y="5"/>
                  </a:moveTo>
                  <a:lnTo>
                    <a:pt x="11" y="5"/>
                  </a:lnTo>
                  <a:cubicBezTo>
                    <a:pt x="8" y="5"/>
                    <a:pt x="5" y="5"/>
                    <a:pt x="8" y="0"/>
                  </a:cubicBezTo>
                  <a:cubicBezTo>
                    <a:pt x="5" y="0"/>
                    <a:pt x="3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03" name="Freeform 430"/>
            <p:cNvSpPr>
              <a:spLocks noChangeArrowheads="1"/>
            </p:cNvSpPr>
            <p:nvPr/>
          </p:nvSpPr>
          <p:spPr bwMode="auto">
            <a:xfrm>
              <a:off x="3930650" y="2914650"/>
              <a:ext cx="1588" cy="3175"/>
            </a:xfrm>
            <a:custGeom>
              <a:avLst/>
              <a:gdLst>
                <a:gd name="T0" fmla="*/ 0 w 6"/>
                <a:gd name="T1" fmla="*/ 6 h 7"/>
                <a:gd name="T2" fmla="*/ 0 w 6"/>
                <a:gd name="T3" fmla="*/ 6 h 7"/>
                <a:gd name="T4" fmla="*/ 5 w 6"/>
                <a:gd name="T5" fmla="*/ 3 h 7"/>
                <a:gd name="T6" fmla="*/ 3 w 6"/>
                <a:gd name="T7" fmla="*/ 0 h 7"/>
                <a:gd name="T8" fmla="*/ 0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6"/>
                  </a:moveTo>
                  <a:lnTo>
                    <a:pt x="0" y="6"/>
                  </a:lnTo>
                  <a:cubicBezTo>
                    <a:pt x="3" y="6"/>
                    <a:pt x="5" y="6"/>
                    <a:pt x="5" y="3"/>
                  </a:cubicBezTo>
                  <a:cubicBezTo>
                    <a:pt x="5" y="3"/>
                    <a:pt x="3" y="3"/>
                    <a:pt x="3" y="0"/>
                  </a:cubicBezTo>
                  <a:cubicBezTo>
                    <a:pt x="3" y="3"/>
                    <a:pt x="0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04" name="Freeform 431"/>
            <p:cNvSpPr>
              <a:spLocks noChangeArrowheads="1"/>
            </p:cNvSpPr>
            <p:nvPr/>
          </p:nvSpPr>
          <p:spPr bwMode="auto">
            <a:xfrm>
              <a:off x="3933825" y="2730500"/>
              <a:ext cx="6350" cy="6350"/>
            </a:xfrm>
            <a:custGeom>
              <a:avLst/>
              <a:gdLst>
                <a:gd name="T0" fmla="*/ 14 w 18"/>
                <a:gd name="T1" fmla="*/ 6 h 18"/>
                <a:gd name="T2" fmla="*/ 3 w 18"/>
                <a:gd name="T3" fmla="*/ 11 h 18"/>
                <a:gd name="T4" fmla="*/ 14 w 18"/>
                <a:gd name="T5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8">
                  <a:moveTo>
                    <a:pt x="14" y="6"/>
                  </a:moveTo>
                  <a:cubicBezTo>
                    <a:pt x="12" y="0"/>
                    <a:pt x="0" y="3"/>
                    <a:pt x="3" y="11"/>
                  </a:cubicBezTo>
                  <a:cubicBezTo>
                    <a:pt x="6" y="17"/>
                    <a:pt x="17" y="17"/>
                    <a:pt x="14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05" name="Freeform 432"/>
            <p:cNvSpPr>
              <a:spLocks noChangeArrowheads="1"/>
            </p:cNvSpPr>
            <p:nvPr/>
          </p:nvSpPr>
          <p:spPr bwMode="auto">
            <a:xfrm>
              <a:off x="3932238" y="2800350"/>
              <a:ext cx="3175" cy="4763"/>
            </a:xfrm>
            <a:custGeom>
              <a:avLst/>
              <a:gdLst>
                <a:gd name="T0" fmla="*/ 0 w 10"/>
                <a:gd name="T1" fmla="*/ 2 h 15"/>
                <a:gd name="T2" fmla="*/ 6 w 10"/>
                <a:gd name="T3" fmla="*/ 14 h 15"/>
                <a:gd name="T4" fmla="*/ 9 w 10"/>
                <a:gd name="T5" fmla="*/ 5 h 15"/>
                <a:gd name="T6" fmla="*/ 6 w 10"/>
                <a:gd name="T7" fmla="*/ 0 h 15"/>
                <a:gd name="T8" fmla="*/ 0 w 10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0" y="2"/>
                  </a:moveTo>
                  <a:cubicBezTo>
                    <a:pt x="0" y="5"/>
                    <a:pt x="3" y="11"/>
                    <a:pt x="6" y="14"/>
                  </a:cubicBezTo>
                  <a:cubicBezTo>
                    <a:pt x="9" y="11"/>
                    <a:pt x="9" y="8"/>
                    <a:pt x="9" y="5"/>
                  </a:cubicBezTo>
                  <a:cubicBezTo>
                    <a:pt x="9" y="2"/>
                    <a:pt x="6" y="2"/>
                    <a:pt x="6" y="0"/>
                  </a:cubicBezTo>
                  <a:cubicBezTo>
                    <a:pt x="3" y="2"/>
                    <a:pt x="0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06" name="Freeform 433"/>
            <p:cNvSpPr>
              <a:spLocks noChangeArrowheads="1"/>
            </p:cNvSpPr>
            <p:nvPr/>
          </p:nvSpPr>
          <p:spPr bwMode="auto">
            <a:xfrm>
              <a:off x="3937000" y="2897188"/>
              <a:ext cx="3175" cy="4762"/>
            </a:xfrm>
            <a:custGeom>
              <a:avLst/>
              <a:gdLst>
                <a:gd name="T0" fmla="*/ 0 w 9"/>
                <a:gd name="T1" fmla="*/ 11 h 12"/>
                <a:gd name="T2" fmla="*/ 8 w 9"/>
                <a:gd name="T3" fmla="*/ 8 h 12"/>
                <a:gd name="T4" fmla="*/ 3 w 9"/>
                <a:gd name="T5" fmla="*/ 0 h 12"/>
                <a:gd name="T6" fmla="*/ 0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3" y="11"/>
                    <a:pt x="5" y="11"/>
                    <a:pt x="8" y="8"/>
                  </a:cubicBezTo>
                  <a:cubicBezTo>
                    <a:pt x="8" y="5"/>
                    <a:pt x="5" y="2"/>
                    <a:pt x="3" y="0"/>
                  </a:cubicBezTo>
                  <a:cubicBezTo>
                    <a:pt x="3" y="2"/>
                    <a:pt x="0" y="8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07" name="Freeform 434"/>
            <p:cNvSpPr>
              <a:spLocks noChangeArrowheads="1"/>
            </p:cNvSpPr>
            <p:nvPr/>
          </p:nvSpPr>
          <p:spPr bwMode="auto">
            <a:xfrm>
              <a:off x="3930650" y="2892425"/>
              <a:ext cx="4763" cy="7938"/>
            </a:xfrm>
            <a:custGeom>
              <a:avLst/>
              <a:gdLst>
                <a:gd name="T0" fmla="*/ 8 w 12"/>
                <a:gd name="T1" fmla="*/ 0 h 24"/>
                <a:gd name="T2" fmla="*/ 3 w 12"/>
                <a:gd name="T3" fmla="*/ 14 h 24"/>
                <a:gd name="T4" fmla="*/ 8 w 12"/>
                <a:gd name="T5" fmla="*/ 23 h 24"/>
                <a:gd name="T6" fmla="*/ 11 w 12"/>
                <a:gd name="T7" fmla="*/ 23 h 24"/>
                <a:gd name="T8" fmla="*/ 8 w 12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4">
                  <a:moveTo>
                    <a:pt x="8" y="0"/>
                  </a:moveTo>
                  <a:cubicBezTo>
                    <a:pt x="0" y="3"/>
                    <a:pt x="3" y="9"/>
                    <a:pt x="3" y="14"/>
                  </a:cubicBezTo>
                  <a:cubicBezTo>
                    <a:pt x="5" y="17"/>
                    <a:pt x="8" y="20"/>
                    <a:pt x="8" y="23"/>
                  </a:cubicBezTo>
                  <a:lnTo>
                    <a:pt x="11" y="23"/>
                  </a:lnTo>
                  <a:cubicBezTo>
                    <a:pt x="8" y="14"/>
                    <a:pt x="8" y="6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08" name="Freeform 435"/>
            <p:cNvSpPr>
              <a:spLocks noChangeArrowheads="1"/>
            </p:cNvSpPr>
            <p:nvPr/>
          </p:nvSpPr>
          <p:spPr bwMode="auto">
            <a:xfrm>
              <a:off x="3927475" y="2347913"/>
              <a:ext cx="11113" cy="9525"/>
            </a:xfrm>
            <a:custGeom>
              <a:avLst/>
              <a:gdLst>
                <a:gd name="T0" fmla="*/ 12 w 32"/>
                <a:gd name="T1" fmla="*/ 22 h 26"/>
                <a:gd name="T2" fmla="*/ 14 w 32"/>
                <a:gd name="T3" fmla="*/ 17 h 26"/>
                <a:gd name="T4" fmla="*/ 14 w 32"/>
                <a:gd name="T5" fmla="*/ 19 h 26"/>
                <a:gd name="T6" fmla="*/ 14 w 32"/>
                <a:gd name="T7" fmla="*/ 19 h 26"/>
                <a:gd name="T8" fmla="*/ 31 w 32"/>
                <a:gd name="T9" fmla="*/ 17 h 26"/>
                <a:gd name="T10" fmla="*/ 29 w 32"/>
                <a:gd name="T11" fmla="*/ 14 h 26"/>
                <a:gd name="T12" fmla="*/ 0 w 32"/>
                <a:gd name="T13" fmla="*/ 19 h 26"/>
                <a:gd name="T14" fmla="*/ 12 w 32"/>
                <a:gd name="T15" fmla="*/ 2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26">
                  <a:moveTo>
                    <a:pt x="12" y="22"/>
                  </a:moveTo>
                  <a:cubicBezTo>
                    <a:pt x="12" y="22"/>
                    <a:pt x="14" y="19"/>
                    <a:pt x="14" y="17"/>
                  </a:cubicBezTo>
                  <a:cubicBezTo>
                    <a:pt x="14" y="19"/>
                    <a:pt x="14" y="19"/>
                    <a:pt x="14" y="19"/>
                  </a:cubicBezTo>
                  <a:lnTo>
                    <a:pt x="14" y="19"/>
                  </a:lnTo>
                  <a:cubicBezTo>
                    <a:pt x="20" y="19"/>
                    <a:pt x="29" y="22"/>
                    <a:pt x="31" y="17"/>
                  </a:cubicBezTo>
                  <a:lnTo>
                    <a:pt x="29" y="14"/>
                  </a:lnTo>
                  <a:cubicBezTo>
                    <a:pt x="17" y="14"/>
                    <a:pt x="3" y="0"/>
                    <a:pt x="0" y="19"/>
                  </a:cubicBezTo>
                  <a:cubicBezTo>
                    <a:pt x="3" y="25"/>
                    <a:pt x="9" y="22"/>
                    <a:pt x="12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09" name="Freeform 436"/>
            <p:cNvSpPr>
              <a:spLocks noChangeArrowheads="1"/>
            </p:cNvSpPr>
            <p:nvPr/>
          </p:nvSpPr>
          <p:spPr bwMode="auto">
            <a:xfrm>
              <a:off x="3937000" y="2381250"/>
              <a:ext cx="7938" cy="4763"/>
            </a:xfrm>
            <a:custGeom>
              <a:avLst/>
              <a:gdLst>
                <a:gd name="T0" fmla="*/ 11 w 21"/>
                <a:gd name="T1" fmla="*/ 0 h 15"/>
                <a:gd name="T2" fmla="*/ 0 w 21"/>
                <a:gd name="T3" fmla="*/ 5 h 15"/>
                <a:gd name="T4" fmla="*/ 0 w 21"/>
                <a:gd name="T5" fmla="*/ 11 h 15"/>
                <a:gd name="T6" fmla="*/ 11 w 21"/>
                <a:gd name="T7" fmla="*/ 14 h 15"/>
                <a:gd name="T8" fmla="*/ 20 w 21"/>
                <a:gd name="T9" fmla="*/ 8 h 15"/>
                <a:gd name="T10" fmla="*/ 11 w 21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5">
                  <a:moveTo>
                    <a:pt x="11" y="0"/>
                  </a:moveTo>
                  <a:cubicBezTo>
                    <a:pt x="11" y="5"/>
                    <a:pt x="0" y="0"/>
                    <a:pt x="0" y="5"/>
                  </a:cubicBezTo>
                  <a:cubicBezTo>
                    <a:pt x="0" y="8"/>
                    <a:pt x="0" y="8"/>
                    <a:pt x="0" y="11"/>
                  </a:cubicBezTo>
                  <a:cubicBezTo>
                    <a:pt x="3" y="14"/>
                    <a:pt x="5" y="14"/>
                    <a:pt x="11" y="14"/>
                  </a:cubicBezTo>
                  <a:cubicBezTo>
                    <a:pt x="14" y="11"/>
                    <a:pt x="17" y="8"/>
                    <a:pt x="20" y="8"/>
                  </a:cubicBezTo>
                  <a:cubicBezTo>
                    <a:pt x="14" y="3"/>
                    <a:pt x="14" y="0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10" name="Freeform 437"/>
            <p:cNvSpPr>
              <a:spLocks noChangeArrowheads="1"/>
            </p:cNvSpPr>
            <p:nvPr/>
          </p:nvSpPr>
          <p:spPr bwMode="auto">
            <a:xfrm>
              <a:off x="3932238" y="2436813"/>
              <a:ext cx="3175" cy="3175"/>
            </a:xfrm>
            <a:custGeom>
              <a:avLst/>
              <a:gdLst>
                <a:gd name="T0" fmla="*/ 0 w 9"/>
                <a:gd name="T1" fmla="*/ 6 h 7"/>
                <a:gd name="T2" fmla="*/ 5 w 9"/>
                <a:gd name="T3" fmla="*/ 0 h 7"/>
                <a:gd name="T4" fmla="*/ 0 w 9"/>
                <a:gd name="T5" fmla="*/ 0 h 7"/>
                <a:gd name="T6" fmla="*/ 0 w 9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0" y="6"/>
                  </a:moveTo>
                  <a:cubicBezTo>
                    <a:pt x="2" y="6"/>
                    <a:pt x="8" y="6"/>
                    <a:pt x="5" y="0"/>
                  </a:cubicBezTo>
                  <a:cubicBezTo>
                    <a:pt x="2" y="0"/>
                    <a:pt x="0" y="0"/>
                    <a:pt x="0" y="0"/>
                  </a:cubicBezTo>
                  <a:cubicBezTo>
                    <a:pt x="0" y="3"/>
                    <a:pt x="0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11" name="Freeform 438"/>
            <p:cNvSpPr>
              <a:spLocks noChangeArrowheads="1"/>
            </p:cNvSpPr>
            <p:nvPr/>
          </p:nvSpPr>
          <p:spPr bwMode="auto">
            <a:xfrm>
              <a:off x="3895725" y="2838450"/>
              <a:ext cx="9525" cy="4763"/>
            </a:xfrm>
            <a:custGeom>
              <a:avLst/>
              <a:gdLst>
                <a:gd name="T0" fmla="*/ 22 w 26"/>
                <a:gd name="T1" fmla="*/ 8 h 12"/>
                <a:gd name="T2" fmla="*/ 25 w 26"/>
                <a:gd name="T3" fmla="*/ 3 h 12"/>
                <a:gd name="T4" fmla="*/ 25 w 26"/>
                <a:gd name="T5" fmla="*/ 3 h 12"/>
                <a:gd name="T6" fmla="*/ 8 w 26"/>
                <a:gd name="T7" fmla="*/ 0 h 12"/>
                <a:gd name="T8" fmla="*/ 3 w 26"/>
                <a:gd name="T9" fmla="*/ 3 h 12"/>
                <a:gd name="T10" fmla="*/ 0 w 26"/>
                <a:gd name="T11" fmla="*/ 6 h 12"/>
                <a:gd name="T12" fmla="*/ 0 w 26"/>
                <a:gd name="T13" fmla="*/ 11 h 12"/>
                <a:gd name="T14" fmla="*/ 22 w 26"/>
                <a:gd name="T1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2">
                  <a:moveTo>
                    <a:pt x="22" y="8"/>
                  </a:moveTo>
                  <a:cubicBezTo>
                    <a:pt x="22" y="6"/>
                    <a:pt x="22" y="6"/>
                    <a:pt x="25" y="3"/>
                  </a:cubicBezTo>
                  <a:lnTo>
                    <a:pt x="25" y="3"/>
                  </a:lnTo>
                  <a:cubicBezTo>
                    <a:pt x="17" y="6"/>
                    <a:pt x="17" y="3"/>
                    <a:pt x="8" y="0"/>
                  </a:cubicBezTo>
                  <a:cubicBezTo>
                    <a:pt x="6" y="0"/>
                    <a:pt x="6" y="3"/>
                    <a:pt x="3" y="3"/>
                  </a:cubicBezTo>
                  <a:lnTo>
                    <a:pt x="0" y="6"/>
                  </a:lnTo>
                  <a:cubicBezTo>
                    <a:pt x="0" y="8"/>
                    <a:pt x="0" y="8"/>
                    <a:pt x="0" y="11"/>
                  </a:cubicBezTo>
                  <a:cubicBezTo>
                    <a:pt x="6" y="11"/>
                    <a:pt x="17" y="8"/>
                    <a:pt x="22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12" name="Freeform 439"/>
            <p:cNvSpPr>
              <a:spLocks noChangeArrowheads="1"/>
            </p:cNvSpPr>
            <p:nvPr/>
          </p:nvSpPr>
          <p:spPr bwMode="auto">
            <a:xfrm>
              <a:off x="3900488" y="2692400"/>
              <a:ext cx="6350" cy="1588"/>
            </a:xfrm>
            <a:custGeom>
              <a:avLst/>
              <a:gdLst>
                <a:gd name="T0" fmla="*/ 0 w 18"/>
                <a:gd name="T1" fmla="*/ 5 h 6"/>
                <a:gd name="T2" fmla="*/ 17 w 18"/>
                <a:gd name="T3" fmla="*/ 2 h 6"/>
                <a:gd name="T4" fmla="*/ 3 w 18"/>
                <a:gd name="T5" fmla="*/ 0 h 6"/>
                <a:gd name="T6" fmla="*/ 0 w 18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0" y="5"/>
                  </a:moveTo>
                  <a:cubicBezTo>
                    <a:pt x="6" y="5"/>
                    <a:pt x="14" y="5"/>
                    <a:pt x="17" y="2"/>
                  </a:cubicBezTo>
                  <a:cubicBezTo>
                    <a:pt x="14" y="0"/>
                    <a:pt x="8" y="0"/>
                    <a:pt x="3" y="0"/>
                  </a:cubicBezTo>
                  <a:cubicBezTo>
                    <a:pt x="0" y="0"/>
                    <a:pt x="0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13" name="Freeform 440"/>
            <p:cNvSpPr>
              <a:spLocks noChangeArrowheads="1"/>
            </p:cNvSpPr>
            <p:nvPr/>
          </p:nvSpPr>
          <p:spPr bwMode="auto">
            <a:xfrm>
              <a:off x="3886200" y="2282825"/>
              <a:ext cx="6350" cy="7938"/>
            </a:xfrm>
            <a:custGeom>
              <a:avLst/>
              <a:gdLst>
                <a:gd name="T0" fmla="*/ 0 w 16"/>
                <a:gd name="T1" fmla="*/ 0 h 21"/>
                <a:gd name="T2" fmla="*/ 0 w 16"/>
                <a:gd name="T3" fmla="*/ 6 h 21"/>
                <a:gd name="T4" fmla="*/ 6 w 16"/>
                <a:gd name="T5" fmla="*/ 9 h 21"/>
                <a:gd name="T6" fmla="*/ 6 w 16"/>
                <a:gd name="T7" fmla="*/ 20 h 21"/>
                <a:gd name="T8" fmla="*/ 15 w 16"/>
                <a:gd name="T9" fmla="*/ 14 h 21"/>
                <a:gd name="T10" fmla="*/ 0 w 16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1">
                  <a:moveTo>
                    <a:pt x="0" y="0"/>
                  </a:moveTo>
                  <a:cubicBezTo>
                    <a:pt x="0" y="3"/>
                    <a:pt x="0" y="6"/>
                    <a:pt x="0" y="6"/>
                  </a:cubicBezTo>
                  <a:lnTo>
                    <a:pt x="6" y="9"/>
                  </a:lnTo>
                  <a:cubicBezTo>
                    <a:pt x="6" y="11"/>
                    <a:pt x="6" y="17"/>
                    <a:pt x="6" y="20"/>
                  </a:cubicBezTo>
                  <a:cubicBezTo>
                    <a:pt x="9" y="20"/>
                    <a:pt x="12" y="17"/>
                    <a:pt x="15" y="14"/>
                  </a:cubicBezTo>
                  <a:cubicBezTo>
                    <a:pt x="9" y="9"/>
                    <a:pt x="6" y="6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14" name="Freeform 441"/>
            <p:cNvSpPr>
              <a:spLocks noChangeArrowheads="1"/>
            </p:cNvSpPr>
            <p:nvPr/>
          </p:nvSpPr>
          <p:spPr bwMode="auto">
            <a:xfrm>
              <a:off x="3886200" y="2363788"/>
              <a:ext cx="3175" cy="4762"/>
            </a:xfrm>
            <a:custGeom>
              <a:avLst/>
              <a:gdLst>
                <a:gd name="T0" fmla="*/ 0 w 10"/>
                <a:gd name="T1" fmla="*/ 0 h 12"/>
                <a:gd name="T2" fmla="*/ 3 w 10"/>
                <a:gd name="T3" fmla="*/ 11 h 12"/>
                <a:gd name="T4" fmla="*/ 9 w 10"/>
                <a:gd name="T5" fmla="*/ 5 h 12"/>
                <a:gd name="T6" fmla="*/ 0 w 10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0" y="0"/>
                  </a:moveTo>
                  <a:cubicBezTo>
                    <a:pt x="0" y="2"/>
                    <a:pt x="3" y="5"/>
                    <a:pt x="3" y="11"/>
                  </a:cubicBezTo>
                  <a:cubicBezTo>
                    <a:pt x="6" y="11"/>
                    <a:pt x="9" y="8"/>
                    <a:pt x="9" y="5"/>
                  </a:cubicBezTo>
                  <a:cubicBezTo>
                    <a:pt x="3" y="5"/>
                    <a:pt x="0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15" name="Freeform 442"/>
            <p:cNvSpPr>
              <a:spLocks noChangeArrowheads="1"/>
            </p:cNvSpPr>
            <p:nvPr/>
          </p:nvSpPr>
          <p:spPr bwMode="auto">
            <a:xfrm>
              <a:off x="3889375" y="3014663"/>
              <a:ext cx="1588" cy="3175"/>
            </a:xfrm>
            <a:custGeom>
              <a:avLst/>
              <a:gdLst>
                <a:gd name="T0" fmla="*/ 0 w 4"/>
                <a:gd name="T1" fmla="*/ 0 h 9"/>
                <a:gd name="T2" fmla="*/ 0 w 4"/>
                <a:gd name="T3" fmla="*/ 8 h 9"/>
                <a:gd name="T4" fmla="*/ 3 w 4"/>
                <a:gd name="T5" fmla="*/ 8 h 9"/>
                <a:gd name="T6" fmla="*/ 0 w 4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0" y="0"/>
                  </a:moveTo>
                  <a:cubicBezTo>
                    <a:pt x="0" y="3"/>
                    <a:pt x="0" y="6"/>
                    <a:pt x="0" y="8"/>
                  </a:cubicBezTo>
                  <a:lnTo>
                    <a:pt x="3" y="8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16" name="Freeform 443"/>
            <p:cNvSpPr>
              <a:spLocks noChangeArrowheads="1"/>
            </p:cNvSpPr>
            <p:nvPr/>
          </p:nvSpPr>
          <p:spPr bwMode="auto">
            <a:xfrm>
              <a:off x="3900488" y="3019425"/>
              <a:ext cx="4762" cy="3175"/>
            </a:xfrm>
            <a:custGeom>
              <a:avLst/>
              <a:gdLst>
                <a:gd name="T0" fmla="*/ 6 w 12"/>
                <a:gd name="T1" fmla="*/ 0 h 7"/>
                <a:gd name="T2" fmla="*/ 0 w 12"/>
                <a:gd name="T3" fmla="*/ 3 h 7"/>
                <a:gd name="T4" fmla="*/ 8 w 12"/>
                <a:gd name="T5" fmla="*/ 6 h 7"/>
                <a:gd name="T6" fmla="*/ 11 w 12"/>
                <a:gd name="T7" fmla="*/ 6 h 7"/>
                <a:gd name="T8" fmla="*/ 6 w 12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6" y="0"/>
                  </a:moveTo>
                  <a:cubicBezTo>
                    <a:pt x="3" y="0"/>
                    <a:pt x="3" y="3"/>
                    <a:pt x="0" y="3"/>
                  </a:cubicBezTo>
                  <a:cubicBezTo>
                    <a:pt x="0" y="6"/>
                    <a:pt x="3" y="6"/>
                    <a:pt x="8" y="6"/>
                  </a:cubicBezTo>
                  <a:lnTo>
                    <a:pt x="11" y="6"/>
                  </a:lnTo>
                  <a:cubicBezTo>
                    <a:pt x="11" y="3"/>
                    <a:pt x="8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17" name="Freeform 444"/>
            <p:cNvSpPr>
              <a:spLocks noChangeArrowheads="1"/>
            </p:cNvSpPr>
            <p:nvPr/>
          </p:nvSpPr>
          <p:spPr bwMode="auto">
            <a:xfrm>
              <a:off x="3910013" y="3027363"/>
              <a:ext cx="1587" cy="1587"/>
            </a:xfrm>
            <a:custGeom>
              <a:avLst/>
              <a:gdLst>
                <a:gd name="T0" fmla="*/ 0 w 6"/>
                <a:gd name="T1" fmla="*/ 5 h 6"/>
                <a:gd name="T2" fmla="*/ 5 w 6"/>
                <a:gd name="T3" fmla="*/ 2 h 6"/>
                <a:gd name="T4" fmla="*/ 0 w 6"/>
                <a:gd name="T5" fmla="*/ 0 h 6"/>
                <a:gd name="T6" fmla="*/ 0 w 6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5"/>
                  </a:moveTo>
                  <a:cubicBezTo>
                    <a:pt x="2" y="5"/>
                    <a:pt x="5" y="2"/>
                    <a:pt x="5" y="2"/>
                  </a:cubicBezTo>
                  <a:cubicBezTo>
                    <a:pt x="2" y="0"/>
                    <a:pt x="2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18" name="Freeform 445"/>
            <p:cNvSpPr>
              <a:spLocks noChangeArrowheads="1"/>
            </p:cNvSpPr>
            <p:nvPr/>
          </p:nvSpPr>
          <p:spPr bwMode="auto">
            <a:xfrm>
              <a:off x="3911600" y="2882900"/>
              <a:ext cx="3175" cy="1588"/>
            </a:xfrm>
            <a:custGeom>
              <a:avLst/>
              <a:gdLst>
                <a:gd name="T0" fmla="*/ 3 w 10"/>
                <a:gd name="T1" fmla="*/ 3 h 4"/>
                <a:gd name="T2" fmla="*/ 9 w 10"/>
                <a:gd name="T3" fmla="*/ 3 h 4"/>
                <a:gd name="T4" fmla="*/ 0 w 10"/>
                <a:gd name="T5" fmla="*/ 0 h 4"/>
                <a:gd name="T6" fmla="*/ 3 w 10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4">
                  <a:moveTo>
                    <a:pt x="3" y="3"/>
                  </a:moveTo>
                  <a:lnTo>
                    <a:pt x="9" y="3"/>
                  </a:lnTo>
                  <a:cubicBezTo>
                    <a:pt x="6" y="3"/>
                    <a:pt x="3" y="0"/>
                    <a:pt x="0" y="0"/>
                  </a:cubicBezTo>
                  <a:cubicBezTo>
                    <a:pt x="0" y="3"/>
                    <a:pt x="0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19" name="Freeform 446"/>
            <p:cNvSpPr>
              <a:spLocks noChangeArrowheads="1"/>
            </p:cNvSpPr>
            <p:nvPr/>
          </p:nvSpPr>
          <p:spPr bwMode="auto">
            <a:xfrm>
              <a:off x="3910013" y="3030538"/>
              <a:ext cx="1587" cy="1587"/>
            </a:xfrm>
            <a:custGeom>
              <a:avLst/>
              <a:gdLst>
                <a:gd name="T0" fmla="*/ 0 w 6"/>
                <a:gd name="T1" fmla="*/ 3 h 4"/>
                <a:gd name="T2" fmla="*/ 2 w 6"/>
                <a:gd name="T3" fmla="*/ 3 h 4"/>
                <a:gd name="T4" fmla="*/ 5 w 6"/>
                <a:gd name="T5" fmla="*/ 0 h 4"/>
                <a:gd name="T6" fmla="*/ 5 w 6"/>
                <a:gd name="T7" fmla="*/ 0 h 4"/>
                <a:gd name="T8" fmla="*/ 0 w 6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3"/>
                  </a:moveTo>
                  <a:lnTo>
                    <a:pt x="2" y="3"/>
                  </a:lnTo>
                  <a:lnTo>
                    <a:pt x="5" y="0"/>
                  </a:lnTo>
                  <a:lnTo>
                    <a:pt x="5" y="0"/>
                  </a:lnTo>
                  <a:cubicBezTo>
                    <a:pt x="2" y="3"/>
                    <a:pt x="2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20" name="Freeform 447"/>
            <p:cNvSpPr>
              <a:spLocks noChangeArrowheads="1"/>
            </p:cNvSpPr>
            <p:nvPr/>
          </p:nvSpPr>
          <p:spPr bwMode="auto">
            <a:xfrm>
              <a:off x="3903663" y="2757488"/>
              <a:ext cx="6350" cy="4762"/>
            </a:xfrm>
            <a:custGeom>
              <a:avLst/>
              <a:gdLst>
                <a:gd name="T0" fmla="*/ 3 w 16"/>
                <a:gd name="T1" fmla="*/ 12 h 13"/>
                <a:gd name="T2" fmla="*/ 12 w 16"/>
                <a:gd name="T3" fmla="*/ 0 h 13"/>
                <a:gd name="T4" fmla="*/ 3 w 16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3" y="12"/>
                  </a:moveTo>
                  <a:cubicBezTo>
                    <a:pt x="9" y="12"/>
                    <a:pt x="15" y="9"/>
                    <a:pt x="12" y="0"/>
                  </a:cubicBezTo>
                  <a:cubicBezTo>
                    <a:pt x="6" y="0"/>
                    <a:pt x="0" y="0"/>
                    <a:pt x="3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21" name="Freeform 448"/>
            <p:cNvSpPr>
              <a:spLocks noChangeArrowheads="1"/>
            </p:cNvSpPr>
            <p:nvPr/>
          </p:nvSpPr>
          <p:spPr bwMode="auto">
            <a:xfrm>
              <a:off x="3910013" y="2238375"/>
              <a:ext cx="6350" cy="11113"/>
            </a:xfrm>
            <a:custGeom>
              <a:avLst/>
              <a:gdLst>
                <a:gd name="T0" fmla="*/ 17 w 18"/>
                <a:gd name="T1" fmla="*/ 8 h 29"/>
                <a:gd name="T2" fmla="*/ 14 w 18"/>
                <a:gd name="T3" fmla="*/ 0 h 29"/>
                <a:gd name="T4" fmla="*/ 8 w 18"/>
                <a:gd name="T5" fmla="*/ 0 h 29"/>
                <a:gd name="T6" fmla="*/ 0 w 18"/>
                <a:gd name="T7" fmla="*/ 17 h 29"/>
                <a:gd name="T8" fmla="*/ 2 w 18"/>
                <a:gd name="T9" fmla="*/ 17 h 29"/>
                <a:gd name="T10" fmla="*/ 14 w 18"/>
                <a:gd name="T11" fmla="*/ 8 h 29"/>
                <a:gd name="T12" fmla="*/ 5 w 18"/>
                <a:gd name="T13" fmla="*/ 25 h 29"/>
                <a:gd name="T14" fmla="*/ 17 w 18"/>
                <a:gd name="T15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9">
                  <a:moveTo>
                    <a:pt x="17" y="8"/>
                  </a:moveTo>
                  <a:cubicBezTo>
                    <a:pt x="17" y="5"/>
                    <a:pt x="17" y="3"/>
                    <a:pt x="14" y="0"/>
                  </a:cubicBezTo>
                  <a:lnTo>
                    <a:pt x="8" y="0"/>
                  </a:lnTo>
                  <a:cubicBezTo>
                    <a:pt x="5" y="5"/>
                    <a:pt x="2" y="11"/>
                    <a:pt x="0" y="17"/>
                  </a:cubicBezTo>
                  <a:cubicBezTo>
                    <a:pt x="0" y="17"/>
                    <a:pt x="0" y="17"/>
                    <a:pt x="2" y="17"/>
                  </a:cubicBezTo>
                  <a:cubicBezTo>
                    <a:pt x="5" y="14"/>
                    <a:pt x="5" y="8"/>
                    <a:pt x="14" y="8"/>
                  </a:cubicBezTo>
                  <a:cubicBezTo>
                    <a:pt x="14" y="14"/>
                    <a:pt x="11" y="20"/>
                    <a:pt x="5" y="25"/>
                  </a:cubicBezTo>
                  <a:cubicBezTo>
                    <a:pt x="11" y="28"/>
                    <a:pt x="14" y="17"/>
                    <a:pt x="17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22" name="Freeform 449"/>
            <p:cNvSpPr>
              <a:spLocks noChangeArrowheads="1"/>
            </p:cNvSpPr>
            <p:nvPr/>
          </p:nvSpPr>
          <p:spPr bwMode="auto">
            <a:xfrm>
              <a:off x="3960813" y="2740025"/>
              <a:ext cx="7937" cy="4763"/>
            </a:xfrm>
            <a:custGeom>
              <a:avLst/>
              <a:gdLst>
                <a:gd name="T0" fmla="*/ 12 w 21"/>
                <a:gd name="T1" fmla="*/ 14 h 15"/>
                <a:gd name="T2" fmla="*/ 17 w 21"/>
                <a:gd name="T3" fmla="*/ 9 h 15"/>
                <a:gd name="T4" fmla="*/ 20 w 21"/>
                <a:gd name="T5" fmla="*/ 3 h 15"/>
                <a:gd name="T6" fmla="*/ 15 w 21"/>
                <a:gd name="T7" fmla="*/ 0 h 15"/>
                <a:gd name="T8" fmla="*/ 12 w 21"/>
                <a:gd name="T9" fmla="*/ 3 h 15"/>
                <a:gd name="T10" fmla="*/ 12 w 21"/>
                <a:gd name="T11" fmla="*/ 3 h 15"/>
                <a:gd name="T12" fmla="*/ 6 w 21"/>
                <a:gd name="T13" fmla="*/ 6 h 15"/>
                <a:gd name="T14" fmla="*/ 0 w 21"/>
                <a:gd name="T15" fmla="*/ 0 h 15"/>
                <a:gd name="T16" fmla="*/ 0 w 21"/>
                <a:gd name="T17" fmla="*/ 9 h 15"/>
                <a:gd name="T18" fmla="*/ 3 w 21"/>
                <a:gd name="T19" fmla="*/ 9 h 15"/>
                <a:gd name="T20" fmla="*/ 12 w 21"/>
                <a:gd name="T21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5">
                  <a:moveTo>
                    <a:pt x="12" y="14"/>
                  </a:moveTo>
                  <a:cubicBezTo>
                    <a:pt x="12" y="11"/>
                    <a:pt x="15" y="9"/>
                    <a:pt x="17" y="9"/>
                  </a:cubicBezTo>
                  <a:cubicBezTo>
                    <a:pt x="17" y="6"/>
                    <a:pt x="20" y="6"/>
                    <a:pt x="20" y="3"/>
                  </a:cubicBezTo>
                  <a:cubicBezTo>
                    <a:pt x="17" y="3"/>
                    <a:pt x="17" y="0"/>
                    <a:pt x="15" y="0"/>
                  </a:cubicBezTo>
                  <a:cubicBezTo>
                    <a:pt x="15" y="0"/>
                    <a:pt x="15" y="3"/>
                    <a:pt x="12" y="3"/>
                  </a:cubicBezTo>
                  <a:lnTo>
                    <a:pt x="12" y="3"/>
                  </a:lnTo>
                  <a:cubicBezTo>
                    <a:pt x="9" y="3"/>
                    <a:pt x="9" y="6"/>
                    <a:pt x="6" y="6"/>
                  </a:cubicBezTo>
                  <a:cubicBezTo>
                    <a:pt x="3" y="6"/>
                    <a:pt x="3" y="3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0" y="9"/>
                    <a:pt x="0" y="9"/>
                    <a:pt x="3" y="9"/>
                  </a:cubicBezTo>
                  <a:cubicBezTo>
                    <a:pt x="6" y="9"/>
                    <a:pt x="6" y="11"/>
                    <a:pt x="12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23" name="Freeform 450"/>
            <p:cNvSpPr>
              <a:spLocks noChangeArrowheads="1"/>
            </p:cNvSpPr>
            <p:nvPr/>
          </p:nvSpPr>
          <p:spPr bwMode="auto">
            <a:xfrm>
              <a:off x="3959225" y="2587625"/>
              <a:ext cx="4763" cy="3175"/>
            </a:xfrm>
            <a:custGeom>
              <a:avLst/>
              <a:gdLst>
                <a:gd name="T0" fmla="*/ 11 w 12"/>
                <a:gd name="T1" fmla="*/ 3 h 10"/>
                <a:gd name="T2" fmla="*/ 5 w 12"/>
                <a:gd name="T3" fmla="*/ 0 h 10"/>
                <a:gd name="T4" fmla="*/ 11 w 12"/>
                <a:gd name="T5" fmla="*/ 6 h 10"/>
                <a:gd name="T6" fmla="*/ 11 w 12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1" y="3"/>
                  </a:moveTo>
                  <a:cubicBezTo>
                    <a:pt x="11" y="3"/>
                    <a:pt x="8" y="0"/>
                    <a:pt x="5" y="0"/>
                  </a:cubicBezTo>
                  <a:cubicBezTo>
                    <a:pt x="2" y="3"/>
                    <a:pt x="0" y="9"/>
                    <a:pt x="11" y="6"/>
                  </a:cubicBezTo>
                  <a:lnTo>
                    <a:pt x="11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24" name="Freeform 451"/>
            <p:cNvSpPr>
              <a:spLocks noChangeArrowheads="1"/>
            </p:cNvSpPr>
            <p:nvPr/>
          </p:nvSpPr>
          <p:spPr bwMode="auto">
            <a:xfrm>
              <a:off x="3965575" y="2511425"/>
              <a:ext cx="3175" cy="4763"/>
            </a:xfrm>
            <a:custGeom>
              <a:avLst/>
              <a:gdLst>
                <a:gd name="T0" fmla="*/ 0 w 9"/>
                <a:gd name="T1" fmla="*/ 11 h 15"/>
                <a:gd name="T2" fmla="*/ 0 w 9"/>
                <a:gd name="T3" fmla="*/ 11 h 15"/>
                <a:gd name="T4" fmla="*/ 3 w 9"/>
                <a:gd name="T5" fmla="*/ 0 h 15"/>
                <a:gd name="T6" fmla="*/ 0 w 9"/>
                <a:gd name="T7" fmla="*/ 0 h 15"/>
                <a:gd name="T8" fmla="*/ 0 w 9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0" y="11"/>
                  </a:moveTo>
                  <a:lnTo>
                    <a:pt x="0" y="11"/>
                  </a:lnTo>
                  <a:cubicBezTo>
                    <a:pt x="8" y="14"/>
                    <a:pt x="8" y="2"/>
                    <a:pt x="3" y="0"/>
                  </a:cubicBezTo>
                  <a:cubicBezTo>
                    <a:pt x="3" y="0"/>
                    <a:pt x="3" y="0"/>
                    <a:pt x="0" y="0"/>
                  </a:cubicBezTo>
                  <a:cubicBezTo>
                    <a:pt x="0" y="2"/>
                    <a:pt x="3" y="8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25" name="Freeform 452"/>
            <p:cNvSpPr>
              <a:spLocks noChangeArrowheads="1"/>
            </p:cNvSpPr>
            <p:nvPr/>
          </p:nvSpPr>
          <p:spPr bwMode="auto">
            <a:xfrm>
              <a:off x="3959225" y="270033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0 h 4"/>
                <a:gd name="T4" fmla="*/ 0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0"/>
                    <a:pt x="0" y="0"/>
                    <a:pt x="0" y="0"/>
                  </a:cubicBezTo>
                  <a:lnTo>
                    <a:pt x="0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26" name="Freeform 453"/>
            <p:cNvSpPr>
              <a:spLocks noChangeArrowheads="1"/>
            </p:cNvSpPr>
            <p:nvPr/>
          </p:nvSpPr>
          <p:spPr bwMode="auto">
            <a:xfrm>
              <a:off x="3952875" y="3033713"/>
              <a:ext cx="3175" cy="3175"/>
            </a:xfrm>
            <a:custGeom>
              <a:avLst/>
              <a:gdLst>
                <a:gd name="T0" fmla="*/ 3 w 7"/>
                <a:gd name="T1" fmla="*/ 6 h 7"/>
                <a:gd name="T2" fmla="*/ 6 w 7"/>
                <a:gd name="T3" fmla="*/ 0 h 7"/>
                <a:gd name="T4" fmla="*/ 0 w 7"/>
                <a:gd name="T5" fmla="*/ 0 h 7"/>
                <a:gd name="T6" fmla="*/ 3 w 7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3" y="6"/>
                  </a:moveTo>
                  <a:cubicBezTo>
                    <a:pt x="6" y="3"/>
                    <a:pt x="6" y="0"/>
                    <a:pt x="6" y="0"/>
                  </a:cubicBezTo>
                  <a:cubicBezTo>
                    <a:pt x="3" y="0"/>
                    <a:pt x="3" y="0"/>
                    <a:pt x="0" y="0"/>
                  </a:cubicBezTo>
                  <a:cubicBezTo>
                    <a:pt x="0" y="0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27" name="Freeform 454"/>
            <p:cNvSpPr>
              <a:spLocks noChangeArrowheads="1"/>
            </p:cNvSpPr>
            <p:nvPr/>
          </p:nvSpPr>
          <p:spPr bwMode="auto">
            <a:xfrm>
              <a:off x="3956050" y="2590800"/>
              <a:ext cx="3175" cy="3175"/>
            </a:xfrm>
            <a:custGeom>
              <a:avLst/>
              <a:gdLst>
                <a:gd name="T0" fmla="*/ 0 w 7"/>
                <a:gd name="T1" fmla="*/ 9 h 10"/>
                <a:gd name="T2" fmla="*/ 3 w 7"/>
                <a:gd name="T3" fmla="*/ 0 h 10"/>
                <a:gd name="T4" fmla="*/ 0 w 7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0">
                  <a:moveTo>
                    <a:pt x="0" y="9"/>
                  </a:moveTo>
                  <a:cubicBezTo>
                    <a:pt x="6" y="6"/>
                    <a:pt x="6" y="3"/>
                    <a:pt x="3" y="0"/>
                  </a:cubicBezTo>
                  <a:cubicBezTo>
                    <a:pt x="3" y="3"/>
                    <a:pt x="0" y="6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28" name="Freeform 455"/>
            <p:cNvSpPr>
              <a:spLocks noChangeArrowheads="1"/>
            </p:cNvSpPr>
            <p:nvPr/>
          </p:nvSpPr>
          <p:spPr bwMode="auto">
            <a:xfrm>
              <a:off x="3973513" y="2719388"/>
              <a:ext cx="3175" cy="3175"/>
            </a:xfrm>
            <a:custGeom>
              <a:avLst/>
              <a:gdLst>
                <a:gd name="T0" fmla="*/ 3 w 10"/>
                <a:gd name="T1" fmla="*/ 6 h 7"/>
                <a:gd name="T2" fmla="*/ 9 w 10"/>
                <a:gd name="T3" fmla="*/ 0 h 7"/>
                <a:gd name="T4" fmla="*/ 3 w 10"/>
                <a:gd name="T5" fmla="*/ 0 h 7"/>
                <a:gd name="T6" fmla="*/ 3 w 10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3" y="6"/>
                  </a:moveTo>
                  <a:cubicBezTo>
                    <a:pt x="3" y="3"/>
                    <a:pt x="6" y="3"/>
                    <a:pt x="9" y="0"/>
                  </a:cubicBezTo>
                  <a:lnTo>
                    <a:pt x="3" y="0"/>
                  </a:lnTo>
                  <a:cubicBezTo>
                    <a:pt x="0" y="0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29" name="Freeform 456"/>
            <p:cNvSpPr>
              <a:spLocks noChangeArrowheads="1"/>
            </p:cNvSpPr>
            <p:nvPr/>
          </p:nvSpPr>
          <p:spPr bwMode="auto">
            <a:xfrm>
              <a:off x="3946525" y="2928938"/>
              <a:ext cx="6350" cy="4762"/>
            </a:xfrm>
            <a:custGeom>
              <a:avLst/>
              <a:gdLst>
                <a:gd name="T0" fmla="*/ 8 w 18"/>
                <a:gd name="T1" fmla="*/ 11 h 12"/>
                <a:gd name="T2" fmla="*/ 17 w 18"/>
                <a:gd name="T3" fmla="*/ 3 h 12"/>
                <a:gd name="T4" fmla="*/ 11 w 18"/>
                <a:gd name="T5" fmla="*/ 0 h 12"/>
                <a:gd name="T6" fmla="*/ 8 w 18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2">
                  <a:moveTo>
                    <a:pt x="8" y="11"/>
                  </a:moveTo>
                  <a:cubicBezTo>
                    <a:pt x="17" y="11"/>
                    <a:pt x="17" y="6"/>
                    <a:pt x="17" y="3"/>
                  </a:cubicBezTo>
                  <a:cubicBezTo>
                    <a:pt x="14" y="0"/>
                    <a:pt x="14" y="0"/>
                    <a:pt x="11" y="0"/>
                  </a:cubicBezTo>
                  <a:cubicBezTo>
                    <a:pt x="8" y="3"/>
                    <a:pt x="0" y="6"/>
                    <a:pt x="8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30" name="Freeform 457"/>
            <p:cNvSpPr>
              <a:spLocks noChangeArrowheads="1"/>
            </p:cNvSpPr>
            <p:nvPr/>
          </p:nvSpPr>
          <p:spPr bwMode="auto">
            <a:xfrm>
              <a:off x="3973513" y="2370138"/>
              <a:ext cx="4762" cy="1587"/>
            </a:xfrm>
            <a:custGeom>
              <a:avLst/>
              <a:gdLst>
                <a:gd name="T0" fmla="*/ 3 w 15"/>
                <a:gd name="T1" fmla="*/ 5 h 6"/>
                <a:gd name="T2" fmla="*/ 14 w 15"/>
                <a:gd name="T3" fmla="*/ 3 h 6"/>
                <a:gd name="T4" fmla="*/ 12 w 15"/>
                <a:gd name="T5" fmla="*/ 0 h 6"/>
                <a:gd name="T6" fmla="*/ 3 w 15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6">
                  <a:moveTo>
                    <a:pt x="3" y="5"/>
                  </a:moveTo>
                  <a:cubicBezTo>
                    <a:pt x="9" y="5"/>
                    <a:pt x="12" y="5"/>
                    <a:pt x="14" y="3"/>
                  </a:cubicBezTo>
                  <a:lnTo>
                    <a:pt x="12" y="0"/>
                  </a:lnTo>
                  <a:cubicBezTo>
                    <a:pt x="6" y="0"/>
                    <a:pt x="0" y="0"/>
                    <a:pt x="3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31" name="Freeform 458"/>
            <p:cNvSpPr>
              <a:spLocks noChangeArrowheads="1"/>
            </p:cNvSpPr>
            <p:nvPr/>
          </p:nvSpPr>
          <p:spPr bwMode="auto">
            <a:xfrm>
              <a:off x="3965575" y="2987675"/>
              <a:ext cx="6350" cy="6350"/>
            </a:xfrm>
            <a:custGeom>
              <a:avLst/>
              <a:gdLst>
                <a:gd name="T0" fmla="*/ 8 w 18"/>
                <a:gd name="T1" fmla="*/ 0 h 18"/>
                <a:gd name="T2" fmla="*/ 8 w 18"/>
                <a:gd name="T3" fmla="*/ 0 h 18"/>
                <a:gd name="T4" fmla="*/ 8 w 18"/>
                <a:gd name="T5" fmla="*/ 17 h 18"/>
                <a:gd name="T6" fmla="*/ 14 w 18"/>
                <a:gd name="T7" fmla="*/ 0 h 18"/>
                <a:gd name="T8" fmla="*/ 14 w 18"/>
                <a:gd name="T9" fmla="*/ 0 h 18"/>
                <a:gd name="T10" fmla="*/ 8 w 18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cubicBezTo>
                    <a:pt x="0" y="5"/>
                    <a:pt x="5" y="11"/>
                    <a:pt x="8" y="17"/>
                  </a:cubicBezTo>
                  <a:cubicBezTo>
                    <a:pt x="14" y="14"/>
                    <a:pt x="17" y="5"/>
                    <a:pt x="14" y="0"/>
                  </a:cubicBezTo>
                  <a:lnTo>
                    <a:pt x="14" y="0"/>
                  </a:lnTo>
                  <a:cubicBezTo>
                    <a:pt x="11" y="0"/>
                    <a:pt x="8" y="0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32" name="Freeform 459"/>
            <p:cNvSpPr>
              <a:spLocks noChangeArrowheads="1"/>
            </p:cNvSpPr>
            <p:nvPr/>
          </p:nvSpPr>
          <p:spPr bwMode="auto">
            <a:xfrm>
              <a:off x="3965575" y="2778125"/>
              <a:ext cx="3175" cy="4763"/>
            </a:xfrm>
            <a:custGeom>
              <a:avLst/>
              <a:gdLst>
                <a:gd name="T0" fmla="*/ 5 w 9"/>
                <a:gd name="T1" fmla="*/ 0 h 15"/>
                <a:gd name="T2" fmla="*/ 0 w 9"/>
                <a:gd name="T3" fmla="*/ 5 h 15"/>
                <a:gd name="T4" fmla="*/ 3 w 9"/>
                <a:gd name="T5" fmla="*/ 11 h 15"/>
                <a:gd name="T6" fmla="*/ 5 w 9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5">
                  <a:moveTo>
                    <a:pt x="5" y="0"/>
                  </a:moveTo>
                  <a:cubicBezTo>
                    <a:pt x="3" y="0"/>
                    <a:pt x="8" y="11"/>
                    <a:pt x="0" y="5"/>
                  </a:cubicBezTo>
                  <a:cubicBezTo>
                    <a:pt x="0" y="8"/>
                    <a:pt x="0" y="11"/>
                    <a:pt x="3" y="11"/>
                  </a:cubicBezTo>
                  <a:cubicBezTo>
                    <a:pt x="5" y="14"/>
                    <a:pt x="5" y="8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33" name="Freeform 460"/>
            <p:cNvSpPr>
              <a:spLocks noChangeArrowheads="1"/>
            </p:cNvSpPr>
            <p:nvPr/>
          </p:nvSpPr>
          <p:spPr bwMode="auto">
            <a:xfrm>
              <a:off x="3959225" y="2408238"/>
              <a:ext cx="14288" cy="22225"/>
            </a:xfrm>
            <a:custGeom>
              <a:avLst/>
              <a:gdLst>
                <a:gd name="T0" fmla="*/ 31 w 38"/>
                <a:gd name="T1" fmla="*/ 6 h 63"/>
                <a:gd name="T2" fmla="*/ 25 w 38"/>
                <a:gd name="T3" fmla="*/ 20 h 63"/>
                <a:gd name="T4" fmla="*/ 22 w 38"/>
                <a:gd name="T5" fmla="*/ 20 h 63"/>
                <a:gd name="T6" fmla="*/ 20 w 38"/>
                <a:gd name="T7" fmla="*/ 20 h 63"/>
                <a:gd name="T8" fmla="*/ 14 w 38"/>
                <a:gd name="T9" fmla="*/ 25 h 63"/>
                <a:gd name="T10" fmla="*/ 3 w 38"/>
                <a:gd name="T11" fmla="*/ 25 h 63"/>
                <a:gd name="T12" fmla="*/ 0 w 38"/>
                <a:gd name="T13" fmla="*/ 53 h 63"/>
                <a:gd name="T14" fmla="*/ 0 w 38"/>
                <a:gd name="T15" fmla="*/ 59 h 63"/>
                <a:gd name="T16" fmla="*/ 8 w 38"/>
                <a:gd name="T17" fmla="*/ 62 h 63"/>
                <a:gd name="T18" fmla="*/ 20 w 38"/>
                <a:gd name="T19" fmla="*/ 45 h 63"/>
                <a:gd name="T20" fmla="*/ 28 w 38"/>
                <a:gd name="T21" fmla="*/ 42 h 63"/>
                <a:gd name="T22" fmla="*/ 22 w 38"/>
                <a:gd name="T23" fmla="*/ 25 h 63"/>
                <a:gd name="T24" fmla="*/ 31 w 38"/>
                <a:gd name="T25" fmla="*/ 17 h 63"/>
                <a:gd name="T26" fmla="*/ 31 w 38"/>
                <a:gd name="T27" fmla="*/ 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63">
                  <a:moveTo>
                    <a:pt x="31" y="6"/>
                  </a:moveTo>
                  <a:cubicBezTo>
                    <a:pt x="31" y="11"/>
                    <a:pt x="31" y="17"/>
                    <a:pt x="25" y="20"/>
                  </a:cubicBezTo>
                  <a:lnTo>
                    <a:pt x="22" y="20"/>
                  </a:lnTo>
                  <a:lnTo>
                    <a:pt x="20" y="20"/>
                  </a:lnTo>
                  <a:cubicBezTo>
                    <a:pt x="20" y="22"/>
                    <a:pt x="17" y="25"/>
                    <a:pt x="14" y="25"/>
                  </a:cubicBezTo>
                  <a:cubicBezTo>
                    <a:pt x="11" y="25"/>
                    <a:pt x="3" y="28"/>
                    <a:pt x="3" y="25"/>
                  </a:cubicBezTo>
                  <a:cubicBezTo>
                    <a:pt x="0" y="34"/>
                    <a:pt x="0" y="42"/>
                    <a:pt x="0" y="53"/>
                  </a:cubicBezTo>
                  <a:lnTo>
                    <a:pt x="0" y="59"/>
                  </a:lnTo>
                  <a:cubicBezTo>
                    <a:pt x="3" y="59"/>
                    <a:pt x="5" y="62"/>
                    <a:pt x="8" y="62"/>
                  </a:cubicBezTo>
                  <a:cubicBezTo>
                    <a:pt x="14" y="56"/>
                    <a:pt x="11" y="48"/>
                    <a:pt x="20" y="45"/>
                  </a:cubicBezTo>
                  <a:cubicBezTo>
                    <a:pt x="22" y="45"/>
                    <a:pt x="25" y="45"/>
                    <a:pt x="28" y="42"/>
                  </a:cubicBezTo>
                  <a:cubicBezTo>
                    <a:pt x="28" y="37"/>
                    <a:pt x="25" y="34"/>
                    <a:pt x="22" y="25"/>
                  </a:cubicBezTo>
                  <a:lnTo>
                    <a:pt x="31" y="17"/>
                  </a:lnTo>
                  <a:cubicBezTo>
                    <a:pt x="31" y="11"/>
                    <a:pt x="37" y="0"/>
                    <a:pt x="31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34" name="Freeform 461"/>
            <p:cNvSpPr>
              <a:spLocks noChangeArrowheads="1"/>
            </p:cNvSpPr>
            <p:nvPr/>
          </p:nvSpPr>
          <p:spPr bwMode="auto">
            <a:xfrm>
              <a:off x="3965575" y="2430463"/>
              <a:ext cx="1588" cy="3175"/>
            </a:xfrm>
            <a:custGeom>
              <a:avLst/>
              <a:gdLst>
                <a:gd name="T0" fmla="*/ 0 w 3"/>
                <a:gd name="T1" fmla="*/ 0 h 7"/>
                <a:gd name="T2" fmla="*/ 0 w 3"/>
                <a:gd name="T3" fmla="*/ 6 h 7"/>
                <a:gd name="T4" fmla="*/ 2 w 3"/>
                <a:gd name="T5" fmla="*/ 0 h 7"/>
                <a:gd name="T6" fmla="*/ 0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0" y="3"/>
                    <a:pt x="2" y="3"/>
                    <a:pt x="2" y="0"/>
                  </a:cubicBezTo>
                  <a:cubicBezTo>
                    <a:pt x="2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35" name="Freeform 462"/>
            <p:cNvSpPr>
              <a:spLocks noChangeArrowheads="1"/>
            </p:cNvSpPr>
            <p:nvPr/>
          </p:nvSpPr>
          <p:spPr bwMode="auto">
            <a:xfrm>
              <a:off x="3971925" y="2863850"/>
              <a:ext cx="1588" cy="1588"/>
            </a:xfrm>
            <a:custGeom>
              <a:avLst/>
              <a:gdLst>
                <a:gd name="T0" fmla="*/ 2 w 3"/>
                <a:gd name="T1" fmla="*/ 3 h 4"/>
                <a:gd name="T2" fmla="*/ 2 w 3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3"/>
                  </a:moveTo>
                  <a:cubicBezTo>
                    <a:pt x="2" y="3"/>
                    <a:pt x="0" y="0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36" name="Freeform 463"/>
            <p:cNvSpPr>
              <a:spLocks noChangeArrowheads="1"/>
            </p:cNvSpPr>
            <p:nvPr/>
          </p:nvSpPr>
          <p:spPr bwMode="auto">
            <a:xfrm>
              <a:off x="3957638" y="2344738"/>
              <a:ext cx="12700" cy="11112"/>
            </a:xfrm>
            <a:custGeom>
              <a:avLst/>
              <a:gdLst>
                <a:gd name="T0" fmla="*/ 0 w 35"/>
                <a:gd name="T1" fmla="*/ 9 h 29"/>
                <a:gd name="T2" fmla="*/ 3 w 35"/>
                <a:gd name="T3" fmla="*/ 26 h 29"/>
                <a:gd name="T4" fmla="*/ 14 w 35"/>
                <a:gd name="T5" fmla="*/ 9 h 29"/>
                <a:gd name="T6" fmla="*/ 20 w 35"/>
                <a:gd name="T7" fmla="*/ 20 h 29"/>
                <a:gd name="T8" fmla="*/ 23 w 35"/>
                <a:gd name="T9" fmla="*/ 20 h 29"/>
                <a:gd name="T10" fmla="*/ 31 w 35"/>
                <a:gd name="T11" fmla="*/ 28 h 29"/>
                <a:gd name="T12" fmla="*/ 34 w 35"/>
                <a:gd name="T13" fmla="*/ 17 h 29"/>
                <a:gd name="T14" fmla="*/ 28 w 35"/>
                <a:gd name="T15" fmla="*/ 6 h 29"/>
                <a:gd name="T16" fmla="*/ 20 w 35"/>
                <a:gd name="T17" fmla="*/ 3 h 29"/>
                <a:gd name="T18" fmla="*/ 17 w 35"/>
                <a:gd name="T19" fmla="*/ 0 h 29"/>
                <a:gd name="T20" fmla="*/ 17 w 35"/>
                <a:gd name="T21" fmla="*/ 0 h 29"/>
                <a:gd name="T22" fmla="*/ 20 w 35"/>
                <a:gd name="T23" fmla="*/ 9 h 29"/>
                <a:gd name="T24" fmla="*/ 0 w 35"/>
                <a:gd name="T25" fmla="*/ 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29">
                  <a:moveTo>
                    <a:pt x="0" y="9"/>
                  </a:moveTo>
                  <a:cubicBezTo>
                    <a:pt x="0" y="14"/>
                    <a:pt x="0" y="23"/>
                    <a:pt x="3" y="26"/>
                  </a:cubicBezTo>
                  <a:cubicBezTo>
                    <a:pt x="8" y="20"/>
                    <a:pt x="11" y="14"/>
                    <a:pt x="14" y="9"/>
                  </a:cubicBezTo>
                  <a:cubicBezTo>
                    <a:pt x="17" y="11"/>
                    <a:pt x="20" y="14"/>
                    <a:pt x="20" y="20"/>
                  </a:cubicBezTo>
                  <a:cubicBezTo>
                    <a:pt x="20" y="20"/>
                    <a:pt x="20" y="20"/>
                    <a:pt x="23" y="20"/>
                  </a:cubicBezTo>
                  <a:cubicBezTo>
                    <a:pt x="28" y="20"/>
                    <a:pt x="25" y="28"/>
                    <a:pt x="31" y="28"/>
                  </a:cubicBezTo>
                  <a:cubicBezTo>
                    <a:pt x="31" y="26"/>
                    <a:pt x="31" y="20"/>
                    <a:pt x="34" y="17"/>
                  </a:cubicBezTo>
                  <a:cubicBezTo>
                    <a:pt x="31" y="14"/>
                    <a:pt x="31" y="9"/>
                    <a:pt x="28" y="6"/>
                  </a:cubicBezTo>
                  <a:cubicBezTo>
                    <a:pt x="28" y="6"/>
                    <a:pt x="23" y="3"/>
                    <a:pt x="20" y="3"/>
                  </a:cubicBezTo>
                  <a:lnTo>
                    <a:pt x="17" y="0"/>
                  </a:lnTo>
                  <a:lnTo>
                    <a:pt x="17" y="0"/>
                  </a:lnTo>
                  <a:cubicBezTo>
                    <a:pt x="14" y="3"/>
                    <a:pt x="20" y="6"/>
                    <a:pt x="20" y="9"/>
                  </a:cubicBezTo>
                  <a:cubicBezTo>
                    <a:pt x="14" y="9"/>
                    <a:pt x="8" y="9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37" name="Freeform 464"/>
            <p:cNvSpPr>
              <a:spLocks noChangeArrowheads="1"/>
            </p:cNvSpPr>
            <p:nvPr/>
          </p:nvSpPr>
          <p:spPr bwMode="auto">
            <a:xfrm>
              <a:off x="3956050" y="2386013"/>
              <a:ext cx="12700" cy="19050"/>
            </a:xfrm>
            <a:custGeom>
              <a:avLst/>
              <a:gdLst>
                <a:gd name="T0" fmla="*/ 9 w 35"/>
                <a:gd name="T1" fmla="*/ 51 h 52"/>
                <a:gd name="T2" fmla="*/ 23 w 35"/>
                <a:gd name="T3" fmla="*/ 48 h 52"/>
                <a:gd name="T4" fmla="*/ 23 w 35"/>
                <a:gd name="T5" fmla="*/ 31 h 52"/>
                <a:gd name="T6" fmla="*/ 31 w 35"/>
                <a:gd name="T7" fmla="*/ 36 h 52"/>
                <a:gd name="T8" fmla="*/ 34 w 35"/>
                <a:gd name="T9" fmla="*/ 22 h 52"/>
                <a:gd name="T10" fmla="*/ 29 w 35"/>
                <a:gd name="T11" fmla="*/ 14 h 52"/>
                <a:gd name="T12" fmla="*/ 34 w 35"/>
                <a:gd name="T13" fmla="*/ 0 h 52"/>
                <a:gd name="T14" fmla="*/ 6 w 35"/>
                <a:gd name="T15" fmla="*/ 8 h 52"/>
                <a:gd name="T16" fmla="*/ 3 w 35"/>
                <a:gd name="T17" fmla="*/ 11 h 52"/>
                <a:gd name="T18" fmla="*/ 12 w 35"/>
                <a:gd name="T19" fmla="*/ 20 h 52"/>
                <a:gd name="T20" fmla="*/ 9 w 35"/>
                <a:gd name="T21" fmla="*/ 22 h 52"/>
                <a:gd name="T22" fmla="*/ 14 w 35"/>
                <a:gd name="T23" fmla="*/ 25 h 52"/>
                <a:gd name="T24" fmla="*/ 17 w 35"/>
                <a:gd name="T25" fmla="*/ 34 h 52"/>
                <a:gd name="T26" fmla="*/ 6 w 35"/>
                <a:gd name="T27" fmla="*/ 31 h 52"/>
                <a:gd name="T28" fmla="*/ 0 w 35"/>
                <a:gd name="T29" fmla="*/ 42 h 52"/>
                <a:gd name="T30" fmla="*/ 9 w 35"/>
                <a:gd name="T31" fmla="*/ 5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52">
                  <a:moveTo>
                    <a:pt x="9" y="51"/>
                  </a:moveTo>
                  <a:cubicBezTo>
                    <a:pt x="14" y="51"/>
                    <a:pt x="14" y="45"/>
                    <a:pt x="23" y="48"/>
                  </a:cubicBezTo>
                  <a:cubicBezTo>
                    <a:pt x="23" y="42"/>
                    <a:pt x="17" y="34"/>
                    <a:pt x="23" y="31"/>
                  </a:cubicBezTo>
                  <a:cubicBezTo>
                    <a:pt x="31" y="28"/>
                    <a:pt x="26" y="39"/>
                    <a:pt x="31" y="36"/>
                  </a:cubicBezTo>
                  <a:cubicBezTo>
                    <a:pt x="31" y="31"/>
                    <a:pt x="31" y="28"/>
                    <a:pt x="34" y="22"/>
                  </a:cubicBezTo>
                  <a:cubicBezTo>
                    <a:pt x="31" y="20"/>
                    <a:pt x="31" y="17"/>
                    <a:pt x="29" y="14"/>
                  </a:cubicBezTo>
                  <a:cubicBezTo>
                    <a:pt x="29" y="8"/>
                    <a:pt x="34" y="5"/>
                    <a:pt x="34" y="0"/>
                  </a:cubicBezTo>
                  <a:cubicBezTo>
                    <a:pt x="23" y="3"/>
                    <a:pt x="17" y="11"/>
                    <a:pt x="6" y="8"/>
                  </a:cubicBezTo>
                  <a:lnTo>
                    <a:pt x="3" y="11"/>
                  </a:lnTo>
                  <a:cubicBezTo>
                    <a:pt x="6" y="14"/>
                    <a:pt x="9" y="14"/>
                    <a:pt x="12" y="20"/>
                  </a:cubicBezTo>
                  <a:cubicBezTo>
                    <a:pt x="12" y="20"/>
                    <a:pt x="9" y="20"/>
                    <a:pt x="9" y="22"/>
                  </a:cubicBezTo>
                  <a:cubicBezTo>
                    <a:pt x="9" y="22"/>
                    <a:pt x="14" y="22"/>
                    <a:pt x="14" y="25"/>
                  </a:cubicBezTo>
                  <a:cubicBezTo>
                    <a:pt x="17" y="28"/>
                    <a:pt x="14" y="31"/>
                    <a:pt x="17" y="34"/>
                  </a:cubicBezTo>
                  <a:cubicBezTo>
                    <a:pt x="12" y="34"/>
                    <a:pt x="12" y="31"/>
                    <a:pt x="6" y="31"/>
                  </a:cubicBezTo>
                  <a:cubicBezTo>
                    <a:pt x="6" y="36"/>
                    <a:pt x="3" y="39"/>
                    <a:pt x="0" y="42"/>
                  </a:cubicBezTo>
                  <a:cubicBezTo>
                    <a:pt x="6" y="45"/>
                    <a:pt x="9" y="48"/>
                    <a:pt x="9" y="5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38" name="Freeform 465"/>
            <p:cNvSpPr>
              <a:spLocks noChangeArrowheads="1"/>
            </p:cNvSpPr>
            <p:nvPr/>
          </p:nvSpPr>
          <p:spPr bwMode="auto">
            <a:xfrm>
              <a:off x="3963988" y="2338388"/>
              <a:ext cx="1587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3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39" name="Freeform 466"/>
            <p:cNvSpPr>
              <a:spLocks noChangeArrowheads="1"/>
            </p:cNvSpPr>
            <p:nvPr/>
          </p:nvSpPr>
          <p:spPr bwMode="auto">
            <a:xfrm>
              <a:off x="3946525" y="2932113"/>
              <a:ext cx="6350" cy="4762"/>
            </a:xfrm>
            <a:custGeom>
              <a:avLst/>
              <a:gdLst>
                <a:gd name="T0" fmla="*/ 0 w 18"/>
                <a:gd name="T1" fmla="*/ 3 h 15"/>
                <a:gd name="T2" fmla="*/ 0 w 18"/>
                <a:gd name="T3" fmla="*/ 12 h 15"/>
                <a:gd name="T4" fmla="*/ 14 w 18"/>
                <a:gd name="T5" fmla="*/ 9 h 15"/>
                <a:gd name="T6" fmla="*/ 17 w 18"/>
                <a:gd name="T7" fmla="*/ 6 h 15"/>
                <a:gd name="T8" fmla="*/ 0 w 18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0" y="3"/>
                  </a:moveTo>
                  <a:cubicBezTo>
                    <a:pt x="0" y="6"/>
                    <a:pt x="0" y="9"/>
                    <a:pt x="0" y="12"/>
                  </a:cubicBezTo>
                  <a:cubicBezTo>
                    <a:pt x="6" y="14"/>
                    <a:pt x="11" y="12"/>
                    <a:pt x="14" y="9"/>
                  </a:cubicBezTo>
                  <a:cubicBezTo>
                    <a:pt x="14" y="9"/>
                    <a:pt x="14" y="6"/>
                    <a:pt x="17" y="6"/>
                  </a:cubicBezTo>
                  <a:cubicBezTo>
                    <a:pt x="11" y="0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40" name="Freeform 467"/>
            <p:cNvSpPr>
              <a:spLocks noChangeArrowheads="1"/>
            </p:cNvSpPr>
            <p:nvPr/>
          </p:nvSpPr>
          <p:spPr bwMode="auto">
            <a:xfrm>
              <a:off x="3962400" y="2400300"/>
              <a:ext cx="7938" cy="9525"/>
            </a:xfrm>
            <a:custGeom>
              <a:avLst/>
              <a:gdLst>
                <a:gd name="T0" fmla="*/ 20 w 24"/>
                <a:gd name="T1" fmla="*/ 3 h 27"/>
                <a:gd name="T2" fmla="*/ 3 w 24"/>
                <a:gd name="T3" fmla="*/ 17 h 27"/>
                <a:gd name="T4" fmla="*/ 0 w 24"/>
                <a:gd name="T5" fmla="*/ 20 h 27"/>
                <a:gd name="T6" fmla="*/ 6 w 24"/>
                <a:gd name="T7" fmla="*/ 26 h 27"/>
                <a:gd name="T8" fmla="*/ 20 w 24"/>
                <a:gd name="T9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7">
                  <a:moveTo>
                    <a:pt x="20" y="3"/>
                  </a:moveTo>
                  <a:cubicBezTo>
                    <a:pt x="9" y="0"/>
                    <a:pt x="9" y="11"/>
                    <a:pt x="3" y="17"/>
                  </a:cubicBezTo>
                  <a:lnTo>
                    <a:pt x="0" y="20"/>
                  </a:lnTo>
                  <a:cubicBezTo>
                    <a:pt x="3" y="23"/>
                    <a:pt x="3" y="23"/>
                    <a:pt x="6" y="26"/>
                  </a:cubicBezTo>
                  <a:cubicBezTo>
                    <a:pt x="14" y="20"/>
                    <a:pt x="23" y="14"/>
                    <a:pt x="2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41" name="Freeform 468"/>
            <p:cNvSpPr>
              <a:spLocks noChangeArrowheads="1"/>
            </p:cNvSpPr>
            <p:nvPr/>
          </p:nvSpPr>
          <p:spPr bwMode="auto">
            <a:xfrm>
              <a:off x="3944938" y="2406650"/>
              <a:ext cx="4762" cy="4763"/>
            </a:xfrm>
            <a:custGeom>
              <a:avLst/>
              <a:gdLst>
                <a:gd name="T0" fmla="*/ 6 w 13"/>
                <a:gd name="T1" fmla="*/ 14 h 15"/>
                <a:gd name="T2" fmla="*/ 12 w 13"/>
                <a:gd name="T3" fmla="*/ 12 h 15"/>
                <a:gd name="T4" fmla="*/ 6 w 13"/>
                <a:gd name="T5" fmla="*/ 0 h 15"/>
                <a:gd name="T6" fmla="*/ 0 w 13"/>
                <a:gd name="T7" fmla="*/ 9 h 15"/>
                <a:gd name="T8" fmla="*/ 6 w 13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6" y="14"/>
                  </a:moveTo>
                  <a:cubicBezTo>
                    <a:pt x="9" y="14"/>
                    <a:pt x="12" y="12"/>
                    <a:pt x="12" y="12"/>
                  </a:cubicBezTo>
                  <a:cubicBezTo>
                    <a:pt x="9" y="9"/>
                    <a:pt x="9" y="3"/>
                    <a:pt x="6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3" y="12"/>
                    <a:pt x="3" y="12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42" name="Freeform 469"/>
            <p:cNvSpPr>
              <a:spLocks noChangeArrowheads="1"/>
            </p:cNvSpPr>
            <p:nvPr/>
          </p:nvSpPr>
          <p:spPr bwMode="auto">
            <a:xfrm>
              <a:off x="3965575" y="2355850"/>
              <a:ext cx="3175" cy="3175"/>
            </a:xfrm>
            <a:custGeom>
              <a:avLst/>
              <a:gdLst>
                <a:gd name="T0" fmla="*/ 0 w 9"/>
                <a:gd name="T1" fmla="*/ 0 h 9"/>
                <a:gd name="T2" fmla="*/ 0 w 9"/>
                <a:gd name="T3" fmla="*/ 6 h 9"/>
                <a:gd name="T4" fmla="*/ 0 w 9"/>
                <a:gd name="T5" fmla="*/ 8 h 9"/>
                <a:gd name="T6" fmla="*/ 8 w 9"/>
                <a:gd name="T7" fmla="*/ 3 h 9"/>
                <a:gd name="T8" fmla="*/ 0 w 9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0" y="6"/>
                    <a:pt x="0" y="6"/>
                    <a:pt x="0" y="8"/>
                  </a:cubicBezTo>
                  <a:cubicBezTo>
                    <a:pt x="3" y="8"/>
                    <a:pt x="5" y="6"/>
                    <a:pt x="8" y="3"/>
                  </a:cubicBezTo>
                  <a:cubicBezTo>
                    <a:pt x="5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43" name="Freeform 470"/>
            <p:cNvSpPr>
              <a:spLocks noChangeArrowheads="1"/>
            </p:cNvSpPr>
            <p:nvPr/>
          </p:nvSpPr>
          <p:spPr bwMode="auto">
            <a:xfrm>
              <a:off x="3944938" y="2724150"/>
              <a:ext cx="3175" cy="3175"/>
            </a:xfrm>
            <a:custGeom>
              <a:avLst/>
              <a:gdLst>
                <a:gd name="T0" fmla="*/ 0 w 7"/>
                <a:gd name="T1" fmla="*/ 6 h 7"/>
                <a:gd name="T2" fmla="*/ 6 w 7"/>
                <a:gd name="T3" fmla="*/ 3 h 7"/>
                <a:gd name="T4" fmla="*/ 6 w 7"/>
                <a:gd name="T5" fmla="*/ 0 h 7"/>
                <a:gd name="T6" fmla="*/ 0 w 7"/>
                <a:gd name="T7" fmla="*/ 0 h 7"/>
                <a:gd name="T8" fmla="*/ 0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6"/>
                  </a:moveTo>
                  <a:cubicBezTo>
                    <a:pt x="3" y="6"/>
                    <a:pt x="3" y="6"/>
                    <a:pt x="6" y="3"/>
                  </a:cubicBez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44" name="Freeform 471"/>
            <p:cNvSpPr>
              <a:spLocks noChangeArrowheads="1"/>
            </p:cNvSpPr>
            <p:nvPr/>
          </p:nvSpPr>
          <p:spPr bwMode="auto">
            <a:xfrm>
              <a:off x="3944938" y="2687638"/>
              <a:ext cx="4762" cy="4762"/>
            </a:xfrm>
            <a:custGeom>
              <a:avLst/>
              <a:gdLst>
                <a:gd name="T0" fmla="*/ 6 w 12"/>
                <a:gd name="T1" fmla="*/ 0 h 13"/>
                <a:gd name="T2" fmla="*/ 0 w 12"/>
                <a:gd name="T3" fmla="*/ 9 h 13"/>
                <a:gd name="T4" fmla="*/ 6 w 12"/>
                <a:gd name="T5" fmla="*/ 12 h 13"/>
                <a:gd name="T6" fmla="*/ 9 w 12"/>
                <a:gd name="T7" fmla="*/ 6 h 13"/>
                <a:gd name="T8" fmla="*/ 6 w 12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6" y="0"/>
                  </a:moveTo>
                  <a:cubicBezTo>
                    <a:pt x="3" y="3"/>
                    <a:pt x="3" y="6"/>
                    <a:pt x="0" y="9"/>
                  </a:cubicBezTo>
                  <a:cubicBezTo>
                    <a:pt x="3" y="9"/>
                    <a:pt x="3" y="9"/>
                    <a:pt x="6" y="12"/>
                  </a:cubicBezTo>
                  <a:cubicBezTo>
                    <a:pt x="9" y="12"/>
                    <a:pt x="9" y="9"/>
                    <a:pt x="9" y="6"/>
                  </a:cubicBezTo>
                  <a:cubicBezTo>
                    <a:pt x="11" y="6"/>
                    <a:pt x="9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45" name="Freeform 472"/>
            <p:cNvSpPr>
              <a:spLocks noChangeArrowheads="1"/>
            </p:cNvSpPr>
            <p:nvPr/>
          </p:nvSpPr>
          <p:spPr bwMode="auto">
            <a:xfrm>
              <a:off x="3952875" y="2366963"/>
              <a:ext cx="9525" cy="7937"/>
            </a:xfrm>
            <a:custGeom>
              <a:avLst/>
              <a:gdLst>
                <a:gd name="T0" fmla="*/ 0 w 26"/>
                <a:gd name="T1" fmla="*/ 20 h 24"/>
                <a:gd name="T2" fmla="*/ 14 w 26"/>
                <a:gd name="T3" fmla="*/ 23 h 24"/>
                <a:gd name="T4" fmla="*/ 25 w 26"/>
                <a:gd name="T5" fmla="*/ 11 h 24"/>
                <a:gd name="T6" fmla="*/ 17 w 26"/>
                <a:gd name="T7" fmla="*/ 0 h 24"/>
                <a:gd name="T8" fmla="*/ 0 w 26"/>
                <a:gd name="T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4">
                  <a:moveTo>
                    <a:pt x="0" y="20"/>
                  </a:moveTo>
                  <a:cubicBezTo>
                    <a:pt x="3" y="23"/>
                    <a:pt x="11" y="20"/>
                    <a:pt x="14" y="23"/>
                  </a:cubicBezTo>
                  <a:cubicBezTo>
                    <a:pt x="17" y="17"/>
                    <a:pt x="20" y="14"/>
                    <a:pt x="25" y="11"/>
                  </a:cubicBezTo>
                  <a:cubicBezTo>
                    <a:pt x="25" y="6"/>
                    <a:pt x="22" y="3"/>
                    <a:pt x="17" y="0"/>
                  </a:cubicBezTo>
                  <a:cubicBezTo>
                    <a:pt x="8" y="6"/>
                    <a:pt x="6" y="14"/>
                    <a:pt x="0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46" name="Freeform 473"/>
            <p:cNvSpPr>
              <a:spLocks noChangeArrowheads="1"/>
            </p:cNvSpPr>
            <p:nvPr/>
          </p:nvSpPr>
          <p:spPr bwMode="auto">
            <a:xfrm>
              <a:off x="3948113" y="2352675"/>
              <a:ext cx="6350" cy="4763"/>
            </a:xfrm>
            <a:custGeom>
              <a:avLst/>
              <a:gdLst>
                <a:gd name="T0" fmla="*/ 0 w 18"/>
                <a:gd name="T1" fmla="*/ 8 h 12"/>
                <a:gd name="T2" fmla="*/ 11 w 18"/>
                <a:gd name="T3" fmla="*/ 11 h 12"/>
                <a:gd name="T4" fmla="*/ 14 w 18"/>
                <a:gd name="T5" fmla="*/ 0 h 12"/>
                <a:gd name="T6" fmla="*/ 0 w 18"/>
                <a:gd name="T7" fmla="*/ 0 h 12"/>
                <a:gd name="T8" fmla="*/ 0 w 18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0" y="8"/>
                  </a:moveTo>
                  <a:cubicBezTo>
                    <a:pt x="2" y="11"/>
                    <a:pt x="8" y="11"/>
                    <a:pt x="11" y="11"/>
                  </a:cubicBezTo>
                  <a:cubicBezTo>
                    <a:pt x="11" y="5"/>
                    <a:pt x="17" y="5"/>
                    <a:pt x="14" y="0"/>
                  </a:cubicBez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47" name="Freeform 474"/>
            <p:cNvSpPr>
              <a:spLocks noChangeArrowheads="1"/>
            </p:cNvSpPr>
            <p:nvPr/>
          </p:nvSpPr>
          <p:spPr bwMode="auto">
            <a:xfrm>
              <a:off x="3948113" y="2752725"/>
              <a:ext cx="1587" cy="1588"/>
            </a:xfrm>
            <a:custGeom>
              <a:avLst/>
              <a:gdLst>
                <a:gd name="T0" fmla="*/ 5 w 6"/>
                <a:gd name="T1" fmla="*/ 0 h 4"/>
                <a:gd name="T2" fmla="*/ 0 w 6"/>
                <a:gd name="T3" fmla="*/ 0 h 4"/>
                <a:gd name="T4" fmla="*/ 0 w 6"/>
                <a:gd name="T5" fmla="*/ 3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2" y="0"/>
                    <a:pt x="2" y="0"/>
                    <a:pt x="0" y="0"/>
                  </a:cubicBezTo>
                  <a:lnTo>
                    <a:pt x="0" y="3"/>
                  </a:lnTo>
                  <a:cubicBezTo>
                    <a:pt x="2" y="3"/>
                    <a:pt x="2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48" name="Freeform 475"/>
            <p:cNvSpPr>
              <a:spLocks noChangeArrowheads="1"/>
            </p:cNvSpPr>
            <p:nvPr/>
          </p:nvSpPr>
          <p:spPr bwMode="auto">
            <a:xfrm>
              <a:off x="3948113" y="2357438"/>
              <a:ext cx="4762" cy="4762"/>
            </a:xfrm>
            <a:custGeom>
              <a:avLst/>
              <a:gdLst>
                <a:gd name="T0" fmla="*/ 0 w 12"/>
                <a:gd name="T1" fmla="*/ 5 h 15"/>
                <a:gd name="T2" fmla="*/ 11 w 12"/>
                <a:gd name="T3" fmla="*/ 11 h 15"/>
                <a:gd name="T4" fmla="*/ 0 w 12"/>
                <a:gd name="T5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0" y="5"/>
                  </a:moveTo>
                  <a:cubicBezTo>
                    <a:pt x="5" y="5"/>
                    <a:pt x="3" y="14"/>
                    <a:pt x="11" y="11"/>
                  </a:cubicBezTo>
                  <a:cubicBezTo>
                    <a:pt x="11" y="5"/>
                    <a:pt x="0" y="0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49" name="Freeform 476"/>
            <p:cNvSpPr>
              <a:spLocks noChangeArrowheads="1"/>
            </p:cNvSpPr>
            <p:nvPr/>
          </p:nvSpPr>
          <p:spPr bwMode="auto">
            <a:xfrm>
              <a:off x="3759200" y="2627313"/>
              <a:ext cx="4763" cy="4762"/>
            </a:xfrm>
            <a:custGeom>
              <a:avLst/>
              <a:gdLst>
                <a:gd name="T0" fmla="*/ 0 w 12"/>
                <a:gd name="T1" fmla="*/ 11 h 12"/>
                <a:gd name="T2" fmla="*/ 0 w 12"/>
                <a:gd name="T3" fmla="*/ 9 h 12"/>
                <a:gd name="T4" fmla="*/ 0 w 12"/>
                <a:gd name="T5" fmla="*/ 11 h 12"/>
                <a:gd name="T6" fmla="*/ 6 w 12"/>
                <a:gd name="T7" fmla="*/ 9 h 12"/>
                <a:gd name="T8" fmla="*/ 3 w 12"/>
                <a:gd name="T9" fmla="*/ 11 h 12"/>
                <a:gd name="T10" fmla="*/ 11 w 12"/>
                <a:gd name="T11" fmla="*/ 11 h 12"/>
                <a:gd name="T12" fmla="*/ 11 w 12"/>
                <a:gd name="T13" fmla="*/ 6 h 12"/>
                <a:gd name="T14" fmla="*/ 8 w 12"/>
                <a:gd name="T15" fmla="*/ 3 h 12"/>
                <a:gd name="T16" fmla="*/ 0 w 12"/>
                <a:gd name="T17" fmla="*/ 9 h 12"/>
                <a:gd name="T18" fmla="*/ 6 w 12"/>
                <a:gd name="T1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0" y="11"/>
                  </a:moveTo>
                  <a:cubicBezTo>
                    <a:pt x="0" y="11"/>
                    <a:pt x="0" y="10"/>
                    <a:pt x="0" y="9"/>
                  </a:cubicBezTo>
                  <a:cubicBezTo>
                    <a:pt x="0" y="10"/>
                    <a:pt x="0" y="11"/>
                    <a:pt x="0" y="11"/>
                  </a:cubicBezTo>
                  <a:close/>
                  <a:moveTo>
                    <a:pt x="6" y="9"/>
                  </a:moveTo>
                  <a:lnTo>
                    <a:pt x="3" y="11"/>
                  </a:lnTo>
                  <a:lnTo>
                    <a:pt x="11" y="11"/>
                  </a:lnTo>
                  <a:lnTo>
                    <a:pt x="11" y="6"/>
                  </a:lnTo>
                  <a:lnTo>
                    <a:pt x="8" y="3"/>
                  </a:lnTo>
                  <a:cubicBezTo>
                    <a:pt x="6" y="0"/>
                    <a:pt x="1" y="2"/>
                    <a:pt x="0" y="9"/>
                  </a:cubicBezTo>
                  <a:cubicBezTo>
                    <a:pt x="1" y="7"/>
                    <a:pt x="2" y="7"/>
                    <a:pt x="6" y="9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50" name="Freeform 477"/>
            <p:cNvSpPr>
              <a:spLocks noChangeArrowheads="1"/>
            </p:cNvSpPr>
            <p:nvPr/>
          </p:nvSpPr>
          <p:spPr bwMode="auto">
            <a:xfrm>
              <a:off x="3756025" y="2757488"/>
              <a:ext cx="4763" cy="4762"/>
            </a:xfrm>
            <a:custGeom>
              <a:avLst/>
              <a:gdLst>
                <a:gd name="T0" fmla="*/ 2 w 12"/>
                <a:gd name="T1" fmla="*/ 11 h 12"/>
                <a:gd name="T2" fmla="*/ 11 w 12"/>
                <a:gd name="T3" fmla="*/ 11 h 12"/>
                <a:gd name="T4" fmla="*/ 11 w 12"/>
                <a:gd name="T5" fmla="*/ 3 h 12"/>
                <a:gd name="T6" fmla="*/ 2 w 12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2" y="11"/>
                  </a:moveTo>
                  <a:cubicBezTo>
                    <a:pt x="5" y="11"/>
                    <a:pt x="8" y="11"/>
                    <a:pt x="11" y="11"/>
                  </a:cubicBezTo>
                  <a:cubicBezTo>
                    <a:pt x="11" y="9"/>
                    <a:pt x="11" y="6"/>
                    <a:pt x="11" y="3"/>
                  </a:cubicBezTo>
                  <a:cubicBezTo>
                    <a:pt x="5" y="0"/>
                    <a:pt x="0" y="3"/>
                    <a:pt x="2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51" name="Freeform 478"/>
            <p:cNvSpPr>
              <a:spLocks noChangeArrowheads="1"/>
            </p:cNvSpPr>
            <p:nvPr/>
          </p:nvSpPr>
          <p:spPr bwMode="auto">
            <a:xfrm>
              <a:off x="3703638" y="2319338"/>
              <a:ext cx="1587" cy="3175"/>
            </a:xfrm>
            <a:custGeom>
              <a:avLst/>
              <a:gdLst>
                <a:gd name="T0" fmla="*/ 0 w 4"/>
                <a:gd name="T1" fmla="*/ 0 h 7"/>
                <a:gd name="T2" fmla="*/ 0 w 4"/>
                <a:gd name="T3" fmla="*/ 6 h 7"/>
                <a:gd name="T4" fmla="*/ 0 w 4"/>
                <a:gd name="T5" fmla="*/ 6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lnTo>
                    <a:pt x="0" y="6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52" name="Freeform 479"/>
            <p:cNvSpPr>
              <a:spLocks noChangeArrowheads="1"/>
            </p:cNvSpPr>
            <p:nvPr/>
          </p:nvSpPr>
          <p:spPr bwMode="auto">
            <a:xfrm>
              <a:off x="3759200" y="2900363"/>
              <a:ext cx="4763" cy="4762"/>
            </a:xfrm>
            <a:custGeom>
              <a:avLst/>
              <a:gdLst>
                <a:gd name="T0" fmla="*/ 11 w 12"/>
                <a:gd name="T1" fmla="*/ 3 h 12"/>
                <a:gd name="T2" fmla="*/ 0 w 12"/>
                <a:gd name="T3" fmla="*/ 0 h 12"/>
                <a:gd name="T4" fmla="*/ 11 w 12"/>
                <a:gd name="T5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11" y="3"/>
                  </a:moveTo>
                  <a:cubicBezTo>
                    <a:pt x="6" y="3"/>
                    <a:pt x="6" y="0"/>
                    <a:pt x="0" y="0"/>
                  </a:cubicBezTo>
                  <a:cubicBezTo>
                    <a:pt x="0" y="8"/>
                    <a:pt x="11" y="11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53" name="Freeform 480"/>
            <p:cNvSpPr>
              <a:spLocks noChangeArrowheads="1"/>
            </p:cNvSpPr>
            <p:nvPr/>
          </p:nvSpPr>
          <p:spPr bwMode="auto">
            <a:xfrm>
              <a:off x="3759200" y="2892425"/>
              <a:ext cx="3175" cy="3175"/>
            </a:xfrm>
            <a:custGeom>
              <a:avLst/>
              <a:gdLst>
                <a:gd name="T0" fmla="*/ 5 w 9"/>
                <a:gd name="T1" fmla="*/ 9 h 10"/>
                <a:gd name="T2" fmla="*/ 3 w 9"/>
                <a:gd name="T3" fmla="*/ 0 h 10"/>
                <a:gd name="T4" fmla="*/ 5 w 9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5" y="9"/>
                  </a:moveTo>
                  <a:cubicBezTo>
                    <a:pt x="8" y="6"/>
                    <a:pt x="8" y="0"/>
                    <a:pt x="3" y="0"/>
                  </a:cubicBezTo>
                  <a:cubicBezTo>
                    <a:pt x="0" y="3"/>
                    <a:pt x="0" y="9"/>
                    <a:pt x="5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54" name="Freeform 481"/>
            <p:cNvSpPr>
              <a:spLocks noChangeArrowheads="1"/>
            </p:cNvSpPr>
            <p:nvPr/>
          </p:nvSpPr>
          <p:spPr bwMode="auto">
            <a:xfrm>
              <a:off x="3756025" y="2887663"/>
              <a:ext cx="4763" cy="4762"/>
            </a:xfrm>
            <a:custGeom>
              <a:avLst/>
              <a:gdLst>
                <a:gd name="T0" fmla="*/ 0 w 12"/>
                <a:gd name="T1" fmla="*/ 11 h 15"/>
                <a:gd name="T2" fmla="*/ 11 w 12"/>
                <a:gd name="T3" fmla="*/ 11 h 15"/>
                <a:gd name="T4" fmla="*/ 11 w 12"/>
                <a:gd name="T5" fmla="*/ 3 h 15"/>
                <a:gd name="T6" fmla="*/ 8 w 12"/>
                <a:gd name="T7" fmla="*/ 0 h 15"/>
                <a:gd name="T8" fmla="*/ 0 w 12"/>
                <a:gd name="T9" fmla="*/ 6 h 15"/>
                <a:gd name="T10" fmla="*/ 0 w 12"/>
                <a:gd name="T11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5">
                  <a:moveTo>
                    <a:pt x="0" y="11"/>
                  </a:moveTo>
                  <a:cubicBezTo>
                    <a:pt x="2" y="11"/>
                    <a:pt x="5" y="14"/>
                    <a:pt x="11" y="11"/>
                  </a:cubicBezTo>
                  <a:cubicBezTo>
                    <a:pt x="8" y="9"/>
                    <a:pt x="11" y="6"/>
                    <a:pt x="11" y="3"/>
                  </a:cubicBezTo>
                  <a:lnTo>
                    <a:pt x="8" y="0"/>
                  </a:lnTo>
                  <a:cubicBezTo>
                    <a:pt x="8" y="3"/>
                    <a:pt x="5" y="6"/>
                    <a:pt x="0" y="6"/>
                  </a:cubicBezTo>
                  <a:cubicBezTo>
                    <a:pt x="0" y="9"/>
                    <a:pt x="0" y="9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55" name="Freeform 482"/>
            <p:cNvSpPr>
              <a:spLocks noChangeArrowheads="1"/>
            </p:cNvSpPr>
            <p:nvPr/>
          </p:nvSpPr>
          <p:spPr bwMode="auto">
            <a:xfrm>
              <a:off x="3762375" y="2863850"/>
              <a:ext cx="1588" cy="1588"/>
            </a:xfrm>
            <a:custGeom>
              <a:avLst/>
              <a:gdLst>
                <a:gd name="T0" fmla="*/ 0 w 4"/>
                <a:gd name="T1" fmla="*/ 3 h 4"/>
                <a:gd name="T2" fmla="*/ 3 w 4"/>
                <a:gd name="T3" fmla="*/ 0 h 4"/>
                <a:gd name="T4" fmla="*/ 0 w 4"/>
                <a:gd name="T5" fmla="*/ 0 h 4"/>
                <a:gd name="T6" fmla="*/ 0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3"/>
                    <a:pt x="0" y="0"/>
                    <a:pt x="3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56" name="Freeform 483"/>
            <p:cNvSpPr>
              <a:spLocks noChangeArrowheads="1"/>
            </p:cNvSpPr>
            <p:nvPr/>
          </p:nvSpPr>
          <p:spPr bwMode="auto">
            <a:xfrm>
              <a:off x="3756025" y="2728913"/>
              <a:ext cx="3175" cy="3175"/>
            </a:xfrm>
            <a:custGeom>
              <a:avLst/>
              <a:gdLst>
                <a:gd name="T0" fmla="*/ 0 w 10"/>
                <a:gd name="T1" fmla="*/ 0 h 10"/>
                <a:gd name="T2" fmla="*/ 0 w 10"/>
                <a:gd name="T3" fmla="*/ 0 h 10"/>
                <a:gd name="T4" fmla="*/ 3 w 10"/>
                <a:gd name="T5" fmla="*/ 6 h 10"/>
                <a:gd name="T6" fmla="*/ 3 w 10"/>
                <a:gd name="T7" fmla="*/ 9 h 10"/>
                <a:gd name="T8" fmla="*/ 6 w 10"/>
                <a:gd name="T9" fmla="*/ 9 h 10"/>
                <a:gd name="T10" fmla="*/ 9 w 10"/>
                <a:gd name="T11" fmla="*/ 6 h 10"/>
                <a:gd name="T12" fmla="*/ 0 w 10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0" y="0"/>
                  </a:moveTo>
                  <a:lnTo>
                    <a:pt x="0" y="0"/>
                  </a:lnTo>
                  <a:cubicBezTo>
                    <a:pt x="0" y="3"/>
                    <a:pt x="3" y="3"/>
                    <a:pt x="3" y="6"/>
                  </a:cubicBezTo>
                  <a:cubicBezTo>
                    <a:pt x="3" y="6"/>
                    <a:pt x="3" y="6"/>
                    <a:pt x="3" y="9"/>
                  </a:cubicBezTo>
                  <a:cubicBezTo>
                    <a:pt x="3" y="9"/>
                    <a:pt x="3" y="9"/>
                    <a:pt x="6" y="9"/>
                  </a:cubicBezTo>
                  <a:cubicBezTo>
                    <a:pt x="6" y="6"/>
                    <a:pt x="6" y="6"/>
                    <a:pt x="9" y="6"/>
                  </a:cubicBezTo>
                  <a:cubicBezTo>
                    <a:pt x="6" y="3"/>
                    <a:pt x="6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57" name="Freeform 484"/>
            <p:cNvSpPr>
              <a:spLocks noChangeArrowheads="1"/>
            </p:cNvSpPr>
            <p:nvPr/>
          </p:nvSpPr>
          <p:spPr bwMode="auto">
            <a:xfrm>
              <a:off x="3759200" y="2228850"/>
              <a:ext cx="3175" cy="4763"/>
            </a:xfrm>
            <a:custGeom>
              <a:avLst/>
              <a:gdLst>
                <a:gd name="T0" fmla="*/ 6 w 7"/>
                <a:gd name="T1" fmla="*/ 0 h 12"/>
                <a:gd name="T2" fmla="*/ 3 w 7"/>
                <a:gd name="T3" fmla="*/ 0 h 12"/>
                <a:gd name="T4" fmla="*/ 0 w 7"/>
                <a:gd name="T5" fmla="*/ 2 h 12"/>
                <a:gd name="T6" fmla="*/ 6 w 7"/>
                <a:gd name="T7" fmla="*/ 11 h 12"/>
                <a:gd name="T8" fmla="*/ 6 w 7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2">
                  <a:moveTo>
                    <a:pt x="6" y="0"/>
                  </a:moveTo>
                  <a:lnTo>
                    <a:pt x="3" y="0"/>
                  </a:lnTo>
                  <a:cubicBezTo>
                    <a:pt x="3" y="2"/>
                    <a:pt x="3" y="2"/>
                    <a:pt x="0" y="2"/>
                  </a:cubicBezTo>
                  <a:cubicBezTo>
                    <a:pt x="0" y="5"/>
                    <a:pt x="3" y="8"/>
                    <a:pt x="6" y="11"/>
                  </a:cubicBezTo>
                  <a:cubicBezTo>
                    <a:pt x="6" y="5"/>
                    <a:pt x="6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58" name="Freeform 485"/>
            <p:cNvSpPr>
              <a:spLocks noChangeArrowheads="1"/>
            </p:cNvSpPr>
            <p:nvPr/>
          </p:nvSpPr>
          <p:spPr bwMode="auto">
            <a:xfrm>
              <a:off x="3751263" y="2619375"/>
              <a:ext cx="11112" cy="12700"/>
            </a:xfrm>
            <a:custGeom>
              <a:avLst/>
              <a:gdLst>
                <a:gd name="T0" fmla="*/ 20 w 29"/>
                <a:gd name="T1" fmla="*/ 36 h 37"/>
                <a:gd name="T2" fmla="*/ 9 w 29"/>
                <a:gd name="T3" fmla="*/ 0 h 37"/>
                <a:gd name="T4" fmla="*/ 20 w 29"/>
                <a:gd name="T5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37">
                  <a:moveTo>
                    <a:pt x="20" y="36"/>
                  </a:moveTo>
                  <a:cubicBezTo>
                    <a:pt x="14" y="25"/>
                    <a:pt x="28" y="0"/>
                    <a:pt x="9" y="0"/>
                  </a:cubicBezTo>
                  <a:cubicBezTo>
                    <a:pt x="0" y="14"/>
                    <a:pt x="3" y="36"/>
                    <a:pt x="20" y="3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59" name="Freeform 486"/>
            <p:cNvSpPr>
              <a:spLocks noChangeArrowheads="1"/>
            </p:cNvSpPr>
            <p:nvPr/>
          </p:nvSpPr>
          <p:spPr bwMode="auto">
            <a:xfrm>
              <a:off x="3706813" y="2543175"/>
              <a:ext cx="9525" cy="11113"/>
            </a:xfrm>
            <a:custGeom>
              <a:avLst/>
              <a:gdLst>
                <a:gd name="T0" fmla="*/ 14 w 26"/>
                <a:gd name="T1" fmla="*/ 0 h 29"/>
                <a:gd name="T2" fmla="*/ 6 w 26"/>
                <a:gd name="T3" fmla="*/ 6 h 29"/>
                <a:gd name="T4" fmla="*/ 0 w 26"/>
                <a:gd name="T5" fmla="*/ 20 h 29"/>
                <a:gd name="T6" fmla="*/ 11 w 26"/>
                <a:gd name="T7" fmla="*/ 25 h 29"/>
                <a:gd name="T8" fmla="*/ 23 w 26"/>
                <a:gd name="T9" fmla="*/ 20 h 29"/>
                <a:gd name="T10" fmla="*/ 25 w 26"/>
                <a:gd name="T11" fmla="*/ 9 h 29"/>
                <a:gd name="T12" fmla="*/ 25 w 26"/>
                <a:gd name="T13" fmla="*/ 9 h 29"/>
                <a:gd name="T14" fmla="*/ 14 w 26"/>
                <a:gd name="T1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9">
                  <a:moveTo>
                    <a:pt x="14" y="0"/>
                  </a:moveTo>
                  <a:cubicBezTo>
                    <a:pt x="11" y="3"/>
                    <a:pt x="9" y="6"/>
                    <a:pt x="6" y="6"/>
                  </a:cubicBezTo>
                  <a:cubicBezTo>
                    <a:pt x="6" y="11"/>
                    <a:pt x="3" y="14"/>
                    <a:pt x="0" y="20"/>
                  </a:cubicBezTo>
                  <a:cubicBezTo>
                    <a:pt x="6" y="23"/>
                    <a:pt x="3" y="28"/>
                    <a:pt x="11" y="25"/>
                  </a:cubicBezTo>
                  <a:cubicBezTo>
                    <a:pt x="14" y="23"/>
                    <a:pt x="17" y="20"/>
                    <a:pt x="23" y="20"/>
                  </a:cubicBezTo>
                  <a:cubicBezTo>
                    <a:pt x="23" y="17"/>
                    <a:pt x="23" y="14"/>
                    <a:pt x="25" y="9"/>
                  </a:cubicBezTo>
                  <a:lnTo>
                    <a:pt x="25" y="9"/>
                  </a:lnTo>
                  <a:cubicBezTo>
                    <a:pt x="20" y="6"/>
                    <a:pt x="20" y="3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60" name="Freeform 487"/>
            <p:cNvSpPr>
              <a:spLocks noChangeArrowheads="1"/>
            </p:cNvSpPr>
            <p:nvPr/>
          </p:nvSpPr>
          <p:spPr bwMode="auto">
            <a:xfrm>
              <a:off x="3716338" y="2562225"/>
              <a:ext cx="11112" cy="4763"/>
            </a:xfrm>
            <a:custGeom>
              <a:avLst/>
              <a:gdLst>
                <a:gd name="T0" fmla="*/ 20 w 30"/>
                <a:gd name="T1" fmla="*/ 8 h 15"/>
                <a:gd name="T2" fmla="*/ 12 w 30"/>
                <a:gd name="T3" fmla="*/ 0 h 15"/>
                <a:gd name="T4" fmla="*/ 3 w 30"/>
                <a:gd name="T5" fmla="*/ 8 h 15"/>
                <a:gd name="T6" fmla="*/ 15 w 30"/>
                <a:gd name="T7" fmla="*/ 8 h 15"/>
                <a:gd name="T8" fmla="*/ 15 w 30"/>
                <a:gd name="T9" fmla="*/ 8 h 15"/>
                <a:gd name="T10" fmla="*/ 20 w 30"/>
                <a:gd name="T11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5">
                  <a:moveTo>
                    <a:pt x="20" y="8"/>
                  </a:moveTo>
                  <a:cubicBezTo>
                    <a:pt x="15" y="11"/>
                    <a:pt x="15" y="2"/>
                    <a:pt x="12" y="0"/>
                  </a:cubicBezTo>
                  <a:cubicBezTo>
                    <a:pt x="6" y="0"/>
                    <a:pt x="0" y="0"/>
                    <a:pt x="3" y="8"/>
                  </a:cubicBezTo>
                  <a:cubicBezTo>
                    <a:pt x="6" y="11"/>
                    <a:pt x="12" y="11"/>
                    <a:pt x="15" y="8"/>
                  </a:cubicBezTo>
                  <a:lnTo>
                    <a:pt x="15" y="8"/>
                  </a:lnTo>
                  <a:cubicBezTo>
                    <a:pt x="12" y="14"/>
                    <a:pt x="29" y="8"/>
                    <a:pt x="2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61" name="Freeform 488"/>
            <p:cNvSpPr>
              <a:spLocks noChangeArrowheads="1"/>
            </p:cNvSpPr>
            <p:nvPr/>
          </p:nvSpPr>
          <p:spPr bwMode="auto">
            <a:xfrm>
              <a:off x="3716338" y="2587625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3 h 7"/>
                <a:gd name="T4" fmla="*/ 0 w 10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cubicBezTo>
                    <a:pt x="3" y="6"/>
                    <a:pt x="6" y="3"/>
                    <a:pt x="9" y="3"/>
                  </a:cubicBezTo>
                  <a:cubicBezTo>
                    <a:pt x="3" y="3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62" name="Freeform 489"/>
            <p:cNvSpPr>
              <a:spLocks noChangeArrowheads="1"/>
            </p:cNvSpPr>
            <p:nvPr/>
          </p:nvSpPr>
          <p:spPr bwMode="auto">
            <a:xfrm>
              <a:off x="3725863" y="2884488"/>
              <a:ext cx="4762" cy="4762"/>
            </a:xfrm>
            <a:custGeom>
              <a:avLst/>
              <a:gdLst>
                <a:gd name="T0" fmla="*/ 8 w 15"/>
                <a:gd name="T1" fmla="*/ 5 h 12"/>
                <a:gd name="T2" fmla="*/ 8 w 15"/>
                <a:gd name="T3" fmla="*/ 0 h 12"/>
                <a:gd name="T4" fmla="*/ 0 w 15"/>
                <a:gd name="T5" fmla="*/ 8 h 12"/>
                <a:gd name="T6" fmla="*/ 11 w 15"/>
                <a:gd name="T7" fmla="*/ 11 h 12"/>
                <a:gd name="T8" fmla="*/ 14 w 15"/>
                <a:gd name="T9" fmla="*/ 0 h 12"/>
                <a:gd name="T10" fmla="*/ 11 w 15"/>
                <a:gd name="T11" fmla="*/ 0 h 12"/>
                <a:gd name="T12" fmla="*/ 8 w 15"/>
                <a:gd name="T1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2">
                  <a:moveTo>
                    <a:pt x="8" y="5"/>
                  </a:moveTo>
                  <a:cubicBezTo>
                    <a:pt x="8" y="2"/>
                    <a:pt x="8" y="2"/>
                    <a:pt x="8" y="0"/>
                  </a:cubicBezTo>
                  <a:cubicBezTo>
                    <a:pt x="2" y="0"/>
                    <a:pt x="0" y="2"/>
                    <a:pt x="0" y="8"/>
                  </a:cubicBezTo>
                  <a:cubicBezTo>
                    <a:pt x="2" y="11"/>
                    <a:pt x="5" y="11"/>
                    <a:pt x="11" y="11"/>
                  </a:cubicBezTo>
                  <a:cubicBezTo>
                    <a:pt x="11" y="8"/>
                    <a:pt x="11" y="2"/>
                    <a:pt x="14" y="0"/>
                  </a:cubicBezTo>
                  <a:cubicBezTo>
                    <a:pt x="14" y="0"/>
                    <a:pt x="14" y="0"/>
                    <a:pt x="11" y="0"/>
                  </a:cubicBezTo>
                  <a:cubicBezTo>
                    <a:pt x="11" y="2"/>
                    <a:pt x="11" y="2"/>
                    <a:pt x="8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63" name="Freeform 490"/>
            <p:cNvSpPr>
              <a:spLocks noChangeArrowheads="1"/>
            </p:cNvSpPr>
            <p:nvPr/>
          </p:nvSpPr>
          <p:spPr bwMode="auto">
            <a:xfrm>
              <a:off x="3724275" y="2535238"/>
              <a:ext cx="3175" cy="4762"/>
            </a:xfrm>
            <a:custGeom>
              <a:avLst/>
              <a:gdLst>
                <a:gd name="T0" fmla="*/ 6 w 9"/>
                <a:gd name="T1" fmla="*/ 0 h 13"/>
                <a:gd name="T2" fmla="*/ 6 w 9"/>
                <a:gd name="T3" fmla="*/ 0 h 13"/>
                <a:gd name="T4" fmla="*/ 0 w 9"/>
                <a:gd name="T5" fmla="*/ 12 h 13"/>
                <a:gd name="T6" fmla="*/ 6 w 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6" y="0"/>
                  </a:moveTo>
                  <a:lnTo>
                    <a:pt x="6" y="0"/>
                  </a:lnTo>
                  <a:cubicBezTo>
                    <a:pt x="3" y="3"/>
                    <a:pt x="3" y="9"/>
                    <a:pt x="0" y="12"/>
                  </a:cubicBezTo>
                  <a:cubicBezTo>
                    <a:pt x="6" y="12"/>
                    <a:pt x="8" y="9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64" name="Freeform 491"/>
            <p:cNvSpPr>
              <a:spLocks noChangeArrowheads="1"/>
            </p:cNvSpPr>
            <p:nvPr/>
          </p:nvSpPr>
          <p:spPr bwMode="auto">
            <a:xfrm>
              <a:off x="3706813" y="2625725"/>
              <a:ext cx="1587" cy="1588"/>
            </a:xfrm>
            <a:custGeom>
              <a:avLst/>
              <a:gdLst>
                <a:gd name="T0" fmla="*/ 3 w 4"/>
                <a:gd name="T1" fmla="*/ 5 h 6"/>
                <a:gd name="T2" fmla="*/ 3 w 4"/>
                <a:gd name="T3" fmla="*/ 0 h 6"/>
                <a:gd name="T4" fmla="*/ 0 w 4"/>
                <a:gd name="T5" fmla="*/ 0 h 6"/>
                <a:gd name="T6" fmla="*/ 3 w 4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5"/>
                  </a:moveTo>
                  <a:lnTo>
                    <a:pt x="3" y="0"/>
                  </a:lnTo>
                  <a:lnTo>
                    <a:pt x="0" y="0"/>
                  </a:lnTo>
                  <a:cubicBezTo>
                    <a:pt x="3" y="0"/>
                    <a:pt x="3" y="2"/>
                    <a:pt x="3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65" name="Freeform 492"/>
            <p:cNvSpPr>
              <a:spLocks noChangeArrowheads="1"/>
            </p:cNvSpPr>
            <p:nvPr/>
          </p:nvSpPr>
          <p:spPr bwMode="auto">
            <a:xfrm>
              <a:off x="3705225" y="2673350"/>
              <a:ext cx="3175" cy="4763"/>
            </a:xfrm>
            <a:custGeom>
              <a:avLst/>
              <a:gdLst>
                <a:gd name="T0" fmla="*/ 0 w 7"/>
                <a:gd name="T1" fmla="*/ 3 h 15"/>
                <a:gd name="T2" fmla="*/ 3 w 7"/>
                <a:gd name="T3" fmla="*/ 14 h 15"/>
                <a:gd name="T4" fmla="*/ 6 w 7"/>
                <a:gd name="T5" fmla="*/ 6 h 15"/>
                <a:gd name="T6" fmla="*/ 3 w 7"/>
                <a:gd name="T7" fmla="*/ 0 h 15"/>
                <a:gd name="T8" fmla="*/ 0 w 7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cubicBezTo>
                    <a:pt x="0" y="8"/>
                    <a:pt x="0" y="14"/>
                    <a:pt x="3" y="14"/>
                  </a:cubicBezTo>
                  <a:cubicBezTo>
                    <a:pt x="3" y="11"/>
                    <a:pt x="6" y="8"/>
                    <a:pt x="6" y="6"/>
                  </a:cubicBezTo>
                  <a:cubicBezTo>
                    <a:pt x="6" y="3"/>
                    <a:pt x="3" y="3"/>
                    <a:pt x="3" y="0"/>
                  </a:cubicBezTo>
                  <a:cubicBezTo>
                    <a:pt x="3" y="3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66" name="Freeform 493"/>
            <p:cNvSpPr>
              <a:spLocks noChangeArrowheads="1"/>
            </p:cNvSpPr>
            <p:nvPr/>
          </p:nvSpPr>
          <p:spPr bwMode="auto">
            <a:xfrm>
              <a:off x="3705225" y="2727325"/>
              <a:ext cx="4763" cy="4763"/>
            </a:xfrm>
            <a:custGeom>
              <a:avLst/>
              <a:gdLst>
                <a:gd name="T0" fmla="*/ 9 w 15"/>
                <a:gd name="T1" fmla="*/ 11 h 12"/>
                <a:gd name="T2" fmla="*/ 9 w 15"/>
                <a:gd name="T3" fmla="*/ 0 h 12"/>
                <a:gd name="T4" fmla="*/ 9 w 15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9" y="11"/>
                  </a:moveTo>
                  <a:cubicBezTo>
                    <a:pt x="9" y="8"/>
                    <a:pt x="14" y="0"/>
                    <a:pt x="9" y="0"/>
                  </a:cubicBezTo>
                  <a:cubicBezTo>
                    <a:pt x="6" y="0"/>
                    <a:pt x="0" y="8"/>
                    <a:pt x="9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67" name="Freeform 494"/>
            <p:cNvSpPr>
              <a:spLocks noChangeArrowheads="1"/>
            </p:cNvSpPr>
            <p:nvPr/>
          </p:nvSpPr>
          <p:spPr bwMode="auto">
            <a:xfrm>
              <a:off x="3740150" y="2595563"/>
              <a:ext cx="6350" cy="4762"/>
            </a:xfrm>
            <a:custGeom>
              <a:avLst/>
              <a:gdLst>
                <a:gd name="T0" fmla="*/ 0 w 18"/>
                <a:gd name="T1" fmla="*/ 5 h 15"/>
                <a:gd name="T2" fmla="*/ 9 w 18"/>
                <a:gd name="T3" fmla="*/ 14 h 15"/>
                <a:gd name="T4" fmla="*/ 14 w 18"/>
                <a:gd name="T5" fmla="*/ 14 h 15"/>
                <a:gd name="T6" fmla="*/ 1 w 18"/>
                <a:gd name="T7" fmla="*/ 0 h 15"/>
                <a:gd name="T8" fmla="*/ 0 w 18"/>
                <a:gd name="T9" fmla="*/ 5 h 15"/>
                <a:gd name="T10" fmla="*/ 0 w 18"/>
                <a:gd name="T11" fmla="*/ 0 h 15"/>
                <a:gd name="T12" fmla="*/ 1 w 18"/>
                <a:gd name="T13" fmla="*/ 0 h 15"/>
                <a:gd name="T14" fmla="*/ 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0" y="5"/>
                  </a:moveTo>
                  <a:cubicBezTo>
                    <a:pt x="3" y="8"/>
                    <a:pt x="9" y="8"/>
                    <a:pt x="9" y="14"/>
                  </a:cubicBezTo>
                  <a:lnTo>
                    <a:pt x="14" y="14"/>
                  </a:lnTo>
                  <a:cubicBezTo>
                    <a:pt x="17" y="3"/>
                    <a:pt x="9" y="3"/>
                    <a:pt x="1" y="0"/>
                  </a:cubicBezTo>
                  <a:cubicBezTo>
                    <a:pt x="2" y="1"/>
                    <a:pt x="0" y="3"/>
                    <a:pt x="0" y="5"/>
                  </a:cubicBezTo>
                  <a:close/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68" name="Freeform 495"/>
            <p:cNvSpPr>
              <a:spLocks noChangeArrowheads="1"/>
            </p:cNvSpPr>
            <p:nvPr/>
          </p:nvSpPr>
          <p:spPr bwMode="auto">
            <a:xfrm>
              <a:off x="3744913" y="2586038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0 w 7"/>
                <a:gd name="T3" fmla="*/ 0 h 6"/>
                <a:gd name="T4" fmla="*/ 0 w 7"/>
                <a:gd name="T5" fmla="*/ 2 h 6"/>
                <a:gd name="T6" fmla="*/ 0 w 7"/>
                <a:gd name="T7" fmla="*/ 2 h 6"/>
                <a:gd name="T8" fmla="*/ 6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cubicBezTo>
                    <a:pt x="6" y="2"/>
                    <a:pt x="6" y="0"/>
                    <a:pt x="0" y="0"/>
                  </a:cubicBezTo>
                  <a:lnTo>
                    <a:pt x="0" y="2"/>
                  </a:lnTo>
                  <a:lnTo>
                    <a:pt x="0" y="2"/>
                  </a:lnTo>
                  <a:cubicBezTo>
                    <a:pt x="3" y="2"/>
                    <a:pt x="3" y="5"/>
                    <a:pt x="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69" name="Freeform 496"/>
            <p:cNvSpPr>
              <a:spLocks noChangeArrowheads="1"/>
            </p:cNvSpPr>
            <p:nvPr/>
          </p:nvSpPr>
          <p:spPr bwMode="auto">
            <a:xfrm>
              <a:off x="3748088" y="2857500"/>
              <a:ext cx="3175" cy="1588"/>
            </a:xfrm>
            <a:custGeom>
              <a:avLst/>
              <a:gdLst>
                <a:gd name="T0" fmla="*/ 0 w 9"/>
                <a:gd name="T1" fmla="*/ 2 h 6"/>
                <a:gd name="T2" fmla="*/ 8 w 9"/>
                <a:gd name="T3" fmla="*/ 2 h 6"/>
                <a:gd name="T4" fmla="*/ 0 w 9"/>
                <a:gd name="T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0" y="2"/>
                  </a:moveTo>
                  <a:cubicBezTo>
                    <a:pt x="3" y="5"/>
                    <a:pt x="5" y="5"/>
                    <a:pt x="8" y="2"/>
                  </a:cubicBezTo>
                  <a:cubicBezTo>
                    <a:pt x="5" y="0"/>
                    <a:pt x="3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70" name="Freeform 497"/>
            <p:cNvSpPr>
              <a:spLocks noChangeArrowheads="1"/>
            </p:cNvSpPr>
            <p:nvPr/>
          </p:nvSpPr>
          <p:spPr bwMode="auto">
            <a:xfrm>
              <a:off x="3749675" y="2909888"/>
              <a:ext cx="9525" cy="11112"/>
            </a:xfrm>
            <a:custGeom>
              <a:avLst/>
              <a:gdLst>
                <a:gd name="T0" fmla="*/ 19 w 26"/>
                <a:gd name="T1" fmla="*/ 6 h 30"/>
                <a:gd name="T2" fmla="*/ 19 w 26"/>
                <a:gd name="T3" fmla="*/ 6 h 30"/>
                <a:gd name="T4" fmla="*/ 0 w 26"/>
                <a:gd name="T5" fmla="*/ 6 h 30"/>
                <a:gd name="T6" fmla="*/ 25 w 26"/>
                <a:gd name="T7" fmla="*/ 29 h 30"/>
                <a:gd name="T8" fmla="*/ 22 w 26"/>
                <a:gd name="T9" fmla="*/ 20 h 30"/>
                <a:gd name="T10" fmla="*/ 19 w 26"/>
                <a:gd name="T11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0">
                  <a:moveTo>
                    <a:pt x="19" y="6"/>
                  </a:moveTo>
                  <a:lnTo>
                    <a:pt x="19" y="6"/>
                  </a:lnTo>
                  <a:cubicBezTo>
                    <a:pt x="8" y="9"/>
                    <a:pt x="5" y="0"/>
                    <a:pt x="0" y="6"/>
                  </a:cubicBezTo>
                  <a:cubicBezTo>
                    <a:pt x="2" y="17"/>
                    <a:pt x="14" y="26"/>
                    <a:pt x="25" y="29"/>
                  </a:cubicBezTo>
                  <a:cubicBezTo>
                    <a:pt x="25" y="26"/>
                    <a:pt x="25" y="23"/>
                    <a:pt x="22" y="20"/>
                  </a:cubicBezTo>
                  <a:cubicBezTo>
                    <a:pt x="19" y="17"/>
                    <a:pt x="17" y="12"/>
                    <a:pt x="19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71" name="Freeform 498"/>
            <p:cNvSpPr>
              <a:spLocks noChangeArrowheads="1"/>
            </p:cNvSpPr>
            <p:nvPr/>
          </p:nvSpPr>
          <p:spPr bwMode="auto">
            <a:xfrm>
              <a:off x="3738563" y="2863850"/>
              <a:ext cx="7937" cy="4763"/>
            </a:xfrm>
            <a:custGeom>
              <a:avLst/>
              <a:gdLst>
                <a:gd name="T0" fmla="*/ 0 w 23"/>
                <a:gd name="T1" fmla="*/ 6 h 13"/>
                <a:gd name="T2" fmla="*/ 0 w 23"/>
                <a:gd name="T3" fmla="*/ 12 h 13"/>
                <a:gd name="T4" fmla="*/ 16 w 23"/>
                <a:gd name="T5" fmla="*/ 12 h 13"/>
                <a:gd name="T6" fmla="*/ 22 w 23"/>
                <a:gd name="T7" fmla="*/ 3 h 13"/>
                <a:gd name="T8" fmla="*/ 19 w 23"/>
                <a:gd name="T9" fmla="*/ 3 h 13"/>
                <a:gd name="T10" fmla="*/ 0 w 23"/>
                <a:gd name="T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3">
                  <a:moveTo>
                    <a:pt x="0" y="6"/>
                  </a:moveTo>
                  <a:cubicBezTo>
                    <a:pt x="0" y="9"/>
                    <a:pt x="0" y="9"/>
                    <a:pt x="0" y="12"/>
                  </a:cubicBezTo>
                  <a:cubicBezTo>
                    <a:pt x="5" y="12"/>
                    <a:pt x="11" y="12"/>
                    <a:pt x="16" y="12"/>
                  </a:cubicBezTo>
                  <a:cubicBezTo>
                    <a:pt x="19" y="9"/>
                    <a:pt x="22" y="6"/>
                    <a:pt x="22" y="3"/>
                  </a:cubicBezTo>
                  <a:cubicBezTo>
                    <a:pt x="22" y="3"/>
                    <a:pt x="22" y="3"/>
                    <a:pt x="19" y="3"/>
                  </a:cubicBezTo>
                  <a:cubicBezTo>
                    <a:pt x="16" y="0"/>
                    <a:pt x="8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72" name="Freeform 499"/>
            <p:cNvSpPr>
              <a:spLocks noChangeArrowheads="1"/>
            </p:cNvSpPr>
            <p:nvPr/>
          </p:nvSpPr>
          <p:spPr bwMode="auto">
            <a:xfrm>
              <a:off x="3730625" y="2582863"/>
              <a:ext cx="4763" cy="4762"/>
            </a:xfrm>
            <a:custGeom>
              <a:avLst/>
              <a:gdLst>
                <a:gd name="T0" fmla="*/ 8 w 15"/>
                <a:gd name="T1" fmla="*/ 14 h 15"/>
                <a:gd name="T2" fmla="*/ 8 w 15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8" y="14"/>
                  </a:moveTo>
                  <a:cubicBezTo>
                    <a:pt x="14" y="0"/>
                    <a:pt x="0" y="6"/>
                    <a:pt x="8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73" name="Freeform 500"/>
            <p:cNvSpPr>
              <a:spLocks noChangeArrowheads="1"/>
            </p:cNvSpPr>
            <p:nvPr/>
          </p:nvSpPr>
          <p:spPr bwMode="auto">
            <a:xfrm>
              <a:off x="3733800" y="2586038"/>
              <a:ext cx="4763" cy="4762"/>
            </a:xfrm>
            <a:custGeom>
              <a:avLst/>
              <a:gdLst>
                <a:gd name="T0" fmla="*/ 6 w 15"/>
                <a:gd name="T1" fmla="*/ 0 h 15"/>
                <a:gd name="T2" fmla="*/ 6 w 15"/>
                <a:gd name="T3" fmla="*/ 14 h 15"/>
                <a:gd name="T4" fmla="*/ 6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6" y="0"/>
                  </a:moveTo>
                  <a:cubicBezTo>
                    <a:pt x="9" y="5"/>
                    <a:pt x="0" y="14"/>
                    <a:pt x="6" y="14"/>
                  </a:cubicBezTo>
                  <a:cubicBezTo>
                    <a:pt x="9" y="8"/>
                    <a:pt x="14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74" name="Freeform 501"/>
            <p:cNvSpPr>
              <a:spLocks noChangeArrowheads="1"/>
            </p:cNvSpPr>
            <p:nvPr/>
          </p:nvSpPr>
          <p:spPr bwMode="auto">
            <a:xfrm>
              <a:off x="3762375" y="2228850"/>
              <a:ext cx="3175" cy="3175"/>
            </a:xfrm>
            <a:custGeom>
              <a:avLst/>
              <a:gdLst>
                <a:gd name="T0" fmla="*/ 6 w 7"/>
                <a:gd name="T1" fmla="*/ 6 h 10"/>
                <a:gd name="T2" fmla="*/ 3 w 7"/>
                <a:gd name="T3" fmla="*/ 0 h 10"/>
                <a:gd name="T4" fmla="*/ 0 w 7"/>
                <a:gd name="T5" fmla="*/ 9 h 10"/>
                <a:gd name="T6" fmla="*/ 6 w 7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6"/>
                  </a:moveTo>
                  <a:cubicBezTo>
                    <a:pt x="6" y="3"/>
                    <a:pt x="6" y="3"/>
                    <a:pt x="3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0" y="9"/>
                    <a:pt x="3" y="9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75" name="Freeform 502"/>
            <p:cNvSpPr>
              <a:spLocks noChangeArrowheads="1"/>
            </p:cNvSpPr>
            <p:nvPr/>
          </p:nvSpPr>
          <p:spPr bwMode="auto">
            <a:xfrm>
              <a:off x="3681413" y="2425700"/>
              <a:ext cx="3175" cy="4763"/>
            </a:xfrm>
            <a:custGeom>
              <a:avLst/>
              <a:gdLst>
                <a:gd name="T0" fmla="*/ 5 w 9"/>
                <a:gd name="T1" fmla="*/ 14 h 15"/>
                <a:gd name="T2" fmla="*/ 8 w 9"/>
                <a:gd name="T3" fmla="*/ 0 h 15"/>
                <a:gd name="T4" fmla="*/ 0 w 9"/>
                <a:gd name="T5" fmla="*/ 2 h 15"/>
                <a:gd name="T6" fmla="*/ 0 w 9"/>
                <a:gd name="T7" fmla="*/ 11 h 15"/>
                <a:gd name="T8" fmla="*/ 5 w 9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5" y="14"/>
                  </a:moveTo>
                  <a:cubicBezTo>
                    <a:pt x="8" y="11"/>
                    <a:pt x="8" y="5"/>
                    <a:pt x="8" y="0"/>
                  </a:cubicBezTo>
                  <a:cubicBezTo>
                    <a:pt x="5" y="0"/>
                    <a:pt x="2" y="2"/>
                    <a:pt x="0" y="2"/>
                  </a:cubicBezTo>
                  <a:cubicBezTo>
                    <a:pt x="0" y="5"/>
                    <a:pt x="2" y="8"/>
                    <a:pt x="0" y="11"/>
                  </a:cubicBezTo>
                  <a:cubicBezTo>
                    <a:pt x="2" y="11"/>
                    <a:pt x="2" y="14"/>
                    <a:pt x="5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76" name="Freeform 503"/>
            <p:cNvSpPr>
              <a:spLocks noChangeArrowheads="1"/>
            </p:cNvSpPr>
            <p:nvPr/>
          </p:nvSpPr>
          <p:spPr bwMode="auto">
            <a:xfrm>
              <a:off x="3673475" y="2436813"/>
              <a:ext cx="4763" cy="3175"/>
            </a:xfrm>
            <a:custGeom>
              <a:avLst/>
              <a:gdLst>
                <a:gd name="T0" fmla="*/ 3 w 12"/>
                <a:gd name="T1" fmla="*/ 8 h 9"/>
                <a:gd name="T2" fmla="*/ 11 w 12"/>
                <a:gd name="T3" fmla="*/ 3 h 9"/>
                <a:gd name="T4" fmla="*/ 3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3" y="8"/>
                  </a:moveTo>
                  <a:cubicBezTo>
                    <a:pt x="8" y="8"/>
                    <a:pt x="11" y="8"/>
                    <a:pt x="11" y="3"/>
                  </a:cubicBezTo>
                  <a:cubicBezTo>
                    <a:pt x="8" y="0"/>
                    <a:pt x="0" y="0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77" name="Freeform 504"/>
            <p:cNvSpPr>
              <a:spLocks noChangeArrowheads="1"/>
            </p:cNvSpPr>
            <p:nvPr/>
          </p:nvSpPr>
          <p:spPr bwMode="auto">
            <a:xfrm>
              <a:off x="3703638" y="2298700"/>
              <a:ext cx="1587" cy="3175"/>
            </a:xfrm>
            <a:custGeom>
              <a:avLst/>
              <a:gdLst>
                <a:gd name="T0" fmla="*/ 3 w 6"/>
                <a:gd name="T1" fmla="*/ 3 h 7"/>
                <a:gd name="T2" fmla="*/ 5 w 6"/>
                <a:gd name="T3" fmla="*/ 6 h 7"/>
                <a:gd name="T4" fmla="*/ 3 w 6"/>
                <a:gd name="T5" fmla="*/ 3 h 7"/>
                <a:gd name="T6" fmla="*/ 0 w 6"/>
                <a:gd name="T7" fmla="*/ 3 h 7"/>
                <a:gd name="T8" fmla="*/ 3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3" y="3"/>
                  </a:moveTo>
                  <a:lnTo>
                    <a:pt x="5" y="6"/>
                  </a:lnTo>
                  <a:cubicBezTo>
                    <a:pt x="5" y="3"/>
                    <a:pt x="5" y="3"/>
                    <a:pt x="3" y="3"/>
                  </a:cubicBezTo>
                  <a:cubicBezTo>
                    <a:pt x="3" y="0"/>
                    <a:pt x="0" y="3"/>
                    <a:pt x="0" y="3"/>
                  </a:cubicBezTo>
                  <a:lnTo>
                    <a:pt x="3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78" name="Freeform 505"/>
            <p:cNvSpPr>
              <a:spLocks noChangeArrowheads="1"/>
            </p:cNvSpPr>
            <p:nvPr/>
          </p:nvSpPr>
          <p:spPr bwMode="auto">
            <a:xfrm>
              <a:off x="3683000" y="2473325"/>
              <a:ext cx="6350" cy="11113"/>
            </a:xfrm>
            <a:custGeom>
              <a:avLst/>
              <a:gdLst>
                <a:gd name="T0" fmla="*/ 17 w 18"/>
                <a:gd name="T1" fmla="*/ 26 h 29"/>
                <a:gd name="T2" fmla="*/ 14 w 18"/>
                <a:gd name="T3" fmla="*/ 14 h 29"/>
                <a:gd name="T4" fmla="*/ 11 w 18"/>
                <a:gd name="T5" fmla="*/ 12 h 29"/>
                <a:gd name="T6" fmla="*/ 9 w 18"/>
                <a:gd name="T7" fmla="*/ 0 h 29"/>
                <a:gd name="T8" fmla="*/ 6 w 18"/>
                <a:gd name="T9" fmla="*/ 0 h 29"/>
                <a:gd name="T10" fmla="*/ 6 w 18"/>
                <a:gd name="T11" fmla="*/ 3 h 29"/>
                <a:gd name="T12" fmla="*/ 17 w 18"/>
                <a:gd name="T13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9">
                  <a:moveTo>
                    <a:pt x="17" y="26"/>
                  </a:moveTo>
                  <a:cubicBezTo>
                    <a:pt x="14" y="23"/>
                    <a:pt x="14" y="17"/>
                    <a:pt x="14" y="14"/>
                  </a:cubicBezTo>
                  <a:lnTo>
                    <a:pt x="11" y="12"/>
                  </a:lnTo>
                  <a:cubicBezTo>
                    <a:pt x="11" y="9"/>
                    <a:pt x="11" y="3"/>
                    <a:pt x="9" y="0"/>
                  </a:cubicBezTo>
                  <a:cubicBezTo>
                    <a:pt x="9" y="0"/>
                    <a:pt x="9" y="0"/>
                    <a:pt x="6" y="0"/>
                  </a:cubicBezTo>
                  <a:lnTo>
                    <a:pt x="6" y="3"/>
                  </a:lnTo>
                  <a:cubicBezTo>
                    <a:pt x="6" y="12"/>
                    <a:pt x="0" y="28"/>
                    <a:pt x="17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79" name="Freeform 506"/>
            <p:cNvSpPr>
              <a:spLocks noChangeArrowheads="1"/>
            </p:cNvSpPr>
            <p:nvPr/>
          </p:nvSpPr>
          <p:spPr bwMode="auto">
            <a:xfrm>
              <a:off x="3665538" y="2403475"/>
              <a:ext cx="9525" cy="4763"/>
            </a:xfrm>
            <a:custGeom>
              <a:avLst/>
              <a:gdLst>
                <a:gd name="T0" fmla="*/ 26 w 27"/>
                <a:gd name="T1" fmla="*/ 5 h 15"/>
                <a:gd name="T2" fmla="*/ 26 w 27"/>
                <a:gd name="T3" fmla="*/ 0 h 15"/>
                <a:gd name="T4" fmla="*/ 9 w 27"/>
                <a:gd name="T5" fmla="*/ 5 h 15"/>
                <a:gd name="T6" fmla="*/ 6 w 27"/>
                <a:gd name="T7" fmla="*/ 8 h 15"/>
                <a:gd name="T8" fmla="*/ 6 w 27"/>
                <a:gd name="T9" fmla="*/ 5 h 15"/>
                <a:gd name="T10" fmla="*/ 0 w 27"/>
                <a:gd name="T11" fmla="*/ 5 h 15"/>
                <a:gd name="T12" fmla="*/ 0 w 27"/>
                <a:gd name="T13" fmla="*/ 5 h 15"/>
                <a:gd name="T14" fmla="*/ 26 w 27"/>
                <a:gd name="T15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5">
                  <a:moveTo>
                    <a:pt x="26" y="5"/>
                  </a:moveTo>
                  <a:cubicBezTo>
                    <a:pt x="26" y="3"/>
                    <a:pt x="26" y="3"/>
                    <a:pt x="26" y="0"/>
                  </a:cubicBezTo>
                  <a:cubicBezTo>
                    <a:pt x="20" y="3"/>
                    <a:pt x="14" y="3"/>
                    <a:pt x="9" y="5"/>
                  </a:cubicBezTo>
                  <a:cubicBezTo>
                    <a:pt x="9" y="5"/>
                    <a:pt x="9" y="8"/>
                    <a:pt x="6" y="8"/>
                  </a:cubicBezTo>
                  <a:lnTo>
                    <a:pt x="6" y="5"/>
                  </a:lnTo>
                  <a:cubicBezTo>
                    <a:pt x="3" y="5"/>
                    <a:pt x="3" y="5"/>
                    <a:pt x="0" y="5"/>
                  </a:cubicBezTo>
                  <a:lnTo>
                    <a:pt x="0" y="5"/>
                  </a:lnTo>
                  <a:cubicBezTo>
                    <a:pt x="9" y="11"/>
                    <a:pt x="20" y="14"/>
                    <a:pt x="2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80" name="Freeform 507"/>
            <p:cNvSpPr>
              <a:spLocks noChangeArrowheads="1"/>
            </p:cNvSpPr>
            <p:nvPr/>
          </p:nvSpPr>
          <p:spPr bwMode="auto">
            <a:xfrm>
              <a:off x="3686175" y="2714625"/>
              <a:ext cx="6350" cy="12700"/>
            </a:xfrm>
            <a:custGeom>
              <a:avLst/>
              <a:gdLst>
                <a:gd name="T0" fmla="*/ 0 w 18"/>
                <a:gd name="T1" fmla="*/ 3 h 35"/>
                <a:gd name="T2" fmla="*/ 0 w 18"/>
                <a:gd name="T3" fmla="*/ 3 h 35"/>
                <a:gd name="T4" fmla="*/ 5 w 18"/>
                <a:gd name="T5" fmla="*/ 14 h 35"/>
                <a:gd name="T6" fmla="*/ 5 w 18"/>
                <a:gd name="T7" fmla="*/ 17 h 35"/>
                <a:gd name="T8" fmla="*/ 11 w 18"/>
                <a:gd name="T9" fmla="*/ 31 h 35"/>
                <a:gd name="T10" fmla="*/ 17 w 18"/>
                <a:gd name="T11" fmla="*/ 14 h 35"/>
                <a:gd name="T12" fmla="*/ 5 w 18"/>
                <a:gd name="T13" fmla="*/ 11 h 35"/>
                <a:gd name="T14" fmla="*/ 0 w 18"/>
                <a:gd name="T15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5">
                  <a:moveTo>
                    <a:pt x="0" y="3"/>
                  </a:moveTo>
                  <a:lnTo>
                    <a:pt x="0" y="3"/>
                  </a:lnTo>
                  <a:cubicBezTo>
                    <a:pt x="0" y="5"/>
                    <a:pt x="2" y="8"/>
                    <a:pt x="5" y="14"/>
                  </a:cubicBezTo>
                  <a:lnTo>
                    <a:pt x="5" y="17"/>
                  </a:lnTo>
                  <a:cubicBezTo>
                    <a:pt x="8" y="22"/>
                    <a:pt x="5" y="34"/>
                    <a:pt x="11" y="31"/>
                  </a:cubicBezTo>
                  <a:cubicBezTo>
                    <a:pt x="17" y="28"/>
                    <a:pt x="17" y="22"/>
                    <a:pt x="17" y="14"/>
                  </a:cubicBezTo>
                  <a:cubicBezTo>
                    <a:pt x="14" y="14"/>
                    <a:pt x="11" y="14"/>
                    <a:pt x="5" y="11"/>
                  </a:cubicBezTo>
                  <a:cubicBezTo>
                    <a:pt x="5" y="8"/>
                    <a:pt x="8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81" name="Freeform 508"/>
            <p:cNvSpPr>
              <a:spLocks noChangeArrowheads="1"/>
            </p:cNvSpPr>
            <p:nvPr/>
          </p:nvSpPr>
          <p:spPr bwMode="auto">
            <a:xfrm>
              <a:off x="3668713" y="2360613"/>
              <a:ext cx="4762" cy="3175"/>
            </a:xfrm>
            <a:custGeom>
              <a:avLst/>
              <a:gdLst>
                <a:gd name="T0" fmla="*/ 11 w 12"/>
                <a:gd name="T1" fmla="*/ 0 h 10"/>
                <a:gd name="T2" fmla="*/ 0 w 12"/>
                <a:gd name="T3" fmla="*/ 6 h 10"/>
                <a:gd name="T4" fmla="*/ 11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0"/>
                  </a:moveTo>
                  <a:cubicBezTo>
                    <a:pt x="5" y="0"/>
                    <a:pt x="0" y="0"/>
                    <a:pt x="0" y="6"/>
                  </a:cubicBezTo>
                  <a:cubicBezTo>
                    <a:pt x="2" y="9"/>
                    <a:pt x="11" y="9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82" name="Freeform 509"/>
            <p:cNvSpPr>
              <a:spLocks noChangeArrowheads="1"/>
            </p:cNvSpPr>
            <p:nvPr/>
          </p:nvSpPr>
          <p:spPr bwMode="auto">
            <a:xfrm>
              <a:off x="3654425" y="2392363"/>
              <a:ext cx="3175" cy="1587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3 h 6"/>
                <a:gd name="T4" fmla="*/ 3 w 7"/>
                <a:gd name="T5" fmla="*/ 0 h 6"/>
                <a:gd name="T6" fmla="*/ 0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cubicBezTo>
                    <a:pt x="3" y="5"/>
                    <a:pt x="6" y="3"/>
                    <a:pt x="6" y="3"/>
                  </a:cubicBezTo>
                  <a:lnTo>
                    <a:pt x="3" y="0"/>
                  </a:lnTo>
                  <a:cubicBezTo>
                    <a:pt x="0" y="0"/>
                    <a:pt x="0" y="0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83" name="Freeform 510"/>
            <p:cNvSpPr>
              <a:spLocks noChangeArrowheads="1"/>
            </p:cNvSpPr>
            <p:nvPr/>
          </p:nvSpPr>
          <p:spPr bwMode="auto">
            <a:xfrm>
              <a:off x="3656013" y="2376488"/>
              <a:ext cx="4762" cy="6350"/>
            </a:xfrm>
            <a:custGeom>
              <a:avLst/>
              <a:gdLst>
                <a:gd name="T0" fmla="*/ 8 w 15"/>
                <a:gd name="T1" fmla="*/ 15 h 16"/>
                <a:gd name="T2" fmla="*/ 8 w 15"/>
                <a:gd name="T3" fmla="*/ 0 h 16"/>
                <a:gd name="T4" fmla="*/ 8 w 15"/>
                <a:gd name="T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8" y="15"/>
                  </a:moveTo>
                  <a:cubicBezTo>
                    <a:pt x="8" y="12"/>
                    <a:pt x="14" y="0"/>
                    <a:pt x="8" y="0"/>
                  </a:cubicBezTo>
                  <a:cubicBezTo>
                    <a:pt x="6" y="6"/>
                    <a:pt x="0" y="12"/>
                    <a:pt x="8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84" name="Freeform 511"/>
            <p:cNvSpPr>
              <a:spLocks noChangeArrowheads="1"/>
            </p:cNvSpPr>
            <p:nvPr/>
          </p:nvSpPr>
          <p:spPr bwMode="auto">
            <a:xfrm>
              <a:off x="3660775" y="2670175"/>
              <a:ext cx="3175" cy="6350"/>
            </a:xfrm>
            <a:custGeom>
              <a:avLst/>
              <a:gdLst>
                <a:gd name="T0" fmla="*/ 9 w 10"/>
                <a:gd name="T1" fmla="*/ 12 h 16"/>
                <a:gd name="T2" fmla="*/ 0 w 10"/>
                <a:gd name="T3" fmla="*/ 0 h 16"/>
                <a:gd name="T4" fmla="*/ 9 w 10"/>
                <a:gd name="T5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9" y="12"/>
                  </a:moveTo>
                  <a:cubicBezTo>
                    <a:pt x="9" y="3"/>
                    <a:pt x="9" y="0"/>
                    <a:pt x="0" y="0"/>
                  </a:cubicBezTo>
                  <a:cubicBezTo>
                    <a:pt x="0" y="9"/>
                    <a:pt x="0" y="15"/>
                    <a:pt x="9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85" name="Freeform 512"/>
            <p:cNvSpPr>
              <a:spLocks noChangeArrowheads="1"/>
            </p:cNvSpPr>
            <p:nvPr/>
          </p:nvSpPr>
          <p:spPr bwMode="auto">
            <a:xfrm>
              <a:off x="3665538" y="2435225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86" name="Freeform 513"/>
            <p:cNvSpPr>
              <a:spLocks noChangeArrowheads="1"/>
            </p:cNvSpPr>
            <p:nvPr/>
          </p:nvSpPr>
          <p:spPr bwMode="auto">
            <a:xfrm>
              <a:off x="3659188" y="2427288"/>
              <a:ext cx="6350" cy="6350"/>
            </a:xfrm>
            <a:custGeom>
              <a:avLst/>
              <a:gdLst>
                <a:gd name="T0" fmla="*/ 3 w 18"/>
                <a:gd name="T1" fmla="*/ 15 h 16"/>
                <a:gd name="T2" fmla="*/ 9 w 18"/>
                <a:gd name="T3" fmla="*/ 15 h 16"/>
                <a:gd name="T4" fmla="*/ 3 w 18"/>
                <a:gd name="T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6">
                  <a:moveTo>
                    <a:pt x="3" y="15"/>
                  </a:moveTo>
                  <a:lnTo>
                    <a:pt x="9" y="15"/>
                  </a:lnTo>
                  <a:cubicBezTo>
                    <a:pt x="17" y="9"/>
                    <a:pt x="0" y="0"/>
                    <a:pt x="3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87" name="Freeform 514"/>
            <p:cNvSpPr>
              <a:spLocks noChangeArrowheads="1"/>
            </p:cNvSpPr>
            <p:nvPr/>
          </p:nvSpPr>
          <p:spPr bwMode="auto">
            <a:xfrm>
              <a:off x="3719513" y="2374900"/>
              <a:ext cx="6350" cy="4763"/>
            </a:xfrm>
            <a:custGeom>
              <a:avLst/>
              <a:gdLst>
                <a:gd name="T0" fmla="*/ 8 w 18"/>
                <a:gd name="T1" fmla="*/ 0 h 12"/>
                <a:gd name="T2" fmla="*/ 8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cubicBezTo>
                    <a:pt x="0" y="11"/>
                    <a:pt x="17" y="8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88" name="Freeform 515"/>
            <p:cNvSpPr>
              <a:spLocks noChangeArrowheads="1"/>
            </p:cNvSpPr>
            <p:nvPr/>
          </p:nvSpPr>
          <p:spPr bwMode="auto">
            <a:xfrm>
              <a:off x="3703638" y="2374900"/>
              <a:ext cx="4762" cy="6350"/>
            </a:xfrm>
            <a:custGeom>
              <a:avLst/>
              <a:gdLst>
                <a:gd name="T0" fmla="*/ 0 w 15"/>
                <a:gd name="T1" fmla="*/ 8 h 18"/>
                <a:gd name="T2" fmla="*/ 11 w 15"/>
                <a:gd name="T3" fmla="*/ 14 h 18"/>
                <a:gd name="T4" fmla="*/ 0 w 15"/>
                <a:gd name="T5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8">
                  <a:moveTo>
                    <a:pt x="0" y="8"/>
                  </a:moveTo>
                  <a:cubicBezTo>
                    <a:pt x="5" y="8"/>
                    <a:pt x="5" y="17"/>
                    <a:pt x="11" y="14"/>
                  </a:cubicBezTo>
                  <a:cubicBezTo>
                    <a:pt x="14" y="5"/>
                    <a:pt x="3" y="0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89" name="Freeform 516"/>
            <p:cNvSpPr>
              <a:spLocks noChangeArrowheads="1"/>
            </p:cNvSpPr>
            <p:nvPr/>
          </p:nvSpPr>
          <p:spPr bwMode="auto">
            <a:xfrm>
              <a:off x="3732213" y="2386013"/>
              <a:ext cx="1587" cy="1587"/>
            </a:xfrm>
            <a:custGeom>
              <a:avLst/>
              <a:gdLst>
                <a:gd name="T0" fmla="*/ 5 w 6"/>
                <a:gd name="T1" fmla="*/ 0 h 6"/>
                <a:gd name="T2" fmla="*/ 0 w 6"/>
                <a:gd name="T3" fmla="*/ 0 h 6"/>
                <a:gd name="T4" fmla="*/ 0 w 6"/>
                <a:gd name="T5" fmla="*/ 5 h 6"/>
                <a:gd name="T6" fmla="*/ 5 w 6"/>
                <a:gd name="T7" fmla="*/ 5 h 6"/>
                <a:gd name="T8" fmla="*/ 5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5" y="5"/>
                  </a:lnTo>
                  <a:lnTo>
                    <a:pt x="5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90" name="Freeform 517"/>
            <p:cNvSpPr>
              <a:spLocks noChangeArrowheads="1"/>
            </p:cNvSpPr>
            <p:nvPr/>
          </p:nvSpPr>
          <p:spPr bwMode="auto">
            <a:xfrm>
              <a:off x="3724275" y="2266950"/>
              <a:ext cx="6350" cy="7938"/>
            </a:xfrm>
            <a:custGeom>
              <a:avLst/>
              <a:gdLst>
                <a:gd name="T0" fmla="*/ 17 w 18"/>
                <a:gd name="T1" fmla="*/ 8 h 21"/>
                <a:gd name="T2" fmla="*/ 17 w 18"/>
                <a:gd name="T3" fmla="*/ 3 h 21"/>
                <a:gd name="T4" fmla="*/ 3 w 18"/>
                <a:gd name="T5" fmla="*/ 0 h 21"/>
                <a:gd name="T6" fmla="*/ 0 w 18"/>
                <a:gd name="T7" fmla="*/ 17 h 21"/>
                <a:gd name="T8" fmla="*/ 17 w 18"/>
                <a:gd name="T9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1">
                  <a:moveTo>
                    <a:pt x="17" y="8"/>
                  </a:moveTo>
                  <a:lnTo>
                    <a:pt x="17" y="3"/>
                  </a:lnTo>
                  <a:cubicBezTo>
                    <a:pt x="11" y="0"/>
                    <a:pt x="8" y="0"/>
                    <a:pt x="3" y="0"/>
                  </a:cubicBezTo>
                  <a:cubicBezTo>
                    <a:pt x="0" y="5"/>
                    <a:pt x="0" y="11"/>
                    <a:pt x="0" y="17"/>
                  </a:cubicBezTo>
                  <a:cubicBezTo>
                    <a:pt x="8" y="20"/>
                    <a:pt x="8" y="11"/>
                    <a:pt x="17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91" name="Freeform 518"/>
            <p:cNvSpPr>
              <a:spLocks noChangeArrowheads="1"/>
            </p:cNvSpPr>
            <p:nvPr/>
          </p:nvSpPr>
          <p:spPr bwMode="auto">
            <a:xfrm>
              <a:off x="3841750" y="2760663"/>
              <a:ext cx="12700" cy="7937"/>
            </a:xfrm>
            <a:custGeom>
              <a:avLst/>
              <a:gdLst>
                <a:gd name="T0" fmla="*/ 33 w 34"/>
                <a:gd name="T1" fmla="*/ 11 h 23"/>
                <a:gd name="T2" fmla="*/ 33 w 34"/>
                <a:gd name="T3" fmla="*/ 5 h 23"/>
                <a:gd name="T4" fmla="*/ 31 w 34"/>
                <a:gd name="T5" fmla="*/ 8 h 23"/>
                <a:gd name="T6" fmla="*/ 25 w 34"/>
                <a:gd name="T7" fmla="*/ 0 h 23"/>
                <a:gd name="T8" fmla="*/ 0 w 34"/>
                <a:gd name="T9" fmla="*/ 22 h 23"/>
                <a:gd name="T10" fmla="*/ 33 w 34"/>
                <a:gd name="T11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3" y="8"/>
                    <a:pt x="33" y="8"/>
                    <a:pt x="33" y="5"/>
                  </a:cubicBezTo>
                  <a:lnTo>
                    <a:pt x="31" y="8"/>
                  </a:lnTo>
                  <a:cubicBezTo>
                    <a:pt x="31" y="5"/>
                    <a:pt x="28" y="3"/>
                    <a:pt x="25" y="0"/>
                  </a:cubicBezTo>
                  <a:cubicBezTo>
                    <a:pt x="14" y="5"/>
                    <a:pt x="8" y="17"/>
                    <a:pt x="0" y="22"/>
                  </a:cubicBezTo>
                  <a:cubicBezTo>
                    <a:pt x="16" y="22"/>
                    <a:pt x="19" y="8"/>
                    <a:pt x="3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92" name="Freeform 519"/>
            <p:cNvSpPr>
              <a:spLocks noChangeArrowheads="1"/>
            </p:cNvSpPr>
            <p:nvPr/>
          </p:nvSpPr>
          <p:spPr bwMode="auto">
            <a:xfrm>
              <a:off x="3846513" y="2160588"/>
              <a:ext cx="1587" cy="3175"/>
            </a:xfrm>
            <a:custGeom>
              <a:avLst/>
              <a:gdLst>
                <a:gd name="T0" fmla="*/ 5 w 6"/>
                <a:gd name="T1" fmla="*/ 0 h 10"/>
                <a:gd name="T2" fmla="*/ 2 w 6"/>
                <a:gd name="T3" fmla="*/ 0 h 10"/>
                <a:gd name="T4" fmla="*/ 0 w 6"/>
                <a:gd name="T5" fmla="*/ 6 h 10"/>
                <a:gd name="T6" fmla="*/ 2 w 6"/>
                <a:gd name="T7" fmla="*/ 9 h 10"/>
                <a:gd name="T8" fmla="*/ 5 w 6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5" y="0"/>
                  </a:moveTo>
                  <a:lnTo>
                    <a:pt x="2" y="0"/>
                  </a:lnTo>
                  <a:cubicBezTo>
                    <a:pt x="2" y="3"/>
                    <a:pt x="2" y="3"/>
                    <a:pt x="0" y="6"/>
                  </a:cubicBezTo>
                  <a:lnTo>
                    <a:pt x="2" y="9"/>
                  </a:lnTo>
                  <a:cubicBezTo>
                    <a:pt x="2" y="3"/>
                    <a:pt x="2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93" name="Freeform 520"/>
            <p:cNvSpPr>
              <a:spLocks noChangeArrowheads="1"/>
            </p:cNvSpPr>
            <p:nvPr/>
          </p:nvSpPr>
          <p:spPr bwMode="auto">
            <a:xfrm>
              <a:off x="3838575" y="2730500"/>
              <a:ext cx="3175" cy="3175"/>
            </a:xfrm>
            <a:custGeom>
              <a:avLst/>
              <a:gdLst>
                <a:gd name="T0" fmla="*/ 3 w 7"/>
                <a:gd name="T1" fmla="*/ 0 h 9"/>
                <a:gd name="T2" fmla="*/ 0 w 7"/>
                <a:gd name="T3" fmla="*/ 8 h 9"/>
                <a:gd name="T4" fmla="*/ 6 w 7"/>
                <a:gd name="T5" fmla="*/ 6 h 9"/>
                <a:gd name="T6" fmla="*/ 3 w 7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cubicBezTo>
                    <a:pt x="3" y="3"/>
                    <a:pt x="0" y="6"/>
                    <a:pt x="0" y="8"/>
                  </a:cubicBezTo>
                  <a:cubicBezTo>
                    <a:pt x="3" y="8"/>
                    <a:pt x="3" y="6"/>
                    <a:pt x="6" y="6"/>
                  </a:cubicBezTo>
                  <a:cubicBezTo>
                    <a:pt x="6" y="0"/>
                    <a:pt x="6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94" name="Freeform 521"/>
            <p:cNvSpPr>
              <a:spLocks noChangeArrowheads="1"/>
            </p:cNvSpPr>
            <p:nvPr/>
          </p:nvSpPr>
          <p:spPr bwMode="auto">
            <a:xfrm>
              <a:off x="3836988" y="2765425"/>
              <a:ext cx="4762" cy="4763"/>
            </a:xfrm>
            <a:custGeom>
              <a:avLst/>
              <a:gdLst>
                <a:gd name="T0" fmla="*/ 0 w 13"/>
                <a:gd name="T1" fmla="*/ 8 h 15"/>
                <a:gd name="T2" fmla="*/ 0 w 13"/>
                <a:gd name="T3" fmla="*/ 14 h 15"/>
                <a:gd name="T4" fmla="*/ 6 w 13"/>
                <a:gd name="T5" fmla="*/ 14 h 15"/>
                <a:gd name="T6" fmla="*/ 12 w 13"/>
                <a:gd name="T7" fmla="*/ 0 h 15"/>
                <a:gd name="T8" fmla="*/ 0 w 13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0" y="8"/>
                  </a:moveTo>
                  <a:cubicBezTo>
                    <a:pt x="0" y="11"/>
                    <a:pt x="0" y="11"/>
                    <a:pt x="0" y="14"/>
                  </a:cubicBezTo>
                  <a:lnTo>
                    <a:pt x="6" y="14"/>
                  </a:lnTo>
                  <a:cubicBezTo>
                    <a:pt x="9" y="11"/>
                    <a:pt x="9" y="3"/>
                    <a:pt x="12" y="0"/>
                  </a:cubicBezTo>
                  <a:cubicBezTo>
                    <a:pt x="9" y="0"/>
                    <a:pt x="3" y="3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95" name="Freeform 522"/>
            <p:cNvSpPr>
              <a:spLocks noChangeArrowheads="1"/>
            </p:cNvSpPr>
            <p:nvPr/>
          </p:nvSpPr>
          <p:spPr bwMode="auto">
            <a:xfrm>
              <a:off x="3849688" y="2547938"/>
              <a:ext cx="3175" cy="3175"/>
            </a:xfrm>
            <a:custGeom>
              <a:avLst/>
              <a:gdLst>
                <a:gd name="T0" fmla="*/ 9 w 10"/>
                <a:gd name="T1" fmla="*/ 9 h 10"/>
                <a:gd name="T2" fmla="*/ 9 w 10"/>
                <a:gd name="T3" fmla="*/ 0 h 10"/>
                <a:gd name="T4" fmla="*/ 0 w 10"/>
                <a:gd name="T5" fmla="*/ 0 h 10"/>
                <a:gd name="T6" fmla="*/ 3 w 10"/>
                <a:gd name="T7" fmla="*/ 9 h 10"/>
                <a:gd name="T8" fmla="*/ 9 w 10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9" y="9"/>
                  </a:moveTo>
                  <a:cubicBezTo>
                    <a:pt x="9" y="6"/>
                    <a:pt x="9" y="3"/>
                    <a:pt x="9" y="0"/>
                  </a:cubicBezTo>
                  <a:cubicBezTo>
                    <a:pt x="6" y="0"/>
                    <a:pt x="3" y="0"/>
                    <a:pt x="0" y="0"/>
                  </a:cubicBezTo>
                  <a:cubicBezTo>
                    <a:pt x="0" y="3"/>
                    <a:pt x="0" y="6"/>
                    <a:pt x="3" y="9"/>
                  </a:cubicBezTo>
                  <a:cubicBezTo>
                    <a:pt x="6" y="9"/>
                    <a:pt x="6" y="9"/>
                    <a:pt x="9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96" name="Freeform 523"/>
            <p:cNvSpPr>
              <a:spLocks noChangeArrowheads="1"/>
            </p:cNvSpPr>
            <p:nvPr/>
          </p:nvSpPr>
          <p:spPr bwMode="auto">
            <a:xfrm>
              <a:off x="3703638" y="2389188"/>
              <a:ext cx="3175" cy="3175"/>
            </a:xfrm>
            <a:custGeom>
              <a:avLst/>
              <a:gdLst>
                <a:gd name="T0" fmla="*/ 3 w 9"/>
                <a:gd name="T1" fmla="*/ 0 h 10"/>
                <a:gd name="T2" fmla="*/ 0 w 9"/>
                <a:gd name="T3" fmla="*/ 6 h 10"/>
                <a:gd name="T4" fmla="*/ 5 w 9"/>
                <a:gd name="T5" fmla="*/ 9 h 10"/>
                <a:gd name="T6" fmla="*/ 8 w 9"/>
                <a:gd name="T7" fmla="*/ 3 h 10"/>
                <a:gd name="T8" fmla="*/ 3 w 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3" y="0"/>
                  </a:moveTo>
                  <a:cubicBezTo>
                    <a:pt x="3" y="3"/>
                    <a:pt x="0" y="3"/>
                    <a:pt x="0" y="6"/>
                  </a:cubicBezTo>
                  <a:cubicBezTo>
                    <a:pt x="3" y="6"/>
                    <a:pt x="3" y="9"/>
                    <a:pt x="5" y="9"/>
                  </a:cubicBezTo>
                  <a:cubicBezTo>
                    <a:pt x="5" y="6"/>
                    <a:pt x="8" y="6"/>
                    <a:pt x="8" y="3"/>
                  </a:cubicBezTo>
                  <a:cubicBezTo>
                    <a:pt x="5" y="3"/>
                    <a:pt x="5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97" name="Freeform 524"/>
            <p:cNvSpPr>
              <a:spLocks noChangeArrowheads="1"/>
            </p:cNvSpPr>
            <p:nvPr/>
          </p:nvSpPr>
          <p:spPr bwMode="auto">
            <a:xfrm>
              <a:off x="3836988" y="2336800"/>
              <a:ext cx="4762" cy="3175"/>
            </a:xfrm>
            <a:custGeom>
              <a:avLst/>
              <a:gdLst>
                <a:gd name="T0" fmla="*/ 3 w 13"/>
                <a:gd name="T1" fmla="*/ 0 h 10"/>
                <a:gd name="T2" fmla="*/ 0 w 13"/>
                <a:gd name="T3" fmla="*/ 9 h 10"/>
                <a:gd name="T4" fmla="*/ 9 w 13"/>
                <a:gd name="T5" fmla="*/ 6 h 10"/>
                <a:gd name="T6" fmla="*/ 12 w 13"/>
                <a:gd name="T7" fmla="*/ 6 h 10"/>
                <a:gd name="T8" fmla="*/ 12 w 13"/>
                <a:gd name="T9" fmla="*/ 6 h 10"/>
                <a:gd name="T10" fmla="*/ 3 w 13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0">
                  <a:moveTo>
                    <a:pt x="3" y="0"/>
                  </a:moveTo>
                  <a:cubicBezTo>
                    <a:pt x="0" y="3"/>
                    <a:pt x="0" y="6"/>
                    <a:pt x="0" y="9"/>
                  </a:cubicBezTo>
                  <a:cubicBezTo>
                    <a:pt x="3" y="9"/>
                    <a:pt x="6" y="9"/>
                    <a:pt x="9" y="6"/>
                  </a:cubicBezTo>
                  <a:lnTo>
                    <a:pt x="12" y="6"/>
                  </a:lnTo>
                  <a:lnTo>
                    <a:pt x="12" y="6"/>
                  </a:lnTo>
                  <a:cubicBezTo>
                    <a:pt x="6" y="6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98" name="Freeform 525"/>
            <p:cNvSpPr>
              <a:spLocks noChangeArrowheads="1"/>
            </p:cNvSpPr>
            <p:nvPr/>
          </p:nvSpPr>
          <p:spPr bwMode="auto">
            <a:xfrm>
              <a:off x="3822700" y="2598738"/>
              <a:ext cx="3175" cy="4762"/>
            </a:xfrm>
            <a:custGeom>
              <a:avLst/>
              <a:gdLst>
                <a:gd name="T0" fmla="*/ 8 w 9"/>
                <a:gd name="T1" fmla="*/ 3 h 15"/>
                <a:gd name="T2" fmla="*/ 0 w 9"/>
                <a:gd name="T3" fmla="*/ 11 h 15"/>
                <a:gd name="T4" fmla="*/ 8 w 9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3" y="0"/>
                    <a:pt x="3" y="9"/>
                    <a:pt x="0" y="11"/>
                  </a:cubicBezTo>
                  <a:cubicBezTo>
                    <a:pt x="8" y="14"/>
                    <a:pt x="8" y="11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99" name="Freeform 526"/>
            <p:cNvSpPr>
              <a:spLocks noChangeArrowheads="1"/>
            </p:cNvSpPr>
            <p:nvPr/>
          </p:nvSpPr>
          <p:spPr bwMode="auto">
            <a:xfrm>
              <a:off x="3827463" y="2498725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  <a:gd name="T4" fmla="*/ 0 w 4"/>
                <a:gd name="T5" fmla="*/ 3 h 4"/>
                <a:gd name="T6" fmla="*/ 3 w 4"/>
                <a:gd name="T7" fmla="*/ 3 h 4"/>
                <a:gd name="T8" fmla="*/ 3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lnTo>
                    <a:pt x="3" y="0"/>
                  </a:lnTo>
                  <a:cubicBezTo>
                    <a:pt x="0" y="0"/>
                    <a:pt x="0" y="3"/>
                    <a:pt x="0" y="3"/>
                  </a:cubicBezTo>
                  <a:cubicBezTo>
                    <a:pt x="0" y="3"/>
                    <a:pt x="0" y="3"/>
                    <a:pt x="3" y="3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00" name="Freeform 527"/>
            <p:cNvSpPr>
              <a:spLocks noChangeArrowheads="1"/>
            </p:cNvSpPr>
            <p:nvPr/>
          </p:nvSpPr>
          <p:spPr bwMode="auto">
            <a:xfrm>
              <a:off x="3825875" y="2476500"/>
              <a:ext cx="1588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0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01" name="Freeform 528"/>
            <p:cNvSpPr>
              <a:spLocks noChangeArrowheads="1"/>
            </p:cNvSpPr>
            <p:nvPr/>
          </p:nvSpPr>
          <p:spPr bwMode="auto">
            <a:xfrm>
              <a:off x="3838575" y="2235200"/>
              <a:ext cx="3175" cy="1588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0 h 6"/>
                <a:gd name="T4" fmla="*/ 0 w 7"/>
                <a:gd name="T5" fmla="*/ 2 h 6"/>
                <a:gd name="T6" fmla="*/ 3 w 7"/>
                <a:gd name="T7" fmla="*/ 5 h 6"/>
                <a:gd name="T8" fmla="*/ 6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lnTo>
                    <a:pt x="0" y="0"/>
                  </a:lnTo>
                  <a:lnTo>
                    <a:pt x="0" y="2"/>
                  </a:lnTo>
                  <a:cubicBezTo>
                    <a:pt x="0" y="2"/>
                    <a:pt x="3" y="2"/>
                    <a:pt x="3" y="5"/>
                  </a:cubicBezTo>
                  <a:cubicBezTo>
                    <a:pt x="3" y="5"/>
                    <a:pt x="6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02" name="Freeform 529"/>
            <p:cNvSpPr>
              <a:spLocks noChangeArrowheads="1"/>
            </p:cNvSpPr>
            <p:nvPr/>
          </p:nvSpPr>
          <p:spPr bwMode="auto">
            <a:xfrm>
              <a:off x="3835400" y="2195513"/>
              <a:ext cx="3175" cy="4762"/>
            </a:xfrm>
            <a:custGeom>
              <a:avLst/>
              <a:gdLst>
                <a:gd name="T0" fmla="*/ 5 w 9"/>
                <a:gd name="T1" fmla="*/ 12 h 13"/>
                <a:gd name="T2" fmla="*/ 8 w 9"/>
                <a:gd name="T3" fmla="*/ 3 h 13"/>
                <a:gd name="T4" fmla="*/ 0 w 9"/>
                <a:gd name="T5" fmla="*/ 0 h 13"/>
                <a:gd name="T6" fmla="*/ 2 w 9"/>
                <a:gd name="T7" fmla="*/ 9 h 13"/>
                <a:gd name="T8" fmla="*/ 5 w 9"/>
                <a:gd name="T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3">
                  <a:moveTo>
                    <a:pt x="5" y="12"/>
                  </a:moveTo>
                  <a:cubicBezTo>
                    <a:pt x="5" y="9"/>
                    <a:pt x="8" y="6"/>
                    <a:pt x="8" y="3"/>
                  </a:cubicBezTo>
                  <a:cubicBezTo>
                    <a:pt x="5" y="0"/>
                    <a:pt x="2" y="0"/>
                    <a:pt x="0" y="0"/>
                  </a:cubicBezTo>
                  <a:cubicBezTo>
                    <a:pt x="0" y="3"/>
                    <a:pt x="0" y="6"/>
                    <a:pt x="2" y="9"/>
                  </a:cubicBezTo>
                  <a:lnTo>
                    <a:pt x="5" y="1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03" name="Freeform 530"/>
            <p:cNvSpPr>
              <a:spLocks noChangeArrowheads="1"/>
            </p:cNvSpPr>
            <p:nvPr/>
          </p:nvSpPr>
          <p:spPr bwMode="auto">
            <a:xfrm>
              <a:off x="3832225" y="2746375"/>
              <a:ext cx="3175" cy="4763"/>
            </a:xfrm>
            <a:custGeom>
              <a:avLst/>
              <a:gdLst>
                <a:gd name="T0" fmla="*/ 9 w 10"/>
                <a:gd name="T1" fmla="*/ 0 h 13"/>
                <a:gd name="T2" fmla="*/ 3 w 10"/>
                <a:gd name="T3" fmla="*/ 0 h 13"/>
                <a:gd name="T4" fmla="*/ 0 w 10"/>
                <a:gd name="T5" fmla="*/ 12 h 13"/>
                <a:gd name="T6" fmla="*/ 9 w 1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9" y="0"/>
                  </a:moveTo>
                  <a:cubicBezTo>
                    <a:pt x="6" y="0"/>
                    <a:pt x="6" y="0"/>
                    <a:pt x="3" y="0"/>
                  </a:cubicBezTo>
                  <a:cubicBezTo>
                    <a:pt x="3" y="3"/>
                    <a:pt x="0" y="9"/>
                    <a:pt x="0" y="12"/>
                  </a:cubicBezTo>
                  <a:cubicBezTo>
                    <a:pt x="6" y="12"/>
                    <a:pt x="9" y="6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04" name="Freeform 531"/>
            <p:cNvSpPr>
              <a:spLocks noChangeArrowheads="1"/>
            </p:cNvSpPr>
            <p:nvPr/>
          </p:nvSpPr>
          <p:spPr bwMode="auto">
            <a:xfrm>
              <a:off x="3892550" y="2209800"/>
              <a:ext cx="3175" cy="4763"/>
            </a:xfrm>
            <a:custGeom>
              <a:avLst/>
              <a:gdLst>
                <a:gd name="T0" fmla="*/ 8 w 9"/>
                <a:gd name="T1" fmla="*/ 3 h 12"/>
                <a:gd name="T2" fmla="*/ 5 w 9"/>
                <a:gd name="T3" fmla="*/ 3 h 12"/>
                <a:gd name="T4" fmla="*/ 0 w 9"/>
                <a:gd name="T5" fmla="*/ 5 h 12"/>
                <a:gd name="T6" fmla="*/ 8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3"/>
                  </a:moveTo>
                  <a:lnTo>
                    <a:pt x="5" y="3"/>
                  </a:lnTo>
                  <a:cubicBezTo>
                    <a:pt x="0" y="0"/>
                    <a:pt x="0" y="3"/>
                    <a:pt x="0" y="5"/>
                  </a:cubicBezTo>
                  <a:cubicBezTo>
                    <a:pt x="2" y="11"/>
                    <a:pt x="5" y="5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05" name="Freeform 532"/>
            <p:cNvSpPr>
              <a:spLocks noChangeArrowheads="1"/>
            </p:cNvSpPr>
            <p:nvPr/>
          </p:nvSpPr>
          <p:spPr bwMode="auto">
            <a:xfrm>
              <a:off x="3895725" y="2386013"/>
              <a:ext cx="3175" cy="1587"/>
            </a:xfrm>
            <a:custGeom>
              <a:avLst/>
              <a:gdLst>
                <a:gd name="T0" fmla="*/ 3 w 7"/>
                <a:gd name="T1" fmla="*/ 5 h 6"/>
                <a:gd name="T2" fmla="*/ 0 w 7"/>
                <a:gd name="T3" fmla="*/ 0 h 6"/>
                <a:gd name="T4" fmla="*/ 0 w 7"/>
                <a:gd name="T5" fmla="*/ 3 h 6"/>
                <a:gd name="T6" fmla="*/ 3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3" y="5"/>
                  </a:moveTo>
                  <a:cubicBezTo>
                    <a:pt x="6" y="3"/>
                    <a:pt x="3" y="0"/>
                    <a:pt x="0" y="0"/>
                  </a:cubicBezTo>
                  <a:lnTo>
                    <a:pt x="0" y="3"/>
                  </a:lnTo>
                  <a:lnTo>
                    <a:pt x="3" y="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06" name="Freeform 533"/>
            <p:cNvSpPr>
              <a:spLocks noChangeArrowheads="1"/>
            </p:cNvSpPr>
            <p:nvPr/>
          </p:nvSpPr>
          <p:spPr bwMode="auto">
            <a:xfrm>
              <a:off x="3819525" y="2767013"/>
              <a:ext cx="4763" cy="4762"/>
            </a:xfrm>
            <a:custGeom>
              <a:avLst/>
              <a:gdLst>
                <a:gd name="T0" fmla="*/ 6 w 15"/>
                <a:gd name="T1" fmla="*/ 0 h 13"/>
                <a:gd name="T2" fmla="*/ 6 w 15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6" y="0"/>
                  </a:moveTo>
                  <a:cubicBezTo>
                    <a:pt x="0" y="12"/>
                    <a:pt x="14" y="9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07" name="Freeform 534"/>
            <p:cNvSpPr>
              <a:spLocks noChangeArrowheads="1"/>
            </p:cNvSpPr>
            <p:nvPr/>
          </p:nvSpPr>
          <p:spPr bwMode="auto">
            <a:xfrm>
              <a:off x="3894138" y="2805113"/>
              <a:ext cx="3175" cy="1587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0 h 6"/>
                <a:gd name="T4" fmla="*/ 3 w 7"/>
                <a:gd name="T5" fmla="*/ 0 h 6"/>
                <a:gd name="T6" fmla="*/ 0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cubicBezTo>
                    <a:pt x="0" y="3"/>
                    <a:pt x="3" y="3"/>
                    <a:pt x="6" y="0"/>
                  </a:cubicBezTo>
                  <a:lnTo>
                    <a:pt x="3" y="0"/>
                  </a:lnTo>
                  <a:cubicBezTo>
                    <a:pt x="0" y="0"/>
                    <a:pt x="0" y="3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08" name="Freeform 535"/>
            <p:cNvSpPr>
              <a:spLocks noChangeArrowheads="1"/>
            </p:cNvSpPr>
            <p:nvPr/>
          </p:nvSpPr>
          <p:spPr bwMode="auto">
            <a:xfrm>
              <a:off x="3890963" y="2276475"/>
              <a:ext cx="1587" cy="1588"/>
            </a:xfrm>
            <a:custGeom>
              <a:avLst/>
              <a:gdLst>
                <a:gd name="T0" fmla="*/ 3 w 4"/>
                <a:gd name="T1" fmla="*/ 3 h 4"/>
                <a:gd name="T2" fmla="*/ 0 w 4"/>
                <a:gd name="T3" fmla="*/ 0 h 4"/>
                <a:gd name="T4" fmla="*/ 3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lnTo>
                    <a:pt x="0" y="0"/>
                  </a:lnTo>
                  <a:cubicBezTo>
                    <a:pt x="0" y="0"/>
                    <a:pt x="0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09" name="Freeform 536"/>
            <p:cNvSpPr>
              <a:spLocks noChangeArrowheads="1"/>
            </p:cNvSpPr>
            <p:nvPr/>
          </p:nvSpPr>
          <p:spPr bwMode="auto">
            <a:xfrm>
              <a:off x="3897313" y="2457450"/>
              <a:ext cx="1587" cy="1588"/>
            </a:xfrm>
            <a:custGeom>
              <a:avLst/>
              <a:gdLst>
                <a:gd name="T0" fmla="*/ 3 w 4"/>
                <a:gd name="T1" fmla="*/ 3 h 4"/>
                <a:gd name="T2" fmla="*/ 3 w 4"/>
                <a:gd name="T3" fmla="*/ 0 h 4"/>
                <a:gd name="T4" fmla="*/ 0 w 4"/>
                <a:gd name="T5" fmla="*/ 0 h 4"/>
                <a:gd name="T6" fmla="*/ 3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10" name="Freeform 537"/>
            <p:cNvSpPr>
              <a:spLocks noChangeArrowheads="1"/>
            </p:cNvSpPr>
            <p:nvPr/>
          </p:nvSpPr>
          <p:spPr bwMode="auto">
            <a:xfrm>
              <a:off x="3898900" y="2724150"/>
              <a:ext cx="1588" cy="1588"/>
            </a:xfrm>
            <a:custGeom>
              <a:avLst/>
              <a:gdLst>
                <a:gd name="T0" fmla="*/ 3 w 4"/>
                <a:gd name="T1" fmla="*/ 3 h 4"/>
                <a:gd name="T2" fmla="*/ 3 w 4"/>
                <a:gd name="T3" fmla="*/ 0 h 4"/>
                <a:gd name="T4" fmla="*/ 3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lnTo>
                    <a:pt x="3" y="0"/>
                  </a:lnTo>
                  <a:cubicBezTo>
                    <a:pt x="3" y="3"/>
                    <a:pt x="0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11" name="Freeform 538"/>
            <p:cNvSpPr>
              <a:spLocks noChangeArrowheads="1"/>
            </p:cNvSpPr>
            <p:nvPr/>
          </p:nvSpPr>
          <p:spPr bwMode="auto">
            <a:xfrm>
              <a:off x="3897313" y="2728913"/>
              <a:ext cx="3175" cy="4762"/>
            </a:xfrm>
            <a:custGeom>
              <a:avLst/>
              <a:gdLst>
                <a:gd name="T0" fmla="*/ 0 w 9"/>
                <a:gd name="T1" fmla="*/ 9 h 12"/>
                <a:gd name="T2" fmla="*/ 8 w 9"/>
                <a:gd name="T3" fmla="*/ 3 h 12"/>
                <a:gd name="T4" fmla="*/ 3 w 9"/>
                <a:gd name="T5" fmla="*/ 0 h 12"/>
                <a:gd name="T6" fmla="*/ 0 w 9"/>
                <a:gd name="T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9"/>
                  </a:moveTo>
                  <a:cubicBezTo>
                    <a:pt x="5" y="11"/>
                    <a:pt x="8" y="6"/>
                    <a:pt x="8" y="3"/>
                  </a:cubicBezTo>
                  <a:cubicBezTo>
                    <a:pt x="5" y="3"/>
                    <a:pt x="5" y="3"/>
                    <a:pt x="3" y="0"/>
                  </a:cubicBezTo>
                  <a:cubicBezTo>
                    <a:pt x="5" y="6"/>
                    <a:pt x="3" y="9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12" name="Freeform 539"/>
            <p:cNvSpPr>
              <a:spLocks noChangeArrowheads="1"/>
            </p:cNvSpPr>
            <p:nvPr/>
          </p:nvSpPr>
          <p:spPr bwMode="auto">
            <a:xfrm>
              <a:off x="3884613" y="2255838"/>
              <a:ext cx="6350" cy="6350"/>
            </a:xfrm>
            <a:custGeom>
              <a:avLst/>
              <a:gdLst>
                <a:gd name="T0" fmla="*/ 11 w 18"/>
                <a:gd name="T1" fmla="*/ 0 h 18"/>
                <a:gd name="T2" fmla="*/ 0 w 18"/>
                <a:gd name="T3" fmla="*/ 11 h 18"/>
                <a:gd name="T4" fmla="*/ 8 w 18"/>
                <a:gd name="T5" fmla="*/ 17 h 18"/>
                <a:gd name="T6" fmla="*/ 11 w 18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cubicBezTo>
                    <a:pt x="3" y="0"/>
                    <a:pt x="0" y="3"/>
                    <a:pt x="0" y="11"/>
                  </a:cubicBezTo>
                  <a:cubicBezTo>
                    <a:pt x="3" y="11"/>
                    <a:pt x="5" y="14"/>
                    <a:pt x="8" y="17"/>
                  </a:cubicBezTo>
                  <a:cubicBezTo>
                    <a:pt x="11" y="11"/>
                    <a:pt x="17" y="5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13" name="Freeform 540"/>
            <p:cNvSpPr>
              <a:spLocks noChangeArrowheads="1"/>
            </p:cNvSpPr>
            <p:nvPr/>
          </p:nvSpPr>
          <p:spPr bwMode="auto">
            <a:xfrm>
              <a:off x="3868738" y="2430463"/>
              <a:ext cx="4762" cy="6350"/>
            </a:xfrm>
            <a:custGeom>
              <a:avLst/>
              <a:gdLst>
                <a:gd name="T0" fmla="*/ 5 w 15"/>
                <a:gd name="T1" fmla="*/ 0 h 18"/>
                <a:gd name="T2" fmla="*/ 0 w 15"/>
                <a:gd name="T3" fmla="*/ 11 h 18"/>
                <a:gd name="T4" fmla="*/ 14 w 15"/>
                <a:gd name="T5" fmla="*/ 17 h 18"/>
                <a:gd name="T6" fmla="*/ 5 w 15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8">
                  <a:moveTo>
                    <a:pt x="5" y="0"/>
                  </a:moveTo>
                  <a:cubicBezTo>
                    <a:pt x="3" y="3"/>
                    <a:pt x="0" y="6"/>
                    <a:pt x="0" y="11"/>
                  </a:cubicBezTo>
                  <a:cubicBezTo>
                    <a:pt x="3" y="14"/>
                    <a:pt x="8" y="17"/>
                    <a:pt x="14" y="17"/>
                  </a:cubicBezTo>
                  <a:cubicBezTo>
                    <a:pt x="8" y="8"/>
                    <a:pt x="5" y="6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14" name="Freeform 541"/>
            <p:cNvSpPr>
              <a:spLocks noChangeArrowheads="1"/>
            </p:cNvSpPr>
            <p:nvPr/>
          </p:nvSpPr>
          <p:spPr bwMode="auto">
            <a:xfrm>
              <a:off x="3873500" y="2433638"/>
              <a:ext cx="4763" cy="3175"/>
            </a:xfrm>
            <a:custGeom>
              <a:avLst/>
              <a:gdLst>
                <a:gd name="T0" fmla="*/ 0 w 12"/>
                <a:gd name="T1" fmla="*/ 6 h 7"/>
                <a:gd name="T2" fmla="*/ 11 w 12"/>
                <a:gd name="T3" fmla="*/ 3 h 7"/>
                <a:gd name="T4" fmla="*/ 0 w 12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7">
                  <a:moveTo>
                    <a:pt x="0" y="6"/>
                  </a:moveTo>
                  <a:cubicBezTo>
                    <a:pt x="5" y="6"/>
                    <a:pt x="8" y="6"/>
                    <a:pt x="11" y="3"/>
                  </a:cubicBezTo>
                  <a:cubicBezTo>
                    <a:pt x="8" y="0"/>
                    <a:pt x="3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15" name="Freeform 542"/>
            <p:cNvSpPr>
              <a:spLocks noChangeArrowheads="1"/>
            </p:cNvSpPr>
            <p:nvPr/>
          </p:nvSpPr>
          <p:spPr bwMode="auto">
            <a:xfrm>
              <a:off x="3862388" y="2568575"/>
              <a:ext cx="4762" cy="4763"/>
            </a:xfrm>
            <a:custGeom>
              <a:avLst/>
              <a:gdLst>
                <a:gd name="T0" fmla="*/ 11 w 12"/>
                <a:gd name="T1" fmla="*/ 9 h 13"/>
                <a:gd name="T2" fmla="*/ 8 w 12"/>
                <a:gd name="T3" fmla="*/ 0 h 13"/>
                <a:gd name="T4" fmla="*/ 5 w 12"/>
                <a:gd name="T5" fmla="*/ 6 h 13"/>
                <a:gd name="T6" fmla="*/ 0 w 12"/>
                <a:gd name="T7" fmla="*/ 6 h 13"/>
                <a:gd name="T8" fmla="*/ 0 w 12"/>
                <a:gd name="T9" fmla="*/ 12 h 13"/>
                <a:gd name="T10" fmla="*/ 11 w 12"/>
                <a:gd name="T1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3">
                  <a:moveTo>
                    <a:pt x="11" y="9"/>
                  </a:moveTo>
                  <a:cubicBezTo>
                    <a:pt x="11" y="6"/>
                    <a:pt x="11" y="3"/>
                    <a:pt x="8" y="0"/>
                  </a:cubicBezTo>
                  <a:cubicBezTo>
                    <a:pt x="8" y="3"/>
                    <a:pt x="5" y="3"/>
                    <a:pt x="5" y="6"/>
                  </a:cubicBezTo>
                  <a:lnTo>
                    <a:pt x="0" y="6"/>
                  </a:lnTo>
                  <a:cubicBezTo>
                    <a:pt x="0" y="9"/>
                    <a:pt x="0" y="9"/>
                    <a:pt x="0" y="12"/>
                  </a:cubicBezTo>
                  <a:lnTo>
                    <a:pt x="11" y="9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16" name="Freeform 543"/>
            <p:cNvSpPr>
              <a:spLocks noChangeArrowheads="1"/>
            </p:cNvSpPr>
            <p:nvPr/>
          </p:nvSpPr>
          <p:spPr bwMode="auto">
            <a:xfrm>
              <a:off x="3878263" y="2776538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6 w 7"/>
                <a:gd name="T3" fmla="*/ 0 h 6"/>
                <a:gd name="T4" fmla="*/ 3 w 7"/>
                <a:gd name="T5" fmla="*/ 0 h 6"/>
                <a:gd name="T6" fmla="*/ 6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lnTo>
                    <a:pt x="6" y="0"/>
                  </a:lnTo>
                  <a:lnTo>
                    <a:pt x="3" y="0"/>
                  </a:lnTo>
                  <a:cubicBezTo>
                    <a:pt x="0" y="3"/>
                    <a:pt x="0" y="5"/>
                    <a:pt x="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17" name="Freeform 544"/>
            <p:cNvSpPr>
              <a:spLocks noChangeArrowheads="1"/>
            </p:cNvSpPr>
            <p:nvPr/>
          </p:nvSpPr>
          <p:spPr bwMode="auto">
            <a:xfrm>
              <a:off x="3878263" y="2913063"/>
              <a:ext cx="1587" cy="1587"/>
            </a:xfrm>
            <a:custGeom>
              <a:avLst/>
              <a:gdLst>
                <a:gd name="T0" fmla="*/ 3 w 4"/>
                <a:gd name="T1" fmla="*/ 0 h 3"/>
                <a:gd name="T2" fmla="*/ 0 w 4"/>
                <a:gd name="T3" fmla="*/ 0 h 3"/>
                <a:gd name="T4" fmla="*/ 0 w 4"/>
                <a:gd name="T5" fmla="*/ 2 h 3"/>
                <a:gd name="T6" fmla="*/ 3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2"/>
                  </a:cubicBezTo>
                  <a:cubicBezTo>
                    <a:pt x="0" y="0"/>
                    <a:pt x="0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18" name="Freeform 545"/>
            <p:cNvSpPr>
              <a:spLocks noChangeArrowheads="1"/>
            </p:cNvSpPr>
            <p:nvPr/>
          </p:nvSpPr>
          <p:spPr bwMode="auto">
            <a:xfrm>
              <a:off x="3646488" y="2722563"/>
              <a:ext cx="9525" cy="9525"/>
            </a:xfrm>
            <a:custGeom>
              <a:avLst/>
              <a:gdLst>
                <a:gd name="T0" fmla="*/ 14 w 26"/>
                <a:gd name="T1" fmla="*/ 3 h 27"/>
                <a:gd name="T2" fmla="*/ 11 w 26"/>
                <a:gd name="T3" fmla="*/ 9 h 27"/>
                <a:gd name="T4" fmla="*/ 8 w 26"/>
                <a:gd name="T5" fmla="*/ 0 h 27"/>
                <a:gd name="T6" fmla="*/ 0 w 26"/>
                <a:gd name="T7" fmla="*/ 3 h 27"/>
                <a:gd name="T8" fmla="*/ 20 w 26"/>
                <a:gd name="T9" fmla="*/ 26 h 27"/>
                <a:gd name="T10" fmla="*/ 25 w 26"/>
                <a:gd name="T11" fmla="*/ 23 h 27"/>
                <a:gd name="T12" fmla="*/ 14 w 26"/>
                <a:gd name="T13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7">
                  <a:moveTo>
                    <a:pt x="14" y="3"/>
                  </a:moveTo>
                  <a:cubicBezTo>
                    <a:pt x="14" y="6"/>
                    <a:pt x="14" y="14"/>
                    <a:pt x="11" y="9"/>
                  </a:cubicBezTo>
                  <a:cubicBezTo>
                    <a:pt x="11" y="6"/>
                    <a:pt x="8" y="3"/>
                    <a:pt x="8" y="0"/>
                  </a:cubicBezTo>
                  <a:cubicBezTo>
                    <a:pt x="5" y="0"/>
                    <a:pt x="3" y="3"/>
                    <a:pt x="0" y="3"/>
                  </a:cubicBezTo>
                  <a:cubicBezTo>
                    <a:pt x="3" y="14"/>
                    <a:pt x="8" y="23"/>
                    <a:pt x="20" y="26"/>
                  </a:cubicBezTo>
                  <a:cubicBezTo>
                    <a:pt x="22" y="26"/>
                    <a:pt x="22" y="23"/>
                    <a:pt x="25" y="23"/>
                  </a:cubicBezTo>
                  <a:cubicBezTo>
                    <a:pt x="22" y="14"/>
                    <a:pt x="22" y="9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19" name="Freeform 546"/>
            <p:cNvSpPr>
              <a:spLocks noChangeArrowheads="1"/>
            </p:cNvSpPr>
            <p:nvPr/>
          </p:nvSpPr>
          <p:spPr bwMode="auto">
            <a:xfrm>
              <a:off x="3651250" y="2586038"/>
              <a:ext cx="6350" cy="4762"/>
            </a:xfrm>
            <a:custGeom>
              <a:avLst/>
              <a:gdLst>
                <a:gd name="T0" fmla="*/ 8 w 18"/>
                <a:gd name="T1" fmla="*/ 0 h 12"/>
                <a:gd name="T2" fmla="*/ 0 w 18"/>
                <a:gd name="T3" fmla="*/ 0 h 12"/>
                <a:gd name="T4" fmla="*/ 17 w 18"/>
                <a:gd name="T5" fmla="*/ 11 h 12"/>
                <a:gd name="T6" fmla="*/ 17 w 18"/>
                <a:gd name="T7" fmla="*/ 11 h 12"/>
                <a:gd name="T8" fmla="*/ 8 w 18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cubicBezTo>
                    <a:pt x="6" y="0"/>
                    <a:pt x="3" y="0"/>
                    <a:pt x="0" y="0"/>
                  </a:cubicBezTo>
                  <a:cubicBezTo>
                    <a:pt x="3" y="5"/>
                    <a:pt x="8" y="11"/>
                    <a:pt x="17" y="11"/>
                  </a:cubicBezTo>
                  <a:lnTo>
                    <a:pt x="17" y="11"/>
                  </a:lnTo>
                  <a:cubicBezTo>
                    <a:pt x="14" y="8"/>
                    <a:pt x="8" y="2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20" name="Freeform 547"/>
            <p:cNvSpPr>
              <a:spLocks noChangeArrowheads="1"/>
            </p:cNvSpPr>
            <p:nvPr/>
          </p:nvSpPr>
          <p:spPr bwMode="auto">
            <a:xfrm>
              <a:off x="3816350" y="2633663"/>
              <a:ext cx="4763" cy="4762"/>
            </a:xfrm>
            <a:custGeom>
              <a:avLst/>
              <a:gdLst>
                <a:gd name="T0" fmla="*/ 11 w 15"/>
                <a:gd name="T1" fmla="*/ 11 h 12"/>
                <a:gd name="T2" fmla="*/ 14 w 15"/>
                <a:gd name="T3" fmla="*/ 3 h 12"/>
                <a:gd name="T4" fmla="*/ 5 w 15"/>
                <a:gd name="T5" fmla="*/ 0 h 12"/>
                <a:gd name="T6" fmla="*/ 0 w 15"/>
                <a:gd name="T7" fmla="*/ 6 h 12"/>
                <a:gd name="T8" fmla="*/ 11 w 15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2">
                  <a:moveTo>
                    <a:pt x="11" y="11"/>
                  </a:moveTo>
                  <a:cubicBezTo>
                    <a:pt x="11" y="9"/>
                    <a:pt x="14" y="6"/>
                    <a:pt x="14" y="3"/>
                  </a:cubicBezTo>
                  <a:cubicBezTo>
                    <a:pt x="11" y="0"/>
                    <a:pt x="7" y="0"/>
                    <a:pt x="5" y="0"/>
                  </a:cubicBezTo>
                  <a:cubicBezTo>
                    <a:pt x="2" y="0"/>
                    <a:pt x="3" y="3"/>
                    <a:pt x="0" y="6"/>
                  </a:cubicBezTo>
                  <a:cubicBezTo>
                    <a:pt x="5" y="9"/>
                    <a:pt x="8" y="9"/>
                    <a:pt x="11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21" name="Freeform 548"/>
            <p:cNvSpPr>
              <a:spLocks noChangeArrowheads="1"/>
            </p:cNvSpPr>
            <p:nvPr/>
          </p:nvSpPr>
          <p:spPr bwMode="auto">
            <a:xfrm>
              <a:off x="3644900" y="2582863"/>
              <a:ext cx="3175" cy="3175"/>
            </a:xfrm>
            <a:custGeom>
              <a:avLst/>
              <a:gdLst>
                <a:gd name="T0" fmla="*/ 8 w 9"/>
                <a:gd name="T1" fmla="*/ 0 h 7"/>
                <a:gd name="T2" fmla="*/ 0 w 9"/>
                <a:gd name="T3" fmla="*/ 6 h 7"/>
                <a:gd name="T4" fmla="*/ 8 w 9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8" y="0"/>
                  </a:moveTo>
                  <a:cubicBezTo>
                    <a:pt x="3" y="0"/>
                    <a:pt x="0" y="0"/>
                    <a:pt x="0" y="6"/>
                  </a:cubicBezTo>
                  <a:cubicBezTo>
                    <a:pt x="6" y="6"/>
                    <a:pt x="8" y="6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22" name="Freeform 549"/>
            <p:cNvSpPr>
              <a:spLocks noChangeArrowheads="1"/>
            </p:cNvSpPr>
            <p:nvPr/>
          </p:nvSpPr>
          <p:spPr bwMode="auto">
            <a:xfrm>
              <a:off x="3702050" y="2305050"/>
              <a:ext cx="3175" cy="3175"/>
            </a:xfrm>
            <a:custGeom>
              <a:avLst/>
              <a:gdLst>
                <a:gd name="T0" fmla="*/ 8 w 9"/>
                <a:gd name="T1" fmla="*/ 6 h 10"/>
                <a:gd name="T2" fmla="*/ 8 w 9"/>
                <a:gd name="T3" fmla="*/ 0 h 10"/>
                <a:gd name="T4" fmla="*/ 6 w 9"/>
                <a:gd name="T5" fmla="*/ 0 h 10"/>
                <a:gd name="T6" fmla="*/ 0 w 9"/>
                <a:gd name="T7" fmla="*/ 9 h 10"/>
                <a:gd name="T8" fmla="*/ 8 w 9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8" y="6"/>
                  </a:moveTo>
                  <a:cubicBezTo>
                    <a:pt x="8" y="6"/>
                    <a:pt x="8" y="3"/>
                    <a:pt x="8" y="0"/>
                  </a:cubicBezTo>
                  <a:lnTo>
                    <a:pt x="6" y="0"/>
                  </a:lnTo>
                  <a:cubicBezTo>
                    <a:pt x="6" y="3"/>
                    <a:pt x="0" y="3"/>
                    <a:pt x="0" y="9"/>
                  </a:cubicBezTo>
                  <a:cubicBezTo>
                    <a:pt x="3" y="9"/>
                    <a:pt x="6" y="9"/>
                    <a:pt x="8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23" name="Freeform 550"/>
            <p:cNvSpPr>
              <a:spLocks noChangeArrowheads="1"/>
            </p:cNvSpPr>
            <p:nvPr/>
          </p:nvSpPr>
          <p:spPr bwMode="auto">
            <a:xfrm>
              <a:off x="3700463" y="2397125"/>
              <a:ext cx="3175" cy="4763"/>
            </a:xfrm>
            <a:custGeom>
              <a:avLst/>
              <a:gdLst>
                <a:gd name="T0" fmla="*/ 0 w 10"/>
                <a:gd name="T1" fmla="*/ 14 h 15"/>
                <a:gd name="T2" fmla="*/ 9 w 10"/>
                <a:gd name="T3" fmla="*/ 3 h 15"/>
                <a:gd name="T4" fmla="*/ 0 w 10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0" y="14"/>
                  </a:moveTo>
                  <a:cubicBezTo>
                    <a:pt x="6" y="14"/>
                    <a:pt x="9" y="11"/>
                    <a:pt x="9" y="3"/>
                  </a:cubicBezTo>
                  <a:cubicBezTo>
                    <a:pt x="0" y="0"/>
                    <a:pt x="0" y="5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24" name="Freeform 551"/>
            <p:cNvSpPr>
              <a:spLocks noChangeArrowheads="1"/>
            </p:cNvSpPr>
            <p:nvPr/>
          </p:nvSpPr>
          <p:spPr bwMode="auto">
            <a:xfrm>
              <a:off x="3641725" y="2584450"/>
              <a:ext cx="4763" cy="4763"/>
            </a:xfrm>
            <a:custGeom>
              <a:avLst/>
              <a:gdLst>
                <a:gd name="T0" fmla="*/ 0 w 12"/>
                <a:gd name="T1" fmla="*/ 8 h 15"/>
                <a:gd name="T2" fmla="*/ 8 w 12"/>
                <a:gd name="T3" fmla="*/ 14 h 15"/>
                <a:gd name="T4" fmla="*/ 11 w 12"/>
                <a:gd name="T5" fmla="*/ 0 h 15"/>
                <a:gd name="T6" fmla="*/ 0 w 12"/>
                <a:gd name="T7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0" y="8"/>
                  </a:moveTo>
                  <a:cubicBezTo>
                    <a:pt x="2" y="11"/>
                    <a:pt x="5" y="11"/>
                    <a:pt x="8" y="14"/>
                  </a:cubicBezTo>
                  <a:cubicBezTo>
                    <a:pt x="11" y="11"/>
                    <a:pt x="11" y="8"/>
                    <a:pt x="11" y="0"/>
                  </a:cubicBezTo>
                  <a:cubicBezTo>
                    <a:pt x="5" y="3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25" name="Freeform 552"/>
            <p:cNvSpPr>
              <a:spLocks noChangeArrowheads="1"/>
            </p:cNvSpPr>
            <p:nvPr/>
          </p:nvSpPr>
          <p:spPr bwMode="auto">
            <a:xfrm>
              <a:off x="3806825" y="2706688"/>
              <a:ext cx="3175" cy="4762"/>
            </a:xfrm>
            <a:custGeom>
              <a:avLst/>
              <a:gdLst>
                <a:gd name="T0" fmla="*/ 8 w 9"/>
                <a:gd name="T1" fmla="*/ 6 h 15"/>
                <a:gd name="T2" fmla="*/ 0 w 9"/>
                <a:gd name="T3" fmla="*/ 0 h 15"/>
                <a:gd name="T4" fmla="*/ 8 w 9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8" y="6"/>
                  </a:moveTo>
                  <a:cubicBezTo>
                    <a:pt x="5" y="6"/>
                    <a:pt x="2" y="3"/>
                    <a:pt x="0" y="0"/>
                  </a:cubicBezTo>
                  <a:cubicBezTo>
                    <a:pt x="0" y="6"/>
                    <a:pt x="8" y="14"/>
                    <a:pt x="8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26" name="Freeform 553"/>
            <p:cNvSpPr>
              <a:spLocks noChangeArrowheads="1"/>
            </p:cNvSpPr>
            <p:nvPr/>
          </p:nvSpPr>
          <p:spPr bwMode="auto">
            <a:xfrm>
              <a:off x="3800475" y="2209800"/>
              <a:ext cx="1588" cy="1588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0 h 4"/>
                <a:gd name="T4" fmla="*/ 0 w 3"/>
                <a:gd name="T5" fmla="*/ 0 h 4"/>
                <a:gd name="T6" fmla="*/ 2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2" y="0"/>
                    <a:pt x="0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27" name="Freeform 554"/>
            <p:cNvSpPr>
              <a:spLocks noChangeArrowheads="1"/>
            </p:cNvSpPr>
            <p:nvPr/>
          </p:nvSpPr>
          <p:spPr bwMode="auto">
            <a:xfrm>
              <a:off x="3802063" y="2951163"/>
              <a:ext cx="1587" cy="3175"/>
            </a:xfrm>
            <a:custGeom>
              <a:avLst/>
              <a:gdLst>
                <a:gd name="T0" fmla="*/ 0 w 4"/>
                <a:gd name="T1" fmla="*/ 0 h 7"/>
                <a:gd name="T2" fmla="*/ 0 w 4"/>
                <a:gd name="T3" fmla="*/ 6 h 7"/>
                <a:gd name="T4" fmla="*/ 3 w 4"/>
                <a:gd name="T5" fmla="*/ 6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cubicBezTo>
                    <a:pt x="0" y="3"/>
                    <a:pt x="0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28" name="Freeform 555"/>
            <p:cNvSpPr>
              <a:spLocks noChangeArrowheads="1"/>
            </p:cNvSpPr>
            <p:nvPr/>
          </p:nvSpPr>
          <p:spPr bwMode="auto">
            <a:xfrm>
              <a:off x="3813175" y="2487613"/>
              <a:ext cx="3175" cy="1587"/>
            </a:xfrm>
            <a:custGeom>
              <a:avLst/>
              <a:gdLst>
                <a:gd name="T0" fmla="*/ 8 w 9"/>
                <a:gd name="T1" fmla="*/ 0 h 4"/>
                <a:gd name="T2" fmla="*/ 0 w 9"/>
                <a:gd name="T3" fmla="*/ 0 h 4"/>
                <a:gd name="T4" fmla="*/ 0 w 9"/>
                <a:gd name="T5" fmla="*/ 3 h 4"/>
                <a:gd name="T6" fmla="*/ 5 w 9"/>
                <a:gd name="T7" fmla="*/ 3 h 4"/>
                <a:gd name="T8" fmla="*/ 8 w 9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8" y="0"/>
                  </a:moveTo>
                  <a:lnTo>
                    <a:pt x="0" y="0"/>
                  </a:lnTo>
                  <a:lnTo>
                    <a:pt x="0" y="3"/>
                  </a:lnTo>
                  <a:cubicBezTo>
                    <a:pt x="2" y="3"/>
                    <a:pt x="5" y="3"/>
                    <a:pt x="5" y="3"/>
                  </a:cubicBezTo>
                  <a:cubicBezTo>
                    <a:pt x="8" y="3"/>
                    <a:pt x="8" y="0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29" name="Freeform 556"/>
            <p:cNvSpPr>
              <a:spLocks noChangeArrowheads="1"/>
            </p:cNvSpPr>
            <p:nvPr/>
          </p:nvSpPr>
          <p:spPr bwMode="auto">
            <a:xfrm>
              <a:off x="3816350" y="2622550"/>
              <a:ext cx="1588" cy="1588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3 h 4"/>
                <a:gd name="T4" fmla="*/ 0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3"/>
                  </a:lnTo>
                  <a:cubicBezTo>
                    <a:pt x="0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30" name="Freeform 557"/>
            <p:cNvSpPr>
              <a:spLocks noChangeArrowheads="1"/>
            </p:cNvSpPr>
            <p:nvPr/>
          </p:nvSpPr>
          <p:spPr bwMode="auto">
            <a:xfrm>
              <a:off x="3816350" y="2479675"/>
              <a:ext cx="3175" cy="4763"/>
            </a:xfrm>
            <a:custGeom>
              <a:avLst/>
              <a:gdLst>
                <a:gd name="T0" fmla="*/ 8 w 9"/>
                <a:gd name="T1" fmla="*/ 14 h 15"/>
                <a:gd name="T2" fmla="*/ 3 w 9"/>
                <a:gd name="T3" fmla="*/ 0 h 15"/>
                <a:gd name="T4" fmla="*/ 3 w 9"/>
                <a:gd name="T5" fmla="*/ 0 h 15"/>
                <a:gd name="T6" fmla="*/ 3 w 9"/>
                <a:gd name="T7" fmla="*/ 12 h 15"/>
                <a:gd name="T8" fmla="*/ 8 w 9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8" y="14"/>
                  </a:moveTo>
                  <a:cubicBezTo>
                    <a:pt x="3" y="12"/>
                    <a:pt x="3" y="6"/>
                    <a:pt x="3" y="0"/>
                  </a:cubicBezTo>
                  <a:lnTo>
                    <a:pt x="3" y="0"/>
                  </a:lnTo>
                  <a:cubicBezTo>
                    <a:pt x="0" y="3"/>
                    <a:pt x="0" y="9"/>
                    <a:pt x="3" y="12"/>
                  </a:cubicBezTo>
                  <a:cubicBezTo>
                    <a:pt x="3" y="12"/>
                    <a:pt x="6" y="14"/>
                    <a:pt x="8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31" name="Freeform 558"/>
            <p:cNvSpPr>
              <a:spLocks noChangeArrowheads="1"/>
            </p:cNvSpPr>
            <p:nvPr/>
          </p:nvSpPr>
          <p:spPr bwMode="auto">
            <a:xfrm>
              <a:off x="3811588" y="2636838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3 w 4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0" y="0"/>
                    <a:pt x="0" y="0"/>
                  </a:cubicBezTo>
                  <a:cubicBezTo>
                    <a:pt x="0" y="3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32" name="Freeform 559"/>
            <p:cNvSpPr>
              <a:spLocks noChangeArrowheads="1"/>
            </p:cNvSpPr>
            <p:nvPr/>
          </p:nvSpPr>
          <p:spPr bwMode="auto">
            <a:xfrm>
              <a:off x="3783013" y="2200275"/>
              <a:ext cx="9525" cy="12700"/>
            </a:xfrm>
            <a:custGeom>
              <a:avLst/>
              <a:gdLst>
                <a:gd name="T0" fmla="*/ 22 w 26"/>
                <a:gd name="T1" fmla="*/ 20 h 35"/>
                <a:gd name="T2" fmla="*/ 22 w 26"/>
                <a:gd name="T3" fmla="*/ 0 h 35"/>
                <a:gd name="T4" fmla="*/ 0 w 26"/>
                <a:gd name="T5" fmla="*/ 31 h 35"/>
                <a:gd name="T6" fmla="*/ 22 w 26"/>
                <a:gd name="T7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5">
                  <a:moveTo>
                    <a:pt x="22" y="20"/>
                  </a:moveTo>
                  <a:cubicBezTo>
                    <a:pt x="19" y="9"/>
                    <a:pt x="25" y="6"/>
                    <a:pt x="22" y="0"/>
                  </a:cubicBezTo>
                  <a:cubicBezTo>
                    <a:pt x="8" y="6"/>
                    <a:pt x="0" y="17"/>
                    <a:pt x="0" y="31"/>
                  </a:cubicBezTo>
                  <a:cubicBezTo>
                    <a:pt x="8" y="34"/>
                    <a:pt x="5" y="17"/>
                    <a:pt x="22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33" name="Freeform 560"/>
            <p:cNvSpPr>
              <a:spLocks noChangeArrowheads="1"/>
            </p:cNvSpPr>
            <p:nvPr/>
          </p:nvSpPr>
          <p:spPr bwMode="auto">
            <a:xfrm>
              <a:off x="3900488" y="2662238"/>
              <a:ext cx="4762" cy="4762"/>
            </a:xfrm>
            <a:custGeom>
              <a:avLst/>
              <a:gdLst>
                <a:gd name="T0" fmla="*/ 11 w 12"/>
                <a:gd name="T1" fmla="*/ 6 h 12"/>
                <a:gd name="T2" fmla="*/ 9 w 12"/>
                <a:gd name="T3" fmla="*/ 0 h 12"/>
                <a:gd name="T4" fmla="*/ 0 w 12"/>
                <a:gd name="T5" fmla="*/ 3 h 12"/>
                <a:gd name="T6" fmla="*/ 11 w 12"/>
                <a:gd name="T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11" y="6"/>
                  </a:moveTo>
                  <a:cubicBezTo>
                    <a:pt x="9" y="6"/>
                    <a:pt x="9" y="3"/>
                    <a:pt x="9" y="0"/>
                  </a:cubicBezTo>
                  <a:cubicBezTo>
                    <a:pt x="6" y="0"/>
                    <a:pt x="3" y="3"/>
                    <a:pt x="0" y="3"/>
                  </a:cubicBezTo>
                  <a:cubicBezTo>
                    <a:pt x="6" y="3"/>
                    <a:pt x="9" y="11"/>
                    <a:pt x="11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34" name="Freeform 561"/>
            <p:cNvSpPr>
              <a:spLocks noChangeArrowheads="1"/>
            </p:cNvSpPr>
            <p:nvPr/>
          </p:nvSpPr>
          <p:spPr bwMode="auto">
            <a:xfrm>
              <a:off x="3798888" y="2203450"/>
              <a:ext cx="1587" cy="3175"/>
            </a:xfrm>
            <a:custGeom>
              <a:avLst/>
              <a:gdLst>
                <a:gd name="T0" fmla="*/ 0 w 4"/>
                <a:gd name="T1" fmla="*/ 8 h 9"/>
                <a:gd name="T2" fmla="*/ 3 w 4"/>
                <a:gd name="T3" fmla="*/ 3 h 9"/>
                <a:gd name="T4" fmla="*/ 0 w 4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9">
                  <a:moveTo>
                    <a:pt x="0" y="8"/>
                  </a:moveTo>
                  <a:cubicBezTo>
                    <a:pt x="0" y="6"/>
                    <a:pt x="3" y="6"/>
                    <a:pt x="3" y="3"/>
                  </a:cubicBezTo>
                  <a:cubicBezTo>
                    <a:pt x="3" y="0"/>
                    <a:pt x="0" y="3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35" name="Freeform 562"/>
            <p:cNvSpPr>
              <a:spLocks noChangeArrowheads="1"/>
            </p:cNvSpPr>
            <p:nvPr/>
          </p:nvSpPr>
          <p:spPr bwMode="auto">
            <a:xfrm>
              <a:off x="3789363" y="2490788"/>
              <a:ext cx="1587" cy="3175"/>
            </a:xfrm>
            <a:custGeom>
              <a:avLst/>
              <a:gdLst>
                <a:gd name="T0" fmla="*/ 0 w 6"/>
                <a:gd name="T1" fmla="*/ 3 h 10"/>
                <a:gd name="T2" fmla="*/ 0 w 6"/>
                <a:gd name="T3" fmla="*/ 9 h 10"/>
                <a:gd name="T4" fmla="*/ 5 w 6"/>
                <a:gd name="T5" fmla="*/ 3 h 10"/>
                <a:gd name="T6" fmla="*/ 5 w 6"/>
                <a:gd name="T7" fmla="*/ 3 h 10"/>
                <a:gd name="T8" fmla="*/ 0 w 6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0" y="3"/>
                  </a:moveTo>
                  <a:cubicBezTo>
                    <a:pt x="0" y="6"/>
                    <a:pt x="0" y="6"/>
                    <a:pt x="0" y="9"/>
                  </a:cubicBezTo>
                  <a:cubicBezTo>
                    <a:pt x="2" y="9"/>
                    <a:pt x="2" y="6"/>
                    <a:pt x="5" y="3"/>
                  </a:cubicBezTo>
                  <a:lnTo>
                    <a:pt x="5" y="3"/>
                  </a:lnTo>
                  <a:cubicBezTo>
                    <a:pt x="5" y="3"/>
                    <a:pt x="2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36" name="Freeform 563"/>
            <p:cNvSpPr>
              <a:spLocks noChangeArrowheads="1"/>
            </p:cNvSpPr>
            <p:nvPr/>
          </p:nvSpPr>
          <p:spPr bwMode="auto">
            <a:xfrm>
              <a:off x="4192588" y="2154238"/>
              <a:ext cx="3175" cy="3175"/>
            </a:xfrm>
            <a:custGeom>
              <a:avLst/>
              <a:gdLst>
                <a:gd name="T0" fmla="*/ 8 w 9"/>
                <a:gd name="T1" fmla="*/ 0 h 9"/>
                <a:gd name="T2" fmla="*/ 2 w 9"/>
                <a:gd name="T3" fmla="*/ 0 h 9"/>
                <a:gd name="T4" fmla="*/ 0 w 9"/>
                <a:gd name="T5" fmla="*/ 8 h 9"/>
                <a:gd name="T6" fmla="*/ 8 w 9"/>
                <a:gd name="T7" fmla="*/ 8 h 9"/>
                <a:gd name="T8" fmla="*/ 8 w 9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0"/>
                  </a:moveTo>
                  <a:lnTo>
                    <a:pt x="2" y="0"/>
                  </a:lnTo>
                  <a:cubicBezTo>
                    <a:pt x="2" y="2"/>
                    <a:pt x="0" y="2"/>
                    <a:pt x="0" y="8"/>
                  </a:cubicBezTo>
                  <a:lnTo>
                    <a:pt x="8" y="8"/>
                  </a:lnTo>
                  <a:lnTo>
                    <a:pt x="8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37" name="Freeform 564"/>
            <p:cNvSpPr>
              <a:spLocks noChangeArrowheads="1"/>
            </p:cNvSpPr>
            <p:nvPr/>
          </p:nvSpPr>
          <p:spPr bwMode="auto">
            <a:xfrm>
              <a:off x="4133850" y="2317750"/>
              <a:ext cx="1588" cy="1588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3 h 4"/>
                <a:gd name="T4" fmla="*/ 0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3"/>
                  </a:lnTo>
                  <a:cubicBezTo>
                    <a:pt x="0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38" name="Freeform 565"/>
            <p:cNvSpPr>
              <a:spLocks noChangeArrowheads="1"/>
            </p:cNvSpPr>
            <p:nvPr/>
          </p:nvSpPr>
          <p:spPr bwMode="auto">
            <a:xfrm>
              <a:off x="4133850" y="3076575"/>
              <a:ext cx="4763" cy="1588"/>
            </a:xfrm>
            <a:custGeom>
              <a:avLst/>
              <a:gdLst>
                <a:gd name="T0" fmla="*/ 0 w 15"/>
                <a:gd name="T1" fmla="*/ 3 h 6"/>
                <a:gd name="T2" fmla="*/ 14 w 15"/>
                <a:gd name="T3" fmla="*/ 5 h 6"/>
                <a:gd name="T4" fmla="*/ 0 w 15"/>
                <a:gd name="T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6">
                  <a:moveTo>
                    <a:pt x="0" y="3"/>
                  </a:moveTo>
                  <a:cubicBezTo>
                    <a:pt x="6" y="3"/>
                    <a:pt x="8" y="5"/>
                    <a:pt x="14" y="5"/>
                  </a:cubicBezTo>
                  <a:cubicBezTo>
                    <a:pt x="11" y="3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39" name="Freeform 566"/>
            <p:cNvSpPr>
              <a:spLocks noChangeArrowheads="1"/>
            </p:cNvSpPr>
            <p:nvPr/>
          </p:nvSpPr>
          <p:spPr bwMode="auto">
            <a:xfrm>
              <a:off x="4149725" y="2662238"/>
              <a:ext cx="4763" cy="3175"/>
            </a:xfrm>
            <a:custGeom>
              <a:avLst/>
              <a:gdLst>
                <a:gd name="T0" fmla="*/ 6 w 13"/>
                <a:gd name="T1" fmla="*/ 9 h 10"/>
                <a:gd name="T2" fmla="*/ 12 w 13"/>
                <a:gd name="T3" fmla="*/ 6 h 10"/>
                <a:gd name="T4" fmla="*/ 12 w 13"/>
                <a:gd name="T5" fmla="*/ 0 h 10"/>
                <a:gd name="T6" fmla="*/ 0 w 13"/>
                <a:gd name="T7" fmla="*/ 0 h 10"/>
                <a:gd name="T8" fmla="*/ 6 w 13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0">
                  <a:moveTo>
                    <a:pt x="6" y="9"/>
                  </a:moveTo>
                  <a:cubicBezTo>
                    <a:pt x="9" y="9"/>
                    <a:pt x="9" y="6"/>
                    <a:pt x="12" y="6"/>
                  </a:cubicBezTo>
                  <a:lnTo>
                    <a:pt x="12" y="0"/>
                  </a:lnTo>
                  <a:lnTo>
                    <a:pt x="0" y="0"/>
                  </a:lnTo>
                  <a:cubicBezTo>
                    <a:pt x="0" y="6"/>
                    <a:pt x="3" y="9"/>
                    <a:pt x="6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40" name="Freeform 567"/>
            <p:cNvSpPr>
              <a:spLocks noChangeArrowheads="1"/>
            </p:cNvSpPr>
            <p:nvPr/>
          </p:nvSpPr>
          <p:spPr bwMode="auto">
            <a:xfrm>
              <a:off x="4151313" y="2590800"/>
              <a:ext cx="3175" cy="4763"/>
            </a:xfrm>
            <a:custGeom>
              <a:avLst/>
              <a:gdLst>
                <a:gd name="T0" fmla="*/ 0 w 7"/>
                <a:gd name="T1" fmla="*/ 9 h 13"/>
                <a:gd name="T2" fmla="*/ 6 w 7"/>
                <a:gd name="T3" fmla="*/ 3 h 13"/>
                <a:gd name="T4" fmla="*/ 6 w 7"/>
                <a:gd name="T5" fmla="*/ 0 h 13"/>
                <a:gd name="T6" fmla="*/ 0 w 7"/>
                <a:gd name="T7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0" y="9"/>
                  </a:moveTo>
                  <a:cubicBezTo>
                    <a:pt x="6" y="12"/>
                    <a:pt x="6" y="6"/>
                    <a:pt x="6" y="3"/>
                  </a:cubicBezTo>
                  <a:cubicBezTo>
                    <a:pt x="6" y="3"/>
                    <a:pt x="6" y="3"/>
                    <a:pt x="6" y="0"/>
                  </a:cubicBezTo>
                  <a:cubicBezTo>
                    <a:pt x="3" y="0"/>
                    <a:pt x="0" y="3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41" name="Freeform 568"/>
            <p:cNvSpPr>
              <a:spLocks noChangeArrowheads="1"/>
            </p:cNvSpPr>
            <p:nvPr/>
          </p:nvSpPr>
          <p:spPr bwMode="auto">
            <a:xfrm>
              <a:off x="4152900" y="2674938"/>
              <a:ext cx="4763" cy="3175"/>
            </a:xfrm>
            <a:custGeom>
              <a:avLst/>
              <a:gdLst>
                <a:gd name="T0" fmla="*/ 14 w 15"/>
                <a:gd name="T1" fmla="*/ 0 h 9"/>
                <a:gd name="T2" fmla="*/ 5 w 15"/>
                <a:gd name="T3" fmla="*/ 0 h 9"/>
                <a:gd name="T4" fmla="*/ 2 w 15"/>
                <a:gd name="T5" fmla="*/ 5 h 9"/>
                <a:gd name="T6" fmla="*/ 2 w 15"/>
                <a:gd name="T7" fmla="*/ 5 h 9"/>
                <a:gd name="T8" fmla="*/ 14 w 1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9">
                  <a:moveTo>
                    <a:pt x="14" y="0"/>
                  </a:moveTo>
                  <a:cubicBezTo>
                    <a:pt x="11" y="0"/>
                    <a:pt x="8" y="0"/>
                    <a:pt x="5" y="0"/>
                  </a:cubicBezTo>
                  <a:cubicBezTo>
                    <a:pt x="2" y="0"/>
                    <a:pt x="0" y="3"/>
                    <a:pt x="2" y="5"/>
                  </a:cubicBezTo>
                  <a:lnTo>
                    <a:pt x="2" y="5"/>
                  </a:lnTo>
                  <a:cubicBezTo>
                    <a:pt x="5" y="8"/>
                    <a:pt x="11" y="5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42" name="Freeform 569"/>
            <p:cNvSpPr>
              <a:spLocks noChangeArrowheads="1"/>
            </p:cNvSpPr>
            <p:nvPr/>
          </p:nvSpPr>
          <p:spPr bwMode="auto">
            <a:xfrm>
              <a:off x="4156075" y="277653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3 w 4"/>
                <a:gd name="T3" fmla="*/ 3 h 4"/>
                <a:gd name="T4" fmla="*/ 3 w 4"/>
                <a:gd name="T5" fmla="*/ 0 h 4"/>
                <a:gd name="T6" fmla="*/ 0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43" name="Freeform 570"/>
            <p:cNvSpPr>
              <a:spLocks noChangeArrowheads="1"/>
            </p:cNvSpPr>
            <p:nvPr/>
          </p:nvSpPr>
          <p:spPr bwMode="auto">
            <a:xfrm>
              <a:off x="4133850" y="2990850"/>
              <a:ext cx="3175" cy="3175"/>
            </a:xfrm>
            <a:custGeom>
              <a:avLst/>
              <a:gdLst>
                <a:gd name="T0" fmla="*/ 8 w 9"/>
                <a:gd name="T1" fmla="*/ 6 h 7"/>
                <a:gd name="T2" fmla="*/ 0 w 9"/>
                <a:gd name="T3" fmla="*/ 0 h 7"/>
                <a:gd name="T4" fmla="*/ 8 w 9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8" y="6"/>
                  </a:moveTo>
                  <a:cubicBezTo>
                    <a:pt x="8" y="0"/>
                    <a:pt x="3" y="0"/>
                    <a:pt x="0" y="0"/>
                  </a:cubicBezTo>
                  <a:cubicBezTo>
                    <a:pt x="3" y="0"/>
                    <a:pt x="6" y="3"/>
                    <a:pt x="8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44" name="Freeform 571"/>
            <p:cNvSpPr>
              <a:spLocks noChangeArrowheads="1"/>
            </p:cNvSpPr>
            <p:nvPr/>
          </p:nvSpPr>
          <p:spPr bwMode="auto">
            <a:xfrm>
              <a:off x="4146550" y="2587625"/>
              <a:ext cx="4763" cy="1588"/>
            </a:xfrm>
            <a:custGeom>
              <a:avLst/>
              <a:gdLst>
                <a:gd name="T0" fmla="*/ 11 w 12"/>
                <a:gd name="T1" fmla="*/ 3 h 4"/>
                <a:gd name="T2" fmla="*/ 0 w 12"/>
                <a:gd name="T3" fmla="*/ 0 h 4"/>
                <a:gd name="T4" fmla="*/ 11 w 12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4">
                  <a:moveTo>
                    <a:pt x="11" y="3"/>
                  </a:moveTo>
                  <a:cubicBezTo>
                    <a:pt x="8" y="3"/>
                    <a:pt x="3" y="0"/>
                    <a:pt x="0" y="0"/>
                  </a:cubicBezTo>
                  <a:cubicBezTo>
                    <a:pt x="5" y="3"/>
                    <a:pt x="8" y="3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45" name="Freeform 572"/>
            <p:cNvSpPr>
              <a:spLocks noChangeArrowheads="1"/>
            </p:cNvSpPr>
            <p:nvPr/>
          </p:nvSpPr>
          <p:spPr bwMode="auto">
            <a:xfrm>
              <a:off x="4148138" y="2625725"/>
              <a:ext cx="4762" cy="3175"/>
            </a:xfrm>
            <a:custGeom>
              <a:avLst/>
              <a:gdLst>
                <a:gd name="T0" fmla="*/ 11 w 12"/>
                <a:gd name="T1" fmla="*/ 3 h 7"/>
                <a:gd name="T2" fmla="*/ 0 w 12"/>
                <a:gd name="T3" fmla="*/ 3 h 7"/>
                <a:gd name="T4" fmla="*/ 5 w 12"/>
                <a:gd name="T5" fmla="*/ 6 h 7"/>
                <a:gd name="T6" fmla="*/ 11 w 12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7">
                  <a:moveTo>
                    <a:pt x="11" y="3"/>
                  </a:moveTo>
                  <a:cubicBezTo>
                    <a:pt x="5" y="3"/>
                    <a:pt x="2" y="0"/>
                    <a:pt x="0" y="3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8" y="6"/>
                    <a:pt x="8" y="6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46" name="Freeform 573"/>
            <p:cNvSpPr>
              <a:spLocks noChangeArrowheads="1"/>
            </p:cNvSpPr>
            <p:nvPr/>
          </p:nvSpPr>
          <p:spPr bwMode="auto">
            <a:xfrm>
              <a:off x="4256088" y="2279650"/>
              <a:ext cx="4762" cy="4763"/>
            </a:xfrm>
            <a:custGeom>
              <a:avLst/>
              <a:gdLst>
                <a:gd name="T0" fmla="*/ 14 w 15"/>
                <a:gd name="T1" fmla="*/ 8 h 15"/>
                <a:gd name="T2" fmla="*/ 0 w 15"/>
                <a:gd name="T3" fmla="*/ 8 h 15"/>
                <a:gd name="T4" fmla="*/ 14 w 15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8"/>
                  </a:moveTo>
                  <a:cubicBezTo>
                    <a:pt x="11" y="5"/>
                    <a:pt x="2" y="0"/>
                    <a:pt x="0" y="8"/>
                  </a:cubicBezTo>
                  <a:cubicBezTo>
                    <a:pt x="0" y="8"/>
                    <a:pt x="11" y="14"/>
                    <a:pt x="14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47" name="Freeform 574"/>
            <p:cNvSpPr>
              <a:spLocks noChangeArrowheads="1"/>
            </p:cNvSpPr>
            <p:nvPr/>
          </p:nvSpPr>
          <p:spPr bwMode="auto">
            <a:xfrm>
              <a:off x="4159250" y="2157413"/>
              <a:ext cx="1588" cy="3175"/>
            </a:xfrm>
            <a:custGeom>
              <a:avLst/>
              <a:gdLst>
                <a:gd name="T0" fmla="*/ 0 w 4"/>
                <a:gd name="T1" fmla="*/ 3 h 10"/>
                <a:gd name="T2" fmla="*/ 3 w 4"/>
                <a:gd name="T3" fmla="*/ 0 h 10"/>
                <a:gd name="T4" fmla="*/ 0 w 4"/>
                <a:gd name="T5" fmla="*/ 0 h 10"/>
                <a:gd name="T6" fmla="*/ 0 w 4"/>
                <a:gd name="T7" fmla="*/ 9 h 10"/>
                <a:gd name="T8" fmla="*/ 3 w 4"/>
                <a:gd name="T9" fmla="*/ 9 h 10"/>
                <a:gd name="T10" fmla="*/ 0 w 4"/>
                <a:gd name="T1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0">
                  <a:moveTo>
                    <a:pt x="0" y="3"/>
                  </a:moveTo>
                  <a:cubicBezTo>
                    <a:pt x="0" y="3"/>
                    <a:pt x="0" y="0"/>
                    <a:pt x="3" y="0"/>
                  </a:cubicBezTo>
                  <a:lnTo>
                    <a:pt x="0" y="0"/>
                  </a:lnTo>
                  <a:lnTo>
                    <a:pt x="0" y="9"/>
                  </a:lnTo>
                  <a:lnTo>
                    <a:pt x="3" y="9"/>
                  </a:lnTo>
                  <a:cubicBezTo>
                    <a:pt x="0" y="6"/>
                    <a:pt x="0" y="6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48" name="Freeform 575"/>
            <p:cNvSpPr>
              <a:spLocks noChangeArrowheads="1"/>
            </p:cNvSpPr>
            <p:nvPr/>
          </p:nvSpPr>
          <p:spPr bwMode="auto">
            <a:xfrm>
              <a:off x="3873500" y="2511425"/>
              <a:ext cx="1588" cy="1588"/>
            </a:xfrm>
            <a:custGeom>
              <a:avLst/>
              <a:gdLst>
                <a:gd name="T0" fmla="*/ 5 w 6"/>
                <a:gd name="T1" fmla="*/ 0 h 6"/>
                <a:gd name="T2" fmla="*/ 0 w 6"/>
                <a:gd name="T3" fmla="*/ 2 h 6"/>
                <a:gd name="T4" fmla="*/ 3 w 6"/>
                <a:gd name="T5" fmla="*/ 5 h 6"/>
                <a:gd name="T6" fmla="*/ 5 w 6"/>
                <a:gd name="T7" fmla="*/ 5 h 6"/>
                <a:gd name="T8" fmla="*/ 5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0"/>
                  </a:moveTo>
                  <a:cubicBezTo>
                    <a:pt x="3" y="0"/>
                    <a:pt x="0" y="0"/>
                    <a:pt x="0" y="2"/>
                  </a:cubicBezTo>
                  <a:cubicBezTo>
                    <a:pt x="3" y="2"/>
                    <a:pt x="3" y="2"/>
                    <a:pt x="3" y="5"/>
                  </a:cubicBezTo>
                  <a:cubicBezTo>
                    <a:pt x="3" y="5"/>
                    <a:pt x="3" y="5"/>
                    <a:pt x="5" y="5"/>
                  </a:cubicBezTo>
                  <a:cubicBezTo>
                    <a:pt x="5" y="5"/>
                    <a:pt x="5" y="2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49" name="Freeform 576"/>
            <p:cNvSpPr>
              <a:spLocks noChangeArrowheads="1"/>
            </p:cNvSpPr>
            <p:nvPr/>
          </p:nvSpPr>
          <p:spPr bwMode="auto">
            <a:xfrm>
              <a:off x="4249738" y="2287588"/>
              <a:ext cx="1587" cy="1587"/>
            </a:xfrm>
            <a:custGeom>
              <a:avLst/>
              <a:gdLst>
                <a:gd name="T0" fmla="*/ 5 w 6"/>
                <a:gd name="T1" fmla="*/ 3 h 4"/>
                <a:gd name="T2" fmla="*/ 5 w 6"/>
                <a:gd name="T3" fmla="*/ 3 h 4"/>
                <a:gd name="T4" fmla="*/ 0 w 6"/>
                <a:gd name="T5" fmla="*/ 0 h 4"/>
                <a:gd name="T6" fmla="*/ 0 w 6"/>
                <a:gd name="T7" fmla="*/ 0 h 4"/>
                <a:gd name="T8" fmla="*/ 5 w 6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3" y="3"/>
                    <a:pt x="3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50" name="Freeform 577"/>
            <p:cNvSpPr>
              <a:spLocks noChangeArrowheads="1"/>
            </p:cNvSpPr>
            <p:nvPr/>
          </p:nvSpPr>
          <p:spPr bwMode="auto">
            <a:xfrm>
              <a:off x="4232275" y="3052763"/>
              <a:ext cx="7938" cy="3175"/>
            </a:xfrm>
            <a:custGeom>
              <a:avLst/>
              <a:gdLst>
                <a:gd name="T0" fmla="*/ 3 w 21"/>
                <a:gd name="T1" fmla="*/ 8 h 9"/>
                <a:gd name="T2" fmla="*/ 8 w 21"/>
                <a:gd name="T3" fmla="*/ 8 h 9"/>
                <a:gd name="T4" fmla="*/ 19 w 21"/>
                <a:gd name="T5" fmla="*/ 6 h 9"/>
                <a:gd name="T6" fmla="*/ 17 w 21"/>
                <a:gd name="T7" fmla="*/ 3 h 9"/>
                <a:gd name="T8" fmla="*/ 8 w 21"/>
                <a:gd name="T9" fmla="*/ 3 h 9"/>
                <a:gd name="T10" fmla="*/ 0 w 21"/>
                <a:gd name="T11" fmla="*/ 3 h 9"/>
                <a:gd name="T12" fmla="*/ 3 w 21"/>
                <a:gd name="T1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9">
                  <a:moveTo>
                    <a:pt x="3" y="8"/>
                  </a:moveTo>
                  <a:cubicBezTo>
                    <a:pt x="5" y="8"/>
                    <a:pt x="8" y="8"/>
                    <a:pt x="8" y="8"/>
                  </a:cubicBezTo>
                  <a:cubicBezTo>
                    <a:pt x="5" y="0"/>
                    <a:pt x="8" y="6"/>
                    <a:pt x="19" y="6"/>
                  </a:cubicBezTo>
                  <a:cubicBezTo>
                    <a:pt x="19" y="6"/>
                    <a:pt x="20" y="3"/>
                    <a:pt x="17" y="3"/>
                  </a:cubicBezTo>
                  <a:cubicBezTo>
                    <a:pt x="15" y="3"/>
                    <a:pt x="11" y="3"/>
                    <a:pt x="8" y="3"/>
                  </a:cubicBezTo>
                  <a:cubicBezTo>
                    <a:pt x="5" y="3"/>
                    <a:pt x="3" y="3"/>
                    <a:pt x="0" y="3"/>
                  </a:cubicBezTo>
                  <a:cubicBezTo>
                    <a:pt x="0" y="3"/>
                    <a:pt x="0" y="6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51" name="Freeform 578"/>
            <p:cNvSpPr>
              <a:spLocks noChangeArrowheads="1"/>
            </p:cNvSpPr>
            <p:nvPr/>
          </p:nvSpPr>
          <p:spPr bwMode="auto">
            <a:xfrm>
              <a:off x="4238625" y="2330450"/>
              <a:ext cx="4763" cy="3175"/>
            </a:xfrm>
            <a:custGeom>
              <a:avLst/>
              <a:gdLst>
                <a:gd name="T0" fmla="*/ 14 w 15"/>
                <a:gd name="T1" fmla="*/ 2 h 9"/>
                <a:gd name="T2" fmla="*/ 0 w 15"/>
                <a:gd name="T3" fmla="*/ 0 h 9"/>
                <a:gd name="T4" fmla="*/ 14 w 15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2"/>
                  </a:moveTo>
                  <a:cubicBezTo>
                    <a:pt x="11" y="0"/>
                    <a:pt x="5" y="0"/>
                    <a:pt x="0" y="0"/>
                  </a:cubicBezTo>
                  <a:cubicBezTo>
                    <a:pt x="0" y="5"/>
                    <a:pt x="14" y="8"/>
                    <a:pt x="14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52" name="Freeform 579"/>
            <p:cNvSpPr>
              <a:spLocks noChangeArrowheads="1"/>
            </p:cNvSpPr>
            <p:nvPr/>
          </p:nvSpPr>
          <p:spPr bwMode="auto">
            <a:xfrm>
              <a:off x="4248150" y="2432050"/>
              <a:ext cx="7938" cy="6350"/>
            </a:xfrm>
            <a:custGeom>
              <a:avLst/>
              <a:gdLst>
                <a:gd name="T0" fmla="*/ 20 w 21"/>
                <a:gd name="T1" fmla="*/ 8 h 18"/>
                <a:gd name="T2" fmla="*/ 20 w 21"/>
                <a:gd name="T3" fmla="*/ 8 h 18"/>
                <a:gd name="T4" fmla="*/ 3 w 21"/>
                <a:gd name="T5" fmla="*/ 0 h 18"/>
                <a:gd name="T6" fmla="*/ 0 w 21"/>
                <a:gd name="T7" fmla="*/ 11 h 18"/>
                <a:gd name="T8" fmla="*/ 3 w 21"/>
                <a:gd name="T9" fmla="*/ 17 h 18"/>
                <a:gd name="T10" fmla="*/ 20 w 21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8">
                  <a:moveTo>
                    <a:pt x="20" y="8"/>
                  </a:moveTo>
                  <a:lnTo>
                    <a:pt x="20" y="8"/>
                  </a:lnTo>
                  <a:cubicBezTo>
                    <a:pt x="17" y="3"/>
                    <a:pt x="8" y="0"/>
                    <a:pt x="3" y="0"/>
                  </a:cubicBezTo>
                  <a:cubicBezTo>
                    <a:pt x="3" y="3"/>
                    <a:pt x="3" y="8"/>
                    <a:pt x="0" y="11"/>
                  </a:cubicBezTo>
                  <a:cubicBezTo>
                    <a:pt x="0" y="14"/>
                    <a:pt x="3" y="14"/>
                    <a:pt x="3" y="17"/>
                  </a:cubicBezTo>
                  <a:cubicBezTo>
                    <a:pt x="8" y="14"/>
                    <a:pt x="14" y="11"/>
                    <a:pt x="2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53" name="Freeform 580"/>
            <p:cNvSpPr>
              <a:spLocks noChangeArrowheads="1"/>
            </p:cNvSpPr>
            <p:nvPr/>
          </p:nvSpPr>
          <p:spPr bwMode="auto">
            <a:xfrm>
              <a:off x="4187825" y="3073400"/>
              <a:ext cx="1588" cy="3175"/>
            </a:xfrm>
            <a:custGeom>
              <a:avLst/>
              <a:gdLst>
                <a:gd name="T0" fmla="*/ 0 w 6"/>
                <a:gd name="T1" fmla="*/ 5 h 9"/>
                <a:gd name="T2" fmla="*/ 2 w 6"/>
                <a:gd name="T3" fmla="*/ 8 h 9"/>
                <a:gd name="T4" fmla="*/ 5 w 6"/>
                <a:gd name="T5" fmla="*/ 2 h 9"/>
                <a:gd name="T6" fmla="*/ 0 w 6"/>
                <a:gd name="T7" fmla="*/ 0 h 9"/>
                <a:gd name="T8" fmla="*/ 0 w 6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0" y="5"/>
                  </a:moveTo>
                  <a:cubicBezTo>
                    <a:pt x="2" y="5"/>
                    <a:pt x="2" y="8"/>
                    <a:pt x="2" y="8"/>
                  </a:cubicBezTo>
                  <a:cubicBezTo>
                    <a:pt x="2" y="5"/>
                    <a:pt x="5" y="5"/>
                    <a:pt x="5" y="2"/>
                  </a:cubicBezTo>
                  <a:cubicBezTo>
                    <a:pt x="2" y="2"/>
                    <a:pt x="2" y="0"/>
                    <a:pt x="0" y="0"/>
                  </a:cubicBezTo>
                  <a:cubicBezTo>
                    <a:pt x="2" y="2"/>
                    <a:pt x="2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54" name="Freeform 581"/>
            <p:cNvSpPr>
              <a:spLocks noChangeArrowheads="1"/>
            </p:cNvSpPr>
            <p:nvPr/>
          </p:nvSpPr>
          <p:spPr bwMode="auto">
            <a:xfrm>
              <a:off x="4159250" y="2374900"/>
              <a:ext cx="1588" cy="3175"/>
            </a:xfrm>
            <a:custGeom>
              <a:avLst/>
              <a:gdLst>
                <a:gd name="T0" fmla="*/ 0 w 6"/>
                <a:gd name="T1" fmla="*/ 2 h 9"/>
                <a:gd name="T2" fmla="*/ 0 w 6"/>
                <a:gd name="T3" fmla="*/ 8 h 9"/>
                <a:gd name="T4" fmla="*/ 5 w 6"/>
                <a:gd name="T5" fmla="*/ 5 h 9"/>
                <a:gd name="T6" fmla="*/ 5 w 6"/>
                <a:gd name="T7" fmla="*/ 0 h 9"/>
                <a:gd name="T8" fmla="*/ 0 w 6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0" y="2"/>
                  </a:moveTo>
                  <a:cubicBezTo>
                    <a:pt x="0" y="5"/>
                    <a:pt x="0" y="8"/>
                    <a:pt x="0" y="8"/>
                  </a:cubicBezTo>
                  <a:cubicBezTo>
                    <a:pt x="3" y="8"/>
                    <a:pt x="5" y="5"/>
                    <a:pt x="5" y="5"/>
                  </a:cubicBezTo>
                  <a:lnTo>
                    <a:pt x="5" y="0"/>
                  </a:lnTo>
                  <a:cubicBezTo>
                    <a:pt x="5" y="2"/>
                    <a:pt x="3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55" name="Freeform 582"/>
            <p:cNvSpPr>
              <a:spLocks noChangeArrowheads="1"/>
            </p:cNvSpPr>
            <p:nvPr/>
          </p:nvSpPr>
          <p:spPr bwMode="auto">
            <a:xfrm>
              <a:off x="4167188" y="2455863"/>
              <a:ext cx="4762" cy="4762"/>
            </a:xfrm>
            <a:custGeom>
              <a:avLst/>
              <a:gdLst>
                <a:gd name="T0" fmla="*/ 0 w 12"/>
                <a:gd name="T1" fmla="*/ 9 h 15"/>
                <a:gd name="T2" fmla="*/ 3 w 12"/>
                <a:gd name="T3" fmla="*/ 14 h 15"/>
                <a:gd name="T4" fmla="*/ 3 w 12"/>
                <a:gd name="T5" fmla="*/ 14 h 15"/>
                <a:gd name="T6" fmla="*/ 11 w 12"/>
                <a:gd name="T7" fmla="*/ 9 h 15"/>
                <a:gd name="T8" fmla="*/ 11 w 12"/>
                <a:gd name="T9" fmla="*/ 6 h 15"/>
                <a:gd name="T10" fmla="*/ 3 w 12"/>
                <a:gd name="T11" fmla="*/ 0 h 15"/>
                <a:gd name="T12" fmla="*/ 0 w 12"/>
                <a:gd name="T13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">
                  <a:moveTo>
                    <a:pt x="0" y="9"/>
                  </a:moveTo>
                  <a:cubicBezTo>
                    <a:pt x="3" y="12"/>
                    <a:pt x="0" y="14"/>
                    <a:pt x="3" y="14"/>
                  </a:cubicBezTo>
                  <a:lnTo>
                    <a:pt x="3" y="14"/>
                  </a:lnTo>
                  <a:cubicBezTo>
                    <a:pt x="6" y="14"/>
                    <a:pt x="9" y="12"/>
                    <a:pt x="11" y="9"/>
                  </a:cubicBezTo>
                  <a:lnTo>
                    <a:pt x="11" y="6"/>
                  </a:lnTo>
                  <a:cubicBezTo>
                    <a:pt x="9" y="6"/>
                    <a:pt x="3" y="3"/>
                    <a:pt x="3" y="0"/>
                  </a:cubicBezTo>
                  <a:cubicBezTo>
                    <a:pt x="0" y="6"/>
                    <a:pt x="0" y="6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56" name="Freeform 583"/>
            <p:cNvSpPr>
              <a:spLocks noChangeArrowheads="1"/>
            </p:cNvSpPr>
            <p:nvPr/>
          </p:nvSpPr>
          <p:spPr bwMode="auto">
            <a:xfrm>
              <a:off x="4162425" y="2982913"/>
              <a:ext cx="7938" cy="6350"/>
            </a:xfrm>
            <a:custGeom>
              <a:avLst/>
              <a:gdLst>
                <a:gd name="T0" fmla="*/ 3 w 21"/>
                <a:gd name="T1" fmla="*/ 0 h 18"/>
                <a:gd name="T2" fmla="*/ 8 w 21"/>
                <a:gd name="T3" fmla="*/ 17 h 18"/>
                <a:gd name="T4" fmla="*/ 14 w 21"/>
                <a:gd name="T5" fmla="*/ 17 h 18"/>
                <a:gd name="T6" fmla="*/ 20 w 21"/>
                <a:gd name="T7" fmla="*/ 14 h 18"/>
                <a:gd name="T8" fmla="*/ 20 w 21"/>
                <a:gd name="T9" fmla="*/ 12 h 18"/>
                <a:gd name="T10" fmla="*/ 3 w 21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8">
                  <a:moveTo>
                    <a:pt x="3" y="0"/>
                  </a:moveTo>
                  <a:cubicBezTo>
                    <a:pt x="0" y="6"/>
                    <a:pt x="3" y="14"/>
                    <a:pt x="8" y="17"/>
                  </a:cubicBezTo>
                  <a:cubicBezTo>
                    <a:pt x="11" y="17"/>
                    <a:pt x="11" y="17"/>
                    <a:pt x="14" y="17"/>
                  </a:cubicBezTo>
                  <a:cubicBezTo>
                    <a:pt x="14" y="12"/>
                    <a:pt x="17" y="12"/>
                    <a:pt x="20" y="14"/>
                  </a:cubicBezTo>
                  <a:cubicBezTo>
                    <a:pt x="20" y="14"/>
                    <a:pt x="20" y="14"/>
                    <a:pt x="20" y="12"/>
                  </a:cubicBezTo>
                  <a:cubicBezTo>
                    <a:pt x="17" y="6"/>
                    <a:pt x="11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57" name="Freeform 584"/>
            <p:cNvSpPr>
              <a:spLocks noChangeArrowheads="1"/>
            </p:cNvSpPr>
            <p:nvPr/>
          </p:nvSpPr>
          <p:spPr bwMode="auto">
            <a:xfrm>
              <a:off x="4156075" y="2994025"/>
              <a:ext cx="4763" cy="4763"/>
            </a:xfrm>
            <a:custGeom>
              <a:avLst/>
              <a:gdLst>
                <a:gd name="T0" fmla="*/ 6 w 15"/>
                <a:gd name="T1" fmla="*/ 0 h 12"/>
                <a:gd name="T2" fmla="*/ 0 w 15"/>
                <a:gd name="T3" fmla="*/ 8 h 12"/>
                <a:gd name="T4" fmla="*/ 14 w 15"/>
                <a:gd name="T5" fmla="*/ 8 h 12"/>
                <a:gd name="T6" fmla="*/ 6 w 15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2">
                  <a:moveTo>
                    <a:pt x="6" y="0"/>
                  </a:moveTo>
                  <a:cubicBezTo>
                    <a:pt x="3" y="2"/>
                    <a:pt x="0" y="2"/>
                    <a:pt x="0" y="8"/>
                  </a:cubicBezTo>
                  <a:cubicBezTo>
                    <a:pt x="9" y="8"/>
                    <a:pt x="12" y="11"/>
                    <a:pt x="14" y="8"/>
                  </a:cubicBezTo>
                  <a:cubicBezTo>
                    <a:pt x="12" y="5"/>
                    <a:pt x="9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58" name="Freeform 585"/>
            <p:cNvSpPr>
              <a:spLocks noChangeArrowheads="1"/>
            </p:cNvSpPr>
            <p:nvPr/>
          </p:nvSpPr>
          <p:spPr bwMode="auto">
            <a:xfrm>
              <a:off x="4167188" y="2921000"/>
              <a:ext cx="1587" cy="1588"/>
            </a:xfrm>
            <a:custGeom>
              <a:avLst/>
              <a:gdLst>
                <a:gd name="T0" fmla="*/ 0 w 4"/>
                <a:gd name="T1" fmla="*/ 0 h 4"/>
                <a:gd name="T2" fmla="*/ 3 w 4"/>
                <a:gd name="T3" fmla="*/ 3 h 4"/>
                <a:gd name="T4" fmla="*/ 0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cubicBezTo>
                    <a:pt x="0" y="3"/>
                    <a:pt x="3" y="3"/>
                    <a:pt x="3" y="3"/>
                  </a:cubicBez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59" name="Freeform 586"/>
            <p:cNvSpPr>
              <a:spLocks noChangeArrowheads="1"/>
            </p:cNvSpPr>
            <p:nvPr/>
          </p:nvSpPr>
          <p:spPr bwMode="auto">
            <a:xfrm>
              <a:off x="4164013" y="2994025"/>
              <a:ext cx="7937" cy="4763"/>
            </a:xfrm>
            <a:custGeom>
              <a:avLst/>
              <a:gdLst>
                <a:gd name="T0" fmla="*/ 0 w 21"/>
                <a:gd name="T1" fmla="*/ 3 h 13"/>
                <a:gd name="T2" fmla="*/ 14 w 21"/>
                <a:gd name="T3" fmla="*/ 12 h 13"/>
                <a:gd name="T4" fmla="*/ 20 w 21"/>
                <a:gd name="T5" fmla="*/ 6 h 13"/>
                <a:gd name="T6" fmla="*/ 17 w 21"/>
                <a:gd name="T7" fmla="*/ 3 h 13"/>
                <a:gd name="T8" fmla="*/ 0 w 21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3">
                  <a:moveTo>
                    <a:pt x="0" y="3"/>
                  </a:moveTo>
                  <a:cubicBezTo>
                    <a:pt x="3" y="9"/>
                    <a:pt x="8" y="9"/>
                    <a:pt x="14" y="12"/>
                  </a:cubicBezTo>
                  <a:cubicBezTo>
                    <a:pt x="17" y="12"/>
                    <a:pt x="17" y="9"/>
                    <a:pt x="20" y="6"/>
                  </a:cubicBezTo>
                  <a:cubicBezTo>
                    <a:pt x="20" y="6"/>
                    <a:pt x="20" y="3"/>
                    <a:pt x="17" y="3"/>
                  </a:cubicBezTo>
                  <a:cubicBezTo>
                    <a:pt x="8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60" name="Freeform 587"/>
            <p:cNvSpPr>
              <a:spLocks noChangeArrowheads="1"/>
            </p:cNvSpPr>
            <p:nvPr/>
          </p:nvSpPr>
          <p:spPr bwMode="auto">
            <a:xfrm>
              <a:off x="4168775" y="2546350"/>
              <a:ext cx="9525" cy="11113"/>
            </a:xfrm>
            <a:custGeom>
              <a:avLst/>
              <a:gdLst>
                <a:gd name="T0" fmla="*/ 0 w 26"/>
                <a:gd name="T1" fmla="*/ 20 h 30"/>
                <a:gd name="T2" fmla="*/ 14 w 26"/>
                <a:gd name="T3" fmla="*/ 26 h 30"/>
                <a:gd name="T4" fmla="*/ 20 w 26"/>
                <a:gd name="T5" fmla="*/ 26 h 30"/>
                <a:gd name="T6" fmla="*/ 25 w 26"/>
                <a:gd name="T7" fmla="*/ 17 h 30"/>
                <a:gd name="T8" fmla="*/ 0 w 26"/>
                <a:gd name="T9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0">
                  <a:moveTo>
                    <a:pt x="0" y="20"/>
                  </a:moveTo>
                  <a:cubicBezTo>
                    <a:pt x="8" y="23"/>
                    <a:pt x="11" y="29"/>
                    <a:pt x="14" y="26"/>
                  </a:cubicBezTo>
                  <a:cubicBezTo>
                    <a:pt x="17" y="23"/>
                    <a:pt x="20" y="23"/>
                    <a:pt x="20" y="26"/>
                  </a:cubicBezTo>
                  <a:cubicBezTo>
                    <a:pt x="22" y="26"/>
                    <a:pt x="25" y="23"/>
                    <a:pt x="25" y="17"/>
                  </a:cubicBezTo>
                  <a:cubicBezTo>
                    <a:pt x="20" y="0"/>
                    <a:pt x="6" y="9"/>
                    <a:pt x="0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61" name="Freeform 588"/>
            <p:cNvSpPr>
              <a:spLocks noChangeArrowheads="1"/>
            </p:cNvSpPr>
            <p:nvPr/>
          </p:nvSpPr>
          <p:spPr bwMode="auto">
            <a:xfrm>
              <a:off x="4175125" y="3008313"/>
              <a:ext cx="1588" cy="3175"/>
            </a:xfrm>
            <a:custGeom>
              <a:avLst/>
              <a:gdLst>
                <a:gd name="T0" fmla="*/ 0 w 6"/>
                <a:gd name="T1" fmla="*/ 0 h 7"/>
                <a:gd name="T2" fmla="*/ 5 w 6"/>
                <a:gd name="T3" fmla="*/ 6 h 7"/>
                <a:gd name="T4" fmla="*/ 5 w 6"/>
                <a:gd name="T5" fmla="*/ 0 h 7"/>
                <a:gd name="T6" fmla="*/ 0 w 6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cubicBezTo>
                    <a:pt x="0" y="3"/>
                    <a:pt x="3" y="6"/>
                    <a:pt x="5" y="6"/>
                  </a:cubicBezTo>
                  <a:cubicBezTo>
                    <a:pt x="5" y="3"/>
                    <a:pt x="5" y="3"/>
                    <a:pt x="5" y="0"/>
                  </a:cubicBez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62" name="Freeform 589"/>
            <p:cNvSpPr>
              <a:spLocks noChangeArrowheads="1"/>
            </p:cNvSpPr>
            <p:nvPr/>
          </p:nvSpPr>
          <p:spPr bwMode="auto">
            <a:xfrm>
              <a:off x="4159250" y="2917825"/>
              <a:ext cx="4763" cy="4763"/>
            </a:xfrm>
            <a:custGeom>
              <a:avLst/>
              <a:gdLst>
                <a:gd name="T0" fmla="*/ 3 w 15"/>
                <a:gd name="T1" fmla="*/ 3 h 15"/>
                <a:gd name="T2" fmla="*/ 11 w 15"/>
                <a:gd name="T3" fmla="*/ 14 h 15"/>
                <a:gd name="T4" fmla="*/ 11 w 15"/>
                <a:gd name="T5" fmla="*/ 11 h 15"/>
                <a:gd name="T6" fmla="*/ 5 w 15"/>
                <a:gd name="T7" fmla="*/ 8 h 15"/>
                <a:gd name="T8" fmla="*/ 14 w 15"/>
                <a:gd name="T9" fmla="*/ 0 h 15"/>
                <a:gd name="T10" fmla="*/ 3 w 15"/>
                <a:gd name="T11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5">
                  <a:moveTo>
                    <a:pt x="3" y="3"/>
                  </a:moveTo>
                  <a:cubicBezTo>
                    <a:pt x="0" y="11"/>
                    <a:pt x="5" y="14"/>
                    <a:pt x="11" y="14"/>
                  </a:cubicBezTo>
                  <a:cubicBezTo>
                    <a:pt x="11" y="14"/>
                    <a:pt x="11" y="14"/>
                    <a:pt x="11" y="11"/>
                  </a:cubicBezTo>
                  <a:cubicBezTo>
                    <a:pt x="8" y="11"/>
                    <a:pt x="5" y="11"/>
                    <a:pt x="5" y="8"/>
                  </a:cubicBezTo>
                  <a:cubicBezTo>
                    <a:pt x="8" y="6"/>
                    <a:pt x="11" y="3"/>
                    <a:pt x="14" y="0"/>
                  </a:cubicBezTo>
                  <a:cubicBezTo>
                    <a:pt x="8" y="3"/>
                    <a:pt x="5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63" name="Freeform 590"/>
            <p:cNvSpPr>
              <a:spLocks noChangeArrowheads="1"/>
            </p:cNvSpPr>
            <p:nvPr/>
          </p:nvSpPr>
          <p:spPr bwMode="auto">
            <a:xfrm>
              <a:off x="4184650" y="3036888"/>
              <a:ext cx="3175" cy="1587"/>
            </a:xfrm>
            <a:custGeom>
              <a:avLst/>
              <a:gdLst>
                <a:gd name="T0" fmla="*/ 6 w 7"/>
                <a:gd name="T1" fmla="*/ 3 h 4"/>
                <a:gd name="T2" fmla="*/ 0 w 7"/>
                <a:gd name="T3" fmla="*/ 0 h 4"/>
                <a:gd name="T4" fmla="*/ 6 w 7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3"/>
                  </a:moveTo>
                  <a:cubicBezTo>
                    <a:pt x="3" y="3"/>
                    <a:pt x="3" y="0"/>
                    <a:pt x="0" y="0"/>
                  </a:cubicBezTo>
                  <a:cubicBezTo>
                    <a:pt x="0" y="0"/>
                    <a:pt x="3" y="3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64" name="Freeform 591"/>
            <p:cNvSpPr>
              <a:spLocks noChangeArrowheads="1"/>
            </p:cNvSpPr>
            <p:nvPr/>
          </p:nvSpPr>
          <p:spPr bwMode="auto">
            <a:xfrm>
              <a:off x="4181475" y="3068638"/>
              <a:ext cx="4763" cy="4762"/>
            </a:xfrm>
            <a:custGeom>
              <a:avLst/>
              <a:gdLst>
                <a:gd name="T0" fmla="*/ 5 w 12"/>
                <a:gd name="T1" fmla="*/ 3 h 15"/>
                <a:gd name="T2" fmla="*/ 3 w 12"/>
                <a:gd name="T3" fmla="*/ 14 h 15"/>
                <a:gd name="T4" fmla="*/ 11 w 12"/>
                <a:gd name="T5" fmla="*/ 3 h 15"/>
                <a:gd name="T6" fmla="*/ 5 w 12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5" y="3"/>
                  </a:moveTo>
                  <a:cubicBezTo>
                    <a:pt x="5" y="9"/>
                    <a:pt x="0" y="9"/>
                    <a:pt x="3" y="14"/>
                  </a:cubicBezTo>
                  <a:cubicBezTo>
                    <a:pt x="5" y="12"/>
                    <a:pt x="8" y="6"/>
                    <a:pt x="11" y="3"/>
                  </a:cubicBezTo>
                  <a:cubicBezTo>
                    <a:pt x="8" y="0"/>
                    <a:pt x="5" y="0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65" name="Freeform 592"/>
            <p:cNvSpPr>
              <a:spLocks noChangeArrowheads="1"/>
            </p:cNvSpPr>
            <p:nvPr/>
          </p:nvSpPr>
          <p:spPr bwMode="auto">
            <a:xfrm>
              <a:off x="4181475" y="2592388"/>
              <a:ext cx="4763" cy="3175"/>
            </a:xfrm>
            <a:custGeom>
              <a:avLst/>
              <a:gdLst>
                <a:gd name="T0" fmla="*/ 14 w 15"/>
                <a:gd name="T1" fmla="*/ 0 h 10"/>
                <a:gd name="T2" fmla="*/ 0 w 15"/>
                <a:gd name="T3" fmla="*/ 9 h 10"/>
                <a:gd name="T4" fmla="*/ 14 w 15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14" y="0"/>
                  </a:moveTo>
                  <a:cubicBezTo>
                    <a:pt x="8" y="0"/>
                    <a:pt x="2" y="3"/>
                    <a:pt x="0" y="9"/>
                  </a:cubicBezTo>
                  <a:cubicBezTo>
                    <a:pt x="8" y="9"/>
                    <a:pt x="14" y="6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66" name="Freeform 593"/>
            <p:cNvSpPr>
              <a:spLocks noChangeArrowheads="1"/>
            </p:cNvSpPr>
            <p:nvPr/>
          </p:nvSpPr>
          <p:spPr bwMode="auto">
            <a:xfrm>
              <a:off x="4179888" y="2647950"/>
              <a:ext cx="1587" cy="1588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  <a:gd name="T4" fmla="*/ 0 w 4"/>
                <a:gd name="T5" fmla="*/ 0 h 4"/>
                <a:gd name="T6" fmla="*/ 0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0" y="3"/>
                  </a:lnTo>
                  <a:cubicBezTo>
                    <a:pt x="3" y="0"/>
                    <a:pt x="0" y="0"/>
                    <a:pt x="0" y="0"/>
                  </a:cubicBezTo>
                  <a:lnTo>
                    <a:pt x="0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67" name="Freeform 594"/>
            <p:cNvSpPr>
              <a:spLocks noChangeArrowheads="1"/>
            </p:cNvSpPr>
            <p:nvPr/>
          </p:nvSpPr>
          <p:spPr bwMode="auto">
            <a:xfrm>
              <a:off x="4254500" y="2143125"/>
              <a:ext cx="3175" cy="6350"/>
            </a:xfrm>
            <a:custGeom>
              <a:avLst/>
              <a:gdLst>
                <a:gd name="T0" fmla="*/ 0 w 9"/>
                <a:gd name="T1" fmla="*/ 2 h 18"/>
                <a:gd name="T2" fmla="*/ 0 w 9"/>
                <a:gd name="T3" fmla="*/ 14 h 18"/>
                <a:gd name="T4" fmla="*/ 0 w 9"/>
                <a:gd name="T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8">
                  <a:moveTo>
                    <a:pt x="0" y="2"/>
                  </a:moveTo>
                  <a:lnTo>
                    <a:pt x="0" y="14"/>
                  </a:lnTo>
                  <a:cubicBezTo>
                    <a:pt x="8" y="17"/>
                    <a:pt x="8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68" name="Freeform 595"/>
            <p:cNvSpPr>
              <a:spLocks noChangeArrowheads="1"/>
            </p:cNvSpPr>
            <p:nvPr/>
          </p:nvSpPr>
          <p:spPr bwMode="auto">
            <a:xfrm>
              <a:off x="4305300" y="2430463"/>
              <a:ext cx="4763" cy="4762"/>
            </a:xfrm>
            <a:custGeom>
              <a:avLst/>
              <a:gdLst>
                <a:gd name="T0" fmla="*/ 11 w 12"/>
                <a:gd name="T1" fmla="*/ 14 h 15"/>
                <a:gd name="T2" fmla="*/ 6 w 12"/>
                <a:gd name="T3" fmla="*/ 0 h 15"/>
                <a:gd name="T4" fmla="*/ 11 w 12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1" y="14"/>
                  </a:moveTo>
                  <a:cubicBezTo>
                    <a:pt x="11" y="8"/>
                    <a:pt x="8" y="3"/>
                    <a:pt x="6" y="0"/>
                  </a:cubicBezTo>
                  <a:cubicBezTo>
                    <a:pt x="6" y="6"/>
                    <a:pt x="0" y="14"/>
                    <a:pt x="11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69" name="Freeform 596"/>
            <p:cNvSpPr>
              <a:spLocks noChangeArrowheads="1"/>
            </p:cNvSpPr>
            <p:nvPr/>
          </p:nvSpPr>
          <p:spPr bwMode="auto">
            <a:xfrm>
              <a:off x="4319588" y="2771775"/>
              <a:ext cx="1587" cy="3175"/>
            </a:xfrm>
            <a:custGeom>
              <a:avLst/>
              <a:gdLst>
                <a:gd name="T0" fmla="*/ 0 w 6"/>
                <a:gd name="T1" fmla="*/ 5 h 7"/>
                <a:gd name="T2" fmla="*/ 0 w 6"/>
                <a:gd name="T3" fmla="*/ 5 h 7"/>
                <a:gd name="T4" fmla="*/ 2 w 6"/>
                <a:gd name="T5" fmla="*/ 5 h 7"/>
                <a:gd name="T6" fmla="*/ 5 w 6"/>
                <a:gd name="T7" fmla="*/ 3 h 7"/>
                <a:gd name="T8" fmla="*/ 2 w 6"/>
                <a:gd name="T9" fmla="*/ 0 h 7"/>
                <a:gd name="T10" fmla="*/ 0 w 6"/>
                <a:gd name="T1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7">
                  <a:moveTo>
                    <a:pt x="0" y="5"/>
                  </a:moveTo>
                  <a:lnTo>
                    <a:pt x="0" y="5"/>
                  </a:lnTo>
                  <a:lnTo>
                    <a:pt x="2" y="5"/>
                  </a:lnTo>
                  <a:cubicBezTo>
                    <a:pt x="2" y="5"/>
                    <a:pt x="5" y="6"/>
                    <a:pt x="5" y="3"/>
                  </a:cubicBezTo>
                  <a:cubicBezTo>
                    <a:pt x="5" y="1"/>
                    <a:pt x="2" y="0"/>
                    <a:pt x="2" y="0"/>
                  </a:cubicBezTo>
                  <a:cubicBezTo>
                    <a:pt x="2" y="3"/>
                    <a:pt x="0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70" name="Freeform 597"/>
            <p:cNvSpPr>
              <a:spLocks noChangeArrowheads="1"/>
            </p:cNvSpPr>
            <p:nvPr/>
          </p:nvSpPr>
          <p:spPr bwMode="auto">
            <a:xfrm>
              <a:off x="4297363" y="2608263"/>
              <a:ext cx="3175" cy="4762"/>
            </a:xfrm>
            <a:custGeom>
              <a:avLst/>
              <a:gdLst>
                <a:gd name="T0" fmla="*/ 0 w 10"/>
                <a:gd name="T1" fmla="*/ 3 h 13"/>
                <a:gd name="T2" fmla="*/ 0 w 10"/>
                <a:gd name="T3" fmla="*/ 12 h 13"/>
                <a:gd name="T4" fmla="*/ 6 w 10"/>
                <a:gd name="T5" fmla="*/ 12 h 13"/>
                <a:gd name="T6" fmla="*/ 6 w 10"/>
                <a:gd name="T7" fmla="*/ 9 h 13"/>
                <a:gd name="T8" fmla="*/ 9 w 10"/>
                <a:gd name="T9" fmla="*/ 0 h 13"/>
                <a:gd name="T10" fmla="*/ 0 w 10"/>
                <a:gd name="T11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3">
                  <a:moveTo>
                    <a:pt x="0" y="3"/>
                  </a:moveTo>
                  <a:cubicBezTo>
                    <a:pt x="0" y="6"/>
                    <a:pt x="0" y="9"/>
                    <a:pt x="0" y="12"/>
                  </a:cubicBezTo>
                  <a:cubicBezTo>
                    <a:pt x="3" y="12"/>
                    <a:pt x="3" y="12"/>
                    <a:pt x="6" y="12"/>
                  </a:cubicBezTo>
                  <a:lnTo>
                    <a:pt x="6" y="9"/>
                  </a:lnTo>
                  <a:cubicBezTo>
                    <a:pt x="9" y="6"/>
                    <a:pt x="9" y="3"/>
                    <a:pt x="9" y="0"/>
                  </a:cubicBezTo>
                  <a:cubicBezTo>
                    <a:pt x="6" y="0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71" name="Freeform 598"/>
            <p:cNvSpPr>
              <a:spLocks noChangeArrowheads="1"/>
            </p:cNvSpPr>
            <p:nvPr/>
          </p:nvSpPr>
          <p:spPr bwMode="auto">
            <a:xfrm>
              <a:off x="4302125" y="2168525"/>
              <a:ext cx="4763" cy="4763"/>
            </a:xfrm>
            <a:custGeom>
              <a:avLst/>
              <a:gdLst>
                <a:gd name="T0" fmla="*/ 0 w 12"/>
                <a:gd name="T1" fmla="*/ 0 h 15"/>
                <a:gd name="T2" fmla="*/ 11 w 12"/>
                <a:gd name="T3" fmla="*/ 14 h 15"/>
                <a:gd name="T4" fmla="*/ 0 w 1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0" y="0"/>
                  </a:moveTo>
                  <a:cubicBezTo>
                    <a:pt x="0" y="9"/>
                    <a:pt x="2" y="14"/>
                    <a:pt x="11" y="14"/>
                  </a:cubicBezTo>
                  <a:cubicBezTo>
                    <a:pt x="11" y="3"/>
                    <a:pt x="8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72" name="Freeform 599"/>
            <p:cNvSpPr>
              <a:spLocks noChangeArrowheads="1"/>
            </p:cNvSpPr>
            <p:nvPr/>
          </p:nvSpPr>
          <p:spPr bwMode="auto">
            <a:xfrm>
              <a:off x="4289425" y="2738438"/>
              <a:ext cx="3175" cy="3175"/>
            </a:xfrm>
            <a:custGeom>
              <a:avLst/>
              <a:gdLst>
                <a:gd name="T0" fmla="*/ 0 w 9"/>
                <a:gd name="T1" fmla="*/ 8 h 9"/>
                <a:gd name="T2" fmla="*/ 8 w 9"/>
                <a:gd name="T3" fmla="*/ 0 h 9"/>
                <a:gd name="T4" fmla="*/ 0 w 9"/>
                <a:gd name="T5" fmla="*/ 0 h 9"/>
                <a:gd name="T6" fmla="*/ 0 w 9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0" y="8"/>
                  </a:moveTo>
                  <a:cubicBezTo>
                    <a:pt x="5" y="8"/>
                    <a:pt x="8" y="5"/>
                    <a:pt x="8" y="0"/>
                  </a:cubicBez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73" name="Freeform 600"/>
            <p:cNvSpPr>
              <a:spLocks noChangeArrowheads="1"/>
            </p:cNvSpPr>
            <p:nvPr/>
          </p:nvSpPr>
          <p:spPr bwMode="auto">
            <a:xfrm>
              <a:off x="4300538" y="2506663"/>
              <a:ext cx="3175" cy="4762"/>
            </a:xfrm>
            <a:custGeom>
              <a:avLst/>
              <a:gdLst>
                <a:gd name="T0" fmla="*/ 0 w 9"/>
                <a:gd name="T1" fmla="*/ 3 h 13"/>
                <a:gd name="T2" fmla="*/ 8 w 9"/>
                <a:gd name="T3" fmla="*/ 12 h 13"/>
                <a:gd name="T4" fmla="*/ 3 w 9"/>
                <a:gd name="T5" fmla="*/ 0 h 13"/>
                <a:gd name="T6" fmla="*/ 0 w 9"/>
                <a:gd name="T7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0" y="3"/>
                  </a:moveTo>
                  <a:cubicBezTo>
                    <a:pt x="0" y="9"/>
                    <a:pt x="3" y="12"/>
                    <a:pt x="8" y="12"/>
                  </a:cubicBezTo>
                  <a:cubicBezTo>
                    <a:pt x="8" y="6"/>
                    <a:pt x="6" y="3"/>
                    <a:pt x="3" y="0"/>
                  </a:cubicBezTo>
                  <a:cubicBezTo>
                    <a:pt x="0" y="0"/>
                    <a:pt x="0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74" name="Freeform 601"/>
            <p:cNvSpPr>
              <a:spLocks noChangeArrowheads="1"/>
            </p:cNvSpPr>
            <p:nvPr/>
          </p:nvSpPr>
          <p:spPr bwMode="auto">
            <a:xfrm>
              <a:off x="4300538" y="2408238"/>
              <a:ext cx="14287" cy="7937"/>
            </a:xfrm>
            <a:custGeom>
              <a:avLst/>
              <a:gdLst>
                <a:gd name="T0" fmla="*/ 14 w 40"/>
                <a:gd name="T1" fmla="*/ 22 h 23"/>
                <a:gd name="T2" fmla="*/ 31 w 40"/>
                <a:gd name="T3" fmla="*/ 14 h 23"/>
                <a:gd name="T4" fmla="*/ 30 w 40"/>
                <a:gd name="T5" fmla="*/ 8 h 23"/>
                <a:gd name="T6" fmla="*/ 28 w 40"/>
                <a:gd name="T7" fmla="*/ 11 h 23"/>
                <a:gd name="T8" fmla="*/ 25 w 40"/>
                <a:gd name="T9" fmla="*/ 8 h 23"/>
                <a:gd name="T10" fmla="*/ 22 w 40"/>
                <a:gd name="T11" fmla="*/ 14 h 23"/>
                <a:gd name="T12" fmla="*/ 14 w 40"/>
                <a:gd name="T13" fmla="*/ 17 h 23"/>
                <a:gd name="T14" fmla="*/ 17 w 40"/>
                <a:gd name="T15" fmla="*/ 6 h 23"/>
                <a:gd name="T16" fmla="*/ 8 w 40"/>
                <a:gd name="T17" fmla="*/ 3 h 23"/>
                <a:gd name="T18" fmla="*/ 0 w 40"/>
                <a:gd name="T19" fmla="*/ 8 h 23"/>
                <a:gd name="T20" fmla="*/ 14 w 40"/>
                <a:gd name="T21" fmla="*/ 22 h 23"/>
                <a:gd name="T22" fmla="*/ 32 w 40"/>
                <a:gd name="T23" fmla="*/ 6 h 23"/>
                <a:gd name="T24" fmla="*/ 30 w 40"/>
                <a:gd name="T25" fmla="*/ 8 h 23"/>
                <a:gd name="T26" fmla="*/ 32 w 40"/>
                <a:gd name="T27" fmla="*/ 6 h 23"/>
                <a:gd name="T28" fmla="*/ 39 w 40"/>
                <a:gd name="T29" fmla="*/ 3 h 23"/>
                <a:gd name="T30" fmla="*/ 39 w 40"/>
                <a:gd name="T31" fmla="*/ 0 h 23"/>
                <a:gd name="T32" fmla="*/ 37 w 40"/>
                <a:gd name="T33" fmla="*/ 0 h 23"/>
                <a:gd name="T34" fmla="*/ 32 w 40"/>
                <a:gd name="T35" fmla="*/ 6 h 23"/>
                <a:gd name="T36" fmla="*/ 39 w 40"/>
                <a:gd name="T3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23">
                  <a:moveTo>
                    <a:pt x="14" y="22"/>
                  </a:moveTo>
                  <a:cubicBezTo>
                    <a:pt x="14" y="14"/>
                    <a:pt x="25" y="20"/>
                    <a:pt x="31" y="14"/>
                  </a:cubicBezTo>
                  <a:cubicBezTo>
                    <a:pt x="30" y="12"/>
                    <a:pt x="30" y="10"/>
                    <a:pt x="30" y="8"/>
                  </a:cubicBezTo>
                  <a:cubicBezTo>
                    <a:pt x="30" y="9"/>
                    <a:pt x="29" y="10"/>
                    <a:pt x="28" y="11"/>
                  </a:cubicBezTo>
                  <a:cubicBezTo>
                    <a:pt x="28" y="11"/>
                    <a:pt x="28" y="8"/>
                    <a:pt x="25" y="8"/>
                  </a:cubicBezTo>
                  <a:cubicBezTo>
                    <a:pt x="25" y="8"/>
                    <a:pt x="25" y="14"/>
                    <a:pt x="22" y="14"/>
                  </a:cubicBezTo>
                  <a:cubicBezTo>
                    <a:pt x="20" y="17"/>
                    <a:pt x="17" y="14"/>
                    <a:pt x="14" y="17"/>
                  </a:cubicBezTo>
                  <a:cubicBezTo>
                    <a:pt x="14" y="11"/>
                    <a:pt x="17" y="11"/>
                    <a:pt x="17" y="6"/>
                  </a:cubicBezTo>
                  <a:cubicBezTo>
                    <a:pt x="14" y="6"/>
                    <a:pt x="8" y="6"/>
                    <a:pt x="8" y="3"/>
                  </a:cubicBezTo>
                  <a:cubicBezTo>
                    <a:pt x="6" y="6"/>
                    <a:pt x="3" y="6"/>
                    <a:pt x="0" y="8"/>
                  </a:cubicBezTo>
                  <a:cubicBezTo>
                    <a:pt x="0" y="17"/>
                    <a:pt x="8" y="22"/>
                    <a:pt x="14" y="22"/>
                  </a:cubicBezTo>
                  <a:close/>
                  <a:moveTo>
                    <a:pt x="32" y="6"/>
                  </a:moveTo>
                  <a:cubicBezTo>
                    <a:pt x="31" y="6"/>
                    <a:pt x="31" y="7"/>
                    <a:pt x="30" y="8"/>
                  </a:cubicBezTo>
                  <a:cubicBezTo>
                    <a:pt x="31" y="7"/>
                    <a:pt x="31" y="6"/>
                    <a:pt x="32" y="6"/>
                  </a:cubicBezTo>
                  <a:close/>
                  <a:moveTo>
                    <a:pt x="39" y="3"/>
                  </a:moveTo>
                  <a:lnTo>
                    <a:pt x="39" y="0"/>
                  </a:lnTo>
                  <a:lnTo>
                    <a:pt x="37" y="0"/>
                  </a:lnTo>
                  <a:cubicBezTo>
                    <a:pt x="33" y="0"/>
                    <a:pt x="33" y="2"/>
                    <a:pt x="32" y="6"/>
                  </a:cubicBezTo>
                  <a:cubicBezTo>
                    <a:pt x="33" y="4"/>
                    <a:pt x="36" y="3"/>
                    <a:pt x="39" y="3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75" name="Freeform 602"/>
            <p:cNvSpPr>
              <a:spLocks noChangeArrowheads="1"/>
            </p:cNvSpPr>
            <p:nvPr/>
          </p:nvSpPr>
          <p:spPr bwMode="auto">
            <a:xfrm>
              <a:off x="4292600" y="2579688"/>
              <a:ext cx="7938" cy="6350"/>
            </a:xfrm>
            <a:custGeom>
              <a:avLst/>
              <a:gdLst>
                <a:gd name="T0" fmla="*/ 20 w 21"/>
                <a:gd name="T1" fmla="*/ 9 h 16"/>
                <a:gd name="T2" fmla="*/ 3 w 21"/>
                <a:gd name="T3" fmla="*/ 6 h 16"/>
                <a:gd name="T4" fmla="*/ 20 w 21"/>
                <a:gd name="T5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6">
                  <a:moveTo>
                    <a:pt x="20" y="9"/>
                  </a:moveTo>
                  <a:cubicBezTo>
                    <a:pt x="11" y="9"/>
                    <a:pt x="9" y="0"/>
                    <a:pt x="3" y="6"/>
                  </a:cubicBezTo>
                  <a:cubicBezTo>
                    <a:pt x="0" y="15"/>
                    <a:pt x="20" y="15"/>
                    <a:pt x="2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76" name="Freeform 603"/>
            <p:cNvSpPr>
              <a:spLocks noChangeArrowheads="1"/>
            </p:cNvSpPr>
            <p:nvPr/>
          </p:nvSpPr>
          <p:spPr bwMode="auto">
            <a:xfrm>
              <a:off x="4322763" y="2574925"/>
              <a:ext cx="4762" cy="3175"/>
            </a:xfrm>
            <a:custGeom>
              <a:avLst/>
              <a:gdLst>
                <a:gd name="T0" fmla="*/ 0 w 12"/>
                <a:gd name="T1" fmla="*/ 8 h 9"/>
                <a:gd name="T2" fmla="*/ 11 w 12"/>
                <a:gd name="T3" fmla="*/ 8 h 9"/>
                <a:gd name="T4" fmla="*/ 11 w 12"/>
                <a:gd name="T5" fmla="*/ 5 h 9"/>
                <a:gd name="T6" fmla="*/ 0 w 12"/>
                <a:gd name="T7" fmla="*/ 0 h 9"/>
                <a:gd name="T8" fmla="*/ 0 w 12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lnTo>
                    <a:pt x="11" y="8"/>
                  </a:lnTo>
                  <a:lnTo>
                    <a:pt x="11" y="5"/>
                  </a:lnTo>
                  <a:cubicBezTo>
                    <a:pt x="8" y="2"/>
                    <a:pt x="3" y="0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77" name="Freeform 604"/>
            <p:cNvSpPr>
              <a:spLocks noChangeArrowheads="1"/>
            </p:cNvSpPr>
            <p:nvPr/>
          </p:nvSpPr>
          <p:spPr bwMode="auto">
            <a:xfrm>
              <a:off x="4319588" y="2265363"/>
              <a:ext cx="4762" cy="3175"/>
            </a:xfrm>
            <a:custGeom>
              <a:avLst/>
              <a:gdLst>
                <a:gd name="T0" fmla="*/ 0 w 13"/>
                <a:gd name="T1" fmla="*/ 3 h 10"/>
                <a:gd name="T2" fmla="*/ 3 w 13"/>
                <a:gd name="T3" fmla="*/ 9 h 10"/>
                <a:gd name="T4" fmla="*/ 6 w 13"/>
                <a:gd name="T5" fmla="*/ 9 h 10"/>
                <a:gd name="T6" fmla="*/ 12 w 13"/>
                <a:gd name="T7" fmla="*/ 0 h 10"/>
                <a:gd name="T8" fmla="*/ 0 w 13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0">
                  <a:moveTo>
                    <a:pt x="0" y="3"/>
                  </a:moveTo>
                  <a:cubicBezTo>
                    <a:pt x="0" y="6"/>
                    <a:pt x="0" y="9"/>
                    <a:pt x="3" y="9"/>
                  </a:cubicBezTo>
                  <a:lnTo>
                    <a:pt x="6" y="9"/>
                  </a:lnTo>
                  <a:cubicBezTo>
                    <a:pt x="9" y="9"/>
                    <a:pt x="9" y="3"/>
                    <a:pt x="12" y="0"/>
                  </a:cubicBezTo>
                  <a:cubicBezTo>
                    <a:pt x="6" y="0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78" name="Freeform 605"/>
            <p:cNvSpPr>
              <a:spLocks noChangeArrowheads="1"/>
            </p:cNvSpPr>
            <p:nvPr/>
          </p:nvSpPr>
          <p:spPr bwMode="auto">
            <a:xfrm>
              <a:off x="4302125" y="2689225"/>
              <a:ext cx="4763" cy="6350"/>
            </a:xfrm>
            <a:custGeom>
              <a:avLst/>
              <a:gdLst>
                <a:gd name="T0" fmla="*/ 6 w 13"/>
                <a:gd name="T1" fmla="*/ 14 h 18"/>
                <a:gd name="T2" fmla="*/ 0 w 13"/>
                <a:gd name="T3" fmla="*/ 17 h 18"/>
                <a:gd name="T4" fmla="*/ 9 w 13"/>
                <a:gd name="T5" fmla="*/ 17 h 18"/>
                <a:gd name="T6" fmla="*/ 12 w 13"/>
                <a:gd name="T7" fmla="*/ 9 h 18"/>
                <a:gd name="T8" fmla="*/ 0 w 13"/>
                <a:gd name="T9" fmla="*/ 0 h 18"/>
                <a:gd name="T10" fmla="*/ 6 w 13"/>
                <a:gd name="T11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8">
                  <a:moveTo>
                    <a:pt x="6" y="14"/>
                  </a:moveTo>
                  <a:cubicBezTo>
                    <a:pt x="3" y="14"/>
                    <a:pt x="0" y="14"/>
                    <a:pt x="0" y="17"/>
                  </a:cubicBezTo>
                  <a:cubicBezTo>
                    <a:pt x="3" y="17"/>
                    <a:pt x="6" y="17"/>
                    <a:pt x="9" y="17"/>
                  </a:cubicBezTo>
                  <a:cubicBezTo>
                    <a:pt x="9" y="14"/>
                    <a:pt x="12" y="14"/>
                    <a:pt x="12" y="9"/>
                  </a:cubicBezTo>
                  <a:cubicBezTo>
                    <a:pt x="9" y="6"/>
                    <a:pt x="3" y="3"/>
                    <a:pt x="0" y="0"/>
                  </a:cubicBezTo>
                  <a:cubicBezTo>
                    <a:pt x="3" y="6"/>
                    <a:pt x="6" y="12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79" name="Freeform 606"/>
            <p:cNvSpPr>
              <a:spLocks noChangeArrowheads="1"/>
            </p:cNvSpPr>
            <p:nvPr/>
          </p:nvSpPr>
          <p:spPr bwMode="auto">
            <a:xfrm>
              <a:off x="4319588" y="2711450"/>
              <a:ext cx="3175" cy="1588"/>
            </a:xfrm>
            <a:custGeom>
              <a:avLst/>
              <a:gdLst>
                <a:gd name="T0" fmla="*/ 8 w 9"/>
                <a:gd name="T1" fmla="*/ 0 h 4"/>
                <a:gd name="T2" fmla="*/ 0 w 9"/>
                <a:gd name="T3" fmla="*/ 3 h 4"/>
                <a:gd name="T4" fmla="*/ 8 w 9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4">
                  <a:moveTo>
                    <a:pt x="8" y="0"/>
                  </a:moveTo>
                  <a:cubicBezTo>
                    <a:pt x="5" y="0"/>
                    <a:pt x="2" y="0"/>
                    <a:pt x="0" y="3"/>
                  </a:cubicBezTo>
                  <a:lnTo>
                    <a:pt x="8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80" name="Freeform 607"/>
            <p:cNvSpPr>
              <a:spLocks noChangeArrowheads="1"/>
            </p:cNvSpPr>
            <p:nvPr/>
          </p:nvSpPr>
          <p:spPr bwMode="auto">
            <a:xfrm>
              <a:off x="4306888" y="2665413"/>
              <a:ext cx="11112" cy="11112"/>
            </a:xfrm>
            <a:custGeom>
              <a:avLst/>
              <a:gdLst>
                <a:gd name="T0" fmla="*/ 8 w 29"/>
                <a:gd name="T1" fmla="*/ 23 h 30"/>
                <a:gd name="T2" fmla="*/ 22 w 29"/>
                <a:gd name="T3" fmla="*/ 12 h 30"/>
                <a:gd name="T4" fmla="*/ 19 w 29"/>
                <a:gd name="T5" fmla="*/ 23 h 30"/>
                <a:gd name="T6" fmla="*/ 19 w 29"/>
                <a:gd name="T7" fmla="*/ 29 h 30"/>
                <a:gd name="T8" fmla="*/ 19 w 29"/>
                <a:gd name="T9" fmla="*/ 0 h 30"/>
                <a:gd name="T10" fmla="*/ 19 w 29"/>
                <a:gd name="T11" fmla="*/ 0 h 30"/>
                <a:gd name="T12" fmla="*/ 0 w 29"/>
                <a:gd name="T13" fmla="*/ 9 h 30"/>
                <a:gd name="T14" fmla="*/ 8 w 29"/>
                <a:gd name="T15" fmla="*/ 2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30">
                  <a:moveTo>
                    <a:pt x="8" y="23"/>
                  </a:moveTo>
                  <a:cubicBezTo>
                    <a:pt x="11" y="17"/>
                    <a:pt x="17" y="14"/>
                    <a:pt x="22" y="12"/>
                  </a:cubicBezTo>
                  <a:cubicBezTo>
                    <a:pt x="28" y="14"/>
                    <a:pt x="22" y="17"/>
                    <a:pt x="19" y="23"/>
                  </a:cubicBezTo>
                  <a:cubicBezTo>
                    <a:pt x="19" y="26"/>
                    <a:pt x="19" y="29"/>
                    <a:pt x="19" y="29"/>
                  </a:cubicBezTo>
                  <a:cubicBezTo>
                    <a:pt x="28" y="20"/>
                    <a:pt x="28" y="9"/>
                    <a:pt x="19" y="0"/>
                  </a:cubicBezTo>
                  <a:lnTo>
                    <a:pt x="19" y="0"/>
                  </a:lnTo>
                  <a:cubicBezTo>
                    <a:pt x="11" y="0"/>
                    <a:pt x="2" y="0"/>
                    <a:pt x="0" y="9"/>
                  </a:cubicBezTo>
                  <a:cubicBezTo>
                    <a:pt x="5" y="14"/>
                    <a:pt x="8" y="17"/>
                    <a:pt x="8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81" name="Freeform 608"/>
            <p:cNvSpPr>
              <a:spLocks noChangeArrowheads="1"/>
            </p:cNvSpPr>
            <p:nvPr/>
          </p:nvSpPr>
          <p:spPr bwMode="auto">
            <a:xfrm>
              <a:off x="4303713" y="2447925"/>
              <a:ext cx="1587" cy="1588"/>
            </a:xfrm>
            <a:custGeom>
              <a:avLst/>
              <a:gdLst>
                <a:gd name="T0" fmla="*/ 0 w 4"/>
                <a:gd name="T1" fmla="*/ 3 h 4"/>
                <a:gd name="T2" fmla="*/ 3 w 4"/>
                <a:gd name="T3" fmla="*/ 0 h 4"/>
                <a:gd name="T4" fmla="*/ 3 w 4"/>
                <a:gd name="T5" fmla="*/ 0 h 4"/>
                <a:gd name="T6" fmla="*/ 0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3" y="3"/>
                    <a:pt x="3" y="0"/>
                  </a:cubicBezTo>
                  <a:lnTo>
                    <a:pt x="3" y="0"/>
                  </a:lnTo>
                  <a:cubicBezTo>
                    <a:pt x="3" y="3"/>
                    <a:pt x="0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82" name="Freeform 609"/>
            <p:cNvSpPr>
              <a:spLocks noChangeArrowheads="1"/>
            </p:cNvSpPr>
            <p:nvPr/>
          </p:nvSpPr>
          <p:spPr bwMode="auto">
            <a:xfrm>
              <a:off x="4278313" y="2819400"/>
              <a:ext cx="4762" cy="3175"/>
            </a:xfrm>
            <a:custGeom>
              <a:avLst/>
              <a:gdLst>
                <a:gd name="T0" fmla="*/ 0 w 12"/>
                <a:gd name="T1" fmla="*/ 0 h 10"/>
                <a:gd name="T2" fmla="*/ 8 w 12"/>
                <a:gd name="T3" fmla="*/ 9 h 10"/>
                <a:gd name="T4" fmla="*/ 11 w 12"/>
                <a:gd name="T5" fmla="*/ 0 h 10"/>
                <a:gd name="T6" fmla="*/ 0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cubicBezTo>
                    <a:pt x="0" y="6"/>
                    <a:pt x="3" y="9"/>
                    <a:pt x="8" y="9"/>
                  </a:cubicBezTo>
                  <a:cubicBezTo>
                    <a:pt x="8" y="3"/>
                    <a:pt x="11" y="3"/>
                    <a:pt x="11" y="0"/>
                  </a:cubicBezTo>
                  <a:cubicBezTo>
                    <a:pt x="8" y="3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83" name="Freeform 610"/>
            <p:cNvSpPr>
              <a:spLocks noChangeArrowheads="1"/>
            </p:cNvSpPr>
            <p:nvPr/>
          </p:nvSpPr>
          <p:spPr bwMode="auto">
            <a:xfrm>
              <a:off x="4276725" y="2690813"/>
              <a:ext cx="3175" cy="3175"/>
            </a:xfrm>
            <a:custGeom>
              <a:avLst/>
              <a:gdLst>
                <a:gd name="T0" fmla="*/ 6 w 9"/>
                <a:gd name="T1" fmla="*/ 0 h 7"/>
                <a:gd name="T2" fmla="*/ 0 w 9"/>
                <a:gd name="T3" fmla="*/ 6 h 7"/>
                <a:gd name="T4" fmla="*/ 8 w 9"/>
                <a:gd name="T5" fmla="*/ 3 h 7"/>
                <a:gd name="T6" fmla="*/ 6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6" y="0"/>
                  </a:moveTo>
                  <a:cubicBezTo>
                    <a:pt x="3" y="0"/>
                    <a:pt x="3" y="3"/>
                    <a:pt x="0" y="6"/>
                  </a:cubicBezTo>
                  <a:cubicBezTo>
                    <a:pt x="3" y="6"/>
                    <a:pt x="6" y="6"/>
                    <a:pt x="8" y="3"/>
                  </a:cubicBezTo>
                  <a:cubicBezTo>
                    <a:pt x="8" y="0"/>
                    <a:pt x="6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84" name="Freeform 611"/>
            <p:cNvSpPr>
              <a:spLocks noChangeArrowheads="1"/>
            </p:cNvSpPr>
            <p:nvPr/>
          </p:nvSpPr>
          <p:spPr bwMode="auto">
            <a:xfrm>
              <a:off x="4279900" y="3052763"/>
              <a:ext cx="4763" cy="6350"/>
            </a:xfrm>
            <a:custGeom>
              <a:avLst/>
              <a:gdLst>
                <a:gd name="T0" fmla="*/ 6 w 15"/>
                <a:gd name="T1" fmla="*/ 17 h 18"/>
                <a:gd name="T2" fmla="*/ 14 w 15"/>
                <a:gd name="T3" fmla="*/ 3 h 18"/>
                <a:gd name="T4" fmla="*/ 6 w 15"/>
                <a:gd name="T5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8">
                  <a:moveTo>
                    <a:pt x="6" y="17"/>
                  </a:moveTo>
                  <a:cubicBezTo>
                    <a:pt x="14" y="17"/>
                    <a:pt x="14" y="11"/>
                    <a:pt x="14" y="3"/>
                  </a:cubicBezTo>
                  <a:cubicBezTo>
                    <a:pt x="3" y="0"/>
                    <a:pt x="0" y="11"/>
                    <a:pt x="6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85" name="Freeform 612"/>
            <p:cNvSpPr>
              <a:spLocks noChangeArrowheads="1"/>
            </p:cNvSpPr>
            <p:nvPr/>
          </p:nvSpPr>
          <p:spPr bwMode="auto">
            <a:xfrm>
              <a:off x="4283075" y="2581275"/>
              <a:ext cx="4763" cy="3175"/>
            </a:xfrm>
            <a:custGeom>
              <a:avLst/>
              <a:gdLst>
                <a:gd name="T0" fmla="*/ 0 w 12"/>
                <a:gd name="T1" fmla="*/ 0 h 10"/>
                <a:gd name="T2" fmla="*/ 11 w 12"/>
                <a:gd name="T3" fmla="*/ 9 h 10"/>
                <a:gd name="T4" fmla="*/ 11 w 12"/>
                <a:gd name="T5" fmla="*/ 0 h 10"/>
                <a:gd name="T6" fmla="*/ 0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cubicBezTo>
                    <a:pt x="3" y="3"/>
                    <a:pt x="8" y="6"/>
                    <a:pt x="11" y="9"/>
                  </a:cubicBezTo>
                  <a:cubicBezTo>
                    <a:pt x="11" y="6"/>
                    <a:pt x="11" y="3"/>
                    <a:pt x="11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86" name="Freeform 613"/>
            <p:cNvSpPr>
              <a:spLocks noChangeArrowheads="1"/>
            </p:cNvSpPr>
            <p:nvPr/>
          </p:nvSpPr>
          <p:spPr bwMode="auto">
            <a:xfrm>
              <a:off x="4279900" y="2674938"/>
              <a:ext cx="3175" cy="1587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5 h 6"/>
                <a:gd name="T4" fmla="*/ 6 w 7"/>
                <a:gd name="T5" fmla="*/ 5 h 6"/>
                <a:gd name="T6" fmla="*/ 6 w 7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3" y="5"/>
                    <a:pt x="6" y="5"/>
                  </a:cubicBez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87" name="Freeform 614"/>
            <p:cNvSpPr>
              <a:spLocks noChangeArrowheads="1"/>
            </p:cNvSpPr>
            <p:nvPr/>
          </p:nvSpPr>
          <p:spPr bwMode="auto">
            <a:xfrm>
              <a:off x="4283075" y="2779713"/>
              <a:ext cx="4763" cy="3175"/>
            </a:xfrm>
            <a:custGeom>
              <a:avLst/>
              <a:gdLst>
                <a:gd name="T0" fmla="*/ 0 w 12"/>
                <a:gd name="T1" fmla="*/ 3 h 7"/>
                <a:gd name="T2" fmla="*/ 5 w 12"/>
                <a:gd name="T3" fmla="*/ 6 h 7"/>
                <a:gd name="T4" fmla="*/ 11 w 12"/>
                <a:gd name="T5" fmla="*/ 0 h 7"/>
                <a:gd name="T6" fmla="*/ 0 w 12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7">
                  <a:moveTo>
                    <a:pt x="0" y="3"/>
                  </a:moveTo>
                  <a:cubicBezTo>
                    <a:pt x="3" y="3"/>
                    <a:pt x="3" y="6"/>
                    <a:pt x="5" y="6"/>
                  </a:cubicBezTo>
                  <a:cubicBezTo>
                    <a:pt x="8" y="3"/>
                    <a:pt x="8" y="0"/>
                    <a:pt x="11" y="0"/>
                  </a:cubicBezTo>
                  <a:cubicBezTo>
                    <a:pt x="5" y="0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88" name="Freeform 615"/>
            <p:cNvSpPr>
              <a:spLocks noChangeArrowheads="1"/>
            </p:cNvSpPr>
            <p:nvPr/>
          </p:nvSpPr>
          <p:spPr bwMode="auto">
            <a:xfrm>
              <a:off x="4291013" y="2393950"/>
              <a:ext cx="4762" cy="4763"/>
            </a:xfrm>
            <a:custGeom>
              <a:avLst/>
              <a:gdLst>
                <a:gd name="T0" fmla="*/ 0 w 15"/>
                <a:gd name="T1" fmla="*/ 11 h 15"/>
                <a:gd name="T2" fmla="*/ 0 w 15"/>
                <a:gd name="T3" fmla="*/ 11 h 15"/>
                <a:gd name="T4" fmla="*/ 9 w 15"/>
                <a:gd name="T5" fmla="*/ 14 h 15"/>
                <a:gd name="T6" fmla="*/ 9 w 15"/>
                <a:gd name="T7" fmla="*/ 14 h 15"/>
                <a:gd name="T8" fmla="*/ 14 w 15"/>
                <a:gd name="T9" fmla="*/ 0 h 15"/>
                <a:gd name="T10" fmla="*/ 0 w 15"/>
                <a:gd name="T11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5">
                  <a:moveTo>
                    <a:pt x="0" y="11"/>
                  </a:moveTo>
                  <a:lnTo>
                    <a:pt x="0" y="11"/>
                  </a:lnTo>
                  <a:cubicBezTo>
                    <a:pt x="0" y="14"/>
                    <a:pt x="6" y="14"/>
                    <a:pt x="9" y="14"/>
                  </a:cubicBezTo>
                  <a:lnTo>
                    <a:pt x="9" y="14"/>
                  </a:lnTo>
                  <a:cubicBezTo>
                    <a:pt x="12" y="11"/>
                    <a:pt x="12" y="3"/>
                    <a:pt x="14" y="0"/>
                  </a:cubicBezTo>
                  <a:cubicBezTo>
                    <a:pt x="9" y="3"/>
                    <a:pt x="3" y="6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89" name="Freeform 616"/>
            <p:cNvSpPr>
              <a:spLocks noChangeArrowheads="1"/>
            </p:cNvSpPr>
            <p:nvPr/>
          </p:nvSpPr>
          <p:spPr bwMode="auto">
            <a:xfrm>
              <a:off x="4289425" y="2344738"/>
              <a:ext cx="4763" cy="4762"/>
            </a:xfrm>
            <a:custGeom>
              <a:avLst/>
              <a:gdLst>
                <a:gd name="T0" fmla="*/ 0 w 15"/>
                <a:gd name="T1" fmla="*/ 11 h 15"/>
                <a:gd name="T2" fmla="*/ 11 w 15"/>
                <a:gd name="T3" fmla="*/ 14 h 15"/>
                <a:gd name="T4" fmla="*/ 14 w 15"/>
                <a:gd name="T5" fmla="*/ 9 h 15"/>
                <a:gd name="T6" fmla="*/ 11 w 15"/>
                <a:gd name="T7" fmla="*/ 0 h 15"/>
                <a:gd name="T8" fmla="*/ 0 w 15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0" y="11"/>
                  </a:moveTo>
                  <a:cubicBezTo>
                    <a:pt x="3" y="11"/>
                    <a:pt x="5" y="14"/>
                    <a:pt x="11" y="14"/>
                  </a:cubicBezTo>
                  <a:cubicBezTo>
                    <a:pt x="11" y="11"/>
                    <a:pt x="11" y="11"/>
                    <a:pt x="14" y="9"/>
                  </a:cubicBezTo>
                  <a:cubicBezTo>
                    <a:pt x="14" y="6"/>
                    <a:pt x="11" y="3"/>
                    <a:pt x="11" y="0"/>
                  </a:cubicBezTo>
                  <a:cubicBezTo>
                    <a:pt x="5" y="3"/>
                    <a:pt x="3" y="9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90" name="Freeform 617"/>
            <p:cNvSpPr>
              <a:spLocks noChangeArrowheads="1"/>
            </p:cNvSpPr>
            <p:nvPr/>
          </p:nvSpPr>
          <p:spPr bwMode="auto">
            <a:xfrm>
              <a:off x="4287838" y="2411413"/>
              <a:ext cx="3175" cy="1587"/>
            </a:xfrm>
            <a:custGeom>
              <a:avLst/>
              <a:gdLst>
                <a:gd name="T0" fmla="*/ 0 w 7"/>
                <a:gd name="T1" fmla="*/ 3 h 4"/>
                <a:gd name="T2" fmla="*/ 6 w 7"/>
                <a:gd name="T3" fmla="*/ 3 h 4"/>
                <a:gd name="T4" fmla="*/ 0 w 7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lnTo>
                    <a:pt x="6" y="3"/>
                  </a:lnTo>
                  <a:cubicBezTo>
                    <a:pt x="3" y="3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91" name="Freeform 618"/>
            <p:cNvSpPr>
              <a:spLocks noChangeArrowheads="1"/>
            </p:cNvSpPr>
            <p:nvPr/>
          </p:nvSpPr>
          <p:spPr bwMode="auto">
            <a:xfrm>
              <a:off x="4291013" y="2354263"/>
              <a:ext cx="4762" cy="3175"/>
            </a:xfrm>
            <a:custGeom>
              <a:avLst/>
              <a:gdLst>
                <a:gd name="T0" fmla="*/ 0 w 15"/>
                <a:gd name="T1" fmla="*/ 3 h 10"/>
                <a:gd name="T2" fmla="*/ 4 w 15"/>
                <a:gd name="T3" fmla="*/ 4 h 10"/>
                <a:gd name="T4" fmla="*/ 0 w 15"/>
                <a:gd name="T5" fmla="*/ 3 h 10"/>
                <a:gd name="T6" fmla="*/ 14 w 15"/>
                <a:gd name="T7" fmla="*/ 9 h 10"/>
                <a:gd name="T8" fmla="*/ 14 w 15"/>
                <a:gd name="T9" fmla="*/ 0 h 10"/>
                <a:gd name="T10" fmla="*/ 4 w 15"/>
                <a:gd name="T11" fmla="*/ 4 h 10"/>
                <a:gd name="T12" fmla="*/ 14 w 15"/>
                <a:gd name="T1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0">
                  <a:moveTo>
                    <a:pt x="0" y="3"/>
                  </a:moveTo>
                  <a:cubicBezTo>
                    <a:pt x="2" y="3"/>
                    <a:pt x="3" y="4"/>
                    <a:pt x="4" y="4"/>
                  </a:cubicBezTo>
                  <a:cubicBezTo>
                    <a:pt x="3" y="4"/>
                    <a:pt x="2" y="4"/>
                    <a:pt x="0" y="3"/>
                  </a:cubicBezTo>
                  <a:close/>
                  <a:moveTo>
                    <a:pt x="14" y="9"/>
                  </a:moveTo>
                  <a:lnTo>
                    <a:pt x="14" y="0"/>
                  </a:lnTo>
                  <a:cubicBezTo>
                    <a:pt x="7" y="0"/>
                    <a:pt x="8" y="4"/>
                    <a:pt x="4" y="4"/>
                  </a:cubicBezTo>
                  <a:cubicBezTo>
                    <a:pt x="7" y="6"/>
                    <a:pt x="10" y="9"/>
                    <a:pt x="14" y="9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92" name="Freeform 619"/>
            <p:cNvSpPr>
              <a:spLocks noChangeArrowheads="1"/>
            </p:cNvSpPr>
            <p:nvPr/>
          </p:nvSpPr>
          <p:spPr bwMode="auto">
            <a:xfrm>
              <a:off x="4283075" y="2425700"/>
              <a:ext cx="1588" cy="3175"/>
            </a:xfrm>
            <a:custGeom>
              <a:avLst/>
              <a:gdLst>
                <a:gd name="T0" fmla="*/ 0 w 6"/>
                <a:gd name="T1" fmla="*/ 2 h 9"/>
                <a:gd name="T2" fmla="*/ 5 w 6"/>
                <a:gd name="T3" fmla="*/ 8 h 9"/>
                <a:gd name="T4" fmla="*/ 0 w 6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9">
                  <a:moveTo>
                    <a:pt x="0" y="2"/>
                  </a:moveTo>
                  <a:cubicBezTo>
                    <a:pt x="0" y="5"/>
                    <a:pt x="3" y="8"/>
                    <a:pt x="5" y="8"/>
                  </a:cubicBezTo>
                  <a:cubicBezTo>
                    <a:pt x="5" y="5"/>
                    <a:pt x="5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93" name="Freeform 620"/>
            <p:cNvSpPr>
              <a:spLocks noChangeArrowheads="1"/>
            </p:cNvSpPr>
            <p:nvPr/>
          </p:nvSpPr>
          <p:spPr bwMode="auto">
            <a:xfrm>
              <a:off x="4284663" y="2717800"/>
              <a:ext cx="3175" cy="3175"/>
            </a:xfrm>
            <a:custGeom>
              <a:avLst/>
              <a:gdLst>
                <a:gd name="T0" fmla="*/ 3 w 7"/>
                <a:gd name="T1" fmla="*/ 0 h 10"/>
                <a:gd name="T2" fmla="*/ 0 w 7"/>
                <a:gd name="T3" fmla="*/ 6 h 10"/>
                <a:gd name="T4" fmla="*/ 6 w 7"/>
                <a:gd name="T5" fmla="*/ 9 h 10"/>
                <a:gd name="T6" fmla="*/ 3 w 7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3" y="0"/>
                  </a:moveTo>
                  <a:cubicBezTo>
                    <a:pt x="3" y="3"/>
                    <a:pt x="0" y="3"/>
                    <a:pt x="0" y="6"/>
                  </a:cubicBezTo>
                  <a:cubicBezTo>
                    <a:pt x="3" y="9"/>
                    <a:pt x="6" y="9"/>
                    <a:pt x="6" y="9"/>
                  </a:cubicBezTo>
                  <a:cubicBezTo>
                    <a:pt x="6" y="6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94" name="Freeform 621"/>
            <p:cNvSpPr>
              <a:spLocks noChangeArrowheads="1"/>
            </p:cNvSpPr>
            <p:nvPr/>
          </p:nvSpPr>
          <p:spPr bwMode="auto">
            <a:xfrm>
              <a:off x="4283075" y="2859088"/>
              <a:ext cx="6350" cy="4762"/>
            </a:xfrm>
            <a:custGeom>
              <a:avLst/>
              <a:gdLst>
                <a:gd name="T0" fmla="*/ 6 w 18"/>
                <a:gd name="T1" fmla="*/ 0 h 12"/>
                <a:gd name="T2" fmla="*/ 0 w 18"/>
                <a:gd name="T3" fmla="*/ 6 h 12"/>
                <a:gd name="T4" fmla="*/ 0 w 18"/>
                <a:gd name="T5" fmla="*/ 11 h 12"/>
                <a:gd name="T6" fmla="*/ 3 w 18"/>
                <a:gd name="T7" fmla="*/ 11 h 12"/>
                <a:gd name="T8" fmla="*/ 6 w 18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6" y="0"/>
                  </a:moveTo>
                  <a:cubicBezTo>
                    <a:pt x="6" y="3"/>
                    <a:pt x="3" y="3"/>
                    <a:pt x="0" y="6"/>
                  </a:cubicBezTo>
                  <a:cubicBezTo>
                    <a:pt x="0" y="9"/>
                    <a:pt x="0" y="9"/>
                    <a:pt x="0" y="11"/>
                  </a:cubicBezTo>
                  <a:lnTo>
                    <a:pt x="3" y="11"/>
                  </a:lnTo>
                  <a:cubicBezTo>
                    <a:pt x="0" y="3"/>
                    <a:pt x="17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95" name="Freeform 622"/>
            <p:cNvSpPr>
              <a:spLocks noChangeArrowheads="1"/>
            </p:cNvSpPr>
            <p:nvPr/>
          </p:nvSpPr>
          <p:spPr bwMode="auto">
            <a:xfrm>
              <a:off x="4287838" y="2560638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9 w 10"/>
                <a:gd name="T3" fmla="*/ 3 h 9"/>
                <a:gd name="T4" fmla="*/ 9 w 10"/>
                <a:gd name="T5" fmla="*/ 3 h 9"/>
                <a:gd name="T6" fmla="*/ 6 w 10"/>
                <a:gd name="T7" fmla="*/ 0 h 9"/>
                <a:gd name="T8" fmla="*/ 0 w 10"/>
                <a:gd name="T9" fmla="*/ 0 h 9"/>
                <a:gd name="T10" fmla="*/ 9 w 10"/>
                <a:gd name="T1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lnTo>
                    <a:pt x="9" y="3"/>
                  </a:lnTo>
                  <a:lnTo>
                    <a:pt x="9" y="3"/>
                  </a:lnTo>
                  <a:lnTo>
                    <a:pt x="6" y="0"/>
                  </a:lnTo>
                  <a:lnTo>
                    <a:pt x="0" y="0"/>
                  </a:lnTo>
                  <a:cubicBezTo>
                    <a:pt x="0" y="6"/>
                    <a:pt x="3" y="8"/>
                    <a:pt x="9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96" name="Freeform 623"/>
            <p:cNvSpPr>
              <a:spLocks noChangeArrowheads="1"/>
            </p:cNvSpPr>
            <p:nvPr/>
          </p:nvSpPr>
          <p:spPr bwMode="auto">
            <a:xfrm>
              <a:off x="4329113" y="2640013"/>
              <a:ext cx="4762" cy="3175"/>
            </a:xfrm>
            <a:custGeom>
              <a:avLst/>
              <a:gdLst>
                <a:gd name="T0" fmla="*/ 0 w 12"/>
                <a:gd name="T1" fmla="*/ 5 h 9"/>
                <a:gd name="T2" fmla="*/ 11 w 12"/>
                <a:gd name="T3" fmla="*/ 5 h 9"/>
                <a:gd name="T4" fmla="*/ 3 w 12"/>
                <a:gd name="T5" fmla="*/ 0 h 9"/>
                <a:gd name="T6" fmla="*/ 0 w 12"/>
                <a:gd name="T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3" y="8"/>
                    <a:pt x="8" y="8"/>
                    <a:pt x="11" y="5"/>
                  </a:cubicBezTo>
                  <a:cubicBezTo>
                    <a:pt x="8" y="3"/>
                    <a:pt x="5" y="0"/>
                    <a:pt x="3" y="0"/>
                  </a:cubicBezTo>
                  <a:cubicBezTo>
                    <a:pt x="3" y="3"/>
                    <a:pt x="0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97" name="Freeform 624"/>
            <p:cNvSpPr>
              <a:spLocks noChangeArrowheads="1"/>
            </p:cNvSpPr>
            <p:nvPr/>
          </p:nvSpPr>
          <p:spPr bwMode="auto">
            <a:xfrm>
              <a:off x="4302125" y="2138363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9 w 10"/>
                <a:gd name="T3" fmla="*/ 5 h 9"/>
                <a:gd name="T4" fmla="*/ 0 w 10"/>
                <a:gd name="T5" fmla="*/ 0 h 9"/>
                <a:gd name="T6" fmla="*/ 9 w 10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lnTo>
                    <a:pt x="9" y="5"/>
                  </a:lnTo>
                  <a:cubicBezTo>
                    <a:pt x="6" y="5"/>
                    <a:pt x="3" y="2"/>
                    <a:pt x="0" y="0"/>
                  </a:cubicBezTo>
                  <a:cubicBezTo>
                    <a:pt x="3" y="5"/>
                    <a:pt x="6" y="8"/>
                    <a:pt x="9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98" name="Freeform 625"/>
            <p:cNvSpPr>
              <a:spLocks noChangeArrowheads="1"/>
            </p:cNvSpPr>
            <p:nvPr/>
          </p:nvSpPr>
          <p:spPr bwMode="auto">
            <a:xfrm>
              <a:off x="4302125" y="2149475"/>
              <a:ext cx="23813" cy="17463"/>
            </a:xfrm>
            <a:custGeom>
              <a:avLst/>
              <a:gdLst>
                <a:gd name="T0" fmla="*/ 14 w 66"/>
                <a:gd name="T1" fmla="*/ 34 h 47"/>
                <a:gd name="T2" fmla="*/ 23 w 66"/>
                <a:gd name="T3" fmla="*/ 43 h 47"/>
                <a:gd name="T4" fmla="*/ 26 w 66"/>
                <a:gd name="T5" fmla="*/ 46 h 47"/>
                <a:gd name="T6" fmla="*/ 26 w 66"/>
                <a:gd name="T7" fmla="*/ 37 h 47"/>
                <a:gd name="T8" fmla="*/ 31 w 66"/>
                <a:gd name="T9" fmla="*/ 42 h 47"/>
                <a:gd name="T10" fmla="*/ 29 w 66"/>
                <a:gd name="T11" fmla="*/ 37 h 47"/>
                <a:gd name="T12" fmla="*/ 57 w 66"/>
                <a:gd name="T13" fmla="*/ 6 h 47"/>
                <a:gd name="T14" fmla="*/ 51 w 66"/>
                <a:gd name="T15" fmla="*/ 3 h 47"/>
                <a:gd name="T16" fmla="*/ 37 w 66"/>
                <a:gd name="T17" fmla="*/ 6 h 47"/>
                <a:gd name="T18" fmla="*/ 37 w 66"/>
                <a:gd name="T19" fmla="*/ 12 h 47"/>
                <a:gd name="T20" fmla="*/ 34 w 66"/>
                <a:gd name="T21" fmla="*/ 17 h 47"/>
                <a:gd name="T22" fmla="*/ 14 w 66"/>
                <a:gd name="T23" fmla="*/ 23 h 47"/>
                <a:gd name="T24" fmla="*/ 23 w 66"/>
                <a:gd name="T25" fmla="*/ 12 h 47"/>
                <a:gd name="T26" fmla="*/ 9 w 66"/>
                <a:gd name="T27" fmla="*/ 0 h 47"/>
                <a:gd name="T28" fmla="*/ 3 w 66"/>
                <a:gd name="T29" fmla="*/ 0 h 47"/>
                <a:gd name="T30" fmla="*/ 0 w 66"/>
                <a:gd name="T31" fmla="*/ 23 h 47"/>
                <a:gd name="T32" fmla="*/ 12 w 66"/>
                <a:gd name="T33" fmla="*/ 26 h 47"/>
                <a:gd name="T34" fmla="*/ 14 w 66"/>
                <a:gd name="T35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47">
                  <a:moveTo>
                    <a:pt x="14" y="34"/>
                  </a:moveTo>
                  <a:cubicBezTo>
                    <a:pt x="17" y="40"/>
                    <a:pt x="20" y="43"/>
                    <a:pt x="23" y="43"/>
                  </a:cubicBezTo>
                  <a:lnTo>
                    <a:pt x="26" y="46"/>
                  </a:lnTo>
                  <a:lnTo>
                    <a:pt x="26" y="37"/>
                  </a:lnTo>
                  <a:cubicBezTo>
                    <a:pt x="28" y="40"/>
                    <a:pt x="31" y="40"/>
                    <a:pt x="31" y="42"/>
                  </a:cubicBezTo>
                  <a:cubicBezTo>
                    <a:pt x="31" y="41"/>
                    <a:pt x="30" y="39"/>
                    <a:pt x="29" y="37"/>
                  </a:cubicBezTo>
                  <a:cubicBezTo>
                    <a:pt x="43" y="31"/>
                    <a:pt x="65" y="23"/>
                    <a:pt x="57" y="6"/>
                  </a:cubicBezTo>
                  <a:cubicBezTo>
                    <a:pt x="54" y="6"/>
                    <a:pt x="51" y="6"/>
                    <a:pt x="51" y="3"/>
                  </a:cubicBezTo>
                  <a:cubicBezTo>
                    <a:pt x="48" y="6"/>
                    <a:pt x="46" y="9"/>
                    <a:pt x="37" y="6"/>
                  </a:cubicBezTo>
                  <a:lnTo>
                    <a:pt x="37" y="12"/>
                  </a:lnTo>
                  <a:cubicBezTo>
                    <a:pt x="37" y="14"/>
                    <a:pt x="37" y="17"/>
                    <a:pt x="34" y="17"/>
                  </a:cubicBezTo>
                  <a:cubicBezTo>
                    <a:pt x="29" y="26"/>
                    <a:pt x="20" y="29"/>
                    <a:pt x="14" y="23"/>
                  </a:cubicBezTo>
                  <a:cubicBezTo>
                    <a:pt x="14" y="17"/>
                    <a:pt x="23" y="17"/>
                    <a:pt x="23" y="12"/>
                  </a:cubicBezTo>
                  <a:cubicBezTo>
                    <a:pt x="20" y="6"/>
                    <a:pt x="17" y="0"/>
                    <a:pt x="9" y="0"/>
                  </a:cubicBezTo>
                  <a:lnTo>
                    <a:pt x="3" y="0"/>
                  </a:lnTo>
                  <a:cubicBezTo>
                    <a:pt x="9" y="12"/>
                    <a:pt x="0" y="17"/>
                    <a:pt x="0" y="23"/>
                  </a:cubicBezTo>
                  <a:cubicBezTo>
                    <a:pt x="3" y="23"/>
                    <a:pt x="9" y="23"/>
                    <a:pt x="12" y="26"/>
                  </a:cubicBezTo>
                  <a:cubicBezTo>
                    <a:pt x="12" y="31"/>
                    <a:pt x="14" y="31"/>
                    <a:pt x="14" y="3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99" name="Freeform 626"/>
            <p:cNvSpPr>
              <a:spLocks noChangeArrowheads="1"/>
            </p:cNvSpPr>
            <p:nvPr/>
          </p:nvSpPr>
          <p:spPr bwMode="auto">
            <a:xfrm>
              <a:off x="4324350" y="2301875"/>
              <a:ext cx="3175" cy="4763"/>
            </a:xfrm>
            <a:custGeom>
              <a:avLst/>
              <a:gdLst>
                <a:gd name="T0" fmla="*/ 9 w 10"/>
                <a:gd name="T1" fmla="*/ 2 h 15"/>
                <a:gd name="T2" fmla="*/ 3 w 10"/>
                <a:gd name="T3" fmla="*/ 0 h 15"/>
                <a:gd name="T4" fmla="*/ 0 w 10"/>
                <a:gd name="T5" fmla="*/ 2 h 15"/>
                <a:gd name="T6" fmla="*/ 6 w 10"/>
                <a:gd name="T7" fmla="*/ 14 h 15"/>
                <a:gd name="T8" fmla="*/ 9 w 10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9" y="2"/>
                  </a:moveTo>
                  <a:cubicBezTo>
                    <a:pt x="9" y="2"/>
                    <a:pt x="6" y="0"/>
                    <a:pt x="3" y="0"/>
                  </a:cubicBezTo>
                  <a:lnTo>
                    <a:pt x="0" y="2"/>
                  </a:lnTo>
                  <a:cubicBezTo>
                    <a:pt x="3" y="5"/>
                    <a:pt x="6" y="11"/>
                    <a:pt x="6" y="14"/>
                  </a:cubicBezTo>
                  <a:cubicBezTo>
                    <a:pt x="9" y="8"/>
                    <a:pt x="9" y="5"/>
                    <a:pt x="9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00" name="Freeform 627"/>
            <p:cNvSpPr>
              <a:spLocks noChangeArrowheads="1"/>
            </p:cNvSpPr>
            <p:nvPr/>
          </p:nvSpPr>
          <p:spPr bwMode="auto">
            <a:xfrm>
              <a:off x="4300538" y="2146300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01" name="Freeform 628"/>
            <p:cNvSpPr>
              <a:spLocks noChangeArrowheads="1"/>
            </p:cNvSpPr>
            <p:nvPr/>
          </p:nvSpPr>
          <p:spPr bwMode="auto">
            <a:xfrm>
              <a:off x="4327525" y="2422525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0 w 7"/>
                <a:gd name="T3" fmla="*/ 3 h 7"/>
                <a:gd name="T4" fmla="*/ 6 w 7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cubicBezTo>
                    <a:pt x="6" y="0"/>
                    <a:pt x="0" y="0"/>
                    <a:pt x="0" y="3"/>
                  </a:cubicBezTo>
                  <a:cubicBezTo>
                    <a:pt x="0" y="3"/>
                    <a:pt x="3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02" name="Freeform 629"/>
            <p:cNvSpPr>
              <a:spLocks noChangeArrowheads="1"/>
            </p:cNvSpPr>
            <p:nvPr/>
          </p:nvSpPr>
          <p:spPr bwMode="auto">
            <a:xfrm>
              <a:off x="4262438" y="2324100"/>
              <a:ext cx="6350" cy="6350"/>
            </a:xfrm>
            <a:custGeom>
              <a:avLst/>
              <a:gdLst>
                <a:gd name="T0" fmla="*/ 0 w 17"/>
                <a:gd name="T1" fmla="*/ 5 h 18"/>
                <a:gd name="T2" fmla="*/ 0 w 17"/>
                <a:gd name="T3" fmla="*/ 11 h 18"/>
                <a:gd name="T4" fmla="*/ 11 w 17"/>
                <a:gd name="T5" fmla="*/ 17 h 18"/>
                <a:gd name="T6" fmla="*/ 16 w 17"/>
                <a:gd name="T7" fmla="*/ 11 h 18"/>
                <a:gd name="T8" fmla="*/ 14 w 17"/>
                <a:gd name="T9" fmla="*/ 5 h 18"/>
                <a:gd name="T10" fmla="*/ 0 w 17"/>
                <a:gd name="T11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8">
                  <a:moveTo>
                    <a:pt x="0" y="5"/>
                  </a:moveTo>
                  <a:lnTo>
                    <a:pt x="0" y="11"/>
                  </a:lnTo>
                  <a:cubicBezTo>
                    <a:pt x="5" y="17"/>
                    <a:pt x="8" y="14"/>
                    <a:pt x="11" y="17"/>
                  </a:cubicBezTo>
                  <a:cubicBezTo>
                    <a:pt x="11" y="14"/>
                    <a:pt x="14" y="11"/>
                    <a:pt x="16" y="11"/>
                  </a:cubicBezTo>
                  <a:cubicBezTo>
                    <a:pt x="16" y="8"/>
                    <a:pt x="16" y="5"/>
                    <a:pt x="14" y="5"/>
                  </a:cubicBezTo>
                  <a:cubicBezTo>
                    <a:pt x="8" y="0"/>
                    <a:pt x="5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03" name="Freeform 630"/>
            <p:cNvSpPr>
              <a:spLocks noChangeArrowheads="1"/>
            </p:cNvSpPr>
            <p:nvPr/>
          </p:nvSpPr>
          <p:spPr bwMode="auto">
            <a:xfrm>
              <a:off x="4322763" y="2852738"/>
              <a:ext cx="1587" cy="3175"/>
            </a:xfrm>
            <a:custGeom>
              <a:avLst/>
              <a:gdLst>
                <a:gd name="T0" fmla="*/ 3 w 4"/>
                <a:gd name="T1" fmla="*/ 0 h 7"/>
                <a:gd name="T2" fmla="*/ 3 w 4"/>
                <a:gd name="T3" fmla="*/ 0 h 7"/>
                <a:gd name="T4" fmla="*/ 0 w 4"/>
                <a:gd name="T5" fmla="*/ 6 h 7"/>
                <a:gd name="T6" fmla="*/ 3 w 4"/>
                <a:gd name="T7" fmla="*/ 6 h 7"/>
                <a:gd name="T8" fmla="*/ 3 w 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3" y="0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3" y="6"/>
                  </a:lnTo>
                  <a:cubicBezTo>
                    <a:pt x="3" y="3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04" name="Freeform 631"/>
            <p:cNvSpPr>
              <a:spLocks noChangeArrowheads="1"/>
            </p:cNvSpPr>
            <p:nvPr/>
          </p:nvSpPr>
          <p:spPr bwMode="auto">
            <a:xfrm>
              <a:off x="4292600" y="2146300"/>
              <a:ext cx="3175" cy="3175"/>
            </a:xfrm>
            <a:custGeom>
              <a:avLst/>
              <a:gdLst>
                <a:gd name="T0" fmla="*/ 9 w 10"/>
                <a:gd name="T1" fmla="*/ 0 h 10"/>
                <a:gd name="T2" fmla="*/ 0 w 10"/>
                <a:gd name="T3" fmla="*/ 0 h 10"/>
                <a:gd name="T4" fmla="*/ 0 w 10"/>
                <a:gd name="T5" fmla="*/ 9 h 10"/>
                <a:gd name="T6" fmla="*/ 9 w 10"/>
                <a:gd name="T7" fmla="*/ 9 h 10"/>
                <a:gd name="T8" fmla="*/ 9 w 1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9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9" y="9"/>
                  </a:lnTo>
                  <a:lnTo>
                    <a:pt x="9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05" name="Freeform 632"/>
            <p:cNvSpPr>
              <a:spLocks noChangeArrowheads="1"/>
            </p:cNvSpPr>
            <p:nvPr/>
          </p:nvSpPr>
          <p:spPr bwMode="auto">
            <a:xfrm>
              <a:off x="4294188" y="2155825"/>
              <a:ext cx="1587" cy="3175"/>
            </a:xfrm>
            <a:custGeom>
              <a:avLst/>
              <a:gdLst>
                <a:gd name="T0" fmla="*/ 0 w 4"/>
                <a:gd name="T1" fmla="*/ 0 h 7"/>
                <a:gd name="T2" fmla="*/ 0 w 4"/>
                <a:gd name="T3" fmla="*/ 6 h 7"/>
                <a:gd name="T4" fmla="*/ 0 w 4"/>
                <a:gd name="T5" fmla="*/ 6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cubicBezTo>
                    <a:pt x="0" y="0"/>
                    <a:pt x="0" y="3"/>
                    <a:pt x="0" y="6"/>
                  </a:cubicBezTo>
                  <a:lnTo>
                    <a:pt x="0" y="6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06" name="Freeform 633"/>
            <p:cNvSpPr>
              <a:spLocks noChangeArrowheads="1"/>
            </p:cNvSpPr>
            <p:nvPr/>
          </p:nvSpPr>
          <p:spPr bwMode="auto">
            <a:xfrm>
              <a:off x="4284663" y="2139950"/>
              <a:ext cx="6350" cy="4763"/>
            </a:xfrm>
            <a:custGeom>
              <a:avLst/>
              <a:gdLst>
                <a:gd name="T0" fmla="*/ 17 w 18"/>
                <a:gd name="T1" fmla="*/ 11 h 15"/>
                <a:gd name="T2" fmla="*/ 6 w 18"/>
                <a:gd name="T3" fmla="*/ 0 h 15"/>
                <a:gd name="T4" fmla="*/ 17 w 18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7" y="11"/>
                  </a:moveTo>
                  <a:cubicBezTo>
                    <a:pt x="17" y="3"/>
                    <a:pt x="15" y="0"/>
                    <a:pt x="6" y="0"/>
                  </a:cubicBezTo>
                  <a:cubicBezTo>
                    <a:pt x="0" y="3"/>
                    <a:pt x="6" y="14"/>
                    <a:pt x="17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07" name="Freeform 634"/>
            <p:cNvSpPr>
              <a:spLocks noChangeArrowheads="1"/>
            </p:cNvSpPr>
            <p:nvPr/>
          </p:nvSpPr>
          <p:spPr bwMode="auto">
            <a:xfrm>
              <a:off x="4308475" y="2965450"/>
              <a:ext cx="14288" cy="11113"/>
            </a:xfrm>
            <a:custGeom>
              <a:avLst/>
              <a:gdLst>
                <a:gd name="T0" fmla="*/ 37 w 38"/>
                <a:gd name="T1" fmla="*/ 9 h 30"/>
                <a:gd name="T2" fmla="*/ 0 w 38"/>
                <a:gd name="T3" fmla="*/ 17 h 30"/>
                <a:gd name="T4" fmla="*/ 29 w 38"/>
                <a:gd name="T5" fmla="*/ 14 h 30"/>
                <a:gd name="T6" fmla="*/ 32 w 38"/>
                <a:gd name="T7" fmla="*/ 29 h 30"/>
                <a:gd name="T8" fmla="*/ 34 w 38"/>
                <a:gd name="T9" fmla="*/ 26 h 30"/>
                <a:gd name="T10" fmla="*/ 37 w 38"/>
                <a:gd name="T11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30">
                  <a:moveTo>
                    <a:pt x="37" y="9"/>
                  </a:moveTo>
                  <a:cubicBezTo>
                    <a:pt x="23" y="0"/>
                    <a:pt x="6" y="6"/>
                    <a:pt x="0" y="17"/>
                  </a:cubicBezTo>
                  <a:cubicBezTo>
                    <a:pt x="12" y="17"/>
                    <a:pt x="17" y="12"/>
                    <a:pt x="29" y="14"/>
                  </a:cubicBezTo>
                  <a:cubicBezTo>
                    <a:pt x="29" y="17"/>
                    <a:pt x="26" y="29"/>
                    <a:pt x="32" y="29"/>
                  </a:cubicBezTo>
                  <a:cubicBezTo>
                    <a:pt x="32" y="26"/>
                    <a:pt x="34" y="26"/>
                    <a:pt x="34" y="26"/>
                  </a:cubicBezTo>
                  <a:cubicBezTo>
                    <a:pt x="32" y="20"/>
                    <a:pt x="34" y="14"/>
                    <a:pt x="37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08" name="Freeform 635"/>
            <p:cNvSpPr>
              <a:spLocks noChangeArrowheads="1"/>
            </p:cNvSpPr>
            <p:nvPr/>
          </p:nvSpPr>
          <p:spPr bwMode="auto">
            <a:xfrm>
              <a:off x="4311650" y="2709863"/>
              <a:ext cx="1588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0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0"/>
                    <a:pt x="3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09" name="Freeform 636"/>
            <p:cNvSpPr>
              <a:spLocks noChangeArrowheads="1"/>
            </p:cNvSpPr>
            <p:nvPr/>
          </p:nvSpPr>
          <p:spPr bwMode="auto">
            <a:xfrm>
              <a:off x="4306888" y="2940050"/>
              <a:ext cx="4762" cy="4763"/>
            </a:xfrm>
            <a:custGeom>
              <a:avLst/>
              <a:gdLst>
                <a:gd name="T0" fmla="*/ 11 w 12"/>
                <a:gd name="T1" fmla="*/ 11 h 15"/>
                <a:gd name="T2" fmla="*/ 2 w 12"/>
                <a:gd name="T3" fmla="*/ 3 h 15"/>
                <a:gd name="T4" fmla="*/ 11 w 12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1" y="11"/>
                  </a:moveTo>
                  <a:cubicBezTo>
                    <a:pt x="11" y="5"/>
                    <a:pt x="11" y="0"/>
                    <a:pt x="2" y="3"/>
                  </a:cubicBezTo>
                  <a:cubicBezTo>
                    <a:pt x="0" y="5"/>
                    <a:pt x="2" y="14"/>
                    <a:pt x="11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10" name="Freeform 637"/>
            <p:cNvSpPr>
              <a:spLocks noChangeArrowheads="1"/>
            </p:cNvSpPr>
            <p:nvPr/>
          </p:nvSpPr>
          <p:spPr bwMode="auto">
            <a:xfrm>
              <a:off x="4308475" y="2684463"/>
              <a:ext cx="3175" cy="4762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9 h 15"/>
                <a:gd name="T4" fmla="*/ 9 w 10"/>
                <a:gd name="T5" fmla="*/ 14 h 15"/>
                <a:gd name="T6" fmla="*/ 0 w 10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0" y="6"/>
                    <a:pt x="0" y="6"/>
                    <a:pt x="0" y="9"/>
                  </a:cubicBezTo>
                  <a:cubicBezTo>
                    <a:pt x="6" y="9"/>
                    <a:pt x="6" y="11"/>
                    <a:pt x="9" y="14"/>
                  </a:cubicBezTo>
                  <a:cubicBezTo>
                    <a:pt x="9" y="6"/>
                    <a:pt x="9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11" name="Freeform 638"/>
            <p:cNvSpPr>
              <a:spLocks noChangeArrowheads="1"/>
            </p:cNvSpPr>
            <p:nvPr/>
          </p:nvSpPr>
          <p:spPr bwMode="auto">
            <a:xfrm>
              <a:off x="4313238" y="2171700"/>
              <a:ext cx="6350" cy="4763"/>
            </a:xfrm>
            <a:custGeom>
              <a:avLst/>
              <a:gdLst>
                <a:gd name="T0" fmla="*/ 0 w 18"/>
                <a:gd name="T1" fmla="*/ 14 h 15"/>
                <a:gd name="T2" fmla="*/ 17 w 18"/>
                <a:gd name="T3" fmla="*/ 5 h 15"/>
                <a:gd name="T4" fmla="*/ 0 w 18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0" y="14"/>
                  </a:moveTo>
                  <a:cubicBezTo>
                    <a:pt x="9" y="14"/>
                    <a:pt x="17" y="14"/>
                    <a:pt x="17" y="5"/>
                  </a:cubicBezTo>
                  <a:cubicBezTo>
                    <a:pt x="9" y="0"/>
                    <a:pt x="3" y="8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12" name="Freeform 639"/>
            <p:cNvSpPr>
              <a:spLocks noChangeArrowheads="1"/>
            </p:cNvSpPr>
            <p:nvPr/>
          </p:nvSpPr>
          <p:spPr bwMode="auto">
            <a:xfrm>
              <a:off x="4316413" y="2184400"/>
              <a:ext cx="3175" cy="4763"/>
            </a:xfrm>
            <a:custGeom>
              <a:avLst/>
              <a:gdLst>
                <a:gd name="T0" fmla="*/ 8 w 9"/>
                <a:gd name="T1" fmla="*/ 12 h 13"/>
                <a:gd name="T2" fmla="*/ 0 w 9"/>
                <a:gd name="T3" fmla="*/ 0 h 13"/>
                <a:gd name="T4" fmla="*/ 8 w 9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3">
                  <a:moveTo>
                    <a:pt x="8" y="12"/>
                  </a:moveTo>
                  <a:cubicBezTo>
                    <a:pt x="8" y="3"/>
                    <a:pt x="6" y="3"/>
                    <a:pt x="0" y="0"/>
                  </a:cubicBezTo>
                  <a:cubicBezTo>
                    <a:pt x="0" y="6"/>
                    <a:pt x="3" y="9"/>
                    <a:pt x="8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13" name="Freeform 640"/>
            <p:cNvSpPr>
              <a:spLocks noChangeArrowheads="1"/>
            </p:cNvSpPr>
            <p:nvPr/>
          </p:nvSpPr>
          <p:spPr bwMode="auto">
            <a:xfrm>
              <a:off x="4313238" y="2535238"/>
              <a:ext cx="6350" cy="3175"/>
            </a:xfrm>
            <a:custGeom>
              <a:avLst/>
              <a:gdLst>
                <a:gd name="T0" fmla="*/ 9 w 16"/>
                <a:gd name="T1" fmla="*/ 9 h 10"/>
                <a:gd name="T2" fmla="*/ 15 w 16"/>
                <a:gd name="T3" fmla="*/ 3 h 10"/>
                <a:gd name="T4" fmla="*/ 9 w 16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0">
                  <a:moveTo>
                    <a:pt x="9" y="9"/>
                  </a:moveTo>
                  <a:cubicBezTo>
                    <a:pt x="9" y="6"/>
                    <a:pt x="12" y="6"/>
                    <a:pt x="15" y="3"/>
                  </a:cubicBezTo>
                  <a:cubicBezTo>
                    <a:pt x="9" y="0"/>
                    <a:pt x="0" y="9"/>
                    <a:pt x="9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14" name="Freeform 641"/>
            <p:cNvSpPr>
              <a:spLocks noChangeArrowheads="1"/>
            </p:cNvSpPr>
            <p:nvPr/>
          </p:nvSpPr>
          <p:spPr bwMode="auto">
            <a:xfrm>
              <a:off x="4332288" y="2990850"/>
              <a:ext cx="4762" cy="3175"/>
            </a:xfrm>
            <a:custGeom>
              <a:avLst/>
              <a:gdLst>
                <a:gd name="T0" fmla="*/ 3 w 12"/>
                <a:gd name="T1" fmla="*/ 0 h 10"/>
                <a:gd name="T2" fmla="*/ 11 w 12"/>
                <a:gd name="T3" fmla="*/ 9 h 10"/>
                <a:gd name="T4" fmla="*/ 3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3" y="0"/>
                  </a:moveTo>
                  <a:cubicBezTo>
                    <a:pt x="0" y="3"/>
                    <a:pt x="6" y="6"/>
                    <a:pt x="11" y="9"/>
                  </a:cubicBezTo>
                  <a:cubicBezTo>
                    <a:pt x="11" y="3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15" name="Freeform 642"/>
            <p:cNvSpPr>
              <a:spLocks noChangeArrowheads="1"/>
            </p:cNvSpPr>
            <p:nvPr/>
          </p:nvSpPr>
          <p:spPr bwMode="auto">
            <a:xfrm>
              <a:off x="4333875" y="2974975"/>
              <a:ext cx="1588" cy="317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6 h 7"/>
                <a:gd name="T4" fmla="*/ 3 w 6"/>
                <a:gd name="T5" fmla="*/ 6 h 7"/>
                <a:gd name="T6" fmla="*/ 5 w 6"/>
                <a:gd name="T7" fmla="*/ 0 h 7"/>
                <a:gd name="T8" fmla="*/ 5 w 6"/>
                <a:gd name="T9" fmla="*/ 0 h 7"/>
                <a:gd name="T10" fmla="*/ 0 w 6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cubicBezTo>
                    <a:pt x="5" y="6"/>
                    <a:pt x="5" y="3"/>
                    <a:pt x="5" y="0"/>
                  </a:cubicBez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16" name="Freeform 643"/>
            <p:cNvSpPr>
              <a:spLocks noChangeArrowheads="1"/>
            </p:cNvSpPr>
            <p:nvPr/>
          </p:nvSpPr>
          <p:spPr bwMode="auto">
            <a:xfrm>
              <a:off x="4330700" y="2965450"/>
              <a:ext cx="4763" cy="4763"/>
            </a:xfrm>
            <a:custGeom>
              <a:avLst/>
              <a:gdLst>
                <a:gd name="T0" fmla="*/ 14 w 15"/>
                <a:gd name="T1" fmla="*/ 2 h 12"/>
                <a:gd name="T2" fmla="*/ 3 w 15"/>
                <a:gd name="T3" fmla="*/ 2 h 12"/>
                <a:gd name="T4" fmla="*/ 14 w 15"/>
                <a:gd name="T5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14" y="2"/>
                  </a:moveTo>
                  <a:cubicBezTo>
                    <a:pt x="6" y="2"/>
                    <a:pt x="9" y="0"/>
                    <a:pt x="3" y="2"/>
                  </a:cubicBezTo>
                  <a:cubicBezTo>
                    <a:pt x="0" y="11"/>
                    <a:pt x="14" y="11"/>
                    <a:pt x="14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17" name="Freeform 644"/>
            <p:cNvSpPr>
              <a:spLocks noChangeArrowheads="1"/>
            </p:cNvSpPr>
            <p:nvPr/>
          </p:nvSpPr>
          <p:spPr bwMode="auto">
            <a:xfrm>
              <a:off x="4319588" y="2971800"/>
              <a:ext cx="4762" cy="3175"/>
            </a:xfrm>
            <a:custGeom>
              <a:avLst/>
              <a:gdLst>
                <a:gd name="T0" fmla="*/ 0 w 13"/>
                <a:gd name="T1" fmla="*/ 6 h 10"/>
                <a:gd name="T2" fmla="*/ 0 w 13"/>
                <a:gd name="T3" fmla="*/ 6 h 10"/>
                <a:gd name="T4" fmla="*/ 6 w 13"/>
                <a:gd name="T5" fmla="*/ 6 h 10"/>
                <a:gd name="T6" fmla="*/ 9 w 13"/>
                <a:gd name="T7" fmla="*/ 9 h 10"/>
                <a:gd name="T8" fmla="*/ 12 w 13"/>
                <a:gd name="T9" fmla="*/ 9 h 10"/>
                <a:gd name="T10" fmla="*/ 0 w 13"/>
                <a:gd name="T1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0">
                  <a:moveTo>
                    <a:pt x="0" y="6"/>
                  </a:moveTo>
                  <a:cubicBezTo>
                    <a:pt x="0" y="6"/>
                    <a:pt x="3" y="6"/>
                    <a:pt x="0" y="6"/>
                  </a:cubicBezTo>
                  <a:cubicBezTo>
                    <a:pt x="3" y="6"/>
                    <a:pt x="3" y="6"/>
                    <a:pt x="6" y="6"/>
                  </a:cubicBezTo>
                  <a:cubicBezTo>
                    <a:pt x="6" y="6"/>
                    <a:pt x="6" y="9"/>
                    <a:pt x="9" y="9"/>
                  </a:cubicBezTo>
                  <a:lnTo>
                    <a:pt x="12" y="9"/>
                  </a:lnTo>
                  <a:cubicBezTo>
                    <a:pt x="12" y="3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18" name="Freeform 645"/>
            <p:cNvSpPr>
              <a:spLocks noChangeArrowheads="1"/>
            </p:cNvSpPr>
            <p:nvPr/>
          </p:nvSpPr>
          <p:spPr bwMode="auto">
            <a:xfrm>
              <a:off x="4324350" y="2643188"/>
              <a:ext cx="1588" cy="1587"/>
            </a:xfrm>
            <a:custGeom>
              <a:avLst/>
              <a:gdLst>
                <a:gd name="T0" fmla="*/ 0 w 3"/>
                <a:gd name="T1" fmla="*/ 0 h 4"/>
                <a:gd name="T2" fmla="*/ 2 w 3"/>
                <a:gd name="T3" fmla="*/ 3 h 4"/>
                <a:gd name="T4" fmla="*/ 0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cubicBezTo>
                    <a:pt x="0" y="0"/>
                    <a:pt x="2" y="0"/>
                    <a:pt x="2" y="3"/>
                  </a:cubicBezTo>
                  <a:cubicBezTo>
                    <a:pt x="2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19" name="Freeform 646"/>
            <p:cNvSpPr>
              <a:spLocks noChangeArrowheads="1"/>
            </p:cNvSpPr>
            <p:nvPr/>
          </p:nvSpPr>
          <p:spPr bwMode="auto">
            <a:xfrm>
              <a:off x="4324350" y="2609850"/>
              <a:ext cx="3175" cy="3175"/>
            </a:xfrm>
            <a:custGeom>
              <a:avLst/>
              <a:gdLst>
                <a:gd name="T0" fmla="*/ 5 w 9"/>
                <a:gd name="T1" fmla="*/ 0 h 10"/>
                <a:gd name="T2" fmla="*/ 0 w 9"/>
                <a:gd name="T3" fmla="*/ 3 h 10"/>
                <a:gd name="T4" fmla="*/ 0 w 9"/>
                <a:gd name="T5" fmla="*/ 9 h 10"/>
                <a:gd name="T6" fmla="*/ 5 w 9"/>
                <a:gd name="T7" fmla="*/ 9 h 10"/>
                <a:gd name="T8" fmla="*/ 5 w 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cubicBezTo>
                    <a:pt x="2" y="0"/>
                    <a:pt x="0" y="0"/>
                    <a:pt x="0" y="3"/>
                  </a:cubicBezTo>
                  <a:cubicBezTo>
                    <a:pt x="0" y="6"/>
                    <a:pt x="0" y="6"/>
                    <a:pt x="0" y="9"/>
                  </a:cubicBezTo>
                  <a:lnTo>
                    <a:pt x="5" y="9"/>
                  </a:lnTo>
                  <a:cubicBezTo>
                    <a:pt x="5" y="3"/>
                    <a:pt x="8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20" name="Freeform 647"/>
            <p:cNvSpPr>
              <a:spLocks noChangeArrowheads="1"/>
            </p:cNvSpPr>
            <p:nvPr/>
          </p:nvSpPr>
          <p:spPr bwMode="auto">
            <a:xfrm>
              <a:off x="4327525" y="2720975"/>
              <a:ext cx="3175" cy="1588"/>
            </a:xfrm>
            <a:custGeom>
              <a:avLst/>
              <a:gdLst>
                <a:gd name="T0" fmla="*/ 0 w 10"/>
                <a:gd name="T1" fmla="*/ 0 h 6"/>
                <a:gd name="T2" fmla="*/ 6 w 10"/>
                <a:gd name="T3" fmla="*/ 5 h 6"/>
                <a:gd name="T4" fmla="*/ 9 w 10"/>
                <a:gd name="T5" fmla="*/ 3 h 6"/>
                <a:gd name="T6" fmla="*/ 0 w 1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6">
                  <a:moveTo>
                    <a:pt x="0" y="0"/>
                  </a:moveTo>
                  <a:cubicBezTo>
                    <a:pt x="0" y="3"/>
                    <a:pt x="0" y="5"/>
                    <a:pt x="6" y="5"/>
                  </a:cubicBezTo>
                  <a:cubicBezTo>
                    <a:pt x="6" y="5"/>
                    <a:pt x="9" y="5"/>
                    <a:pt x="9" y="3"/>
                  </a:cubicBezTo>
                  <a:cubicBezTo>
                    <a:pt x="6" y="3"/>
                    <a:pt x="6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21" name="Freeform 648"/>
            <p:cNvSpPr>
              <a:spLocks noChangeArrowheads="1"/>
            </p:cNvSpPr>
            <p:nvPr/>
          </p:nvSpPr>
          <p:spPr bwMode="auto">
            <a:xfrm>
              <a:off x="4065588" y="2649538"/>
              <a:ext cx="3175" cy="1587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0 w 7"/>
                <a:gd name="T5" fmla="*/ 3 h 4"/>
                <a:gd name="T6" fmla="*/ 6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0" y="0"/>
                    <a:pt x="0" y="0"/>
                  </a:cubicBezTo>
                  <a:lnTo>
                    <a:pt x="0" y="3"/>
                  </a:lnTo>
                  <a:cubicBezTo>
                    <a:pt x="0" y="3"/>
                    <a:pt x="3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22" name="Freeform 649"/>
            <p:cNvSpPr>
              <a:spLocks noChangeArrowheads="1"/>
            </p:cNvSpPr>
            <p:nvPr/>
          </p:nvSpPr>
          <p:spPr bwMode="auto">
            <a:xfrm>
              <a:off x="4075113" y="2495550"/>
              <a:ext cx="3175" cy="6350"/>
            </a:xfrm>
            <a:custGeom>
              <a:avLst/>
              <a:gdLst>
                <a:gd name="T0" fmla="*/ 9 w 10"/>
                <a:gd name="T1" fmla="*/ 0 h 16"/>
                <a:gd name="T2" fmla="*/ 0 w 10"/>
                <a:gd name="T3" fmla="*/ 12 h 16"/>
                <a:gd name="T4" fmla="*/ 9 w 10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9" y="0"/>
                  </a:moveTo>
                  <a:cubicBezTo>
                    <a:pt x="3" y="0"/>
                    <a:pt x="3" y="6"/>
                    <a:pt x="0" y="12"/>
                  </a:cubicBezTo>
                  <a:cubicBezTo>
                    <a:pt x="9" y="15"/>
                    <a:pt x="9" y="6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23" name="Freeform 650"/>
            <p:cNvSpPr>
              <a:spLocks noChangeArrowheads="1"/>
            </p:cNvSpPr>
            <p:nvPr/>
          </p:nvSpPr>
          <p:spPr bwMode="auto">
            <a:xfrm>
              <a:off x="4041775" y="2146300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3 w 7"/>
                <a:gd name="T3" fmla="*/ 0 h 7"/>
                <a:gd name="T4" fmla="*/ 3 w 7"/>
                <a:gd name="T5" fmla="*/ 0 h 7"/>
                <a:gd name="T6" fmla="*/ 0 w 7"/>
                <a:gd name="T7" fmla="*/ 3 h 7"/>
                <a:gd name="T8" fmla="*/ 3 w 7"/>
                <a:gd name="T9" fmla="*/ 6 h 7"/>
                <a:gd name="T10" fmla="*/ 6 w 7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cubicBezTo>
                    <a:pt x="6" y="3"/>
                    <a:pt x="6" y="0"/>
                    <a:pt x="3" y="0"/>
                  </a:cubicBezTo>
                  <a:lnTo>
                    <a:pt x="3" y="0"/>
                  </a:lnTo>
                  <a:cubicBezTo>
                    <a:pt x="3" y="3"/>
                    <a:pt x="3" y="3"/>
                    <a:pt x="0" y="3"/>
                  </a:cubicBezTo>
                  <a:cubicBezTo>
                    <a:pt x="0" y="3"/>
                    <a:pt x="0" y="6"/>
                    <a:pt x="3" y="6"/>
                  </a:cubicBezTo>
                  <a:lnTo>
                    <a:pt x="6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24" name="Freeform 651"/>
            <p:cNvSpPr>
              <a:spLocks noChangeArrowheads="1"/>
            </p:cNvSpPr>
            <p:nvPr/>
          </p:nvSpPr>
          <p:spPr bwMode="auto">
            <a:xfrm>
              <a:off x="4064000" y="2890838"/>
              <a:ext cx="3175" cy="1587"/>
            </a:xfrm>
            <a:custGeom>
              <a:avLst/>
              <a:gdLst>
                <a:gd name="T0" fmla="*/ 6 w 7"/>
                <a:gd name="T1" fmla="*/ 2 h 6"/>
                <a:gd name="T2" fmla="*/ 0 w 7"/>
                <a:gd name="T3" fmla="*/ 0 h 6"/>
                <a:gd name="T4" fmla="*/ 6 w 7"/>
                <a:gd name="T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2"/>
                  </a:moveTo>
                  <a:cubicBezTo>
                    <a:pt x="6" y="0"/>
                    <a:pt x="3" y="0"/>
                    <a:pt x="0" y="0"/>
                  </a:cubicBezTo>
                  <a:cubicBezTo>
                    <a:pt x="0" y="0"/>
                    <a:pt x="6" y="5"/>
                    <a:pt x="6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25" name="Freeform 652"/>
            <p:cNvSpPr>
              <a:spLocks noChangeArrowheads="1"/>
            </p:cNvSpPr>
            <p:nvPr/>
          </p:nvSpPr>
          <p:spPr bwMode="auto">
            <a:xfrm>
              <a:off x="4049713" y="2984500"/>
              <a:ext cx="6350" cy="7938"/>
            </a:xfrm>
            <a:custGeom>
              <a:avLst/>
              <a:gdLst>
                <a:gd name="T0" fmla="*/ 0 w 18"/>
                <a:gd name="T1" fmla="*/ 6 h 21"/>
                <a:gd name="T2" fmla="*/ 0 w 18"/>
                <a:gd name="T3" fmla="*/ 20 h 21"/>
                <a:gd name="T4" fmla="*/ 17 w 18"/>
                <a:gd name="T5" fmla="*/ 0 h 21"/>
                <a:gd name="T6" fmla="*/ 0 w 18"/>
                <a:gd name="T7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0" y="6"/>
                  </a:moveTo>
                  <a:lnTo>
                    <a:pt x="0" y="20"/>
                  </a:lnTo>
                  <a:cubicBezTo>
                    <a:pt x="8" y="17"/>
                    <a:pt x="17" y="11"/>
                    <a:pt x="17" y="0"/>
                  </a:cubicBezTo>
                  <a:cubicBezTo>
                    <a:pt x="8" y="0"/>
                    <a:pt x="11" y="9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26" name="Freeform 653"/>
            <p:cNvSpPr>
              <a:spLocks noChangeArrowheads="1"/>
            </p:cNvSpPr>
            <p:nvPr/>
          </p:nvSpPr>
          <p:spPr bwMode="auto">
            <a:xfrm>
              <a:off x="4064000" y="3065463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6 h 7"/>
                <a:gd name="T4" fmla="*/ 9 w 10"/>
                <a:gd name="T5" fmla="*/ 0 h 7"/>
                <a:gd name="T6" fmla="*/ 0 w 10"/>
                <a:gd name="T7" fmla="*/ 0 h 7"/>
                <a:gd name="T8" fmla="*/ 0 w 10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lnTo>
                    <a:pt x="9" y="6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27" name="Freeform 654"/>
            <p:cNvSpPr>
              <a:spLocks noChangeArrowheads="1"/>
            </p:cNvSpPr>
            <p:nvPr/>
          </p:nvSpPr>
          <p:spPr bwMode="auto">
            <a:xfrm>
              <a:off x="4046538" y="2649538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0 h 7"/>
                <a:gd name="T4" fmla="*/ 0 w 10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cubicBezTo>
                    <a:pt x="3" y="6"/>
                    <a:pt x="6" y="3"/>
                    <a:pt x="9" y="0"/>
                  </a:cubicBezTo>
                  <a:cubicBezTo>
                    <a:pt x="3" y="0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28" name="Freeform 655"/>
            <p:cNvSpPr>
              <a:spLocks noChangeArrowheads="1"/>
            </p:cNvSpPr>
            <p:nvPr/>
          </p:nvSpPr>
          <p:spPr bwMode="auto">
            <a:xfrm>
              <a:off x="4043363" y="2892425"/>
              <a:ext cx="3175" cy="3175"/>
            </a:xfrm>
            <a:custGeom>
              <a:avLst/>
              <a:gdLst>
                <a:gd name="T0" fmla="*/ 8 w 9"/>
                <a:gd name="T1" fmla="*/ 6 h 7"/>
                <a:gd name="T2" fmla="*/ 8 w 9"/>
                <a:gd name="T3" fmla="*/ 0 h 7"/>
                <a:gd name="T4" fmla="*/ 0 w 9"/>
                <a:gd name="T5" fmla="*/ 0 h 7"/>
                <a:gd name="T6" fmla="*/ 8 w 9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8" y="6"/>
                  </a:moveTo>
                  <a:cubicBezTo>
                    <a:pt x="8" y="3"/>
                    <a:pt x="8" y="0"/>
                    <a:pt x="8" y="0"/>
                  </a:cubicBezTo>
                  <a:cubicBezTo>
                    <a:pt x="6" y="0"/>
                    <a:pt x="3" y="0"/>
                    <a:pt x="0" y="0"/>
                  </a:cubicBezTo>
                  <a:cubicBezTo>
                    <a:pt x="0" y="3"/>
                    <a:pt x="3" y="6"/>
                    <a:pt x="8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29" name="Freeform 656"/>
            <p:cNvSpPr>
              <a:spLocks noChangeArrowheads="1"/>
            </p:cNvSpPr>
            <p:nvPr/>
          </p:nvSpPr>
          <p:spPr bwMode="auto">
            <a:xfrm>
              <a:off x="4056063" y="2273300"/>
              <a:ext cx="4762" cy="1588"/>
            </a:xfrm>
            <a:custGeom>
              <a:avLst/>
              <a:gdLst>
                <a:gd name="T0" fmla="*/ 11 w 12"/>
                <a:gd name="T1" fmla="*/ 0 h 6"/>
                <a:gd name="T2" fmla="*/ 11 w 12"/>
                <a:gd name="T3" fmla="*/ 0 h 6"/>
                <a:gd name="T4" fmla="*/ 0 w 12"/>
                <a:gd name="T5" fmla="*/ 3 h 6"/>
                <a:gd name="T6" fmla="*/ 11 w 1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1" y="0"/>
                  </a:moveTo>
                  <a:lnTo>
                    <a:pt x="11" y="0"/>
                  </a:lnTo>
                  <a:cubicBezTo>
                    <a:pt x="3" y="3"/>
                    <a:pt x="3" y="3"/>
                    <a:pt x="0" y="3"/>
                  </a:cubicBezTo>
                  <a:cubicBezTo>
                    <a:pt x="6" y="5"/>
                    <a:pt x="11" y="5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30" name="Freeform 657"/>
            <p:cNvSpPr>
              <a:spLocks noChangeArrowheads="1"/>
            </p:cNvSpPr>
            <p:nvPr/>
          </p:nvSpPr>
          <p:spPr bwMode="auto">
            <a:xfrm>
              <a:off x="4043363" y="2168525"/>
              <a:ext cx="3175" cy="3175"/>
            </a:xfrm>
            <a:custGeom>
              <a:avLst/>
              <a:gdLst>
                <a:gd name="T0" fmla="*/ 6 w 7"/>
                <a:gd name="T1" fmla="*/ 6 h 10"/>
                <a:gd name="T2" fmla="*/ 6 w 7"/>
                <a:gd name="T3" fmla="*/ 0 h 10"/>
                <a:gd name="T4" fmla="*/ 0 w 7"/>
                <a:gd name="T5" fmla="*/ 9 h 10"/>
                <a:gd name="T6" fmla="*/ 6 w 7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6"/>
                  </a:moveTo>
                  <a:cubicBezTo>
                    <a:pt x="6" y="3"/>
                    <a:pt x="6" y="0"/>
                    <a:pt x="6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0" y="6"/>
                    <a:pt x="3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31" name="Freeform 658"/>
            <p:cNvSpPr>
              <a:spLocks noChangeArrowheads="1"/>
            </p:cNvSpPr>
            <p:nvPr/>
          </p:nvSpPr>
          <p:spPr bwMode="auto">
            <a:xfrm>
              <a:off x="4046538" y="2576513"/>
              <a:ext cx="3175" cy="3175"/>
            </a:xfrm>
            <a:custGeom>
              <a:avLst/>
              <a:gdLst>
                <a:gd name="T0" fmla="*/ 6 w 10"/>
                <a:gd name="T1" fmla="*/ 0 h 7"/>
                <a:gd name="T2" fmla="*/ 0 w 10"/>
                <a:gd name="T3" fmla="*/ 6 h 7"/>
                <a:gd name="T4" fmla="*/ 9 w 10"/>
                <a:gd name="T5" fmla="*/ 6 h 7"/>
                <a:gd name="T6" fmla="*/ 6 w 10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6" y="0"/>
                  </a:moveTo>
                  <a:cubicBezTo>
                    <a:pt x="3" y="0"/>
                    <a:pt x="3" y="3"/>
                    <a:pt x="0" y="6"/>
                  </a:cubicBezTo>
                  <a:cubicBezTo>
                    <a:pt x="3" y="6"/>
                    <a:pt x="6" y="6"/>
                    <a:pt x="9" y="6"/>
                  </a:cubicBezTo>
                  <a:cubicBezTo>
                    <a:pt x="9" y="3"/>
                    <a:pt x="9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32" name="Freeform 659"/>
            <p:cNvSpPr>
              <a:spLocks noChangeArrowheads="1"/>
            </p:cNvSpPr>
            <p:nvPr/>
          </p:nvSpPr>
          <p:spPr bwMode="auto">
            <a:xfrm>
              <a:off x="4054475" y="2405063"/>
              <a:ext cx="3175" cy="4762"/>
            </a:xfrm>
            <a:custGeom>
              <a:avLst/>
              <a:gdLst>
                <a:gd name="T0" fmla="*/ 6 w 7"/>
                <a:gd name="T1" fmla="*/ 6 h 13"/>
                <a:gd name="T2" fmla="*/ 0 w 7"/>
                <a:gd name="T3" fmla="*/ 0 h 13"/>
                <a:gd name="T4" fmla="*/ 3 w 7"/>
                <a:gd name="T5" fmla="*/ 12 h 13"/>
                <a:gd name="T6" fmla="*/ 6 w 7"/>
                <a:gd name="T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6" y="6"/>
                  </a:moveTo>
                  <a:cubicBezTo>
                    <a:pt x="3" y="3"/>
                    <a:pt x="0" y="3"/>
                    <a:pt x="0" y="0"/>
                  </a:cubicBezTo>
                  <a:cubicBezTo>
                    <a:pt x="0" y="3"/>
                    <a:pt x="0" y="9"/>
                    <a:pt x="3" y="12"/>
                  </a:cubicBezTo>
                  <a:cubicBezTo>
                    <a:pt x="3" y="9"/>
                    <a:pt x="6" y="9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33" name="Freeform 660"/>
            <p:cNvSpPr>
              <a:spLocks noChangeArrowheads="1"/>
            </p:cNvSpPr>
            <p:nvPr/>
          </p:nvSpPr>
          <p:spPr bwMode="auto">
            <a:xfrm>
              <a:off x="4049713" y="2511425"/>
              <a:ext cx="4762" cy="11113"/>
            </a:xfrm>
            <a:custGeom>
              <a:avLst/>
              <a:gdLst>
                <a:gd name="T0" fmla="*/ 3 w 15"/>
                <a:gd name="T1" fmla="*/ 17 h 29"/>
                <a:gd name="T2" fmla="*/ 8 w 15"/>
                <a:gd name="T3" fmla="*/ 28 h 29"/>
                <a:gd name="T4" fmla="*/ 11 w 15"/>
                <a:gd name="T5" fmla="*/ 8 h 29"/>
                <a:gd name="T6" fmla="*/ 3 w 15"/>
                <a:gd name="T7" fmla="*/ 0 h 29"/>
                <a:gd name="T8" fmla="*/ 0 w 15"/>
                <a:gd name="T9" fmla="*/ 0 h 29"/>
                <a:gd name="T10" fmla="*/ 0 w 15"/>
                <a:gd name="T11" fmla="*/ 2 h 29"/>
                <a:gd name="T12" fmla="*/ 5 w 15"/>
                <a:gd name="T13" fmla="*/ 16 h 29"/>
                <a:gd name="T14" fmla="*/ 3 w 15"/>
                <a:gd name="T15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9">
                  <a:moveTo>
                    <a:pt x="3" y="17"/>
                  </a:moveTo>
                  <a:cubicBezTo>
                    <a:pt x="3" y="19"/>
                    <a:pt x="6" y="25"/>
                    <a:pt x="8" y="28"/>
                  </a:cubicBezTo>
                  <a:cubicBezTo>
                    <a:pt x="11" y="22"/>
                    <a:pt x="14" y="14"/>
                    <a:pt x="11" y="8"/>
                  </a:cubicBez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cubicBezTo>
                    <a:pt x="0" y="8"/>
                    <a:pt x="2" y="13"/>
                    <a:pt x="5" y="16"/>
                  </a:cubicBezTo>
                  <a:cubicBezTo>
                    <a:pt x="5" y="16"/>
                    <a:pt x="4" y="17"/>
                    <a:pt x="3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34" name="Freeform 661"/>
            <p:cNvSpPr>
              <a:spLocks noChangeArrowheads="1"/>
            </p:cNvSpPr>
            <p:nvPr/>
          </p:nvSpPr>
          <p:spPr bwMode="auto">
            <a:xfrm>
              <a:off x="4052888" y="2974975"/>
              <a:ext cx="6350" cy="6350"/>
            </a:xfrm>
            <a:custGeom>
              <a:avLst/>
              <a:gdLst>
                <a:gd name="T0" fmla="*/ 3 w 18"/>
                <a:gd name="T1" fmla="*/ 0 h 18"/>
                <a:gd name="T2" fmla="*/ 0 w 18"/>
                <a:gd name="T3" fmla="*/ 17 h 18"/>
                <a:gd name="T4" fmla="*/ 9 w 18"/>
                <a:gd name="T5" fmla="*/ 17 h 18"/>
                <a:gd name="T6" fmla="*/ 17 w 18"/>
                <a:gd name="T7" fmla="*/ 11 h 18"/>
                <a:gd name="T8" fmla="*/ 6 w 18"/>
                <a:gd name="T9" fmla="*/ 8 h 18"/>
                <a:gd name="T10" fmla="*/ 3 w 18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8">
                  <a:moveTo>
                    <a:pt x="3" y="0"/>
                  </a:moveTo>
                  <a:cubicBezTo>
                    <a:pt x="0" y="5"/>
                    <a:pt x="0" y="11"/>
                    <a:pt x="0" y="17"/>
                  </a:cubicBezTo>
                  <a:cubicBezTo>
                    <a:pt x="3" y="14"/>
                    <a:pt x="6" y="14"/>
                    <a:pt x="9" y="17"/>
                  </a:cubicBezTo>
                  <a:cubicBezTo>
                    <a:pt x="12" y="14"/>
                    <a:pt x="17" y="17"/>
                    <a:pt x="17" y="11"/>
                  </a:cubicBezTo>
                  <a:cubicBezTo>
                    <a:pt x="14" y="8"/>
                    <a:pt x="12" y="11"/>
                    <a:pt x="6" y="8"/>
                  </a:cubicBezTo>
                  <a:cubicBezTo>
                    <a:pt x="6" y="5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35" name="Freeform 662"/>
            <p:cNvSpPr>
              <a:spLocks noChangeArrowheads="1"/>
            </p:cNvSpPr>
            <p:nvPr/>
          </p:nvSpPr>
          <p:spPr bwMode="auto">
            <a:xfrm>
              <a:off x="4019550" y="2979738"/>
              <a:ext cx="12700" cy="9525"/>
            </a:xfrm>
            <a:custGeom>
              <a:avLst/>
              <a:gdLst>
                <a:gd name="T0" fmla="*/ 0 w 35"/>
                <a:gd name="T1" fmla="*/ 11 h 26"/>
                <a:gd name="T2" fmla="*/ 3 w 35"/>
                <a:gd name="T3" fmla="*/ 25 h 26"/>
                <a:gd name="T4" fmla="*/ 20 w 35"/>
                <a:gd name="T5" fmla="*/ 14 h 26"/>
                <a:gd name="T6" fmla="*/ 28 w 35"/>
                <a:gd name="T7" fmla="*/ 17 h 26"/>
                <a:gd name="T8" fmla="*/ 34 w 35"/>
                <a:gd name="T9" fmla="*/ 8 h 26"/>
                <a:gd name="T10" fmla="*/ 31 w 35"/>
                <a:gd name="T11" fmla="*/ 0 h 26"/>
                <a:gd name="T12" fmla="*/ 9 w 35"/>
                <a:gd name="T13" fmla="*/ 0 h 26"/>
                <a:gd name="T14" fmla="*/ 0 w 35"/>
                <a:gd name="T15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6">
                  <a:moveTo>
                    <a:pt x="0" y="11"/>
                  </a:moveTo>
                  <a:cubicBezTo>
                    <a:pt x="0" y="17"/>
                    <a:pt x="0" y="20"/>
                    <a:pt x="3" y="25"/>
                  </a:cubicBezTo>
                  <a:cubicBezTo>
                    <a:pt x="9" y="22"/>
                    <a:pt x="17" y="22"/>
                    <a:pt x="20" y="14"/>
                  </a:cubicBezTo>
                  <a:cubicBezTo>
                    <a:pt x="23" y="17"/>
                    <a:pt x="26" y="17"/>
                    <a:pt x="28" y="17"/>
                  </a:cubicBezTo>
                  <a:cubicBezTo>
                    <a:pt x="28" y="14"/>
                    <a:pt x="31" y="8"/>
                    <a:pt x="34" y="8"/>
                  </a:cubicBezTo>
                  <a:cubicBezTo>
                    <a:pt x="34" y="5"/>
                    <a:pt x="34" y="3"/>
                    <a:pt x="31" y="0"/>
                  </a:cubicBezTo>
                  <a:lnTo>
                    <a:pt x="9" y="0"/>
                  </a:lnTo>
                  <a:cubicBezTo>
                    <a:pt x="6" y="5"/>
                    <a:pt x="3" y="11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36" name="Freeform 663"/>
            <p:cNvSpPr>
              <a:spLocks noChangeArrowheads="1"/>
            </p:cNvSpPr>
            <p:nvPr/>
          </p:nvSpPr>
          <p:spPr bwMode="auto">
            <a:xfrm>
              <a:off x="4073525" y="2200275"/>
              <a:ext cx="3175" cy="3175"/>
            </a:xfrm>
            <a:custGeom>
              <a:avLst/>
              <a:gdLst>
                <a:gd name="T0" fmla="*/ 8 w 9"/>
                <a:gd name="T1" fmla="*/ 0 h 9"/>
                <a:gd name="T2" fmla="*/ 0 w 9"/>
                <a:gd name="T3" fmla="*/ 8 h 9"/>
                <a:gd name="T4" fmla="*/ 8 w 9"/>
                <a:gd name="T5" fmla="*/ 5 h 9"/>
                <a:gd name="T6" fmla="*/ 8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8" y="0"/>
                  </a:moveTo>
                  <a:cubicBezTo>
                    <a:pt x="5" y="2"/>
                    <a:pt x="3" y="5"/>
                    <a:pt x="0" y="8"/>
                  </a:cubicBezTo>
                  <a:cubicBezTo>
                    <a:pt x="3" y="8"/>
                    <a:pt x="5" y="8"/>
                    <a:pt x="8" y="5"/>
                  </a:cubicBezTo>
                  <a:cubicBezTo>
                    <a:pt x="8" y="2"/>
                    <a:pt x="8" y="2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37" name="Freeform 664"/>
            <p:cNvSpPr>
              <a:spLocks noChangeArrowheads="1"/>
            </p:cNvSpPr>
            <p:nvPr/>
          </p:nvSpPr>
          <p:spPr bwMode="auto">
            <a:xfrm>
              <a:off x="4025900" y="2747963"/>
              <a:ext cx="3175" cy="1587"/>
            </a:xfrm>
            <a:custGeom>
              <a:avLst/>
              <a:gdLst>
                <a:gd name="T0" fmla="*/ 0 w 7"/>
                <a:gd name="T1" fmla="*/ 0 h 4"/>
                <a:gd name="T2" fmla="*/ 6 w 7"/>
                <a:gd name="T3" fmla="*/ 3 h 4"/>
                <a:gd name="T4" fmla="*/ 6 w 7"/>
                <a:gd name="T5" fmla="*/ 0 h 4"/>
                <a:gd name="T6" fmla="*/ 0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cubicBezTo>
                    <a:pt x="0" y="3"/>
                    <a:pt x="3" y="3"/>
                    <a:pt x="6" y="3"/>
                  </a:cubicBez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38" name="Freeform 665"/>
            <p:cNvSpPr>
              <a:spLocks noChangeArrowheads="1"/>
            </p:cNvSpPr>
            <p:nvPr/>
          </p:nvSpPr>
          <p:spPr bwMode="auto">
            <a:xfrm>
              <a:off x="4017963" y="3065463"/>
              <a:ext cx="4762" cy="4762"/>
            </a:xfrm>
            <a:custGeom>
              <a:avLst/>
              <a:gdLst>
                <a:gd name="T0" fmla="*/ 0 w 13"/>
                <a:gd name="T1" fmla="*/ 3 h 15"/>
                <a:gd name="T2" fmla="*/ 9 w 13"/>
                <a:gd name="T3" fmla="*/ 14 h 15"/>
                <a:gd name="T4" fmla="*/ 12 w 13"/>
                <a:gd name="T5" fmla="*/ 3 h 15"/>
                <a:gd name="T6" fmla="*/ 0 w 13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5">
                  <a:moveTo>
                    <a:pt x="0" y="3"/>
                  </a:moveTo>
                  <a:cubicBezTo>
                    <a:pt x="0" y="8"/>
                    <a:pt x="0" y="14"/>
                    <a:pt x="9" y="14"/>
                  </a:cubicBezTo>
                  <a:cubicBezTo>
                    <a:pt x="9" y="11"/>
                    <a:pt x="9" y="6"/>
                    <a:pt x="12" y="3"/>
                  </a:cubicBezTo>
                  <a:cubicBezTo>
                    <a:pt x="9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39" name="Freeform 666"/>
            <p:cNvSpPr>
              <a:spLocks noChangeArrowheads="1"/>
            </p:cNvSpPr>
            <p:nvPr/>
          </p:nvSpPr>
          <p:spPr bwMode="auto">
            <a:xfrm>
              <a:off x="4013200" y="2586038"/>
              <a:ext cx="3175" cy="3175"/>
            </a:xfrm>
            <a:custGeom>
              <a:avLst/>
              <a:gdLst>
                <a:gd name="T0" fmla="*/ 3 w 7"/>
                <a:gd name="T1" fmla="*/ 9 h 10"/>
                <a:gd name="T2" fmla="*/ 6 w 7"/>
                <a:gd name="T3" fmla="*/ 3 h 10"/>
                <a:gd name="T4" fmla="*/ 0 w 7"/>
                <a:gd name="T5" fmla="*/ 0 h 10"/>
                <a:gd name="T6" fmla="*/ 3 w 7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3" y="9"/>
                  </a:moveTo>
                  <a:cubicBezTo>
                    <a:pt x="3" y="9"/>
                    <a:pt x="6" y="6"/>
                    <a:pt x="6" y="3"/>
                  </a:cubicBezTo>
                  <a:cubicBezTo>
                    <a:pt x="3" y="3"/>
                    <a:pt x="0" y="3"/>
                    <a:pt x="0" y="0"/>
                  </a:cubicBezTo>
                  <a:cubicBezTo>
                    <a:pt x="0" y="6"/>
                    <a:pt x="0" y="9"/>
                    <a:pt x="3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40" name="Freeform 667"/>
            <p:cNvSpPr>
              <a:spLocks noChangeArrowheads="1"/>
            </p:cNvSpPr>
            <p:nvPr/>
          </p:nvSpPr>
          <p:spPr bwMode="auto">
            <a:xfrm>
              <a:off x="4021138" y="3009900"/>
              <a:ext cx="12700" cy="9525"/>
            </a:xfrm>
            <a:custGeom>
              <a:avLst/>
              <a:gdLst>
                <a:gd name="T0" fmla="*/ 28 w 37"/>
                <a:gd name="T1" fmla="*/ 0 h 26"/>
                <a:gd name="T2" fmla="*/ 11 w 37"/>
                <a:gd name="T3" fmla="*/ 14 h 26"/>
                <a:gd name="T4" fmla="*/ 0 w 37"/>
                <a:gd name="T5" fmla="*/ 17 h 26"/>
                <a:gd name="T6" fmla="*/ 0 w 37"/>
                <a:gd name="T7" fmla="*/ 17 h 26"/>
                <a:gd name="T8" fmla="*/ 3 w 37"/>
                <a:gd name="T9" fmla="*/ 17 h 26"/>
                <a:gd name="T10" fmla="*/ 8 w 37"/>
                <a:gd name="T11" fmla="*/ 25 h 26"/>
                <a:gd name="T12" fmla="*/ 20 w 37"/>
                <a:gd name="T13" fmla="*/ 25 h 26"/>
                <a:gd name="T14" fmla="*/ 20 w 37"/>
                <a:gd name="T15" fmla="*/ 22 h 26"/>
                <a:gd name="T16" fmla="*/ 25 w 37"/>
                <a:gd name="T17" fmla="*/ 14 h 26"/>
                <a:gd name="T18" fmla="*/ 34 w 37"/>
                <a:gd name="T19" fmla="*/ 14 h 26"/>
                <a:gd name="T20" fmla="*/ 34 w 37"/>
                <a:gd name="T21" fmla="*/ 14 h 26"/>
                <a:gd name="T22" fmla="*/ 28 w 37"/>
                <a:gd name="T2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26">
                  <a:moveTo>
                    <a:pt x="28" y="0"/>
                  </a:moveTo>
                  <a:cubicBezTo>
                    <a:pt x="22" y="2"/>
                    <a:pt x="17" y="8"/>
                    <a:pt x="11" y="14"/>
                  </a:cubicBezTo>
                  <a:cubicBezTo>
                    <a:pt x="8" y="14"/>
                    <a:pt x="3" y="14"/>
                    <a:pt x="0" y="17"/>
                  </a:cubicBezTo>
                  <a:lnTo>
                    <a:pt x="0" y="17"/>
                  </a:lnTo>
                  <a:lnTo>
                    <a:pt x="3" y="17"/>
                  </a:lnTo>
                  <a:cubicBezTo>
                    <a:pt x="5" y="17"/>
                    <a:pt x="8" y="19"/>
                    <a:pt x="8" y="25"/>
                  </a:cubicBezTo>
                  <a:cubicBezTo>
                    <a:pt x="11" y="25"/>
                    <a:pt x="17" y="25"/>
                    <a:pt x="20" y="25"/>
                  </a:cubicBezTo>
                  <a:lnTo>
                    <a:pt x="20" y="22"/>
                  </a:lnTo>
                  <a:cubicBezTo>
                    <a:pt x="20" y="19"/>
                    <a:pt x="22" y="17"/>
                    <a:pt x="25" y="14"/>
                  </a:cubicBezTo>
                  <a:lnTo>
                    <a:pt x="34" y="14"/>
                  </a:lnTo>
                  <a:lnTo>
                    <a:pt x="34" y="14"/>
                  </a:lnTo>
                  <a:cubicBezTo>
                    <a:pt x="36" y="5"/>
                    <a:pt x="36" y="2"/>
                    <a:pt x="2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41" name="Freeform 668"/>
            <p:cNvSpPr>
              <a:spLocks noChangeArrowheads="1"/>
            </p:cNvSpPr>
            <p:nvPr/>
          </p:nvSpPr>
          <p:spPr bwMode="auto">
            <a:xfrm>
              <a:off x="4033838" y="2979738"/>
              <a:ext cx="4762" cy="4762"/>
            </a:xfrm>
            <a:custGeom>
              <a:avLst/>
              <a:gdLst>
                <a:gd name="T0" fmla="*/ 8 w 12"/>
                <a:gd name="T1" fmla="*/ 0 h 12"/>
                <a:gd name="T2" fmla="*/ 3 w 12"/>
                <a:gd name="T3" fmla="*/ 0 h 12"/>
                <a:gd name="T4" fmla="*/ 8 w 12"/>
                <a:gd name="T5" fmla="*/ 11 h 12"/>
                <a:gd name="T6" fmla="*/ 11 w 12"/>
                <a:gd name="T7" fmla="*/ 11 h 12"/>
                <a:gd name="T8" fmla="*/ 8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3" y="0"/>
                  </a:lnTo>
                  <a:cubicBezTo>
                    <a:pt x="0" y="8"/>
                    <a:pt x="8" y="5"/>
                    <a:pt x="8" y="11"/>
                  </a:cubicBezTo>
                  <a:cubicBezTo>
                    <a:pt x="8" y="11"/>
                    <a:pt x="8" y="11"/>
                    <a:pt x="11" y="11"/>
                  </a:cubicBezTo>
                  <a:cubicBezTo>
                    <a:pt x="8" y="5"/>
                    <a:pt x="8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42" name="Freeform 669"/>
            <p:cNvSpPr>
              <a:spLocks noChangeArrowheads="1"/>
            </p:cNvSpPr>
            <p:nvPr/>
          </p:nvSpPr>
          <p:spPr bwMode="auto">
            <a:xfrm>
              <a:off x="4037013" y="2886075"/>
              <a:ext cx="3175" cy="3175"/>
            </a:xfrm>
            <a:custGeom>
              <a:avLst/>
              <a:gdLst>
                <a:gd name="T0" fmla="*/ 0 w 7"/>
                <a:gd name="T1" fmla="*/ 0 h 10"/>
                <a:gd name="T2" fmla="*/ 0 w 7"/>
                <a:gd name="T3" fmla="*/ 0 h 10"/>
                <a:gd name="T4" fmla="*/ 0 w 7"/>
                <a:gd name="T5" fmla="*/ 9 h 10"/>
                <a:gd name="T6" fmla="*/ 6 w 7"/>
                <a:gd name="T7" fmla="*/ 9 h 10"/>
                <a:gd name="T8" fmla="*/ 3 w 7"/>
                <a:gd name="T9" fmla="*/ 3 h 10"/>
                <a:gd name="T10" fmla="*/ 0 w 7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0">
                  <a:moveTo>
                    <a:pt x="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6" y="9"/>
                  </a:lnTo>
                  <a:cubicBezTo>
                    <a:pt x="6" y="6"/>
                    <a:pt x="6" y="3"/>
                    <a:pt x="3" y="3"/>
                  </a:cubicBezTo>
                  <a:cubicBezTo>
                    <a:pt x="3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43" name="Freeform 670"/>
            <p:cNvSpPr>
              <a:spLocks noChangeArrowheads="1"/>
            </p:cNvSpPr>
            <p:nvPr/>
          </p:nvSpPr>
          <p:spPr bwMode="auto">
            <a:xfrm>
              <a:off x="4021138" y="2987675"/>
              <a:ext cx="12700" cy="7938"/>
            </a:xfrm>
            <a:custGeom>
              <a:avLst/>
              <a:gdLst>
                <a:gd name="T0" fmla="*/ 34 w 37"/>
                <a:gd name="T1" fmla="*/ 0 h 21"/>
                <a:gd name="T2" fmla="*/ 31 w 37"/>
                <a:gd name="T3" fmla="*/ 0 h 21"/>
                <a:gd name="T4" fmla="*/ 8 w 37"/>
                <a:gd name="T5" fmla="*/ 3 h 21"/>
                <a:gd name="T6" fmla="*/ 0 w 37"/>
                <a:gd name="T7" fmla="*/ 12 h 21"/>
                <a:gd name="T8" fmla="*/ 36 w 37"/>
                <a:gd name="T9" fmla="*/ 12 h 21"/>
                <a:gd name="T10" fmla="*/ 36 w 37"/>
                <a:gd name="T11" fmla="*/ 12 h 21"/>
                <a:gd name="T12" fmla="*/ 36 w 37"/>
                <a:gd name="T13" fmla="*/ 6 h 21"/>
                <a:gd name="T14" fmla="*/ 34 w 37"/>
                <a:gd name="T1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21">
                  <a:moveTo>
                    <a:pt x="34" y="0"/>
                  </a:moveTo>
                  <a:lnTo>
                    <a:pt x="31" y="0"/>
                  </a:lnTo>
                  <a:cubicBezTo>
                    <a:pt x="25" y="3"/>
                    <a:pt x="17" y="3"/>
                    <a:pt x="8" y="3"/>
                  </a:cubicBezTo>
                  <a:cubicBezTo>
                    <a:pt x="5" y="3"/>
                    <a:pt x="3" y="9"/>
                    <a:pt x="0" y="12"/>
                  </a:cubicBezTo>
                  <a:cubicBezTo>
                    <a:pt x="11" y="20"/>
                    <a:pt x="25" y="20"/>
                    <a:pt x="36" y="12"/>
                  </a:cubicBezTo>
                  <a:lnTo>
                    <a:pt x="36" y="12"/>
                  </a:lnTo>
                  <a:cubicBezTo>
                    <a:pt x="36" y="9"/>
                    <a:pt x="36" y="9"/>
                    <a:pt x="36" y="6"/>
                  </a:cubicBezTo>
                  <a:cubicBezTo>
                    <a:pt x="36" y="3"/>
                    <a:pt x="34" y="3"/>
                    <a:pt x="3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44" name="Freeform 671"/>
            <p:cNvSpPr>
              <a:spLocks noChangeArrowheads="1"/>
            </p:cNvSpPr>
            <p:nvPr/>
          </p:nvSpPr>
          <p:spPr bwMode="auto">
            <a:xfrm>
              <a:off x="4029075" y="3000375"/>
              <a:ext cx="4763" cy="3175"/>
            </a:xfrm>
            <a:custGeom>
              <a:avLst/>
              <a:gdLst>
                <a:gd name="T0" fmla="*/ 11 w 12"/>
                <a:gd name="T1" fmla="*/ 6 h 10"/>
                <a:gd name="T2" fmla="*/ 0 w 12"/>
                <a:gd name="T3" fmla="*/ 0 h 10"/>
                <a:gd name="T4" fmla="*/ 0 w 12"/>
                <a:gd name="T5" fmla="*/ 9 h 10"/>
                <a:gd name="T6" fmla="*/ 11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1" y="6"/>
                  </a:moveTo>
                  <a:cubicBezTo>
                    <a:pt x="8" y="3"/>
                    <a:pt x="2" y="3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2" y="9"/>
                    <a:pt x="11" y="9"/>
                    <a:pt x="11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45" name="Freeform 672"/>
            <p:cNvSpPr>
              <a:spLocks noChangeArrowheads="1"/>
            </p:cNvSpPr>
            <p:nvPr/>
          </p:nvSpPr>
          <p:spPr bwMode="auto">
            <a:xfrm>
              <a:off x="4062413" y="2854325"/>
              <a:ext cx="4762" cy="4763"/>
            </a:xfrm>
            <a:custGeom>
              <a:avLst/>
              <a:gdLst>
                <a:gd name="T0" fmla="*/ 5 w 12"/>
                <a:gd name="T1" fmla="*/ 0 h 12"/>
                <a:gd name="T2" fmla="*/ 2 w 12"/>
                <a:gd name="T3" fmla="*/ 11 h 12"/>
                <a:gd name="T4" fmla="*/ 11 w 12"/>
                <a:gd name="T5" fmla="*/ 9 h 12"/>
                <a:gd name="T6" fmla="*/ 5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cubicBezTo>
                    <a:pt x="2" y="3"/>
                    <a:pt x="0" y="6"/>
                    <a:pt x="2" y="11"/>
                  </a:cubicBezTo>
                  <a:cubicBezTo>
                    <a:pt x="5" y="11"/>
                    <a:pt x="8" y="11"/>
                    <a:pt x="11" y="9"/>
                  </a:cubicBezTo>
                  <a:cubicBezTo>
                    <a:pt x="8" y="6"/>
                    <a:pt x="8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46" name="Freeform 673"/>
            <p:cNvSpPr>
              <a:spLocks noChangeArrowheads="1"/>
            </p:cNvSpPr>
            <p:nvPr/>
          </p:nvSpPr>
          <p:spPr bwMode="auto">
            <a:xfrm>
              <a:off x="3778250" y="2749550"/>
              <a:ext cx="4763" cy="3175"/>
            </a:xfrm>
            <a:custGeom>
              <a:avLst/>
              <a:gdLst>
                <a:gd name="T0" fmla="*/ 3 w 13"/>
                <a:gd name="T1" fmla="*/ 8 h 9"/>
                <a:gd name="T2" fmla="*/ 12 w 13"/>
                <a:gd name="T3" fmla="*/ 0 h 9"/>
                <a:gd name="T4" fmla="*/ 3 w 13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9">
                  <a:moveTo>
                    <a:pt x="3" y="8"/>
                  </a:moveTo>
                  <a:cubicBezTo>
                    <a:pt x="9" y="8"/>
                    <a:pt x="12" y="5"/>
                    <a:pt x="12" y="0"/>
                  </a:cubicBezTo>
                  <a:cubicBezTo>
                    <a:pt x="6" y="0"/>
                    <a:pt x="0" y="0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47" name="Freeform 674"/>
            <p:cNvSpPr>
              <a:spLocks noChangeArrowheads="1"/>
            </p:cNvSpPr>
            <p:nvPr/>
          </p:nvSpPr>
          <p:spPr bwMode="auto">
            <a:xfrm>
              <a:off x="3816350" y="2968625"/>
              <a:ext cx="4763" cy="3175"/>
            </a:xfrm>
            <a:custGeom>
              <a:avLst/>
              <a:gdLst>
                <a:gd name="T0" fmla="*/ 3 w 12"/>
                <a:gd name="T1" fmla="*/ 3 h 9"/>
                <a:gd name="T2" fmla="*/ 0 w 12"/>
                <a:gd name="T3" fmla="*/ 6 h 9"/>
                <a:gd name="T4" fmla="*/ 3 w 12"/>
                <a:gd name="T5" fmla="*/ 6 h 9"/>
                <a:gd name="T6" fmla="*/ 5 w 12"/>
                <a:gd name="T7" fmla="*/ 8 h 9"/>
                <a:gd name="T8" fmla="*/ 3 w 12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3" y="3"/>
                  </a:moveTo>
                  <a:cubicBezTo>
                    <a:pt x="3" y="3"/>
                    <a:pt x="3" y="6"/>
                    <a:pt x="0" y="6"/>
                  </a:cubicBezTo>
                  <a:lnTo>
                    <a:pt x="3" y="6"/>
                  </a:lnTo>
                  <a:cubicBezTo>
                    <a:pt x="3" y="6"/>
                    <a:pt x="3" y="8"/>
                    <a:pt x="5" y="8"/>
                  </a:cubicBezTo>
                  <a:cubicBezTo>
                    <a:pt x="5" y="8"/>
                    <a:pt x="11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48" name="Freeform 675"/>
            <p:cNvSpPr>
              <a:spLocks noChangeArrowheads="1"/>
            </p:cNvSpPr>
            <p:nvPr/>
          </p:nvSpPr>
          <p:spPr bwMode="auto">
            <a:xfrm>
              <a:off x="3787775" y="2608263"/>
              <a:ext cx="1588" cy="3175"/>
            </a:xfrm>
            <a:custGeom>
              <a:avLst/>
              <a:gdLst>
                <a:gd name="T0" fmla="*/ 0 w 4"/>
                <a:gd name="T1" fmla="*/ 6 h 7"/>
                <a:gd name="T2" fmla="*/ 3 w 4"/>
                <a:gd name="T3" fmla="*/ 6 h 7"/>
                <a:gd name="T4" fmla="*/ 3 w 4"/>
                <a:gd name="T5" fmla="*/ 0 h 7"/>
                <a:gd name="T6" fmla="*/ 0 w 4"/>
                <a:gd name="T7" fmla="*/ 0 h 7"/>
                <a:gd name="T8" fmla="*/ 0 w 4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0" y="6"/>
                  </a:moveTo>
                  <a:lnTo>
                    <a:pt x="3" y="6"/>
                  </a:lnTo>
                  <a:lnTo>
                    <a:pt x="3" y="0"/>
                  </a:lnTo>
                  <a:cubicBezTo>
                    <a:pt x="3" y="0"/>
                    <a:pt x="3" y="0"/>
                    <a:pt x="0" y="0"/>
                  </a:cubicBezTo>
                  <a:cubicBezTo>
                    <a:pt x="0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49" name="Freeform 676"/>
            <p:cNvSpPr>
              <a:spLocks noChangeArrowheads="1"/>
            </p:cNvSpPr>
            <p:nvPr/>
          </p:nvSpPr>
          <p:spPr bwMode="auto">
            <a:xfrm>
              <a:off x="3786188" y="2555875"/>
              <a:ext cx="3175" cy="3175"/>
            </a:xfrm>
            <a:custGeom>
              <a:avLst/>
              <a:gdLst>
                <a:gd name="T0" fmla="*/ 6 w 7"/>
                <a:gd name="T1" fmla="*/ 3 h 9"/>
                <a:gd name="T2" fmla="*/ 3 w 7"/>
                <a:gd name="T3" fmla="*/ 0 h 9"/>
                <a:gd name="T4" fmla="*/ 3 w 7"/>
                <a:gd name="T5" fmla="*/ 5 h 9"/>
                <a:gd name="T6" fmla="*/ 3 w 7"/>
                <a:gd name="T7" fmla="*/ 5 h 9"/>
                <a:gd name="T8" fmla="*/ 6 w 7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6" y="3"/>
                  </a:moveTo>
                  <a:cubicBezTo>
                    <a:pt x="6" y="3"/>
                    <a:pt x="3" y="3"/>
                    <a:pt x="3" y="0"/>
                  </a:cubicBezTo>
                  <a:cubicBezTo>
                    <a:pt x="3" y="3"/>
                    <a:pt x="0" y="3"/>
                    <a:pt x="3" y="5"/>
                  </a:cubicBezTo>
                  <a:lnTo>
                    <a:pt x="3" y="5"/>
                  </a:lnTo>
                  <a:cubicBezTo>
                    <a:pt x="3" y="8"/>
                    <a:pt x="6" y="5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50" name="Freeform 677"/>
            <p:cNvSpPr>
              <a:spLocks noChangeArrowheads="1"/>
            </p:cNvSpPr>
            <p:nvPr/>
          </p:nvSpPr>
          <p:spPr bwMode="auto">
            <a:xfrm>
              <a:off x="3784600" y="2452688"/>
              <a:ext cx="3175" cy="3175"/>
            </a:xfrm>
            <a:custGeom>
              <a:avLst/>
              <a:gdLst>
                <a:gd name="T0" fmla="*/ 6 w 7"/>
                <a:gd name="T1" fmla="*/ 8 h 9"/>
                <a:gd name="T2" fmla="*/ 6 w 7"/>
                <a:gd name="T3" fmla="*/ 3 h 9"/>
                <a:gd name="T4" fmla="*/ 0 w 7"/>
                <a:gd name="T5" fmla="*/ 0 h 9"/>
                <a:gd name="T6" fmla="*/ 6 w 7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6" y="8"/>
                  </a:moveTo>
                  <a:lnTo>
                    <a:pt x="6" y="3"/>
                  </a:lnTo>
                  <a:cubicBezTo>
                    <a:pt x="3" y="3"/>
                    <a:pt x="3" y="0"/>
                    <a:pt x="0" y="0"/>
                  </a:cubicBezTo>
                  <a:cubicBezTo>
                    <a:pt x="3" y="3"/>
                    <a:pt x="0" y="8"/>
                    <a:pt x="6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51" name="Freeform 678"/>
            <p:cNvSpPr>
              <a:spLocks noChangeArrowheads="1"/>
            </p:cNvSpPr>
            <p:nvPr/>
          </p:nvSpPr>
          <p:spPr bwMode="auto">
            <a:xfrm>
              <a:off x="3816350" y="2971800"/>
              <a:ext cx="6350" cy="6350"/>
            </a:xfrm>
            <a:custGeom>
              <a:avLst/>
              <a:gdLst>
                <a:gd name="T0" fmla="*/ 14 w 18"/>
                <a:gd name="T1" fmla="*/ 15 h 18"/>
                <a:gd name="T2" fmla="*/ 6 w 18"/>
                <a:gd name="T3" fmla="*/ 15 h 18"/>
                <a:gd name="T4" fmla="*/ 0 w 18"/>
                <a:gd name="T5" fmla="*/ 15 h 18"/>
                <a:gd name="T6" fmla="*/ 0 w 18"/>
                <a:gd name="T7" fmla="*/ 15 h 18"/>
                <a:gd name="T8" fmla="*/ 17 w 18"/>
                <a:gd name="T9" fmla="*/ 17 h 18"/>
                <a:gd name="T10" fmla="*/ 8 w 18"/>
                <a:gd name="T11" fmla="*/ 0 h 18"/>
                <a:gd name="T12" fmla="*/ 14 w 18"/>
                <a:gd name="T13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8">
                  <a:moveTo>
                    <a:pt x="14" y="15"/>
                  </a:moveTo>
                  <a:cubicBezTo>
                    <a:pt x="11" y="15"/>
                    <a:pt x="8" y="15"/>
                    <a:pt x="6" y="15"/>
                  </a:cubicBezTo>
                  <a:cubicBezTo>
                    <a:pt x="3" y="15"/>
                    <a:pt x="3" y="15"/>
                    <a:pt x="0" y="15"/>
                  </a:cubicBezTo>
                  <a:lnTo>
                    <a:pt x="0" y="15"/>
                  </a:lnTo>
                  <a:cubicBezTo>
                    <a:pt x="6" y="17"/>
                    <a:pt x="11" y="17"/>
                    <a:pt x="17" y="17"/>
                  </a:cubicBezTo>
                  <a:cubicBezTo>
                    <a:pt x="17" y="9"/>
                    <a:pt x="11" y="6"/>
                    <a:pt x="8" y="0"/>
                  </a:cubicBezTo>
                  <a:cubicBezTo>
                    <a:pt x="11" y="6"/>
                    <a:pt x="14" y="12"/>
                    <a:pt x="14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52" name="Freeform 679"/>
            <p:cNvSpPr>
              <a:spLocks noChangeArrowheads="1"/>
            </p:cNvSpPr>
            <p:nvPr/>
          </p:nvSpPr>
          <p:spPr bwMode="auto">
            <a:xfrm>
              <a:off x="3836988" y="2643188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6 w 7"/>
                <a:gd name="T3" fmla="*/ 3 h 7"/>
                <a:gd name="T4" fmla="*/ 0 w 7"/>
                <a:gd name="T5" fmla="*/ 0 h 7"/>
                <a:gd name="T6" fmla="*/ 6 w 7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lnTo>
                    <a:pt x="6" y="3"/>
                  </a:lnTo>
                  <a:cubicBezTo>
                    <a:pt x="6" y="0"/>
                    <a:pt x="3" y="0"/>
                    <a:pt x="0" y="0"/>
                  </a:cubicBezTo>
                  <a:cubicBezTo>
                    <a:pt x="0" y="3"/>
                    <a:pt x="3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53" name="Freeform 680"/>
            <p:cNvSpPr>
              <a:spLocks noChangeArrowheads="1"/>
            </p:cNvSpPr>
            <p:nvPr/>
          </p:nvSpPr>
          <p:spPr bwMode="auto">
            <a:xfrm>
              <a:off x="3848100" y="2946400"/>
              <a:ext cx="4763" cy="3175"/>
            </a:xfrm>
            <a:custGeom>
              <a:avLst/>
              <a:gdLst>
                <a:gd name="T0" fmla="*/ 0 w 13"/>
                <a:gd name="T1" fmla="*/ 6 h 7"/>
                <a:gd name="T2" fmla="*/ 12 w 13"/>
                <a:gd name="T3" fmla="*/ 6 h 7"/>
                <a:gd name="T4" fmla="*/ 6 w 13"/>
                <a:gd name="T5" fmla="*/ 0 h 7"/>
                <a:gd name="T6" fmla="*/ 0 w 13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7">
                  <a:moveTo>
                    <a:pt x="0" y="6"/>
                  </a:moveTo>
                  <a:cubicBezTo>
                    <a:pt x="3" y="6"/>
                    <a:pt x="6" y="6"/>
                    <a:pt x="12" y="6"/>
                  </a:cubicBezTo>
                  <a:cubicBezTo>
                    <a:pt x="9" y="3"/>
                    <a:pt x="9" y="3"/>
                    <a:pt x="6" y="0"/>
                  </a:cubicBezTo>
                  <a:cubicBezTo>
                    <a:pt x="3" y="0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54" name="Freeform 681"/>
            <p:cNvSpPr>
              <a:spLocks noChangeArrowheads="1"/>
            </p:cNvSpPr>
            <p:nvPr/>
          </p:nvSpPr>
          <p:spPr bwMode="auto">
            <a:xfrm>
              <a:off x="3830638" y="2878138"/>
              <a:ext cx="6350" cy="4762"/>
            </a:xfrm>
            <a:custGeom>
              <a:avLst/>
              <a:gdLst>
                <a:gd name="T0" fmla="*/ 3 w 18"/>
                <a:gd name="T1" fmla="*/ 11 h 15"/>
                <a:gd name="T2" fmla="*/ 14 w 18"/>
                <a:gd name="T3" fmla="*/ 11 h 15"/>
                <a:gd name="T4" fmla="*/ 17 w 18"/>
                <a:gd name="T5" fmla="*/ 3 h 15"/>
                <a:gd name="T6" fmla="*/ 6 w 18"/>
                <a:gd name="T7" fmla="*/ 0 h 15"/>
                <a:gd name="T8" fmla="*/ 3 w 18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3" y="11"/>
                  </a:moveTo>
                  <a:cubicBezTo>
                    <a:pt x="6" y="14"/>
                    <a:pt x="12" y="11"/>
                    <a:pt x="14" y="11"/>
                  </a:cubicBezTo>
                  <a:cubicBezTo>
                    <a:pt x="14" y="8"/>
                    <a:pt x="14" y="6"/>
                    <a:pt x="17" y="3"/>
                  </a:cubicBezTo>
                  <a:cubicBezTo>
                    <a:pt x="17" y="0"/>
                    <a:pt x="12" y="0"/>
                    <a:pt x="6" y="0"/>
                  </a:cubicBezTo>
                  <a:cubicBezTo>
                    <a:pt x="3" y="3"/>
                    <a:pt x="0" y="6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55" name="Freeform 682"/>
            <p:cNvSpPr>
              <a:spLocks noChangeArrowheads="1"/>
            </p:cNvSpPr>
            <p:nvPr/>
          </p:nvSpPr>
          <p:spPr bwMode="auto">
            <a:xfrm>
              <a:off x="3835400" y="2449513"/>
              <a:ext cx="3175" cy="4762"/>
            </a:xfrm>
            <a:custGeom>
              <a:avLst/>
              <a:gdLst>
                <a:gd name="T0" fmla="*/ 6 w 7"/>
                <a:gd name="T1" fmla="*/ 5 h 15"/>
                <a:gd name="T2" fmla="*/ 6 w 7"/>
                <a:gd name="T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6" y="5"/>
                  </a:moveTo>
                  <a:cubicBezTo>
                    <a:pt x="0" y="0"/>
                    <a:pt x="0" y="14"/>
                    <a:pt x="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56" name="Freeform 683"/>
            <p:cNvSpPr>
              <a:spLocks noChangeArrowheads="1"/>
            </p:cNvSpPr>
            <p:nvPr/>
          </p:nvSpPr>
          <p:spPr bwMode="auto">
            <a:xfrm>
              <a:off x="4040188" y="2171700"/>
              <a:ext cx="1587" cy="1588"/>
            </a:xfrm>
            <a:custGeom>
              <a:avLst/>
              <a:gdLst>
                <a:gd name="T0" fmla="*/ 5 w 6"/>
                <a:gd name="T1" fmla="*/ 0 h 4"/>
                <a:gd name="T2" fmla="*/ 0 w 6"/>
                <a:gd name="T3" fmla="*/ 3 h 4"/>
                <a:gd name="T4" fmla="*/ 2 w 6"/>
                <a:gd name="T5" fmla="*/ 3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2" y="0"/>
                    <a:pt x="0" y="0"/>
                    <a:pt x="0" y="3"/>
                  </a:cubicBezTo>
                  <a:lnTo>
                    <a:pt x="2" y="3"/>
                  </a:lnTo>
                  <a:cubicBezTo>
                    <a:pt x="2" y="0"/>
                    <a:pt x="2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57" name="Freeform 684"/>
            <p:cNvSpPr>
              <a:spLocks noChangeArrowheads="1"/>
            </p:cNvSpPr>
            <p:nvPr/>
          </p:nvSpPr>
          <p:spPr bwMode="auto">
            <a:xfrm>
              <a:off x="3819525" y="2965450"/>
              <a:ext cx="4763" cy="3175"/>
            </a:xfrm>
            <a:custGeom>
              <a:avLst/>
              <a:gdLst>
                <a:gd name="T0" fmla="*/ 12 w 13"/>
                <a:gd name="T1" fmla="*/ 6 h 10"/>
                <a:gd name="T2" fmla="*/ 12 w 13"/>
                <a:gd name="T3" fmla="*/ 0 h 10"/>
                <a:gd name="T4" fmla="*/ 0 w 13"/>
                <a:gd name="T5" fmla="*/ 0 h 10"/>
                <a:gd name="T6" fmla="*/ 12 w 13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12" y="6"/>
                  </a:moveTo>
                  <a:cubicBezTo>
                    <a:pt x="12" y="3"/>
                    <a:pt x="12" y="3"/>
                    <a:pt x="12" y="0"/>
                  </a:cubicBezTo>
                  <a:cubicBezTo>
                    <a:pt x="9" y="0"/>
                    <a:pt x="3" y="0"/>
                    <a:pt x="0" y="0"/>
                  </a:cubicBezTo>
                  <a:cubicBezTo>
                    <a:pt x="3" y="3"/>
                    <a:pt x="3" y="9"/>
                    <a:pt x="12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58" name="Freeform 685"/>
            <p:cNvSpPr>
              <a:spLocks noChangeArrowheads="1"/>
            </p:cNvSpPr>
            <p:nvPr/>
          </p:nvSpPr>
          <p:spPr bwMode="auto">
            <a:xfrm>
              <a:off x="4029075" y="2760663"/>
              <a:ext cx="7938" cy="9525"/>
            </a:xfrm>
            <a:custGeom>
              <a:avLst/>
              <a:gdLst>
                <a:gd name="T0" fmla="*/ 11 w 23"/>
                <a:gd name="T1" fmla="*/ 22 h 26"/>
                <a:gd name="T2" fmla="*/ 22 w 23"/>
                <a:gd name="T3" fmla="*/ 14 h 26"/>
                <a:gd name="T4" fmla="*/ 22 w 23"/>
                <a:gd name="T5" fmla="*/ 5 h 26"/>
                <a:gd name="T6" fmla="*/ 8 w 23"/>
                <a:gd name="T7" fmla="*/ 0 h 26"/>
                <a:gd name="T8" fmla="*/ 5 w 23"/>
                <a:gd name="T9" fmla="*/ 5 h 26"/>
                <a:gd name="T10" fmla="*/ 8 w 23"/>
                <a:gd name="T11" fmla="*/ 14 h 26"/>
                <a:gd name="T12" fmla="*/ 2 w 23"/>
                <a:gd name="T13" fmla="*/ 14 h 26"/>
                <a:gd name="T14" fmla="*/ 0 w 23"/>
                <a:gd name="T15" fmla="*/ 19 h 26"/>
                <a:gd name="T16" fmla="*/ 11 w 23"/>
                <a:gd name="T17" fmla="*/ 2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6">
                  <a:moveTo>
                    <a:pt x="11" y="22"/>
                  </a:moveTo>
                  <a:cubicBezTo>
                    <a:pt x="16" y="19"/>
                    <a:pt x="19" y="17"/>
                    <a:pt x="22" y="14"/>
                  </a:cubicBezTo>
                  <a:cubicBezTo>
                    <a:pt x="22" y="11"/>
                    <a:pt x="22" y="8"/>
                    <a:pt x="22" y="5"/>
                  </a:cubicBezTo>
                  <a:cubicBezTo>
                    <a:pt x="19" y="3"/>
                    <a:pt x="14" y="0"/>
                    <a:pt x="8" y="0"/>
                  </a:cubicBezTo>
                  <a:cubicBezTo>
                    <a:pt x="5" y="0"/>
                    <a:pt x="5" y="3"/>
                    <a:pt x="5" y="5"/>
                  </a:cubicBezTo>
                  <a:cubicBezTo>
                    <a:pt x="8" y="8"/>
                    <a:pt x="8" y="11"/>
                    <a:pt x="8" y="14"/>
                  </a:cubicBezTo>
                  <a:cubicBezTo>
                    <a:pt x="5" y="17"/>
                    <a:pt x="5" y="17"/>
                    <a:pt x="2" y="14"/>
                  </a:cubicBezTo>
                  <a:cubicBezTo>
                    <a:pt x="2" y="17"/>
                    <a:pt x="2" y="17"/>
                    <a:pt x="0" y="19"/>
                  </a:cubicBezTo>
                  <a:cubicBezTo>
                    <a:pt x="2" y="25"/>
                    <a:pt x="8" y="25"/>
                    <a:pt x="11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59" name="Freeform 686"/>
            <p:cNvSpPr>
              <a:spLocks noChangeArrowheads="1"/>
            </p:cNvSpPr>
            <p:nvPr/>
          </p:nvSpPr>
          <p:spPr bwMode="auto">
            <a:xfrm>
              <a:off x="3776663" y="2936875"/>
              <a:ext cx="4762" cy="3175"/>
            </a:xfrm>
            <a:custGeom>
              <a:avLst/>
              <a:gdLst>
                <a:gd name="T0" fmla="*/ 0 w 12"/>
                <a:gd name="T1" fmla="*/ 0 h 7"/>
                <a:gd name="T2" fmla="*/ 11 w 12"/>
                <a:gd name="T3" fmla="*/ 6 h 7"/>
                <a:gd name="T4" fmla="*/ 3 w 12"/>
                <a:gd name="T5" fmla="*/ 0 h 7"/>
                <a:gd name="T6" fmla="*/ 0 w 12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7">
                  <a:moveTo>
                    <a:pt x="0" y="0"/>
                  </a:moveTo>
                  <a:cubicBezTo>
                    <a:pt x="0" y="0"/>
                    <a:pt x="6" y="3"/>
                    <a:pt x="11" y="6"/>
                  </a:cubicBezTo>
                  <a:cubicBezTo>
                    <a:pt x="11" y="3"/>
                    <a:pt x="8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60" name="Freeform 687"/>
            <p:cNvSpPr>
              <a:spLocks noChangeArrowheads="1"/>
            </p:cNvSpPr>
            <p:nvPr/>
          </p:nvSpPr>
          <p:spPr bwMode="auto">
            <a:xfrm>
              <a:off x="4017963" y="2247900"/>
              <a:ext cx="3175" cy="4763"/>
            </a:xfrm>
            <a:custGeom>
              <a:avLst/>
              <a:gdLst>
                <a:gd name="T0" fmla="*/ 3 w 10"/>
                <a:gd name="T1" fmla="*/ 11 h 12"/>
                <a:gd name="T2" fmla="*/ 3 w 10"/>
                <a:gd name="T3" fmla="*/ 11 h 12"/>
                <a:gd name="T4" fmla="*/ 9 w 10"/>
                <a:gd name="T5" fmla="*/ 11 h 12"/>
                <a:gd name="T6" fmla="*/ 0 w 10"/>
                <a:gd name="T7" fmla="*/ 6 h 12"/>
                <a:gd name="T8" fmla="*/ 3 w 10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3" y="11"/>
                  </a:moveTo>
                  <a:lnTo>
                    <a:pt x="3" y="11"/>
                  </a:lnTo>
                  <a:cubicBezTo>
                    <a:pt x="6" y="11"/>
                    <a:pt x="6" y="11"/>
                    <a:pt x="9" y="11"/>
                  </a:cubicBezTo>
                  <a:cubicBezTo>
                    <a:pt x="6" y="11"/>
                    <a:pt x="0" y="0"/>
                    <a:pt x="0" y="6"/>
                  </a:cubicBezTo>
                  <a:cubicBezTo>
                    <a:pt x="0" y="6"/>
                    <a:pt x="3" y="9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61" name="Freeform 688"/>
            <p:cNvSpPr>
              <a:spLocks noChangeArrowheads="1"/>
            </p:cNvSpPr>
            <p:nvPr/>
          </p:nvSpPr>
          <p:spPr bwMode="auto">
            <a:xfrm>
              <a:off x="4019550" y="2241550"/>
              <a:ext cx="4763" cy="6350"/>
            </a:xfrm>
            <a:custGeom>
              <a:avLst/>
              <a:gdLst>
                <a:gd name="T0" fmla="*/ 11 w 12"/>
                <a:gd name="T1" fmla="*/ 0 h 18"/>
                <a:gd name="T2" fmla="*/ 11 w 12"/>
                <a:gd name="T3" fmla="*/ 0 h 18"/>
                <a:gd name="T4" fmla="*/ 0 w 12"/>
                <a:gd name="T5" fmla="*/ 17 h 18"/>
                <a:gd name="T6" fmla="*/ 11 w 12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8">
                  <a:moveTo>
                    <a:pt x="11" y="0"/>
                  </a:moveTo>
                  <a:lnTo>
                    <a:pt x="11" y="0"/>
                  </a:lnTo>
                  <a:cubicBezTo>
                    <a:pt x="3" y="3"/>
                    <a:pt x="0" y="9"/>
                    <a:pt x="0" y="17"/>
                  </a:cubicBezTo>
                  <a:cubicBezTo>
                    <a:pt x="9" y="14"/>
                    <a:pt x="9" y="6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62" name="Freeform 689"/>
            <p:cNvSpPr>
              <a:spLocks noChangeArrowheads="1"/>
            </p:cNvSpPr>
            <p:nvPr/>
          </p:nvSpPr>
          <p:spPr bwMode="auto">
            <a:xfrm>
              <a:off x="4035425" y="2211388"/>
              <a:ext cx="3175" cy="3175"/>
            </a:xfrm>
            <a:custGeom>
              <a:avLst/>
              <a:gdLst>
                <a:gd name="T0" fmla="*/ 9 w 10"/>
                <a:gd name="T1" fmla="*/ 6 h 10"/>
                <a:gd name="T2" fmla="*/ 9 w 10"/>
                <a:gd name="T3" fmla="*/ 0 h 10"/>
                <a:gd name="T4" fmla="*/ 0 w 10"/>
                <a:gd name="T5" fmla="*/ 6 h 10"/>
                <a:gd name="T6" fmla="*/ 9 w 10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9" y="6"/>
                  </a:moveTo>
                  <a:cubicBezTo>
                    <a:pt x="9" y="3"/>
                    <a:pt x="9" y="3"/>
                    <a:pt x="9" y="0"/>
                  </a:cubicBezTo>
                  <a:cubicBezTo>
                    <a:pt x="6" y="3"/>
                    <a:pt x="3" y="3"/>
                    <a:pt x="0" y="6"/>
                  </a:cubicBezTo>
                  <a:cubicBezTo>
                    <a:pt x="3" y="9"/>
                    <a:pt x="6" y="9"/>
                    <a:pt x="9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63" name="Freeform 690"/>
            <p:cNvSpPr>
              <a:spLocks noChangeArrowheads="1"/>
            </p:cNvSpPr>
            <p:nvPr/>
          </p:nvSpPr>
          <p:spPr bwMode="auto">
            <a:xfrm>
              <a:off x="4032250" y="2438400"/>
              <a:ext cx="1588" cy="1588"/>
            </a:xfrm>
            <a:custGeom>
              <a:avLst/>
              <a:gdLst>
                <a:gd name="T0" fmla="*/ 0 w 4"/>
                <a:gd name="T1" fmla="*/ 2 h 3"/>
                <a:gd name="T2" fmla="*/ 3 w 4"/>
                <a:gd name="T3" fmla="*/ 0 h 3"/>
                <a:gd name="T4" fmla="*/ 0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cubicBezTo>
                    <a:pt x="3" y="2"/>
                    <a:pt x="3" y="0"/>
                    <a:pt x="3" y="0"/>
                  </a:cubicBez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64" name="Freeform 691"/>
            <p:cNvSpPr>
              <a:spLocks noChangeArrowheads="1"/>
            </p:cNvSpPr>
            <p:nvPr/>
          </p:nvSpPr>
          <p:spPr bwMode="auto">
            <a:xfrm>
              <a:off x="4024313" y="2398713"/>
              <a:ext cx="6350" cy="7937"/>
            </a:xfrm>
            <a:custGeom>
              <a:avLst/>
              <a:gdLst>
                <a:gd name="T0" fmla="*/ 9 w 16"/>
                <a:gd name="T1" fmla="*/ 22 h 23"/>
                <a:gd name="T2" fmla="*/ 9 w 16"/>
                <a:gd name="T3" fmla="*/ 0 h 23"/>
                <a:gd name="T4" fmla="*/ 6 w 16"/>
                <a:gd name="T5" fmla="*/ 0 h 23"/>
                <a:gd name="T6" fmla="*/ 6 w 16"/>
                <a:gd name="T7" fmla="*/ 5 h 23"/>
                <a:gd name="T8" fmla="*/ 0 w 16"/>
                <a:gd name="T9" fmla="*/ 8 h 23"/>
                <a:gd name="T10" fmla="*/ 0 w 16"/>
                <a:gd name="T11" fmla="*/ 14 h 23"/>
                <a:gd name="T12" fmla="*/ 9 w 16"/>
                <a:gd name="T13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3">
                  <a:moveTo>
                    <a:pt x="9" y="22"/>
                  </a:moveTo>
                  <a:cubicBezTo>
                    <a:pt x="9" y="17"/>
                    <a:pt x="15" y="8"/>
                    <a:pt x="9" y="0"/>
                  </a:cubicBezTo>
                  <a:lnTo>
                    <a:pt x="6" y="0"/>
                  </a:lnTo>
                  <a:lnTo>
                    <a:pt x="6" y="5"/>
                  </a:lnTo>
                  <a:cubicBezTo>
                    <a:pt x="6" y="5"/>
                    <a:pt x="3" y="8"/>
                    <a:pt x="0" y="8"/>
                  </a:cubicBezTo>
                  <a:cubicBezTo>
                    <a:pt x="0" y="11"/>
                    <a:pt x="0" y="11"/>
                    <a:pt x="0" y="14"/>
                  </a:cubicBezTo>
                  <a:cubicBezTo>
                    <a:pt x="3" y="19"/>
                    <a:pt x="6" y="22"/>
                    <a:pt x="9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65" name="Freeform 692"/>
            <p:cNvSpPr>
              <a:spLocks noChangeArrowheads="1"/>
            </p:cNvSpPr>
            <p:nvPr/>
          </p:nvSpPr>
          <p:spPr bwMode="auto">
            <a:xfrm>
              <a:off x="3773488" y="2705100"/>
              <a:ext cx="11112" cy="7938"/>
            </a:xfrm>
            <a:custGeom>
              <a:avLst/>
              <a:gdLst>
                <a:gd name="T0" fmla="*/ 17 w 30"/>
                <a:gd name="T1" fmla="*/ 14 h 23"/>
                <a:gd name="T2" fmla="*/ 26 w 30"/>
                <a:gd name="T3" fmla="*/ 5 h 23"/>
                <a:gd name="T4" fmla="*/ 3 w 30"/>
                <a:gd name="T5" fmla="*/ 19 h 23"/>
                <a:gd name="T6" fmla="*/ 3 w 30"/>
                <a:gd name="T7" fmla="*/ 19 h 23"/>
                <a:gd name="T8" fmla="*/ 17 w 30"/>
                <a:gd name="T9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3">
                  <a:moveTo>
                    <a:pt x="17" y="14"/>
                  </a:moveTo>
                  <a:cubicBezTo>
                    <a:pt x="20" y="11"/>
                    <a:pt x="29" y="14"/>
                    <a:pt x="26" y="5"/>
                  </a:cubicBezTo>
                  <a:cubicBezTo>
                    <a:pt x="12" y="0"/>
                    <a:pt x="0" y="5"/>
                    <a:pt x="3" y="19"/>
                  </a:cubicBezTo>
                  <a:lnTo>
                    <a:pt x="3" y="19"/>
                  </a:lnTo>
                  <a:cubicBezTo>
                    <a:pt x="12" y="22"/>
                    <a:pt x="15" y="16"/>
                    <a:pt x="17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66" name="Freeform 693"/>
            <p:cNvSpPr>
              <a:spLocks noChangeArrowheads="1"/>
            </p:cNvSpPr>
            <p:nvPr/>
          </p:nvSpPr>
          <p:spPr bwMode="auto">
            <a:xfrm>
              <a:off x="3776663" y="2940050"/>
              <a:ext cx="3175" cy="1588"/>
            </a:xfrm>
            <a:custGeom>
              <a:avLst/>
              <a:gdLst>
                <a:gd name="T0" fmla="*/ 8 w 9"/>
                <a:gd name="T1" fmla="*/ 3 h 4"/>
                <a:gd name="T2" fmla="*/ 8 w 9"/>
                <a:gd name="T3" fmla="*/ 3 h 4"/>
                <a:gd name="T4" fmla="*/ 0 w 9"/>
                <a:gd name="T5" fmla="*/ 0 h 4"/>
                <a:gd name="T6" fmla="*/ 8 w 9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4">
                  <a:moveTo>
                    <a:pt x="8" y="3"/>
                  </a:moveTo>
                  <a:lnTo>
                    <a:pt x="8" y="3"/>
                  </a:lnTo>
                  <a:cubicBezTo>
                    <a:pt x="6" y="0"/>
                    <a:pt x="3" y="0"/>
                    <a:pt x="0" y="0"/>
                  </a:cubicBezTo>
                  <a:cubicBezTo>
                    <a:pt x="3" y="3"/>
                    <a:pt x="6" y="3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67" name="Freeform 694"/>
            <p:cNvSpPr>
              <a:spLocks noChangeArrowheads="1"/>
            </p:cNvSpPr>
            <p:nvPr/>
          </p:nvSpPr>
          <p:spPr bwMode="auto">
            <a:xfrm>
              <a:off x="4016375" y="2771775"/>
              <a:ext cx="4763" cy="4763"/>
            </a:xfrm>
            <a:custGeom>
              <a:avLst/>
              <a:gdLst>
                <a:gd name="T0" fmla="*/ 11 w 15"/>
                <a:gd name="T1" fmla="*/ 0 h 12"/>
                <a:gd name="T2" fmla="*/ 0 w 15"/>
                <a:gd name="T3" fmla="*/ 3 h 12"/>
                <a:gd name="T4" fmla="*/ 2 w 15"/>
                <a:gd name="T5" fmla="*/ 11 h 12"/>
                <a:gd name="T6" fmla="*/ 11 w 15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2">
                  <a:moveTo>
                    <a:pt x="11" y="0"/>
                  </a:moveTo>
                  <a:cubicBezTo>
                    <a:pt x="8" y="0"/>
                    <a:pt x="2" y="0"/>
                    <a:pt x="0" y="3"/>
                  </a:cubicBezTo>
                  <a:cubicBezTo>
                    <a:pt x="0" y="5"/>
                    <a:pt x="0" y="8"/>
                    <a:pt x="2" y="11"/>
                  </a:cubicBezTo>
                  <a:cubicBezTo>
                    <a:pt x="11" y="11"/>
                    <a:pt x="14" y="5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68" name="Freeform 695"/>
            <p:cNvSpPr>
              <a:spLocks noChangeArrowheads="1"/>
            </p:cNvSpPr>
            <p:nvPr/>
          </p:nvSpPr>
          <p:spPr bwMode="auto">
            <a:xfrm>
              <a:off x="4013200" y="2546350"/>
              <a:ext cx="3175" cy="3175"/>
            </a:xfrm>
            <a:custGeom>
              <a:avLst/>
              <a:gdLst>
                <a:gd name="T0" fmla="*/ 9 w 10"/>
                <a:gd name="T1" fmla="*/ 0 h 10"/>
                <a:gd name="T2" fmla="*/ 9 w 10"/>
                <a:gd name="T3" fmla="*/ 0 h 10"/>
                <a:gd name="T4" fmla="*/ 9 w 10"/>
                <a:gd name="T5" fmla="*/ 0 h 10"/>
                <a:gd name="T6" fmla="*/ 0 w 10"/>
                <a:gd name="T7" fmla="*/ 6 h 10"/>
                <a:gd name="T8" fmla="*/ 9 w 1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9" y="0"/>
                  </a:moveTo>
                  <a:lnTo>
                    <a:pt x="9" y="0"/>
                  </a:lnTo>
                  <a:lnTo>
                    <a:pt x="9" y="0"/>
                  </a:lnTo>
                  <a:cubicBezTo>
                    <a:pt x="3" y="0"/>
                    <a:pt x="0" y="0"/>
                    <a:pt x="0" y="6"/>
                  </a:cubicBezTo>
                  <a:cubicBezTo>
                    <a:pt x="3" y="9"/>
                    <a:pt x="9" y="9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69" name="Freeform 696"/>
            <p:cNvSpPr>
              <a:spLocks noChangeArrowheads="1"/>
            </p:cNvSpPr>
            <p:nvPr/>
          </p:nvSpPr>
          <p:spPr bwMode="auto">
            <a:xfrm>
              <a:off x="4121150" y="2987675"/>
              <a:ext cx="6350" cy="7938"/>
            </a:xfrm>
            <a:custGeom>
              <a:avLst/>
              <a:gdLst>
                <a:gd name="T0" fmla="*/ 6 w 17"/>
                <a:gd name="T1" fmla="*/ 2 h 23"/>
                <a:gd name="T2" fmla="*/ 3 w 17"/>
                <a:gd name="T3" fmla="*/ 22 h 23"/>
                <a:gd name="T4" fmla="*/ 6 w 17"/>
                <a:gd name="T5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6" y="2"/>
                  </a:moveTo>
                  <a:cubicBezTo>
                    <a:pt x="9" y="11"/>
                    <a:pt x="0" y="14"/>
                    <a:pt x="3" y="22"/>
                  </a:cubicBezTo>
                  <a:cubicBezTo>
                    <a:pt x="12" y="19"/>
                    <a:pt x="16" y="0"/>
                    <a:pt x="6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70" name="Freeform 697"/>
            <p:cNvSpPr>
              <a:spLocks noChangeArrowheads="1"/>
            </p:cNvSpPr>
            <p:nvPr/>
          </p:nvSpPr>
          <p:spPr bwMode="auto">
            <a:xfrm>
              <a:off x="4122738" y="2406650"/>
              <a:ext cx="3175" cy="3175"/>
            </a:xfrm>
            <a:custGeom>
              <a:avLst/>
              <a:gdLst>
                <a:gd name="T0" fmla="*/ 3 w 7"/>
                <a:gd name="T1" fmla="*/ 6 h 7"/>
                <a:gd name="T2" fmla="*/ 6 w 7"/>
                <a:gd name="T3" fmla="*/ 6 h 7"/>
                <a:gd name="T4" fmla="*/ 6 w 7"/>
                <a:gd name="T5" fmla="*/ 0 h 7"/>
                <a:gd name="T6" fmla="*/ 0 w 7"/>
                <a:gd name="T7" fmla="*/ 0 h 7"/>
                <a:gd name="T8" fmla="*/ 0 w 7"/>
                <a:gd name="T9" fmla="*/ 6 h 7"/>
                <a:gd name="T10" fmla="*/ 3 w 7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3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3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71" name="Freeform 698"/>
            <p:cNvSpPr>
              <a:spLocks noChangeArrowheads="1"/>
            </p:cNvSpPr>
            <p:nvPr/>
          </p:nvSpPr>
          <p:spPr bwMode="auto">
            <a:xfrm>
              <a:off x="4086225" y="2384425"/>
              <a:ext cx="3175" cy="3175"/>
            </a:xfrm>
            <a:custGeom>
              <a:avLst/>
              <a:gdLst>
                <a:gd name="T0" fmla="*/ 2 w 9"/>
                <a:gd name="T1" fmla="*/ 0 h 9"/>
                <a:gd name="T2" fmla="*/ 8 w 9"/>
                <a:gd name="T3" fmla="*/ 6 h 9"/>
                <a:gd name="T4" fmla="*/ 5 w 9"/>
                <a:gd name="T5" fmla="*/ 3 h 9"/>
                <a:gd name="T6" fmla="*/ 2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2" y="0"/>
                  </a:moveTo>
                  <a:cubicBezTo>
                    <a:pt x="0" y="6"/>
                    <a:pt x="5" y="8"/>
                    <a:pt x="8" y="6"/>
                  </a:cubicBezTo>
                  <a:lnTo>
                    <a:pt x="5" y="3"/>
                  </a:lnTo>
                  <a:cubicBezTo>
                    <a:pt x="2" y="3"/>
                    <a:pt x="2" y="0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72" name="Freeform 699"/>
            <p:cNvSpPr>
              <a:spLocks noChangeArrowheads="1"/>
            </p:cNvSpPr>
            <p:nvPr/>
          </p:nvSpPr>
          <p:spPr bwMode="auto">
            <a:xfrm>
              <a:off x="4090988" y="3052763"/>
              <a:ext cx="1587" cy="3175"/>
            </a:xfrm>
            <a:custGeom>
              <a:avLst/>
              <a:gdLst>
                <a:gd name="T0" fmla="*/ 0 w 3"/>
                <a:gd name="T1" fmla="*/ 0 h 7"/>
                <a:gd name="T2" fmla="*/ 2 w 3"/>
                <a:gd name="T3" fmla="*/ 6 h 7"/>
                <a:gd name="T4" fmla="*/ 2 w 3"/>
                <a:gd name="T5" fmla="*/ 6 h 7"/>
                <a:gd name="T6" fmla="*/ 0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cubicBezTo>
                    <a:pt x="0" y="3"/>
                    <a:pt x="0" y="6"/>
                    <a:pt x="2" y="6"/>
                  </a:cubicBezTo>
                  <a:lnTo>
                    <a:pt x="2" y="6"/>
                  </a:lnTo>
                  <a:cubicBezTo>
                    <a:pt x="2" y="3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73" name="Freeform 700"/>
            <p:cNvSpPr>
              <a:spLocks noChangeArrowheads="1"/>
            </p:cNvSpPr>
            <p:nvPr/>
          </p:nvSpPr>
          <p:spPr bwMode="auto">
            <a:xfrm>
              <a:off x="4129088" y="2232025"/>
              <a:ext cx="3175" cy="3175"/>
            </a:xfrm>
            <a:custGeom>
              <a:avLst/>
              <a:gdLst>
                <a:gd name="T0" fmla="*/ 0 w 7"/>
                <a:gd name="T1" fmla="*/ 0 h 7"/>
                <a:gd name="T2" fmla="*/ 0 w 7"/>
                <a:gd name="T3" fmla="*/ 6 h 7"/>
                <a:gd name="T4" fmla="*/ 6 w 7"/>
                <a:gd name="T5" fmla="*/ 6 h 7"/>
                <a:gd name="T6" fmla="*/ 0 w 7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lnTo>
                    <a:pt x="6" y="6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74" name="Freeform 701"/>
            <p:cNvSpPr>
              <a:spLocks noChangeArrowheads="1"/>
            </p:cNvSpPr>
            <p:nvPr/>
          </p:nvSpPr>
          <p:spPr bwMode="auto">
            <a:xfrm>
              <a:off x="4121150" y="2444750"/>
              <a:ext cx="9525" cy="14288"/>
            </a:xfrm>
            <a:custGeom>
              <a:avLst/>
              <a:gdLst>
                <a:gd name="T0" fmla="*/ 3 w 26"/>
                <a:gd name="T1" fmla="*/ 6 h 38"/>
                <a:gd name="T2" fmla="*/ 9 w 26"/>
                <a:gd name="T3" fmla="*/ 20 h 38"/>
                <a:gd name="T4" fmla="*/ 0 w 26"/>
                <a:gd name="T5" fmla="*/ 31 h 38"/>
                <a:gd name="T6" fmla="*/ 13 w 26"/>
                <a:gd name="T7" fmla="*/ 37 h 38"/>
                <a:gd name="T8" fmla="*/ 3 w 26"/>
                <a:gd name="T9" fmla="*/ 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8">
                  <a:moveTo>
                    <a:pt x="3" y="6"/>
                  </a:moveTo>
                  <a:cubicBezTo>
                    <a:pt x="3" y="15"/>
                    <a:pt x="6" y="15"/>
                    <a:pt x="9" y="20"/>
                  </a:cubicBezTo>
                  <a:cubicBezTo>
                    <a:pt x="9" y="26"/>
                    <a:pt x="0" y="26"/>
                    <a:pt x="0" y="31"/>
                  </a:cubicBezTo>
                  <a:cubicBezTo>
                    <a:pt x="6" y="31"/>
                    <a:pt x="6" y="37"/>
                    <a:pt x="13" y="37"/>
                  </a:cubicBezTo>
                  <a:cubicBezTo>
                    <a:pt x="19" y="29"/>
                    <a:pt x="25" y="0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75" name="Freeform 702"/>
            <p:cNvSpPr>
              <a:spLocks noChangeArrowheads="1"/>
            </p:cNvSpPr>
            <p:nvPr/>
          </p:nvSpPr>
          <p:spPr bwMode="auto">
            <a:xfrm>
              <a:off x="4125913" y="2536825"/>
              <a:ext cx="4762" cy="4763"/>
            </a:xfrm>
            <a:custGeom>
              <a:avLst/>
              <a:gdLst>
                <a:gd name="T0" fmla="*/ 1 w 14"/>
                <a:gd name="T1" fmla="*/ 6 h 15"/>
                <a:gd name="T2" fmla="*/ 4 w 14"/>
                <a:gd name="T3" fmla="*/ 11 h 15"/>
                <a:gd name="T4" fmla="*/ 13 w 14"/>
                <a:gd name="T5" fmla="*/ 14 h 15"/>
                <a:gd name="T6" fmla="*/ 13 w 14"/>
                <a:gd name="T7" fmla="*/ 11 h 15"/>
                <a:gd name="T8" fmla="*/ 7 w 14"/>
                <a:gd name="T9" fmla="*/ 6 h 15"/>
                <a:gd name="T10" fmla="*/ 4 w 14"/>
                <a:gd name="T11" fmla="*/ 0 h 15"/>
                <a:gd name="T12" fmla="*/ 0 w 14"/>
                <a:gd name="T13" fmla="*/ 3 h 15"/>
                <a:gd name="T14" fmla="*/ 1 w 14"/>
                <a:gd name="T1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5">
                  <a:moveTo>
                    <a:pt x="1" y="6"/>
                  </a:moveTo>
                  <a:cubicBezTo>
                    <a:pt x="1" y="9"/>
                    <a:pt x="4" y="9"/>
                    <a:pt x="4" y="11"/>
                  </a:cubicBezTo>
                  <a:cubicBezTo>
                    <a:pt x="7" y="14"/>
                    <a:pt x="10" y="14"/>
                    <a:pt x="13" y="14"/>
                  </a:cubicBezTo>
                  <a:lnTo>
                    <a:pt x="13" y="11"/>
                  </a:lnTo>
                  <a:cubicBezTo>
                    <a:pt x="10" y="11"/>
                    <a:pt x="10" y="9"/>
                    <a:pt x="7" y="6"/>
                  </a:cubicBezTo>
                  <a:cubicBezTo>
                    <a:pt x="7" y="3"/>
                    <a:pt x="7" y="3"/>
                    <a:pt x="4" y="0"/>
                  </a:cubicBezTo>
                  <a:cubicBezTo>
                    <a:pt x="1" y="0"/>
                    <a:pt x="1" y="0"/>
                    <a:pt x="0" y="3"/>
                  </a:cubicBezTo>
                  <a:lnTo>
                    <a:pt x="1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76" name="Freeform 703"/>
            <p:cNvSpPr>
              <a:spLocks noChangeArrowheads="1"/>
            </p:cNvSpPr>
            <p:nvPr/>
          </p:nvSpPr>
          <p:spPr bwMode="auto">
            <a:xfrm>
              <a:off x="4119563" y="2500313"/>
              <a:ext cx="1587" cy="1587"/>
            </a:xfrm>
            <a:custGeom>
              <a:avLst/>
              <a:gdLst>
                <a:gd name="T0" fmla="*/ 5 w 6"/>
                <a:gd name="T1" fmla="*/ 0 h 3"/>
                <a:gd name="T2" fmla="*/ 0 w 6"/>
                <a:gd name="T3" fmla="*/ 0 h 3"/>
                <a:gd name="T4" fmla="*/ 0 w 6"/>
                <a:gd name="T5" fmla="*/ 2 h 3"/>
                <a:gd name="T6" fmla="*/ 5 w 6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5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2"/>
                  </a:cubicBezTo>
                  <a:cubicBezTo>
                    <a:pt x="0" y="0"/>
                    <a:pt x="2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77" name="Freeform 704"/>
            <p:cNvSpPr>
              <a:spLocks noChangeArrowheads="1"/>
            </p:cNvSpPr>
            <p:nvPr/>
          </p:nvSpPr>
          <p:spPr bwMode="auto">
            <a:xfrm>
              <a:off x="4117975" y="2527300"/>
              <a:ext cx="6350" cy="6350"/>
            </a:xfrm>
            <a:custGeom>
              <a:avLst/>
              <a:gdLst>
                <a:gd name="T0" fmla="*/ 6 w 18"/>
                <a:gd name="T1" fmla="*/ 17 h 18"/>
                <a:gd name="T2" fmla="*/ 11 w 18"/>
                <a:gd name="T3" fmla="*/ 5 h 18"/>
                <a:gd name="T4" fmla="*/ 17 w 18"/>
                <a:gd name="T5" fmla="*/ 11 h 18"/>
                <a:gd name="T6" fmla="*/ 8 w 18"/>
                <a:gd name="T7" fmla="*/ 0 h 18"/>
                <a:gd name="T8" fmla="*/ 6 w 18"/>
                <a:gd name="T9" fmla="*/ 0 h 18"/>
                <a:gd name="T10" fmla="*/ 6 w 18"/>
                <a:gd name="T11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8">
                  <a:moveTo>
                    <a:pt x="6" y="17"/>
                  </a:moveTo>
                  <a:cubicBezTo>
                    <a:pt x="8" y="14"/>
                    <a:pt x="6" y="5"/>
                    <a:pt x="11" y="5"/>
                  </a:cubicBezTo>
                  <a:cubicBezTo>
                    <a:pt x="11" y="11"/>
                    <a:pt x="14" y="11"/>
                    <a:pt x="17" y="11"/>
                  </a:cubicBezTo>
                  <a:cubicBezTo>
                    <a:pt x="17" y="8"/>
                    <a:pt x="14" y="3"/>
                    <a:pt x="8" y="0"/>
                  </a:cubicBezTo>
                  <a:lnTo>
                    <a:pt x="6" y="0"/>
                  </a:lnTo>
                  <a:cubicBezTo>
                    <a:pt x="8" y="5"/>
                    <a:pt x="0" y="11"/>
                    <a:pt x="6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78" name="Freeform 705"/>
            <p:cNvSpPr>
              <a:spLocks noChangeArrowheads="1"/>
            </p:cNvSpPr>
            <p:nvPr/>
          </p:nvSpPr>
          <p:spPr bwMode="auto">
            <a:xfrm>
              <a:off x="4114800" y="3000375"/>
              <a:ext cx="6350" cy="4763"/>
            </a:xfrm>
            <a:custGeom>
              <a:avLst/>
              <a:gdLst>
                <a:gd name="T0" fmla="*/ 6 w 18"/>
                <a:gd name="T1" fmla="*/ 0 h 15"/>
                <a:gd name="T2" fmla="*/ 6 w 18"/>
                <a:gd name="T3" fmla="*/ 0 h 15"/>
                <a:gd name="T4" fmla="*/ 12 w 18"/>
                <a:gd name="T5" fmla="*/ 12 h 15"/>
                <a:gd name="T6" fmla="*/ 6 w 18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6" y="0"/>
                  </a:moveTo>
                  <a:lnTo>
                    <a:pt x="6" y="0"/>
                  </a:lnTo>
                  <a:cubicBezTo>
                    <a:pt x="0" y="6"/>
                    <a:pt x="0" y="14"/>
                    <a:pt x="12" y="12"/>
                  </a:cubicBezTo>
                  <a:cubicBezTo>
                    <a:pt x="17" y="9"/>
                    <a:pt x="12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79" name="Freeform 706"/>
            <p:cNvSpPr>
              <a:spLocks noChangeArrowheads="1"/>
            </p:cNvSpPr>
            <p:nvPr/>
          </p:nvSpPr>
          <p:spPr bwMode="auto">
            <a:xfrm>
              <a:off x="4086225" y="2708275"/>
              <a:ext cx="3175" cy="1588"/>
            </a:xfrm>
            <a:custGeom>
              <a:avLst/>
              <a:gdLst>
                <a:gd name="T0" fmla="*/ 1 w 7"/>
                <a:gd name="T1" fmla="*/ 3 h 6"/>
                <a:gd name="T2" fmla="*/ 3 w 7"/>
                <a:gd name="T3" fmla="*/ 5 h 6"/>
                <a:gd name="T4" fmla="*/ 6 w 7"/>
                <a:gd name="T5" fmla="*/ 0 h 6"/>
                <a:gd name="T6" fmla="*/ 1 w 7"/>
                <a:gd name="T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1" y="3"/>
                  </a:moveTo>
                  <a:cubicBezTo>
                    <a:pt x="1" y="3"/>
                    <a:pt x="0" y="5"/>
                    <a:pt x="3" y="5"/>
                  </a:cubicBezTo>
                  <a:cubicBezTo>
                    <a:pt x="5" y="5"/>
                    <a:pt x="6" y="3"/>
                    <a:pt x="6" y="0"/>
                  </a:cubicBezTo>
                  <a:cubicBezTo>
                    <a:pt x="3" y="0"/>
                    <a:pt x="1" y="0"/>
                    <a:pt x="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80" name="Freeform 707"/>
            <p:cNvSpPr>
              <a:spLocks noChangeArrowheads="1"/>
            </p:cNvSpPr>
            <p:nvPr/>
          </p:nvSpPr>
          <p:spPr bwMode="auto">
            <a:xfrm>
              <a:off x="4098925" y="2887663"/>
              <a:ext cx="3175" cy="4762"/>
            </a:xfrm>
            <a:custGeom>
              <a:avLst/>
              <a:gdLst>
                <a:gd name="T0" fmla="*/ 0 w 10"/>
                <a:gd name="T1" fmla="*/ 3 h 12"/>
                <a:gd name="T2" fmla="*/ 9 w 10"/>
                <a:gd name="T3" fmla="*/ 11 h 12"/>
                <a:gd name="T4" fmla="*/ 0 w 10"/>
                <a:gd name="T5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0" y="3"/>
                  </a:moveTo>
                  <a:cubicBezTo>
                    <a:pt x="0" y="9"/>
                    <a:pt x="6" y="11"/>
                    <a:pt x="9" y="11"/>
                  </a:cubicBezTo>
                  <a:cubicBezTo>
                    <a:pt x="9" y="6"/>
                    <a:pt x="9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81" name="Freeform 708"/>
            <p:cNvSpPr>
              <a:spLocks noChangeArrowheads="1"/>
            </p:cNvSpPr>
            <p:nvPr/>
          </p:nvSpPr>
          <p:spPr bwMode="auto">
            <a:xfrm>
              <a:off x="4108450" y="2405063"/>
              <a:ext cx="4763" cy="6350"/>
            </a:xfrm>
            <a:custGeom>
              <a:avLst/>
              <a:gdLst>
                <a:gd name="T0" fmla="*/ 11 w 15"/>
                <a:gd name="T1" fmla="*/ 0 h 18"/>
                <a:gd name="T2" fmla="*/ 0 w 15"/>
                <a:gd name="T3" fmla="*/ 6 h 18"/>
                <a:gd name="T4" fmla="*/ 2 w 15"/>
                <a:gd name="T5" fmla="*/ 15 h 18"/>
                <a:gd name="T6" fmla="*/ 14 w 15"/>
                <a:gd name="T7" fmla="*/ 9 h 18"/>
                <a:gd name="T8" fmla="*/ 11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11" y="0"/>
                  </a:moveTo>
                  <a:cubicBezTo>
                    <a:pt x="8" y="0"/>
                    <a:pt x="2" y="0"/>
                    <a:pt x="0" y="6"/>
                  </a:cubicBezTo>
                  <a:cubicBezTo>
                    <a:pt x="0" y="9"/>
                    <a:pt x="0" y="12"/>
                    <a:pt x="2" y="15"/>
                  </a:cubicBezTo>
                  <a:cubicBezTo>
                    <a:pt x="5" y="17"/>
                    <a:pt x="8" y="12"/>
                    <a:pt x="14" y="9"/>
                  </a:cubicBezTo>
                  <a:cubicBezTo>
                    <a:pt x="14" y="3"/>
                    <a:pt x="11" y="0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82" name="Freeform 709"/>
            <p:cNvSpPr>
              <a:spLocks noChangeArrowheads="1"/>
            </p:cNvSpPr>
            <p:nvPr/>
          </p:nvSpPr>
          <p:spPr bwMode="auto">
            <a:xfrm>
              <a:off x="4111625" y="2409825"/>
              <a:ext cx="4763" cy="4763"/>
            </a:xfrm>
            <a:custGeom>
              <a:avLst/>
              <a:gdLst>
                <a:gd name="T0" fmla="*/ 3 w 15"/>
                <a:gd name="T1" fmla="*/ 14 h 15"/>
                <a:gd name="T2" fmla="*/ 8 w 15"/>
                <a:gd name="T3" fmla="*/ 14 h 15"/>
                <a:gd name="T4" fmla="*/ 3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3" y="14"/>
                  </a:moveTo>
                  <a:lnTo>
                    <a:pt x="8" y="14"/>
                  </a:lnTo>
                  <a:cubicBezTo>
                    <a:pt x="14" y="8"/>
                    <a:pt x="0" y="0"/>
                    <a:pt x="3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83" name="Freeform 710"/>
            <p:cNvSpPr>
              <a:spLocks noChangeArrowheads="1"/>
            </p:cNvSpPr>
            <p:nvPr/>
          </p:nvSpPr>
          <p:spPr bwMode="auto">
            <a:xfrm>
              <a:off x="4106863" y="2876550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0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0"/>
                    <a:pt x="3" y="0"/>
                  </a:cubicBezTo>
                  <a:lnTo>
                    <a:pt x="0" y="0"/>
                  </a:lnTo>
                  <a:cubicBezTo>
                    <a:pt x="0" y="3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84" name="Freeform 711"/>
            <p:cNvSpPr>
              <a:spLocks noChangeArrowheads="1"/>
            </p:cNvSpPr>
            <p:nvPr/>
          </p:nvSpPr>
          <p:spPr bwMode="auto">
            <a:xfrm>
              <a:off x="4127500" y="2976563"/>
              <a:ext cx="6350" cy="7937"/>
            </a:xfrm>
            <a:custGeom>
              <a:avLst/>
              <a:gdLst>
                <a:gd name="T0" fmla="*/ 6 w 18"/>
                <a:gd name="T1" fmla="*/ 0 h 21"/>
                <a:gd name="T2" fmla="*/ 0 w 18"/>
                <a:gd name="T3" fmla="*/ 6 h 21"/>
                <a:gd name="T4" fmla="*/ 3 w 18"/>
                <a:gd name="T5" fmla="*/ 20 h 21"/>
                <a:gd name="T6" fmla="*/ 14 w 18"/>
                <a:gd name="T7" fmla="*/ 14 h 21"/>
                <a:gd name="T8" fmla="*/ 6 w 18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1">
                  <a:moveTo>
                    <a:pt x="6" y="0"/>
                  </a:moveTo>
                  <a:cubicBezTo>
                    <a:pt x="3" y="0"/>
                    <a:pt x="3" y="3"/>
                    <a:pt x="0" y="6"/>
                  </a:cubicBezTo>
                  <a:cubicBezTo>
                    <a:pt x="0" y="12"/>
                    <a:pt x="0" y="14"/>
                    <a:pt x="3" y="20"/>
                  </a:cubicBezTo>
                  <a:cubicBezTo>
                    <a:pt x="6" y="17"/>
                    <a:pt x="12" y="17"/>
                    <a:pt x="14" y="14"/>
                  </a:cubicBezTo>
                  <a:cubicBezTo>
                    <a:pt x="17" y="3"/>
                    <a:pt x="6" y="9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85" name="Freeform 712"/>
            <p:cNvSpPr>
              <a:spLocks noChangeArrowheads="1"/>
            </p:cNvSpPr>
            <p:nvPr/>
          </p:nvSpPr>
          <p:spPr bwMode="auto">
            <a:xfrm>
              <a:off x="4111625" y="2981325"/>
              <a:ext cx="3175" cy="4763"/>
            </a:xfrm>
            <a:custGeom>
              <a:avLst/>
              <a:gdLst>
                <a:gd name="T0" fmla="*/ 0 w 10"/>
                <a:gd name="T1" fmla="*/ 5 h 12"/>
                <a:gd name="T2" fmla="*/ 9 w 10"/>
                <a:gd name="T3" fmla="*/ 8 h 12"/>
                <a:gd name="T4" fmla="*/ 9 w 10"/>
                <a:gd name="T5" fmla="*/ 8 h 12"/>
                <a:gd name="T6" fmla="*/ 0 w 10"/>
                <a:gd name="T7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0" y="5"/>
                  </a:moveTo>
                  <a:cubicBezTo>
                    <a:pt x="0" y="8"/>
                    <a:pt x="3" y="11"/>
                    <a:pt x="9" y="8"/>
                  </a:cubicBezTo>
                  <a:lnTo>
                    <a:pt x="9" y="8"/>
                  </a:lnTo>
                  <a:cubicBezTo>
                    <a:pt x="3" y="8"/>
                    <a:pt x="6" y="0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86" name="Freeform 713"/>
            <p:cNvSpPr>
              <a:spLocks noChangeArrowheads="1"/>
            </p:cNvSpPr>
            <p:nvPr/>
          </p:nvSpPr>
          <p:spPr bwMode="auto">
            <a:xfrm>
              <a:off x="4111625" y="3067050"/>
              <a:ext cx="4763" cy="3175"/>
            </a:xfrm>
            <a:custGeom>
              <a:avLst/>
              <a:gdLst>
                <a:gd name="T0" fmla="*/ 0 w 12"/>
                <a:gd name="T1" fmla="*/ 0 h 10"/>
                <a:gd name="T2" fmla="*/ 9 w 12"/>
                <a:gd name="T3" fmla="*/ 9 h 10"/>
                <a:gd name="T4" fmla="*/ 0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cubicBezTo>
                    <a:pt x="0" y="6"/>
                    <a:pt x="3" y="9"/>
                    <a:pt x="9" y="9"/>
                  </a:cubicBezTo>
                  <a:cubicBezTo>
                    <a:pt x="11" y="0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87" name="Freeform 714"/>
            <p:cNvSpPr>
              <a:spLocks noChangeArrowheads="1"/>
            </p:cNvSpPr>
            <p:nvPr/>
          </p:nvSpPr>
          <p:spPr bwMode="auto">
            <a:xfrm>
              <a:off x="4119563" y="2800350"/>
              <a:ext cx="1587" cy="1588"/>
            </a:xfrm>
            <a:custGeom>
              <a:avLst/>
              <a:gdLst>
                <a:gd name="T0" fmla="*/ 0 w 6"/>
                <a:gd name="T1" fmla="*/ 0 h 4"/>
                <a:gd name="T2" fmla="*/ 5 w 6"/>
                <a:gd name="T3" fmla="*/ 3 h 4"/>
                <a:gd name="T4" fmla="*/ 0 w 6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cubicBezTo>
                    <a:pt x="2" y="0"/>
                    <a:pt x="2" y="0"/>
                    <a:pt x="5" y="3"/>
                  </a:cubicBezTo>
                  <a:cubicBezTo>
                    <a:pt x="2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88" name="Freeform 715"/>
            <p:cNvSpPr>
              <a:spLocks noChangeArrowheads="1"/>
            </p:cNvSpPr>
            <p:nvPr/>
          </p:nvSpPr>
          <p:spPr bwMode="auto">
            <a:xfrm>
              <a:off x="4114800" y="2297113"/>
              <a:ext cx="3175" cy="1587"/>
            </a:xfrm>
            <a:custGeom>
              <a:avLst/>
              <a:gdLst>
                <a:gd name="T0" fmla="*/ 0 w 9"/>
                <a:gd name="T1" fmla="*/ 2 h 6"/>
                <a:gd name="T2" fmla="*/ 8 w 9"/>
                <a:gd name="T3" fmla="*/ 0 h 6"/>
                <a:gd name="T4" fmla="*/ 8 w 9"/>
                <a:gd name="T5" fmla="*/ 0 h 6"/>
                <a:gd name="T6" fmla="*/ 0 w 9"/>
                <a:gd name="T7" fmla="*/ 0 h 6"/>
                <a:gd name="T8" fmla="*/ 0 w 9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0" y="2"/>
                  </a:moveTo>
                  <a:cubicBezTo>
                    <a:pt x="2" y="5"/>
                    <a:pt x="5" y="2"/>
                    <a:pt x="8" y="0"/>
                  </a:cubicBezTo>
                  <a:lnTo>
                    <a:pt x="8" y="0"/>
                  </a:lnTo>
                  <a:cubicBezTo>
                    <a:pt x="5" y="0"/>
                    <a:pt x="2" y="0"/>
                    <a:pt x="0" y="0"/>
                  </a:cubicBezTo>
                  <a:lnTo>
                    <a:pt x="0" y="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89" name="Freeform 716"/>
            <p:cNvSpPr>
              <a:spLocks noChangeArrowheads="1"/>
            </p:cNvSpPr>
            <p:nvPr/>
          </p:nvSpPr>
          <p:spPr bwMode="auto">
            <a:xfrm>
              <a:off x="4122738" y="2900363"/>
              <a:ext cx="3175" cy="3175"/>
            </a:xfrm>
            <a:custGeom>
              <a:avLst/>
              <a:gdLst>
                <a:gd name="T0" fmla="*/ 0 w 11"/>
                <a:gd name="T1" fmla="*/ 6 h 7"/>
                <a:gd name="T2" fmla="*/ 10 w 11"/>
                <a:gd name="T3" fmla="*/ 3 h 7"/>
                <a:gd name="T4" fmla="*/ 10 w 11"/>
                <a:gd name="T5" fmla="*/ 0 h 7"/>
                <a:gd name="T6" fmla="*/ 0 w 11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7">
                  <a:moveTo>
                    <a:pt x="0" y="6"/>
                  </a:moveTo>
                  <a:cubicBezTo>
                    <a:pt x="3" y="6"/>
                    <a:pt x="6" y="3"/>
                    <a:pt x="10" y="3"/>
                  </a:cubicBezTo>
                  <a:lnTo>
                    <a:pt x="10" y="0"/>
                  </a:lnTo>
                  <a:cubicBezTo>
                    <a:pt x="6" y="0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90" name="Freeform 717"/>
            <p:cNvSpPr>
              <a:spLocks noChangeArrowheads="1"/>
            </p:cNvSpPr>
            <p:nvPr/>
          </p:nvSpPr>
          <p:spPr bwMode="auto">
            <a:xfrm>
              <a:off x="4119563" y="2795588"/>
              <a:ext cx="1587" cy="1587"/>
            </a:xfrm>
            <a:custGeom>
              <a:avLst/>
              <a:gdLst>
                <a:gd name="T0" fmla="*/ 3 w 4"/>
                <a:gd name="T1" fmla="*/ 3 h 4"/>
                <a:gd name="T2" fmla="*/ 3 w 4"/>
                <a:gd name="T3" fmla="*/ 0 h 4"/>
                <a:gd name="T4" fmla="*/ 0 w 4"/>
                <a:gd name="T5" fmla="*/ 3 h 4"/>
                <a:gd name="T6" fmla="*/ 3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lnTo>
                    <a:pt x="3" y="0"/>
                  </a:lnTo>
                  <a:lnTo>
                    <a:pt x="0" y="3"/>
                  </a:lnTo>
                  <a:cubicBezTo>
                    <a:pt x="0" y="3"/>
                    <a:pt x="0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91" name="Freeform 718"/>
            <p:cNvSpPr>
              <a:spLocks noChangeArrowheads="1"/>
            </p:cNvSpPr>
            <p:nvPr/>
          </p:nvSpPr>
          <p:spPr bwMode="auto">
            <a:xfrm>
              <a:off x="4090988" y="2986088"/>
              <a:ext cx="3175" cy="4762"/>
            </a:xfrm>
            <a:custGeom>
              <a:avLst/>
              <a:gdLst>
                <a:gd name="T0" fmla="*/ 5 w 9"/>
                <a:gd name="T1" fmla="*/ 0 h 12"/>
                <a:gd name="T2" fmla="*/ 0 w 9"/>
                <a:gd name="T3" fmla="*/ 8 h 12"/>
                <a:gd name="T4" fmla="*/ 2 w 9"/>
                <a:gd name="T5" fmla="*/ 11 h 12"/>
                <a:gd name="T6" fmla="*/ 5 w 9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5" y="0"/>
                  </a:moveTo>
                  <a:cubicBezTo>
                    <a:pt x="5" y="6"/>
                    <a:pt x="2" y="6"/>
                    <a:pt x="0" y="8"/>
                  </a:cubicBezTo>
                  <a:lnTo>
                    <a:pt x="2" y="11"/>
                  </a:lnTo>
                  <a:cubicBezTo>
                    <a:pt x="5" y="8"/>
                    <a:pt x="8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92" name="Freeform 719"/>
            <p:cNvSpPr>
              <a:spLocks noChangeArrowheads="1"/>
            </p:cNvSpPr>
            <p:nvPr/>
          </p:nvSpPr>
          <p:spPr bwMode="auto">
            <a:xfrm>
              <a:off x="4141788" y="2990850"/>
              <a:ext cx="4762" cy="7938"/>
            </a:xfrm>
            <a:custGeom>
              <a:avLst/>
              <a:gdLst>
                <a:gd name="T0" fmla="*/ 5 w 15"/>
                <a:gd name="T1" fmla="*/ 22 h 23"/>
                <a:gd name="T2" fmla="*/ 11 w 15"/>
                <a:gd name="T3" fmla="*/ 17 h 23"/>
                <a:gd name="T4" fmla="*/ 8 w 15"/>
                <a:gd name="T5" fmla="*/ 8 h 23"/>
                <a:gd name="T6" fmla="*/ 14 w 15"/>
                <a:gd name="T7" fmla="*/ 8 h 23"/>
                <a:gd name="T8" fmla="*/ 14 w 15"/>
                <a:gd name="T9" fmla="*/ 0 h 23"/>
                <a:gd name="T10" fmla="*/ 8 w 15"/>
                <a:gd name="T11" fmla="*/ 3 h 23"/>
                <a:gd name="T12" fmla="*/ 8 w 15"/>
                <a:gd name="T13" fmla="*/ 3 h 23"/>
                <a:gd name="T14" fmla="*/ 5 w 15"/>
                <a:gd name="T15" fmla="*/ 3 h 23"/>
                <a:gd name="T16" fmla="*/ 0 w 15"/>
                <a:gd name="T17" fmla="*/ 11 h 23"/>
                <a:gd name="T18" fmla="*/ 0 w 15"/>
                <a:gd name="T19" fmla="*/ 17 h 23"/>
                <a:gd name="T20" fmla="*/ 5 w 15"/>
                <a:gd name="T21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3">
                  <a:moveTo>
                    <a:pt x="5" y="22"/>
                  </a:moveTo>
                  <a:cubicBezTo>
                    <a:pt x="5" y="20"/>
                    <a:pt x="8" y="20"/>
                    <a:pt x="11" y="17"/>
                  </a:cubicBezTo>
                  <a:cubicBezTo>
                    <a:pt x="11" y="14"/>
                    <a:pt x="8" y="11"/>
                    <a:pt x="8" y="8"/>
                  </a:cubicBezTo>
                  <a:lnTo>
                    <a:pt x="14" y="8"/>
                  </a:lnTo>
                  <a:cubicBezTo>
                    <a:pt x="14" y="6"/>
                    <a:pt x="14" y="3"/>
                    <a:pt x="14" y="0"/>
                  </a:cubicBezTo>
                  <a:cubicBezTo>
                    <a:pt x="11" y="3"/>
                    <a:pt x="11" y="3"/>
                    <a:pt x="8" y="3"/>
                  </a:cubicBezTo>
                  <a:lnTo>
                    <a:pt x="8" y="3"/>
                  </a:lnTo>
                  <a:lnTo>
                    <a:pt x="5" y="3"/>
                  </a:lnTo>
                  <a:cubicBezTo>
                    <a:pt x="2" y="6"/>
                    <a:pt x="2" y="8"/>
                    <a:pt x="0" y="11"/>
                  </a:cubicBezTo>
                  <a:cubicBezTo>
                    <a:pt x="0" y="14"/>
                    <a:pt x="0" y="14"/>
                    <a:pt x="0" y="17"/>
                  </a:cubicBezTo>
                  <a:cubicBezTo>
                    <a:pt x="2" y="20"/>
                    <a:pt x="5" y="22"/>
                    <a:pt x="5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93" name="Freeform 720"/>
            <p:cNvSpPr>
              <a:spLocks noChangeArrowheads="1"/>
            </p:cNvSpPr>
            <p:nvPr/>
          </p:nvSpPr>
          <p:spPr bwMode="auto">
            <a:xfrm>
              <a:off x="4089400" y="2574925"/>
              <a:ext cx="1588" cy="1588"/>
            </a:xfrm>
            <a:custGeom>
              <a:avLst/>
              <a:gdLst>
                <a:gd name="T0" fmla="*/ 3 w 4"/>
                <a:gd name="T1" fmla="*/ 0 h 6"/>
                <a:gd name="T2" fmla="*/ 0 w 4"/>
                <a:gd name="T3" fmla="*/ 5 h 6"/>
                <a:gd name="T4" fmla="*/ 3 w 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3" y="0"/>
                  </a:moveTo>
                  <a:cubicBezTo>
                    <a:pt x="0" y="0"/>
                    <a:pt x="0" y="2"/>
                    <a:pt x="0" y="5"/>
                  </a:cubicBezTo>
                  <a:cubicBezTo>
                    <a:pt x="0" y="2"/>
                    <a:pt x="3" y="2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94" name="Freeform 721"/>
            <p:cNvSpPr>
              <a:spLocks noChangeArrowheads="1"/>
            </p:cNvSpPr>
            <p:nvPr/>
          </p:nvSpPr>
          <p:spPr bwMode="auto">
            <a:xfrm>
              <a:off x="4138613" y="2738438"/>
              <a:ext cx="3175" cy="3175"/>
            </a:xfrm>
            <a:custGeom>
              <a:avLst/>
              <a:gdLst>
                <a:gd name="T0" fmla="*/ 0 w 10"/>
                <a:gd name="T1" fmla="*/ 8 h 9"/>
                <a:gd name="T2" fmla="*/ 9 w 10"/>
                <a:gd name="T3" fmla="*/ 8 h 9"/>
                <a:gd name="T4" fmla="*/ 9 w 10"/>
                <a:gd name="T5" fmla="*/ 0 h 9"/>
                <a:gd name="T6" fmla="*/ 0 w 10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0" y="8"/>
                  </a:moveTo>
                  <a:lnTo>
                    <a:pt x="9" y="8"/>
                  </a:lnTo>
                  <a:lnTo>
                    <a:pt x="9" y="0"/>
                  </a:lnTo>
                  <a:cubicBezTo>
                    <a:pt x="0" y="0"/>
                    <a:pt x="0" y="2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95" name="Freeform 722"/>
            <p:cNvSpPr>
              <a:spLocks noChangeArrowheads="1"/>
            </p:cNvSpPr>
            <p:nvPr/>
          </p:nvSpPr>
          <p:spPr bwMode="auto">
            <a:xfrm>
              <a:off x="4138613" y="2533650"/>
              <a:ext cx="3175" cy="1588"/>
            </a:xfrm>
            <a:custGeom>
              <a:avLst/>
              <a:gdLst>
                <a:gd name="T0" fmla="*/ 0 w 10"/>
                <a:gd name="T1" fmla="*/ 0 h 3"/>
                <a:gd name="T2" fmla="*/ 0 w 10"/>
                <a:gd name="T3" fmla="*/ 2 h 3"/>
                <a:gd name="T4" fmla="*/ 9 w 10"/>
                <a:gd name="T5" fmla="*/ 0 h 3"/>
                <a:gd name="T6" fmla="*/ 0 w 10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">
                  <a:moveTo>
                    <a:pt x="0" y="0"/>
                  </a:moveTo>
                  <a:lnTo>
                    <a:pt x="0" y="2"/>
                  </a:lnTo>
                  <a:cubicBezTo>
                    <a:pt x="3" y="2"/>
                    <a:pt x="9" y="2"/>
                    <a:pt x="9" y="0"/>
                  </a:cubicBezTo>
                  <a:cubicBezTo>
                    <a:pt x="6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96" name="Freeform 723"/>
            <p:cNvSpPr>
              <a:spLocks noChangeArrowheads="1"/>
            </p:cNvSpPr>
            <p:nvPr/>
          </p:nvSpPr>
          <p:spPr bwMode="auto">
            <a:xfrm>
              <a:off x="4144963" y="2490788"/>
              <a:ext cx="11112" cy="9525"/>
            </a:xfrm>
            <a:custGeom>
              <a:avLst/>
              <a:gdLst>
                <a:gd name="T0" fmla="*/ 17 w 29"/>
                <a:gd name="T1" fmla="*/ 11 h 27"/>
                <a:gd name="T2" fmla="*/ 28 w 29"/>
                <a:gd name="T3" fmla="*/ 17 h 27"/>
                <a:gd name="T4" fmla="*/ 6 w 29"/>
                <a:gd name="T5" fmla="*/ 0 h 27"/>
                <a:gd name="T6" fmla="*/ 17 w 29"/>
                <a:gd name="T7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27">
                  <a:moveTo>
                    <a:pt x="17" y="11"/>
                  </a:moveTo>
                  <a:cubicBezTo>
                    <a:pt x="20" y="17"/>
                    <a:pt x="26" y="26"/>
                    <a:pt x="28" y="17"/>
                  </a:cubicBezTo>
                  <a:cubicBezTo>
                    <a:pt x="17" y="14"/>
                    <a:pt x="17" y="3"/>
                    <a:pt x="6" y="0"/>
                  </a:cubicBezTo>
                  <a:cubicBezTo>
                    <a:pt x="0" y="3"/>
                    <a:pt x="9" y="9"/>
                    <a:pt x="17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97" name="Freeform 724"/>
            <p:cNvSpPr>
              <a:spLocks noChangeArrowheads="1"/>
            </p:cNvSpPr>
            <p:nvPr/>
          </p:nvSpPr>
          <p:spPr bwMode="auto">
            <a:xfrm>
              <a:off x="4083050" y="2195513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8 w 9"/>
                <a:gd name="T3" fmla="*/ 8 h 9"/>
                <a:gd name="T4" fmla="*/ 8 w 9"/>
                <a:gd name="T5" fmla="*/ 0 h 9"/>
                <a:gd name="T6" fmla="*/ 0 w 9"/>
                <a:gd name="T7" fmla="*/ 0 h 9"/>
                <a:gd name="T8" fmla="*/ 8 w 9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lnTo>
                    <a:pt x="8" y="8"/>
                  </a:lnTo>
                  <a:cubicBezTo>
                    <a:pt x="8" y="5"/>
                    <a:pt x="8" y="2"/>
                    <a:pt x="8" y="0"/>
                  </a:cubicBezTo>
                  <a:cubicBezTo>
                    <a:pt x="6" y="0"/>
                    <a:pt x="3" y="2"/>
                    <a:pt x="0" y="0"/>
                  </a:cubicBezTo>
                  <a:cubicBezTo>
                    <a:pt x="0" y="5"/>
                    <a:pt x="3" y="8"/>
                    <a:pt x="8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98" name="Freeform 725"/>
            <p:cNvSpPr>
              <a:spLocks noChangeArrowheads="1"/>
            </p:cNvSpPr>
            <p:nvPr/>
          </p:nvSpPr>
          <p:spPr bwMode="auto">
            <a:xfrm>
              <a:off x="4086225" y="2284413"/>
              <a:ext cx="3175" cy="4762"/>
            </a:xfrm>
            <a:custGeom>
              <a:avLst/>
              <a:gdLst>
                <a:gd name="T0" fmla="*/ 0 w 9"/>
                <a:gd name="T1" fmla="*/ 0 h 15"/>
                <a:gd name="T2" fmla="*/ 0 w 9"/>
                <a:gd name="T3" fmla="*/ 14 h 15"/>
                <a:gd name="T4" fmla="*/ 8 w 9"/>
                <a:gd name="T5" fmla="*/ 11 h 15"/>
                <a:gd name="T6" fmla="*/ 0 w 9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5">
                  <a:moveTo>
                    <a:pt x="0" y="0"/>
                  </a:moveTo>
                  <a:cubicBezTo>
                    <a:pt x="0" y="5"/>
                    <a:pt x="0" y="8"/>
                    <a:pt x="0" y="14"/>
                  </a:cubicBezTo>
                  <a:cubicBezTo>
                    <a:pt x="2" y="14"/>
                    <a:pt x="5" y="11"/>
                    <a:pt x="8" y="11"/>
                  </a:cubicBezTo>
                  <a:cubicBezTo>
                    <a:pt x="2" y="8"/>
                    <a:pt x="5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99" name="Freeform 726"/>
            <p:cNvSpPr>
              <a:spLocks noChangeArrowheads="1"/>
            </p:cNvSpPr>
            <p:nvPr/>
          </p:nvSpPr>
          <p:spPr bwMode="auto">
            <a:xfrm>
              <a:off x="4149725" y="2462213"/>
              <a:ext cx="9525" cy="9525"/>
            </a:xfrm>
            <a:custGeom>
              <a:avLst/>
              <a:gdLst>
                <a:gd name="T0" fmla="*/ 11 w 27"/>
                <a:gd name="T1" fmla="*/ 26 h 27"/>
                <a:gd name="T2" fmla="*/ 14 w 27"/>
                <a:gd name="T3" fmla="*/ 26 h 27"/>
                <a:gd name="T4" fmla="*/ 14 w 27"/>
                <a:gd name="T5" fmla="*/ 26 h 27"/>
                <a:gd name="T6" fmla="*/ 14 w 27"/>
                <a:gd name="T7" fmla="*/ 11 h 27"/>
                <a:gd name="T8" fmla="*/ 26 w 27"/>
                <a:gd name="T9" fmla="*/ 6 h 27"/>
                <a:gd name="T10" fmla="*/ 14 w 27"/>
                <a:gd name="T11" fmla="*/ 0 h 27"/>
                <a:gd name="T12" fmla="*/ 11 w 27"/>
                <a:gd name="T13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7">
                  <a:moveTo>
                    <a:pt x="11" y="26"/>
                  </a:moveTo>
                  <a:lnTo>
                    <a:pt x="14" y="26"/>
                  </a:lnTo>
                  <a:lnTo>
                    <a:pt x="14" y="26"/>
                  </a:lnTo>
                  <a:lnTo>
                    <a:pt x="14" y="11"/>
                  </a:lnTo>
                  <a:cubicBezTo>
                    <a:pt x="17" y="9"/>
                    <a:pt x="23" y="9"/>
                    <a:pt x="26" y="6"/>
                  </a:cubicBezTo>
                  <a:cubicBezTo>
                    <a:pt x="23" y="3"/>
                    <a:pt x="17" y="3"/>
                    <a:pt x="14" y="0"/>
                  </a:cubicBezTo>
                  <a:cubicBezTo>
                    <a:pt x="6" y="3"/>
                    <a:pt x="0" y="20"/>
                    <a:pt x="11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00" name="Freeform 727"/>
            <p:cNvSpPr>
              <a:spLocks noChangeArrowheads="1"/>
            </p:cNvSpPr>
            <p:nvPr/>
          </p:nvSpPr>
          <p:spPr bwMode="auto">
            <a:xfrm>
              <a:off x="4138613" y="2460625"/>
              <a:ext cx="1587" cy="4763"/>
            </a:xfrm>
            <a:custGeom>
              <a:avLst/>
              <a:gdLst>
                <a:gd name="T0" fmla="*/ 3 w 4"/>
                <a:gd name="T1" fmla="*/ 0 h 15"/>
                <a:gd name="T2" fmla="*/ 3 w 4"/>
                <a:gd name="T3" fmla="*/ 14 h 15"/>
                <a:gd name="T4" fmla="*/ 3 w 4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5">
                  <a:moveTo>
                    <a:pt x="3" y="0"/>
                  </a:moveTo>
                  <a:cubicBezTo>
                    <a:pt x="0" y="3"/>
                    <a:pt x="0" y="8"/>
                    <a:pt x="3" y="14"/>
                  </a:cubicBezTo>
                  <a:cubicBezTo>
                    <a:pt x="3" y="8"/>
                    <a:pt x="3" y="5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01" name="Freeform 728"/>
            <p:cNvSpPr>
              <a:spLocks noChangeArrowheads="1"/>
            </p:cNvSpPr>
            <p:nvPr/>
          </p:nvSpPr>
          <p:spPr bwMode="auto">
            <a:xfrm>
              <a:off x="4086225" y="2276475"/>
              <a:ext cx="3175" cy="1588"/>
            </a:xfrm>
            <a:custGeom>
              <a:avLst/>
              <a:gdLst>
                <a:gd name="T0" fmla="*/ 6 w 7"/>
                <a:gd name="T1" fmla="*/ 3 h 4"/>
                <a:gd name="T2" fmla="*/ 0 w 7"/>
                <a:gd name="T3" fmla="*/ 0 h 4"/>
                <a:gd name="T4" fmla="*/ 6 w 7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3"/>
                  </a:moveTo>
                  <a:cubicBezTo>
                    <a:pt x="3" y="0"/>
                    <a:pt x="3" y="0"/>
                    <a:pt x="0" y="0"/>
                  </a:cubicBezTo>
                  <a:cubicBezTo>
                    <a:pt x="0" y="3"/>
                    <a:pt x="3" y="3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02" name="Freeform 729"/>
            <p:cNvSpPr>
              <a:spLocks noChangeArrowheads="1"/>
            </p:cNvSpPr>
            <p:nvPr/>
          </p:nvSpPr>
          <p:spPr bwMode="auto">
            <a:xfrm>
              <a:off x="4079875" y="2255838"/>
              <a:ext cx="6350" cy="7937"/>
            </a:xfrm>
            <a:custGeom>
              <a:avLst/>
              <a:gdLst>
                <a:gd name="T0" fmla="*/ 12 w 18"/>
                <a:gd name="T1" fmla="*/ 0 h 23"/>
                <a:gd name="T2" fmla="*/ 12 w 18"/>
                <a:gd name="T3" fmla="*/ 0 h 23"/>
                <a:gd name="T4" fmla="*/ 15 w 18"/>
                <a:gd name="T5" fmla="*/ 22 h 23"/>
                <a:gd name="T6" fmla="*/ 17 w 18"/>
                <a:gd name="T7" fmla="*/ 17 h 23"/>
                <a:gd name="T8" fmla="*/ 12 w 18"/>
                <a:gd name="T9" fmla="*/ 17 h 23"/>
                <a:gd name="T10" fmla="*/ 12 w 18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3">
                  <a:moveTo>
                    <a:pt x="12" y="0"/>
                  </a:moveTo>
                  <a:lnTo>
                    <a:pt x="12" y="0"/>
                  </a:lnTo>
                  <a:cubicBezTo>
                    <a:pt x="15" y="11"/>
                    <a:pt x="0" y="22"/>
                    <a:pt x="15" y="22"/>
                  </a:cubicBezTo>
                  <a:cubicBezTo>
                    <a:pt x="15" y="20"/>
                    <a:pt x="17" y="20"/>
                    <a:pt x="17" y="17"/>
                  </a:cubicBezTo>
                  <a:cubicBezTo>
                    <a:pt x="15" y="17"/>
                    <a:pt x="12" y="17"/>
                    <a:pt x="12" y="17"/>
                  </a:cubicBezTo>
                  <a:cubicBezTo>
                    <a:pt x="17" y="8"/>
                    <a:pt x="15" y="3"/>
                    <a:pt x="1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03" name="Freeform 730"/>
            <p:cNvSpPr>
              <a:spLocks noChangeArrowheads="1"/>
            </p:cNvSpPr>
            <p:nvPr/>
          </p:nvSpPr>
          <p:spPr bwMode="auto">
            <a:xfrm>
              <a:off x="4137025" y="2170113"/>
              <a:ext cx="4763" cy="4762"/>
            </a:xfrm>
            <a:custGeom>
              <a:avLst/>
              <a:gdLst>
                <a:gd name="T0" fmla="*/ 2 w 15"/>
                <a:gd name="T1" fmla="*/ 0 h 15"/>
                <a:gd name="T2" fmla="*/ 2 w 15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2" y="0"/>
                  </a:moveTo>
                  <a:cubicBezTo>
                    <a:pt x="0" y="14"/>
                    <a:pt x="14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04" name="Freeform 731"/>
            <p:cNvSpPr>
              <a:spLocks noChangeArrowheads="1"/>
            </p:cNvSpPr>
            <p:nvPr/>
          </p:nvSpPr>
          <p:spPr bwMode="auto">
            <a:xfrm>
              <a:off x="4098925" y="2270125"/>
              <a:ext cx="4763" cy="4763"/>
            </a:xfrm>
            <a:custGeom>
              <a:avLst/>
              <a:gdLst>
                <a:gd name="T0" fmla="*/ 12 w 13"/>
                <a:gd name="T1" fmla="*/ 9 h 15"/>
                <a:gd name="T2" fmla="*/ 12 w 13"/>
                <a:gd name="T3" fmla="*/ 0 h 15"/>
                <a:gd name="T4" fmla="*/ 6 w 13"/>
                <a:gd name="T5" fmla="*/ 3 h 15"/>
                <a:gd name="T6" fmla="*/ 0 w 13"/>
                <a:gd name="T7" fmla="*/ 9 h 15"/>
                <a:gd name="T8" fmla="*/ 12 w 13"/>
                <a:gd name="T9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12" y="9"/>
                  </a:moveTo>
                  <a:cubicBezTo>
                    <a:pt x="12" y="6"/>
                    <a:pt x="12" y="3"/>
                    <a:pt x="12" y="0"/>
                  </a:cubicBezTo>
                  <a:cubicBezTo>
                    <a:pt x="9" y="0"/>
                    <a:pt x="6" y="3"/>
                    <a:pt x="6" y="3"/>
                  </a:cubicBezTo>
                  <a:cubicBezTo>
                    <a:pt x="3" y="6"/>
                    <a:pt x="3" y="6"/>
                    <a:pt x="0" y="9"/>
                  </a:cubicBezTo>
                  <a:cubicBezTo>
                    <a:pt x="6" y="14"/>
                    <a:pt x="9" y="12"/>
                    <a:pt x="12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05" name="Freeform 732"/>
            <p:cNvSpPr>
              <a:spLocks noChangeArrowheads="1"/>
            </p:cNvSpPr>
            <p:nvPr/>
          </p:nvSpPr>
          <p:spPr bwMode="auto">
            <a:xfrm>
              <a:off x="4110038" y="2174875"/>
              <a:ext cx="1587" cy="1588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cubicBezTo>
                    <a:pt x="0" y="0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06" name="Freeform 733"/>
            <p:cNvSpPr>
              <a:spLocks noChangeArrowheads="1"/>
            </p:cNvSpPr>
            <p:nvPr/>
          </p:nvSpPr>
          <p:spPr bwMode="auto">
            <a:xfrm>
              <a:off x="4083050" y="2755900"/>
              <a:ext cx="4763" cy="3175"/>
            </a:xfrm>
            <a:custGeom>
              <a:avLst/>
              <a:gdLst>
                <a:gd name="T0" fmla="*/ 0 w 12"/>
                <a:gd name="T1" fmla="*/ 6 h 10"/>
                <a:gd name="T2" fmla="*/ 0 w 12"/>
                <a:gd name="T3" fmla="*/ 6 h 10"/>
                <a:gd name="T4" fmla="*/ 11 w 12"/>
                <a:gd name="T5" fmla="*/ 0 h 10"/>
                <a:gd name="T6" fmla="*/ 9 w 12"/>
                <a:gd name="T7" fmla="*/ 0 h 10"/>
                <a:gd name="T8" fmla="*/ 0 w 12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lnTo>
                    <a:pt x="0" y="6"/>
                  </a:lnTo>
                  <a:cubicBezTo>
                    <a:pt x="6" y="9"/>
                    <a:pt x="9" y="6"/>
                    <a:pt x="11" y="0"/>
                  </a:cubicBezTo>
                  <a:lnTo>
                    <a:pt x="9" y="0"/>
                  </a:lnTo>
                  <a:cubicBezTo>
                    <a:pt x="6" y="3"/>
                    <a:pt x="3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07" name="Freeform 734"/>
            <p:cNvSpPr>
              <a:spLocks noChangeArrowheads="1"/>
            </p:cNvSpPr>
            <p:nvPr/>
          </p:nvSpPr>
          <p:spPr bwMode="auto">
            <a:xfrm>
              <a:off x="4111625" y="2495550"/>
              <a:ext cx="3175" cy="1588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0 w 7"/>
                <a:gd name="T5" fmla="*/ 3 h 4"/>
                <a:gd name="T6" fmla="*/ 6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3" y="0"/>
                    <a:pt x="0" y="0"/>
                  </a:cubicBezTo>
                  <a:lnTo>
                    <a:pt x="0" y="3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08" name="Freeform 735"/>
            <p:cNvSpPr>
              <a:spLocks noChangeArrowheads="1"/>
            </p:cNvSpPr>
            <p:nvPr/>
          </p:nvSpPr>
          <p:spPr bwMode="auto">
            <a:xfrm>
              <a:off x="4137025" y="2524125"/>
              <a:ext cx="4763" cy="3175"/>
            </a:xfrm>
            <a:custGeom>
              <a:avLst/>
              <a:gdLst>
                <a:gd name="T0" fmla="*/ 11 w 12"/>
                <a:gd name="T1" fmla="*/ 0 h 10"/>
                <a:gd name="T2" fmla="*/ 2 w 12"/>
                <a:gd name="T3" fmla="*/ 9 h 10"/>
                <a:gd name="T4" fmla="*/ 11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0"/>
                  </a:moveTo>
                  <a:cubicBezTo>
                    <a:pt x="5" y="0"/>
                    <a:pt x="0" y="0"/>
                    <a:pt x="2" y="9"/>
                  </a:cubicBezTo>
                  <a:cubicBezTo>
                    <a:pt x="5" y="9"/>
                    <a:pt x="11" y="6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09" name="Freeform 736"/>
            <p:cNvSpPr>
              <a:spLocks noChangeArrowheads="1"/>
            </p:cNvSpPr>
            <p:nvPr/>
          </p:nvSpPr>
          <p:spPr bwMode="auto">
            <a:xfrm>
              <a:off x="4092575" y="2239963"/>
              <a:ext cx="3175" cy="3175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0 w 7"/>
                <a:gd name="T5" fmla="*/ 0 h 9"/>
                <a:gd name="T6" fmla="*/ 3 w 7"/>
                <a:gd name="T7" fmla="*/ 8 h 9"/>
                <a:gd name="T8" fmla="*/ 3 w 7"/>
                <a:gd name="T9" fmla="*/ 8 h 9"/>
                <a:gd name="T10" fmla="*/ 4 w 7"/>
                <a:gd name="T11" fmla="*/ 6 h 9"/>
                <a:gd name="T12" fmla="*/ 3 w 7"/>
                <a:gd name="T1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3" y="7"/>
                    <a:pt x="4" y="6"/>
                    <a:pt x="4" y="6"/>
                  </a:cubicBezTo>
                  <a:cubicBezTo>
                    <a:pt x="6" y="2"/>
                    <a:pt x="5" y="0"/>
                    <a:pt x="0" y="0"/>
                  </a:cubicBezTo>
                  <a:cubicBezTo>
                    <a:pt x="3" y="2"/>
                    <a:pt x="0" y="8"/>
                    <a:pt x="3" y="8"/>
                  </a:cubicBezTo>
                  <a:close/>
                  <a:moveTo>
                    <a:pt x="3" y="8"/>
                  </a:moveTo>
                  <a:cubicBezTo>
                    <a:pt x="3" y="7"/>
                    <a:pt x="4" y="7"/>
                    <a:pt x="4" y="6"/>
                  </a:cubicBezTo>
                  <a:cubicBezTo>
                    <a:pt x="5" y="6"/>
                    <a:pt x="5" y="7"/>
                    <a:pt x="3" y="8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10" name="Freeform 737"/>
            <p:cNvSpPr>
              <a:spLocks noChangeArrowheads="1"/>
            </p:cNvSpPr>
            <p:nvPr/>
          </p:nvSpPr>
          <p:spPr bwMode="auto">
            <a:xfrm>
              <a:off x="3978275" y="2103438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0 h 7"/>
                <a:gd name="T4" fmla="*/ 0 w 10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cubicBezTo>
                    <a:pt x="3" y="3"/>
                    <a:pt x="6" y="3"/>
                    <a:pt x="9" y="0"/>
                  </a:cubicBezTo>
                  <a:cubicBezTo>
                    <a:pt x="6" y="0"/>
                    <a:pt x="3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11" name="Freeform 738"/>
            <p:cNvSpPr>
              <a:spLocks noChangeArrowheads="1"/>
            </p:cNvSpPr>
            <p:nvPr/>
          </p:nvSpPr>
          <p:spPr bwMode="auto">
            <a:xfrm>
              <a:off x="4391025" y="2801938"/>
              <a:ext cx="3175" cy="3175"/>
            </a:xfrm>
            <a:custGeom>
              <a:avLst/>
              <a:gdLst>
                <a:gd name="T0" fmla="*/ 0 w 9"/>
                <a:gd name="T1" fmla="*/ 9 h 10"/>
                <a:gd name="T2" fmla="*/ 8 w 9"/>
                <a:gd name="T3" fmla="*/ 0 h 10"/>
                <a:gd name="T4" fmla="*/ 0 w 9"/>
                <a:gd name="T5" fmla="*/ 0 h 10"/>
                <a:gd name="T6" fmla="*/ 0 w 9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9"/>
                  </a:moveTo>
                  <a:cubicBezTo>
                    <a:pt x="6" y="9"/>
                    <a:pt x="8" y="6"/>
                    <a:pt x="8" y="0"/>
                  </a:cubicBez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12" name="Freeform 739"/>
            <p:cNvSpPr>
              <a:spLocks noChangeArrowheads="1"/>
            </p:cNvSpPr>
            <p:nvPr/>
          </p:nvSpPr>
          <p:spPr bwMode="auto">
            <a:xfrm>
              <a:off x="3725863" y="2413000"/>
              <a:ext cx="61912" cy="31750"/>
            </a:xfrm>
            <a:custGeom>
              <a:avLst/>
              <a:gdLst>
                <a:gd name="T0" fmla="*/ 0 w 173"/>
                <a:gd name="T1" fmla="*/ 20 h 88"/>
                <a:gd name="T2" fmla="*/ 8 w 173"/>
                <a:gd name="T3" fmla="*/ 0 h 88"/>
                <a:gd name="T4" fmla="*/ 172 w 173"/>
                <a:gd name="T5" fmla="*/ 68 h 88"/>
                <a:gd name="T6" fmla="*/ 163 w 173"/>
                <a:gd name="T7" fmla="*/ 87 h 88"/>
                <a:gd name="T8" fmla="*/ 0 w 173"/>
                <a:gd name="T9" fmla="*/ 2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88">
                  <a:moveTo>
                    <a:pt x="0" y="20"/>
                  </a:moveTo>
                  <a:lnTo>
                    <a:pt x="8" y="0"/>
                  </a:lnTo>
                  <a:lnTo>
                    <a:pt x="172" y="68"/>
                  </a:lnTo>
                  <a:lnTo>
                    <a:pt x="163" y="87"/>
                  </a:lnTo>
                  <a:lnTo>
                    <a:pt x="0" y="2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13" name="Freeform 740"/>
            <p:cNvSpPr>
              <a:spLocks noChangeArrowheads="1"/>
            </p:cNvSpPr>
            <p:nvPr/>
          </p:nvSpPr>
          <p:spPr bwMode="auto">
            <a:xfrm>
              <a:off x="3743325" y="2362200"/>
              <a:ext cx="69850" cy="53975"/>
            </a:xfrm>
            <a:custGeom>
              <a:avLst/>
              <a:gdLst>
                <a:gd name="T0" fmla="*/ 14 w 193"/>
                <a:gd name="T1" fmla="*/ 39 h 148"/>
                <a:gd name="T2" fmla="*/ 101 w 193"/>
                <a:gd name="T3" fmla="*/ 62 h 148"/>
                <a:gd name="T4" fmla="*/ 25 w 193"/>
                <a:gd name="T5" fmla="*/ 20 h 148"/>
                <a:gd name="T6" fmla="*/ 37 w 193"/>
                <a:gd name="T7" fmla="*/ 0 h 148"/>
                <a:gd name="T8" fmla="*/ 192 w 193"/>
                <a:gd name="T9" fmla="*/ 85 h 148"/>
                <a:gd name="T10" fmla="*/ 178 w 193"/>
                <a:gd name="T11" fmla="*/ 107 h 148"/>
                <a:gd name="T12" fmla="*/ 84 w 193"/>
                <a:gd name="T13" fmla="*/ 82 h 148"/>
                <a:gd name="T14" fmla="*/ 166 w 193"/>
                <a:gd name="T15" fmla="*/ 127 h 148"/>
                <a:gd name="T16" fmla="*/ 155 w 193"/>
                <a:gd name="T17" fmla="*/ 147 h 148"/>
                <a:gd name="T18" fmla="*/ 0 w 193"/>
                <a:gd name="T19" fmla="*/ 62 h 148"/>
                <a:gd name="T20" fmla="*/ 14 w 193"/>
                <a:gd name="T21" fmla="*/ 3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" h="148">
                  <a:moveTo>
                    <a:pt x="14" y="39"/>
                  </a:moveTo>
                  <a:lnTo>
                    <a:pt x="101" y="62"/>
                  </a:lnTo>
                  <a:lnTo>
                    <a:pt x="25" y="20"/>
                  </a:lnTo>
                  <a:lnTo>
                    <a:pt x="37" y="0"/>
                  </a:lnTo>
                  <a:lnTo>
                    <a:pt x="192" y="85"/>
                  </a:lnTo>
                  <a:lnTo>
                    <a:pt x="178" y="107"/>
                  </a:lnTo>
                  <a:lnTo>
                    <a:pt x="84" y="82"/>
                  </a:lnTo>
                  <a:lnTo>
                    <a:pt x="166" y="127"/>
                  </a:lnTo>
                  <a:lnTo>
                    <a:pt x="155" y="147"/>
                  </a:lnTo>
                  <a:lnTo>
                    <a:pt x="0" y="62"/>
                  </a:lnTo>
                  <a:lnTo>
                    <a:pt x="14" y="39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14" name="Freeform 741"/>
            <p:cNvSpPr>
              <a:spLocks noChangeArrowheads="1"/>
            </p:cNvSpPr>
            <p:nvPr/>
          </p:nvSpPr>
          <p:spPr bwMode="auto">
            <a:xfrm>
              <a:off x="3773488" y="2319338"/>
              <a:ext cx="65087" cy="52387"/>
            </a:xfrm>
            <a:custGeom>
              <a:avLst/>
              <a:gdLst>
                <a:gd name="T0" fmla="*/ 108 w 179"/>
                <a:gd name="T1" fmla="*/ 101 h 147"/>
                <a:gd name="T2" fmla="*/ 133 w 179"/>
                <a:gd name="T3" fmla="*/ 118 h 147"/>
                <a:gd name="T4" fmla="*/ 144 w 179"/>
                <a:gd name="T5" fmla="*/ 104 h 147"/>
                <a:gd name="T6" fmla="*/ 99 w 179"/>
                <a:gd name="T7" fmla="*/ 70 h 147"/>
                <a:gd name="T8" fmla="*/ 82 w 179"/>
                <a:gd name="T9" fmla="*/ 93 h 147"/>
                <a:gd name="T10" fmla="*/ 62 w 179"/>
                <a:gd name="T11" fmla="*/ 96 h 147"/>
                <a:gd name="T12" fmla="*/ 9 w 179"/>
                <a:gd name="T13" fmla="*/ 56 h 147"/>
                <a:gd name="T14" fmla="*/ 6 w 179"/>
                <a:gd name="T15" fmla="*/ 36 h 147"/>
                <a:gd name="T16" fmla="*/ 6 w 179"/>
                <a:gd name="T17" fmla="*/ 36 h 147"/>
                <a:gd name="T18" fmla="*/ 26 w 179"/>
                <a:gd name="T19" fmla="*/ 8 h 147"/>
                <a:gd name="T20" fmla="*/ 45 w 179"/>
                <a:gd name="T21" fmla="*/ 5 h 147"/>
                <a:gd name="T22" fmla="*/ 45 w 179"/>
                <a:gd name="T23" fmla="*/ 5 h 147"/>
                <a:gd name="T24" fmla="*/ 76 w 179"/>
                <a:gd name="T25" fmla="*/ 28 h 147"/>
                <a:gd name="T26" fmla="*/ 62 w 179"/>
                <a:gd name="T27" fmla="*/ 45 h 147"/>
                <a:gd name="T28" fmla="*/ 40 w 179"/>
                <a:gd name="T29" fmla="*/ 28 h 147"/>
                <a:gd name="T30" fmla="*/ 29 w 179"/>
                <a:gd name="T31" fmla="*/ 42 h 147"/>
                <a:gd name="T32" fmla="*/ 71 w 179"/>
                <a:gd name="T33" fmla="*/ 73 h 147"/>
                <a:gd name="T34" fmla="*/ 88 w 179"/>
                <a:gd name="T35" fmla="*/ 50 h 147"/>
                <a:gd name="T36" fmla="*/ 110 w 179"/>
                <a:gd name="T37" fmla="*/ 48 h 147"/>
                <a:gd name="T38" fmla="*/ 170 w 179"/>
                <a:gd name="T39" fmla="*/ 90 h 147"/>
                <a:gd name="T40" fmla="*/ 172 w 179"/>
                <a:gd name="T41" fmla="*/ 110 h 147"/>
                <a:gd name="T42" fmla="*/ 153 w 179"/>
                <a:gd name="T43" fmla="*/ 138 h 147"/>
                <a:gd name="T44" fmla="*/ 133 w 179"/>
                <a:gd name="T45" fmla="*/ 141 h 147"/>
                <a:gd name="T46" fmla="*/ 102 w 179"/>
                <a:gd name="T47" fmla="*/ 118 h 147"/>
                <a:gd name="T48" fmla="*/ 108 w 179"/>
                <a:gd name="T49" fmla="*/ 101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9" h="147">
                  <a:moveTo>
                    <a:pt x="108" y="101"/>
                  </a:moveTo>
                  <a:lnTo>
                    <a:pt x="133" y="118"/>
                  </a:lnTo>
                  <a:lnTo>
                    <a:pt x="144" y="104"/>
                  </a:lnTo>
                  <a:lnTo>
                    <a:pt x="99" y="70"/>
                  </a:lnTo>
                  <a:lnTo>
                    <a:pt x="82" y="93"/>
                  </a:lnTo>
                  <a:cubicBezTo>
                    <a:pt x="76" y="98"/>
                    <a:pt x="68" y="101"/>
                    <a:pt x="62" y="96"/>
                  </a:cubicBezTo>
                  <a:lnTo>
                    <a:pt x="9" y="56"/>
                  </a:lnTo>
                  <a:cubicBezTo>
                    <a:pt x="3" y="50"/>
                    <a:pt x="0" y="42"/>
                    <a:pt x="6" y="36"/>
                  </a:cubicBezTo>
                  <a:lnTo>
                    <a:pt x="6" y="36"/>
                  </a:lnTo>
                  <a:lnTo>
                    <a:pt x="26" y="8"/>
                  </a:lnTo>
                  <a:cubicBezTo>
                    <a:pt x="31" y="2"/>
                    <a:pt x="40" y="0"/>
                    <a:pt x="45" y="5"/>
                  </a:cubicBezTo>
                  <a:lnTo>
                    <a:pt x="45" y="5"/>
                  </a:lnTo>
                  <a:lnTo>
                    <a:pt x="76" y="28"/>
                  </a:lnTo>
                  <a:lnTo>
                    <a:pt x="62" y="45"/>
                  </a:lnTo>
                  <a:lnTo>
                    <a:pt x="40" y="28"/>
                  </a:lnTo>
                  <a:lnTo>
                    <a:pt x="29" y="42"/>
                  </a:lnTo>
                  <a:lnTo>
                    <a:pt x="71" y="73"/>
                  </a:lnTo>
                  <a:lnTo>
                    <a:pt x="88" y="50"/>
                  </a:lnTo>
                  <a:cubicBezTo>
                    <a:pt x="93" y="45"/>
                    <a:pt x="102" y="42"/>
                    <a:pt x="110" y="48"/>
                  </a:cubicBezTo>
                  <a:lnTo>
                    <a:pt x="170" y="90"/>
                  </a:lnTo>
                  <a:cubicBezTo>
                    <a:pt x="175" y="96"/>
                    <a:pt x="178" y="104"/>
                    <a:pt x="172" y="110"/>
                  </a:cubicBezTo>
                  <a:lnTo>
                    <a:pt x="153" y="138"/>
                  </a:lnTo>
                  <a:cubicBezTo>
                    <a:pt x="147" y="144"/>
                    <a:pt x="139" y="146"/>
                    <a:pt x="133" y="141"/>
                  </a:cubicBezTo>
                  <a:lnTo>
                    <a:pt x="102" y="118"/>
                  </a:lnTo>
                  <a:lnTo>
                    <a:pt x="108" y="101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15" name="Freeform 742"/>
            <p:cNvSpPr>
              <a:spLocks noChangeArrowheads="1"/>
            </p:cNvSpPr>
            <p:nvPr/>
          </p:nvSpPr>
          <p:spPr bwMode="auto">
            <a:xfrm>
              <a:off x="3806825" y="2276475"/>
              <a:ext cx="60325" cy="58738"/>
            </a:xfrm>
            <a:custGeom>
              <a:avLst/>
              <a:gdLst>
                <a:gd name="T0" fmla="*/ 14 w 167"/>
                <a:gd name="T1" fmla="*/ 31 h 165"/>
                <a:gd name="T2" fmla="*/ 124 w 167"/>
                <a:gd name="T3" fmla="*/ 138 h 165"/>
                <a:gd name="T4" fmla="*/ 138 w 167"/>
                <a:gd name="T5" fmla="*/ 124 h 165"/>
                <a:gd name="T6" fmla="*/ 28 w 167"/>
                <a:gd name="T7" fmla="*/ 17 h 165"/>
                <a:gd name="T8" fmla="*/ 45 w 167"/>
                <a:gd name="T9" fmla="*/ 0 h 165"/>
                <a:gd name="T10" fmla="*/ 160 w 167"/>
                <a:gd name="T11" fmla="*/ 113 h 165"/>
                <a:gd name="T12" fmla="*/ 160 w 167"/>
                <a:gd name="T13" fmla="*/ 136 h 165"/>
                <a:gd name="T14" fmla="*/ 138 w 167"/>
                <a:gd name="T15" fmla="*/ 158 h 165"/>
                <a:gd name="T16" fmla="*/ 115 w 167"/>
                <a:gd name="T17" fmla="*/ 158 h 165"/>
                <a:gd name="T18" fmla="*/ 0 w 167"/>
                <a:gd name="T19" fmla="*/ 45 h 165"/>
                <a:gd name="T20" fmla="*/ 14 w 167"/>
                <a:gd name="T21" fmla="*/ 3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7" h="165">
                  <a:moveTo>
                    <a:pt x="14" y="31"/>
                  </a:moveTo>
                  <a:lnTo>
                    <a:pt x="124" y="138"/>
                  </a:lnTo>
                  <a:lnTo>
                    <a:pt x="138" y="124"/>
                  </a:lnTo>
                  <a:lnTo>
                    <a:pt x="28" y="17"/>
                  </a:lnTo>
                  <a:lnTo>
                    <a:pt x="45" y="0"/>
                  </a:lnTo>
                  <a:lnTo>
                    <a:pt x="160" y="113"/>
                  </a:lnTo>
                  <a:cubicBezTo>
                    <a:pt x="166" y="119"/>
                    <a:pt x="166" y="127"/>
                    <a:pt x="160" y="136"/>
                  </a:cubicBezTo>
                  <a:lnTo>
                    <a:pt x="138" y="158"/>
                  </a:lnTo>
                  <a:cubicBezTo>
                    <a:pt x="132" y="164"/>
                    <a:pt x="124" y="164"/>
                    <a:pt x="115" y="158"/>
                  </a:cubicBezTo>
                  <a:lnTo>
                    <a:pt x="0" y="45"/>
                  </a:lnTo>
                  <a:lnTo>
                    <a:pt x="14" y="31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16" name="Freeform 743"/>
            <p:cNvSpPr>
              <a:spLocks noChangeArrowheads="1"/>
            </p:cNvSpPr>
            <p:nvPr/>
          </p:nvSpPr>
          <p:spPr bwMode="auto">
            <a:xfrm>
              <a:off x="3846513" y="2243138"/>
              <a:ext cx="58737" cy="61912"/>
            </a:xfrm>
            <a:custGeom>
              <a:avLst/>
              <a:gdLst>
                <a:gd name="T0" fmla="*/ 96 w 164"/>
                <a:gd name="T1" fmla="*/ 85 h 170"/>
                <a:gd name="T2" fmla="*/ 81 w 164"/>
                <a:gd name="T3" fmla="*/ 96 h 170"/>
                <a:gd name="T4" fmla="*/ 129 w 164"/>
                <a:gd name="T5" fmla="*/ 155 h 170"/>
                <a:gd name="T6" fmla="*/ 112 w 164"/>
                <a:gd name="T7" fmla="*/ 169 h 170"/>
                <a:gd name="T8" fmla="*/ 0 w 164"/>
                <a:gd name="T9" fmla="*/ 34 h 170"/>
                <a:gd name="T10" fmla="*/ 36 w 164"/>
                <a:gd name="T11" fmla="*/ 6 h 170"/>
                <a:gd name="T12" fmla="*/ 59 w 164"/>
                <a:gd name="T13" fmla="*/ 8 h 170"/>
                <a:gd name="T14" fmla="*/ 98 w 164"/>
                <a:gd name="T15" fmla="*/ 56 h 170"/>
                <a:gd name="T16" fmla="*/ 101 w 164"/>
                <a:gd name="T17" fmla="*/ 70 h 170"/>
                <a:gd name="T18" fmla="*/ 118 w 164"/>
                <a:gd name="T19" fmla="*/ 76 h 170"/>
                <a:gd name="T20" fmla="*/ 163 w 164"/>
                <a:gd name="T21" fmla="*/ 132 h 170"/>
                <a:gd name="T22" fmla="*/ 146 w 164"/>
                <a:gd name="T23" fmla="*/ 147 h 170"/>
                <a:gd name="T24" fmla="*/ 96 w 164"/>
                <a:gd name="T25" fmla="*/ 85 h 170"/>
                <a:gd name="T26" fmla="*/ 65 w 164"/>
                <a:gd name="T27" fmla="*/ 79 h 170"/>
                <a:gd name="T28" fmla="*/ 79 w 164"/>
                <a:gd name="T29" fmla="*/ 68 h 170"/>
                <a:gd name="T30" fmla="*/ 42 w 164"/>
                <a:gd name="T31" fmla="*/ 25 h 170"/>
                <a:gd name="T32" fmla="*/ 28 w 164"/>
                <a:gd name="T33" fmla="*/ 37 h 170"/>
                <a:gd name="T34" fmla="*/ 65 w 164"/>
                <a:gd name="T35" fmla="*/ 7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4" h="170">
                  <a:moveTo>
                    <a:pt x="96" y="85"/>
                  </a:moveTo>
                  <a:lnTo>
                    <a:pt x="81" y="96"/>
                  </a:lnTo>
                  <a:lnTo>
                    <a:pt x="129" y="155"/>
                  </a:lnTo>
                  <a:lnTo>
                    <a:pt x="112" y="169"/>
                  </a:lnTo>
                  <a:lnTo>
                    <a:pt x="0" y="34"/>
                  </a:lnTo>
                  <a:lnTo>
                    <a:pt x="36" y="6"/>
                  </a:lnTo>
                  <a:cubicBezTo>
                    <a:pt x="42" y="0"/>
                    <a:pt x="53" y="0"/>
                    <a:pt x="59" y="8"/>
                  </a:cubicBezTo>
                  <a:lnTo>
                    <a:pt x="98" y="56"/>
                  </a:lnTo>
                  <a:cubicBezTo>
                    <a:pt x="101" y="59"/>
                    <a:pt x="104" y="65"/>
                    <a:pt x="101" y="70"/>
                  </a:cubicBezTo>
                  <a:cubicBezTo>
                    <a:pt x="107" y="68"/>
                    <a:pt x="115" y="70"/>
                    <a:pt x="118" y="76"/>
                  </a:cubicBezTo>
                  <a:lnTo>
                    <a:pt x="163" y="132"/>
                  </a:lnTo>
                  <a:lnTo>
                    <a:pt x="146" y="147"/>
                  </a:lnTo>
                  <a:lnTo>
                    <a:pt x="96" y="85"/>
                  </a:lnTo>
                  <a:close/>
                  <a:moveTo>
                    <a:pt x="65" y="79"/>
                  </a:moveTo>
                  <a:lnTo>
                    <a:pt x="79" y="68"/>
                  </a:lnTo>
                  <a:lnTo>
                    <a:pt x="42" y="25"/>
                  </a:lnTo>
                  <a:lnTo>
                    <a:pt x="28" y="37"/>
                  </a:lnTo>
                  <a:lnTo>
                    <a:pt x="65" y="79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17" name="Freeform 744"/>
            <p:cNvSpPr>
              <a:spLocks noChangeArrowheads="1"/>
            </p:cNvSpPr>
            <p:nvPr/>
          </p:nvSpPr>
          <p:spPr bwMode="auto">
            <a:xfrm>
              <a:off x="3886200" y="2211388"/>
              <a:ext cx="47625" cy="61912"/>
            </a:xfrm>
            <a:custGeom>
              <a:avLst/>
              <a:gdLst>
                <a:gd name="T0" fmla="*/ 29 w 131"/>
                <a:gd name="T1" fmla="*/ 43 h 174"/>
                <a:gd name="T2" fmla="*/ 12 w 131"/>
                <a:gd name="T3" fmla="*/ 54 h 174"/>
                <a:gd name="T4" fmla="*/ 0 w 131"/>
                <a:gd name="T5" fmla="*/ 34 h 174"/>
                <a:gd name="T6" fmla="*/ 54 w 131"/>
                <a:gd name="T7" fmla="*/ 0 h 174"/>
                <a:gd name="T8" fmla="*/ 65 w 131"/>
                <a:gd name="T9" fmla="*/ 20 h 174"/>
                <a:gd name="T10" fmla="*/ 48 w 131"/>
                <a:gd name="T11" fmla="*/ 31 h 174"/>
                <a:gd name="T12" fmla="*/ 130 w 131"/>
                <a:gd name="T13" fmla="*/ 161 h 174"/>
                <a:gd name="T14" fmla="*/ 111 w 131"/>
                <a:gd name="T15" fmla="*/ 173 h 174"/>
                <a:gd name="T16" fmla="*/ 29 w 131"/>
                <a:gd name="T17" fmla="*/ 43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174">
                  <a:moveTo>
                    <a:pt x="29" y="43"/>
                  </a:moveTo>
                  <a:lnTo>
                    <a:pt x="12" y="54"/>
                  </a:lnTo>
                  <a:lnTo>
                    <a:pt x="0" y="34"/>
                  </a:lnTo>
                  <a:lnTo>
                    <a:pt x="54" y="0"/>
                  </a:lnTo>
                  <a:lnTo>
                    <a:pt x="65" y="20"/>
                  </a:lnTo>
                  <a:lnTo>
                    <a:pt x="48" y="31"/>
                  </a:lnTo>
                  <a:lnTo>
                    <a:pt x="130" y="161"/>
                  </a:lnTo>
                  <a:lnTo>
                    <a:pt x="111" y="173"/>
                  </a:lnTo>
                  <a:lnTo>
                    <a:pt x="29" y="4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18" name="Freeform 745"/>
            <p:cNvSpPr>
              <a:spLocks noChangeArrowheads="1"/>
            </p:cNvSpPr>
            <p:nvPr/>
          </p:nvSpPr>
          <p:spPr bwMode="auto">
            <a:xfrm>
              <a:off x="3930650" y="2189163"/>
              <a:ext cx="47625" cy="66675"/>
            </a:xfrm>
            <a:custGeom>
              <a:avLst/>
              <a:gdLst>
                <a:gd name="T0" fmla="*/ 130 w 131"/>
                <a:gd name="T1" fmla="*/ 158 h 185"/>
                <a:gd name="T2" fmla="*/ 76 w 131"/>
                <a:gd name="T3" fmla="*/ 184 h 185"/>
                <a:gd name="T4" fmla="*/ 0 w 131"/>
                <a:gd name="T5" fmla="*/ 26 h 185"/>
                <a:gd name="T6" fmla="*/ 51 w 131"/>
                <a:gd name="T7" fmla="*/ 0 h 185"/>
                <a:gd name="T8" fmla="*/ 59 w 131"/>
                <a:gd name="T9" fmla="*/ 20 h 185"/>
                <a:gd name="T10" fmla="*/ 28 w 131"/>
                <a:gd name="T11" fmla="*/ 34 h 185"/>
                <a:gd name="T12" fmla="*/ 51 w 131"/>
                <a:gd name="T13" fmla="*/ 79 h 185"/>
                <a:gd name="T14" fmla="*/ 73 w 131"/>
                <a:gd name="T15" fmla="*/ 68 h 185"/>
                <a:gd name="T16" fmla="*/ 82 w 131"/>
                <a:gd name="T17" fmla="*/ 88 h 185"/>
                <a:gd name="T18" fmla="*/ 59 w 131"/>
                <a:gd name="T19" fmla="*/ 99 h 185"/>
                <a:gd name="T20" fmla="*/ 84 w 131"/>
                <a:gd name="T21" fmla="*/ 153 h 185"/>
                <a:gd name="T22" fmla="*/ 116 w 131"/>
                <a:gd name="T23" fmla="*/ 136 h 185"/>
                <a:gd name="T24" fmla="*/ 130 w 131"/>
                <a:gd name="T25" fmla="*/ 158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1" h="185">
                  <a:moveTo>
                    <a:pt x="130" y="158"/>
                  </a:moveTo>
                  <a:lnTo>
                    <a:pt x="76" y="184"/>
                  </a:lnTo>
                  <a:lnTo>
                    <a:pt x="0" y="26"/>
                  </a:lnTo>
                  <a:lnTo>
                    <a:pt x="51" y="0"/>
                  </a:lnTo>
                  <a:lnTo>
                    <a:pt x="59" y="20"/>
                  </a:lnTo>
                  <a:lnTo>
                    <a:pt x="28" y="34"/>
                  </a:lnTo>
                  <a:lnTo>
                    <a:pt x="51" y="79"/>
                  </a:lnTo>
                  <a:lnTo>
                    <a:pt x="73" y="68"/>
                  </a:lnTo>
                  <a:lnTo>
                    <a:pt x="82" y="88"/>
                  </a:lnTo>
                  <a:lnTo>
                    <a:pt x="59" y="99"/>
                  </a:lnTo>
                  <a:lnTo>
                    <a:pt x="84" y="153"/>
                  </a:lnTo>
                  <a:lnTo>
                    <a:pt x="116" y="136"/>
                  </a:lnTo>
                  <a:lnTo>
                    <a:pt x="130" y="15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19" name="Freeform 746"/>
            <p:cNvSpPr>
              <a:spLocks noChangeArrowheads="1"/>
            </p:cNvSpPr>
            <p:nvPr/>
          </p:nvSpPr>
          <p:spPr bwMode="auto">
            <a:xfrm>
              <a:off x="3979863" y="2171700"/>
              <a:ext cx="41275" cy="66675"/>
            </a:xfrm>
            <a:custGeom>
              <a:avLst/>
              <a:gdLst>
                <a:gd name="T0" fmla="*/ 51 w 114"/>
                <a:gd name="T1" fmla="*/ 54 h 185"/>
                <a:gd name="T2" fmla="*/ 43 w 114"/>
                <a:gd name="T3" fmla="*/ 26 h 185"/>
                <a:gd name="T4" fmla="*/ 26 w 114"/>
                <a:gd name="T5" fmla="*/ 31 h 185"/>
                <a:gd name="T6" fmla="*/ 68 w 114"/>
                <a:gd name="T7" fmla="*/ 156 h 185"/>
                <a:gd name="T8" fmla="*/ 85 w 114"/>
                <a:gd name="T9" fmla="*/ 150 h 185"/>
                <a:gd name="T10" fmla="*/ 76 w 114"/>
                <a:gd name="T11" fmla="*/ 122 h 185"/>
                <a:gd name="T12" fmla="*/ 99 w 114"/>
                <a:gd name="T13" fmla="*/ 113 h 185"/>
                <a:gd name="T14" fmla="*/ 110 w 114"/>
                <a:gd name="T15" fmla="*/ 150 h 185"/>
                <a:gd name="T16" fmla="*/ 102 w 114"/>
                <a:gd name="T17" fmla="*/ 170 h 185"/>
                <a:gd name="T18" fmla="*/ 68 w 114"/>
                <a:gd name="T19" fmla="*/ 181 h 185"/>
                <a:gd name="T20" fmla="*/ 48 w 114"/>
                <a:gd name="T21" fmla="*/ 173 h 185"/>
                <a:gd name="T22" fmla="*/ 3 w 114"/>
                <a:gd name="T23" fmla="*/ 34 h 185"/>
                <a:gd name="T24" fmla="*/ 12 w 114"/>
                <a:gd name="T25" fmla="*/ 15 h 185"/>
                <a:gd name="T26" fmla="*/ 45 w 114"/>
                <a:gd name="T27" fmla="*/ 3 h 185"/>
                <a:gd name="T28" fmla="*/ 65 w 114"/>
                <a:gd name="T29" fmla="*/ 12 h 185"/>
                <a:gd name="T30" fmla="*/ 76 w 114"/>
                <a:gd name="T31" fmla="*/ 48 h 185"/>
                <a:gd name="T32" fmla="*/ 51 w 114"/>
                <a:gd name="T33" fmla="*/ 54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" h="185">
                  <a:moveTo>
                    <a:pt x="51" y="54"/>
                  </a:moveTo>
                  <a:lnTo>
                    <a:pt x="43" y="26"/>
                  </a:lnTo>
                  <a:lnTo>
                    <a:pt x="26" y="31"/>
                  </a:lnTo>
                  <a:lnTo>
                    <a:pt x="68" y="156"/>
                  </a:lnTo>
                  <a:lnTo>
                    <a:pt x="85" y="150"/>
                  </a:lnTo>
                  <a:lnTo>
                    <a:pt x="76" y="122"/>
                  </a:lnTo>
                  <a:lnTo>
                    <a:pt x="99" y="113"/>
                  </a:lnTo>
                  <a:lnTo>
                    <a:pt x="110" y="150"/>
                  </a:lnTo>
                  <a:cubicBezTo>
                    <a:pt x="113" y="158"/>
                    <a:pt x="107" y="167"/>
                    <a:pt x="102" y="170"/>
                  </a:cubicBezTo>
                  <a:lnTo>
                    <a:pt x="68" y="181"/>
                  </a:lnTo>
                  <a:cubicBezTo>
                    <a:pt x="60" y="184"/>
                    <a:pt x="51" y="178"/>
                    <a:pt x="48" y="173"/>
                  </a:cubicBezTo>
                  <a:lnTo>
                    <a:pt x="3" y="34"/>
                  </a:lnTo>
                  <a:cubicBezTo>
                    <a:pt x="0" y="26"/>
                    <a:pt x="6" y="17"/>
                    <a:pt x="12" y="15"/>
                  </a:cubicBezTo>
                  <a:lnTo>
                    <a:pt x="45" y="3"/>
                  </a:lnTo>
                  <a:cubicBezTo>
                    <a:pt x="54" y="0"/>
                    <a:pt x="62" y="6"/>
                    <a:pt x="65" y="12"/>
                  </a:cubicBezTo>
                  <a:lnTo>
                    <a:pt x="76" y="48"/>
                  </a:lnTo>
                  <a:lnTo>
                    <a:pt x="51" y="54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20" name="Freeform 747"/>
            <p:cNvSpPr>
              <a:spLocks noChangeArrowheads="1"/>
            </p:cNvSpPr>
            <p:nvPr/>
          </p:nvSpPr>
          <p:spPr bwMode="auto">
            <a:xfrm>
              <a:off x="4029075" y="2157413"/>
              <a:ext cx="34925" cy="66675"/>
            </a:xfrm>
            <a:custGeom>
              <a:avLst/>
              <a:gdLst>
                <a:gd name="T0" fmla="*/ 0 w 99"/>
                <a:gd name="T1" fmla="*/ 14 h 187"/>
                <a:gd name="T2" fmla="*/ 22 w 99"/>
                <a:gd name="T3" fmla="*/ 8 h 187"/>
                <a:gd name="T4" fmla="*/ 36 w 99"/>
                <a:gd name="T5" fmla="*/ 87 h 187"/>
                <a:gd name="T6" fmla="*/ 56 w 99"/>
                <a:gd name="T7" fmla="*/ 85 h 187"/>
                <a:gd name="T8" fmla="*/ 42 w 99"/>
                <a:gd name="T9" fmla="*/ 6 h 187"/>
                <a:gd name="T10" fmla="*/ 64 w 99"/>
                <a:gd name="T11" fmla="*/ 0 h 187"/>
                <a:gd name="T12" fmla="*/ 98 w 99"/>
                <a:gd name="T13" fmla="*/ 175 h 187"/>
                <a:gd name="T14" fmla="*/ 76 w 99"/>
                <a:gd name="T15" fmla="*/ 180 h 187"/>
                <a:gd name="T16" fmla="*/ 62 w 99"/>
                <a:gd name="T17" fmla="*/ 110 h 187"/>
                <a:gd name="T18" fmla="*/ 42 w 99"/>
                <a:gd name="T19" fmla="*/ 110 h 187"/>
                <a:gd name="T20" fmla="*/ 56 w 99"/>
                <a:gd name="T21" fmla="*/ 180 h 187"/>
                <a:gd name="T22" fmla="*/ 33 w 99"/>
                <a:gd name="T23" fmla="*/ 186 h 187"/>
                <a:gd name="T24" fmla="*/ 0 w 99"/>
                <a:gd name="T25" fmla="*/ 14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" h="187">
                  <a:moveTo>
                    <a:pt x="0" y="14"/>
                  </a:moveTo>
                  <a:lnTo>
                    <a:pt x="22" y="8"/>
                  </a:lnTo>
                  <a:lnTo>
                    <a:pt x="36" y="87"/>
                  </a:lnTo>
                  <a:lnTo>
                    <a:pt x="56" y="85"/>
                  </a:lnTo>
                  <a:lnTo>
                    <a:pt x="42" y="6"/>
                  </a:lnTo>
                  <a:lnTo>
                    <a:pt x="64" y="0"/>
                  </a:lnTo>
                  <a:lnTo>
                    <a:pt x="98" y="175"/>
                  </a:lnTo>
                  <a:lnTo>
                    <a:pt x="76" y="180"/>
                  </a:lnTo>
                  <a:lnTo>
                    <a:pt x="62" y="110"/>
                  </a:lnTo>
                  <a:lnTo>
                    <a:pt x="42" y="110"/>
                  </a:lnTo>
                  <a:lnTo>
                    <a:pt x="56" y="180"/>
                  </a:lnTo>
                  <a:lnTo>
                    <a:pt x="33" y="186"/>
                  </a:lnTo>
                  <a:lnTo>
                    <a:pt x="0" y="14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21" name="Freeform 748"/>
            <p:cNvSpPr>
              <a:spLocks noChangeArrowheads="1"/>
            </p:cNvSpPr>
            <p:nvPr/>
          </p:nvSpPr>
          <p:spPr bwMode="auto">
            <a:xfrm>
              <a:off x="4138613" y="2152650"/>
              <a:ext cx="23812" cy="65088"/>
            </a:xfrm>
            <a:custGeom>
              <a:avLst/>
              <a:gdLst>
                <a:gd name="T0" fmla="*/ 20 w 66"/>
                <a:gd name="T1" fmla="*/ 25 h 179"/>
                <a:gd name="T2" fmla="*/ 0 w 66"/>
                <a:gd name="T3" fmla="*/ 22 h 179"/>
                <a:gd name="T4" fmla="*/ 3 w 66"/>
                <a:gd name="T5" fmla="*/ 0 h 179"/>
                <a:gd name="T6" fmla="*/ 65 w 66"/>
                <a:gd name="T7" fmla="*/ 5 h 179"/>
                <a:gd name="T8" fmla="*/ 62 w 66"/>
                <a:gd name="T9" fmla="*/ 28 h 179"/>
                <a:gd name="T10" fmla="*/ 42 w 66"/>
                <a:gd name="T11" fmla="*/ 25 h 179"/>
                <a:gd name="T12" fmla="*/ 31 w 66"/>
                <a:gd name="T13" fmla="*/ 178 h 179"/>
                <a:gd name="T14" fmla="*/ 9 w 66"/>
                <a:gd name="T15" fmla="*/ 175 h 179"/>
                <a:gd name="T16" fmla="*/ 20 w 66"/>
                <a:gd name="T17" fmla="*/ 2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79">
                  <a:moveTo>
                    <a:pt x="20" y="25"/>
                  </a:moveTo>
                  <a:lnTo>
                    <a:pt x="0" y="22"/>
                  </a:lnTo>
                  <a:lnTo>
                    <a:pt x="3" y="0"/>
                  </a:lnTo>
                  <a:lnTo>
                    <a:pt x="65" y="5"/>
                  </a:lnTo>
                  <a:lnTo>
                    <a:pt x="62" y="28"/>
                  </a:lnTo>
                  <a:lnTo>
                    <a:pt x="42" y="25"/>
                  </a:lnTo>
                  <a:lnTo>
                    <a:pt x="31" y="178"/>
                  </a:lnTo>
                  <a:lnTo>
                    <a:pt x="9" y="175"/>
                  </a:lnTo>
                  <a:lnTo>
                    <a:pt x="20" y="2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22" name="Freeform 749"/>
            <p:cNvSpPr>
              <a:spLocks noChangeArrowheads="1"/>
            </p:cNvSpPr>
            <p:nvPr/>
          </p:nvSpPr>
          <p:spPr bwMode="auto">
            <a:xfrm>
              <a:off x="4178300" y="2159000"/>
              <a:ext cx="34925" cy="66675"/>
            </a:xfrm>
            <a:custGeom>
              <a:avLst/>
              <a:gdLst>
                <a:gd name="T0" fmla="*/ 31 w 97"/>
                <a:gd name="T1" fmla="*/ 14 h 184"/>
                <a:gd name="T2" fmla="*/ 48 w 97"/>
                <a:gd name="T3" fmla="*/ 3 h 184"/>
                <a:gd name="T4" fmla="*/ 82 w 97"/>
                <a:gd name="T5" fmla="*/ 8 h 184"/>
                <a:gd name="T6" fmla="*/ 93 w 97"/>
                <a:gd name="T7" fmla="*/ 25 h 184"/>
                <a:gd name="T8" fmla="*/ 65 w 97"/>
                <a:gd name="T9" fmla="*/ 169 h 184"/>
                <a:gd name="T10" fmla="*/ 48 w 97"/>
                <a:gd name="T11" fmla="*/ 180 h 184"/>
                <a:gd name="T12" fmla="*/ 14 w 97"/>
                <a:gd name="T13" fmla="*/ 175 h 184"/>
                <a:gd name="T14" fmla="*/ 3 w 97"/>
                <a:gd name="T15" fmla="*/ 158 h 184"/>
                <a:gd name="T16" fmla="*/ 31 w 97"/>
                <a:gd name="T17" fmla="*/ 14 h 184"/>
                <a:gd name="T18" fmla="*/ 71 w 97"/>
                <a:gd name="T19" fmla="*/ 28 h 184"/>
                <a:gd name="T20" fmla="*/ 51 w 97"/>
                <a:gd name="T21" fmla="*/ 25 h 184"/>
                <a:gd name="T22" fmla="*/ 26 w 97"/>
                <a:gd name="T23" fmla="*/ 155 h 184"/>
                <a:gd name="T24" fmla="*/ 45 w 97"/>
                <a:gd name="T25" fmla="*/ 158 h 184"/>
                <a:gd name="T26" fmla="*/ 71 w 97"/>
                <a:gd name="T27" fmla="*/ 2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" h="184">
                  <a:moveTo>
                    <a:pt x="31" y="14"/>
                  </a:moveTo>
                  <a:cubicBezTo>
                    <a:pt x="34" y="5"/>
                    <a:pt x="40" y="0"/>
                    <a:pt x="48" y="3"/>
                  </a:cubicBezTo>
                  <a:lnTo>
                    <a:pt x="82" y="8"/>
                  </a:lnTo>
                  <a:cubicBezTo>
                    <a:pt x="90" y="11"/>
                    <a:pt x="96" y="17"/>
                    <a:pt x="93" y="25"/>
                  </a:cubicBezTo>
                  <a:lnTo>
                    <a:pt x="65" y="169"/>
                  </a:lnTo>
                  <a:cubicBezTo>
                    <a:pt x="62" y="177"/>
                    <a:pt x="57" y="183"/>
                    <a:pt x="48" y="180"/>
                  </a:cubicBezTo>
                  <a:lnTo>
                    <a:pt x="14" y="175"/>
                  </a:lnTo>
                  <a:cubicBezTo>
                    <a:pt x="6" y="172"/>
                    <a:pt x="0" y="166"/>
                    <a:pt x="3" y="158"/>
                  </a:cubicBezTo>
                  <a:lnTo>
                    <a:pt x="31" y="14"/>
                  </a:lnTo>
                  <a:close/>
                  <a:moveTo>
                    <a:pt x="71" y="28"/>
                  </a:moveTo>
                  <a:lnTo>
                    <a:pt x="51" y="25"/>
                  </a:lnTo>
                  <a:lnTo>
                    <a:pt x="26" y="155"/>
                  </a:lnTo>
                  <a:lnTo>
                    <a:pt x="45" y="158"/>
                  </a:lnTo>
                  <a:lnTo>
                    <a:pt x="71" y="28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23" name="Freeform 750"/>
            <p:cNvSpPr>
              <a:spLocks noChangeArrowheads="1"/>
            </p:cNvSpPr>
            <p:nvPr/>
          </p:nvSpPr>
          <p:spPr bwMode="auto">
            <a:xfrm>
              <a:off x="4224338" y="2171700"/>
              <a:ext cx="41275" cy="66675"/>
            </a:xfrm>
            <a:custGeom>
              <a:avLst/>
              <a:gdLst>
                <a:gd name="T0" fmla="*/ 62 w 114"/>
                <a:gd name="T1" fmla="*/ 107 h 184"/>
                <a:gd name="T2" fmla="*/ 45 w 114"/>
                <a:gd name="T3" fmla="*/ 101 h 184"/>
                <a:gd name="T4" fmla="*/ 23 w 114"/>
                <a:gd name="T5" fmla="*/ 172 h 184"/>
                <a:gd name="T6" fmla="*/ 0 w 114"/>
                <a:gd name="T7" fmla="*/ 166 h 184"/>
                <a:gd name="T8" fmla="*/ 57 w 114"/>
                <a:gd name="T9" fmla="*/ 0 h 184"/>
                <a:gd name="T10" fmla="*/ 102 w 114"/>
                <a:gd name="T11" fmla="*/ 14 h 184"/>
                <a:gd name="T12" fmla="*/ 110 w 114"/>
                <a:gd name="T13" fmla="*/ 33 h 184"/>
                <a:gd name="T14" fmla="*/ 90 w 114"/>
                <a:gd name="T15" fmla="*/ 90 h 184"/>
                <a:gd name="T16" fmla="*/ 79 w 114"/>
                <a:gd name="T17" fmla="*/ 98 h 184"/>
                <a:gd name="T18" fmla="*/ 85 w 114"/>
                <a:gd name="T19" fmla="*/ 115 h 184"/>
                <a:gd name="T20" fmla="*/ 62 w 114"/>
                <a:gd name="T21" fmla="*/ 183 h 184"/>
                <a:gd name="T22" fmla="*/ 40 w 114"/>
                <a:gd name="T23" fmla="*/ 175 h 184"/>
                <a:gd name="T24" fmla="*/ 62 w 114"/>
                <a:gd name="T25" fmla="*/ 107 h 184"/>
                <a:gd name="T26" fmla="*/ 51 w 114"/>
                <a:gd name="T27" fmla="*/ 81 h 184"/>
                <a:gd name="T28" fmla="*/ 68 w 114"/>
                <a:gd name="T29" fmla="*/ 87 h 184"/>
                <a:gd name="T30" fmla="*/ 85 w 114"/>
                <a:gd name="T31" fmla="*/ 33 h 184"/>
                <a:gd name="T32" fmla="*/ 68 w 114"/>
                <a:gd name="T33" fmla="*/ 28 h 184"/>
                <a:gd name="T34" fmla="*/ 51 w 114"/>
                <a:gd name="T35" fmla="*/ 8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184">
                  <a:moveTo>
                    <a:pt x="62" y="107"/>
                  </a:moveTo>
                  <a:lnTo>
                    <a:pt x="45" y="101"/>
                  </a:lnTo>
                  <a:lnTo>
                    <a:pt x="23" y="172"/>
                  </a:lnTo>
                  <a:lnTo>
                    <a:pt x="0" y="166"/>
                  </a:lnTo>
                  <a:lnTo>
                    <a:pt x="57" y="0"/>
                  </a:lnTo>
                  <a:lnTo>
                    <a:pt x="102" y="14"/>
                  </a:lnTo>
                  <a:cubicBezTo>
                    <a:pt x="110" y="17"/>
                    <a:pt x="113" y="25"/>
                    <a:pt x="110" y="33"/>
                  </a:cubicBezTo>
                  <a:lnTo>
                    <a:pt x="90" y="90"/>
                  </a:lnTo>
                  <a:cubicBezTo>
                    <a:pt x="90" y="96"/>
                    <a:pt x="85" y="98"/>
                    <a:pt x="79" y="98"/>
                  </a:cubicBezTo>
                  <a:cubicBezTo>
                    <a:pt x="85" y="101"/>
                    <a:pt x="88" y="110"/>
                    <a:pt x="85" y="115"/>
                  </a:cubicBezTo>
                  <a:lnTo>
                    <a:pt x="62" y="183"/>
                  </a:lnTo>
                  <a:lnTo>
                    <a:pt x="40" y="175"/>
                  </a:lnTo>
                  <a:lnTo>
                    <a:pt x="62" y="107"/>
                  </a:lnTo>
                  <a:close/>
                  <a:moveTo>
                    <a:pt x="51" y="81"/>
                  </a:moveTo>
                  <a:lnTo>
                    <a:pt x="68" y="87"/>
                  </a:lnTo>
                  <a:lnTo>
                    <a:pt x="85" y="33"/>
                  </a:lnTo>
                  <a:lnTo>
                    <a:pt x="68" y="28"/>
                  </a:lnTo>
                  <a:lnTo>
                    <a:pt x="51" y="81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24" name="Freeform 751"/>
            <p:cNvSpPr>
              <a:spLocks noChangeArrowheads="1"/>
            </p:cNvSpPr>
            <p:nvPr/>
          </p:nvSpPr>
          <p:spPr bwMode="auto">
            <a:xfrm>
              <a:off x="4267200" y="2190750"/>
              <a:ext cx="47625" cy="66675"/>
            </a:xfrm>
            <a:custGeom>
              <a:avLst/>
              <a:gdLst>
                <a:gd name="T0" fmla="*/ 70 w 133"/>
                <a:gd name="T1" fmla="*/ 12 h 185"/>
                <a:gd name="T2" fmla="*/ 90 w 133"/>
                <a:gd name="T3" fmla="*/ 6 h 185"/>
                <a:gd name="T4" fmla="*/ 121 w 133"/>
                <a:gd name="T5" fmla="*/ 20 h 185"/>
                <a:gd name="T6" fmla="*/ 127 w 133"/>
                <a:gd name="T7" fmla="*/ 40 h 185"/>
                <a:gd name="T8" fmla="*/ 62 w 133"/>
                <a:gd name="T9" fmla="*/ 172 h 185"/>
                <a:gd name="T10" fmla="*/ 42 w 133"/>
                <a:gd name="T11" fmla="*/ 178 h 185"/>
                <a:gd name="T12" fmla="*/ 11 w 133"/>
                <a:gd name="T13" fmla="*/ 164 h 185"/>
                <a:gd name="T14" fmla="*/ 2 w 133"/>
                <a:gd name="T15" fmla="*/ 144 h 185"/>
                <a:gd name="T16" fmla="*/ 70 w 133"/>
                <a:gd name="T17" fmla="*/ 12 h 185"/>
                <a:gd name="T18" fmla="*/ 104 w 133"/>
                <a:gd name="T19" fmla="*/ 37 h 185"/>
                <a:gd name="T20" fmla="*/ 87 w 133"/>
                <a:gd name="T21" fmla="*/ 28 h 185"/>
                <a:gd name="T22" fmla="*/ 31 w 133"/>
                <a:gd name="T23" fmla="*/ 147 h 185"/>
                <a:gd name="T24" fmla="*/ 48 w 133"/>
                <a:gd name="T25" fmla="*/ 155 h 185"/>
                <a:gd name="T26" fmla="*/ 104 w 133"/>
                <a:gd name="T27" fmla="*/ 3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3" h="185">
                  <a:moveTo>
                    <a:pt x="70" y="12"/>
                  </a:moveTo>
                  <a:cubicBezTo>
                    <a:pt x="73" y="3"/>
                    <a:pt x="81" y="0"/>
                    <a:pt x="90" y="6"/>
                  </a:cubicBezTo>
                  <a:lnTo>
                    <a:pt x="121" y="20"/>
                  </a:lnTo>
                  <a:cubicBezTo>
                    <a:pt x="129" y="23"/>
                    <a:pt x="132" y="34"/>
                    <a:pt x="127" y="40"/>
                  </a:cubicBezTo>
                  <a:lnTo>
                    <a:pt x="62" y="172"/>
                  </a:lnTo>
                  <a:cubicBezTo>
                    <a:pt x="59" y="181"/>
                    <a:pt x="50" y="184"/>
                    <a:pt x="42" y="178"/>
                  </a:cubicBezTo>
                  <a:lnTo>
                    <a:pt x="11" y="164"/>
                  </a:lnTo>
                  <a:cubicBezTo>
                    <a:pt x="2" y="161"/>
                    <a:pt x="0" y="153"/>
                    <a:pt x="2" y="144"/>
                  </a:cubicBezTo>
                  <a:lnTo>
                    <a:pt x="70" y="12"/>
                  </a:lnTo>
                  <a:close/>
                  <a:moveTo>
                    <a:pt x="104" y="37"/>
                  </a:moveTo>
                  <a:lnTo>
                    <a:pt x="87" y="28"/>
                  </a:lnTo>
                  <a:lnTo>
                    <a:pt x="31" y="147"/>
                  </a:lnTo>
                  <a:lnTo>
                    <a:pt x="48" y="155"/>
                  </a:lnTo>
                  <a:lnTo>
                    <a:pt x="104" y="37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25" name="Freeform 752"/>
            <p:cNvSpPr>
              <a:spLocks noChangeArrowheads="1"/>
            </p:cNvSpPr>
            <p:nvPr/>
          </p:nvSpPr>
          <p:spPr bwMode="auto">
            <a:xfrm>
              <a:off x="4308475" y="2214563"/>
              <a:ext cx="57150" cy="66675"/>
            </a:xfrm>
            <a:custGeom>
              <a:avLst/>
              <a:gdLst>
                <a:gd name="T0" fmla="*/ 122 w 159"/>
                <a:gd name="T1" fmla="*/ 17 h 187"/>
                <a:gd name="T2" fmla="*/ 91 w 159"/>
                <a:gd name="T3" fmla="*/ 101 h 187"/>
                <a:gd name="T4" fmla="*/ 139 w 159"/>
                <a:gd name="T5" fmla="*/ 28 h 187"/>
                <a:gd name="T6" fmla="*/ 158 w 159"/>
                <a:gd name="T7" fmla="*/ 39 h 187"/>
                <a:gd name="T8" fmla="*/ 62 w 159"/>
                <a:gd name="T9" fmla="*/ 186 h 187"/>
                <a:gd name="T10" fmla="*/ 40 w 159"/>
                <a:gd name="T11" fmla="*/ 172 h 187"/>
                <a:gd name="T12" fmla="*/ 74 w 159"/>
                <a:gd name="T13" fmla="*/ 79 h 187"/>
                <a:gd name="T14" fmla="*/ 20 w 159"/>
                <a:gd name="T15" fmla="*/ 158 h 187"/>
                <a:gd name="T16" fmla="*/ 0 w 159"/>
                <a:gd name="T17" fmla="*/ 147 h 187"/>
                <a:gd name="T18" fmla="*/ 96 w 159"/>
                <a:gd name="T19" fmla="*/ 0 h 187"/>
                <a:gd name="T20" fmla="*/ 122 w 159"/>
                <a:gd name="T21" fmla="*/ 1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9" h="187">
                  <a:moveTo>
                    <a:pt x="122" y="17"/>
                  </a:moveTo>
                  <a:lnTo>
                    <a:pt x="91" y="101"/>
                  </a:lnTo>
                  <a:lnTo>
                    <a:pt x="139" y="28"/>
                  </a:lnTo>
                  <a:lnTo>
                    <a:pt x="158" y="39"/>
                  </a:lnTo>
                  <a:lnTo>
                    <a:pt x="62" y="186"/>
                  </a:lnTo>
                  <a:lnTo>
                    <a:pt x="40" y="172"/>
                  </a:lnTo>
                  <a:lnTo>
                    <a:pt x="74" y="79"/>
                  </a:lnTo>
                  <a:lnTo>
                    <a:pt x="20" y="158"/>
                  </a:lnTo>
                  <a:lnTo>
                    <a:pt x="0" y="147"/>
                  </a:lnTo>
                  <a:lnTo>
                    <a:pt x="96" y="0"/>
                  </a:lnTo>
                  <a:lnTo>
                    <a:pt x="122" y="17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26" name="Freeform 753"/>
            <p:cNvSpPr>
              <a:spLocks noChangeArrowheads="1"/>
            </p:cNvSpPr>
            <p:nvPr/>
          </p:nvSpPr>
          <p:spPr bwMode="auto">
            <a:xfrm>
              <a:off x="4352925" y="2246313"/>
              <a:ext cx="52388" cy="58737"/>
            </a:xfrm>
            <a:custGeom>
              <a:avLst/>
              <a:gdLst>
                <a:gd name="T0" fmla="*/ 98 w 147"/>
                <a:gd name="T1" fmla="*/ 31 h 165"/>
                <a:gd name="T2" fmla="*/ 84 w 147"/>
                <a:gd name="T3" fmla="*/ 17 h 165"/>
                <a:gd name="T4" fmla="*/ 98 w 147"/>
                <a:gd name="T5" fmla="*/ 0 h 165"/>
                <a:gd name="T6" fmla="*/ 146 w 147"/>
                <a:gd name="T7" fmla="*/ 43 h 165"/>
                <a:gd name="T8" fmla="*/ 132 w 147"/>
                <a:gd name="T9" fmla="*/ 60 h 165"/>
                <a:gd name="T10" fmla="*/ 118 w 147"/>
                <a:gd name="T11" fmla="*/ 46 h 165"/>
                <a:gd name="T12" fmla="*/ 17 w 147"/>
                <a:gd name="T13" fmla="*/ 164 h 165"/>
                <a:gd name="T14" fmla="*/ 0 w 147"/>
                <a:gd name="T15" fmla="*/ 150 h 165"/>
                <a:gd name="T16" fmla="*/ 98 w 147"/>
                <a:gd name="T17" fmla="*/ 3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165">
                  <a:moveTo>
                    <a:pt x="98" y="31"/>
                  </a:moveTo>
                  <a:lnTo>
                    <a:pt x="84" y="17"/>
                  </a:lnTo>
                  <a:lnTo>
                    <a:pt x="98" y="0"/>
                  </a:lnTo>
                  <a:lnTo>
                    <a:pt x="146" y="43"/>
                  </a:lnTo>
                  <a:lnTo>
                    <a:pt x="132" y="60"/>
                  </a:lnTo>
                  <a:lnTo>
                    <a:pt x="118" y="46"/>
                  </a:lnTo>
                  <a:lnTo>
                    <a:pt x="17" y="164"/>
                  </a:lnTo>
                  <a:lnTo>
                    <a:pt x="0" y="150"/>
                  </a:lnTo>
                  <a:lnTo>
                    <a:pt x="98" y="31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27" name="Freeform 754"/>
            <p:cNvSpPr>
              <a:spLocks noChangeArrowheads="1"/>
            </p:cNvSpPr>
            <p:nvPr/>
          </p:nvSpPr>
          <p:spPr bwMode="auto">
            <a:xfrm>
              <a:off x="4381500" y="2282825"/>
              <a:ext cx="58738" cy="57150"/>
            </a:xfrm>
            <a:custGeom>
              <a:avLst/>
              <a:gdLst>
                <a:gd name="T0" fmla="*/ 113 w 164"/>
                <a:gd name="T1" fmla="*/ 6 h 159"/>
                <a:gd name="T2" fmla="*/ 135 w 164"/>
                <a:gd name="T3" fmla="*/ 6 h 159"/>
                <a:gd name="T4" fmla="*/ 158 w 164"/>
                <a:gd name="T5" fmla="*/ 31 h 159"/>
                <a:gd name="T6" fmla="*/ 158 w 164"/>
                <a:gd name="T7" fmla="*/ 54 h 159"/>
                <a:gd name="T8" fmla="*/ 50 w 164"/>
                <a:gd name="T9" fmla="*/ 152 h 159"/>
                <a:gd name="T10" fmla="*/ 28 w 164"/>
                <a:gd name="T11" fmla="*/ 152 h 159"/>
                <a:gd name="T12" fmla="*/ 5 w 164"/>
                <a:gd name="T13" fmla="*/ 127 h 159"/>
                <a:gd name="T14" fmla="*/ 5 w 164"/>
                <a:gd name="T15" fmla="*/ 104 h 159"/>
                <a:gd name="T16" fmla="*/ 113 w 164"/>
                <a:gd name="T17" fmla="*/ 6 h 159"/>
                <a:gd name="T18" fmla="*/ 135 w 164"/>
                <a:gd name="T19" fmla="*/ 42 h 159"/>
                <a:gd name="T20" fmla="*/ 121 w 164"/>
                <a:gd name="T21" fmla="*/ 28 h 159"/>
                <a:gd name="T22" fmla="*/ 25 w 164"/>
                <a:gd name="T23" fmla="*/ 118 h 159"/>
                <a:gd name="T24" fmla="*/ 39 w 164"/>
                <a:gd name="T25" fmla="*/ 133 h 159"/>
                <a:gd name="T26" fmla="*/ 135 w 164"/>
                <a:gd name="T27" fmla="*/ 4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4" h="159">
                  <a:moveTo>
                    <a:pt x="113" y="6"/>
                  </a:moveTo>
                  <a:cubicBezTo>
                    <a:pt x="118" y="0"/>
                    <a:pt x="129" y="0"/>
                    <a:pt x="135" y="6"/>
                  </a:cubicBezTo>
                  <a:lnTo>
                    <a:pt x="158" y="31"/>
                  </a:lnTo>
                  <a:cubicBezTo>
                    <a:pt x="163" y="37"/>
                    <a:pt x="163" y="48"/>
                    <a:pt x="158" y="54"/>
                  </a:cubicBezTo>
                  <a:lnTo>
                    <a:pt x="50" y="152"/>
                  </a:lnTo>
                  <a:cubicBezTo>
                    <a:pt x="45" y="158"/>
                    <a:pt x="34" y="158"/>
                    <a:pt x="28" y="152"/>
                  </a:cubicBezTo>
                  <a:lnTo>
                    <a:pt x="5" y="127"/>
                  </a:lnTo>
                  <a:cubicBezTo>
                    <a:pt x="0" y="121"/>
                    <a:pt x="0" y="113"/>
                    <a:pt x="5" y="104"/>
                  </a:cubicBezTo>
                  <a:lnTo>
                    <a:pt x="113" y="6"/>
                  </a:lnTo>
                  <a:close/>
                  <a:moveTo>
                    <a:pt x="135" y="42"/>
                  </a:moveTo>
                  <a:lnTo>
                    <a:pt x="121" y="28"/>
                  </a:lnTo>
                  <a:lnTo>
                    <a:pt x="25" y="118"/>
                  </a:lnTo>
                  <a:lnTo>
                    <a:pt x="39" y="133"/>
                  </a:lnTo>
                  <a:lnTo>
                    <a:pt x="135" y="42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28" name="Freeform 755"/>
            <p:cNvSpPr>
              <a:spLocks noChangeArrowheads="1"/>
            </p:cNvSpPr>
            <p:nvPr/>
          </p:nvSpPr>
          <p:spPr bwMode="auto">
            <a:xfrm>
              <a:off x="3722688" y="2463800"/>
              <a:ext cx="19050" cy="19050"/>
            </a:xfrm>
            <a:custGeom>
              <a:avLst/>
              <a:gdLst>
                <a:gd name="T0" fmla="*/ 51 w 52"/>
                <a:gd name="T1" fmla="*/ 25 h 52"/>
                <a:gd name="T2" fmla="*/ 48 w 52"/>
                <a:gd name="T3" fmla="*/ 38 h 52"/>
                <a:gd name="T4" fmla="*/ 38 w 52"/>
                <a:gd name="T5" fmla="*/ 47 h 52"/>
                <a:gd name="T6" fmla="*/ 26 w 52"/>
                <a:gd name="T7" fmla="*/ 51 h 52"/>
                <a:gd name="T8" fmla="*/ 13 w 52"/>
                <a:gd name="T9" fmla="*/ 47 h 52"/>
                <a:gd name="T10" fmla="*/ 4 w 52"/>
                <a:gd name="T11" fmla="*/ 38 h 52"/>
                <a:gd name="T12" fmla="*/ 0 w 52"/>
                <a:gd name="T13" fmla="*/ 25 h 52"/>
                <a:gd name="T14" fmla="*/ 4 w 52"/>
                <a:gd name="T15" fmla="*/ 13 h 52"/>
                <a:gd name="T16" fmla="*/ 13 w 52"/>
                <a:gd name="T17" fmla="*/ 3 h 52"/>
                <a:gd name="T18" fmla="*/ 26 w 52"/>
                <a:gd name="T19" fmla="*/ 0 h 52"/>
                <a:gd name="T20" fmla="*/ 38 w 52"/>
                <a:gd name="T21" fmla="*/ 3 h 52"/>
                <a:gd name="T22" fmla="*/ 48 w 52"/>
                <a:gd name="T23" fmla="*/ 13 h 52"/>
                <a:gd name="T24" fmla="*/ 51 w 52"/>
                <a:gd name="T25" fmla="*/ 2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52">
                  <a:moveTo>
                    <a:pt x="51" y="25"/>
                  </a:moveTo>
                  <a:cubicBezTo>
                    <a:pt x="51" y="30"/>
                    <a:pt x="50" y="34"/>
                    <a:pt x="48" y="38"/>
                  </a:cubicBezTo>
                  <a:cubicBezTo>
                    <a:pt x="45" y="42"/>
                    <a:pt x="42" y="44"/>
                    <a:pt x="38" y="47"/>
                  </a:cubicBezTo>
                  <a:cubicBezTo>
                    <a:pt x="34" y="49"/>
                    <a:pt x="30" y="51"/>
                    <a:pt x="26" y="51"/>
                  </a:cubicBezTo>
                  <a:cubicBezTo>
                    <a:pt x="21" y="51"/>
                    <a:pt x="17" y="49"/>
                    <a:pt x="13" y="47"/>
                  </a:cubicBezTo>
                  <a:cubicBezTo>
                    <a:pt x="9" y="44"/>
                    <a:pt x="6" y="42"/>
                    <a:pt x="4" y="38"/>
                  </a:cubicBezTo>
                  <a:cubicBezTo>
                    <a:pt x="1" y="34"/>
                    <a:pt x="0" y="29"/>
                    <a:pt x="0" y="25"/>
                  </a:cubicBezTo>
                  <a:cubicBezTo>
                    <a:pt x="0" y="20"/>
                    <a:pt x="1" y="17"/>
                    <a:pt x="4" y="13"/>
                  </a:cubicBezTo>
                  <a:cubicBezTo>
                    <a:pt x="6" y="9"/>
                    <a:pt x="9" y="5"/>
                    <a:pt x="13" y="3"/>
                  </a:cubicBezTo>
                  <a:cubicBezTo>
                    <a:pt x="17" y="0"/>
                    <a:pt x="21" y="0"/>
                    <a:pt x="26" y="0"/>
                  </a:cubicBezTo>
                  <a:cubicBezTo>
                    <a:pt x="30" y="0"/>
                    <a:pt x="34" y="0"/>
                    <a:pt x="38" y="3"/>
                  </a:cubicBezTo>
                  <a:cubicBezTo>
                    <a:pt x="42" y="5"/>
                    <a:pt x="45" y="9"/>
                    <a:pt x="48" y="13"/>
                  </a:cubicBezTo>
                  <a:cubicBezTo>
                    <a:pt x="50" y="17"/>
                    <a:pt x="51" y="21"/>
                    <a:pt x="51" y="2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29" name="Freeform 756"/>
            <p:cNvSpPr>
              <a:spLocks noChangeArrowheads="1"/>
            </p:cNvSpPr>
            <p:nvPr/>
          </p:nvSpPr>
          <p:spPr bwMode="auto">
            <a:xfrm>
              <a:off x="4445000" y="2336800"/>
              <a:ext cx="19050" cy="19050"/>
            </a:xfrm>
            <a:custGeom>
              <a:avLst/>
              <a:gdLst>
                <a:gd name="T0" fmla="*/ 51 w 52"/>
                <a:gd name="T1" fmla="*/ 26 h 52"/>
                <a:gd name="T2" fmla="*/ 48 w 52"/>
                <a:gd name="T3" fmla="*/ 39 h 52"/>
                <a:gd name="T4" fmla="*/ 39 w 52"/>
                <a:gd name="T5" fmla="*/ 48 h 52"/>
                <a:gd name="T6" fmla="*/ 26 w 52"/>
                <a:gd name="T7" fmla="*/ 51 h 52"/>
                <a:gd name="T8" fmla="*/ 13 w 52"/>
                <a:gd name="T9" fmla="*/ 48 h 52"/>
                <a:gd name="T10" fmla="*/ 4 w 52"/>
                <a:gd name="T11" fmla="*/ 39 h 52"/>
                <a:gd name="T12" fmla="*/ 0 w 52"/>
                <a:gd name="T13" fmla="*/ 26 h 52"/>
                <a:gd name="T14" fmla="*/ 4 w 52"/>
                <a:gd name="T15" fmla="*/ 13 h 52"/>
                <a:gd name="T16" fmla="*/ 13 w 52"/>
                <a:gd name="T17" fmla="*/ 4 h 52"/>
                <a:gd name="T18" fmla="*/ 26 w 52"/>
                <a:gd name="T19" fmla="*/ 0 h 52"/>
                <a:gd name="T20" fmla="*/ 39 w 52"/>
                <a:gd name="T21" fmla="*/ 4 h 52"/>
                <a:gd name="T22" fmla="*/ 48 w 52"/>
                <a:gd name="T23" fmla="*/ 13 h 52"/>
                <a:gd name="T24" fmla="*/ 51 w 52"/>
                <a:gd name="T25" fmla="*/ 2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52">
                  <a:moveTo>
                    <a:pt x="51" y="26"/>
                  </a:moveTo>
                  <a:cubicBezTo>
                    <a:pt x="51" y="30"/>
                    <a:pt x="51" y="34"/>
                    <a:pt x="48" y="39"/>
                  </a:cubicBezTo>
                  <a:cubicBezTo>
                    <a:pt x="46" y="43"/>
                    <a:pt x="44" y="45"/>
                    <a:pt x="39" y="48"/>
                  </a:cubicBezTo>
                  <a:cubicBezTo>
                    <a:pt x="35" y="50"/>
                    <a:pt x="31" y="51"/>
                    <a:pt x="26" y="51"/>
                  </a:cubicBezTo>
                  <a:cubicBezTo>
                    <a:pt x="22" y="51"/>
                    <a:pt x="17" y="50"/>
                    <a:pt x="13" y="48"/>
                  </a:cubicBezTo>
                  <a:cubicBezTo>
                    <a:pt x="9" y="45"/>
                    <a:pt x="7" y="43"/>
                    <a:pt x="4" y="39"/>
                  </a:cubicBezTo>
                  <a:cubicBezTo>
                    <a:pt x="2" y="34"/>
                    <a:pt x="0" y="30"/>
                    <a:pt x="0" y="26"/>
                  </a:cubicBezTo>
                  <a:cubicBezTo>
                    <a:pt x="0" y="21"/>
                    <a:pt x="2" y="17"/>
                    <a:pt x="4" y="13"/>
                  </a:cubicBezTo>
                  <a:cubicBezTo>
                    <a:pt x="7" y="9"/>
                    <a:pt x="9" y="6"/>
                    <a:pt x="13" y="4"/>
                  </a:cubicBezTo>
                  <a:cubicBezTo>
                    <a:pt x="17" y="1"/>
                    <a:pt x="21" y="0"/>
                    <a:pt x="26" y="0"/>
                  </a:cubicBezTo>
                  <a:cubicBezTo>
                    <a:pt x="30" y="0"/>
                    <a:pt x="35" y="1"/>
                    <a:pt x="39" y="4"/>
                  </a:cubicBezTo>
                  <a:cubicBezTo>
                    <a:pt x="44" y="6"/>
                    <a:pt x="46" y="9"/>
                    <a:pt x="48" y="13"/>
                  </a:cubicBezTo>
                  <a:cubicBezTo>
                    <a:pt x="51" y="17"/>
                    <a:pt x="51" y="21"/>
                    <a:pt x="51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30" name="Freeform 757"/>
            <p:cNvSpPr>
              <a:spLocks noChangeArrowheads="1"/>
            </p:cNvSpPr>
            <p:nvPr/>
          </p:nvSpPr>
          <p:spPr bwMode="auto">
            <a:xfrm>
              <a:off x="3681413" y="2378075"/>
              <a:ext cx="917575" cy="657225"/>
            </a:xfrm>
            <a:custGeom>
              <a:avLst/>
              <a:gdLst>
                <a:gd name="T0" fmla="*/ 1237 w 2550"/>
                <a:gd name="T1" fmla="*/ 1734 h 1825"/>
                <a:gd name="T2" fmla="*/ 90 w 2550"/>
                <a:gd name="T3" fmla="*/ 583 h 1825"/>
                <a:gd name="T4" fmla="*/ 113 w 2550"/>
                <a:gd name="T5" fmla="*/ 361 h 1825"/>
                <a:gd name="T6" fmla="*/ 124 w 2550"/>
                <a:gd name="T7" fmla="*/ 364 h 1825"/>
                <a:gd name="T8" fmla="*/ 1015 w 2550"/>
                <a:gd name="T9" fmla="*/ 1700 h 1825"/>
                <a:gd name="T10" fmla="*/ 2352 w 2550"/>
                <a:gd name="T11" fmla="*/ 809 h 1825"/>
                <a:gd name="T12" fmla="*/ 2214 w 2550"/>
                <a:gd name="T13" fmla="*/ 6 h 1825"/>
                <a:gd name="T14" fmla="*/ 2225 w 2550"/>
                <a:gd name="T15" fmla="*/ 0 h 1825"/>
                <a:gd name="T16" fmla="*/ 1827 w 2550"/>
                <a:gd name="T17" fmla="*/ 1576 h 1825"/>
                <a:gd name="T18" fmla="*/ 1237 w 2550"/>
                <a:gd name="T19" fmla="*/ 173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50" h="1825">
                  <a:moveTo>
                    <a:pt x="1237" y="1734"/>
                  </a:moveTo>
                  <a:cubicBezTo>
                    <a:pt x="604" y="1734"/>
                    <a:pt x="87" y="1218"/>
                    <a:pt x="90" y="583"/>
                  </a:cubicBezTo>
                  <a:cubicBezTo>
                    <a:pt x="90" y="508"/>
                    <a:pt x="98" y="435"/>
                    <a:pt x="113" y="361"/>
                  </a:cubicBezTo>
                  <a:lnTo>
                    <a:pt x="124" y="364"/>
                  </a:lnTo>
                  <a:cubicBezTo>
                    <a:pt x="0" y="978"/>
                    <a:pt x="399" y="1576"/>
                    <a:pt x="1015" y="1700"/>
                  </a:cubicBezTo>
                  <a:cubicBezTo>
                    <a:pt x="1630" y="1824"/>
                    <a:pt x="2228" y="1424"/>
                    <a:pt x="2352" y="809"/>
                  </a:cubicBezTo>
                  <a:cubicBezTo>
                    <a:pt x="2408" y="533"/>
                    <a:pt x="2358" y="246"/>
                    <a:pt x="2214" y="6"/>
                  </a:cubicBezTo>
                  <a:lnTo>
                    <a:pt x="2225" y="0"/>
                  </a:lnTo>
                  <a:cubicBezTo>
                    <a:pt x="2549" y="545"/>
                    <a:pt x="2372" y="1249"/>
                    <a:pt x="1827" y="1576"/>
                  </a:cubicBezTo>
                  <a:cubicBezTo>
                    <a:pt x="1647" y="1678"/>
                    <a:pt x="1443" y="1734"/>
                    <a:pt x="1237" y="173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31" name="Freeform 758"/>
            <p:cNvSpPr>
              <a:spLocks noChangeArrowheads="1"/>
            </p:cNvSpPr>
            <p:nvPr/>
          </p:nvSpPr>
          <p:spPr bwMode="auto">
            <a:xfrm>
              <a:off x="4046538" y="2782888"/>
              <a:ext cx="55562" cy="120650"/>
            </a:xfrm>
            <a:custGeom>
              <a:avLst/>
              <a:gdLst>
                <a:gd name="T0" fmla="*/ 0 w 154"/>
                <a:gd name="T1" fmla="*/ 8 h 336"/>
                <a:gd name="T2" fmla="*/ 43 w 154"/>
                <a:gd name="T3" fmla="*/ 0 h 336"/>
                <a:gd name="T4" fmla="*/ 93 w 154"/>
                <a:gd name="T5" fmla="*/ 285 h 336"/>
                <a:gd name="T6" fmla="*/ 144 w 154"/>
                <a:gd name="T7" fmla="*/ 276 h 336"/>
                <a:gd name="T8" fmla="*/ 153 w 154"/>
                <a:gd name="T9" fmla="*/ 319 h 336"/>
                <a:gd name="T10" fmla="*/ 60 w 154"/>
                <a:gd name="T11" fmla="*/ 335 h 336"/>
                <a:gd name="T12" fmla="*/ 0 w 154"/>
                <a:gd name="T13" fmla="*/ 8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" h="336">
                  <a:moveTo>
                    <a:pt x="0" y="8"/>
                  </a:moveTo>
                  <a:lnTo>
                    <a:pt x="43" y="0"/>
                  </a:lnTo>
                  <a:lnTo>
                    <a:pt x="93" y="285"/>
                  </a:lnTo>
                  <a:lnTo>
                    <a:pt x="144" y="276"/>
                  </a:lnTo>
                  <a:lnTo>
                    <a:pt x="153" y="319"/>
                  </a:lnTo>
                  <a:lnTo>
                    <a:pt x="60" y="335"/>
                  </a:lnTo>
                  <a:lnTo>
                    <a:pt x="0" y="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32" name="Freeform 759"/>
            <p:cNvSpPr>
              <a:spLocks noChangeArrowheads="1"/>
            </p:cNvSpPr>
            <p:nvPr/>
          </p:nvSpPr>
          <p:spPr bwMode="auto">
            <a:xfrm>
              <a:off x="4111625" y="2768600"/>
              <a:ext cx="60325" cy="125413"/>
            </a:xfrm>
            <a:custGeom>
              <a:avLst/>
              <a:gdLst>
                <a:gd name="T0" fmla="*/ 106 w 169"/>
                <a:gd name="T1" fmla="*/ 265 h 348"/>
                <a:gd name="T2" fmla="*/ 58 w 169"/>
                <a:gd name="T3" fmla="*/ 274 h 348"/>
                <a:gd name="T4" fmla="*/ 64 w 169"/>
                <a:gd name="T5" fmla="*/ 339 h 348"/>
                <a:gd name="T6" fmla="*/ 23 w 169"/>
                <a:gd name="T7" fmla="*/ 347 h 348"/>
                <a:gd name="T8" fmla="*/ 0 w 169"/>
                <a:gd name="T9" fmla="*/ 14 h 348"/>
                <a:gd name="T10" fmla="*/ 75 w 169"/>
                <a:gd name="T11" fmla="*/ 0 h 348"/>
                <a:gd name="T12" fmla="*/ 168 w 169"/>
                <a:gd name="T13" fmla="*/ 322 h 348"/>
                <a:gd name="T14" fmla="*/ 123 w 169"/>
                <a:gd name="T15" fmla="*/ 327 h 348"/>
                <a:gd name="T16" fmla="*/ 106 w 169"/>
                <a:gd name="T17" fmla="*/ 265 h 348"/>
                <a:gd name="T18" fmla="*/ 56 w 169"/>
                <a:gd name="T19" fmla="*/ 231 h 348"/>
                <a:gd name="T20" fmla="*/ 92 w 169"/>
                <a:gd name="T21" fmla="*/ 226 h 348"/>
                <a:gd name="T22" fmla="*/ 41 w 169"/>
                <a:gd name="T23" fmla="*/ 51 h 348"/>
                <a:gd name="T24" fmla="*/ 56 w 169"/>
                <a:gd name="T25" fmla="*/ 231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" h="348">
                  <a:moveTo>
                    <a:pt x="106" y="265"/>
                  </a:moveTo>
                  <a:lnTo>
                    <a:pt x="58" y="274"/>
                  </a:lnTo>
                  <a:lnTo>
                    <a:pt x="64" y="339"/>
                  </a:lnTo>
                  <a:lnTo>
                    <a:pt x="23" y="347"/>
                  </a:lnTo>
                  <a:lnTo>
                    <a:pt x="0" y="14"/>
                  </a:lnTo>
                  <a:lnTo>
                    <a:pt x="75" y="0"/>
                  </a:lnTo>
                  <a:lnTo>
                    <a:pt x="168" y="322"/>
                  </a:lnTo>
                  <a:lnTo>
                    <a:pt x="123" y="327"/>
                  </a:lnTo>
                  <a:lnTo>
                    <a:pt x="106" y="265"/>
                  </a:lnTo>
                  <a:close/>
                  <a:moveTo>
                    <a:pt x="56" y="231"/>
                  </a:moveTo>
                  <a:lnTo>
                    <a:pt x="92" y="226"/>
                  </a:lnTo>
                  <a:lnTo>
                    <a:pt x="41" y="51"/>
                  </a:lnTo>
                  <a:lnTo>
                    <a:pt x="56" y="231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33" name="Freeform 760"/>
            <p:cNvSpPr>
              <a:spLocks noChangeArrowheads="1"/>
            </p:cNvSpPr>
            <p:nvPr/>
          </p:nvSpPr>
          <p:spPr bwMode="auto">
            <a:xfrm>
              <a:off x="4171950" y="2757488"/>
              <a:ext cx="65088" cy="123825"/>
            </a:xfrm>
            <a:custGeom>
              <a:avLst/>
              <a:gdLst>
                <a:gd name="T0" fmla="*/ 0 w 179"/>
                <a:gd name="T1" fmla="*/ 17 h 345"/>
                <a:gd name="T2" fmla="*/ 88 w 179"/>
                <a:gd name="T3" fmla="*/ 3 h 345"/>
                <a:gd name="T4" fmla="*/ 122 w 179"/>
                <a:gd name="T5" fmla="*/ 26 h 345"/>
                <a:gd name="T6" fmla="*/ 141 w 179"/>
                <a:gd name="T7" fmla="*/ 130 h 345"/>
                <a:gd name="T8" fmla="*/ 130 w 179"/>
                <a:gd name="T9" fmla="*/ 155 h 345"/>
                <a:gd name="T10" fmla="*/ 156 w 179"/>
                <a:gd name="T11" fmla="*/ 181 h 345"/>
                <a:gd name="T12" fmla="*/ 175 w 179"/>
                <a:gd name="T13" fmla="*/ 296 h 345"/>
                <a:gd name="T14" fmla="*/ 153 w 179"/>
                <a:gd name="T15" fmla="*/ 330 h 345"/>
                <a:gd name="T16" fmla="*/ 57 w 179"/>
                <a:gd name="T17" fmla="*/ 344 h 345"/>
                <a:gd name="T18" fmla="*/ 0 w 179"/>
                <a:gd name="T19" fmla="*/ 17 h 345"/>
                <a:gd name="T20" fmla="*/ 65 w 179"/>
                <a:gd name="T21" fmla="*/ 147 h 345"/>
                <a:gd name="T22" fmla="*/ 96 w 179"/>
                <a:gd name="T23" fmla="*/ 141 h 345"/>
                <a:gd name="T24" fmla="*/ 79 w 179"/>
                <a:gd name="T25" fmla="*/ 45 h 345"/>
                <a:gd name="T26" fmla="*/ 48 w 179"/>
                <a:gd name="T27" fmla="*/ 51 h 345"/>
                <a:gd name="T28" fmla="*/ 65 w 179"/>
                <a:gd name="T29" fmla="*/ 147 h 345"/>
                <a:gd name="T30" fmla="*/ 127 w 179"/>
                <a:gd name="T31" fmla="*/ 288 h 345"/>
                <a:gd name="T32" fmla="*/ 108 w 179"/>
                <a:gd name="T33" fmla="*/ 184 h 345"/>
                <a:gd name="T34" fmla="*/ 71 w 179"/>
                <a:gd name="T35" fmla="*/ 189 h 345"/>
                <a:gd name="T36" fmla="*/ 91 w 179"/>
                <a:gd name="T37" fmla="*/ 294 h 345"/>
                <a:gd name="T38" fmla="*/ 127 w 179"/>
                <a:gd name="T39" fmla="*/ 288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9" h="345">
                  <a:moveTo>
                    <a:pt x="0" y="17"/>
                  </a:moveTo>
                  <a:lnTo>
                    <a:pt x="88" y="3"/>
                  </a:lnTo>
                  <a:cubicBezTo>
                    <a:pt x="102" y="0"/>
                    <a:pt x="119" y="12"/>
                    <a:pt x="122" y="26"/>
                  </a:cubicBezTo>
                  <a:lnTo>
                    <a:pt x="141" y="130"/>
                  </a:lnTo>
                  <a:cubicBezTo>
                    <a:pt x="144" y="141"/>
                    <a:pt x="139" y="150"/>
                    <a:pt x="130" y="155"/>
                  </a:cubicBezTo>
                  <a:cubicBezTo>
                    <a:pt x="144" y="158"/>
                    <a:pt x="153" y="167"/>
                    <a:pt x="156" y="181"/>
                  </a:cubicBezTo>
                  <a:cubicBezTo>
                    <a:pt x="158" y="192"/>
                    <a:pt x="175" y="288"/>
                    <a:pt x="175" y="296"/>
                  </a:cubicBezTo>
                  <a:cubicBezTo>
                    <a:pt x="178" y="311"/>
                    <a:pt x="167" y="327"/>
                    <a:pt x="153" y="330"/>
                  </a:cubicBezTo>
                  <a:lnTo>
                    <a:pt x="57" y="344"/>
                  </a:lnTo>
                  <a:lnTo>
                    <a:pt x="0" y="17"/>
                  </a:lnTo>
                  <a:close/>
                  <a:moveTo>
                    <a:pt x="65" y="147"/>
                  </a:moveTo>
                  <a:lnTo>
                    <a:pt x="96" y="141"/>
                  </a:lnTo>
                  <a:lnTo>
                    <a:pt x="79" y="45"/>
                  </a:lnTo>
                  <a:lnTo>
                    <a:pt x="48" y="51"/>
                  </a:lnTo>
                  <a:lnTo>
                    <a:pt x="65" y="147"/>
                  </a:lnTo>
                  <a:close/>
                  <a:moveTo>
                    <a:pt x="127" y="288"/>
                  </a:moveTo>
                  <a:lnTo>
                    <a:pt x="108" y="184"/>
                  </a:lnTo>
                  <a:lnTo>
                    <a:pt x="71" y="189"/>
                  </a:lnTo>
                  <a:lnTo>
                    <a:pt x="91" y="294"/>
                  </a:lnTo>
                  <a:lnTo>
                    <a:pt x="127" y="288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34" name="Freeform 761"/>
            <p:cNvSpPr>
              <a:spLocks noChangeArrowheads="1"/>
            </p:cNvSpPr>
            <p:nvPr/>
          </p:nvSpPr>
          <p:spPr bwMode="auto">
            <a:xfrm>
              <a:off x="4240213" y="2743200"/>
              <a:ext cx="63500" cy="125413"/>
            </a:xfrm>
            <a:custGeom>
              <a:avLst/>
              <a:gdLst>
                <a:gd name="T0" fmla="*/ 82 w 176"/>
                <a:gd name="T1" fmla="*/ 242 h 348"/>
                <a:gd name="T2" fmla="*/ 93 w 176"/>
                <a:gd name="T3" fmla="*/ 299 h 348"/>
                <a:gd name="T4" fmla="*/ 130 w 176"/>
                <a:gd name="T5" fmla="*/ 293 h 348"/>
                <a:gd name="T6" fmla="*/ 110 w 176"/>
                <a:gd name="T7" fmla="*/ 186 h 348"/>
                <a:gd name="T8" fmla="*/ 60 w 176"/>
                <a:gd name="T9" fmla="*/ 194 h 348"/>
                <a:gd name="T10" fmla="*/ 26 w 176"/>
                <a:gd name="T11" fmla="*/ 172 h 348"/>
                <a:gd name="T12" fmla="*/ 3 w 176"/>
                <a:gd name="T13" fmla="*/ 48 h 348"/>
                <a:gd name="T14" fmla="*/ 23 w 176"/>
                <a:gd name="T15" fmla="*/ 14 h 348"/>
                <a:gd name="T16" fmla="*/ 26 w 176"/>
                <a:gd name="T17" fmla="*/ 14 h 348"/>
                <a:gd name="T18" fmla="*/ 91 w 176"/>
                <a:gd name="T19" fmla="*/ 3 h 348"/>
                <a:gd name="T20" fmla="*/ 124 w 176"/>
                <a:gd name="T21" fmla="*/ 25 h 348"/>
                <a:gd name="T22" fmla="*/ 124 w 176"/>
                <a:gd name="T23" fmla="*/ 25 h 348"/>
                <a:gd name="T24" fmla="*/ 136 w 176"/>
                <a:gd name="T25" fmla="*/ 93 h 348"/>
                <a:gd name="T26" fmla="*/ 93 w 176"/>
                <a:gd name="T27" fmla="*/ 101 h 348"/>
                <a:gd name="T28" fmla="*/ 85 w 176"/>
                <a:gd name="T29" fmla="*/ 48 h 348"/>
                <a:gd name="T30" fmla="*/ 48 w 176"/>
                <a:gd name="T31" fmla="*/ 53 h 348"/>
                <a:gd name="T32" fmla="*/ 65 w 176"/>
                <a:gd name="T33" fmla="*/ 149 h 348"/>
                <a:gd name="T34" fmla="*/ 116 w 176"/>
                <a:gd name="T35" fmla="*/ 141 h 348"/>
                <a:gd name="T36" fmla="*/ 150 w 176"/>
                <a:gd name="T37" fmla="*/ 163 h 348"/>
                <a:gd name="T38" fmla="*/ 172 w 176"/>
                <a:gd name="T39" fmla="*/ 299 h 348"/>
                <a:gd name="T40" fmla="*/ 150 w 176"/>
                <a:gd name="T41" fmla="*/ 333 h 348"/>
                <a:gd name="T42" fmla="*/ 85 w 176"/>
                <a:gd name="T43" fmla="*/ 344 h 348"/>
                <a:gd name="T44" fmla="*/ 51 w 176"/>
                <a:gd name="T45" fmla="*/ 321 h 348"/>
                <a:gd name="T46" fmla="*/ 40 w 176"/>
                <a:gd name="T47" fmla="*/ 251 h 348"/>
                <a:gd name="T48" fmla="*/ 82 w 176"/>
                <a:gd name="T49" fmla="*/ 242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6" h="348">
                  <a:moveTo>
                    <a:pt x="82" y="242"/>
                  </a:moveTo>
                  <a:lnTo>
                    <a:pt x="93" y="299"/>
                  </a:lnTo>
                  <a:lnTo>
                    <a:pt x="130" y="293"/>
                  </a:lnTo>
                  <a:lnTo>
                    <a:pt x="110" y="186"/>
                  </a:lnTo>
                  <a:lnTo>
                    <a:pt x="60" y="194"/>
                  </a:lnTo>
                  <a:cubicBezTo>
                    <a:pt x="45" y="197"/>
                    <a:pt x="28" y="186"/>
                    <a:pt x="26" y="172"/>
                  </a:cubicBezTo>
                  <a:lnTo>
                    <a:pt x="3" y="48"/>
                  </a:lnTo>
                  <a:cubicBezTo>
                    <a:pt x="0" y="34"/>
                    <a:pt x="9" y="20"/>
                    <a:pt x="23" y="14"/>
                  </a:cubicBezTo>
                  <a:lnTo>
                    <a:pt x="26" y="14"/>
                  </a:lnTo>
                  <a:lnTo>
                    <a:pt x="91" y="3"/>
                  </a:lnTo>
                  <a:cubicBezTo>
                    <a:pt x="105" y="0"/>
                    <a:pt x="122" y="8"/>
                    <a:pt x="124" y="25"/>
                  </a:cubicBezTo>
                  <a:lnTo>
                    <a:pt x="124" y="25"/>
                  </a:lnTo>
                  <a:lnTo>
                    <a:pt x="136" y="93"/>
                  </a:lnTo>
                  <a:lnTo>
                    <a:pt x="93" y="101"/>
                  </a:lnTo>
                  <a:lnTo>
                    <a:pt x="85" y="48"/>
                  </a:lnTo>
                  <a:lnTo>
                    <a:pt x="48" y="53"/>
                  </a:lnTo>
                  <a:lnTo>
                    <a:pt x="65" y="149"/>
                  </a:lnTo>
                  <a:lnTo>
                    <a:pt x="116" y="141"/>
                  </a:lnTo>
                  <a:cubicBezTo>
                    <a:pt x="133" y="138"/>
                    <a:pt x="147" y="149"/>
                    <a:pt x="150" y="163"/>
                  </a:cubicBezTo>
                  <a:lnTo>
                    <a:pt x="172" y="299"/>
                  </a:lnTo>
                  <a:cubicBezTo>
                    <a:pt x="175" y="313"/>
                    <a:pt x="164" y="330"/>
                    <a:pt x="150" y="333"/>
                  </a:cubicBezTo>
                  <a:lnTo>
                    <a:pt x="85" y="344"/>
                  </a:lnTo>
                  <a:cubicBezTo>
                    <a:pt x="71" y="347"/>
                    <a:pt x="54" y="335"/>
                    <a:pt x="51" y="321"/>
                  </a:cubicBezTo>
                  <a:lnTo>
                    <a:pt x="40" y="251"/>
                  </a:lnTo>
                  <a:lnTo>
                    <a:pt x="82" y="24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35" name="Freeform 762"/>
            <p:cNvSpPr>
              <a:spLocks noChangeArrowheads="1"/>
            </p:cNvSpPr>
            <p:nvPr/>
          </p:nvSpPr>
          <p:spPr bwMode="auto">
            <a:xfrm>
              <a:off x="4175125" y="2817813"/>
              <a:ext cx="1588" cy="3175"/>
            </a:xfrm>
            <a:custGeom>
              <a:avLst/>
              <a:gdLst>
                <a:gd name="T0" fmla="*/ 3 w 6"/>
                <a:gd name="T1" fmla="*/ 6 h 7"/>
                <a:gd name="T2" fmla="*/ 5 w 6"/>
                <a:gd name="T3" fmla="*/ 0 h 7"/>
                <a:gd name="T4" fmla="*/ 3 w 6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5" y="6"/>
                    <a:pt x="5" y="3"/>
                    <a:pt x="5" y="0"/>
                  </a:cubicBezTo>
                  <a:cubicBezTo>
                    <a:pt x="5" y="0"/>
                    <a:pt x="0" y="3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36" name="Freeform 763"/>
            <p:cNvSpPr>
              <a:spLocks noChangeArrowheads="1"/>
            </p:cNvSpPr>
            <p:nvPr/>
          </p:nvSpPr>
          <p:spPr bwMode="auto">
            <a:xfrm>
              <a:off x="4189413" y="2830513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6 h 7"/>
                <a:gd name="T4" fmla="*/ 6 w 7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3" y="6"/>
                    <a:pt x="6" y="3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37" name="Freeform 764"/>
            <p:cNvSpPr>
              <a:spLocks noChangeArrowheads="1"/>
            </p:cNvSpPr>
            <p:nvPr/>
          </p:nvSpPr>
          <p:spPr bwMode="auto">
            <a:xfrm>
              <a:off x="4195763" y="2828925"/>
              <a:ext cx="3175" cy="3175"/>
            </a:xfrm>
            <a:custGeom>
              <a:avLst/>
              <a:gdLst>
                <a:gd name="T0" fmla="*/ 3 w 10"/>
                <a:gd name="T1" fmla="*/ 8 h 9"/>
                <a:gd name="T2" fmla="*/ 9 w 10"/>
                <a:gd name="T3" fmla="*/ 5 h 9"/>
                <a:gd name="T4" fmla="*/ 3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3" y="8"/>
                  </a:moveTo>
                  <a:cubicBezTo>
                    <a:pt x="6" y="8"/>
                    <a:pt x="6" y="8"/>
                    <a:pt x="9" y="5"/>
                  </a:cubicBezTo>
                  <a:cubicBezTo>
                    <a:pt x="6" y="0"/>
                    <a:pt x="0" y="5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38" name="Freeform 765"/>
            <p:cNvSpPr>
              <a:spLocks noChangeArrowheads="1"/>
            </p:cNvSpPr>
            <p:nvPr/>
          </p:nvSpPr>
          <p:spPr bwMode="auto">
            <a:xfrm>
              <a:off x="4187825" y="2820988"/>
              <a:ext cx="1588" cy="3175"/>
            </a:xfrm>
            <a:custGeom>
              <a:avLst/>
              <a:gdLst>
                <a:gd name="T0" fmla="*/ 3 w 6"/>
                <a:gd name="T1" fmla="*/ 6 h 7"/>
                <a:gd name="T2" fmla="*/ 3 w 6"/>
                <a:gd name="T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5" y="3"/>
                    <a:pt x="0" y="0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39" name="Freeform 766"/>
            <p:cNvSpPr>
              <a:spLocks noChangeArrowheads="1"/>
            </p:cNvSpPr>
            <p:nvPr/>
          </p:nvSpPr>
          <p:spPr bwMode="auto">
            <a:xfrm>
              <a:off x="4178300" y="2808288"/>
              <a:ext cx="3175" cy="1587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cubicBezTo>
                    <a:pt x="6" y="0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40" name="Freeform 767"/>
            <p:cNvSpPr>
              <a:spLocks noChangeArrowheads="1"/>
            </p:cNvSpPr>
            <p:nvPr/>
          </p:nvSpPr>
          <p:spPr bwMode="auto">
            <a:xfrm>
              <a:off x="4159250" y="2778125"/>
              <a:ext cx="3175" cy="1588"/>
            </a:xfrm>
            <a:custGeom>
              <a:avLst/>
              <a:gdLst>
                <a:gd name="T0" fmla="*/ 2 w 9"/>
                <a:gd name="T1" fmla="*/ 5 h 6"/>
                <a:gd name="T2" fmla="*/ 2 w 9"/>
                <a:gd name="T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6">
                  <a:moveTo>
                    <a:pt x="2" y="5"/>
                  </a:moveTo>
                  <a:cubicBezTo>
                    <a:pt x="8" y="2"/>
                    <a:pt x="0" y="0"/>
                    <a:pt x="2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41" name="Freeform 768"/>
            <p:cNvSpPr>
              <a:spLocks noChangeArrowheads="1"/>
            </p:cNvSpPr>
            <p:nvPr/>
          </p:nvSpPr>
          <p:spPr bwMode="auto">
            <a:xfrm>
              <a:off x="4186238" y="2811463"/>
              <a:ext cx="3175" cy="1587"/>
            </a:xfrm>
            <a:custGeom>
              <a:avLst/>
              <a:gdLst>
                <a:gd name="T0" fmla="*/ 3 w 9"/>
                <a:gd name="T1" fmla="*/ 3 h 4"/>
                <a:gd name="T2" fmla="*/ 3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cubicBezTo>
                    <a:pt x="8" y="0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42" name="Freeform 769"/>
            <p:cNvSpPr>
              <a:spLocks noChangeArrowheads="1"/>
            </p:cNvSpPr>
            <p:nvPr/>
          </p:nvSpPr>
          <p:spPr bwMode="auto">
            <a:xfrm>
              <a:off x="4187825" y="2808288"/>
              <a:ext cx="1588" cy="3175"/>
            </a:xfrm>
            <a:custGeom>
              <a:avLst/>
              <a:gdLst>
                <a:gd name="T0" fmla="*/ 3 w 6"/>
                <a:gd name="T1" fmla="*/ 0 h 7"/>
                <a:gd name="T2" fmla="*/ 0 w 6"/>
                <a:gd name="T3" fmla="*/ 6 h 7"/>
                <a:gd name="T4" fmla="*/ 3 w 6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3" y="3"/>
                    <a:pt x="5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43" name="Freeform 770"/>
            <p:cNvSpPr>
              <a:spLocks noChangeArrowheads="1"/>
            </p:cNvSpPr>
            <p:nvPr/>
          </p:nvSpPr>
          <p:spPr bwMode="auto">
            <a:xfrm>
              <a:off x="4187825" y="2754313"/>
              <a:ext cx="3175" cy="4762"/>
            </a:xfrm>
            <a:custGeom>
              <a:avLst/>
              <a:gdLst>
                <a:gd name="T0" fmla="*/ 3 w 9"/>
                <a:gd name="T1" fmla="*/ 11 h 12"/>
                <a:gd name="T2" fmla="*/ 3 w 9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3" y="11"/>
                  </a:moveTo>
                  <a:cubicBezTo>
                    <a:pt x="8" y="8"/>
                    <a:pt x="0" y="0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44" name="Freeform 771"/>
            <p:cNvSpPr>
              <a:spLocks noChangeArrowheads="1"/>
            </p:cNvSpPr>
            <p:nvPr/>
          </p:nvSpPr>
          <p:spPr bwMode="auto">
            <a:xfrm>
              <a:off x="4200525" y="2776538"/>
              <a:ext cx="1588" cy="3175"/>
            </a:xfrm>
            <a:custGeom>
              <a:avLst/>
              <a:gdLst>
                <a:gd name="T0" fmla="*/ 0 w 4"/>
                <a:gd name="T1" fmla="*/ 5 h 9"/>
                <a:gd name="T2" fmla="*/ 3 w 4"/>
                <a:gd name="T3" fmla="*/ 8 h 9"/>
                <a:gd name="T4" fmla="*/ 0 w 4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9">
                  <a:moveTo>
                    <a:pt x="0" y="5"/>
                  </a:moveTo>
                  <a:lnTo>
                    <a:pt x="3" y="8"/>
                  </a:lnTo>
                  <a:cubicBezTo>
                    <a:pt x="3" y="5"/>
                    <a:pt x="3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45" name="Freeform 772"/>
            <p:cNvSpPr>
              <a:spLocks noChangeArrowheads="1"/>
            </p:cNvSpPr>
            <p:nvPr/>
          </p:nvSpPr>
          <p:spPr bwMode="auto">
            <a:xfrm>
              <a:off x="4198938" y="2770188"/>
              <a:ext cx="1587" cy="4762"/>
            </a:xfrm>
            <a:custGeom>
              <a:avLst/>
              <a:gdLst>
                <a:gd name="T0" fmla="*/ 0 w 6"/>
                <a:gd name="T1" fmla="*/ 3 h 15"/>
                <a:gd name="T2" fmla="*/ 0 w 6"/>
                <a:gd name="T3" fmla="*/ 14 h 15"/>
                <a:gd name="T4" fmla="*/ 0 w 6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5">
                  <a:moveTo>
                    <a:pt x="0" y="3"/>
                  </a:moveTo>
                  <a:cubicBezTo>
                    <a:pt x="0" y="6"/>
                    <a:pt x="0" y="8"/>
                    <a:pt x="0" y="14"/>
                  </a:cubicBezTo>
                  <a:cubicBezTo>
                    <a:pt x="5" y="8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46" name="Freeform 773"/>
            <p:cNvSpPr>
              <a:spLocks noChangeArrowheads="1"/>
            </p:cNvSpPr>
            <p:nvPr/>
          </p:nvSpPr>
          <p:spPr bwMode="auto">
            <a:xfrm>
              <a:off x="4187825" y="2762250"/>
              <a:ext cx="3175" cy="3175"/>
            </a:xfrm>
            <a:custGeom>
              <a:avLst/>
              <a:gdLst>
                <a:gd name="T0" fmla="*/ 5 w 9"/>
                <a:gd name="T1" fmla="*/ 0 h 10"/>
                <a:gd name="T2" fmla="*/ 8 w 9"/>
                <a:gd name="T3" fmla="*/ 6 h 10"/>
                <a:gd name="T4" fmla="*/ 5 w 9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cubicBezTo>
                    <a:pt x="0" y="0"/>
                    <a:pt x="5" y="9"/>
                    <a:pt x="8" y="6"/>
                  </a:cubicBezTo>
                  <a:cubicBezTo>
                    <a:pt x="5" y="6"/>
                    <a:pt x="8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47" name="Freeform 774"/>
            <p:cNvSpPr>
              <a:spLocks noChangeArrowheads="1"/>
            </p:cNvSpPr>
            <p:nvPr/>
          </p:nvSpPr>
          <p:spPr bwMode="auto">
            <a:xfrm>
              <a:off x="4237038" y="2808288"/>
              <a:ext cx="3175" cy="3175"/>
            </a:xfrm>
            <a:custGeom>
              <a:avLst/>
              <a:gdLst>
                <a:gd name="T0" fmla="*/ 3 w 7"/>
                <a:gd name="T1" fmla="*/ 6 h 7"/>
                <a:gd name="T2" fmla="*/ 3 w 7"/>
                <a:gd name="T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7">
                  <a:moveTo>
                    <a:pt x="3" y="6"/>
                  </a:moveTo>
                  <a:cubicBezTo>
                    <a:pt x="6" y="3"/>
                    <a:pt x="0" y="0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48" name="Freeform 775"/>
            <p:cNvSpPr>
              <a:spLocks noChangeArrowheads="1"/>
            </p:cNvSpPr>
            <p:nvPr/>
          </p:nvSpPr>
          <p:spPr bwMode="auto">
            <a:xfrm>
              <a:off x="4210050" y="2779713"/>
              <a:ext cx="3175" cy="1587"/>
            </a:xfrm>
            <a:custGeom>
              <a:avLst/>
              <a:gdLst>
                <a:gd name="T0" fmla="*/ 2 w 9"/>
                <a:gd name="T1" fmla="*/ 3 h 4"/>
                <a:gd name="T2" fmla="*/ 2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2" y="3"/>
                  </a:moveTo>
                  <a:cubicBezTo>
                    <a:pt x="8" y="0"/>
                    <a:pt x="0" y="0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49" name="Freeform 776"/>
            <p:cNvSpPr>
              <a:spLocks noChangeArrowheads="1"/>
            </p:cNvSpPr>
            <p:nvPr/>
          </p:nvSpPr>
          <p:spPr bwMode="auto">
            <a:xfrm>
              <a:off x="4198938" y="2765425"/>
              <a:ext cx="1587" cy="1588"/>
            </a:xfrm>
            <a:custGeom>
              <a:avLst/>
              <a:gdLst>
                <a:gd name="T0" fmla="*/ 2 w 6"/>
                <a:gd name="T1" fmla="*/ 0 h 6"/>
                <a:gd name="T2" fmla="*/ 0 w 6"/>
                <a:gd name="T3" fmla="*/ 3 h 6"/>
                <a:gd name="T4" fmla="*/ 2 w 6"/>
                <a:gd name="T5" fmla="*/ 5 h 6"/>
                <a:gd name="T6" fmla="*/ 2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0" y="3"/>
                  </a:lnTo>
                  <a:lnTo>
                    <a:pt x="2" y="5"/>
                  </a:lnTo>
                  <a:cubicBezTo>
                    <a:pt x="2" y="3"/>
                    <a:pt x="5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50" name="Freeform 777"/>
            <p:cNvSpPr>
              <a:spLocks noChangeArrowheads="1"/>
            </p:cNvSpPr>
            <p:nvPr/>
          </p:nvSpPr>
          <p:spPr bwMode="auto">
            <a:xfrm>
              <a:off x="4205288" y="2795588"/>
              <a:ext cx="1587" cy="3175"/>
            </a:xfrm>
            <a:custGeom>
              <a:avLst/>
              <a:gdLst>
                <a:gd name="T0" fmla="*/ 2 w 6"/>
                <a:gd name="T1" fmla="*/ 6 h 7"/>
                <a:gd name="T2" fmla="*/ 2 w 6"/>
                <a:gd name="T3" fmla="*/ 0 h 7"/>
                <a:gd name="T4" fmla="*/ 2 w 6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2" y="6"/>
                  </a:moveTo>
                  <a:cubicBezTo>
                    <a:pt x="5" y="3"/>
                    <a:pt x="5" y="3"/>
                    <a:pt x="2" y="0"/>
                  </a:cubicBezTo>
                  <a:cubicBezTo>
                    <a:pt x="2" y="0"/>
                    <a:pt x="0" y="3"/>
                    <a:pt x="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51" name="Freeform 778"/>
            <p:cNvSpPr>
              <a:spLocks noChangeArrowheads="1"/>
            </p:cNvSpPr>
            <p:nvPr/>
          </p:nvSpPr>
          <p:spPr bwMode="auto">
            <a:xfrm>
              <a:off x="4160838" y="2816225"/>
              <a:ext cx="3175" cy="3175"/>
            </a:xfrm>
            <a:custGeom>
              <a:avLst/>
              <a:gdLst>
                <a:gd name="T0" fmla="*/ 0 w 7"/>
                <a:gd name="T1" fmla="*/ 5 h 9"/>
                <a:gd name="T2" fmla="*/ 0 w 7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9">
                  <a:moveTo>
                    <a:pt x="0" y="5"/>
                  </a:moveTo>
                  <a:cubicBezTo>
                    <a:pt x="6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52" name="Freeform 779"/>
            <p:cNvSpPr>
              <a:spLocks noChangeArrowheads="1"/>
            </p:cNvSpPr>
            <p:nvPr/>
          </p:nvSpPr>
          <p:spPr bwMode="auto">
            <a:xfrm>
              <a:off x="4173538" y="2835275"/>
              <a:ext cx="3175" cy="1588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cubicBezTo>
                    <a:pt x="6" y="0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53" name="Freeform 780"/>
            <p:cNvSpPr>
              <a:spLocks noChangeArrowheads="1"/>
            </p:cNvSpPr>
            <p:nvPr/>
          </p:nvSpPr>
          <p:spPr bwMode="auto">
            <a:xfrm>
              <a:off x="4170363" y="2822575"/>
              <a:ext cx="1587" cy="4763"/>
            </a:xfrm>
            <a:custGeom>
              <a:avLst/>
              <a:gdLst>
                <a:gd name="T0" fmla="*/ 0 w 4"/>
                <a:gd name="T1" fmla="*/ 5 h 12"/>
                <a:gd name="T2" fmla="*/ 0 w 4"/>
                <a:gd name="T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2">
                  <a:moveTo>
                    <a:pt x="0" y="5"/>
                  </a:moveTo>
                  <a:cubicBezTo>
                    <a:pt x="0" y="11"/>
                    <a:pt x="3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54" name="Freeform 781"/>
            <p:cNvSpPr>
              <a:spLocks noChangeArrowheads="1"/>
            </p:cNvSpPr>
            <p:nvPr/>
          </p:nvSpPr>
          <p:spPr bwMode="auto">
            <a:xfrm>
              <a:off x="4152900" y="2801938"/>
              <a:ext cx="1588" cy="3175"/>
            </a:xfrm>
            <a:custGeom>
              <a:avLst/>
              <a:gdLst>
                <a:gd name="T0" fmla="*/ 0 w 6"/>
                <a:gd name="T1" fmla="*/ 0 h 10"/>
                <a:gd name="T2" fmla="*/ 3 w 6"/>
                <a:gd name="T3" fmla="*/ 9 h 10"/>
                <a:gd name="T4" fmla="*/ 5 w 6"/>
                <a:gd name="T5" fmla="*/ 3 h 10"/>
                <a:gd name="T6" fmla="*/ 0 w 6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0" y="0"/>
                  </a:moveTo>
                  <a:cubicBezTo>
                    <a:pt x="0" y="3"/>
                    <a:pt x="0" y="6"/>
                    <a:pt x="3" y="9"/>
                  </a:cubicBezTo>
                  <a:cubicBezTo>
                    <a:pt x="5" y="9"/>
                    <a:pt x="5" y="6"/>
                    <a:pt x="5" y="3"/>
                  </a:cubicBez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55" name="Freeform 782"/>
            <p:cNvSpPr>
              <a:spLocks noChangeArrowheads="1"/>
            </p:cNvSpPr>
            <p:nvPr/>
          </p:nvSpPr>
          <p:spPr bwMode="auto">
            <a:xfrm>
              <a:off x="4179888" y="2841625"/>
              <a:ext cx="3175" cy="1588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cubicBezTo>
                    <a:pt x="6" y="0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56" name="Freeform 783"/>
            <p:cNvSpPr>
              <a:spLocks noChangeArrowheads="1"/>
            </p:cNvSpPr>
            <p:nvPr/>
          </p:nvSpPr>
          <p:spPr bwMode="auto">
            <a:xfrm>
              <a:off x="4210050" y="2816225"/>
              <a:ext cx="3175" cy="1588"/>
            </a:xfrm>
            <a:custGeom>
              <a:avLst/>
              <a:gdLst>
                <a:gd name="T0" fmla="*/ 2 w 9"/>
                <a:gd name="T1" fmla="*/ 2 h 3"/>
                <a:gd name="T2" fmla="*/ 2 w 9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3">
                  <a:moveTo>
                    <a:pt x="2" y="2"/>
                  </a:moveTo>
                  <a:cubicBezTo>
                    <a:pt x="8" y="0"/>
                    <a:pt x="0" y="0"/>
                    <a:pt x="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57" name="Freeform 784"/>
            <p:cNvSpPr>
              <a:spLocks noChangeArrowheads="1"/>
            </p:cNvSpPr>
            <p:nvPr/>
          </p:nvSpPr>
          <p:spPr bwMode="auto">
            <a:xfrm>
              <a:off x="4217988" y="2830513"/>
              <a:ext cx="3175" cy="1587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3 h 4"/>
                <a:gd name="T4" fmla="*/ 6 w 7"/>
                <a:gd name="T5" fmla="*/ 3 h 4"/>
                <a:gd name="T6" fmla="*/ 0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lnTo>
                    <a:pt x="0" y="3"/>
                  </a:lnTo>
                  <a:lnTo>
                    <a:pt x="6" y="3"/>
                  </a:lnTo>
                  <a:cubicBezTo>
                    <a:pt x="3" y="0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58" name="Freeform 785"/>
            <p:cNvSpPr>
              <a:spLocks noChangeArrowheads="1"/>
            </p:cNvSpPr>
            <p:nvPr/>
          </p:nvSpPr>
          <p:spPr bwMode="auto">
            <a:xfrm>
              <a:off x="4206875" y="2816225"/>
              <a:ext cx="3175" cy="1588"/>
            </a:xfrm>
            <a:custGeom>
              <a:avLst/>
              <a:gdLst>
                <a:gd name="T0" fmla="*/ 3 w 7"/>
                <a:gd name="T1" fmla="*/ 0 h 6"/>
                <a:gd name="T2" fmla="*/ 0 w 7"/>
                <a:gd name="T3" fmla="*/ 5 h 6"/>
                <a:gd name="T4" fmla="*/ 3 w 7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cubicBezTo>
                    <a:pt x="0" y="0"/>
                    <a:pt x="0" y="2"/>
                    <a:pt x="0" y="5"/>
                  </a:cubicBezTo>
                  <a:cubicBezTo>
                    <a:pt x="3" y="5"/>
                    <a:pt x="6" y="2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59" name="Freeform 786"/>
            <p:cNvSpPr>
              <a:spLocks noChangeArrowheads="1"/>
            </p:cNvSpPr>
            <p:nvPr/>
          </p:nvSpPr>
          <p:spPr bwMode="auto">
            <a:xfrm>
              <a:off x="4213225" y="2825750"/>
              <a:ext cx="3175" cy="3175"/>
            </a:xfrm>
            <a:custGeom>
              <a:avLst/>
              <a:gdLst>
                <a:gd name="T0" fmla="*/ 3 w 10"/>
                <a:gd name="T1" fmla="*/ 6 h 7"/>
                <a:gd name="T2" fmla="*/ 3 w 10"/>
                <a:gd name="T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7">
                  <a:moveTo>
                    <a:pt x="3" y="6"/>
                  </a:moveTo>
                  <a:cubicBezTo>
                    <a:pt x="9" y="3"/>
                    <a:pt x="0" y="0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60" name="Freeform 787"/>
            <p:cNvSpPr>
              <a:spLocks noChangeArrowheads="1"/>
            </p:cNvSpPr>
            <p:nvPr/>
          </p:nvSpPr>
          <p:spPr bwMode="auto">
            <a:xfrm>
              <a:off x="4156075" y="2805113"/>
              <a:ext cx="3175" cy="1587"/>
            </a:xfrm>
            <a:custGeom>
              <a:avLst/>
              <a:gdLst>
                <a:gd name="T0" fmla="*/ 3 w 7"/>
                <a:gd name="T1" fmla="*/ 5 h 6"/>
                <a:gd name="T2" fmla="*/ 3 w 7"/>
                <a:gd name="T3" fmla="*/ 0 h 6"/>
                <a:gd name="T4" fmla="*/ 3 w 7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3" y="5"/>
                  </a:moveTo>
                  <a:cubicBezTo>
                    <a:pt x="6" y="5"/>
                    <a:pt x="6" y="3"/>
                    <a:pt x="3" y="0"/>
                  </a:cubicBezTo>
                  <a:cubicBezTo>
                    <a:pt x="3" y="3"/>
                    <a:pt x="0" y="5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61" name="Freeform 788"/>
            <p:cNvSpPr>
              <a:spLocks noChangeArrowheads="1"/>
            </p:cNvSpPr>
            <p:nvPr/>
          </p:nvSpPr>
          <p:spPr bwMode="auto">
            <a:xfrm>
              <a:off x="4206875" y="2813050"/>
              <a:ext cx="3175" cy="3175"/>
            </a:xfrm>
            <a:custGeom>
              <a:avLst/>
              <a:gdLst>
                <a:gd name="T0" fmla="*/ 3 w 7"/>
                <a:gd name="T1" fmla="*/ 0 h 7"/>
                <a:gd name="T2" fmla="*/ 3 w 7"/>
                <a:gd name="T3" fmla="*/ 6 h 7"/>
                <a:gd name="T4" fmla="*/ 3 w 7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3" y="0"/>
                  </a:moveTo>
                  <a:cubicBezTo>
                    <a:pt x="0" y="0"/>
                    <a:pt x="0" y="3"/>
                    <a:pt x="3" y="6"/>
                  </a:cubicBezTo>
                  <a:cubicBezTo>
                    <a:pt x="3" y="3"/>
                    <a:pt x="6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62" name="Freeform 789"/>
            <p:cNvSpPr>
              <a:spLocks noChangeArrowheads="1"/>
            </p:cNvSpPr>
            <p:nvPr/>
          </p:nvSpPr>
          <p:spPr bwMode="auto">
            <a:xfrm>
              <a:off x="4137025" y="2832100"/>
              <a:ext cx="3175" cy="3175"/>
            </a:xfrm>
            <a:custGeom>
              <a:avLst/>
              <a:gdLst>
                <a:gd name="T0" fmla="*/ 5 w 9"/>
                <a:gd name="T1" fmla="*/ 6 h 7"/>
                <a:gd name="T2" fmla="*/ 5 w 9"/>
                <a:gd name="T3" fmla="*/ 0 h 7"/>
                <a:gd name="T4" fmla="*/ 5 w 9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5" y="6"/>
                  </a:moveTo>
                  <a:cubicBezTo>
                    <a:pt x="5" y="3"/>
                    <a:pt x="8" y="3"/>
                    <a:pt x="5" y="0"/>
                  </a:cubicBezTo>
                  <a:cubicBezTo>
                    <a:pt x="0" y="0"/>
                    <a:pt x="0" y="6"/>
                    <a:pt x="5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63" name="Freeform 790"/>
            <p:cNvSpPr>
              <a:spLocks noChangeArrowheads="1"/>
            </p:cNvSpPr>
            <p:nvPr/>
          </p:nvSpPr>
          <p:spPr bwMode="auto">
            <a:xfrm>
              <a:off x="4230688" y="2794000"/>
              <a:ext cx="3175" cy="1588"/>
            </a:xfrm>
            <a:custGeom>
              <a:avLst/>
              <a:gdLst>
                <a:gd name="T0" fmla="*/ 3 w 10"/>
                <a:gd name="T1" fmla="*/ 5 h 6"/>
                <a:gd name="T2" fmla="*/ 3 w 10"/>
                <a:gd name="T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6">
                  <a:moveTo>
                    <a:pt x="3" y="5"/>
                  </a:moveTo>
                  <a:cubicBezTo>
                    <a:pt x="9" y="2"/>
                    <a:pt x="0" y="0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64" name="Freeform 791"/>
            <p:cNvSpPr>
              <a:spLocks noChangeArrowheads="1"/>
            </p:cNvSpPr>
            <p:nvPr/>
          </p:nvSpPr>
          <p:spPr bwMode="auto">
            <a:xfrm>
              <a:off x="4214813" y="2776538"/>
              <a:ext cx="1587" cy="4762"/>
            </a:xfrm>
            <a:custGeom>
              <a:avLst/>
              <a:gdLst>
                <a:gd name="T0" fmla="*/ 3 w 6"/>
                <a:gd name="T1" fmla="*/ 3 h 12"/>
                <a:gd name="T2" fmla="*/ 3 w 6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2">
                  <a:moveTo>
                    <a:pt x="3" y="3"/>
                  </a:moveTo>
                  <a:cubicBezTo>
                    <a:pt x="0" y="0"/>
                    <a:pt x="5" y="11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65" name="Freeform 792"/>
            <p:cNvSpPr>
              <a:spLocks noChangeArrowheads="1"/>
            </p:cNvSpPr>
            <p:nvPr/>
          </p:nvSpPr>
          <p:spPr bwMode="auto">
            <a:xfrm>
              <a:off x="4203700" y="2754313"/>
              <a:ext cx="3175" cy="1587"/>
            </a:xfrm>
            <a:custGeom>
              <a:avLst/>
              <a:gdLst>
                <a:gd name="T0" fmla="*/ 3 w 9"/>
                <a:gd name="T1" fmla="*/ 3 h 4"/>
                <a:gd name="T2" fmla="*/ 3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cubicBezTo>
                    <a:pt x="8" y="0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66" name="Freeform 793"/>
            <p:cNvSpPr>
              <a:spLocks noChangeArrowheads="1"/>
            </p:cNvSpPr>
            <p:nvPr/>
          </p:nvSpPr>
          <p:spPr bwMode="auto">
            <a:xfrm>
              <a:off x="4203700" y="2757488"/>
              <a:ext cx="1588" cy="3175"/>
            </a:xfrm>
            <a:custGeom>
              <a:avLst/>
              <a:gdLst>
                <a:gd name="T0" fmla="*/ 5 w 6"/>
                <a:gd name="T1" fmla="*/ 0 h 10"/>
                <a:gd name="T2" fmla="*/ 0 w 6"/>
                <a:gd name="T3" fmla="*/ 3 h 10"/>
                <a:gd name="T4" fmla="*/ 5 w 6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0">
                  <a:moveTo>
                    <a:pt x="5" y="0"/>
                  </a:moveTo>
                  <a:cubicBezTo>
                    <a:pt x="3" y="0"/>
                    <a:pt x="0" y="3"/>
                    <a:pt x="0" y="3"/>
                  </a:cubicBezTo>
                  <a:cubicBezTo>
                    <a:pt x="0" y="9"/>
                    <a:pt x="5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67" name="Freeform 794"/>
            <p:cNvSpPr>
              <a:spLocks noChangeArrowheads="1"/>
            </p:cNvSpPr>
            <p:nvPr/>
          </p:nvSpPr>
          <p:spPr bwMode="auto">
            <a:xfrm>
              <a:off x="4189413" y="2767013"/>
              <a:ext cx="3175" cy="4762"/>
            </a:xfrm>
            <a:custGeom>
              <a:avLst/>
              <a:gdLst>
                <a:gd name="T0" fmla="*/ 3 w 7"/>
                <a:gd name="T1" fmla="*/ 3 h 13"/>
                <a:gd name="T2" fmla="*/ 3 w 7"/>
                <a:gd name="T3" fmla="*/ 9 h 13"/>
                <a:gd name="T4" fmla="*/ 3 w 7"/>
                <a:gd name="T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3" y="3"/>
                  </a:moveTo>
                  <a:cubicBezTo>
                    <a:pt x="6" y="6"/>
                    <a:pt x="0" y="6"/>
                    <a:pt x="3" y="9"/>
                  </a:cubicBezTo>
                  <a:cubicBezTo>
                    <a:pt x="6" y="12"/>
                    <a:pt x="6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68" name="Freeform 795"/>
            <p:cNvSpPr>
              <a:spLocks noChangeArrowheads="1"/>
            </p:cNvSpPr>
            <p:nvPr/>
          </p:nvSpPr>
          <p:spPr bwMode="auto">
            <a:xfrm>
              <a:off x="4198938" y="2779713"/>
              <a:ext cx="3175" cy="1587"/>
            </a:xfrm>
            <a:custGeom>
              <a:avLst/>
              <a:gdLst>
                <a:gd name="T0" fmla="*/ 3 w 9"/>
                <a:gd name="T1" fmla="*/ 3 h 4"/>
                <a:gd name="T2" fmla="*/ 3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cubicBezTo>
                    <a:pt x="8" y="0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69" name="Freeform 796"/>
            <p:cNvSpPr>
              <a:spLocks noChangeArrowheads="1"/>
            </p:cNvSpPr>
            <p:nvPr/>
          </p:nvSpPr>
          <p:spPr bwMode="auto">
            <a:xfrm>
              <a:off x="4198938" y="2743200"/>
              <a:ext cx="3175" cy="1588"/>
            </a:xfrm>
            <a:custGeom>
              <a:avLst/>
              <a:gdLst>
                <a:gd name="T0" fmla="*/ 3 w 9"/>
                <a:gd name="T1" fmla="*/ 2 h 3"/>
                <a:gd name="T2" fmla="*/ 3 w 9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3">
                  <a:moveTo>
                    <a:pt x="3" y="2"/>
                  </a:moveTo>
                  <a:cubicBezTo>
                    <a:pt x="8" y="0"/>
                    <a:pt x="0" y="0"/>
                    <a:pt x="3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70" name="Freeform 797"/>
            <p:cNvSpPr>
              <a:spLocks noChangeArrowheads="1"/>
            </p:cNvSpPr>
            <p:nvPr/>
          </p:nvSpPr>
          <p:spPr bwMode="auto">
            <a:xfrm>
              <a:off x="4249738" y="2797175"/>
              <a:ext cx="3175" cy="3175"/>
            </a:xfrm>
            <a:custGeom>
              <a:avLst/>
              <a:gdLst>
                <a:gd name="T0" fmla="*/ 5 w 9"/>
                <a:gd name="T1" fmla="*/ 0 h 10"/>
                <a:gd name="T2" fmla="*/ 0 w 9"/>
                <a:gd name="T3" fmla="*/ 6 h 10"/>
                <a:gd name="T4" fmla="*/ 2 w 9"/>
                <a:gd name="T5" fmla="*/ 9 h 10"/>
                <a:gd name="T6" fmla="*/ 5 w 9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lnTo>
                    <a:pt x="0" y="6"/>
                  </a:lnTo>
                  <a:lnTo>
                    <a:pt x="2" y="9"/>
                  </a:lnTo>
                  <a:cubicBezTo>
                    <a:pt x="2" y="3"/>
                    <a:pt x="8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71" name="Freeform 798"/>
            <p:cNvSpPr>
              <a:spLocks noChangeArrowheads="1"/>
            </p:cNvSpPr>
            <p:nvPr/>
          </p:nvSpPr>
          <p:spPr bwMode="auto">
            <a:xfrm>
              <a:off x="4233863" y="2806700"/>
              <a:ext cx="1587" cy="3175"/>
            </a:xfrm>
            <a:custGeom>
              <a:avLst/>
              <a:gdLst>
                <a:gd name="T0" fmla="*/ 5 w 6"/>
                <a:gd name="T1" fmla="*/ 9 h 10"/>
                <a:gd name="T2" fmla="*/ 2 w 6"/>
                <a:gd name="T3" fmla="*/ 6 h 10"/>
                <a:gd name="T4" fmla="*/ 2 w 6"/>
                <a:gd name="T5" fmla="*/ 3 h 10"/>
                <a:gd name="T6" fmla="*/ 0 w 6"/>
                <a:gd name="T7" fmla="*/ 6 h 10"/>
                <a:gd name="T8" fmla="*/ 5 w 6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5" y="9"/>
                  </a:moveTo>
                  <a:lnTo>
                    <a:pt x="2" y="6"/>
                  </a:lnTo>
                  <a:cubicBezTo>
                    <a:pt x="5" y="6"/>
                    <a:pt x="5" y="0"/>
                    <a:pt x="2" y="3"/>
                  </a:cubicBezTo>
                  <a:cubicBezTo>
                    <a:pt x="2" y="3"/>
                    <a:pt x="2" y="6"/>
                    <a:pt x="0" y="6"/>
                  </a:cubicBezTo>
                  <a:cubicBezTo>
                    <a:pt x="2" y="6"/>
                    <a:pt x="2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72" name="Freeform 799"/>
            <p:cNvSpPr>
              <a:spLocks noChangeArrowheads="1"/>
            </p:cNvSpPr>
            <p:nvPr/>
          </p:nvSpPr>
          <p:spPr bwMode="auto">
            <a:xfrm>
              <a:off x="4144963" y="2825750"/>
              <a:ext cx="3175" cy="1588"/>
            </a:xfrm>
            <a:custGeom>
              <a:avLst/>
              <a:gdLst>
                <a:gd name="T0" fmla="*/ 3 w 9"/>
                <a:gd name="T1" fmla="*/ 3 h 4"/>
                <a:gd name="T2" fmla="*/ 3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cubicBezTo>
                    <a:pt x="8" y="0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73" name="Freeform 800"/>
            <p:cNvSpPr>
              <a:spLocks noChangeArrowheads="1"/>
            </p:cNvSpPr>
            <p:nvPr/>
          </p:nvSpPr>
          <p:spPr bwMode="auto">
            <a:xfrm>
              <a:off x="4137025" y="2840038"/>
              <a:ext cx="3175" cy="1587"/>
            </a:xfrm>
            <a:custGeom>
              <a:avLst/>
              <a:gdLst>
                <a:gd name="T0" fmla="*/ 2 w 9"/>
                <a:gd name="T1" fmla="*/ 2 h 3"/>
                <a:gd name="T2" fmla="*/ 2 w 9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3">
                  <a:moveTo>
                    <a:pt x="2" y="2"/>
                  </a:moveTo>
                  <a:cubicBezTo>
                    <a:pt x="8" y="0"/>
                    <a:pt x="0" y="0"/>
                    <a:pt x="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74" name="Freeform 801"/>
            <p:cNvSpPr>
              <a:spLocks noChangeArrowheads="1"/>
            </p:cNvSpPr>
            <p:nvPr/>
          </p:nvSpPr>
          <p:spPr bwMode="auto">
            <a:xfrm>
              <a:off x="4157663" y="2841625"/>
              <a:ext cx="1587" cy="3175"/>
            </a:xfrm>
            <a:custGeom>
              <a:avLst/>
              <a:gdLst>
                <a:gd name="T0" fmla="*/ 0 w 4"/>
                <a:gd name="T1" fmla="*/ 3 h 7"/>
                <a:gd name="T2" fmla="*/ 3 w 4"/>
                <a:gd name="T3" fmla="*/ 6 h 7"/>
                <a:gd name="T4" fmla="*/ 0 w 4"/>
                <a:gd name="T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0" y="3"/>
                  </a:moveTo>
                  <a:lnTo>
                    <a:pt x="3" y="6"/>
                  </a:lnTo>
                  <a:cubicBezTo>
                    <a:pt x="3" y="3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75" name="Freeform 802"/>
            <p:cNvSpPr>
              <a:spLocks noChangeArrowheads="1"/>
            </p:cNvSpPr>
            <p:nvPr/>
          </p:nvSpPr>
          <p:spPr bwMode="auto">
            <a:xfrm>
              <a:off x="4214813" y="2760663"/>
              <a:ext cx="4762" cy="4762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5 h 12"/>
                <a:gd name="T4" fmla="*/ 6 w 12"/>
                <a:gd name="T5" fmla="*/ 11 h 12"/>
                <a:gd name="T6" fmla="*/ 11 w 12"/>
                <a:gd name="T7" fmla="*/ 5 h 12"/>
                <a:gd name="T8" fmla="*/ 6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0" y="5"/>
                  </a:lnTo>
                  <a:lnTo>
                    <a:pt x="6" y="11"/>
                  </a:lnTo>
                  <a:lnTo>
                    <a:pt x="11" y="5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76" name="Freeform 803"/>
            <p:cNvSpPr>
              <a:spLocks noChangeArrowheads="1"/>
            </p:cNvSpPr>
            <p:nvPr/>
          </p:nvSpPr>
          <p:spPr bwMode="auto">
            <a:xfrm>
              <a:off x="4198938" y="2751138"/>
              <a:ext cx="4762" cy="4762"/>
            </a:xfrm>
            <a:custGeom>
              <a:avLst/>
              <a:gdLst>
                <a:gd name="T0" fmla="*/ 0 w 15"/>
                <a:gd name="T1" fmla="*/ 3 h 13"/>
                <a:gd name="T2" fmla="*/ 14 w 15"/>
                <a:gd name="T3" fmla="*/ 9 h 13"/>
                <a:gd name="T4" fmla="*/ 0 w 15"/>
                <a:gd name="T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0" y="3"/>
                  </a:moveTo>
                  <a:cubicBezTo>
                    <a:pt x="5" y="6"/>
                    <a:pt x="11" y="12"/>
                    <a:pt x="14" y="9"/>
                  </a:cubicBezTo>
                  <a:cubicBezTo>
                    <a:pt x="8" y="6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77" name="Freeform 804"/>
            <p:cNvSpPr>
              <a:spLocks noChangeArrowheads="1"/>
            </p:cNvSpPr>
            <p:nvPr/>
          </p:nvSpPr>
          <p:spPr bwMode="auto">
            <a:xfrm>
              <a:off x="4203700" y="2752725"/>
              <a:ext cx="3175" cy="7938"/>
            </a:xfrm>
            <a:custGeom>
              <a:avLst/>
              <a:gdLst>
                <a:gd name="T0" fmla="*/ 0 w 9"/>
                <a:gd name="T1" fmla="*/ 8 h 21"/>
                <a:gd name="T2" fmla="*/ 0 w 9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8"/>
                  </a:moveTo>
                  <a:cubicBezTo>
                    <a:pt x="8" y="20"/>
                    <a:pt x="8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78" name="Freeform 805"/>
            <p:cNvSpPr>
              <a:spLocks noChangeArrowheads="1"/>
            </p:cNvSpPr>
            <p:nvPr/>
          </p:nvSpPr>
          <p:spPr bwMode="auto">
            <a:xfrm>
              <a:off x="4240213" y="2794000"/>
              <a:ext cx="3175" cy="7938"/>
            </a:xfrm>
            <a:custGeom>
              <a:avLst/>
              <a:gdLst>
                <a:gd name="T0" fmla="*/ 0 w 10"/>
                <a:gd name="T1" fmla="*/ 8 h 20"/>
                <a:gd name="T2" fmla="*/ 0 w 10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0">
                  <a:moveTo>
                    <a:pt x="0" y="8"/>
                  </a:moveTo>
                  <a:cubicBezTo>
                    <a:pt x="9" y="19"/>
                    <a:pt x="9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79" name="Freeform 806"/>
            <p:cNvSpPr>
              <a:spLocks noChangeArrowheads="1"/>
            </p:cNvSpPr>
            <p:nvPr/>
          </p:nvSpPr>
          <p:spPr bwMode="auto">
            <a:xfrm>
              <a:off x="4235450" y="2800350"/>
              <a:ext cx="4763" cy="4763"/>
            </a:xfrm>
            <a:custGeom>
              <a:avLst/>
              <a:gdLst>
                <a:gd name="T0" fmla="*/ 0 w 12"/>
                <a:gd name="T1" fmla="*/ 11 h 12"/>
                <a:gd name="T2" fmla="*/ 6 w 12"/>
                <a:gd name="T3" fmla="*/ 8 h 12"/>
                <a:gd name="T4" fmla="*/ 0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0" y="11"/>
                  </a:moveTo>
                  <a:cubicBezTo>
                    <a:pt x="0" y="11"/>
                    <a:pt x="3" y="8"/>
                    <a:pt x="6" y="8"/>
                  </a:cubicBezTo>
                  <a:cubicBezTo>
                    <a:pt x="11" y="0"/>
                    <a:pt x="3" y="8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80" name="Freeform 807"/>
            <p:cNvSpPr>
              <a:spLocks noChangeArrowheads="1"/>
            </p:cNvSpPr>
            <p:nvPr/>
          </p:nvSpPr>
          <p:spPr bwMode="auto">
            <a:xfrm>
              <a:off x="4216400" y="2789238"/>
              <a:ext cx="6350" cy="7937"/>
            </a:xfrm>
            <a:custGeom>
              <a:avLst/>
              <a:gdLst>
                <a:gd name="T0" fmla="*/ 0 w 17"/>
                <a:gd name="T1" fmla="*/ 3 h 20"/>
                <a:gd name="T2" fmla="*/ 0 w 17"/>
                <a:gd name="T3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20">
                  <a:moveTo>
                    <a:pt x="0" y="3"/>
                  </a:moveTo>
                  <a:cubicBezTo>
                    <a:pt x="2" y="19"/>
                    <a:pt x="1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81" name="Freeform 808"/>
            <p:cNvSpPr>
              <a:spLocks noChangeArrowheads="1"/>
            </p:cNvSpPr>
            <p:nvPr/>
          </p:nvSpPr>
          <p:spPr bwMode="auto">
            <a:xfrm>
              <a:off x="4225925" y="2794000"/>
              <a:ext cx="4763" cy="6350"/>
            </a:xfrm>
            <a:custGeom>
              <a:avLst/>
              <a:gdLst>
                <a:gd name="T0" fmla="*/ 0 w 15"/>
                <a:gd name="T1" fmla="*/ 5 h 18"/>
                <a:gd name="T2" fmla="*/ 0 w 15"/>
                <a:gd name="T3" fmla="*/ 11 h 18"/>
                <a:gd name="T4" fmla="*/ 6 w 15"/>
                <a:gd name="T5" fmla="*/ 17 h 18"/>
                <a:gd name="T6" fmla="*/ 0 w 15"/>
                <a:gd name="T7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8">
                  <a:moveTo>
                    <a:pt x="0" y="5"/>
                  </a:moveTo>
                  <a:cubicBezTo>
                    <a:pt x="3" y="8"/>
                    <a:pt x="3" y="8"/>
                    <a:pt x="0" y="11"/>
                  </a:cubicBezTo>
                  <a:lnTo>
                    <a:pt x="6" y="17"/>
                  </a:lnTo>
                  <a:cubicBezTo>
                    <a:pt x="14" y="14"/>
                    <a:pt x="3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82" name="Freeform 809"/>
            <p:cNvSpPr>
              <a:spLocks noChangeArrowheads="1"/>
            </p:cNvSpPr>
            <p:nvPr/>
          </p:nvSpPr>
          <p:spPr bwMode="auto">
            <a:xfrm>
              <a:off x="4237038" y="2808288"/>
              <a:ext cx="4762" cy="7937"/>
            </a:xfrm>
            <a:custGeom>
              <a:avLst/>
              <a:gdLst>
                <a:gd name="T0" fmla="*/ 0 w 12"/>
                <a:gd name="T1" fmla="*/ 9 h 21"/>
                <a:gd name="T2" fmla="*/ 0 w 12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1">
                  <a:moveTo>
                    <a:pt x="0" y="9"/>
                  </a:moveTo>
                  <a:cubicBezTo>
                    <a:pt x="11" y="20"/>
                    <a:pt x="8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83" name="Freeform 810"/>
            <p:cNvSpPr>
              <a:spLocks noChangeArrowheads="1"/>
            </p:cNvSpPr>
            <p:nvPr/>
          </p:nvSpPr>
          <p:spPr bwMode="auto">
            <a:xfrm>
              <a:off x="4211638" y="2789238"/>
              <a:ext cx="7937" cy="3175"/>
            </a:xfrm>
            <a:custGeom>
              <a:avLst/>
              <a:gdLst>
                <a:gd name="T0" fmla="*/ 3 w 21"/>
                <a:gd name="T1" fmla="*/ 5 h 9"/>
                <a:gd name="T2" fmla="*/ 3 w 21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9">
                  <a:moveTo>
                    <a:pt x="3" y="5"/>
                  </a:moveTo>
                  <a:cubicBezTo>
                    <a:pt x="0" y="8"/>
                    <a:pt x="20" y="0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84" name="Freeform 811"/>
            <p:cNvSpPr>
              <a:spLocks noChangeArrowheads="1"/>
            </p:cNvSpPr>
            <p:nvPr/>
          </p:nvSpPr>
          <p:spPr bwMode="auto">
            <a:xfrm>
              <a:off x="4159250" y="2746375"/>
              <a:ext cx="4763" cy="7938"/>
            </a:xfrm>
            <a:custGeom>
              <a:avLst/>
              <a:gdLst>
                <a:gd name="T0" fmla="*/ 0 w 15"/>
                <a:gd name="T1" fmla="*/ 6 h 24"/>
                <a:gd name="T2" fmla="*/ 0 w 15"/>
                <a:gd name="T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0" y="6"/>
                  </a:moveTo>
                  <a:cubicBezTo>
                    <a:pt x="0" y="23"/>
                    <a:pt x="14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85" name="Freeform 812"/>
            <p:cNvSpPr>
              <a:spLocks noChangeArrowheads="1"/>
            </p:cNvSpPr>
            <p:nvPr/>
          </p:nvSpPr>
          <p:spPr bwMode="auto">
            <a:xfrm>
              <a:off x="4198938" y="2779713"/>
              <a:ext cx="6350" cy="7937"/>
            </a:xfrm>
            <a:custGeom>
              <a:avLst/>
              <a:gdLst>
                <a:gd name="T0" fmla="*/ 5 w 18"/>
                <a:gd name="T1" fmla="*/ 0 h 21"/>
                <a:gd name="T2" fmla="*/ 0 w 18"/>
                <a:gd name="T3" fmla="*/ 9 h 21"/>
                <a:gd name="T4" fmla="*/ 5 w 18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5" y="0"/>
                  </a:moveTo>
                  <a:lnTo>
                    <a:pt x="0" y="9"/>
                  </a:lnTo>
                  <a:cubicBezTo>
                    <a:pt x="3" y="20"/>
                    <a:pt x="17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86" name="Freeform 813"/>
            <p:cNvSpPr>
              <a:spLocks noChangeArrowheads="1"/>
            </p:cNvSpPr>
            <p:nvPr/>
          </p:nvSpPr>
          <p:spPr bwMode="auto">
            <a:xfrm>
              <a:off x="4211638" y="2797175"/>
              <a:ext cx="7937" cy="11113"/>
            </a:xfrm>
            <a:custGeom>
              <a:avLst/>
              <a:gdLst>
                <a:gd name="T0" fmla="*/ 20 w 21"/>
                <a:gd name="T1" fmla="*/ 12 h 29"/>
                <a:gd name="T2" fmla="*/ 20 w 21"/>
                <a:gd name="T3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29">
                  <a:moveTo>
                    <a:pt x="20" y="12"/>
                  </a:moveTo>
                  <a:cubicBezTo>
                    <a:pt x="0" y="0"/>
                    <a:pt x="3" y="28"/>
                    <a:pt x="2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87" name="Freeform 814"/>
            <p:cNvSpPr>
              <a:spLocks noChangeArrowheads="1"/>
            </p:cNvSpPr>
            <p:nvPr/>
          </p:nvSpPr>
          <p:spPr bwMode="auto">
            <a:xfrm>
              <a:off x="4237038" y="2813050"/>
              <a:ext cx="3175" cy="7938"/>
            </a:xfrm>
            <a:custGeom>
              <a:avLst/>
              <a:gdLst>
                <a:gd name="T0" fmla="*/ 0 w 9"/>
                <a:gd name="T1" fmla="*/ 9 h 21"/>
                <a:gd name="T2" fmla="*/ 0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9"/>
                  </a:moveTo>
                  <a:cubicBezTo>
                    <a:pt x="8" y="20"/>
                    <a:pt x="8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88" name="Freeform 815"/>
            <p:cNvSpPr>
              <a:spLocks noChangeArrowheads="1"/>
            </p:cNvSpPr>
            <p:nvPr/>
          </p:nvSpPr>
          <p:spPr bwMode="auto">
            <a:xfrm>
              <a:off x="4165600" y="2757488"/>
              <a:ext cx="3175" cy="7937"/>
            </a:xfrm>
            <a:custGeom>
              <a:avLst/>
              <a:gdLst>
                <a:gd name="T0" fmla="*/ 0 w 9"/>
                <a:gd name="T1" fmla="*/ 9 h 21"/>
                <a:gd name="T2" fmla="*/ 0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9"/>
                  </a:moveTo>
                  <a:cubicBezTo>
                    <a:pt x="8" y="20"/>
                    <a:pt x="8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89" name="Freeform 816"/>
            <p:cNvSpPr>
              <a:spLocks noChangeArrowheads="1"/>
            </p:cNvSpPr>
            <p:nvPr/>
          </p:nvSpPr>
          <p:spPr bwMode="auto">
            <a:xfrm>
              <a:off x="4227513" y="2811463"/>
              <a:ext cx="3175" cy="7937"/>
            </a:xfrm>
            <a:custGeom>
              <a:avLst/>
              <a:gdLst>
                <a:gd name="T0" fmla="*/ 0 w 9"/>
                <a:gd name="T1" fmla="*/ 8 h 23"/>
                <a:gd name="T2" fmla="*/ 0 w 9"/>
                <a:gd name="T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3">
                  <a:moveTo>
                    <a:pt x="0" y="8"/>
                  </a:moveTo>
                  <a:cubicBezTo>
                    <a:pt x="8" y="22"/>
                    <a:pt x="8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90" name="Freeform 817"/>
            <p:cNvSpPr>
              <a:spLocks noChangeArrowheads="1"/>
            </p:cNvSpPr>
            <p:nvPr/>
          </p:nvSpPr>
          <p:spPr bwMode="auto">
            <a:xfrm>
              <a:off x="4151313" y="2749550"/>
              <a:ext cx="3175" cy="7938"/>
            </a:xfrm>
            <a:custGeom>
              <a:avLst/>
              <a:gdLst>
                <a:gd name="T0" fmla="*/ 0 w 9"/>
                <a:gd name="T1" fmla="*/ 8 h 20"/>
                <a:gd name="T2" fmla="*/ 0 w 9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8"/>
                  </a:moveTo>
                  <a:cubicBezTo>
                    <a:pt x="8" y="19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91" name="Freeform 818"/>
            <p:cNvSpPr>
              <a:spLocks noChangeArrowheads="1"/>
            </p:cNvSpPr>
            <p:nvPr/>
          </p:nvSpPr>
          <p:spPr bwMode="auto">
            <a:xfrm>
              <a:off x="4210050" y="2800350"/>
              <a:ext cx="3175" cy="7938"/>
            </a:xfrm>
            <a:custGeom>
              <a:avLst/>
              <a:gdLst>
                <a:gd name="T0" fmla="*/ 0 w 9"/>
                <a:gd name="T1" fmla="*/ 5 h 20"/>
                <a:gd name="T2" fmla="*/ 0 w 9"/>
                <a:gd name="T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5"/>
                  </a:moveTo>
                  <a:cubicBezTo>
                    <a:pt x="8" y="19"/>
                    <a:pt x="5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92" name="Freeform 819"/>
            <p:cNvSpPr>
              <a:spLocks noChangeArrowheads="1"/>
            </p:cNvSpPr>
            <p:nvPr/>
          </p:nvSpPr>
          <p:spPr bwMode="auto">
            <a:xfrm>
              <a:off x="4159250" y="2760663"/>
              <a:ext cx="3175" cy="7937"/>
            </a:xfrm>
            <a:custGeom>
              <a:avLst/>
              <a:gdLst>
                <a:gd name="T0" fmla="*/ 0 w 9"/>
                <a:gd name="T1" fmla="*/ 8 h 20"/>
                <a:gd name="T2" fmla="*/ 0 w 9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8"/>
                  </a:moveTo>
                  <a:cubicBezTo>
                    <a:pt x="8" y="19"/>
                    <a:pt x="5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93" name="Freeform 820"/>
            <p:cNvSpPr>
              <a:spLocks noChangeArrowheads="1"/>
            </p:cNvSpPr>
            <p:nvPr/>
          </p:nvSpPr>
          <p:spPr bwMode="auto">
            <a:xfrm>
              <a:off x="4206875" y="2805113"/>
              <a:ext cx="4763" cy="7937"/>
            </a:xfrm>
            <a:custGeom>
              <a:avLst/>
              <a:gdLst>
                <a:gd name="T0" fmla="*/ 11 w 15"/>
                <a:gd name="T1" fmla="*/ 0 h 20"/>
                <a:gd name="T2" fmla="*/ 14 w 15"/>
                <a:gd name="T3" fmla="*/ 11 h 20"/>
                <a:gd name="T4" fmla="*/ 11 w 15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0">
                  <a:moveTo>
                    <a:pt x="11" y="0"/>
                  </a:moveTo>
                  <a:cubicBezTo>
                    <a:pt x="0" y="8"/>
                    <a:pt x="6" y="19"/>
                    <a:pt x="14" y="11"/>
                  </a:cubicBezTo>
                  <a:cubicBezTo>
                    <a:pt x="9" y="8"/>
                    <a:pt x="11" y="2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94" name="Freeform 821"/>
            <p:cNvSpPr>
              <a:spLocks noChangeArrowheads="1"/>
            </p:cNvSpPr>
            <p:nvPr/>
          </p:nvSpPr>
          <p:spPr bwMode="auto">
            <a:xfrm>
              <a:off x="4144963" y="2754313"/>
              <a:ext cx="7937" cy="6350"/>
            </a:xfrm>
            <a:custGeom>
              <a:avLst/>
              <a:gdLst>
                <a:gd name="T0" fmla="*/ 20 w 21"/>
                <a:gd name="T1" fmla="*/ 11 h 18"/>
                <a:gd name="T2" fmla="*/ 11 w 21"/>
                <a:gd name="T3" fmla="*/ 0 h 18"/>
                <a:gd name="T4" fmla="*/ 20 w 21"/>
                <a:gd name="T5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20" y="11"/>
                  </a:moveTo>
                  <a:cubicBezTo>
                    <a:pt x="14" y="8"/>
                    <a:pt x="11" y="5"/>
                    <a:pt x="11" y="0"/>
                  </a:cubicBezTo>
                  <a:cubicBezTo>
                    <a:pt x="0" y="2"/>
                    <a:pt x="17" y="17"/>
                    <a:pt x="2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95" name="Freeform 822"/>
            <p:cNvSpPr>
              <a:spLocks noChangeArrowheads="1"/>
            </p:cNvSpPr>
            <p:nvPr/>
          </p:nvSpPr>
          <p:spPr bwMode="auto">
            <a:xfrm>
              <a:off x="4171950" y="2774950"/>
              <a:ext cx="3175" cy="7938"/>
            </a:xfrm>
            <a:custGeom>
              <a:avLst/>
              <a:gdLst>
                <a:gd name="T0" fmla="*/ 0 w 10"/>
                <a:gd name="T1" fmla="*/ 9 h 21"/>
                <a:gd name="T2" fmla="*/ 0 w 10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9"/>
                  </a:moveTo>
                  <a:cubicBezTo>
                    <a:pt x="9" y="20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96" name="Freeform 823"/>
            <p:cNvSpPr>
              <a:spLocks noChangeArrowheads="1"/>
            </p:cNvSpPr>
            <p:nvPr/>
          </p:nvSpPr>
          <p:spPr bwMode="auto">
            <a:xfrm>
              <a:off x="4176713" y="2781300"/>
              <a:ext cx="3175" cy="7938"/>
            </a:xfrm>
            <a:custGeom>
              <a:avLst/>
              <a:gdLst>
                <a:gd name="T0" fmla="*/ 0 w 9"/>
                <a:gd name="T1" fmla="*/ 6 h 21"/>
                <a:gd name="T2" fmla="*/ 0 w 9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6"/>
                  </a:moveTo>
                  <a:cubicBezTo>
                    <a:pt x="8" y="20"/>
                    <a:pt x="8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97" name="Freeform 824"/>
            <p:cNvSpPr>
              <a:spLocks noChangeArrowheads="1"/>
            </p:cNvSpPr>
            <p:nvPr/>
          </p:nvSpPr>
          <p:spPr bwMode="auto">
            <a:xfrm>
              <a:off x="4187825" y="2792413"/>
              <a:ext cx="4763" cy="7937"/>
            </a:xfrm>
            <a:custGeom>
              <a:avLst/>
              <a:gdLst>
                <a:gd name="T0" fmla="*/ 0 w 12"/>
                <a:gd name="T1" fmla="*/ 6 h 24"/>
                <a:gd name="T2" fmla="*/ 0 w 12"/>
                <a:gd name="T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4">
                  <a:moveTo>
                    <a:pt x="0" y="6"/>
                  </a:moveTo>
                  <a:cubicBezTo>
                    <a:pt x="11" y="23"/>
                    <a:pt x="8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98" name="Freeform 825"/>
            <p:cNvSpPr>
              <a:spLocks noChangeArrowheads="1"/>
            </p:cNvSpPr>
            <p:nvPr/>
          </p:nvSpPr>
          <p:spPr bwMode="auto">
            <a:xfrm>
              <a:off x="4197350" y="2808288"/>
              <a:ext cx="9525" cy="9525"/>
            </a:xfrm>
            <a:custGeom>
              <a:avLst/>
              <a:gdLst>
                <a:gd name="T0" fmla="*/ 17 w 26"/>
                <a:gd name="T1" fmla="*/ 14 h 26"/>
                <a:gd name="T2" fmla="*/ 0 w 26"/>
                <a:gd name="T3" fmla="*/ 14 h 26"/>
                <a:gd name="T4" fmla="*/ 17 w 26"/>
                <a:gd name="T5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6">
                  <a:moveTo>
                    <a:pt x="17" y="14"/>
                  </a:moveTo>
                  <a:cubicBezTo>
                    <a:pt x="11" y="23"/>
                    <a:pt x="3" y="0"/>
                    <a:pt x="0" y="14"/>
                  </a:cubicBezTo>
                  <a:cubicBezTo>
                    <a:pt x="6" y="23"/>
                    <a:pt x="25" y="25"/>
                    <a:pt x="17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99" name="Freeform 826"/>
            <p:cNvSpPr>
              <a:spLocks noChangeArrowheads="1"/>
            </p:cNvSpPr>
            <p:nvPr/>
          </p:nvSpPr>
          <p:spPr bwMode="auto">
            <a:xfrm>
              <a:off x="4183063" y="2800350"/>
              <a:ext cx="4762" cy="7938"/>
            </a:xfrm>
            <a:custGeom>
              <a:avLst/>
              <a:gdLst>
                <a:gd name="T0" fmla="*/ 0 w 13"/>
                <a:gd name="T1" fmla="*/ 5 h 20"/>
                <a:gd name="T2" fmla="*/ 0 w 13"/>
                <a:gd name="T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0">
                  <a:moveTo>
                    <a:pt x="0" y="5"/>
                  </a:moveTo>
                  <a:cubicBezTo>
                    <a:pt x="12" y="19"/>
                    <a:pt x="9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00" name="Freeform 827"/>
            <p:cNvSpPr>
              <a:spLocks noChangeArrowheads="1"/>
            </p:cNvSpPr>
            <p:nvPr/>
          </p:nvSpPr>
          <p:spPr bwMode="auto">
            <a:xfrm>
              <a:off x="4149725" y="2779713"/>
              <a:ext cx="6350" cy="4762"/>
            </a:xfrm>
            <a:custGeom>
              <a:avLst/>
              <a:gdLst>
                <a:gd name="T0" fmla="*/ 12 w 18"/>
                <a:gd name="T1" fmla="*/ 0 h 15"/>
                <a:gd name="T2" fmla="*/ 6 w 18"/>
                <a:gd name="T3" fmla="*/ 14 h 15"/>
                <a:gd name="T4" fmla="*/ 12 w 18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2" y="0"/>
                  </a:moveTo>
                  <a:cubicBezTo>
                    <a:pt x="6" y="0"/>
                    <a:pt x="0" y="9"/>
                    <a:pt x="6" y="14"/>
                  </a:cubicBezTo>
                  <a:cubicBezTo>
                    <a:pt x="12" y="11"/>
                    <a:pt x="17" y="6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01" name="Freeform 828"/>
            <p:cNvSpPr>
              <a:spLocks noChangeArrowheads="1"/>
            </p:cNvSpPr>
            <p:nvPr/>
          </p:nvSpPr>
          <p:spPr bwMode="auto">
            <a:xfrm>
              <a:off x="4198938" y="2819400"/>
              <a:ext cx="4762" cy="7938"/>
            </a:xfrm>
            <a:custGeom>
              <a:avLst/>
              <a:gdLst>
                <a:gd name="T0" fmla="*/ 0 w 12"/>
                <a:gd name="T1" fmla="*/ 6 h 21"/>
                <a:gd name="T2" fmla="*/ 0 w 12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1">
                  <a:moveTo>
                    <a:pt x="0" y="6"/>
                  </a:moveTo>
                  <a:cubicBezTo>
                    <a:pt x="11" y="20"/>
                    <a:pt x="8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02" name="Freeform 829"/>
            <p:cNvSpPr>
              <a:spLocks noChangeArrowheads="1"/>
            </p:cNvSpPr>
            <p:nvPr/>
          </p:nvSpPr>
          <p:spPr bwMode="auto">
            <a:xfrm>
              <a:off x="4175125" y="2811463"/>
              <a:ext cx="11113" cy="1587"/>
            </a:xfrm>
            <a:custGeom>
              <a:avLst/>
              <a:gdLst>
                <a:gd name="T0" fmla="*/ 14 w 29"/>
                <a:gd name="T1" fmla="*/ 0 h 4"/>
                <a:gd name="T2" fmla="*/ 14 w 29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9" h="4">
                  <a:moveTo>
                    <a:pt x="14" y="0"/>
                  </a:moveTo>
                  <a:cubicBezTo>
                    <a:pt x="0" y="3"/>
                    <a:pt x="28" y="0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03" name="Freeform 830"/>
            <p:cNvSpPr>
              <a:spLocks noChangeArrowheads="1"/>
            </p:cNvSpPr>
            <p:nvPr/>
          </p:nvSpPr>
          <p:spPr bwMode="auto">
            <a:xfrm>
              <a:off x="4183063" y="2830513"/>
              <a:ext cx="6350" cy="3175"/>
            </a:xfrm>
            <a:custGeom>
              <a:avLst/>
              <a:gdLst>
                <a:gd name="T0" fmla="*/ 15 w 16"/>
                <a:gd name="T1" fmla="*/ 3 h 7"/>
                <a:gd name="T2" fmla="*/ 0 w 16"/>
                <a:gd name="T3" fmla="*/ 0 h 7"/>
                <a:gd name="T4" fmla="*/ 15 w 16"/>
                <a:gd name="T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7">
                  <a:moveTo>
                    <a:pt x="15" y="3"/>
                  </a:moveTo>
                  <a:cubicBezTo>
                    <a:pt x="12" y="0"/>
                    <a:pt x="6" y="0"/>
                    <a:pt x="0" y="0"/>
                  </a:cubicBezTo>
                  <a:cubicBezTo>
                    <a:pt x="3" y="6"/>
                    <a:pt x="9" y="6"/>
                    <a:pt x="15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04" name="Freeform 831"/>
            <p:cNvSpPr>
              <a:spLocks noChangeArrowheads="1"/>
            </p:cNvSpPr>
            <p:nvPr/>
          </p:nvSpPr>
          <p:spPr bwMode="auto">
            <a:xfrm>
              <a:off x="4156075" y="2822575"/>
              <a:ext cx="4763" cy="7938"/>
            </a:xfrm>
            <a:custGeom>
              <a:avLst/>
              <a:gdLst>
                <a:gd name="T0" fmla="*/ 0 w 13"/>
                <a:gd name="T1" fmla="*/ 8 h 23"/>
                <a:gd name="T2" fmla="*/ 0 w 13"/>
                <a:gd name="T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3">
                  <a:moveTo>
                    <a:pt x="0" y="8"/>
                  </a:moveTo>
                  <a:cubicBezTo>
                    <a:pt x="0" y="22"/>
                    <a:pt x="12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05" name="Freeform 832"/>
            <p:cNvSpPr>
              <a:spLocks noChangeArrowheads="1"/>
            </p:cNvSpPr>
            <p:nvPr/>
          </p:nvSpPr>
          <p:spPr bwMode="auto">
            <a:xfrm>
              <a:off x="4151313" y="2820988"/>
              <a:ext cx="3175" cy="7937"/>
            </a:xfrm>
            <a:custGeom>
              <a:avLst/>
              <a:gdLst>
                <a:gd name="T0" fmla="*/ 0 w 9"/>
                <a:gd name="T1" fmla="*/ 8 h 21"/>
                <a:gd name="T2" fmla="*/ 0 w 9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8"/>
                  </a:moveTo>
                  <a:cubicBezTo>
                    <a:pt x="8" y="20"/>
                    <a:pt x="8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06" name="Freeform 833"/>
            <p:cNvSpPr>
              <a:spLocks noChangeArrowheads="1"/>
            </p:cNvSpPr>
            <p:nvPr/>
          </p:nvSpPr>
          <p:spPr bwMode="auto">
            <a:xfrm>
              <a:off x="4144963" y="2822575"/>
              <a:ext cx="3175" cy="7938"/>
            </a:xfrm>
            <a:custGeom>
              <a:avLst/>
              <a:gdLst>
                <a:gd name="T0" fmla="*/ 0 w 9"/>
                <a:gd name="T1" fmla="*/ 5 h 20"/>
                <a:gd name="T2" fmla="*/ 0 w 9"/>
                <a:gd name="T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5"/>
                  </a:moveTo>
                  <a:cubicBezTo>
                    <a:pt x="8" y="19"/>
                    <a:pt x="8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07" name="Freeform 834"/>
            <p:cNvSpPr>
              <a:spLocks noChangeArrowheads="1"/>
            </p:cNvSpPr>
            <p:nvPr/>
          </p:nvSpPr>
          <p:spPr bwMode="auto">
            <a:xfrm>
              <a:off x="4151313" y="2836863"/>
              <a:ext cx="4762" cy="4762"/>
            </a:xfrm>
            <a:custGeom>
              <a:avLst/>
              <a:gdLst>
                <a:gd name="T0" fmla="*/ 0 w 12"/>
                <a:gd name="T1" fmla="*/ 9 h 15"/>
                <a:gd name="T2" fmla="*/ 11 w 12"/>
                <a:gd name="T3" fmla="*/ 11 h 15"/>
                <a:gd name="T4" fmla="*/ 8 w 12"/>
                <a:gd name="T5" fmla="*/ 0 h 15"/>
                <a:gd name="T6" fmla="*/ 0 w 12"/>
                <a:gd name="T7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0" y="9"/>
                  </a:moveTo>
                  <a:cubicBezTo>
                    <a:pt x="3" y="11"/>
                    <a:pt x="8" y="14"/>
                    <a:pt x="11" y="11"/>
                  </a:cubicBezTo>
                  <a:cubicBezTo>
                    <a:pt x="6" y="9"/>
                    <a:pt x="8" y="3"/>
                    <a:pt x="8" y="0"/>
                  </a:cubicBezTo>
                  <a:lnTo>
                    <a:pt x="0" y="9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08" name="Freeform 835"/>
            <p:cNvSpPr>
              <a:spLocks noChangeArrowheads="1"/>
            </p:cNvSpPr>
            <p:nvPr/>
          </p:nvSpPr>
          <p:spPr bwMode="auto">
            <a:xfrm>
              <a:off x="4102100" y="2795588"/>
              <a:ext cx="3175" cy="7937"/>
            </a:xfrm>
            <a:custGeom>
              <a:avLst/>
              <a:gdLst>
                <a:gd name="T0" fmla="*/ 0 w 9"/>
                <a:gd name="T1" fmla="*/ 9 h 21"/>
                <a:gd name="T2" fmla="*/ 0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9"/>
                  </a:moveTo>
                  <a:cubicBezTo>
                    <a:pt x="8" y="20"/>
                    <a:pt x="5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09" name="Freeform 836"/>
            <p:cNvSpPr>
              <a:spLocks noChangeArrowheads="1"/>
            </p:cNvSpPr>
            <p:nvPr/>
          </p:nvSpPr>
          <p:spPr bwMode="auto">
            <a:xfrm>
              <a:off x="4110038" y="2809875"/>
              <a:ext cx="3175" cy="7938"/>
            </a:xfrm>
            <a:custGeom>
              <a:avLst/>
              <a:gdLst>
                <a:gd name="T0" fmla="*/ 0 w 10"/>
                <a:gd name="T1" fmla="*/ 6 h 21"/>
                <a:gd name="T2" fmla="*/ 0 w 10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6"/>
                  </a:moveTo>
                  <a:cubicBezTo>
                    <a:pt x="9" y="20"/>
                    <a:pt x="9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10" name="Freeform 837"/>
            <p:cNvSpPr>
              <a:spLocks noChangeArrowheads="1"/>
            </p:cNvSpPr>
            <p:nvPr/>
          </p:nvSpPr>
          <p:spPr bwMode="auto">
            <a:xfrm>
              <a:off x="4108450" y="2816225"/>
              <a:ext cx="6350" cy="7938"/>
            </a:xfrm>
            <a:custGeom>
              <a:avLst/>
              <a:gdLst>
                <a:gd name="T0" fmla="*/ 0 w 16"/>
                <a:gd name="T1" fmla="*/ 5 h 20"/>
                <a:gd name="T2" fmla="*/ 0 w 16"/>
                <a:gd name="T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20">
                  <a:moveTo>
                    <a:pt x="0" y="5"/>
                  </a:moveTo>
                  <a:cubicBezTo>
                    <a:pt x="3" y="19"/>
                    <a:pt x="15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11" name="Freeform 838"/>
            <p:cNvSpPr>
              <a:spLocks noChangeArrowheads="1"/>
            </p:cNvSpPr>
            <p:nvPr/>
          </p:nvSpPr>
          <p:spPr bwMode="auto">
            <a:xfrm>
              <a:off x="4137025" y="2840038"/>
              <a:ext cx="3175" cy="7937"/>
            </a:xfrm>
            <a:custGeom>
              <a:avLst/>
              <a:gdLst>
                <a:gd name="T0" fmla="*/ 0 w 10"/>
                <a:gd name="T1" fmla="*/ 8 h 23"/>
                <a:gd name="T2" fmla="*/ 0 w 10"/>
                <a:gd name="T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3">
                  <a:moveTo>
                    <a:pt x="0" y="8"/>
                  </a:moveTo>
                  <a:cubicBezTo>
                    <a:pt x="9" y="22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12" name="Freeform 839"/>
            <p:cNvSpPr>
              <a:spLocks noChangeArrowheads="1"/>
            </p:cNvSpPr>
            <p:nvPr/>
          </p:nvSpPr>
          <p:spPr bwMode="auto">
            <a:xfrm>
              <a:off x="4122738" y="2832100"/>
              <a:ext cx="4762" cy="7938"/>
            </a:xfrm>
            <a:custGeom>
              <a:avLst/>
              <a:gdLst>
                <a:gd name="T0" fmla="*/ 0 w 14"/>
                <a:gd name="T1" fmla="*/ 6 h 21"/>
                <a:gd name="T2" fmla="*/ 0 w 14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1">
                  <a:moveTo>
                    <a:pt x="0" y="6"/>
                  </a:moveTo>
                  <a:cubicBezTo>
                    <a:pt x="3" y="20"/>
                    <a:pt x="13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13" name="Freeform 840"/>
            <p:cNvSpPr>
              <a:spLocks noChangeArrowheads="1"/>
            </p:cNvSpPr>
            <p:nvPr/>
          </p:nvSpPr>
          <p:spPr bwMode="auto">
            <a:xfrm>
              <a:off x="4102100" y="2816225"/>
              <a:ext cx="3175" cy="7938"/>
            </a:xfrm>
            <a:custGeom>
              <a:avLst/>
              <a:gdLst>
                <a:gd name="T0" fmla="*/ 0 w 9"/>
                <a:gd name="T1" fmla="*/ 8 h 20"/>
                <a:gd name="T2" fmla="*/ 0 w 9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8"/>
                  </a:moveTo>
                  <a:cubicBezTo>
                    <a:pt x="8" y="19"/>
                    <a:pt x="5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14" name="Freeform 841"/>
            <p:cNvSpPr>
              <a:spLocks noChangeArrowheads="1"/>
            </p:cNvSpPr>
            <p:nvPr/>
          </p:nvSpPr>
          <p:spPr bwMode="auto">
            <a:xfrm>
              <a:off x="4095750" y="2814638"/>
              <a:ext cx="3175" cy="7937"/>
            </a:xfrm>
            <a:custGeom>
              <a:avLst/>
              <a:gdLst>
                <a:gd name="T0" fmla="*/ 0 w 9"/>
                <a:gd name="T1" fmla="*/ 8 h 21"/>
                <a:gd name="T2" fmla="*/ 0 w 9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8"/>
                  </a:moveTo>
                  <a:cubicBezTo>
                    <a:pt x="8" y="20"/>
                    <a:pt x="8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15" name="Freeform 842"/>
            <p:cNvSpPr>
              <a:spLocks noChangeArrowheads="1"/>
            </p:cNvSpPr>
            <p:nvPr/>
          </p:nvSpPr>
          <p:spPr bwMode="auto">
            <a:xfrm>
              <a:off x="4098925" y="2819400"/>
              <a:ext cx="3175" cy="7938"/>
            </a:xfrm>
            <a:custGeom>
              <a:avLst/>
              <a:gdLst>
                <a:gd name="T0" fmla="*/ 0 w 10"/>
                <a:gd name="T1" fmla="*/ 9 h 21"/>
                <a:gd name="T2" fmla="*/ 0 w 10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9"/>
                  </a:moveTo>
                  <a:cubicBezTo>
                    <a:pt x="9" y="20"/>
                    <a:pt x="9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16" name="Freeform 843"/>
            <p:cNvSpPr>
              <a:spLocks noChangeArrowheads="1"/>
            </p:cNvSpPr>
            <p:nvPr/>
          </p:nvSpPr>
          <p:spPr bwMode="auto">
            <a:xfrm>
              <a:off x="4095750" y="2822575"/>
              <a:ext cx="3175" cy="7938"/>
            </a:xfrm>
            <a:custGeom>
              <a:avLst/>
              <a:gdLst>
                <a:gd name="T0" fmla="*/ 0 w 9"/>
                <a:gd name="T1" fmla="*/ 8 h 21"/>
                <a:gd name="T2" fmla="*/ 0 w 9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8"/>
                  </a:moveTo>
                  <a:cubicBezTo>
                    <a:pt x="8" y="20"/>
                    <a:pt x="5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17" name="Freeform 844"/>
            <p:cNvSpPr>
              <a:spLocks noChangeArrowheads="1"/>
            </p:cNvSpPr>
            <p:nvPr/>
          </p:nvSpPr>
          <p:spPr bwMode="auto">
            <a:xfrm>
              <a:off x="4102100" y="2833688"/>
              <a:ext cx="4763" cy="7937"/>
            </a:xfrm>
            <a:custGeom>
              <a:avLst/>
              <a:gdLst>
                <a:gd name="T0" fmla="*/ 0 w 12"/>
                <a:gd name="T1" fmla="*/ 5 h 23"/>
                <a:gd name="T2" fmla="*/ 0 w 12"/>
                <a:gd name="T3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3">
                  <a:moveTo>
                    <a:pt x="0" y="5"/>
                  </a:moveTo>
                  <a:cubicBezTo>
                    <a:pt x="0" y="22"/>
                    <a:pt x="11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18" name="Freeform 845"/>
            <p:cNvSpPr>
              <a:spLocks noChangeArrowheads="1"/>
            </p:cNvSpPr>
            <p:nvPr/>
          </p:nvSpPr>
          <p:spPr bwMode="auto">
            <a:xfrm>
              <a:off x="4194175" y="2820988"/>
              <a:ext cx="4763" cy="6350"/>
            </a:xfrm>
            <a:custGeom>
              <a:avLst/>
              <a:gdLst>
                <a:gd name="T0" fmla="*/ 12 w 13"/>
                <a:gd name="T1" fmla="*/ 11 h 18"/>
                <a:gd name="T2" fmla="*/ 9 w 13"/>
                <a:gd name="T3" fmla="*/ 0 h 18"/>
                <a:gd name="T4" fmla="*/ 12 w 13"/>
                <a:gd name="T5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12" y="11"/>
                  </a:moveTo>
                  <a:cubicBezTo>
                    <a:pt x="6" y="8"/>
                    <a:pt x="9" y="3"/>
                    <a:pt x="9" y="0"/>
                  </a:cubicBezTo>
                  <a:cubicBezTo>
                    <a:pt x="0" y="3"/>
                    <a:pt x="6" y="17"/>
                    <a:pt x="12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19" name="Freeform 846"/>
            <p:cNvSpPr>
              <a:spLocks noChangeArrowheads="1"/>
            </p:cNvSpPr>
            <p:nvPr/>
          </p:nvSpPr>
          <p:spPr bwMode="auto">
            <a:xfrm>
              <a:off x="4159250" y="2803525"/>
              <a:ext cx="11113" cy="11113"/>
            </a:xfrm>
            <a:custGeom>
              <a:avLst/>
              <a:gdLst>
                <a:gd name="T0" fmla="*/ 22 w 29"/>
                <a:gd name="T1" fmla="*/ 6 h 29"/>
                <a:gd name="T2" fmla="*/ 8 w 29"/>
                <a:gd name="T3" fmla="*/ 3 h 29"/>
                <a:gd name="T4" fmla="*/ 14 w 29"/>
                <a:gd name="T5" fmla="*/ 25 h 29"/>
                <a:gd name="T6" fmla="*/ 22 w 29"/>
                <a:gd name="T7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29">
                  <a:moveTo>
                    <a:pt x="22" y="6"/>
                  </a:moveTo>
                  <a:cubicBezTo>
                    <a:pt x="16" y="11"/>
                    <a:pt x="11" y="0"/>
                    <a:pt x="8" y="3"/>
                  </a:cubicBezTo>
                  <a:cubicBezTo>
                    <a:pt x="2" y="8"/>
                    <a:pt x="0" y="28"/>
                    <a:pt x="14" y="25"/>
                  </a:cubicBezTo>
                  <a:cubicBezTo>
                    <a:pt x="0" y="11"/>
                    <a:pt x="28" y="11"/>
                    <a:pt x="2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20" name="Freeform 847"/>
            <p:cNvSpPr>
              <a:spLocks noChangeArrowheads="1"/>
            </p:cNvSpPr>
            <p:nvPr/>
          </p:nvSpPr>
          <p:spPr bwMode="auto">
            <a:xfrm>
              <a:off x="4103688" y="2827338"/>
              <a:ext cx="6350" cy="6350"/>
            </a:xfrm>
            <a:custGeom>
              <a:avLst/>
              <a:gdLst>
                <a:gd name="T0" fmla="*/ 12 w 18"/>
                <a:gd name="T1" fmla="*/ 6 h 18"/>
                <a:gd name="T2" fmla="*/ 12 w 18"/>
                <a:gd name="T3" fmla="*/ 11 h 18"/>
                <a:gd name="T4" fmla="*/ 0 w 18"/>
                <a:gd name="T5" fmla="*/ 11 h 18"/>
                <a:gd name="T6" fmla="*/ 9 w 18"/>
                <a:gd name="T7" fmla="*/ 17 h 18"/>
                <a:gd name="T8" fmla="*/ 12 w 18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2" y="6"/>
                  </a:moveTo>
                  <a:cubicBezTo>
                    <a:pt x="14" y="8"/>
                    <a:pt x="14" y="8"/>
                    <a:pt x="12" y="11"/>
                  </a:cubicBezTo>
                  <a:cubicBezTo>
                    <a:pt x="9" y="8"/>
                    <a:pt x="3" y="6"/>
                    <a:pt x="0" y="11"/>
                  </a:cubicBezTo>
                  <a:lnTo>
                    <a:pt x="9" y="17"/>
                  </a:lnTo>
                  <a:cubicBezTo>
                    <a:pt x="17" y="14"/>
                    <a:pt x="17" y="0"/>
                    <a:pt x="1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21" name="Freeform 848"/>
            <p:cNvSpPr>
              <a:spLocks noChangeArrowheads="1"/>
            </p:cNvSpPr>
            <p:nvPr/>
          </p:nvSpPr>
          <p:spPr bwMode="auto">
            <a:xfrm>
              <a:off x="3857625" y="2622550"/>
              <a:ext cx="577850" cy="98425"/>
            </a:xfrm>
            <a:custGeom>
              <a:avLst/>
              <a:gdLst>
                <a:gd name="T0" fmla="*/ 3 w 1603"/>
                <a:gd name="T1" fmla="*/ 265 h 272"/>
                <a:gd name="T2" fmla="*/ 801 w 1603"/>
                <a:gd name="T3" fmla="*/ 130 h 272"/>
                <a:gd name="T4" fmla="*/ 1599 w 1603"/>
                <a:gd name="T5" fmla="*/ 0 h 272"/>
                <a:gd name="T6" fmla="*/ 1602 w 1603"/>
                <a:gd name="T7" fmla="*/ 3 h 272"/>
                <a:gd name="T8" fmla="*/ 1599 w 1603"/>
                <a:gd name="T9" fmla="*/ 6 h 272"/>
                <a:gd name="T10" fmla="*/ 1599 w 1603"/>
                <a:gd name="T11" fmla="*/ 6 h 272"/>
                <a:gd name="T12" fmla="*/ 1207 w 1603"/>
                <a:gd name="T13" fmla="*/ 107 h 272"/>
                <a:gd name="T14" fmla="*/ 1010 w 1603"/>
                <a:gd name="T15" fmla="*/ 147 h 272"/>
                <a:gd name="T16" fmla="*/ 809 w 1603"/>
                <a:gd name="T17" fmla="*/ 183 h 272"/>
                <a:gd name="T18" fmla="*/ 610 w 1603"/>
                <a:gd name="T19" fmla="*/ 212 h 272"/>
                <a:gd name="T20" fmla="*/ 410 w 1603"/>
                <a:gd name="T21" fmla="*/ 237 h 272"/>
                <a:gd name="T22" fmla="*/ 209 w 1603"/>
                <a:gd name="T23" fmla="*/ 257 h 272"/>
                <a:gd name="T24" fmla="*/ 6 w 1603"/>
                <a:gd name="T25" fmla="*/ 268 h 272"/>
                <a:gd name="T26" fmla="*/ 6 w 1603"/>
                <a:gd name="T27" fmla="*/ 268 h 272"/>
                <a:gd name="T28" fmla="*/ 3 w 1603"/>
                <a:gd name="T29" fmla="*/ 265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03" h="272">
                  <a:moveTo>
                    <a:pt x="3" y="265"/>
                  </a:moveTo>
                  <a:lnTo>
                    <a:pt x="801" y="130"/>
                  </a:lnTo>
                  <a:lnTo>
                    <a:pt x="1599" y="0"/>
                  </a:lnTo>
                  <a:cubicBezTo>
                    <a:pt x="1599" y="0"/>
                    <a:pt x="1602" y="0"/>
                    <a:pt x="1602" y="3"/>
                  </a:cubicBezTo>
                  <a:cubicBezTo>
                    <a:pt x="1602" y="3"/>
                    <a:pt x="1602" y="6"/>
                    <a:pt x="1599" y="6"/>
                  </a:cubicBezTo>
                  <a:lnTo>
                    <a:pt x="1599" y="6"/>
                  </a:lnTo>
                  <a:cubicBezTo>
                    <a:pt x="1470" y="45"/>
                    <a:pt x="1337" y="79"/>
                    <a:pt x="1207" y="107"/>
                  </a:cubicBezTo>
                  <a:cubicBezTo>
                    <a:pt x="1142" y="121"/>
                    <a:pt x="1075" y="135"/>
                    <a:pt x="1010" y="147"/>
                  </a:cubicBezTo>
                  <a:lnTo>
                    <a:pt x="809" y="183"/>
                  </a:lnTo>
                  <a:lnTo>
                    <a:pt x="610" y="212"/>
                  </a:lnTo>
                  <a:cubicBezTo>
                    <a:pt x="542" y="220"/>
                    <a:pt x="477" y="231"/>
                    <a:pt x="410" y="237"/>
                  </a:cubicBezTo>
                  <a:cubicBezTo>
                    <a:pt x="342" y="245"/>
                    <a:pt x="274" y="251"/>
                    <a:pt x="209" y="257"/>
                  </a:cubicBezTo>
                  <a:cubicBezTo>
                    <a:pt x="142" y="260"/>
                    <a:pt x="74" y="268"/>
                    <a:pt x="6" y="268"/>
                  </a:cubicBezTo>
                  <a:lnTo>
                    <a:pt x="6" y="268"/>
                  </a:lnTo>
                  <a:cubicBezTo>
                    <a:pt x="3" y="271"/>
                    <a:pt x="0" y="271"/>
                    <a:pt x="3" y="26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22" name="Freeform 849"/>
            <p:cNvSpPr>
              <a:spLocks noChangeArrowheads="1"/>
            </p:cNvSpPr>
            <p:nvPr/>
          </p:nvSpPr>
          <p:spPr bwMode="auto">
            <a:xfrm>
              <a:off x="4284663" y="2673350"/>
              <a:ext cx="7937" cy="4763"/>
            </a:xfrm>
            <a:custGeom>
              <a:avLst/>
              <a:gdLst>
                <a:gd name="T0" fmla="*/ 0 w 20"/>
                <a:gd name="T1" fmla="*/ 9 h 15"/>
                <a:gd name="T2" fmla="*/ 14 w 20"/>
                <a:gd name="T3" fmla="*/ 0 h 15"/>
                <a:gd name="T4" fmla="*/ 0 w 20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5">
                  <a:moveTo>
                    <a:pt x="0" y="9"/>
                  </a:moveTo>
                  <a:cubicBezTo>
                    <a:pt x="8" y="14"/>
                    <a:pt x="19" y="6"/>
                    <a:pt x="14" y="0"/>
                  </a:cubicBezTo>
                  <a:cubicBezTo>
                    <a:pt x="11" y="3"/>
                    <a:pt x="2" y="3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23" name="Freeform 850"/>
            <p:cNvSpPr>
              <a:spLocks noChangeArrowheads="1"/>
            </p:cNvSpPr>
            <p:nvPr/>
          </p:nvSpPr>
          <p:spPr bwMode="auto">
            <a:xfrm>
              <a:off x="4260850" y="2668588"/>
              <a:ext cx="4763" cy="3175"/>
            </a:xfrm>
            <a:custGeom>
              <a:avLst/>
              <a:gdLst>
                <a:gd name="T0" fmla="*/ 6 w 15"/>
                <a:gd name="T1" fmla="*/ 8 h 9"/>
                <a:gd name="T2" fmla="*/ 11 w 15"/>
                <a:gd name="T3" fmla="*/ 8 h 9"/>
                <a:gd name="T4" fmla="*/ 14 w 15"/>
                <a:gd name="T5" fmla="*/ 3 h 9"/>
                <a:gd name="T6" fmla="*/ 6 w 15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9">
                  <a:moveTo>
                    <a:pt x="6" y="8"/>
                  </a:moveTo>
                  <a:lnTo>
                    <a:pt x="11" y="8"/>
                  </a:lnTo>
                  <a:cubicBezTo>
                    <a:pt x="8" y="8"/>
                    <a:pt x="11" y="5"/>
                    <a:pt x="14" y="3"/>
                  </a:cubicBezTo>
                  <a:cubicBezTo>
                    <a:pt x="6" y="0"/>
                    <a:pt x="0" y="3"/>
                    <a:pt x="6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24" name="Freeform 851"/>
            <p:cNvSpPr>
              <a:spLocks noChangeArrowheads="1"/>
            </p:cNvSpPr>
            <p:nvPr/>
          </p:nvSpPr>
          <p:spPr bwMode="auto">
            <a:xfrm>
              <a:off x="4251325" y="2670175"/>
              <a:ext cx="3175" cy="1588"/>
            </a:xfrm>
            <a:custGeom>
              <a:avLst/>
              <a:gdLst>
                <a:gd name="T0" fmla="*/ 9 w 10"/>
                <a:gd name="T1" fmla="*/ 0 h 3"/>
                <a:gd name="T2" fmla="*/ 0 w 10"/>
                <a:gd name="T3" fmla="*/ 2 h 3"/>
                <a:gd name="T4" fmla="*/ 9 w 10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">
                  <a:moveTo>
                    <a:pt x="9" y="0"/>
                  </a:moveTo>
                  <a:cubicBezTo>
                    <a:pt x="6" y="0"/>
                    <a:pt x="3" y="0"/>
                    <a:pt x="0" y="2"/>
                  </a:cubicBezTo>
                  <a:cubicBezTo>
                    <a:pt x="3" y="2"/>
                    <a:pt x="9" y="2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25" name="Freeform 852"/>
            <p:cNvSpPr>
              <a:spLocks noChangeArrowheads="1"/>
            </p:cNvSpPr>
            <p:nvPr/>
          </p:nvSpPr>
          <p:spPr bwMode="auto">
            <a:xfrm>
              <a:off x="4278313" y="2673350"/>
              <a:ext cx="1587" cy="3175"/>
            </a:xfrm>
            <a:custGeom>
              <a:avLst/>
              <a:gdLst>
                <a:gd name="T0" fmla="*/ 3 w 4"/>
                <a:gd name="T1" fmla="*/ 3 h 7"/>
                <a:gd name="T2" fmla="*/ 3 w 4"/>
                <a:gd name="T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7">
                  <a:moveTo>
                    <a:pt x="3" y="3"/>
                  </a:moveTo>
                  <a:cubicBezTo>
                    <a:pt x="3" y="6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26" name="Freeform 853"/>
            <p:cNvSpPr>
              <a:spLocks noChangeArrowheads="1"/>
            </p:cNvSpPr>
            <p:nvPr/>
          </p:nvSpPr>
          <p:spPr bwMode="auto">
            <a:xfrm>
              <a:off x="4278313" y="2678113"/>
              <a:ext cx="1587" cy="3175"/>
            </a:xfrm>
            <a:custGeom>
              <a:avLst/>
              <a:gdLst>
                <a:gd name="T0" fmla="*/ 5 w 6"/>
                <a:gd name="T1" fmla="*/ 6 h 7"/>
                <a:gd name="T2" fmla="*/ 5 w 6"/>
                <a:gd name="T3" fmla="*/ 0 h 7"/>
                <a:gd name="T4" fmla="*/ 0 w 6"/>
                <a:gd name="T5" fmla="*/ 0 h 7"/>
                <a:gd name="T6" fmla="*/ 0 w 6"/>
                <a:gd name="T7" fmla="*/ 6 h 7"/>
                <a:gd name="T8" fmla="*/ 5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6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27" name="Freeform 854"/>
            <p:cNvSpPr>
              <a:spLocks noChangeArrowheads="1"/>
            </p:cNvSpPr>
            <p:nvPr/>
          </p:nvSpPr>
          <p:spPr bwMode="auto">
            <a:xfrm>
              <a:off x="4284663" y="2681288"/>
              <a:ext cx="3175" cy="1587"/>
            </a:xfrm>
            <a:custGeom>
              <a:avLst/>
              <a:gdLst>
                <a:gd name="T0" fmla="*/ 9 w 10"/>
                <a:gd name="T1" fmla="*/ 0 h 6"/>
                <a:gd name="T2" fmla="*/ 0 w 10"/>
                <a:gd name="T3" fmla="*/ 3 h 6"/>
                <a:gd name="T4" fmla="*/ 9 w 10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6">
                  <a:moveTo>
                    <a:pt x="9" y="0"/>
                  </a:moveTo>
                  <a:cubicBezTo>
                    <a:pt x="6" y="0"/>
                    <a:pt x="3" y="0"/>
                    <a:pt x="0" y="3"/>
                  </a:cubicBezTo>
                  <a:cubicBezTo>
                    <a:pt x="3" y="3"/>
                    <a:pt x="9" y="5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28" name="Freeform 855"/>
            <p:cNvSpPr>
              <a:spLocks noChangeArrowheads="1"/>
            </p:cNvSpPr>
            <p:nvPr/>
          </p:nvSpPr>
          <p:spPr bwMode="auto">
            <a:xfrm>
              <a:off x="4291013" y="2681288"/>
              <a:ext cx="3175" cy="4762"/>
            </a:xfrm>
            <a:custGeom>
              <a:avLst/>
              <a:gdLst>
                <a:gd name="T0" fmla="*/ 3 w 10"/>
                <a:gd name="T1" fmla="*/ 0 h 15"/>
                <a:gd name="T2" fmla="*/ 0 w 10"/>
                <a:gd name="T3" fmla="*/ 8 h 15"/>
                <a:gd name="T4" fmla="*/ 3 w 10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3" y="0"/>
                  </a:moveTo>
                  <a:cubicBezTo>
                    <a:pt x="3" y="2"/>
                    <a:pt x="0" y="2"/>
                    <a:pt x="0" y="8"/>
                  </a:cubicBezTo>
                  <a:cubicBezTo>
                    <a:pt x="6" y="14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29" name="Freeform 856"/>
            <p:cNvSpPr>
              <a:spLocks noChangeArrowheads="1"/>
            </p:cNvSpPr>
            <p:nvPr/>
          </p:nvSpPr>
          <p:spPr bwMode="auto">
            <a:xfrm>
              <a:off x="4229100" y="2673350"/>
              <a:ext cx="4763" cy="3175"/>
            </a:xfrm>
            <a:custGeom>
              <a:avLst/>
              <a:gdLst>
                <a:gd name="T0" fmla="*/ 0 w 13"/>
                <a:gd name="T1" fmla="*/ 6 h 7"/>
                <a:gd name="T2" fmla="*/ 12 w 13"/>
                <a:gd name="T3" fmla="*/ 3 h 7"/>
                <a:gd name="T4" fmla="*/ 0 w 13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0" y="6"/>
                  </a:moveTo>
                  <a:cubicBezTo>
                    <a:pt x="3" y="6"/>
                    <a:pt x="9" y="6"/>
                    <a:pt x="12" y="3"/>
                  </a:cubicBezTo>
                  <a:cubicBezTo>
                    <a:pt x="6" y="0"/>
                    <a:pt x="3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30" name="Freeform 857"/>
            <p:cNvSpPr>
              <a:spLocks noChangeArrowheads="1"/>
            </p:cNvSpPr>
            <p:nvPr/>
          </p:nvSpPr>
          <p:spPr bwMode="auto">
            <a:xfrm>
              <a:off x="4278313" y="2681288"/>
              <a:ext cx="3175" cy="4762"/>
            </a:xfrm>
            <a:custGeom>
              <a:avLst/>
              <a:gdLst>
                <a:gd name="T0" fmla="*/ 5 w 9"/>
                <a:gd name="T1" fmla="*/ 11 h 12"/>
                <a:gd name="T2" fmla="*/ 0 w 9"/>
                <a:gd name="T3" fmla="*/ 0 h 12"/>
                <a:gd name="T4" fmla="*/ 5 w 9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5" y="11"/>
                  </a:moveTo>
                  <a:cubicBezTo>
                    <a:pt x="8" y="5"/>
                    <a:pt x="3" y="2"/>
                    <a:pt x="0" y="0"/>
                  </a:cubicBezTo>
                  <a:cubicBezTo>
                    <a:pt x="0" y="5"/>
                    <a:pt x="3" y="8"/>
                    <a:pt x="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31" name="Freeform 858"/>
            <p:cNvSpPr>
              <a:spLocks noChangeArrowheads="1"/>
            </p:cNvSpPr>
            <p:nvPr/>
          </p:nvSpPr>
          <p:spPr bwMode="auto">
            <a:xfrm>
              <a:off x="4222750" y="2673350"/>
              <a:ext cx="3175" cy="3175"/>
            </a:xfrm>
            <a:custGeom>
              <a:avLst/>
              <a:gdLst>
                <a:gd name="T0" fmla="*/ 0 w 7"/>
                <a:gd name="T1" fmla="*/ 0 h 7"/>
                <a:gd name="T2" fmla="*/ 0 w 7"/>
                <a:gd name="T3" fmla="*/ 6 h 7"/>
                <a:gd name="T4" fmla="*/ 6 w 7"/>
                <a:gd name="T5" fmla="*/ 6 h 7"/>
                <a:gd name="T6" fmla="*/ 6 w 7"/>
                <a:gd name="T7" fmla="*/ 0 h 7"/>
                <a:gd name="T8" fmla="*/ 0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32" name="Freeform 859"/>
            <p:cNvSpPr>
              <a:spLocks noChangeArrowheads="1"/>
            </p:cNvSpPr>
            <p:nvPr/>
          </p:nvSpPr>
          <p:spPr bwMode="auto">
            <a:xfrm>
              <a:off x="4298950" y="269398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33" name="Freeform 860"/>
            <p:cNvSpPr>
              <a:spLocks noChangeArrowheads="1"/>
            </p:cNvSpPr>
            <p:nvPr/>
          </p:nvSpPr>
          <p:spPr bwMode="auto">
            <a:xfrm>
              <a:off x="4300538" y="2693988"/>
              <a:ext cx="4762" cy="4762"/>
            </a:xfrm>
            <a:custGeom>
              <a:avLst/>
              <a:gdLst>
                <a:gd name="T0" fmla="*/ 14 w 15"/>
                <a:gd name="T1" fmla="*/ 6 h 15"/>
                <a:gd name="T2" fmla="*/ 14 w 15"/>
                <a:gd name="T3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14" y="6"/>
                  </a:moveTo>
                  <a:cubicBezTo>
                    <a:pt x="0" y="0"/>
                    <a:pt x="8" y="14"/>
                    <a:pt x="14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34" name="Freeform 861"/>
            <p:cNvSpPr>
              <a:spLocks noChangeArrowheads="1"/>
            </p:cNvSpPr>
            <p:nvPr/>
          </p:nvSpPr>
          <p:spPr bwMode="auto">
            <a:xfrm>
              <a:off x="4305300" y="2695575"/>
              <a:ext cx="6350" cy="4763"/>
            </a:xfrm>
            <a:custGeom>
              <a:avLst/>
              <a:gdLst>
                <a:gd name="T0" fmla="*/ 17 w 18"/>
                <a:gd name="T1" fmla="*/ 9 h 15"/>
                <a:gd name="T2" fmla="*/ 0 w 18"/>
                <a:gd name="T3" fmla="*/ 9 h 15"/>
                <a:gd name="T4" fmla="*/ 17 w 18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7" y="9"/>
                  </a:moveTo>
                  <a:cubicBezTo>
                    <a:pt x="11" y="6"/>
                    <a:pt x="6" y="0"/>
                    <a:pt x="0" y="9"/>
                  </a:cubicBezTo>
                  <a:cubicBezTo>
                    <a:pt x="8" y="9"/>
                    <a:pt x="17" y="14"/>
                    <a:pt x="17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35" name="Freeform 862"/>
            <p:cNvSpPr>
              <a:spLocks noChangeArrowheads="1"/>
            </p:cNvSpPr>
            <p:nvPr/>
          </p:nvSpPr>
          <p:spPr bwMode="auto">
            <a:xfrm>
              <a:off x="4292600" y="2692400"/>
              <a:ext cx="3175" cy="6350"/>
            </a:xfrm>
            <a:custGeom>
              <a:avLst/>
              <a:gdLst>
                <a:gd name="T0" fmla="*/ 9 w 10"/>
                <a:gd name="T1" fmla="*/ 11 h 18"/>
                <a:gd name="T2" fmla="*/ 9 w 10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11"/>
                  </a:moveTo>
                  <a:cubicBezTo>
                    <a:pt x="0" y="0"/>
                    <a:pt x="0" y="17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36" name="Freeform 863"/>
            <p:cNvSpPr>
              <a:spLocks noChangeArrowheads="1"/>
            </p:cNvSpPr>
            <p:nvPr/>
          </p:nvSpPr>
          <p:spPr bwMode="auto">
            <a:xfrm>
              <a:off x="4297363" y="2697163"/>
              <a:ext cx="4762" cy="4762"/>
            </a:xfrm>
            <a:custGeom>
              <a:avLst/>
              <a:gdLst>
                <a:gd name="T0" fmla="*/ 0 w 13"/>
                <a:gd name="T1" fmla="*/ 8 h 12"/>
                <a:gd name="T2" fmla="*/ 0 w 13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2">
                  <a:moveTo>
                    <a:pt x="0" y="8"/>
                  </a:moveTo>
                  <a:cubicBezTo>
                    <a:pt x="12" y="11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37" name="Freeform 864"/>
            <p:cNvSpPr>
              <a:spLocks noChangeArrowheads="1"/>
            </p:cNvSpPr>
            <p:nvPr/>
          </p:nvSpPr>
          <p:spPr bwMode="auto">
            <a:xfrm>
              <a:off x="4292600" y="2698750"/>
              <a:ext cx="4763" cy="4763"/>
            </a:xfrm>
            <a:custGeom>
              <a:avLst/>
              <a:gdLst>
                <a:gd name="T0" fmla="*/ 0 w 12"/>
                <a:gd name="T1" fmla="*/ 8 h 12"/>
                <a:gd name="T2" fmla="*/ 0 w 12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0" y="8"/>
                  </a:moveTo>
                  <a:cubicBezTo>
                    <a:pt x="11" y="11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38" name="Freeform 865"/>
            <p:cNvSpPr>
              <a:spLocks noChangeArrowheads="1"/>
            </p:cNvSpPr>
            <p:nvPr/>
          </p:nvSpPr>
          <p:spPr bwMode="auto">
            <a:xfrm>
              <a:off x="4210050" y="2686050"/>
              <a:ext cx="1588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3" y="3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39" name="Freeform 866"/>
            <p:cNvSpPr>
              <a:spLocks noChangeArrowheads="1"/>
            </p:cNvSpPr>
            <p:nvPr/>
          </p:nvSpPr>
          <p:spPr bwMode="auto">
            <a:xfrm>
              <a:off x="4275138" y="2697163"/>
              <a:ext cx="3175" cy="6350"/>
            </a:xfrm>
            <a:custGeom>
              <a:avLst/>
              <a:gdLst>
                <a:gd name="T0" fmla="*/ 0 w 7"/>
                <a:gd name="T1" fmla="*/ 5 h 18"/>
                <a:gd name="T2" fmla="*/ 0 w 7"/>
                <a:gd name="T3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5"/>
                  </a:moveTo>
                  <a:cubicBezTo>
                    <a:pt x="3" y="17"/>
                    <a:pt x="6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40" name="Freeform 867"/>
            <p:cNvSpPr>
              <a:spLocks noChangeArrowheads="1"/>
            </p:cNvSpPr>
            <p:nvPr/>
          </p:nvSpPr>
          <p:spPr bwMode="auto">
            <a:xfrm>
              <a:off x="4210050" y="2689225"/>
              <a:ext cx="1588" cy="6350"/>
            </a:xfrm>
            <a:custGeom>
              <a:avLst/>
              <a:gdLst>
                <a:gd name="T0" fmla="*/ 0 w 4"/>
                <a:gd name="T1" fmla="*/ 6 h 18"/>
                <a:gd name="T2" fmla="*/ 0 w 4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8">
                  <a:moveTo>
                    <a:pt x="0" y="6"/>
                  </a:moveTo>
                  <a:cubicBezTo>
                    <a:pt x="3" y="17"/>
                    <a:pt x="3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41" name="Freeform 868"/>
            <p:cNvSpPr>
              <a:spLocks noChangeArrowheads="1"/>
            </p:cNvSpPr>
            <p:nvPr/>
          </p:nvSpPr>
          <p:spPr bwMode="auto">
            <a:xfrm>
              <a:off x="4298950" y="2686050"/>
              <a:ext cx="7938" cy="3175"/>
            </a:xfrm>
            <a:custGeom>
              <a:avLst/>
              <a:gdLst>
                <a:gd name="T0" fmla="*/ 0 w 21"/>
                <a:gd name="T1" fmla="*/ 8 h 9"/>
                <a:gd name="T2" fmla="*/ 11 w 21"/>
                <a:gd name="T3" fmla="*/ 0 h 9"/>
                <a:gd name="T4" fmla="*/ 0 w 21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9">
                  <a:moveTo>
                    <a:pt x="0" y="8"/>
                  </a:moveTo>
                  <a:cubicBezTo>
                    <a:pt x="6" y="8"/>
                    <a:pt x="20" y="5"/>
                    <a:pt x="11" y="0"/>
                  </a:cubicBezTo>
                  <a:cubicBezTo>
                    <a:pt x="9" y="5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42" name="Freeform 869"/>
            <p:cNvSpPr>
              <a:spLocks noChangeArrowheads="1"/>
            </p:cNvSpPr>
            <p:nvPr/>
          </p:nvSpPr>
          <p:spPr bwMode="auto">
            <a:xfrm>
              <a:off x="4283075" y="2689225"/>
              <a:ext cx="6350" cy="4763"/>
            </a:xfrm>
            <a:custGeom>
              <a:avLst/>
              <a:gdLst>
                <a:gd name="T0" fmla="*/ 0 w 18"/>
                <a:gd name="T1" fmla="*/ 6 h 13"/>
                <a:gd name="T2" fmla="*/ 11 w 18"/>
                <a:gd name="T3" fmla="*/ 0 h 13"/>
                <a:gd name="T4" fmla="*/ 0 w 18"/>
                <a:gd name="T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0" y="6"/>
                  </a:moveTo>
                  <a:cubicBezTo>
                    <a:pt x="8" y="12"/>
                    <a:pt x="17" y="3"/>
                    <a:pt x="11" y="0"/>
                  </a:cubicBezTo>
                  <a:cubicBezTo>
                    <a:pt x="11" y="6"/>
                    <a:pt x="3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43" name="Freeform 870"/>
            <p:cNvSpPr>
              <a:spLocks noChangeArrowheads="1"/>
            </p:cNvSpPr>
            <p:nvPr/>
          </p:nvSpPr>
          <p:spPr bwMode="auto">
            <a:xfrm>
              <a:off x="4302125" y="2698750"/>
              <a:ext cx="3175" cy="3175"/>
            </a:xfrm>
            <a:custGeom>
              <a:avLst/>
              <a:gdLst>
                <a:gd name="T0" fmla="*/ 6 w 10"/>
                <a:gd name="T1" fmla="*/ 0 h 10"/>
                <a:gd name="T2" fmla="*/ 0 w 10"/>
                <a:gd name="T3" fmla="*/ 0 h 10"/>
                <a:gd name="T4" fmla="*/ 0 w 10"/>
                <a:gd name="T5" fmla="*/ 9 h 10"/>
                <a:gd name="T6" fmla="*/ 6 w 1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6" y="0"/>
                  </a:moveTo>
                  <a:lnTo>
                    <a:pt x="0" y="0"/>
                  </a:lnTo>
                  <a:lnTo>
                    <a:pt x="0" y="9"/>
                  </a:lnTo>
                  <a:cubicBezTo>
                    <a:pt x="6" y="9"/>
                    <a:pt x="9" y="6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44" name="Freeform 871"/>
            <p:cNvSpPr>
              <a:spLocks noChangeArrowheads="1"/>
            </p:cNvSpPr>
            <p:nvPr/>
          </p:nvSpPr>
          <p:spPr bwMode="auto">
            <a:xfrm>
              <a:off x="4300538" y="2684463"/>
              <a:ext cx="3175" cy="7937"/>
            </a:xfrm>
            <a:custGeom>
              <a:avLst/>
              <a:gdLst>
                <a:gd name="T0" fmla="*/ 6 w 7"/>
                <a:gd name="T1" fmla="*/ 14 h 24"/>
                <a:gd name="T2" fmla="*/ 6 w 7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4">
                  <a:moveTo>
                    <a:pt x="6" y="14"/>
                  </a:moveTo>
                  <a:cubicBezTo>
                    <a:pt x="0" y="0"/>
                    <a:pt x="3" y="23"/>
                    <a:pt x="6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45" name="Freeform 872"/>
            <p:cNvSpPr>
              <a:spLocks noChangeArrowheads="1"/>
            </p:cNvSpPr>
            <p:nvPr/>
          </p:nvSpPr>
          <p:spPr bwMode="auto">
            <a:xfrm>
              <a:off x="4297363" y="2695575"/>
              <a:ext cx="3175" cy="6350"/>
            </a:xfrm>
            <a:custGeom>
              <a:avLst/>
              <a:gdLst>
                <a:gd name="T0" fmla="*/ 0 w 7"/>
                <a:gd name="T1" fmla="*/ 3 h 18"/>
                <a:gd name="T2" fmla="*/ 0 w 7"/>
                <a:gd name="T3" fmla="*/ 11 h 18"/>
                <a:gd name="T4" fmla="*/ 0 w 7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8">
                  <a:moveTo>
                    <a:pt x="0" y="3"/>
                  </a:moveTo>
                  <a:lnTo>
                    <a:pt x="0" y="11"/>
                  </a:lnTo>
                  <a:cubicBezTo>
                    <a:pt x="6" y="17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46" name="Freeform 873"/>
            <p:cNvSpPr>
              <a:spLocks noChangeArrowheads="1"/>
            </p:cNvSpPr>
            <p:nvPr/>
          </p:nvSpPr>
          <p:spPr bwMode="auto">
            <a:xfrm>
              <a:off x="4283075" y="2690813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0" y="11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47" name="Freeform 874"/>
            <p:cNvSpPr>
              <a:spLocks noChangeArrowheads="1"/>
            </p:cNvSpPr>
            <p:nvPr/>
          </p:nvSpPr>
          <p:spPr bwMode="auto">
            <a:xfrm>
              <a:off x="4278313" y="2681288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8 w 9"/>
                <a:gd name="T3" fmla="*/ 0 h 9"/>
                <a:gd name="T4" fmla="*/ 2 w 9"/>
                <a:gd name="T5" fmla="*/ 8 h 9"/>
                <a:gd name="T6" fmla="*/ 8 w 9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lnTo>
                    <a:pt x="8" y="0"/>
                  </a:lnTo>
                  <a:cubicBezTo>
                    <a:pt x="2" y="0"/>
                    <a:pt x="0" y="3"/>
                    <a:pt x="2" y="8"/>
                  </a:cubicBezTo>
                  <a:lnTo>
                    <a:pt x="8" y="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48" name="Freeform 875"/>
            <p:cNvSpPr>
              <a:spLocks noChangeArrowheads="1"/>
            </p:cNvSpPr>
            <p:nvPr/>
          </p:nvSpPr>
          <p:spPr bwMode="auto">
            <a:xfrm>
              <a:off x="4264025" y="2670175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49" name="Freeform 876"/>
            <p:cNvSpPr>
              <a:spLocks noChangeArrowheads="1"/>
            </p:cNvSpPr>
            <p:nvPr/>
          </p:nvSpPr>
          <p:spPr bwMode="auto">
            <a:xfrm>
              <a:off x="4246563" y="2667000"/>
              <a:ext cx="4762" cy="4763"/>
            </a:xfrm>
            <a:custGeom>
              <a:avLst/>
              <a:gdLst>
                <a:gd name="T0" fmla="*/ 9 w 15"/>
                <a:gd name="T1" fmla="*/ 14 h 15"/>
                <a:gd name="T2" fmla="*/ 9 w 15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9" y="14"/>
                  </a:moveTo>
                  <a:cubicBezTo>
                    <a:pt x="14" y="0"/>
                    <a:pt x="0" y="9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50" name="Freeform 877"/>
            <p:cNvSpPr>
              <a:spLocks noChangeArrowheads="1"/>
            </p:cNvSpPr>
            <p:nvPr/>
          </p:nvSpPr>
          <p:spPr bwMode="auto">
            <a:xfrm>
              <a:off x="4229100" y="2670175"/>
              <a:ext cx="4763" cy="4763"/>
            </a:xfrm>
            <a:custGeom>
              <a:avLst/>
              <a:gdLst>
                <a:gd name="T0" fmla="*/ 3 w 13"/>
                <a:gd name="T1" fmla="*/ 12 h 13"/>
                <a:gd name="T2" fmla="*/ 9 w 13"/>
                <a:gd name="T3" fmla="*/ 0 h 13"/>
                <a:gd name="T4" fmla="*/ 3 w 13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3" y="12"/>
                  </a:moveTo>
                  <a:cubicBezTo>
                    <a:pt x="9" y="12"/>
                    <a:pt x="12" y="6"/>
                    <a:pt x="9" y="0"/>
                  </a:cubicBezTo>
                  <a:cubicBezTo>
                    <a:pt x="3" y="0"/>
                    <a:pt x="0" y="3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51" name="Freeform 878"/>
            <p:cNvSpPr>
              <a:spLocks noChangeArrowheads="1"/>
            </p:cNvSpPr>
            <p:nvPr/>
          </p:nvSpPr>
          <p:spPr bwMode="auto">
            <a:xfrm>
              <a:off x="4195763" y="2689225"/>
              <a:ext cx="3175" cy="4763"/>
            </a:xfrm>
            <a:custGeom>
              <a:avLst/>
              <a:gdLst>
                <a:gd name="T0" fmla="*/ 0 w 10"/>
                <a:gd name="T1" fmla="*/ 0 h 13"/>
                <a:gd name="T2" fmla="*/ 0 w 10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3">
                  <a:moveTo>
                    <a:pt x="0" y="0"/>
                  </a:moveTo>
                  <a:cubicBezTo>
                    <a:pt x="0" y="12"/>
                    <a:pt x="9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52" name="Freeform 879"/>
            <p:cNvSpPr>
              <a:spLocks noChangeArrowheads="1"/>
            </p:cNvSpPr>
            <p:nvPr/>
          </p:nvSpPr>
          <p:spPr bwMode="auto">
            <a:xfrm>
              <a:off x="4291013" y="2695575"/>
              <a:ext cx="4762" cy="4763"/>
            </a:xfrm>
            <a:custGeom>
              <a:avLst/>
              <a:gdLst>
                <a:gd name="T0" fmla="*/ 6 w 15"/>
                <a:gd name="T1" fmla="*/ 8 h 12"/>
                <a:gd name="T2" fmla="*/ 3 w 15"/>
                <a:gd name="T3" fmla="*/ 3 h 12"/>
                <a:gd name="T4" fmla="*/ 6 w 15"/>
                <a:gd name="T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6" y="8"/>
                  </a:moveTo>
                  <a:cubicBezTo>
                    <a:pt x="6" y="6"/>
                    <a:pt x="3" y="0"/>
                    <a:pt x="3" y="3"/>
                  </a:cubicBezTo>
                  <a:cubicBezTo>
                    <a:pt x="0" y="11"/>
                    <a:pt x="14" y="11"/>
                    <a:pt x="6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53" name="Freeform 880"/>
            <p:cNvSpPr>
              <a:spLocks noChangeArrowheads="1"/>
            </p:cNvSpPr>
            <p:nvPr/>
          </p:nvSpPr>
          <p:spPr bwMode="auto">
            <a:xfrm>
              <a:off x="4203700" y="2676525"/>
              <a:ext cx="6350" cy="4763"/>
            </a:xfrm>
            <a:custGeom>
              <a:avLst/>
              <a:gdLst>
                <a:gd name="T0" fmla="*/ 0 w 18"/>
                <a:gd name="T1" fmla="*/ 9 h 13"/>
                <a:gd name="T2" fmla="*/ 0 w 18"/>
                <a:gd name="T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0" y="9"/>
                  </a:moveTo>
                  <a:cubicBezTo>
                    <a:pt x="17" y="12"/>
                    <a:pt x="5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54" name="Freeform 881"/>
            <p:cNvSpPr>
              <a:spLocks noChangeArrowheads="1"/>
            </p:cNvSpPr>
            <p:nvPr/>
          </p:nvSpPr>
          <p:spPr bwMode="auto">
            <a:xfrm>
              <a:off x="3863975" y="2722563"/>
              <a:ext cx="4763" cy="3175"/>
            </a:xfrm>
            <a:custGeom>
              <a:avLst/>
              <a:gdLst>
                <a:gd name="T0" fmla="*/ 0 w 13"/>
                <a:gd name="T1" fmla="*/ 6 h 10"/>
                <a:gd name="T2" fmla="*/ 0 w 13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6"/>
                  </a:moveTo>
                  <a:cubicBezTo>
                    <a:pt x="12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55" name="Freeform 882"/>
            <p:cNvSpPr>
              <a:spLocks noChangeArrowheads="1"/>
            </p:cNvSpPr>
            <p:nvPr/>
          </p:nvSpPr>
          <p:spPr bwMode="auto">
            <a:xfrm>
              <a:off x="3889375" y="2725738"/>
              <a:ext cx="3175" cy="3175"/>
            </a:xfrm>
            <a:custGeom>
              <a:avLst/>
              <a:gdLst>
                <a:gd name="T0" fmla="*/ 9 w 10"/>
                <a:gd name="T1" fmla="*/ 5 h 9"/>
                <a:gd name="T2" fmla="*/ 3 w 10"/>
                <a:gd name="T3" fmla="*/ 0 h 9"/>
                <a:gd name="T4" fmla="*/ 9 w 10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9" y="5"/>
                  </a:moveTo>
                  <a:cubicBezTo>
                    <a:pt x="9" y="3"/>
                    <a:pt x="6" y="0"/>
                    <a:pt x="3" y="0"/>
                  </a:cubicBezTo>
                  <a:cubicBezTo>
                    <a:pt x="0" y="3"/>
                    <a:pt x="0" y="8"/>
                    <a:pt x="9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56" name="Freeform 883"/>
            <p:cNvSpPr>
              <a:spLocks noChangeArrowheads="1"/>
            </p:cNvSpPr>
            <p:nvPr/>
          </p:nvSpPr>
          <p:spPr bwMode="auto">
            <a:xfrm>
              <a:off x="3900488" y="2722563"/>
              <a:ext cx="4762" cy="3175"/>
            </a:xfrm>
            <a:custGeom>
              <a:avLst/>
              <a:gdLst>
                <a:gd name="T0" fmla="*/ 0 w 15"/>
                <a:gd name="T1" fmla="*/ 9 h 10"/>
                <a:gd name="T2" fmla="*/ 0 w 15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0">
                  <a:moveTo>
                    <a:pt x="0" y="9"/>
                  </a:moveTo>
                  <a:cubicBezTo>
                    <a:pt x="14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57" name="Freeform 884"/>
            <p:cNvSpPr>
              <a:spLocks noChangeArrowheads="1"/>
            </p:cNvSpPr>
            <p:nvPr/>
          </p:nvSpPr>
          <p:spPr bwMode="auto">
            <a:xfrm>
              <a:off x="3951288" y="2716213"/>
              <a:ext cx="4762" cy="3175"/>
            </a:xfrm>
            <a:custGeom>
              <a:avLst/>
              <a:gdLst>
                <a:gd name="T0" fmla="*/ 0 w 13"/>
                <a:gd name="T1" fmla="*/ 9 h 10"/>
                <a:gd name="T2" fmla="*/ 0 w 13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9"/>
                  </a:moveTo>
                  <a:cubicBezTo>
                    <a:pt x="12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58" name="Freeform 885"/>
            <p:cNvSpPr>
              <a:spLocks noChangeArrowheads="1"/>
            </p:cNvSpPr>
            <p:nvPr/>
          </p:nvSpPr>
          <p:spPr bwMode="auto">
            <a:xfrm>
              <a:off x="3905250" y="2722563"/>
              <a:ext cx="3175" cy="7937"/>
            </a:xfrm>
            <a:custGeom>
              <a:avLst/>
              <a:gdLst>
                <a:gd name="T0" fmla="*/ 0 w 10"/>
                <a:gd name="T1" fmla="*/ 12 h 21"/>
                <a:gd name="T2" fmla="*/ 0 w 10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12"/>
                  </a:moveTo>
                  <a:cubicBezTo>
                    <a:pt x="9" y="20"/>
                    <a:pt x="3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59" name="Freeform 886"/>
            <p:cNvSpPr>
              <a:spLocks noChangeArrowheads="1"/>
            </p:cNvSpPr>
            <p:nvPr/>
          </p:nvSpPr>
          <p:spPr bwMode="auto">
            <a:xfrm>
              <a:off x="3922713" y="2722563"/>
              <a:ext cx="4762" cy="4762"/>
            </a:xfrm>
            <a:custGeom>
              <a:avLst/>
              <a:gdLst>
                <a:gd name="T0" fmla="*/ 9 w 15"/>
                <a:gd name="T1" fmla="*/ 14 h 15"/>
                <a:gd name="T2" fmla="*/ 0 w 15"/>
                <a:gd name="T3" fmla="*/ 3 h 15"/>
                <a:gd name="T4" fmla="*/ 9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14"/>
                  </a:moveTo>
                  <a:cubicBezTo>
                    <a:pt x="14" y="9"/>
                    <a:pt x="6" y="0"/>
                    <a:pt x="0" y="3"/>
                  </a:cubicBezTo>
                  <a:cubicBezTo>
                    <a:pt x="0" y="9"/>
                    <a:pt x="3" y="12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60" name="Freeform 887"/>
            <p:cNvSpPr>
              <a:spLocks noChangeArrowheads="1"/>
            </p:cNvSpPr>
            <p:nvPr/>
          </p:nvSpPr>
          <p:spPr bwMode="auto">
            <a:xfrm>
              <a:off x="3878263" y="2727325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61" name="Freeform 888"/>
            <p:cNvSpPr>
              <a:spLocks noChangeArrowheads="1"/>
            </p:cNvSpPr>
            <p:nvPr/>
          </p:nvSpPr>
          <p:spPr bwMode="auto">
            <a:xfrm>
              <a:off x="3946525" y="2719388"/>
              <a:ext cx="4763" cy="3175"/>
            </a:xfrm>
            <a:custGeom>
              <a:avLst/>
              <a:gdLst>
                <a:gd name="T0" fmla="*/ 0 w 12"/>
                <a:gd name="T1" fmla="*/ 6 h 9"/>
                <a:gd name="T2" fmla="*/ 0 w 12"/>
                <a:gd name="T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6"/>
                  </a:moveTo>
                  <a:cubicBezTo>
                    <a:pt x="11" y="8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62" name="Freeform 889"/>
            <p:cNvSpPr>
              <a:spLocks noChangeArrowheads="1"/>
            </p:cNvSpPr>
            <p:nvPr/>
          </p:nvSpPr>
          <p:spPr bwMode="auto">
            <a:xfrm>
              <a:off x="3863975" y="2732088"/>
              <a:ext cx="1588" cy="1587"/>
            </a:xfrm>
            <a:custGeom>
              <a:avLst/>
              <a:gdLst>
                <a:gd name="T0" fmla="*/ 0 w 3"/>
                <a:gd name="T1" fmla="*/ 2 h 3"/>
                <a:gd name="T2" fmla="*/ 0 w 3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2" y="2"/>
                    <a:pt x="0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63" name="Freeform 890"/>
            <p:cNvSpPr>
              <a:spLocks noChangeArrowheads="1"/>
            </p:cNvSpPr>
            <p:nvPr/>
          </p:nvSpPr>
          <p:spPr bwMode="auto">
            <a:xfrm>
              <a:off x="3897313" y="2727325"/>
              <a:ext cx="4762" cy="3175"/>
            </a:xfrm>
            <a:custGeom>
              <a:avLst/>
              <a:gdLst>
                <a:gd name="T0" fmla="*/ 0 w 12"/>
                <a:gd name="T1" fmla="*/ 5 h 9"/>
                <a:gd name="T2" fmla="*/ 0 w 12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11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64" name="Freeform 891"/>
            <p:cNvSpPr>
              <a:spLocks noChangeArrowheads="1"/>
            </p:cNvSpPr>
            <p:nvPr/>
          </p:nvSpPr>
          <p:spPr bwMode="auto">
            <a:xfrm>
              <a:off x="3951288" y="2720975"/>
              <a:ext cx="7937" cy="4763"/>
            </a:xfrm>
            <a:custGeom>
              <a:avLst/>
              <a:gdLst>
                <a:gd name="T0" fmla="*/ 9 w 21"/>
                <a:gd name="T1" fmla="*/ 14 h 15"/>
                <a:gd name="T2" fmla="*/ 9 w 21"/>
                <a:gd name="T3" fmla="*/ 0 h 15"/>
                <a:gd name="T4" fmla="*/ 9 w 21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5">
                  <a:moveTo>
                    <a:pt x="9" y="14"/>
                  </a:moveTo>
                  <a:cubicBezTo>
                    <a:pt x="9" y="8"/>
                    <a:pt x="20" y="3"/>
                    <a:pt x="9" y="0"/>
                  </a:cubicBezTo>
                  <a:cubicBezTo>
                    <a:pt x="14" y="8"/>
                    <a:pt x="0" y="11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65" name="Freeform 892"/>
            <p:cNvSpPr>
              <a:spLocks noChangeArrowheads="1"/>
            </p:cNvSpPr>
            <p:nvPr/>
          </p:nvSpPr>
          <p:spPr bwMode="auto">
            <a:xfrm>
              <a:off x="3881438" y="2728913"/>
              <a:ext cx="4762" cy="3175"/>
            </a:xfrm>
            <a:custGeom>
              <a:avLst/>
              <a:gdLst>
                <a:gd name="T0" fmla="*/ 0 w 13"/>
                <a:gd name="T1" fmla="*/ 6 h 10"/>
                <a:gd name="T2" fmla="*/ 0 w 13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6"/>
                  </a:moveTo>
                  <a:cubicBezTo>
                    <a:pt x="12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66" name="Freeform 893"/>
            <p:cNvSpPr>
              <a:spLocks noChangeArrowheads="1"/>
            </p:cNvSpPr>
            <p:nvPr/>
          </p:nvSpPr>
          <p:spPr bwMode="auto">
            <a:xfrm>
              <a:off x="3894138" y="2728913"/>
              <a:ext cx="4762" cy="3175"/>
            </a:xfrm>
            <a:custGeom>
              <a:avLst/>
              <a:gdLst>
                <a:gd name="T0" fmla="*/ 9 w 13"/>
                <a:gd name="T1" fmla="*/ 0 h 10"/>
                <a:gd name="T2" fmla="*/ 0 w 13"/>
                <a:gd name="T3" fmla="*/ 9 h 10"/>
                <a:gd name="T4" fmla="*/ 9 w 13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9" y="0"/>
                  </a:moveTo>
                  <a:cubicBezTo>
                    <a:pt x="0" y="0"/>
                    <a:pt x="0" y="6"/>
                    <a:pt x="0" y="9"/>
                  </a:cubicBezTo>
                  <a:cubicBezTo>
                    <a:pt x="9" y="9"/>
                    <a:pt x="12" y="6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67" name="Freeform 894"/>
            <p:cNvSpPr>
              <a:spLocks noChangeArrowheads="1"/>
            </p:cNvSpPr>
            <p:nvPr/>
          </p:nvSpPr>
          <p:spPr bwMode="auto">
            <a:xfrm>
              <a:off x="3929063" y="2722563"/>
              <a:ext cx="3175" cy="7937"/>
            </a:xfrm>
            <a:custGeom>
              <a:avLst/>
              <a:gdLst>
                <a:gd name="T0" fmla="*/ 0 w 9"/>
                <a:gd name="T1" fmla="*/ 9 h 21"/>
                <a:gd name="T2" fmla="*/ 0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9"/>
                  </a:moveTo>
                  <a:cubicBezTo>
                    <a:pt x="8" y="20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68" name="Freeform 895"/>
            <p:cNvSpPr>
              <a:spLocks noChangeArrowheads="1"/>
            </p:cNvSpPr>
            <p:nvPr/>
          </p:nvSpPr>
          <p:spPr bwMode="auto">
            <a:xfrm>
              <a:off x="3917950" y="2725738"/>
              <a:ext cx="4763" cy="6350"/>
            </a:xfrm>
            <a:custGeom>
              <a:avLst/>
              <a:gdLst>
                <a:gd name="T0" fmla="*/ 0 w 12"/>
                <a:gd name="T1" fmla="*/ 5 h 18"/>
                <a:gd name="T2" fmla="*/ 0 w 12"/>
                <a:gd name="T3" fmla="*/ 14 h 18"/>
                <a:gd name="T4" fmla="*/ 0 w 12"/>
                <a:gd name="T5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8">
                  <a:moveTo>
                    <a:pt x="0" y="5"/>
                  </a:moveTo>
                  <a:lnTo>
                    <a:pt x="0" y="14"/>
                  </a:lnTo>
                  <a:cubicBezTo>
                    <a:pt x="11" y="17"/>
                    <a:pt x="9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69" name="Freeform 896"/>
            <p:cNvSpPr>
              <a:spLocks noChangeArrowheads="1"/>
            </p:cNvSpPr>
            <p:nvPr/>
          </p:nvSpPr>
          <p:spPr bwMode="auto">
            <a:xfrm>
              <a:off x="3963988" y="2719388"/>
              <a:ext cx="3175" cy="6350"/>
            </a:xfrm>
            <a:custGeom>
              <a:avLst/>
              <a:gdLst>
                <a:gd name="T0" fmla="*/ 8 w 9"/>
                <a:gd name="T1" fmla="*/ 8 h 18"/>
                <a:gd name="T2" fmla="*/ 8 w 9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8"/>
                  </a:moveTo>
                  <a:cubicBezTo>
                    <a:pt x="0" y="0"/>
                    <a:pt x="3" y="17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70" name="Freeform 897"/>
            <p:cNvSpPr>
              <a:spLocks noChangeArrowheads="1"/>
            </p:cNvSpPr>
            <p:nvPr/>
          </p:nvSpPr>
          <p:spPr bwMode="auto">
            <a:xfrm>
              <a:off x="3868738" y="2732088"/>
              <a:ext cx="4762" cy="7937"/>
            </a:xfrm>
            <a:custGeom>
              <a:avLst/>
              <a:gdLst>
                <a:gd name="T0" fmla="*/ 14 w 15"/>
                <a:gd name="T1" fmla="*/ 8 h 20"/>
                <a:gd name="T2" fmla="*/ 14 w 15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0">
                  <a:moveTo>
                    <a:pt x="14" y="8"/>
                  </a:moveTo>
                  <a:cubicBezTo>
                    <a:pt x="0" y="0"/>
                    <a:pt x="5" y="19"/>
                    <a:pt x="1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71" name="Freeform 898"/>
            <p:cNvSpPr>
              <a:spLocks noChangeArrowheads="1"/>
            </p:cNvSpPr>
            <p:nvPr/>
          </p:nvSpPr>
          <p:spPr bwMode="auto">
            <a:xfrm>
              <a:off x="3897313" y="2732088"/>
              <a:ext cx="1587" cy="1587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2" y="3"/>
                    <a:pt x="0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72" name="Freeform 899"/>
            <p:cNvSpPr>
              <a:spLocks noChangeArrowheads="1"/>
            </p:cNvSpPr>
            <p:nvPr/>
          </p:nvSpPr>
          <p:spPr bwMode="auto">
            <a:xfrm>
              <a:off x="3905250" y="2728913"/>
              <a:ext cx="4763" cy="3175"/>
            </a:xfrm>
            <a:custGeom>
              <a:avLst/>
              <a:gdLst>
                <a:gd name="T0" fmla="*/ 0 w 13"/>
                <a:gd name="T1" fmla="*/ 0 h 7"/>
                <a:gd name="T2" fmla="*/ 12 w 13"/>
                <a:gd name="T3" fmla="*/ 6 h 7"/>
                <a:gd name="T4" fmla="*/ 0 w 13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0" y="0"/>
                  </a:moveTo>
                  <a:cubicBezTo>
                    <a:pt x="0" y="6"/>
                    <a:pt x="6" y="6"/>
                    <a:pt x="12" y="6"/>
                  </a:cubicBezTo>
                  <a:cubicBezTo>
                    <a:pt x="12" y="0"/>
                    <a:pt x="6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73" name="Freeform 900"/>
            <p:cNvSpPr>
              <a:spLocks noChangeArrowheads="1"/>
            </p:cNvSpPr>
            <p:nvPr/>
          </p:nvSpPr>
          <p:spPr bwMode="auto">
            <a:xfrm>
              <a:off x="3863975" y="2735263"/>
              <a:ext cx="3175" cy="6350"/>
            </a:xfrm>
            <a:custGeom>
              <a:avLst/>
              <a:gdLst>
                <a:gd name="T0" fmla="*/ 0 w 7"/>
                <a:gd name="T1" fmla="*/ 8 h 18"/>
                <a:gd name="T2" fmla="*/ 0 w 7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8"/>
                  </a:moveTo>
                  <a:cubicBezTo>
                    <a:pt x="6" y="17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74" name="Freeform 901"/>
            <p:cNvSpPr>
              <a:spLocks noChangeArrowheads="1"/>
            </p:cNvSpPr>
            <p:nvPr/>
          </p:nvSpPr>
          <p:spPr bwMode="auto">
            <a:xfrm>
              <a:off x="3895725" y="2732088"/>
              <a:ext cx="4763" cy="4762"/>
            </a:xfrm>
            <a:custGeom>
              <a:avLst/>
              <a:gdLst>
                <a:gd name="T0" fmla="*/ 0 w 12"/>
                <a:gd name="T1" fmla="*/ 8 h 12"/>
                <a:gd name="T2" fmla="*/ 0 w 12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0" y="8"/>
                  </a:moveTo>
                  <a:cubicBezTo>
                    <a:pt x="11" y="11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75" name="Freeform 902"/>
            <p:cNvSpPr>
              <a:spLocks noChangeArrowheads="1"/>
            </p:cNvSpPr>
            <p:nvPr/>
          </p:nvSpPr>
          <p:spPr bwMode="auto">
            <a:xfrm>
              <a:off x="3902075" y="2732088"/>
              <a:ext cx="4763" cy="4762"/>
            </a:xfrm>
            <a:custGeom>
              <a:avLst/>
              <a:gdLst>
                <a:gd name="T0" fmla="*/ 0 w 15"/>
                <a:gd name="T1" fmla="*/ 8 h 15"/>
                <a:gd name="T2" fmla="*/ 14 w 15"/>
                <a:gd name="T3" fmla="*/ 14 h 15"/>
                <a:gd name="T4" fmla="*/ 0 w 15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0" y="8"/>
                  </a:moveTo>
                  <a:cubicBezTo>
                    <a:pt x="5" y="11"/>
                    <a:pt x="8" y="14"/>
                    <a:pt x="14" y="14"/>
                  </a:cubicBezTo>
                  <a:cubicBezTo>
                    <a:pt x="11" y="8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76" name="Freeform 903"/>
            <p:cNvSpPr>
              <a:spLocks noChangeArrowheads="1"/>
            </p:cNvSpPr>
            <p:nvPr/>
          </p:nvSpPr>
          <p:spPr bwMode="auto">
            <a:xfrm>
              <a:off x="3948113" y="2728913"/>
              <a:ext cx="1587" cy="1587"/>
            </a:xfrm>
            <a:custGeom>
              <a:avLst/>
              <a:gdLst>
                <a:gd name="T0" fmla="*/ 0 w 3"/>
                <a:gd name="T1" fmla="*/ 3 h 4"/>
                <a:gd name="T2" fmla="*/ 0 w 3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0" y="3"/>
                  </a:moveTo>
                  <a:cubicBezTo>
                    <a:pt x="2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77" name="Freeform 904"/>
            <p:cNvSpPr>
              <a:spLocks noChangeArrowheads="1"/>
            </p:cNvSpPr>
            <p:nvPr/>
          </p:nvSpPr>
          <p:spPr bwMode="auto">
            <a:xfrm>
              <a:off x="3919538" y="2733675"/>
              <a:ext cx="4762" cy="4763"/>
            </a:xfrm>
            <a:custGeom>
              <a:avLst/>
              <a:gdLst>
                <a:gd name="T0" fmla="*/ 14 w 15"/>
                <a:gd name="T1" fmla="*/ 0 h 15"/>
                <a:gd name="T2" fmla="*/ 0 w 15"/>
                <a:gd name="T3" fmla="*/ 6 h 15"/>
                <a:gd name="T4" fmla="*/ 0 w 15"/>
                <a:gd name="T5" fmla="*/ 14 h 15"/>
                <a:gd name="T6" fmla="*/ 14 w 15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14" y="0"/>
                  </a:moveTo>
                  <a:cubicBezTo>
                    <a:pt x="8" y="0"/>
                    <a:pt x="3" y="0"/>
                    <a:pt x="0" y="6"/>
                  </a:cubicBezTo>
                  <a:lnTo>
                    <a:pt x="0" y="14"/>
                  </a:lnTo>
                  <a:cubicBezTo>
                    <a:pt x="5" y="14"/>
                    <a:pt x="14" y="9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78" name="Freeform 905"/>
            <p:cNvSpPr>
              <a:spLocks noChangeArrowheads="1"/>
            </p:cNvSpPr>
            <p:nvPr/>
          </p:nvSpPr>
          <p:spPr bwMode="auto">
            <a:xfrm>
              <a:off x="3956050" y="2727325"/>
              <a:ext cx="4763" cy="3175"/>
            </a:xfrm>
            <a:custGeom>
              <a:avLst/>
              <a:gdLst>
                <a:gd name="T0" fmla="*/ 0 w 12"/>
                <a:gd name="T1" fmla="*/ 6 h 10"/>
                <a:gd name="T2" fmla="*/ 3 w 12"/>
                <a:gd name="T3" fmla="*/ 9 h 10"/>
                <a:gd name="T4" fmla="*/ 9 w 12"/>
                <a:gd name="T5" fmla="*/ 9 h 10"/>
                <a:gd name="T6" fmla="*/ 0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3" y="6"/>
                    <a:pt x="3" y="6"/>
                    <a:pt x="3" y="9"/>
                  </a:cubicBezTo>
                  <a:lnTo>
                    <a:pt x="9" y="9"/>
                  </a:lnTo>
                  <a:cubicBezTo>
                    <a:pt x="11" y="0"/>
                    <a:pt x="0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79" name="Freeform 906"/>
            <p:cNvSpPr>
              <a:spLocks noChangeArrowheads="1"/>
            </p:cNvSpPr>
            <p:nvPr/>
          </p:nvSpPr>
          <p:spPr bwMode="auto">
            <a:xfrm>
              <a:off x="3871913" y="2740025"/>
              <a:ext cx="4762" cy="4763"/>
            </a:xfrm>
            <a:custGeom>
              <a:avLst/>
              <a:gdLst>
                <a:gd name="T0" fmla="*/ 14 w 15"/>
                <a:gd name="T1" fmla="*/ 9 h 15"/>
                <a:gd name="T2" fmla="*/ 0 w 15"/>
                <a:gd name="T3" fmla="*/ 0 h 15"/>
                <a:gd name="T4" fmla="*/ 14 w 15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9"/>
                  </a:moveTo>
                  <a:cubicBezTo>
                    <a:pt x="11" y="6"/>
                    <a:pt x="6" y="0"/>
                    <a:pt x="0" y="0"/>
                  </a:cubicBezTo>
                  <a:cubicBezTo>
                    <a:pt x="0" y="6"/>
                    <a:pt x="11" y="14"/>
                    <a:pt x="1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80" name="Freeform 907"/>
            <p:cNvSpPr>
              <a:spLocks noChangeArrowheads="1"/>
            </p:cNvSpPr>
            <p:nvPr/>
          </p:nvSpPr>
          <p:spPr bwMode="auto">
            <a:xfrm>
              <a:off x="3865563" y="2741613"/>
              <a:ext cx="4762" cy="3175"/>
            </a:xfrm>
            <a:custGeom>
              <a:avLst/>
              <a:gdLst>
                <a:gd name="T0" fmla="*/ 14 w 15"/>
                <a:gd name="T1" fmla="*/ 3 h 9"/>
                <a:gd name="T2" fmla="*/ 0 w 15"/>
                <a:gd name="T3" fmla="*/ 8 h 9"/>
                <a:gd name="T4" fmla="*/ 14 w 15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3"/>
                  </a:moveTo>
                  <a:cubicBezTo>
                    <a:pt x="9" y="0"/>
                    <a:pt x="3" y="3"/>
                    <a:pt x="0" y="8"/>
                  </a:cubicBezTo>
                  <a:cubicBezTo>
                    <a:pt x="3" y="6"/>
                    <a:pt x="14" y="8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81" name="Freeform 908"/>
            <p:cNvSpPr>
              <a:spLocks noChangeArrowheads="1"/>
            </p:cNvSpPr>
            <p:nvPr/>
          </p:nvSpPr>
          <p:spPr bwMode="auto">
            <a:xfrm>
              <a:off x="3879850" y="2740025"/>
              <a:ext cx="3175" cy="6350"/>
            </a:xfrm>
            <a:custGeom>
              <a:avLst/>
              <a:gdLst>
                <a:gd name="T0" fmla="*/ 3 w 9"/>
                <a:gd name="T1" fmla="*/ 0 h 18"/>
                <a:gd name="T2" fmla="*/ 0 w 9"/>
                <a:gd name="T3" fmla="*/ 17 h 18"/>
                <a:gd name="T4" fmla="*/ 3 w 9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8">
                  <a:moveTo>
                    <a:pt x="3" y="0"/>
                  </a:moveTo>
                  <a:cubicBezTo>
                    <a:pt x="0" y="3"/>
                    <a:pt x="3" y="11"/>
                    <a:pt x="0" y="17"/>
                  </a:cubicBezTo>
                  <a:cubicBezTo>
                    <a:pt x="5" y="17"/>
                    <a:pt x="8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82" name="Freeform 909"/>
            <p:cNvSpPr>
              <a:spLocks noChangeArrowheads="1"/>
            </p:cNvSpPr>
            <p:nvPr/>
          </p:nvSpPr>
          <p:spPr bwMode="auto">
            <a:xfrm>
              <a:off x="3894138" y="2738438"/>
              <a:ext cx="4762" cy="3175"/>
            </a:xfrm>
            <a:custGeom>
              <a:avLst/>
              <a:gdLst>
                <a:gd name="T0" fmla="*/ 14 w 15"/>
                <a:gd name="T1" fmla="*/ 0 h 9"/>
                <a:gd name="T2" fmla="*/ 14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4" y="0"/>
                  </a:moveTo>
                  <a:cubicBezTo>
                    <a:pt x="0" y="0"/>
                    <a:pt x="11" y="8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83" name="Freeform 910"/>
            <p:cNvSpPr>
              <a:spLocks noChangeArrowheads="1"/>
            </p:cNvSpPr>
            <p:nvPr/>
          </p:nvSpPr>
          <p:spPr bwMode="auto">
            <a:xfrm>
              <a:off x="3937000" y="2733675"/>
              <a:ext cx="3175" cy="3175"/>
            </a:xfrm>
            <a:custGeom>
              <a:avLst/>
              <a:gdLst>
                <a:gd name="T0" fmla="*/ 0 w 9"/>
                <a:gd name="T1" fmla="*/ 3 h 10"/>
                <a:gd name="T2" fmla="*/ 0 w 9"/>
                <a:gd name="T3" fmla="*/ 9 h 10"/>
                <a:gd name="T4" fmla="*/ 8 w 9"/>
                <a:gd name="T5" fmla="*/ 9 h 10"/>
                <a:gd name="T6" fmla="*/ 0 w 9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3"/>
                  </a:moveTo>
                  <a:lnTo>
                    <a:pt x="0" y="9"/>
                  </a:lnTo>
                  <a:lnTo>
                    <a:pt x="8" y="9"/>
                  </a:lnTo>
                  <a:cubicBezTo>
                    <a:pt x="8" y="3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84" name="Freeform 911"/>
            <p:cNvSpPr>
              <a:spLocks noChangeArrowheads="1"/>
            </p:cNvSpPr>
            <p:nvPr/>
          </p:nvSpPr>
          <p:spPr bwMode="auto">
            <a:xfrm>
              <a:off x="3856038" y="2743200"/>
              <a:ext cx="4762" cy="6350"/>
            </a:xfrm>
            <a:custGeom>
              <a:avLst/>
              <a:gdLst>
                <a:gd name="T0" fmla="*/ 0 w 12"/>
                <a:gd name="T1" fmla="*/ 11 h 18"/>
                <a:gd name="T2" fmla="*/ 0 w 12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0" y="11"/>
                  </a:moveTo>
                  <a:cubicBezTo>
                    <a:pt x="11" y="17"/>
                    <a:pt x="8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85" name="Freeform 912"/>
            <p:cNvSpPr>
              <a:spLocks noChangeArrowheads="1"/>
            </p:cNvSpPr>
            <p:nvPr/>
          </p:nvSpPr>
          <p:spPr bwMode="auto">
            <a:xfrm>
              <a:off x="3902075" y="2738438"/>
              <a:ext cx="4763" cy="3175"/>
            </a:xfrm>
            <a:custGeom>
              <a:avLst/>
              <a:gdLst>
                <a:gd name="T0" fmla="*/ 3 w 12"/>
                <a:gd name="T1" fmla="*/ 8 h 9"/>
                <a:gd name="T2" fmla="*/ 3 w 12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3" y="8"/>
                  </a:moveTo>
                  <a:cubicBezTo>
                    <a:pt x="11" y="8"/>
                    <a:pt x="0" y="0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86" name="Freeform 913"/>
            <p:cNvSpPr>
              <a:spLocks noChangeArrowheads="1"/>
            </p:cNvSpPr>
            <p:nvPr/>
          </p:nvSpPr>
          <p:spPr bwMode="auto">
            <a:xfrm>
              <a:off x="3913188" y="2738438"/>
              <a:ext cx="3175" cy="4762"/>
            </a:xfrm>
            <a:custGeom>
              <a:avLst/>
              <a:gdLst>
                <a:gd name="T0" fmla="*/ 0 w 9"/>
                <a:gd name="T1" fmla="*/ 2 h 12"/>
                <a:gd name="T2" fmla="*/ 8 w 9"/>
                <a:gd name="T3" fmla="*/ 8 h 12"/>
                <a:gd name="T4" fmla="*/ 0 w 9"/>
                <a:gd name="T5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0" y="2"/>
                  </a:moveTo>
                  <a:cubicBezTo>
                    <a:pt x="0" y="8"/>
                    <a:pt x="3" y="11"/>
                    <a:pt x="8" y="8"/>
                  </a:cubicBezTo>
                  <a:cubicBezTo>
                    <a:pt x="8" y="2"/>
                    <a:pt x="6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87" name="Freeform 914"/>
            <p:cNvSpPr>
              <a:spLocks noChangeArrowheads="1"/>
            </p:cNvSpPr>
            <p:nvPr/>
          </p:nvSpPr>
          <p:spPr bwMode="auto">
            <a:xfrm>
              <a:off x="3925888" y="2735263"/>
              <a:ext cx="4762" cy="3175"/>
            </a:xfrm>
            <a:custGeom>
              <a:avLst/>
              <a:gdLst>
                <a:gd name="T0" fmla="*/ 0 w 15"/>
                <a:gd name="T1" fmla="*/ 6 h 9"/>
                <a:gd name="T2" fmla="*/ 8 w 15"/>
                <a:gd name="T3" fmla="*/ 8 h 9"/>
                <a:gd name="T4" fmla="*/ 0 w 15"/>
                <a:gd name="T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6"/>
                  </a:moveTo>
                  <a:cubicBezTo>
                    <a:pt x="0" y="6"/>
                    <a:pt x="8" y="6"/>
                    <a:pt x="8" y="8"/>
                  </a:cubicBezTo>
                  <a:cubicBezTo>
                    <a:pt x="14" y="0"/>
                    <a:pt x="0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88" name="Freeform 915"/>
            <p:cNvSpPr>
              <a:spLocks noChangeArrowheads="1"/>
            </p:cNvSpPr>
            <p:nvPr/>
          </p:nvSpPr>
          <p:spPr bwMode="auto">
            <a:xfrm>
              <a:off x="3962400" y="2732088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6 w 7"/>
                <a:gd name="T3" fmla="*/ 0 h 6"/>
                <a:gd name="T4" fmla="*/ 0 w 7"/>
                <a:gd name="T5" fmla="*/ 0 h 6"/>
                <a:gd name="T6" fmla="*/ 0 w 7"/>
                <a:gd name="T7" fmla="*/ 5 h 6"/>
                <a:gd name="T8" fmla="*/ 6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89" name="Freeform 916"/>
            <p:cNvSpPr>
              <a:spLocks noChangeArrowheads="1"/>
            </p:cNvSpPr>
            <p:nvPr/>
          </p:nvSpPr>
          <p:spPr bwMode="auto">
            <a:xfrm>
              <a:off x="3892550" y="2744788"/>
              <a:ext cx="1588" cy="3175"/>
            </a:xfrm>
            <a:custGeom>
              <a:avLst/>
              <a:gdLst>
                <a:gd name="T0" fmla="*/ 5 w 6"/>
                <a:gd name="T1" fmla="*/ 6 h 7"/>
                <a:gd name="T2" fmla="*/ 5 w 6"/>
                <a:gd name="T3" fmla="*/ 0 h 7"/>
                <a:gd name="T4" fmla="*/ 0 w 6"/>
                <a:gd name="T5" fmla="*/ 0 h 7"/>
                <a:gd name="T6" fmla="*/ 0 w 6"/>
                <a:gd name="T7" fmla="*/ 6 h 7"/>
                <a:gd name="T8" fmla="*/ 5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6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90" name="Freeform 917"/>
            <p:cNvSpPr>
              <a:spLocks noChangeArrowheads="1"/>
            </p:cNvSpPr>
            <p:nvPr/>
          </p:nvSpPr>
          <p:spPr bwMode="auto">
            <a:xfrm>
              <a:off x="3933825" y="2740025"/>
              <a:ext cx="4763" cy="4763"/>
            </a:xfrm>
            <a:custGeom>
              <a:avLst/>
              <a:gdLst>
                <a:gd name="T0" fmla="*/ 0 w 13"/>
                <a:gd name="T1" fmla="*/ 0 h 15"/>
                <a:gd name="T2" fmla="*/ 0 w 13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0"/>
                  </a:moveTo>
                  <a:cubicBezTo>
                    <a:pt x="3" y="14"/>
                    <a:pt x="12" y="3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91" name="Freeform 918"/>
            <p:cNvSpPr>
              <a:spLocks noChangeArrowheads="1"/>
            </p:cNvSpPr>
            <p:nvPr/>
          </p:nvSpPr>
          <p:spPr bwMode="auto">
            <a:xfrm>
              <a:off x="3919538" y="2740025"/>
              <a:ext cx="4762" cy="6350"/>
            </a:xfrm>
            <a:custGeom>
              <a:avLst/>
              <a:gdLst>
                <a:gd name="T0" fmla="*/ 5 w 15"/>
                <a:gd name="T1" fmla="*/ 9 h 18"/>
                <a:gd name="T2" fmla="*/ 5 w 15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5" y="9"/>
                  </a:moveTo>
                  <a:cubicBezTo>
                    <a:pt x="0" y="17"/>
                    <a:pt x="14" y="0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92" name="Freeform 919"/>
            <p:cNvSpPr>
              <a:spLocks noChangeArrowheads="1"/>
            </p:cNvSpPr>
            <p:nvPr/>
          </p:nvSpPr>
          <p:spPr bwMode="auto">
            <a:xfrm>
              <a:off x="3925888" y="2740025"/>
              <a:ext cx="3175" cy="4763"/>
            </a:xfrm>
            <a:custGeom>
              <a:avLst/>
              <a:gdLst>
                <a:gd name="T0" fmla="*/ 8 w 9"/>
                <a:gd name="T1" fmla="*/ 6 h 15"/>
                <a:gd name="T2" fmla="*/ 3 w 9"/>
                <a:gd name="T3" fmla="*/ 0 h 15"/>
                <a:gd name="T4" fmla="*/ 8 w 9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8" y="6"/>
                  </a:moveTo>
                  <a:cubicBezTo>
                    <a:pt x="5" y="6"/>
                    <a:pt x="5" y="3"/>
                    <a:pt x="3" y="0"/>
                  </a:cubicBezTo>
                  <a:cubicBezTo>
                    <a:pt x="0" y="9"/>
                    <a:pt x="8" y="14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93" name="Freeform 920"/>
            <p:cNvSpPr>
              <a:spLocks noChangeArrowheads="1"/>
            </p:cNvSpPr>
            <p:nvPr/>
          </p:nvSpPr>
          <p:spPr bwMode="auto">
            <a:xfrm>
              <a:off x="3886200" y="2747963"/>
              <a:ext cx="3175" cy="1587"/>
            </a:xfrm>
            <a:custGeom>
              <a:avLst/>
              <a:gdLst>
                <a:gd name="T0" fmla="*/ 3 w 7"/>
                <a:gd name="T1" fmla="*/ 0 h 4"/>
                <a:gd name="T2" fmla="*/ 3 w 7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3" y="0"/>
                  </a:moveTo>
                  <a:cubicBezTo>
                    <a:pt x="6" y="3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94" name="Freeform 921"/>
            <p:cNvSpPr>
              <a:spLocks noChangeArrowheads="1"/>
            </p:cNvSpPr>
            <p:nvPr/>
          </p:nvSpPr>
          <p:spPr bwMode="auto">
            <a:xfrm>
              <a:off x="3956050" y="2738438"/>
              <a:ext cx="4763" cy="4762"/>
            </a:xfrm>
            <a:custGeom>
              <a:avLst/>
              <a:gdLst>
                <a:gd name="T0" fmla="*/ 0 w 15"/>
                <a:gd name="T1" fmla="*/ 5 h 12"/>
                <a:gd name="T2" fmla="*/ 14 w 15"/>
                <a:gd name="T3" fmla="*/ 2 h 12"/>
                <a:gd name="T4" fmla="*/ 0 w 15"/>
                <a:gd name="T5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0" y="5"/>
                  </a:moveTo>
                  <a:cubicBezTo>
                    <a:pt x="3" y="5"/>
                    <a:pt x="14" y="11"/>
                    <a:pt x="14" y="2"/>
                  </a:cubicBezTo>
                  <a:cubicBezTo>
                    <a:pt x="12" y="2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95" name="Freeform 922"/>
            <p:cNvSpPr>
              <a:spLocks noChangeArrowheads="1"/>
            </p:cNvSpPr>
            <p:nvPr/>
          </p:nvSpPr>
          <p:spPr bwMode="auto">
            <a:xfrm>
              <a:off x="3881438" y="2749550"/>
              <a:ext cx="6350" cy="3175"/>
            </a:xfrm>
            <a:custGeom>
              <a:avLst/>
              <a:gdLst>
                <a:gd name="T0" fmla="*/ 16 w 17"/>
                <a:gd name="T1" fmla="*/ 3 h 9"/>
                <a:gd name="T2" fmla="*/ 2 w 17"/>
                <a:gd name="T3" fmla="*/ 0 h 9"/>
                <a:gd name="T4" fmla="*/ 16 w 17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9">
                  <a:moveTo>
                    <a:pt x="16" y="3"/>
                  </a:moveTo>
                  <a:cubicBezTo>
                    <a:pt x="11" y="3"/>
                    <a:pt x="8" y="0"/>
                    <a:pt x="2" y="0"/>
                  </a:cubicBezTo>
                  <a:cubicBezTo>
                    <a:pt x="0" y="5"/>
                    <a:pt x="16" y="8"/>
                    <a:pt x="16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96" name="Freeform 923"/>
            <p:cNvSpPr>
              <a:spLocks noChangeArrowheads="1"/>
            </p:cNvSpPr>
            <p:nvPr/>
          </p:nvSpPr>
          <p:spPr bwMode="auto">
            <a:xfrm>
              <a:off x="3960813" y="2740025"/>
              <a:ext cx="1587" cy="1588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97" name="Freeform 924"/>
            <p:cNvSpPr>
              <a:spLocks noChangeArrowheads="1"/>
            </p:cNvSpPr>
            <p:nvPr/>
          </p:nvSpPr>
          <p:spPr bwMode="auto">
            <a:xfrm>
              <a:off x="3967163" y="2738438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6 h 7"/>
                <a:gd name="T4" fmla="*/ 9 w 10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6" y="6"/>
                    <a:pt x="9" y="3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98" name="Freeform 925"/>
            <p:cNvSpPr>
              <a:spLocks noChangeArrowheads="1"/>
            </p:cNvSpPr>
            <p:nvPr/>
          </p:nvSpPr>
          <p:spPr bwMode="auto">
            <a:xfrm>
              <a:off x="3897313" y="2749550"/>
              <a:ext cx="4762" cy="3175"/>
            </a:xfrm>
            <a:custGeom>
              <a:avLst/>
              <a:gdLst>
                <a:gd name="T0" fmla="*/ 8 w 12"/>
                <a:gd name="T1" fmla="*/ 0 h 9"/>
                <a:gd name="T2" fmla="*/ 0 w 12"/>
                <a:gd name="T3" fmla="*/ 0 h 9"/>
                <a:gd name="T4" fmla="*/ 0 w 12"/>
                <a:gd name="T5" fmla="*/ 8 h 9"/>
                <a:gd name="T6" fmla="*/ 8 w 12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8" y="0"/>
                  </a:moveTo>
                  <a:lnTo>
                    <a:pt x="0" y="0"/>
                  </a:lnTo>
                  <a:lnTo>
                    <a:pt x="0" y="8"/>
                  </a:lnTo>
                  <a:cubicBezTo>
                    <a:pt x="8" y="8"/>
                    <a:pt x="11" y="5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99" name="Freeform 926"/>
            <p:cNvSpPr>
              <a:spLocks noChangeArrowheads="1"/>
            </p:cNvSpPr>
            <p:nvPr/>
          </p:nvSpPr>
          <p:spPr bwMode="auto">
            <a:xfrm>
              <a:off x="3956050" y="2716213"/>
              <a:ext cx="3175" cy="3175"/>
            </a:xfrm>
            <a:custGeom>
              <a:avLst/>
              <a:gdLst>
                <a:gd name="T0" fmla="*/ 6 w 10"/>
                <a:gd name="T1" fmla="*/ 0 h 10"/>
                <a:gd name="T2" fmla="*/ 0 w 10"/>
                <a:gd name="T3" fmla="*/ 3 h 10"/>
                <a:gd name="T4" fmla="*/ 3 w 10"/>
                <a:gd name="T5" fmla="*/ 9 h 10"/>
                <a:gd name="T6" fmla="*/ 6 w 1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6" y="0"/>
                  </a:moveTo>
                  <a:lnTo>
                    <a:pt x="0" y="3"/>
                  </a:lnTo>
                  <a:lnTo>
                    <a:pt x="3" y="9"/>
                  </a:lnTo>
                  <a:cubicBezTo>
                    <a:pt x="9" y="9"/>
                    <a:pt x="9" y="6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00" name="Freeform 927"/>
            <p:cNvSpPr>
              <a:spLocks noChangeArrowheads="1"/>
            </p:cNvSpPr>
            <p:nvPr/>
          </p:nvSpPr>
          <p:spPr bwMode="auto">
            <a:xfrm>
              <a:off x="3949700" y="2727325"/>
              <a:ext cx="6350" cy="4763"/>
            </a:xfrm>
            <a:custGeom>
              <a:avLst/>
              <a:gdLst>
                <a:gd name="T0" fmla="*/ 6 w 18"/>
                <a:gd name="T1" fmla="*/ 0 h 13"/>
                <a:gd name="T2" fmla="*/ 6 w 18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6" y="0"/>
                  </a:moveTo>
                  <a:cubicBezTo>
                    <a:pt x="0" y="12"/>
                    <a:pt x="17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01" name="Freeform 928"/>
            <p:cNvSpPr>
              <a:spLocks noChangeArrowheads="1"/>
            </p:cNvSpPr>
            <p:nvPr/>
          </p:nvSpPr>
          <p:spPr bwMode="auto">
            <a:xfrm>
              <a:off x="3956050" y="2738438"/>
              <a:ext cx="3175" cy="4762"/>
            </a:xfrm>
            <a:custGeom>
              <a:avLst/>
              <a:gdLst>
                <a:gd name="T0" fmla="*/ 0 w 10"/>
                <a:gd name="T1" fmla="*/ 2 h 12"/>
                <a:gd name="T2" fmla="*/ 0 w 10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2">
                  <a:moveTo>
                    <a:pt x="0" y="2"/>
                  </a:moveTo>
                  <a:cubicBezTo>
                    <a:pt x="3" y="11"/>
                    <a:pt x="9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02" name="Freeform 929"/>
            <p:cNvSpPr>
              <a:spLocks noChangeArrowheads="1"/>
            </p:cNvSpPr>
            <p:nvPr/>
          </p:nvSpPr>
          <p:spPr bwMode="auto">
            <a:xfrm>
              <a:off x="3937000" y="2727325"/>
              <a:ext cx="7938" cy="3175"/>
            </a:xfrm>
            <a:custGeom>
              <a:avLst/>
              <a:gdLst>
                <a:gd name="T0" fmla="*/ 11 w 20"/>
                <a:gd name="T1" fmla="*/ 0 h 7"/>
                <a:gd name="T2" fmla="*/ 11 w 20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0" h="7">
                  <a:moveTo>
                    <a:pt x="11" y="0"/>
                  </a:moveTo>
                  <a:cubicBezTo>
                    <a:pt x="0" y="0"/>
                    <a:pt x="19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03" name="Freeform 930"/>
            <p:cNvSpPr>
              <a:spLocks noChangeArrowheads="1"/>
            </p:cNvSpPr>
            <p:nvPr/>
          </p:nvSpPr>
          <p:spPr bwMode="auto">
            <a:xfrm>
              <a:off x="3930650" y="2722563"/>
              <a:ext cx="4763" cy="4762"/>
            </a:xfrm>
            <a:custGeom>
              <a:avLst/>
              <a:gdLst>
                <a:gd name="T0" fmla="*/ 11 w 12"/>
                <a:gd name="T1" fmla="*/ 12 h 15"/>
                <a:gd name="T2" fmla="*/ 8 w 12"/>
                <a:gd name="T3" fmla="*/ 0 h 15"/>
                <a:gd name="T4" fmla="*/ 11 w 12"/>
                <a:gd name="T5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1" y="12"/>
                  </a:moveTo>
                  <a:cubicBezTo>
                    <a:pt x="8" y="9"/>
                    <a:pt x="11" y="6"/>
                    <a:pt x="8" y="0"/>
                  </a:cubicBezTo>
                  <a:cubicBezTo>
                    <a:pt x="0" y="0"/>
                    <a:pt x="8" y="14"/>
                    <a:pt x="11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04" name="Freeform 931"/>
            <p:cNvSpPr>
              <a:spLocks noChangeArrowheads="1"/>
            </p:cNvSpPr>
            <p:nvPr/>
          </p:nvSpPr>
          <p:spPr bwMode="auto">
            <a:xfrm>
              <a:off x="3932238" y="2730500"/>
              <a:ext cx="4762" cy="4763"/>
            </a:xfrm>
            <a:custGeom>
              <a:avLst/>
              <a:gdLst>
                <a:gd name="T0" fmla="*/ 9 w 13"/>
                <a:gd name="T1" fmla="*/ 0 h 12"/>
                <a:gd name="T2" fmla="*/ 9 w 13"/>
                <a:gd name="T3" fmla="*/ 8 h 12"/>
                <a:gd name="T4" fmla="*/ 9 w 13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9" y="0"/>
                  </a:moveTo>
                  <a:cubicBezTo>
                    <a:pt x="0" y="0"/>
                    <a:pt x="6" y="11"/>
                    <a:pt x="9" y="8"/>
                  </a:cubicBezTo>
                  <a:cubicBezTo>
                    <a:pt x="9" y="6"/>
                    <a:pt x="12" y="6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05" name="Freeform 932"/>
            <p:cNvSpPr>
              <a:spLocks noChangeArrowheads="1"/>
            </p:cNvSpPr>
            <p:nvPr/>
          </p:nvSpPr>
          <p:spPr bwMode="auto">
            <a:xfrm>
              <a:off x="3932238" y="2736850"/>
              <a:ext cx="4762" cy="3175"/>
            </a:xfrm>
            <a:custGeom>
              <a:avLst/>
              <a:gdLst>
                <a:gd name="T0" fmla="*/ 11 w 12"/>
                <a:gd name="T1" fmla="*/ 5 h 9"/>
                <a:gd name="T2" fmla="*/ 0 w 12"/>
                <a:gd name="T3" fmla="*/ 0 h 9"/>
                <a:gd name="T4" fmla="*/ 11 w 12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11" y="5"/>
                  </a:moveTo>
                  <a:cubicBezTo>
                    <a:pt x="8" y="0"/>
                    <a:pt x="2" y="0"/>
                    <a:pt x="0" y="0"/>
                  </a:cubicBezTo>
                  <a:cubicBezTo>
                    <a:pt x="2" y="5"/>
                    <a:pt x="5" y="8"/>
                    <a:pt x="11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06" name="Freeform 933"/>
            <p:cNvSpPr>
              <a:spLocks noChangeArrowheads="1"/>
            </p:cNvSpPr>
            <p:nvPr/>
          </p:nvSpPr>
          <p:spPr bwMode="auto">
            <a:xfrm>
              <a:off x="3922713" y="2733675"/>
              <a:ext cx="3175" cy="4763"/>
            </a:xfrm>
            <a:custGeom>
              <a:avLst/>
              <a:gdLst>
                <a:gd name="T0" fmla="*/ 0 w 10"/>
                <a:gd name="T1" fmla="*/ 6 h 15"/>
                <a:gd name="T2" fmla="*/ 0 w 10"/>
                <a:gd name="T3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0" y="6"/>
                  </a:moveTo>
                  <a:cubicBezTo>
                    <a:pt x="3" y="14"/>
                    <a:pt x="9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07" name="Freeform 934"/>
            <p:cNvSpPr>
              <a:spLocks noChangeArrowheads="1"/>
            </p:cNvSpPr>
            <p:nvPr/>
          </p:nvSpPr>
          <p:spPr bwMode="auto">
            <a:xfrm>
              <a:off x="3910013" y="2732088"/>
              <a:ext cx="3175" cy="3175"/>
            </a:xfrm>
            <a:custGeom>
              <a:avLst/>
              <a:gdLst>
                <a:gd name="T0" fmla="*/ 5 w 9"/>
                <a:gd name="T1" fmla="*/ 0 h 9"/>
                <a:gd name="T2" fmla="*/ 0 w 9"/>
                <a:gd name="T3" fmla="*/ 3 h 9"/>
                <a:gd name="T4" fmla="*/ 2 w 9"/>
                <a:gd name="T5" fmla="*/ 8 h 9"/>
                <a:gd name="T6" fmla="*/ 8 w 9"/>
                <a:gd name="T7" fmla="*/ 5 h 9"/>
                <a:gd name="T8" fmla="*/ 5 w 9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lnTo>
                    <a:pt x="0" y="3"/>
                  </a:lnTo>
                  <a:lnTo>
                    <a:pt x="2" y="8"/>
                  </a:lnTo>
                  <a:lnTo>
                    <a:pt x="8" y="5"/>
                  </a:lnTo>
                  <a:lnTo>
                    <a:pt x="5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08" name="Freeform 935"/>
            <p:cNvSpPr>
              <a:spLocks noChangeArrowheads="1"/>
            </p:cNvSpPr>
            <p:nvPr/>
          </p:nvSpPr>
          <p:spPr bwMode="auto">
            <a:xfrm>
              <a:off x="3905250" y="2724150"/>
              <a:ext cx="3175" cy="4763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6 h 15"/>
                <a:gd name="T4" fmla="*/ 3 w 10"/>
                <a:gd name="T5" fmla="*/ 11 h 15"/>
                <a:gd name="T6" fmla="*/ 0 w 10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0" y="6"/>
                    <a:pt x="0" y="6"/>
                    <a:pt x="0" y="6"/>
                  </a:cubicBezTo>
                  <a:lnTo>
                    <a:pt x="3" y="11"/>
                  </a:lnTo>
                  <a:cubicBezTo>
                    <a:pt x="9" y="14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09" name="Freeform 936"/>
            <p:cNvSpPr>
              <a:spLocks noChangeArrowheads="1"/>
            </p:cNvSpPr>
            <p:nvPr/>
          </p:nvSpPr>
          <p:spPr bwMode="auto">
            <a:xfrm>
              <a:off x="3898900" y="2733675"/>
              <a:ext cx="4763" cy="4763"/>
            </a:xfrm>
            <a:custGeom>
              <a:avLst/>
              <a:gdLst>
                <a:gd name="T0" fmla="*/ 12 w 15"/>
                <a:gd name="T1" fmla="*/ 0 h 13"/>
                <a:gd name="T2" fmla="*/ 12 w 15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12" y="0"/>
                  </a:moveTo>
                  <a:cubicBezTo>
                    <a:pt x="0" y="9"/>
                    <a:pt x="14" y="12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10" name="Freeform 937"/>
            <p:cNvSpPr>
              <a:spLocks noChangeArrowheads="1"/>
            </p:cNvSpPr>
            <p:nvPr/>
          </p:nvSpPr>
          <p:spPr bwMode="auto">
            <a:xfrm>
              <a:off x="3900488" y="2732088"/>
              <a:ext cx="3175" cy="4762"/>
            </a:xfrm>
            <a:custGeom>
              <a:avLst/>
              <a:gdLst>
                <a:gd name="T0" fmla="*/ 0 w 7"/>
                <a:gd name="T1" fmla="*/ 3 h 15"/>
                <a:gd name="T2" fmla="*/ 0 w 7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cubicBezTo>
                    <a:pt x="0" y="14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11" name="Freeform 938"/>
            <p:cNvSpPr>
              <a:spLocks noChangeArrowheads="1"/>
            </p:cNvSpPr>
            <p:nvPr/>
          </p:nvSpPr>
          <p:spPr bwMode="auto">
            <a:xfrm>
              <a:off x="3895725" y="2741613"/>
              <a:ext cx="4763" cy="3175"/>
            </a:xfrm>
            <a:custGeom>
              <a:avLst/>
              <a:gdLst>
                <a:gd name="T0" fmla="*/ 0 w 12"/>
                <a:gd name="T1" fmla="*/ 8 h 9"/>
                <a:gd name="T2" fmla="*/ 11 w 12"/>
                <a:gd name="T3" fmla="*/ 6 h 9"/>
                <a:gd name="T4" fmla="*/ 8 w 12"/>
                <a:gd name="T5" fmla="*/ 0 h 9"/>
                <a:gd name="T6" fmla="*/ 0 w 12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cubicBezTo>
                    <a:pt x="3" y="8"/>
                    <a:pt x="6" y="8"/>
                    <a:pt x="11" y="6"/>
                  </a:cubicBezTo>
                  <a:lnTo>
                    <a:pt x="8" y="0"/>
                  </a:lnTo>
                  <a:cubicBezTo>
                    <a:pt x="3" y="3"/>
                    <a:pt x="0" y="6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12" name="Freeform 939"/>
            <p:cNvSpPr>
              <a:spLocks noChangeArrowheads="1"/>
            </p:cNvSpPr>
            <p:nvPr/>
          </p:nvSpPr>
          <p:spPr bwMode="auto">
            <a:xfrm>
              <a:off x="3884613" y="2743200"/>
              <a:ext cx="4762" cy="4763"/>
            </a:xfrm>
            <a:custGeom>
              <a:avLst/>
              <a:gdLst>
                <a:gd name="T0" fmla="*/ 11 w 15"/>
                <a:gd name="T1" fmla="*/ 14 h 15"/>
                <a:gd name="T2" fmla="*/ 11 w 15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11" y="14"/>
                  </a:moveTo>
                  <a:cubicBezTo>
                    <a:pt x="14" y="0"/>
                    <a:pt x="0" y="11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13" name="Freeform 940"/>
            <p:cNvSpPr>
              <a:spLocks noChangeArrowheads="1"/>
            </p:cNvSpPr>
            <p:nvPr/>
          </p:nvSpPr>
          <p:spPr bwMode="auto">
            <a:xfrm>
              <a:off x="3854450" y="2730500"/>
              <a:ext cx="4763" cy="1588"/>
            </a:xfrm>
            <a:custGeom>
              <a:avLst/>
              <a:gdLst>
                <a:gd name="T0" fmla="*/ 0 w 15"/>
                <a:gd name="T1" fmla="*/ 3 h 4"/>
                <a:gd name="T2" fmla="*/ 6 w 15"/>
                <a:gd name="T3" fmla="*/ 0 h 4"/>
                <a:gd name="T4" fmla="*/ 0 w 15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4">
                  <a:moveTo>
                    <a:pt x="0" y="3"/>
                  </a:moveTo>
                  <a:cubicBezTo>
                    <a:pt x="0" y="3"/>
                    <a:pt x="3" y="3"/>
                    <a:pt x="6" y="0"/>
                  </a:cubicBezTo>
                  <a:cubicBezTo>
                    <a:pt x="14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14" name="Freeform 941"/>
            <p:cNvSpPr>
              <a:spLocks noChangeArrowheads="1"/>
            </p:cNvSpPr>
            <p:nvPr/>
          </p:nvSpPr>
          <p:spPr bwMode="auto">
            <a:xfrm>
              <a:off x="3851275" y="2740025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3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15" name="Freeform 942"/>
            <p:cNvSpPr>
              <a:spLocks noChangeArrowheads="1"/>
            </p:cNvSpPr>
            <p:nvPr/>
          </p:nvSpPr>
          <p:spPr bwMode="auto">
            <a:xfrm>
              <a:off x="3944938" y="2717800"/>
              <a:ext cx="4762" cy="4763"/>
            </a:xfrm>
            <a:custGeom>
              <a:avLst/>
              <a:gdLst>
                <a:gd name="T0" fmla="*/ 6 w 15"/>
                <a:gd name="T1" fmla="*/ 9 h 13"/>
                <a:gd name="T2" fmla="*/ 0 w 15"/>
                <a:gd name="T3" fmla="*/ 6 h 13"/>
                <a:gd name="T4" fmla="*/ 6 w 15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6" y="9"/>
                  </a:moveTo>
                  <a:cubicBezTo>
                    <a:pt x="3" y="6"/>
                    <a:pt x="0" y="0"/>
                    <a:pt x="0" y="6"/>
                  </a:cubicBezTo>
                  <a:cubicBezTo>
                    <a:pt x="3" y="12"/>
                    <a:pt x="14" y="9"/>
                    <a:pt x="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16" name="Freeform 943"/>
            <p:cNvSpPr>
              <a:spLocks noChangeArrowheads="1"/>
            </p:cNvSpPr>
            <p:nvPr/>
          </p:nvSpPr>
          <p:spPr bwMode="auto">
            <a:xfrm>
              <a:off x="3894138" y="2724150"/>
              <a:ext cx="4762" cy="6350"/>
            </a:xfrm>
            <a:custGeom>
              <a:avLst/>
              <a:gdLst>
                <a:gd name="T0" fmla="*/ 9 w 15"/>
                <a:gd name="T1" fmla="*/ 17 h 18"/>
                <a:gd name="T2" fmla="*/ 9 w 15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9" y="17"/>
                  </a:moveTo>
                  <a:cubicBezTo>
                    <a:pt x="14" y="0"/>
                    <a:pt x="0" y="14"/>
                    <a:pt x="9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17" name="Freeform 944"/>
            <p:cNvSpPr>
              <a:spLocks noChangeArrowheads="1"/>
            </p:cNvSpPr>
            <p:nvPr/>
          </p:nvSpPr>
          <p:spPr bwMode="auto">
            <a:xfrm>
              <a:off x="3889375" y="2732088"/>
              <a:ext cx="7938" cy="6350"/>
            </a:xfrm>
            <a:custGeom>
              <a:avLst/>
              <a:gdLst>
                <a:gd name="T0" fmla="*/ 20 w 21"/>
                <a:gd name="T1" fmla="*/ 16 h 17"/>
                <a:gd name="T2" fmla="*/ 0 w 21"/>
                <a:gd name="T3" fmla="*/ 2 h 17"/>
                <a:gd name="T4" fmla="*/ 20 w 21"/>
                <a:gd name="T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7">
                  <a:moveTo>
                    <a:pt x="20" y="16"/>
                  </a:moveTo>
                  <a:cubicBezTo>
                    <a:pt x="14" y="5"/>
                    <a:pt x="9" y="0"/>
                    <a:pt x="0" y="2"/>
                  </a:cubicBezTo>
                  <a:cubicBezTo>
                    <a:pt x="0" y="11"/>
                    <a:pt x="14" y="14"/>
                    <a:pt x="20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18" name="Freeform 945"/>
            <p:cNvSpPr>
              <a:spLocks noChangeArrowheads="1"/>
            </p:cNvSpPr>
            <p:nvPr/>
          </p:nvSpPr>
          <p:spPr bwMode="auto">
            <a:xfrm>
              <a:off x="3856038" y="2725738"/>
              <a:ext cx="6350" cy="3175"/>
            </a:xfrm>
            <a:custGeom>
              <a:avLst/>
              <a:gdLst>
                <a:gd name="T0" fmla="*/ 0 w 18"/>
                <a:gd name="T1" fmla="*/ 8 h 9"/>
                <a:gd name="T2" fmla="*/ 0 w 18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0" y="8"/>
                  </a:moveTo>
                  <a:cubicBezTo>
                    <a:pt x="17" y="8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19" name="Freeform 946"/>
            <p:cNvSpPr>
              <a:spLocks noChangeArrowheads="1"/>
            </p:cNvSpPr>
            <p:nvPr/>
          </p:nvSpPr>
          <p:spPr bwMode="auto">
            <a:xfrm>
              <a:off x="4371975" y="2655888"/>
              <a:ext cx="7938" cy="4762"/>
            </a:xfrm>
            <a:custGeom>
              <a:avLst/>
              <a:gdLst>
                <a:gd name="T0" fmla="*/ 0 w 21"/>
                <a:gd name="T1" fmla="*/ 11 h 15"/>
                <a:gd name="T2" fmla="*/ 12 w 21"/>
                <a:gd name="T3" fmla="*/ 0 h 15"/>
                <a:gd name="T4" fmla="*/ 0 w 21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5">
                  <a:moveTo>
                    <a:pt x="0" y="11"/>
                  </a:moveTo>
                  <a:cubicBezTo>
                    <a:pt x="9" y="14"/>
                    <a:pt x="20" y="3"/>
                    <a:pt x="12" y="0"/>
                  </a:cubicBezTo>
                  <a:cubicBezTo>
                    <a:pt x="9" y="6"/>
                    <a:pt x="3" y="6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20" name="Freeform 947"/>
            <p:cNvSpPr>
              <a:spLocks noChangeArrowheads="1"/>
            </p:cNvSpPr>
            <p:nvPr/>
          </p:nvSpPr>
          <p:spPr bwMode="auto">
            <a:xfrm>
              <a:off x="4348163" y="2662238"/>
              <a:ext cx="4762" cy="3175"/>
            </a:xfrm>
            <a:custGeom>
              <a:avLst/>
              <a:gdLst>
                <a:gd name="T0" fmla="*/ 5 w 12"/>
                <a:gd name="T1" fmla="*/ 9 h 10"/>
                <a:gd name="T2" fmla="*/ 11 w 12"/>
                <a:gd name="T3" fmla="*/ 9 h 10"/>
                <a:gd name="T4" fmla="*/ 11 w 12"/>
                <a:gd name="T5" fmla="*/ 0 h 10"/>
                <a:gd name="T6" fmla="*/ 5 w 12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5" y="9"/>
                  </a:moveTo>
                  <a:lnTo>
                    <a:pt x="11" y="9"/>
                  </a:lnTo>
                  <a:cubicBezTo>
                    <a:pt x="8" y="6"/>
                    <a:pt x="11" y="3"/>
                    <a:pt x="11" y="0"/>
                  </a:cubicBezTo>
                  <a:cubicBezTo>
                    <a:pt x="2" y="0"/>
                    <a:pt x="0" y="6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21" name="Freeform 948"/>
            <p:cNvSpPr>
              <a:spLocks noChangeArrowheads="1"/>
            </p:cNvSpPr>
            <p:nvPr/>
          </p:nvSpPr>
          <p:spPr bwMode="auto">
            <a:xfrm>
              <a:off x="4340225" y="2663825"/>
              <a:ext cx="3175" cy="1588"/>
            </a:xfrm>
            <a:custGeom>
              <a:avLst/>
              <a:gdLst>
                <a:gd name="T0" fmla="*/ 6 w 9"/>
                <a:gd name="T1" fmla="*/ 0 h 6"/>
                <a:gd name="T2" fmla="*/ 0 w 9"/>
                <a:gd name="T3" fmla="*/ 5 h 6"/>
                <a:gd name="T4" fmla="*/ 6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6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8" y="5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22" name="Freeform 949"/>
            <p:cNvSpPr>
              <a:spLocks noChangeArrowheads="1"/>
            </p:cNvSpPr>
            <p:nvPr/>
          </p:nvSpPr>
          <p:spPr bwMode="auto">
            <a:xfrm>
              <a:off x="4365625" y="2660650"/>
              <a:ext cx="1588" cy="1588"/>
            </a:xfrm>
            <a:custGeom>
              <a:avLst/>
              <a:gdLst>
                <a:gd name="T0" fmla="*/ 2 w 6"/>
                <a:gd name="T1" fmla="*/ 3 h 4"/>
                <a:gd name="T2" fmla="*/ 2 w 6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4">
                  <a:moveTo>
                    <a:pt x="2" y="3"/>
                  </a:moveTo>
                  <a:cubicBezTo>
                    <a:pt x="5" y="3"/>
                    <a:pt x="0" y="0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23" name="Freeform 950"/>
            <p:cNvSpPr>
              <a:spLocks noChangeArrowheads="1"/>
            </p:cNvSpPr>
            <p:nvPr/>
          </p:nvSpPr>
          <p:spPr bwMode="auto">
            <a:xfrm>
              <a:off x="4359275" y="2663825"/>
              <a:ext cx="4763" cy="3175"/>
            </a:xfrm>
            <a:custGeom>
              <a:avLst/>
              <a:gdLst>
                <a:gd name="T0" fmla="*/ 0 w 12"/>
                <a:gd name="T1" fmla="*/ 5 h 9"/>
                <a:gd name="T2" fmla="*/ 0 w 12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11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24" name="Freeform 951"/>
            <p:cNvSpPr>
              <a:spLocks noChangeArrowheads="1"/>
            </p:cNvSpPr>
            <p:nvPr/>
          </p:nvSpPr>
          <p:spPr bwMode="auto">
            <a:xfrm>
              <a:off x="4367213" y="2665413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6 w 7"/>
                <a:gd name="T3" fmla="*/ 0 h 6"/>
                <a:gd name="T4" fmla="*/ 0 w 7"/>
                <a:gd name="T5" fmla="*/ 0 h 6"/>
                <a:gd name="T6" fmla="*/ 0 w 7"/>
                <a:gd name="T7" fmla="*/ 5 h 6"/>
                <a:gd name="T8" fmla="*/ 6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25" name="Freeform 952"/>
            <p:cNvSpPr>
              <a:spLocks noChangeArrowheads="1"/>
            </p:cNvSpPr>
            <p:nvPr/>
          </p:nvSpPr>
          <p:spPr bwMode="auto">
            <a:xfrm>
              <a:off x="4375150" y="2663825"/>
              <a:ext cx="3175" cy="1588"/>
            </a:xfrm>
            <a:custGeom>
              <a:avLst/>
              <a:gdLst>
                <a:gd name="T0" fmla="*/ 5 w 9"/>
                <a:gd name="T1" fmla="*/ 0 h 6"/>
                <a:gd name="T2" fmla="*/ 0 w 9"/>
                <a:gd name="T3" fmla="*/ 5 h 6"/>
                <a:gd name="T4" fmla="*/ 5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5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8" y="5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26" name="Freeform 953"/>
            <p:cNvSpPr>
              <a:spLocks noChangeArrowheads="1"/>
            </p:cNvSpPr>
            <p:nvPr/>
          </p:nvSpPr>
          <p:spPr bwMode="auto">
            <a:xfrm>
              <a:off x="4381500" y="2663825"/>
              <a:ext cx="3175" cy="4763"/>
            </a:xfrm>
            <a:custGeom>
              <a:avLst/>
              <a:gdLst>
                <a:gd name="T0" fmla="*/ 2 w 9"/>
                <a:gd name="T1" fmla="*/ 0 h 12"/>
                <a:gd name="T2" fmla="*/ 0 w 9"/>
                <a:gd name="T3" fmla="*/ 8 h 12"/>
                <a:gd name="T4" fmla="*/ 2 w 9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2" y="0"/>
                  </a:moveTo>
                  <a:cubicBezTo>
                    <a:pt x="2" y="3"/>
                    <a:pt x="0" y="3"/>
                    <a:pt x="0" y="8"/>
                  </a:cubicBezTo>
                  <a:cubicBezTo>
                    <a:pt x="8" y="11"/>
                    <a:pt x="5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27" name="Freeform 954"/>
            <p:cNvSpPr>
              <a:spLocks noChangeArrowheads="1"/>
            </p:cNvSpPr>
            <p:nvPr/>
          </p:nvSpPr>
          <p:spPr bwMode="auto">
            <a:xfrm>
              <a:off x="4319588" y="2673350"/>
              <a:ext cx="3175" cy="3175"/>
            </a:xfrm>
            <a:custGeom>
              <a:avLst/>
              <a:gdLst>
                <a:gd name="T0" fmla="*/ 0 w 10"/>
                <a:gd name="T1" fmla="*/ 8 h 9"/>
                <a:gd name="T2" fmla="*/ 9 w 10"/>
                <a:gd name="T3" fmla="*/ 3 h 9"/>
                <a:gd name="T4" fmla="*/ 0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8"/>
                  </a:moveTo>
                  <a:cubicBezTo>
                    <a:pt x="6" y="8"/>
                    <a:pt x="9" y="6"/>
                    <a:pt x="9" y="3"/>
                  </a:cubicBezTo>
                  <a:cubicBezTo>
                    <a:pt x="3" y="0"/>
                    <a:pt x="0" y="3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28" name="Freeform 955"/>
            <p:cNvSpPr>
              <a:spLocks noChangeArrowheads="1"/>
            </p:cNvSpPr>
            <p:nvPr/>
          </p:nvSpPr>
          <p:spPr bwMode="auto">
            <a:xfrm>
              <a:off x="4367213" y="2668588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0 w 9"/>
                <a:gd name="T3" fmla="*/ 0 h 9"/>
                <a:gd name="T4" fmla="*/ 8 w 9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cubicBezTo>
                    <a:pt x="8" y="3"/>
                    <a:pt x="3" y="0"/>
                    <a:pt x="0" y="0"/>
                  </a:cubicBezTo>
                  <a:cubicBezTo>
                    <a:pt x="0" y="5"/>
                    <a:pt x="3" y="8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29" name="Freeform 956"/>
            <p:cNvSpPr>
              <a:spLocks noChangeArrowheads="1"/>
            </p:cNvSpPr>
            <p:nvPr/>
          </p:nvSpPr>
          <p:spPr bwMode="auto">
            <a:xfrm>
              <a:off x="4313238" y="2676525"/>
              <a:ext cx="1587" cy="317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6 h 7"/>
                <a:gd name="T4" fmla="*/ 5 w 6"/>
                <a:gd name="T5" fmla="*/ 6 h 7"/>
                <a:gd name="T6" fmla="*/ 5 w 6"/>
                <a:gd name="T7" fmla="*/ 0 h 7"/>
                <a:gd name="T8" fmla="*/ 0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30" name="Freeform 957"/>
            <p:cNvSpPr>
              <a:spLocks noChangeArrowheads="1"/>
            </p:cNvSpPr>
            <p:nvPr/>
          </p:nvSpPr>
          <p:spPr bwMode="auto">
            <a:xfrm>
              <a:off x="4344988" y="2673350"/>
              <a:ext cx="4762" cy="3175"/>
            </a:xfrm>
            <a:custGeom>
              <a:avLst/>
              <a:gdLst>
                <a:gd name="T0" fmla="*/ 0 w 12"/>
                <a:gd name="T1" fmla="*/ 6 h 10"/>
                <a:gd name="T2" fmla="*/ 3 w 12"/>
                <a:gd name="T3" fmla="*/ 9 h 10"/>
                <a:gd name="T4" fmla="*/ 9 w 12"/>
                <a:gd name="T5" fmla="*/ 9 h 10"/>
                <a:gd name="T6" fmla="*/ 0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3" y="6"/>
                    <a:pt x="3" y="6"/>
                    <a:pt x="3" y="9"/>
                  </a:cubicBezTo>
                  <a:lnTo>
                    <a:pt x="9" y="9"/>
                  </a:lnTo>
                  <a:cubicBezTo>
                    <a:pt x="11" y="0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31" name="Freeform 958"/>
            <p:cNvSpPr>
              <a:spLocks noChangeArrowheads="1"/>
            </p:cNvSpPr>
            <p:nvPr/>
          </p:nvSpPr>
          <p:spPr bwMode="auto">
            <a:xfrm>
              <a:off x="4362450" y="2670175"/>
              <a:ext cx="4763" cy="4763"/>
            </a:xfrm>
            <a:custGeom>
              <a:avLst/>
              <a:gdLst>
                <a:gd name="T0" fmla="*/ 0 w 12"/>
                <a:gd name="T1" fmla="*/ 9 h 13"/>
                <a:gd name="T2" fmla="*/ 0 w 12"/>
                <a:gd name="T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3">
                  <a:moveTo>
                    <a:pt x="0" y="9"/>
                  </a:moveTo>
                  <a:cubicBezTo>
                    <a:pt x="11" y="12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32" name="Freeform 959"/>
            <p:cNvSpPr>
              <a:spLocks noChangeArrowheads="1"/>
            </p:cNvSpPr>
            <p:nvPr/>
          </p:nvSpPr>
          <p:spPr bwMode="auto">
            <a:xfrm>
              <a:off x="4324350" y="2676525"/>
              <a:ext cx="3175" cy="6350"/>
            </a:xfrm>
            <a:custGeom>
              <a:avLst/>
              <a:gdLst>
                <a:gd name="T0" fmla="*/ 0 w 10"/>
                <a:gd name="T1" fmla="*/ 12 h 18"/>
                <a:gd name="T2" fmla="*/ 0 w 10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0" y="12"/>
                  </a:moveTo>
                  <a:cubicBezTo>
                    <a:pt x="9" y="17"/>
                    <a:pt x="3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33" name="Freeform 960"/>
            <p:cNvSpPr>
              <a:spLocks noChangeArrowheads="1"/>
            </p:cNvSpPr>
            <p:nvPr/>
          </p:nvSpPr>
          <p:spPr bwMode="auto">
            <a:xfrm>
              <a:off x="4343400" y="2676525"/>
              <a:ext cx="4763" cy="3175"/>
            </a:xfrm>
            <a:custGeom>
              <a:avLst/>
              <a:gdLst>
                <a:gd name="T0" fmla="*/ 3 w 15"/>
                <a:gd name="T1" fmla="*/ 0 h 10"/>
                <a:gd name="T2" fmla="*/ 14 w 15"/>
                <a:gd name="T3" fmla="*/ 6 h 10"/>
                <a:gd name="T4" fmla="*/ 3 w 15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3" y="0"/>
                  </a:moveTo>
                  <a:cubicBezTo>
                    <a:pt x="0" y="9"/>
                    <a:pt x="9" y="9"/>
                    <a:pt x="14" y="6"/>
                  </a:cubicBezTo>
                  <a:cubicBezTo>
                    <a:pt x="14" y="0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34" name="Freeform 961"/>
            <p:cNvSpPr>
              <a:spLocks noChangeArrowheads="1"/>
            </p:cNvSpPr>
            <p:nvPr/>
          </p:nvSpPr>
          <p:spPr bwMode="auto">
            <a:xfrm>
              <a:off x="4356100" y="2676525"/>
              <a:ext cx="3175" cy="3175"/>
            </a:xfrm>
            <a:custGeom>
              <a:avLst/>
              <a:gdLst>
                <a:gd name="T0" fmla="*/ 0 w 10"/>
                <a:gd name="T1" fmla="*/ 0 h 9"/>
                <a:gd name="T2" fmla="*/ 6 w 10"/>
                <a:gd name="T3" fmla="*/ 8 h 9"/>
                <a:gd name="T4" fmla="*/ 0 w 10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cubicBezTo>
                    <a:pt x="0" y="5"/>
                    <a:pt x="3" y="8"/>
                    <a:pt x="6" y="8"/>
                  </a:cubicBezTo>
                  <a:cubicBezTo>
                    <a:pt x="0" y="2"/>
                    <a:pt x="9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35" name="Freeform 962"/>
            <p:cNvSpPr>
              <a:spLocks noChangeArrowheads="1"/>
            </p:cNvSpPr>
            <p:nvPr/>
          </p:nvSpPr>
          <p:spPr bwMode="auto">
            <a:xfrm>
              <a:off x="4362450" y="2674938"/>
              <a:ext cx="4763" cy="1587"/>
            </a:xfrm>
            <a:custGeom>
              <a:avLst/>
              <a:gdLst>
                <a:gd name="T0" fmla="*/ 0 w 15"/>
                <a:gd name="T1" fmla="*/ 5 h 6"/>
                <a:gd name="T2" fmla="*/ 11 w 15"/>
                <a:gd name="T3" fmla="*/ 3 h 6"/>
                <a:gd name="T4" fmla="*/ 0 w 15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6">
                  <a:moveTo>
                    <a:pt x="0" y="5"/>
                  </a:moveTo>
                  <a:cubicBezTo>
                    <a:pt x="3" y="3"/>
                    <a:pt x="14" y="5"/>
                    <a:pt x="11" y="3"/>
                  </a:cubicBezTo>
                  <a:cubicBezTo>
                    <a:pt x="9" y="3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36" name="Freeform 963"/>
            <p:cNvSpPr>
              <a:spLocks noChangeArrowheads="1"/>
            </p:cNvSpPr>
            <p:nvPr/>
          </p:nvSpPr>
          <p:spPr bwMode="auto">
            <a:xfrm>
              <a:off x="4305300" y="2681288"/>
              <a:ext cx="4763" cy="3175"/>
            </a:xfrm>
            <a:custGeom>
              <a:avLst/>
              <a:gdLst>
                <a:gd name="T0" fmla="*/ 0 w 12"/>
                <a:gd name="T1" fmla="*/ 8 h 9"/>
                <a:gd name="T2" fmla="*/ 0 w 12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cubicBezTo>
                    <a:pt x="11" y="8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37" name="Freeform 964"/>
            <p:cNvSpPr>
              <a:spLocks noChangeArrowheads="1"/>
            </p:cNvSpPr>
            <p:nvPr/>
          </p:nvSpPr>
          <p:spPr bwMode="auto">
            <a:xfrm>
              <a:off x="4327525" y="2681288"/>
              <a:ext cx="3175" cy="1587"/>
            </a:xfrm>
            <a:custGeom>
              <a:avLst/>
              <a:gdLst>
                <a:gd name="T0" fmla="*/ 3 w 9"/>
                <a:gd name="T1" fmla="*/ 5 h 6"/>
                <a:gd name="T2" fmla="*/ 8 w 9"/>
                <a:gd name="T3" fmla="*/ 0 h 6"/>
                <a:gd name="T4" fmla="*/ 3 w 9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3" y="5"/>
                  </a:moveTo>
                  <a:cubicBezTo>
                    <a:pt x="6" y="5"/>
                    <a:pt x="8" y="3"/>
                    <a:pt x="8" y="0"/>
                  </a:cubicBezTo>
                  <a:cubicBezTo>
                    <a:pt x="6" y="0"/>
                    <a:pt x="0" y="0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38" name="Freeform 965"/>
            <p:cNvSpPr>
              <a:spLocks noChangeArrowheads="1"/>
            </p:cNvSpPr>
            <p:nvPr/>
          </p:nvSpPr>
          <p:spPr bwMode="auto">
            <a:xfrm>
              <a:off x="4316413" y="2681288"/>
              <a:ext cx="3175" cy="6350"/>
            </a:xfrm>
            <a:custGeom>
              <a:avLst/>
              <a:gdLst>
                <a:gd name="T0" fmla="*/ 0 w 7"/>
                <a:gd name="T1" fmla="*/ 11 h 18"/>
                <a:gd name="T2" fmla="*/ 0 w 7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11"/>
                  </a:moveTo>
                  <a:cubicBezTo>
                    <a:pt x="6" y="17"/>
                    <a:pt x="6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39" name="Freeform 966"/>
            <p:cNvSpPr>
              <a:spLocks noChangeArrowheads="1"/>
            </p:cNvSpPr>
            <p:nvPr/>
          </p:nvSpPr>
          <p:spPr bwMode="auto">
            <a:xfrm>
              <a:off x="4341813" y="2679700"/>
              <a:ext cx="1587" cy="3175"/>
            </a:xfrm>
            <a:custGeom>
              <a:avLst/>
              <a:gdLst>
                <a:gd name="T0" fmla="*/ 5 w 6"/>
                <a:gd name="T1" fmla="*/ 6 h 7"/>
                <a:gd name="T2" fmla="*/ 5 w 6"/>
                <a:gd name="T3" fmla="*/ 0 h 7"/>
                <a:gd name="T4" fmla="*/ 0 w 6"/>
                <a:gd name="T5" fmla="*/ 0 h 7"/>
                <a:gd name="T6" fmla="*/ 0 w 6"/>
                <a:gd name="T7" fmla="*/ 6 h 7"/>
                <a:gd name="T8" fmla="*/ 5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6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40" name="Freeform 967"/>
            <p:cNvSpPr>
              <a:spLocks noChangeArrowheads="1"/>
            </p:cNvSpPr>
            <p:nvPr/>
          </p:nvSpPr>
          <p:spPr bwMode="auto">
            <a:xfrm>
              <a:off x="4351338" y="2679700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0 w 9"/>
                <a:gd name="T3" fmla="*/ 0 h 9"/>
                <a:gd name="T4" fmla="*/ 8 w 9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cubicBezTo>
                    <a:pt x="8" y="0"/>
                    <a:pt x="3" y="0"/>
                    <a:pt x="0" y="0"/>
                  </a:cubicBezTo>
                  <a:cubicBezTo>
                    <a:pt x="0" y="6"/>
                    <a:pt x="3" y="6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41" name="Freeform 968"/>
            <p:cNvSpPr>
              <a:spLocks noChangeArrowheads="1"/>
            </p:cNvSpPr>
            <p:nvPr/>
          </p:nvSpPr>
          <p:spPr bwMode="auto">
            <a:xfrm>
              <a:off x="4392613" y="2673350"/>
              <a:ext cx="6350" cy="4763"/>
            </a:xfrm>
            <a:custGeom>
              <a:avLst/>
              <a:gdLst>
                <a:gd name="T0" fmla="*/ 17 w 18"/>
                <a:gd name="T1" fmla="*/ 0 h 12"/>
                <a:gd name="T2" fmla="*/ 17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17" y="0"/>
                  </a:moveTo>
                  <a:cubicBezTo>
                    <a:pt x="0" y="3"/>
                    <a:pt x="14" y="11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42" name="Freeform 969"/>
            <p:cNvSpPr>
              <a:spLocks noChangeArrowheads="1"/>
            </p:cNvSpPr>
            <p:nvPr/>
          </p:nvSpPr>
          <p:spPr bwMode="auto">
            <a:xfrm>
              <a:off x="4384675" y="2673350"/>
              <a:ext cx="4763" cy="6350"/>
            </a:xfrm>
            <a:custGeom>
              <a:avLst/>
              <a:gdLst>
                <a:gd name="T0" fmla="*/ 11 w 12"/>
                <a:gd name="T1" fmla="*/ 6 h 18"/>
                <a:gd name="T2" fmla="*/ 11 w 12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11" y="6"/>
                  </a:moveTo>
                  <a:cubicBezTo>
                    <a:pt x="0" y="0"/>
                    <a:pt x="6" y="17"/>
                    <a:pt x="1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43" name="Freeform 970"/>
            <p:cNvSpPr>
              <a:spLocks noChangeArrowheads="1"/>
            </p:cNvSpPr>
            <p:nvPr/>
          </p:nvSpPr>
          <p:spPr bwMode="auto">
            <a:xfrm>
              <a:off x="4329113" y="2686050"/>
              <a:ext cx="3175" cy="3175"/>
            </a:xfrm>
            <a:custGeom>
              <a:avLst/>
              <a:gdLst>
                <a:gd name="T0" fmla="*/ 8 w 9"/>
                <a:gd name="T1" fmla="*/ 5 h 9"/>
                <a:gd name="T2" fmla="*/ 3 w 9"/>
                <a:gd name="T3" fmla="*/ 0 h 9"/>
                <a:gd name="T4" fmla="*/ 8 w 9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5"/>
                  </a:moveTo>
                  <a:cubicBezTo>
                    <a:pt x="8" y="3"/>
                    <a:pt x="5" y="0"/>
                    <a:pt x="3" y="0"/>
                  </a:cubicBezTo>
                  <a:cubicBezTo>
                    <a:pt x="0" y="3"/>
                    <a:pt x="3" y="8"/>
                    <a:pt x="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44" name="Freeform 971"/>
            <p:cNvSpPr>
              <a:spLocks noChangeArrowheads="1"/>
            </p:cNvSpPr>
            <p:nvPr/>
          </p:nvSpPr>
          <p:spPr bwMode="auto">
            <a:xfrm>
              <a:off x="4340225" y="2681288"/>
              <a:ext cx="4763" cy="4762"/>
            </a:xfrm>
            <a:custGeom>
              <a:avLst/>
              <a:gdLst>
                <a:gd name="T0" fmla="*/ 0 w 15"/>
                <a:gd name="T1" fmla="*/ 8 h 12"/>
                <a:gd name="T2" fmla="*/ 0 w 15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2">
                  <a:moveTo>
                    <a:pt x="0" y="8"/>
                  </a:moveTo>
                  <a:cubicBezTo>
                    <a:pt x="14" y="11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45" name="Freeform 972"/>
            <p:cNvSpPr>
              <a:spLocks noChangeArrowheads="1"/>
            </p:cNvSpPr>
            <p:nvPr/>
          </p:nvSpPr>
          <p:spPr bwMode="auto">
            <a:xfrm>
              <a:off x="4348163" y="2682875"/>
              <a:ext cx="3175" cy="6350"/>
            </a:xfrm>
            <a:custGeom>
              <a:avLst/>
              <a:gdLst>
                <a:gd name="T0" fmla="*/ 0 w 9"/>
                <a:gd name="T1" fmla="*/ 9 h 18"/>
                <a:gd name="T2" fmla="*/ 0 w 9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9"/>
                  </a:moveTo>
                  <a:cubicBezTo>
                    <a:pt x="8" y="17"/>
                    <a:pt x="2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46" name="Freeform 973"/>
            <p:cNvSpPr>
              <a:spLocks noChangeArrowheads="1"/>
            </p:cNvSpPr>
            <p:nvPr/>
          </p:nvSpPr>
          <p:spPr bwMode="auto">
            <a:xfrm>
              <a:off x="4362450" y="2681288"/>
              <a:ext cx="4763" cy="4762"/>
            </a:xfrm>
            <a:custGeom>
              <a:avLst/>
              <a:gdLst>
                <a:gd name="T0" fmla="*/ 8 w 15"/>
                <a:gd name="T1" fmla="*/ 14 h 15"/>
                <a:gd name="T2" fmla="*/ 0 w 15"/>
                <a:gd name="T3" fmla="*/ 2 h 15"/>
                <a:gd name="T4" fmla="*/ 8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8" y="14"/>
                  </a:moveTo>
                  <a:cubicBezTo>
                    <a:pt x="14" y="8"/>
                    <a:pt x="6" y="0"/>
                    <a:pt x="0" y="2"/>
                  </a:cubicBezTo>
                  <a:cubicBezTo>
                    <a:pt x="3" y="8"/>
                    <a:pt x="6" y="14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47" name="Freeform 974"/>
            <p:cNvSpPr>
              <a:spLocks noChangeArrowheads="1"/>
            </p:cNvSpPr>
            <p:nvPr/>
          </p:nvSpPr>
          <p:spPr bwMode="auto">
            <a:xfrm>
              <a:off x="4319588" y="2687638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48" name="Freeform 975"/>
            <p:cNvSpPr>
              <a:spLocks noChangeArrowheads="1"/>
            </p:cNvSpPr>
            <p:nvPr/>
          </p:nvSpPr>
          <p:spPr bwMode="auto">
            <a:xfrm>
              <a:off x="4303713" y="2692400"/>
              <a:ext cx="1587" cy="1588"/>
            </a:xfrm>
            <a:custGeom>
              <a:avLst/>
              <a:gdLst>
                <a:gd name="T0" fmla="*/ 3 w 4"/>
                <a:gd name="T1" fmla="*/ 0 h 3"/>
                <a:gd name="T2" fmla="*/ 3 w 4"/>
                <a:gd name="T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cubicBezTo>
                    <a:pt x="3" y="2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49" name="Freeform 976"/>
            <p:cNvSpPr>
              <a:spLocks noChangeArrowheads="1"/>
            </p:cNvSpPr>
            <p:nvPr/>
          </p:nvSpPr>
          <p:spPr bwMode="auto">
            <a:xfrm>
              <a:off x="4340225" y="2686050"/>
              <a:ext cx="4763" cy="3175"/>
            </a:xfrm>
            <a:custGeom>
              <a:avLst/>
              <a:gdLst>
                <a:gd name="T0" fmla="*/ 0 w 12"/>
                <a:gd name="T1" fmla="*/ 8 h 9"/>
                <a:gd name="T2" fmla="*/ 0 w 12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cubicBezTo>
                    <a:pt x="11" y="8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50" name="Freeform 977"/>
            <p:cNvSpPr>
              <a:spLocks noChangeArrowheads="1"/>
            </p:cNvSpPr>
            <p:nvPr/>
          </p:nvSpPr>
          <p:spPr bwMode="auto">
            <a:xfrm>
              <a:off x="4322763" y="2689225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51" name="Freeform 978"/>
            <p:cNvSpPr>
              <a:spLocks noChangeArrowheads="1"/>
            </p:cNvSpPr>
            <p:nvPr/>
          </p:nvSpPr>
          <p:spPr bwMode="auto">
            <a:xfrm>
              <a:off x="4335463" y="2689225"/>
              <a:ext cx="4762" cy="3175"/>
            </a:xfrm>
            <a:custGeom>
              <a:avLst/>
              <a:gdLst>
                <a:gd name="T0" fmla="*/ 8 w 12"/>
                <a:gd name="T1" fmla="*/ 0 h 10"/>
                <a:gd name="T2" fmla="*/ 0 w 12"/>
                <a:gd name="T3" fmla="*/ 9 h 10"/>
                <a:gd name="T4" fmla="*/ 8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0" y="0"/>
                    <a:pt x="0" y="6"/>
                    <a:pt x="0" y="9"/>
                  </a:cubicBezTo>
                  <a:cubicBezTo>
                    <a:pt x="5" y="9"/>
                    <a:pt x="11" y="6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52" name="Freeform 979"/>
            <p:cNvSpPr>
              <a:spLocks noChangeArrowheads="1"/>
            </p:cNvSpPr>
            <p:nvPr/>
          </p:nvSpPr>
          <p:spPr bwMode="auto">
            <a:xfrm>
              <a:off x="4370388" y="2682875"/>
              <a:ext cx="3175" cy="6350"/>
            </a:xfrm>
            <a:custGeom>
              <a:avLst/>
              <a:gdLst>
                <a:gd name="T0" fmla="*/ 0 w 7"/>
                <a:gd name="T1" fmla="*/ 9 h 18"/>
                <a:gd name="T2" fmla="*/ 0 w 7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9"/>
                  </a:moveTo>
                  <a:cubicBezTo>
                    <a:pt x="6" y="17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53" name="Freeform 980"/>
            <p:cNvSpPr>
              <a:spLocks noChangeArrowheads="1"/>
            </p:cNvSpPr>
            <p:nvPr/>
          </p:nvSpPr>
          <p:spPr bwMode="auto">
            <a:xfrm>
              <a:off x="4359275" y="2686050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11 h 15"/>
                <a:gd name="T4" fmla="*/ 0 w 9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lnTo>
                    <a:pt x="0" y="11"/>
                  </a:lnTo>
                  <a:cubicBezTo>
                    <a:pt x="8" y="14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54" name="Freeform 981"/>
            <p:cNvSpPr>
              <a:spLocks noChangeArrowheads="1"/>
            </p:cNvSpPr>
            <p:nvPr/>
          </p:nvSpPr>
          <p:spPr bwMode="auto">
            <a:xfrm>
              <a:off x="4310063" y="2692400"/>
              <a:ext cx="4762" cy="6350"/>
            </a:xfrm>
            <a:custGeom>
              <a:avLst/>
              <a:gdLst>
                <a:gd name="T0" fmla="*/ 14 w 15"/>
                <a:gd name="T1" fmla="*/ 8 h 18"/>
                <a:gd name="T2" fmla="*/ 14 w 15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14" y="8"/>
                  </a:moveTo>
                  <a:cubicBezTo>
                    <a:pt x="0" y="0"/>
                    <a:pt x="6" y="17"/>
                    <a:pt x="1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55" name="Freeform 982"/>
            <p:cNvSpPr>
              <a:spLocks noChangeArrowheads="1"/>
            </p:cNvSpPr>
            <p:nvPr/>
          </p:nvSpPr>
          <p:spPr bwMode="auto">
            <a:xfrm>
              <a:off x="4340225" y="2690813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56" name="Freeform 983"/>
            <p:cNvSpPr>
              <a:spLocks noChangeArrowheads="1"/>
            </p:cNvSpPr>
            <p:nvPr/>
          </p:nvSpPr>
          <p:spPr bwMode="auto">
            <a:xfrm>
              <a:off x="4344988" y="2689225"/>
              <a:ext cx="4762" cy="3175"/>
            </a:xfrm>
            <a:custGeom>
              <a:avLst/>
              <a:gdLst>
                <a:gd name="T0" fmla="*/ 0 w 12"/>
                <a:gd name="T1" fmla="*/ 3 h 10"/>
                <a:gd name="T2" fmla="*/ 11 w 12"/>
                <a:gd name="T3" fmla="*/ 9 h 10"/>
                <a:gd name="T4" fmla="*/ 0 w 12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0" y="3"/>
                  </a:moveTo>
                  <a:cubicBezTo>
                    <a:pt x="0" y="9"/>
                    <a:pt x="6" y="9"/>
                    <a:pt x="11" y="9"/>
                  </a:cubicBezTo>
                  <a:cubicBezTo>
                    <a:pt x="11" y="3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57" name="Freeform 984"/>
            <p:cNvSpPr>
              <a:spLocks noChangeArrowheads="1"/>
            </p:cNvSpPr>
            <p:nvPr/>
          </p:nvSpPr>
          <p:spPr bwMode="auto">
            <a:xfrm>
              <a:off x="4305300" y="2695575"/>
              <a:ext cx="3175" cy="6350"/>
            </a:xfrm>
            <a:custGeom>
              <a:avLst/>
              <a:gdLst>
                <a:gd name="T0" fmla="*/ 0 w 9"/>
                <a:gd name="T1" fmla="*/ 8 h 18"/>
                <a:gd name="T2" fmla="*/ 0 w 9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8"/>
                  </a:moveTo>
                  <a:cubicBezTo>
                    <a:pt x="8" y="17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58" name="Freeform 985"/>
            <p:cNvSpPr>
              <a:spLocks noChangeArrowheads="1"/>
            </p:cNvSpPr>
            <p:nvPr/>
          </p:nvSpPr>
          <p:spPr bwMode="auto">
            <a:xfrm>
              <a:off x="4337050" y="2692400"/>
              <a:ext cx="4763" cy="3175"/>
            </a:xfrm>
            <a:custGeom>
              <a:avLst/>
              <a:gdLst>
                <a:gd name="T0" fmla="*/ 0 w 13"/>
                <a:gd name="T1" fmla="*/ 8 h 9"/>
                <a:gd name="T2" fmla="*/ 0 w 13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9">
                  <a:moveTo>
                    <a:pt x="0" y="8"/>
                  </a:moveTo>
                  <a:cubicBezTo>
                    <a:pt x="12" y="8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59" name="Freeform 986"/>
            <p:cNvSpPr>
              <a:spLocks noChangeArrowheads="1"/>
            </p:cNvSpPr>
            <p:nvPr/>
          </p:nvSpPr>
          <p:spPr bwMode="auto">
            <a:xfrm>
              <a:off x="4341813" y="2692400"/>
              <a:ext cx="6350" cy="4763"/>
            </a:xfrm>
            <a:custGeom>
              <a:avLst/>
              <a:gdLst>
                <a:gd name="T0" fmla="*/ 0 w 16"/>
                <a:gd name="T1" fmla="*/ 5 h 12"/>
                <a:gd name="T2" fmla="*/ 15 w 16"/>
                <a:gd name="T3" fmla="*/ 11 h 12"/>
                <a:gd name="T4" fmla="*/ 0 w 16"/>
                <a:gd name="T5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0" y="5"/>
                  </a:moveTo>
                  <a:cubicBezTo>
                    <a:pt x="6" y="8"/>
                    <a:pt x="9" y="11"/>
                    <a:pt x="15" y="11"/>
                  </a:cubicBezTo>
                  <a:cubicBezTo>
                    <a:pt x="15" y="5"/>
                    <a:pt x="3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60" name="Freeform 987"/>
            <p:cNvSpPr>
              <a:spLocks noChangeArrowheads="1"/>
            </p:cNvSpPr>
            <p:nvPr/>
          </p:nvSpPr>
          <p:spPr bwMode="auto">
            <a:xfrm>
              <a:off x="4310063" y="2698750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3" y="3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61" name="Freeform 988"/>
            <p:cNvSpPr>
              <a:spLocks noChangeArrowheads="1"/>
            </p:cNvSpPr>
            <p:nvPr/>
          </p:nvSpPr>
          <p:spPr bwMode="auto">
            <a:xfrm>
              <a:off x="4305300" y="2701925"/>
              <a:ext cx="4763" cy="3175"/>
            </a:xfrm>
            <a:custGeom>
              <a:avLst/>
              <a:gdLst>
                <a:gd name="T0" fmla="*/ 14 w 15"/>
                <a:gd name="T1" fmla="*/ 3 h 9"/>
                <a:gd name="T2" fmla="*/ 0 w 15"/>
                <a:gd name="T3" fmla="*/ 8 h 9"/>
                <a:gd name="T4" fmla="*/ 14 w 15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3"/>
                  </a:moveTo>
                  <a:cubicBezTo>
                    <a:pt x="8" y="0"/>
                    <a:pt x="3" y="3"/>
                    <a:pt x="0" y="8"/>
                  </a:cubicBezTo>
                  <a:cubicBezTo>
                    <a:pt x="3" y="6"/>
                    <a:pt x="14" y="8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62" name="Freeform 989"/>
            <p:cNvSpPr>
              <a:spLocks noChangeArrowheads="1"/>
            </p:cNvSpPr>
            <p:nvPr/>
          </p:nvSpPr>
          <p:spPr bwMode="auto">
            <a:xfrm>
              <a:off x="4335463" y="2698750"/>
              <a:ext cx="6350" cy="3175"/>
            </a:xfrm>
            <a:custGeom>
              <a:avLst/>
              <a:gdLst>
                <a:gd name="T0" fmla="*/ 17 w 18"/>
                <a:gd name="T1" fmla="*/ 0 h 9"/>
                <a:gd name="T2" fmla="*/ 17 w 18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17" y="0"/>
                  </a:moveTo>
                  <a:cubicBezTo>
                    <a:pt x="0" y="0"/>
                    <a:pt x="11" y="8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63" name="Freeform 990"/>
            <p:cNvSpPr>
              <a:spLocks noChangeArrowheads="1"/>
            </p:cNvSpPr>
            <p:nvPr/>
          </p:nvSpPr>
          <p:spPr bwMode="auto">
            <a:xfrm>
              <a:off x="4389438" y="2665413"/>
              <a:ext cx="7937" cy="4762"/>
            </a:xfrm>
            <a:custGeom>
              <a:avLst/>
              <a:gdLst>
                <a:gd name="T0" fmla="*/ 3 w 21"/>
                <a:gd name="T1" fmla="*/ 11 h 12"/>
                <a:gd name="T2" fmla="*/ 12 w 21"/>
                <a:gd name="T3" fmla="*/ 0 h 12"/>
                <a:gd name="T4" fmla="*/ 3 w 21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3" y="11"/>
                  </a:moveTo>
                  <a:cubicBezTo>
                    <a:pt x="6" y="8"/>
                    <a:pt x="20" y="2"/>
                    <a:pt x="12" y="0"/>
                  </a:cubicBezTo>
                  <a:cubicBezTo>
                    <a:pt x="12" y="5"/>
                    <a:pt x="0" y="2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64" name="Freeform 991"/>
            <p:cNvSpPr>
              <a:spLocks noChangeArrowheads="1"/>
            </p:cNvSpPr>
            <p:nvPr/>
          </p:nvSpPr>
          <p:spPr bwMode="auto">
            <a:xfrm>
              <a:off x="4376738" y="2671763"/>
              <a:ext cx="4762" cy="4762"/>
            </a:xfrm>
            <a:custGeom>
              <a:avLst/>
              <a:gdLst>
                <a:gd name="T0" fmla="*/ 0 w 15"/>
                <a:gd name="T1" fmla="*/ 9 h 13"/>
                <a:gd name="T2" fmla="*/ 8 w 15"/>
                <a:gd name="T3" fmla="*/ 0 h 13"/>
                <a:gd name="T4" fmla="*/ 0 w 15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0" y="9"/>
                  </a:moveTo>
                  <a:cubicBezTo>
                    <a:pt x="8" y="12"/>
                    <a:pt x="14" y="0"/>
                    <a:pt x="8" y="0"/>
                  </a:cubicBezTo>
                  <a:cubicBezTo>
                    <a:pt x="11" y="9"/>
                    <a:pt x="0" y="3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65" name="Freeform 992"/>
            <p:cNvSpPr>
              <a:spLocks noChangeArrowheads="1"/>
            </p:cNvSpPr>
            <p:nvPr/>
          </p:nvSpPr>
          <p:spPr bwMode="auto">
            <a:xfrm>
              <a:off x="4389438" y="2665413"/>
              <a:ext cx="4762" cy="7937"/>
            </a:xfrm>
            <a:custGeom>
              <a:avLst/>
              <a:gdLst>
                <a:gd name="T0" fmla="*/ 12 w 13"/>
                <a:gd name="T1" fmla="*/ 8 h 20"/>
                <a:gd name="T2" fmla="*/ 12 w 13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0">
                  <a:moveTo>
                    <a:pt x="12" y="8"/>
                  </a:moveTo>
                  <a:cubicBezTo>
                    <a:pt x="0" y="0"/>
                    <a:pt x="9" y="19"/>
                    <a:pt x="12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66" name="Freeform 993"/>
            <p:cNvSpPr>
              <a:spLocks noChangeArrowheads="1"/>
            </p:cNvSpPr>
            <p:nvPr/>
          </p:nvSpPr>
          <p:spPr bwMode="auto">
            <a:xfrm>
              <a:off x="4376738" y="2674938"/>
              <a:ext cx="3175" cy="4762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2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67" name="Freeform 994"/>
            <p:cNvSpPr>
              <a:spLocks noChangeArrowheads="1"/>
            </p:cNvSpPr>
            <p:nvPr/>
          </p:nvSpPr>
          <p:spPr bwMode="auto">
            <a:xfrm>
              <a:off x="4368800" y="2667000"/>
              <a:ext cx="3175" cy="3175"/>
            </a:xfrm>
            <a:custGeom>
              <a:avLst/>
              <a:gdLst>
                <a:gd name="T0" fmla="*/ 8 w 9"/>
                <a:gd name="T1" fmla="*/ 6 h 10"/>
                <a:gd name="T2" fmla="*/ 5 w 9"/>
                <a:gd name="T3" fmla="*/ 0 h 10"/>
                <a:gd name="T4" fmla="*/ 0 w 9"/>
                <a:gd name="T5" fmla="*/ 6 h 10"/>
                <a:gd name="T6" fmla="*/ 3 w 9"/>
                <a:gd name="T7" fmla="*/ 9 h 10"/>
                <a:gd name="T8" fmla="*/ 8 w 9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8" y="6"/>
                  </a:moveTo>
                  <a:lnTo>
                    <a:pt x="5" y="0"/>
                  </a:lnTo>
                  <a:cubicBezTo>
                    <a:pt x="0" y="0"/>
                    <a:pt x="0" y="3"/>
                    <a:pt x="0" y="6"/>
                  </a:cubicBezTo>
                  <a:cubicBezTo>
                    <a:pt x="0" y="6"/>
                    <a:pt x="0" y="9"/>
                    <a:pt x="3" y="9"/>
                  </a:cubicBezTo>
                  <a:lnTo>
                    <a:pt x="8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68" name="Freeform 995"/>
            <p:cNvSpPr>
              <a:spLocks noChangeArrowheads="1"/>
            </p:cNvSpPr>
            <p:nvPr/>
          </p:nvSpPr>
          <p:spPr bwMode="auto">
            <a:xfrm>
              <a:off x="4351338" y="2662238"/>
              <a:ext cx="3175" cy="3175"/>
            </a:xfrm>
            <a:custGeom>
              <a:avLst/>
              <a:gdLst>
                <a:gd name="T0" fmla="*/ 5 w 9"/>
                <a:gd name="T1" fmla="*/ 0 h 10"/>
                <a:gd name="T2" fmla="*/ 0 w 9"/>
                <a:gd name="T3" fmla="*/ 3 h 10"/>
                <a:gd name="T4" fmla="*/ 3 w 9"/>
                <a:gd name="T5" fmla="*/ 9 h 10"/>
                <a:gd name="T6" fmla="*/ 8 w 9"/>
                <a:gd name="T7" fmla="*/ 6 h 10"/>
                <a:gd name="T8" fmla="*/ 5 w 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lnTo>
                    <a:pt x="0" y="3"/>
                  </a:lnTo>
                  <a:lnTo>
                    <a:pt x="3" y="9"/>
                  </a:lnTo>
                  <a:lnTo>
                    <a:pt x="8" y="6"/>
                  </a:lnTo>
                  <a:lnTo>
                    <a:pt x="5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69" name="Freeform 996"/>
            <p:cNvSpPr>
              <a:spLocks noChangeArrowheads="1"/>
            </p:cNvSpPr>
            <p:nvPr/>
          </p:nvSpPr>
          <p:spPr bwMode="auto">
            <a:xfrm>
              <a:off x="4348163" y="2667000"/>
              <a:ext cx="3175" cy="4763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3" y="14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70" name="Freeform 997"/>
            <p:cNvSpPr>
              <a:spLocks noChangeArrowheads="1"/>
            </p:cNvSpPr>
            <p:nvPr/>
          </p:nvSpPr>
          <p:spPr bwMode="auto">
            <a:xfrm>
              <a:off x="4348163" y="2670175"/>
              <a:ext cx="1587" cy="6350"/>
            </a:xfrm>
            <a:custGeom>
              <a:avLst/>
              <a:gdLst>
                <a:gd name="T0" fmla="*/ 0 w 6"/>
                <a:gd name="T1" fmla="*/ 3 h 16"/>
                <a:gd name="T2" fmla="*/ 0 w 6"/>
                <a:gd name="T3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6">
                  <a:moveTo>
                    <a:pt x="0" y="3"/>
                  </a:moveTo>
                  <a:cubicBezTo>
                    <a:pt x="2" y="15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71" name="Freeform 998"/>
            <p:cNvSpPr>
              <a:spLocks noChangeArrowheads="1"/>
            </p:cNvSpPr>
            <p:nvPr/>
          </p:nvSpPr>
          <p:spPr bwMode="auto">
            <a:xfrm>
              <a:off x="4349750" y="2690813"/>
              <a:ext cx="3175" cy="3175"/>
            </a:xfrm>
            <a:custGeom>
              <a:avLst/>
              <a:gdLst>
                <a:gd name="T0" fmla="*/ 6 w 10"/>
                <a:gd name="T1" fmla="*/ 0 h 9"/>
                <a:gd name="T2" fmla="*/ 0 w 10"/>
                <a:gd name="T3" fmla="*/ 3 h 9"/>
                <a:gd name="T4" fmla="*/ 3 w 10"/>
                <a:gd name="T5" fmla="*/ 8 h 9"/>
                <a:gd name="T6" fmla="*/ 9 w 10"/>
                <a:gd name="T7" fmla="*/ 6 h 9"/>
                <a:gd name="T8" fmla="*/ 6 w 10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6" y="0"/>
                  </a:moveTo>
                  <a:lnTo>
                    <a:pt x="0" y="3"/>
                  </a:lnTo>
                  <a:lnTo>
                    <a:pt x="3" y="8"/>
                  </a:lnTo>
                  <a:lnTo>
                    <a:pt x="9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72" name="Freeform 999"/>
            <p:cNvSpPr>
              <a:spLocks noChangeArrowheads="1"/>
            </p:cNvSpPr>
            <p:nvPr/>
          </p:nvSpPr>
          <p:spPr bwMode="auto">
            <a:xfrm>
              <a:off x="4333875" y="2662238"/>
              <a:ext cx="4763" cy="4762"/>
            </a:xfrm>
            <a:custGeom>
              <a:avLst/>
              <a:gdLst>
                <a:gd name="T0" fmla="*/ 8 w 12"/>
                <a:gd name="T1" fmla="*/ 14 h 15"/>
                <a:gd name="T2" fmla="*/ 8 w 12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8" y="14"/>
                  </a:moveTo>
                  <a:cubicBezTo>
                    <a:pt x="11" y="0"/>
                    <a:pt x="0" y="11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73" name="Freeform 1000"/>
            <p:cNvSpPr>
              <a:spLocks noChangeArrowheads="1"/>
            </p:cNvSpPr>
            <p:nvPr/>
          </p:nvSpPr>
          <p:spPr bwMode="auto">
            <a:xfrm>
              <a:off x="4344988" y="2684463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6 h 12"/>
                <a:gd name="T4" fmla="*/ 3 w 9"/>
                <a:gd name="T5" fmla="*/ 11 h 12"/>
                <a:gd name="T6" fmla="*/ 0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0" y="6"/>
                    <a:pt x="0" y="6"/>
                    <a:pt x="0" y="6"/>
                  </a:cubicBezTo>
                  <a:lnTo>
                    <a:pt x="3" y="11"/>
                  </a:lnTo>
                  <a:cubicBezTo>
                    <a:pt x="8" y="11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74" name="Freeform 1001"/>
            <p:cNvSpPr>
              <a:spLocks noChangeArrowheads="1"/>
            </p:cNvSpPr>
            <p:nvPr/>
          </p:nvSpPr>
          <p:spPr bwMode="auto">
            <a:xfrm>
              <a:off x="4333875" y="2671763"/>
              <a:ext cx="3175" cy="3175"/>
            </a:xfrm>
            <a:custGeom>
              <a:avLst/>
              <a:gdLst>
                <a:gd name="T0" fmla="*/ 0 w 9"/>
                <a:gd name="T1" fmla="*/ 0 h 7"/>
                <a:gd name="T2" fmla="*/ 8 w 9"/>
                <a:gd name="T3" fmla="*/ 6 h 7"/>
                <a:gd name="T4" fmla="*/ 0 w 9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0" y="0"/>
                  </a:moveTo>
                  <a:cubicBezTo>
                    <a:pt x="0" y="3"/>
                    <a:pt x="6" y="6"/>
                    <a:pt x="8" y="6"/>
                  </a:cubicBezTo>
                  <a:cubicBezTo>
                    <a:pt x="6" y="3"/>
                    <a:pt x="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75" name="Freeform 1002"/>
            <p:cNvSpPr>
              <a:spLocks noChangeArrowheads="1"/>
            </p:cNvSpPr>
            <p:nvPr/>
          </p:nvSpPr>
          <p:spPr bwMode="auto">
            <a:xfrm>
              <a:off x="4340225" y="2693988"/>
              <a:ext cx="6350" cy="4762"/>
            </a:xfrm>
            <a:custGeom>
              <a:avLst/>
              <a:gdLst>
                <a:gd name="T0" fmla="*/ 14 w 18"/>
                <a:gd name="T1" fmla="*/ 0 h 13"/>
                <a:gd name="T2" fmla="*/ 14 w 18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14" y="0"/>
                  </a:moveTo>
                  <a:cubicBezTo>
                    <a:pt x="0" y="6"/>
                    <a:pt x="17" y="12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76" name="Freeform 1003"/>
            <p:cNvSpPr>
              <a:spLocks noChangeArrowheads="1"/>
            </p:cNvSpPr>
            <p:nvPr/>
          </p:nvSpPr>
          <p:spPr bwMode="auto">
            <a:xfrm>
              <a:off x="4340225" y="2692400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3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77" name="Freeform 1004"/>
            <p:cNvSpPr>
              <a:spLocks noChangeArrowheads="1"/>
            </p:cNvSpPr>
            <p:nvPr/>
          </p:nvSpPr>
          <p:spPr bwMode="auto">
            <a:xfrm>
              <a:off x="4329113" y="2674938"/>
              <a:ext cx="1587" cy="4762"/>
            </a:xfrm>
            <a:custGeom>
              <a:avLst/>
              <a:gdLst>
                <a:gd name="T0" fmla="*/ 0 w 6"/>
                <a:gd name="T1" fmla="*/ 3 h 15"/>
                <a:gd name="T2" fmla="*/ 0 w 6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5">
                  <a:moveTo>
                    <a:pt x="0" y="3"/>
                  </a:moveTo>
                  <a:cubicBezTo>
                    <a:pt x="0" y="14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78" name="Freeform 1005"/>
            <p:cNvSpPr>
              <a:spLocks noChangeArrowheads="1"/>
            </p:cNvSpPr>
            <p:nvPr/>
          </p:nvSpPr>
          <p:spPr bwMode="auto">
            <a:xfrm>
              <a:off x="4325938" y="2676525"/>
              <a:ext cx="3175" cy="4763"/>
            </a:xfrm>
            <a:custGeom>
              <a:avLst/>
              <a:gdLst>
                <a:gd name="T0" fmla="*/ 0 w 7"/>
                <a:gd name="T1" fmla="*/ 2 h 12"/>
                <a:gd name="T2" fmla="*/ 0 w 7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2">
                  <a:moveTo>
                    <a:pt x="0" y="2"/>
                  </a:moveTo>
                  <a:cubicBezTo>
                    <a:pt x="3" y="11"/>
                    <a:pt x="6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79" name="Freeform 1006"/>
            <p:cNvSpPr>
              <a:spLocks noChangeArrowheads="1"/>
            </p:cNvSpPr>
            <p:nvPr/>
          </p:nvSpPr>
          <p:spPr bwMode="auto">
            <a:xfrm>
              <a:off x="4319588" y="2671763"/>
              <a:ext cx="3175" cy="4762"/>
            </a:xfrm>
            <a:custGeom>
              <a:avLst/>
              <a:gdLst>
                <a:gd name="T0" fmla="*/ 2 w 9"/>
                <a:gd name="T1" fmla="*/ 12 h 13"/>
                <a:gd name="T2" fmla="*/ 5 w 9"/>
                <a:gd name="T3" fmla="*/ 0 h 13"/>
                <a:gd name="T4" fmla="*/ 2 w 9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3">
                  <a:moveTo>
                    <a:pt x="2" y="12"/>
                  </a:moveTo>
                  <a:cubicBezTo>
                    <a:pt x="8" y="9"/>
                    <a:pt x="8" y="6"/>
                    <a:pt x="5" y="0"/>
                  </a:cubicBezTo>
                  <a:cubicBezTo>
                    <a:pt x="0" y="3"/>
                    <a:pt x="0" y="6"/>
                    <a:pt x="2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80" name="Freeform 1007"/>
            <p:cNvSpPr>
              <a:spLocks noChangeArrowheads="1"/>
            </p:cNvSpPr>
            <p:nvPr/>
          </p:nvSpPr>
          <p:spPr bwMode="auto">
            <a:xfrm>
              <a:off x="4300538" y="2679700"/>
              <a:ext cx="9525" cy="4763"/>
            </a:xfrm>
            <a:custGeom>
              <a:avLst/>
              <a:gdLst>
                <a:gd name="T0" fmla="*/ 19 w 26"/>
                <a:gd name="T1" fmla="*/ 0 h 12"/>
                <a:gd name="T2" fmla="*/ 8 w 26"/>
                <a:gd name="T3" fmla="*/ 8 h 12"/>
                <a:gd name="T4" fmla="*/ 19 w 2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12">
                  <a:moveTo>
                    <a:pt x="19" y="0"/>
                  </a:moveTo>
                  <a:cubicBezTo>
                    <a:pt x="17" y="0"/>
                    <a:pt x="0" y="3"/>
                    <a:pt x="8" y="8"/>
                  </a:cubicBezTo>
                  <a:cubicBezTo>
                    <a:pt x="8" y="11"/>
                    <a:pt x="25" y="6"/>
                    <a:pt x="1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81" name="Freeform 1008"/>
            <p:cNvSpPr>
              <a:spLocks noChangeArrowheads="1"/>
            </p:cNvSpPr>
            <p:nvPr/>
          </p:nvSpPr>
          <p:spPr bwMode="auto">
            <a:xfrm>
              <a:off x="4297363" y="2690813"/>
              <a:ext cx="3175" cy="1587"/>
            </a:xfrm>
            <a:custGeom>
              <a:avLst/>
              <a:gdLst>
                <a:gd name="T0" fmla="*/ 3 w 10"/>
                <a:gd name="T1" fmla="*/ 4 h 6"/>
                <a:gd name="T2" fmla="*/ 0 w 10"/>
                <a:gd name="T3" fmla="*/ 5 h 6"/>
                <a:gd name="T4" fmla="*/ 3 w 10"/>
                <a:gd name="T5" fmla="*/ 4 h 6"/>
                <a:gd name="T6" fmla="*/ 5 w 10"/>
                <a:gd name="T7" fmla="*/ 2 h 6"/>
                <a:gd name="T8" fmla="*/ 3 w 10"/>
                <a:gd name="T9" fmla="*/ 4 h 6"/>
                <a:gd name="T10" fmla="*/ 5 w 10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6">
                  <a:moveTo>
                    <a:pt x="3" y="4"/>
                  </a:moveTo>
                  <a:cubicBezTo>
                    <a:pt x="2" y="4"/>
                    <a:pt x="1" y="5"/>
                    <a:pt x="0" y="5"/>
                  </a:cubicBezTo>
                  <a:cubicBezTo>
                    <a:pt x="0" y="5"/>
                    <a:pt x="2" y="4"/>
                    <a:pt x="3" y="4"/>
                  </a:cubicBezTo>
                  <a:close/>
                  <a:moveTo>
                    <a:pt x="5" y="2"/>
                  </a:moveTo>
                  <a:cubicBezTo>
                    <a:pt x="9" y="0"/>
                    <a:pt x="6" y="2"/>
                    <a:pt x="3" y="4"/>
                  </a:cubicBezTo>
                  <a:cubicBezTo>
                    <a:pt x="3" y="3"/>
                    <a:pt x="4" y="3"/>
                    <a:pt x="5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82" name="Freeform 1009"/>
            <p:cNvSpPr>
              <a:spLocks noChangeArrowheads="1"/>
            </p:cNvSpPr>
            <p:nvPr/>
          </p:nvSpPr>
          <p:spPr bwMode="auto">
            <a:xfrm>
              <a:off x="4292600" y="2698750"/>
              <a:ext cx="3175" cy="6350"/>
            </a:xfrm>
            <a:custGeom>
              <a:avLst/>
              <a:gdLst>
                <a:gd name="T0" fmla="*/ 0 w 7"/>
                <a:gd name="T1" fmla="*/ 3 h 16"/>
                <a:gd name="T2" fmla="*/ 0 w 7"/>
                <a:gd name="T3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6">
                  <a:moveTo>
                    <a:pt x="0" y="3"/>
                  </a:moveTo>
                  <a:cubicBezTo>
                    <a:pt x="3" y="15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83" name="Freeform 1010"/>
            <p:cNvSpPr>
              <a:spLocks noChangeArrowheads="1"/>
            </p:cNvSpPr>
            <p:nvPr/>
          </p:nvSpPr>
          <p:spPr bwMode="auto">
            <a:xfrm>
              <a:off x="4335463" y="2684463"/>
              <a:ext cx="4762" cy="6350"/>
            </a:xfrm>
            <a:custGeom>
              <a:avLst/>
              <a:gdLst>
                <a:gd name="T0" fmla="*/ 8 w 15"/>
                <a:gd name="T1" fmla="*/ 17 h 18"/>
                <a:gd name="T2" fmla="*/ 8 w 15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8" y="17"/>
                  </a:moveTo>
                  <a:cubicBezTo>
                    <a:pt x="14" y="0"/>
                    <a:pt x="0" y="11"/>
                    <a:pt x="8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84" name="Freeform 1011"/>
            <p:cNvSpPr>
              <a:spLocks noChangeArrowheads="1"/>
            </p:cNvSpPr>
            <p:nvPr/>
          </p:nvSpPr>
          <p:spPr bwMode="auto">
            <a:xfrm>
              <a:off x="4330700" y="2692400"/>
              <a:ext cx="7938" cy="6350"/>
            </a:xfrm>
            <a:custGeom>
              <a:avLst/>
              <a:gdLst>
                <a:gd name="T0" fmla="*/ 19 w 20"/>
                <a:gd name="T1" fmla="*/ 16 h 17"/>
                <a:gd name="T2" fmla="*/ 0 w 20"/>
                <a:gd name="T3" fmla="*/ 2 h 17"/>
                <a:gd name="T4" fmla="*/ 19 w 20"/>
                <a:gd name="T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7">
                  <a:moveTo>
                    <a:pt x="19" y="16"/>
                  </a:moveTo>
                  <a:cubicBezTo>
                    <a:pt x="14" y="5"/>
                    <a:pt x="8" y="0"/>
                    <a:pt x="0" y="2"/>
                  </a:cubicBezTo>
                  <a:cubicBezTo>
                    <a:pt x="0" y="8"/>
                    <a:pt x="14" y="11"/>
                    <a:pt x="19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85" name="Freeform 1012"/>
            <p:cNvSpPr>
              <a:spLocks noChangeArrowheads="1"/>
            </p:cNvSpPr>
            <p:nvPr/>
          </p:nvSpPr>
          <p:spPr bwMode="auto">
            <a:xfrm>
              <a:off x="4297363" y="2686050"/>
              <a:ext cx="6350" cy="3175"/>
            </a:xfrm>
            <a:custGeom>
              <a:avLst/>
              <a:gdLst>
                <a:gd name="T0" fmla="*/ 0 w 18"/>
                <a:gd name="T1" fmla="*/ 8 h 9"/>
                <a:gd name="T2" fmla="*/ 0 w 18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0" y="8"/>
                  </a:moveTo>
                  <a:cubicBezTo>
                    <a:pt x="17" y="8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86" name="Freeform 1013"/>
            <p:cNvSpPr>
              <a:spLocks noChangeArrowheads="1"/>
            </p:cNvSpPr>
            <p:nvPr/>
          </p:nvSpPr>
          <p:spPr bwMode="auto">
            <a:xfrm>
              <a:off x="4035425" y="2697163"/>
              <a:ext cx="3175" cy="1587"/>
            </a:xfrm>
            <a:custGeom>
              <a:avLst/>
              <a:gdLst>
                <a:gd name="T0" fmla="*/ 6 w 10"/>
                <a:gd name="T1" fmla="*/ 0 h 6"/>
                <a:gd name="T2" fmla="*/ 0 w 10"/>
                <a:gd name="T3" fmla="*/ 5 h 6"/>
                <a:gd name="T4" fmla="*/ 6 w 10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6">
                  <a:moveTo>
                    <a:pt x="6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9" y="5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87" name="Freeform 1014"/>
            <p:cNvSpPr>
              <a:spLocks noChangeArrowheads="1"/>
            </p:cNvSpPr>
            <p:nvPr/>
          </p:nvSpPr>
          <p:spPr bwMode="auto">
            <a:xfrm>
              <a:off x="4054475" y="2697163"/>
              <a:ext cx="4763" cy="3175"/>
            </a:xfrm>
            <a:custGeom>
              <a:avLst/>
              <a:gdLst>
                <a:gd name="T0" fmla="*/ 0 w 12"/>
                <a:gd name="T1" fmla="*/ 5 h 9"/>
                <a:gd name="T2" fmla="*/ 0 w 12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11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88" name="Freeform 1015"/>
            <p:cNvSpPr>
              <a:spLocks noChangeArrowheads="1"/>
            </p:cNvSpPr>
            <p:nvPr/>
          </p:nvSpPr>
          <p:spPr bwMode="auto">
            <a:xfrm>
              <a:off x="4064000" y="2698750"/>
              <a:ext cx="3175" cy="1588"/>
            </a:xfrm>
            <a:custGeom>
              <a:avLst/>
              <a:gdLst>
                <a:gd name="T0" fmla="*/ 6 w 7"/>
                <a:gd name="T1" fmla="*/ 5 h 6"/>
                <a:gd name="T2" fmla="*/ 6 w 7"/>
                <a:gd name="T3" fmla="*/ 0 h 6"/>
                <a:gd name="T4" fmla="*/ 0 w 7"/>
                <a:gd name="T5" fmla="*/ 0 h 6"/>
                <a:gd name="T6" fmla="*/ 0 w 7"/>
                <a:gd name="T7" fmla="*/ 5 h 6"/>
                <a:gd name="T8" fmla="*/ 6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89" name="Freeform 1016"/>
            <p:cNvSpPr>
              <a:spLocks noChangeArrowheads="1"/>
            </p:cNvSpPr>
            <p:nvPr/>
          </p:nvSpPr>
          <p:spPr bwMode="auto">
            <a:xfrm>
              <a:off x="4070350" y="2697163"/>
              <a:ext cx="3175" cy="1587"/>
            </a:xfrm>
            <a:custGeom>
              <a:avLst/>
              <a:gdLst>
                <a:gd name="T0" fmla="*/ 6 w 10"/>
                <a:gd name="T1" fmla="*/ 0 h 6"/>
                <a:gd name="T2" fmla="*/ 0 w 10"/>
                <a:gd name="T3" fmla="*/ 5 h 6"/>
                <a:gd name="T4" fmla="*/ 6 w 10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6">
                  <a:moveTo>
                    <a:pt x="6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9" y="5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90" name="Freeform 1017"/>
            <p:cNvSpPr>
              <a:spLocks noChangeArrowheads="1"/>
            </p:cNvSpPr>
            <p:nvPr/>
          </p:nvSpPr>
          <p:spPr bwMode="auto">
            <a:xfrm>
              <a:off x="4076700" y="2697163"/>
              <a:ext cx="3175" cy="4762"/>
            </a:xfrm>
            <a:custGeom>
              <a:avLst/>
              <a:gdLst>
                <a:gd name="T0" fmla="*/ 3 w 10"/>
                <a:gd name="T1" fmla="*/ 0 h 12"/>
                <a:gd name="T2" fmla="*/ 0 w 10"/>
                <a:gd name="T3" fmla="*/ 8 h 12"/>
                <a:gd name="T4" fmla="*/ 3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3" y="0"/>
                  </a:moveTo>
                  <a:cubicBezTo>
                    <a:pt x="3" y="3"/>
                    <a:pt x="0" y="3"/>
                    <a:pt x="0" y="8"/>
                  </a:cubicBezTo>
                  <a:cubicBezTo>
                    <a:pt x="9" y="11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91" name="Freeform 1018"/>
            <p:cNvSpPr>
              <a:spLocks noChangeArrowheads="1"/>
            </p:cNvSpPr>
            <p:nvPr/>
          </p:nvSpPr>
          <p:spPr bwMode="auto">
            <a:xfrm>
              <a:off x="4016375" y="2708275"/>
              <a:ext cx="3175" cy="1588"/>
            </a:xfrm>
            <a:custGeom>
              <a:avLst/>
              <a:gdLst>
                <a:gd name="T0" fmla="*/ 0 w 9"/>
                <a:gd name="T1" fmla="*/ 5 h 6"/>
                <a:gd name="T2" fmla="*/ 8 w 9"/>
                <a:gd name="T3" fmla="*/ 0 h 6"/>
                <a:gd name="T4" fmla="*/ 0 w 9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0" y="5"/>
                  </a:moveTo>
                  <a:cubicBezTo>
                    <a:pt x="5" y="5"/>
                    <a:pt x="8" y="3"/>
                    <a:pt x="8" y="0"/>
                  </a:cubicBezTo>
                  <a:cubicBezTo>
                    <a:pt x="3" y="0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92" name="Freeform 1019"/>
            <p:cNvSpPr>
              <a:spLocks noChangeArrowheads="1"/>
            </p:cNvSpPr>
            <p:nvPr/>
          </p:nvSpPr>
          <p:spPr bwMode="auto">
            <a:xfrm>
              <a:off x="4064000" y="2701925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0 w 10"/>
                <a:gd name="T3" fmla="*/ 0 h 9"/>
                <a:gd name="T4" fmla="*/ 9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cubicBezTo>
                    <a:pt x="9" y="3"/>
                    <a:pt x="3" y="0"/>
                    <a:pt x="0" y="0"/>
                  </a:cubicBezTo>
                  <a:cubicBezTo>
                    <a:pt x="0" y="6"/>
                    <a:pt x="3" y="8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93" name="Freeform 1020"/>
            <p:cNvSpPr>
              <a:spLocks noChangeArrowheads="1"/>
            </p:cNvSpPr>
            <p:nvPr/>
          </p:nvSpPr>
          <p:spPr bwMode="auto">
            <a:xfrm>
              <a:off x="4008438" y="2709863"/>
              <a:ext cx="3175" cy="3175"/>
            </a:xfrm>
            <a:custGeom>
              <a:avLst/>
              <a:gdLst>
                <a:gd name="T0" fmla="*/ 0 w 7"/>
                <a:gd name="T1" fmla="*/ 0 h 7"/>
                <a:gd name="T2" fmla="*/ 0 w 7"/>
                <a:gd name="T3" fmla="*/ 6 h 7"/>
                <a:gd name="T4" fmla="*/ 6 w 7"/>
                <a:gd name="T5" fmla="*/ 6 h 7"/>
                <a:gd name="T6" fmla="*/ 6 w 7"/>
                <a:gd name="T7" fmla="*/ 0 h 7"/>
                <a:gd name="T8" fmla="*/ 0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94" name="Freeform 1021"/>
            <p:cNvSpPr>
              <a:spLocks noChangeArrowheads="1"/>
            </p:cNvSpPr>
            <p:nvPr/>
          </p:nvSpPr>
          <p:spPr bwMode="auto">
            <a:xfrm>
              <a:off x="4040188" y="2706688"/>
              <a:ext cx="4762" cy="3175"/>
            </a:xfrm>
            <a:custGeom>
              <a:avLst/>
              <a:gdLst>
                <a:gd name="T0" fmla="*/ 0 w 12"/>
                <a:gd name="T1" fmla="*/ 6 h 10"/>
                <a:gd name="T2" fmla="*/ 2 w 12"/>
                <a:gd name="T3" fmla="*/ 9 h 10"/>
                <a:gd name="T4" fmla="*/ 8 w 12"/>
                <a:gd name="T5" fmla="*/ 9 h 10"/>
                <a:gd name="T6" fmla="*/ 0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2" y="6"/>
                    <a:pt x="2" y="6"/>
                    <a:pt x="2" y="9"/>
                  </a:cubicBezTo>
                  <a:lnTo>
                    <a:pt x="8" y="9"/>
                  </a:lnTo>
                  <a:cubicBezTo>
                    <a:pt x="11" y="0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95" name="Freeform 1022"/>
            <p:cNvSpPr>
              <a:spLocks noChangeArrowheads="1"/>
            </p:cNvSpPr>
            <p:nvPr/>
          </p:nvSpPr>
          <p:spPr bwMode="auto">
            <a:xfrm>
              <a:off x="4057650" y="2705100"/>
              <a:ext cx="4763" cy="3175"/>
            </a:xfrm>
            <a:custGeom>
              <a:avLst/>
              <a:gdLst>
                <a:gd name="T0" fmla="*/ 0 w 13"/>
                <a:gd name="T1" fmla="*/ 6 h 10"/>
                <a:gd name="T2" fmla="*/ 0 w 13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6"/>
                  </a:moveTo>
                  <a:cubicBezTo>
                    <a:pt x="12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96" name="Freeform 1023"/>
            <p:cNvSpPr>
              <a:spLocks noChangeArrowheads="1"/>
            </p:cNvSpPr>
            <p:nvPr/>
          </p:nvSpPr>
          <p:spPr bwMode="auto">
            <a:xfrm>
              <a:off x="4021138" y="2709863"/>
              <a:ext cx="3175" cy="6350"/>
            </a:xfrm>
            <a:custGeom>
              <a:avLst/>
              <a:gdLst>
                <a:gd name="T0" fmla="*/ 0 w 9"/>
                <a:gd name="T1" fmla="*/ 12 h 18"/>
                <a:gd name="T2" fmla="*/ 0 w 9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12"/>
                  </a:moveTo>
                  <a:cubicBezTo>
                    <a:pt x="8" y="17"/>
                    <a:pt x="3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97" name="Freeform 1024"/>
            <p:cNvSpPr>
              <a:spLocks noChangeArrowheads="1"/>
            </p:cNvSpPr>
            <p:nvPr/>
          </p:nvSpPr>
          <p:spPr bwMode="auto">
            <a:xfrm>
              <a:off x="4038600" y="2709863"/>
              <a:ext cx="4763" cy="3175"/>
            </a:xfrm>
            <a:custGeom>
              <a:avLst/>
              <a:gdLst>
                <a:gd name="T0" fmla="*/ 3 w 15"/>
                <a:gd name="T1" fmla="*/ 0 h 10"/>
                <a:gd name="T2" fmla="*/ 14 w 15"/>
                <a:gd name="T3" fmla="*/ 6 h 10"/>
                <a:gd name="T4" fmla="*/ 3 w 15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3" y="0"/>
                  </a:moveTo>
                  <a:cubicBezTo>
                    <a:pt x="0" y="9"/>
                    <a:pt x="8" y="9"/>
                    <a:pt x="14" y="6"/>
                  </a:cubicBezTo>
                  <a:cubicBezTo>
                    <a:pt x="14" y="0"/>
                    <a:pt x="8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98" name="Freeform 1025"/>
            <p:cNvSpPr>
              <a:spLocks noChangeArrowheads="1"/>
            </p:cNvSpPr>
            <p:nvPr/>
          </p:nvSpPr>
          <p:spPr bwMode="auto">
            <a:xfrm>
              <a:off x="4051300" y="2709863"/>
              <a:ext cx="3175" cy="3175"/>
            </a:xfrm>
            <a:custGeom>
              <a:avLst/>
              <a:gdLst>
                <a:gd name="T0" fmla="*/ 0 w 9"/>
                <a:gd name="T1" fmla="*/ 0 h 9"/>
                <a:gd name="T2" fmla="*/ 5 w 9"/>
                <a:gd name="T3" fmla="*/ 8 h 9"/>
                <a:gd name="T4" fmla="*/ 0 w 9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cubicBezTo>
                    <a:pt x="0" y="5"/>
                    <a:pt x="2" y="8"/>
                    <a:pt x="5" y="8"/>
                  </a:cubicBezTo>
                  <a:cubicBezTo>
                    <a:pt x="0" y="2"/>
                    <a:pt x="8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99" name="Freeform 1026"/>
            <p:cNvSpPr>
              <a:spLocks noChangeArrowheads="1"/>
            </p:cNvSpPr>
            <p:nvPr/>
          </p:nvSpPr>
          <p:spPr bwMode="auto">
            <a:xfrm>
              <a:off x="4057650" y="2708275"/>
              <a:ext cx="4763" cy="1588"/>
            </a:xfrm>
            <a:custGeom>
              <a:avLst/>
              <a:gdLst>
                <a:gd name="T0" fmla="*/ 0 w 15"/>
                <a:gd name="T1" fmla="*/ 5 h 6"/>
                <a:gd name="T2" fmla="*/ 11 w 15"/>
                <a:gd name="T3" fmla="*/ 3 h 6"/>
                <a:gd name="T4" fmla="*/ 0 w 15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6">
                  <a:moveTo>
                    <a:pt x="0" y="5"/>
                  </a:moveTo>
                  <a:cubicBezTo>
                    <a:pt x="2" y="3"/>
                    <a:pt x="14" y="5"/>
                    <a:pt x="11" y="3"/>
                  </a:cubicBezTo>
                  <a:cubicBezTo>
                    <a:pt x="8" y="3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00" name="Freeform 1027"/>
            <p:cNvSpPr>
              <a:spLocks noChangeArrowheads="1"/>
            </p:cNvSpPr>
            <p:nvPr/>
          </p:nvSpPr>
          <p:spPr bwMode="auto">
            <a:xfrm>
              <a:off x="3962400" y="2695575"/>
              <a:ext cx="4763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01" name="Freeform 1028"/>
            <p:cNvSpPr>
              <a:spLocks noChangeArrowheads="1"/>
            </p:cNvSpPr>
            <p:nvPr/>
          </p:nvSpPr>
          <p:spPr bwMode="auto">
            <a:xfrm>
              <a:off x="4024313" y="2714625"/>
              <a:ext cx="3175" cy="1588"/>
            </a:xfrm>
            <a:custGeom>
              <a:avLst/>
              <a:gdLst>
                <a:gd name="T0" fmla="*/ 3 w 10"/>
                <a:gd name="T1" fmla="*/ 5 h 6"/>
                <a:gd name="T2" fmla="*/ 9 w 10"/>
                <a:gd name="T3" fmla="*/ 0 h 6"/>
                <a:gd name="T4" fmla="*/ 3 w 10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6">
                  <a:moveTo>
                    <a:pt x="3" y="5"/>
                  </a:moveTo>
                  <a:cubicBezTo>
                    <a:pt x="6" y="5"/>
                    <a:pt x="9" y="3"/>
                    <a:pt x="9" y="0"/>
                  </a:cubicBezTo>
                  <a:cubicBezTo>
                    <a:pt x="6" y="0"/>
                    <a:pt x="0" y="0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02" name="Freeform 1029"/>
            <p:cNvSpPr>
              <a:spLocks noChangeArrowheads="1"/>
            </p:cNvSpPr>
            <p:nvPr/>
          </p:nvSpPr>
          <p:spPr bwMode="auto">
            <a:xfrm>
              <a:off x="3973513" y="2693988"/>
              <a:ext cx="3175" cy="6350"/>
            </a:xfrm>
            <a:custGeom>
              <a:avLst/>
              <a:gdLst>
                <a:gd name="T0" fmla="*/ 0 w 7"/>
                <a:gd name="T1" fmla="*/ 9 h 18"/>
                <a:gd name="T2" fmla="*/ 0 w 7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9"/>
                  </a:moveTo>
                  <a:cubicBezTo>
                    <a:pt x="6" y="17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03" name="Freeform 1030"/>
            <p:cNvSpPr>
              <a:spLocks noChangeArrowheads="1"/>
            </p:cNvSpPr>
            <p:nvPr/>
          </p:nvSpPr>
          <p:spPr bwMode="auto">
            <a:xfrm>
              <a:off x="4037013" y="2713038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6 w 7"/>
                <a:gd name="T3" fmla="*/ 0 h 7"/>
                <a:gd name="T4" fmla="*/ 0 w 7"/>
                <a:gd name="T5" fmla="*/ 0 h 7"/>
                <a:gd name="T6" fmla="*/ 0 w 7"/>
                <a:gd name="T7" fmla="*/ 6 h 7"/>
                <a:gd name="T8" fmla="*/ 6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04" name="Freeform 1031"/>
            <p:cNvSpPr>
              <a:spLocks noChangeArrowheads="1"/>
            </p:cNvSpPr>
            <p:nvPr/>
          </p:nvSpPr>
          <p:spPr bwMode="auto">
            <a:xfrm>
              <a:off x="4046538" y="2713038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0 w 10"/>
                <a:gd name="T3" fmla="*/ 0 h 9"/>
                <a:gd name="T4" fmla="*/ 9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cubicBezTo>
                    <a:pt x="9" y="0"/>
                    <a:pt x="3" y="0"/>
                    <a:pt x="0" y="0"/>
                  </a:cubicBezTo>
                  <a:cubicBezTo>
                    <a:pt x="0" y="6"/>
                    <a:pt x="3" y="6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05" name="Freeform 1032"/>
            <p:cNvSpPr>
              <a:spLocks noChangeArrowheads="1"/>
            </p:cNvSpPr>
            <p:nvPr/>
          </p:nvSpPr>
          <p:spPr bwMode="auto">
            <a:xfrm>
              <a:off x="4087813" y="2706688"/>
              <a:ext cx="6350" cy="4762"/>
            </a:xfrm>
            <a:custGeom>
              <a:avLst/>
              <a:gdLst>
                <a:gd name="T0" fmla="*/ 17 w 18"/>
                <a:gd name="T1" fmla="*/ 0 h 12"/>
                <a:gd name="T2" fmla="*/ 17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17" y="0"/>
                  </a:moveTo>
                  <a:cubicBezTo>
                    <a:pt x="0" y="3"/>
                    <a:pt x="14" y="11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06" name="Freeform 1033"/>
            <p:cNvSpPr>
              <a:spLocks noChangeArrowheads="1"/>
            </p:cNvSpPr>
            <p:nvPr/>
          </p:nvSpPr>
          <p:spPr bwMode="auto">
            <a:xfrm>
              <a:off x="4095750" y="2706688"/>
              <a:ext cx="4763" cy="3175"/>
            </a:xfrm>
            <a:custGeom>
              <a:avLst/>
              <a:gdLst>
                <a:gd name="T0" fmla="*/ 14 w 15"/>
                <a:gd name="T1" fmla="*/ 3 h 10"/>
                <a:gd name="T2" fmla="*/ 0 w 15"/>
                <a:gd name="T3" fmla="*/ 9 h 10"/>
                <a:gd name="T4" fmla="*/ 14 w 15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14" y="3"/>
                  </a:moveTo>
                  <a:cubicBezTo>
                    <a:pt x="8" y="3"/>
                    <a:pt x="0" y="0"/>
                    <a:pt x="0" y="9"/>
                  </a:cubicBezTo>
                  <a:cubicBezTo>
                    <a:pt x="3" y="3"/>
                    <a:pt x="14" y="9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07" name="Freeform 1034"/>
            <p:cNvSpPr>
              <a:spLocks noChangeArrowheads="1"/>
            </p:cNvSpPr>
            <p:nvPr/>
          </p:nvSpPr>
          <p:spPr bwMode="auto">
            <a:xfrm>
              <a:off x="4079875" y="2706688"/>
              <a:ext cx="4763" cy="6350"/>
            </a:xfrm>
            <a:custGeom>
              <a:avLst/>
              <a:gdLst>
                <a:gd name="T0" fmla="*/ 12 w 13"/>
                <a:gd name="T1" fmla="*/ 6 h 18"/>
                <a:gd name="T2" fmla="*/ 12 w 13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12" y="6"/>
                  </a:moveTo>
                  <a:cubicBezTo>
                    <a:pt x="0" y="0"/>
                    <a:pt x="6" y="17"/>
                    <a:pt x="1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08" name="Freeform 1035"/>
            <p:cNvSpPr>
              <a:spLocks noChangeArrowheads="1"/>
            </p:cNvSpPr>
            <p:nvPr/>
          </p:nvSpPr>
          <p:spPr bwMode="auto">
            <a:xfrm>
              <a:off x="3987800" y="2698750"/>
              <a:ext cx="3175" cy="3175"/>
            </a:xfrm>
            <a:custGeom>
              <a:avLst/>
              <a:gdLst>
                <a:gd name="T0" fmla="*/ 8 w 9"/>
                <a:gd name="T1" fmla="*/ 6 h 7"/>
                <a:gd name="T2" fmla="*/ 3 w 9"/>
                <a:gd name="T3" fmla="*/ 0 h 7"/>
                <a:gd name="T4" fmla="*/ 8 w 9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8" y="6"/>
                  </a:moveTo>
                  <a:cubicBezTo>
                    <a:pt x="8" y="3"/>
                    <a:pt x="5" y="0"/>
                    <a:pt x="3" y="0"/>
                  </a:cubicBezTo>
                  <a:cubicBezTo>
                    <a:pt x="0" y="3"/>
                    <a:pt x="3" y="6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09" name="Freeform 1036"/>
            <p:cNvSpPr>
              <a:spLocks noChangeArrowheads="1"/>
            </p:cNvSpPr>
            <p:nvPr/>
          </p:nvSpPr>
          <p:spPr bwMode="auto">
            <a:xfrm>
              <a:off x="3998913" y="2695575"/>
              <a:ext cx="4762" cy="3175"/>
            </a:xfrm>
            <a:custGeom>
              <a:avLst/>
              <a:gdLst>
                <a:gd name="T0" fmla="*/ 0 w 15"/>
                <a:gd name="T1" fmla="*/ 9 h 10"/>
                <a:gd name="T2" fmla="*/ 0 w 15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0">
                  <a:moveTo>
                    <a:pt x="0" y="9"/>
                  </a:moveTo>
                  <a:cubicBezTo>
                    <a:pt x="14" y="9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10" name="Freeform 1037"/>
            <p:cNvSpPr>
              <a:spLocks noChangeArrowheads="1"/>
            </p:cNvSpPr>
            <p:nvPr/>
          </p:nvSpPr>
          <p:spPr bwMode="auto">
            <a:xfrm>
              <a:off x="4087813" y="2709863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11" name="Freeform 1038"/>
            <p:cNvSpPr>
              <a:spLocks noChangeArrowheads="1"/>
            </p:cNvSpPr>
            <p:nvPr/>
          </p:nvSpPr>
          <p:spPr bwMode="auto">
            <a:xfrm>
              <a:off x="4005263" y="2695575"/>
              <a:ext cx="1587" cy="6350"/>
            </a:xfrm>
            <a:custGeom>
              <a:avLst/>
              <a:gdLst>
                <a:gd name="T0" fmla="*/ 0 w 6"/>
                <a:gd name="T1" fmla="*/ 8 h 18"/>
                <a:gd name="T2" fmla="*/ 0 w 6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8">
                  <a:moveTo>
                    <a:pt x="0" y="8"/>
                  </a:moveTo>
                  <a:cubicBezTo>
                    <a:pt x="5" y="17"/>
                    <a:pt x="2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12" name="Freeform 1039"/>
            <p:cNvSpPr>
              <a:spLocks noChangeArrowheads="1"/>
            </p:cNvSpPr>
            <p:nvPr/>
          </p:nvSpPr>
          <p:spPr bwMode="auto">
            <a:xfrm>
              <a:off x="4021138" y="2695575"/>
              <a:ext cx="4762" cy="4763"/>
            </a:xfrm>
            <a:custGeom>
              <a:avLst/>
              <a:gdLst>
                <a:gd name="T0" fmla="*/ 8 w 15"/>
                <a:gd name="T1" fmla="*/ 14 h 15"/>
                <a:gd name="T2" fmla="*/ 0 w 15"/>
                <a:gd name="T3" fmla="*/ 3 h 15"/>
                <a:gd name="T4" fmla="*/ 8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8" y="14"/>
                  </a:moveTo>
                  <a:cubicBezTo>
                    <a:pt x="14" y="9"/>
                    <a:pt x="6" y="0"/>
                    <a:pt x="0" y="3"/>
                  </a:cubicBezTo>
                  <a:cubicBezTo>
                    <a:pt x="3" y="9"/>
                    <a:pt x="3" y="14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13" name="Freeform 1040"/>
            <p:cNvSpPr>
              <a:spLocks noChangeArrowheads="1"/>
            </p:cNvSpPr>
            <p:nvPr/>
          </p:nvSpPr>
          <p:spPr bwMode="auto">
            <a:xfrm>
              <a:off x="3976688" y="2700338"/>
              <a:ext cx="4762" cy="3175"/>
            </a:xfrm>
            <a:custGeom>
              <a:avLst/>
              <a:gdLst>
                <a:gd name="T0" fmla="*/ 0 w 12"/>
                <a:gd name="T1" fmla="*/ 6 h 10"/>
                <a:gd name="T2" fmla="*/ 0 w 12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11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14" name="Freeform 1041"/>
            <p:cNvSpPr>
              <a:spLocks noChangeArrowheads="1"/>
            </p:cNvSpPr>
            <p:nvPr/>
          </p:nvSpPr>
          <p:spPr bwMode="auto">
            <a:xfrm>
              <a:off x="4083050" y="2711450"/>
              <a:ext cx="4763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15" name="Freeform 1042"/>
            <p:cNvSpPr>
              <a:spLocks noChangeArrowheads="1"/>
            </p:cNvSpPr>
            <p:nvPr/>
          </p:nvSpPr>
          <p:spPr bwMode="auto">
            <a:xfrm>
              <a:off x="3997325" y="2698750"/>
              <a:ext cx="4763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16" name="Freeform 1043"/>
            <p:cNvSpPr>
              <a:spLocks noChangeArrowheads="1"/>
            </p:cNvSpPr>
            <p:nvPr/>
          </p:nvSpPr>
          <p:spPr bwMode="auto">
            <a:xfrm>
              <a:off x="3979863" y="2701925"/>
              <a:ext cx="4762" cy="3175"/>
            </a:xfrm>
            <a:custGeom>
              <a:avLst/>
              <a:gdLst>
                <a:gd name="T0" fmla="*/ 3 w 12"/>
                <a:gd name="T1" fmla="*/ 8 h 9"/>
                <a:gd name="T2" fmla="*/ 3 w 12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3" y="8"/>
                  </a:moveTo>
                  <a:cubicBezTo>
                    <a:pt x="11" y="8"/>
                    <a:pt x="0" y="0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17" name="Freeform 1044"/>
            <p:cNvSpPr>
              <a:spLocks noChangeArrowheads="1"/>
            </p:cNvSpPr>
            <p:nvPr/>
          </p:nvSpPr>
          <p:spPr bwMode="auto">
            <a:xfrm>
              <a:off x="3994150" y="2701925"/>
              <a:ext cx="3175" cy="3175"/>
            </a:xfrm>
            <a:custGeom>
              <a:avLst/>
              <a:gdLst>
                <a:gd name="T0" fmla="*/ 8 w 9"/>
                <a:gd name="T1" fmla="*/ 0 h 9"/>
                <a:gd name="T2" fmla="*/ 0 w 9"/>
                <a:gd name="T3" fmla="*/ 8 h 9"/>
                <a:gd name="T4" fmla="*/ 8 w 9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0"/>
                  </a:moveTo>
                  <a:cubicBezTo>
                    <a:pt x="0" y="0"/>
                    <a:pt x="0" y="6"/>
                    <a:pt x="0" y="8"/>
                  </a:cubicBezTo>
                  <a:cubicBezTo>
                    <a:pt x="5" y="8"/>
                    <a:pt x="8" y="6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18" name="Freeform 1045"/>
            <p:cNvSpPr>
              <a:spLocks noChangeArrowheads="1"/>
            </p:cNvSpPr>
            <p:nvPr/>
          </p:nvSpPr>
          <p:spPr bwMode="auto">
            <a:xfrm>
              <a:off x="4029075" y="2695575"/>
              <a:ext cx="1588" cy="6350"/>
            </a:xfrm>
            <a:custGeom>
              <a:avLst/>
              <a:gdLst>
                <a:gd name="T0" fmla="*/ 0 w 6"/>
                <a:gd name="T1" fmla="*/ 8 h 18"/>
                <a:gd name="T2" fmla="*/ 0 w 6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8">
                  <a:moveTo>
                    <a:pt x="0" y="8"/>
                  </a:moveTo>
                  <a:cubicBezTo>
                    <a:pt x="5" y="17"/>
                    <a:pt x="2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19" name="Freeform 1046"/>
            <p:cNvSpPr>
              <a:spLocks noChangeArrowheads="1"/>
            </p:cNvSpPr>
            <p:nvPr/>
          </p:nvSpPr>
          <p:spPr bwMode="auto">
            <a:xfrm>
              <a:off x="3967163" y="2705100"/>
              <a:ext cx="4762" cy="6350"/>
            </a:xfrm>
            <a:custGeom>
              <a:avLst/>
              <a:gdLst>
                <a:gd name="T0" fmla="*/ 14 w 15"/>
                <a:gd name="T1" fmla="*/ 9 h 18"/>
                <a:gd name="T2" fmla="*/ 14 w 15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14" y="9"/>
                  </a:moveTo>
                  <a:cubicBezTo>
                    <a:pt x="0" y="0"/>
                    <a:pt x="6" y="17"/>
                    <a:pt x="1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20" name="Freeform 1047"/>
            <p:cNvSpPr>
              <a:spLocks noChangeArrowheads="1"/>
            </p:cNvSpPr>
            <p:nvPr/>
          </p:nvSpPr>
          <p:spPr bwMode="auto">
            <a:xfrm>
              <a:off x="4003675" y="2701925"/>
              <a:ext cx="4763" cy="3175"/>
            </a:xfrm>
            <a:custGeom>
              <a:avLst/>
              <a:gdLst>
                <a:gd name="T0" fmla="*/ 0 w 12"/>
                <a:gd name="T1" fmla="*/ 3 h 9"/>
                <a:gd name="T2" fmla="*/ 11 w 12"/>
                <a:gd name="T3" fmla="*/ 8 h 9"/>
                <a:gd name="T4" fmla="*/ 0 w 12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0" y="3"/>
                  </a:moveTo>
                  <a:cubicBezTo>
                    <a:pt x="0" y="8"/>
                    <a:pt x="6" y="8"/>
                    <a:pt x="11" y="8"/>
                  </a:cubicBezTo>
                  <a:cubicBezTo>
                    <a:pt x="11" y="3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21" name="Freeform 1048"/>
            <p:cNvSpPr>
              <a:spLocks noChangeArrowheads="1"/>
            </p:cNvSpPr>
            <p:nvPr/>
          </p:nvSpPr>
          <p:spPr bwMode="auto">
            <a:xfrm>
              <a:off x="3962400" y="2708275"/>
              <a:ext cx="3175" cy="7938"/>
            </a:xfrm>
            <a:custGeom>
              <a:avLst/>
              <a:gdLst>
                <a:gd name="T0" fmla="*/ 0 w 10"/>
                <a:gd name="T1" fmla="*/ 11 h 21"/>
                <a:gd name="T2" fmla="*/ 0 w 10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11"/>
                  </a:moveTo>
                  <a:cubicBezTo>
                    <a:pt x="9" y="20"/>
                    <a:pt x="3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22" name="Freeform 1049"/>
            <p:cNvSpPr>
              <a:spLocks noChangeArrowheads="1"/>
            </p:cNvSpPr>
            <p:nvPr/>
          </p:nvSpPr>
          <p:spPr bwMode="auto">
            <a:xfrm>
              <a:off x="3995738" y="2705100"/>
              <a:ext cx="4762" cy="3175"/>
            </a:xfrm>
            <a:custGeom>
              <a:avLst/>
              <a:gdLst>
                <a:gd name="T0" fmla="*/ 0 w 13"/>
                <a:gd name="T1" fmla="*/ 9 h 10"/>
                <a:gd name="T2" fmla="*/ 0 w 13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9"/>
                  </a:moveTo>
                  <a:cubicBezTo>
                    <a:pt x="12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23" name="Freeform 1050"/>
            <p:cNvSpPr>
              <a:spLocks noChangeArrowheads="1"/>
            </p:cNvSpPr>
            <p:nvPr/>
          </p:nvSpPr>
          <p:spPr bwMode="auto">
            <a:xfrm>
              <a:off x="3963988" y="2714625"/>
              <a:ext cx="4762" cy="3175"/>
            </a:xfrm>
            <a:custGeom>
              <a:avLst/>
              <a:gdLst>
                <a:gd name="T0" fmla="*/ 14 w 15"/>
                <a:gd name="T1" fmla="*/ 3 h 9"/>
                <a:gd name="T2" fmla="*/ 0 w 15"/>
                <a:gd name="T3" fmla="*/ 8 h 9"/>
                <a:gd name="T4" fmla="*/ 14 w 15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3"/>
                  </a:moveTo>
                  <a:cubicBezTo>
                    <a:pt x="8" y="0"/>
                    <a:pt x="3" y="3"/>
                    <a:pt x="0" y="8"/>
                  </a:cubicBezTo>
                  <a:cubicBezTo>
                    <a:pt x="3" y="5"/>
                    <a:pt x="14" y="8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24" name="Freeform 1051"/>
            <p:cNvSpPr>
              <a:spLocks noChangeArrowheads="1"/>
            </p:cNvSpPr>
            <p:nvPr/>
          </p:nvSpPr>
          <p:spPr bwMode="auto">
            <a:xfrm>
              <a:off x="4084638" y="2698750"/>
              <a:ext cx="7937" cy="4763"/>
            </a:xfrm>
            <a:custGeom>
              <a:avLst/>
              <a:gdLst>
                <a:gd name="T0" fmla="*/ 3 w 20"/>
                <a:gd name="T1" fmla="*/ 11 h 12"/>
                <a:gd name="T2" fmla="*/ 11 w 20"/>
                <a:gd name="T3" fmla="*/ 0 h 12"/>
                <a:gd name="T4" fmla="*/ 3 w 20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2">
                  <a:moveTo>
                    <a:pt x="3" y="11"/>
                  </a:moveTo>
                  <a:cubicBezTo>
                    <a:pt x="5" y="8"/>
                    <a:pt x="19" y="2"/>
                    <a:pt x="11" y="0"/>
                  </a:cubicBezTo>
                  <a:cubicBezTo>
                    <a:pt x="11" y="5"/>
                    <a:pt x="0" y="2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25" name="Freeform 1052"/>
            <p:cNvSpPr>
              <a:spLocks noChangeArrowheads="1"/>
            </p:cNvSpPr>
            <p:nvPr/>
          </p:nvSpPr>
          <p:spPr bwMode="auto">
            <a:xfrm>
              <a:off x="4071938" y="2705100"/>
              <a:ext cx="4762" cy="4763"/>
            </a:xfrm>
            <a:custGeom>
              <a:avLst/>
              <a:gdLst>
                <a:gd name="T0" fmla="*/ 0 w 15"/>
                <a:gd name="T1" fmla="*/ 9 h 13"/>
                <a:gd name="T2" fmla="*/ 9 w 15"/>
                <a:gd name="T3" fmla="*/ 0 h 13"/>
                <a:gd name="T4" fmla="*/ 0 w 15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0" y="9"/>
                  </a:moveTo>
                  <a:cubicBezTo>
                    <a:pt x="9" y="12"/>
                    <a:pt x="14" y="0"/>
                    <a:pt x="9" y="0"/>
                  </a:cubicBezTo>
                  <a:cubicBezTo>
                    <a:pt x="11" y="9"/>
                    <a:pt x="0" y="3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26" name="Freeform 1053"/>
            <p:cNvSpPr>
              <a:spLocks noChangeArrowheads="1"/>
            </p:cNvSpPr>
            <p:nvPr/>
          </p:nvSpPr>
          <p:spPr bwMode="auto">
            <a:xfrm>
              <a:off x="4084638" y="2698750"/>
              <a:ext cx="4762" cy="7938"/>
            </a:xfrm>
            <a:custGeom>
              <a:avLst/>
              <a:gdLst>
                <a:gd name="T0" fmla="*/ 11 w 12"/>
                <a:gd name="T1" fmla="*/ 11 h 20"/>
                <a:gd name="T2" fmla="*/ 11 w 12"/>
                <a:gd name="T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0">
                  <a:moveTo>
                    <a:pt x="11" y="11"/>
                  </a:moveTo>
                  <a:cubicBezTo>
                    <a:pt x="0" y="0"/>
                    <a:pt x="8" y="19"/>
                    <a:pt x="1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27" name="Freeform 1054"/>
            <p:cNvSpPr>
              <a:spLocks noChangeArrowheads="1"/>
            </p:cNvSpPr>
            <p:nvPr/>
          </p:nvSpPr>
          <p:spPr bwMode="auto">
            <a:xfrm>
              <a:off x="4086225" y="2708275"/>
              <a:ext cx="3175" cy="4763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11 h 15"/>
                <a:gd name="T4" fmla="*/ 0 w 10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0" y="3"/>
                    <a:pt x="3" y="11"/>
                    <a:pt x="0" y="11"/>
                  </a:cubicBezTo>
                  <a:cubicBezTo>
                    <a:pt x="9" y="14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28" name="Freeform 1055"/>
            <p:cNvSpPr>
              <a:spLocks noChangeArrowheads="1"/>
            </p:cNvSpPr>
            <p:nvPr/>
          </p:nvSpPr>
          <p:spPr bwMode="auto">
            <a:xfrm>
              <a:off x="4071938" y="2708275"/>
              <a:ext cx="3175" cy="4763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3" y="14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29" name="Freeform 1056"/>
            <p:cNvSpPr>
              <a:spLocks noChangeArrowheads="1"/>
            </p:cNvSpPr>
            <p:nvPr/>
          </p:nvSpPr>
          <p:spPr bwMode="auto">
            <a:xfrm>
              <a:off x="4064000" y="2700338"/>
              <a:ext cx="3175" cy="4762"/>
            </a:xfrm>
            <a:custGeom>
              <a:avLst/>
              <a:gdLst>
                <a:gd name="T0" fmla="*/ 9 w 10"/>
                <a:gd name="T1" fmla="*/ 6 h 13"/>
                <a:gd name="T2" fmla="*/ 6 w 10"/>
                <a:gd name="T3" fmla="*/ 0 h 13"/>
                <a:gd name="T4" fmla="*/ 0 w 10"/>
                <a:gd name="T5" fmla="*/ 9 h 13"/>
                <a:gd name="T6" fmla="*/ 3 w 10"/>
                <a:gd name="T7" fmla="*/ 12 h 13"/>
                <a:gd name="T8" fmla="*/ 9 w 10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3">
                  <a:moveTo>
                    <a:pt x="9" y="6"/>
                  </a:moveTo>
                  <a:lnTo>
                    <a:pt x="6" y="0"/>
                  </a:lnTo>
                  <a:cubicBezTo>
                    <a:pt x="3" y="0"/>
                    <a:pt x="0" y="3"/>
                    <a:pt x="0" y="9"/>
                  </a:cubicBezTo>
                  <a:cubicBezTo>
                    <a:pt x="0" y="9"/>
                    <a:pt x="0" y="12"/>
                    <a:pt x="3" y="12"/>
                  </a:cubicBezTo>
                  <a:lnTo>
                    <a:pt x="9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30" name="Freeform 1057"/>
            <p:cNvSpPr>
              <a:spLocks noChangeArrowheads="1"/>
            </p:cNvSpPr>
            <p:nvPr/>
          </p:nvSpPr>
          <p:spPr bwMode="auto">
            <a:xfrm>
              <a:off x="4044950" y="2700338"/>
              <a:ext cx="3175" cy="4762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3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31" name="Freeform 1058"/>
            <p:cNvSpPr>
              <a:spLocks noChangeArrowheads="1"/>
            </p:cNvSpPr>
            <p:nvPr/>
          </p:nvSpPr>
          <p:spPr bwMode="auto">
            <a:xfrm>
              <a:off x="4043363" y="2705100"/>
              <a:ext cx="3175" cy="4763"/>
            </a:xfrm>
            <a:custGeom>
              <a:avLst/>
              <a:gdLst>
                <a:gd name="T0" fmla="*/ 0 w 7"/>
                <a:gd name="T1" fmla="*/ 2 h 15"/>
                <a:gd name="T2" fmla="*/ 0 w 7"/>
                <a:gd name="T3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0" y="2"/>
                  </a:moveTo>
                  <a:cubicBezTo>
                    <a:pt x="3" y="14"/>
                    <a:pt x="6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32" name="Freeform 1059"/>
            <p:cNvSpPr>
              <a:spLocks noChangeArrowheads="1"/>
            </p:cNvSpPr>
            <p:nvPr/>
          </p:nvSpPr>
          <p:spPr bwMode="auto">
            <a:xfrm>
              <a:off x="4029075" y="2695575"/>
              <a:ext cx="4763" cy="4763"/>
            </a:xfrm>
            <a:custGeom>
              <a:avLst/>
              <a:gdLst>
                <a:gd name="T0" fmla="*/ 9 w 13"/>
                <a:gd name="T1" fmla="*/ 14 h 15"/>
                <a:gd name="T2" fmla="*/ 9 w 13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9" y="14"/>
                  </a:moveTo>
                  <a:cubicBezTo>
                    <a:pt x="12" y="0"/>
                    <a:pt x="0" y="11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33" name="Freeform 1060"/>
            <p:cNvSpPr>
              <a:spLocks noChangeArrowheads="1"/>
            </p:cNvSpPr>
            <p:nvPr/>
          </p:nvSpPr>
          <p:spPr bwMode="auto">
            <a:xfrm>
              <a:off x="4003675" y="2697163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5 h 12"/>
                <a:gd name="T4" fmla="*/ 3 w 9"/>
                <a:gd name="T5" fmla="*/ 11 h 12"/>
                <a:gd name="T6" fmla="*/ 0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0" y="5"/>
                    <a:pt x="0" y="5"/>
                    <a:pt x="0" y="5"/>
                  </a:cubicBezTo>
                  <a:lnTo>
                    <a:pt x="3" y="11"/>
                  </a:lnTo>
                  <a:cubicBezTo>
                    <a:pt x="8" y="11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34" name="Freeform 1061"/>
            <p:cNvSpPr>
              <a:spLocks noChangeArrowheads="1"/>
            </p:cNvSpPr>
            <p:nvPr/>
          </p:nvSpPr>
          <p:spPr bwMode="auto">
            <a:xfrm>
              <a:off x="4029075" y="2705100"/>
              <a:ext cx="3175" cy="3175"/>
            </a:xfrm>
            <a:custGeom>
              <a:avLst/>
              <a:gdLst>
                <a:gd name="T0" fmla="*/ 0 w 9"/>
                <a:gd name="T1" fmla="*/ 0 h 7"/>
                <a:gd name="T2" fmla="*/ 8 w 9"/>
                <a:gd name="T3" fmla="*/ 6 h 7"/>
                <a:gd name="T4" fmla="*/ 0 w 9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0" y="0"/>
                  </a:moveTo>
                  <a:cubicBezTo>
                    <a:pt x="0" y="3"/>
                    <a:pt x="5" y="6"/>
                    <a:pt x="8" y="6"/>
                  </a:cubicBezTo>
                  <a:cubicBezTo>
                    <a:pt x="5" y="3"/>
                    <a:pt x="2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35" name="Freeform 1062"/>
            <p:cNvSpPr>
              <a:spLocks noChangeArrowheads="1"/>
            </p:cNvSpPr>
            <p:nvPr/>
          </p:nvSpPr>
          <p:spPr bwMode="auto">
            <a:xfrm>
              <a:off x="3997325" y="2706688"/>
              <a:ext cx="4763" cy="4762"/>
            </a:xfrm>
            <a:custGeom>
              <a:avLst/>
              <a:gdLst>
                <a:gd name="T0" fmla="*/ 14 w 15"/>
                <a:gd name="T1" fmla="*/ 0 h 12"/>
                <a:gd name="T2" fmla="*/ 14 w 15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2">
                  <a:moveTo>
                    <a:pt x="14" y="0"/>
                  </a:moveTo>
                  <a:cubicBezTo>
                    <a:pt x="0" y="6"/>
                    <a:pt x="14" y="11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36" name="Freeform 1063"/>
            <p:cNvSpPr>
              <a:spLocks noChangeArrowheads="1"/>
            </p:cNvSpPr>
            <p:nvPr/>
          </p:nvSpPr>
          <p:spPr bwMode="auto">
            <a:xfrm>
              <a:off x="3998913" y="2705100"/>
              <a:ext cx="3175" cy="4763"/>
            </a:xfrm>
            <a:custGeom>
              <a:avLst/>
              <a:gdLst>
                <a:gd name="T0" fmla="*/ 0 w 7"/>
                <a:gd name="T1" fmla="*/ 3 h 13"/>
                <a:gd name="T2" fmla="*/ 0 w 7"/>
                <a:gd name="T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3">
                  <a:moveTo>
                    <a:pt x="0" y="3"/>
                  </a:moveTo>
                  <a:cubicBezTo>
                    <a:pt x="3" y="12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37" name="Freeform 1064"/>
            <p:cNvSpPr>
              <a:spLocks noChangeArrowheads="1"/>
            </p:cNvSpPr>
            <p:nvPr/>
          </p:nvSpPr>
          <p:spPr bwMode="auto">
            <a:xfrm>
              <a:off x="4024313" y="2708275"/>
              <a:ext cx="3175" cy="4763"/>
            </a:xfrm>
            <a:custGeom>
              <a:avLst/>
              <a:gdLst>
                <a:gd name="T0" fmla="*/ 0 w 7"/>
                <a:gd name="T1" fmla="*/ 3 h 15"/>
                <a:gd name="T2" fmla="*/ 0 w 7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cubicBezTo>
                    <a:pt x="0" y="14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38" name="Freeform 1065"/>
            <p:cNvSpPr>
              <a:spLocks noChangeArrowheads="1"/>
            </p:cNvSpPr>
            <p:nvPr/>
          </p:nvSpPr>
          <p:spPr bwMode="auto">
            <a:xfrm>
              <a:off x="4021138" y="2709863"/>
              <a:ext cx="1587" cy="4762"/>
            </a:xfrm>
            <a:custGeom>
              <a:avLst/>
              <a:gdLst>
                <a:gd name="T0" fmla="*/ 0 w 6"/>
                <a:gd name="T1" fmla="*/ 2 h 15"/>
                <a:gd name="T2" fmla="*/ 0 w 6"/>
                <a:gd name="T3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5">
                  <a:moveTo>
                    <a:pt x="0" y="2"/>
                  </a:moveTo>
                  <a:cubicBezTo>
                    <a:pt x="3" y="14"/>
                    <a:pt x="5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39" name="Freeform 1066"/>
            <p:cNvSpPr>
              <a:spLocks noChangeArrowheads="1"/>
            </p:cNvSpPr>
            <p:nvPr/>
          </p:nvSpPr>
          <p:spPr bwMode="auto">
            <a:xfrm>
              <a:off x="4014788" y="2705100"/>
              <a:ext cx="3175" cy="4763"/>
            </a:xfrm>
            <a:custGeom>
              <a:avLst/>
              <a:gdLst>
                <a:gd name="T0" fmla="*/ 3 w 9"/>
                <a:gd name="T1" fmla="*/ 12 h 13"/>
                <a:gd name="T2" fmla="*/ 6 w 9"/>
                <a:gd name="T3" fmla="*/ 0 h 13"/>
                <a:gd name="T4" fmla="*/ 3 w 9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3">
                  <a:moveTo>
                    <a:pt x="3" y="12"/>
                  </a:moveTo>
                  <a:cubicBezTo>
                    <a:pt x="8" y="9"/>
                    <a:pt x="8" y="6"/>
                    <a:pt x="6" y="0"/>
                  </a:cubicBezTo>
                  <a:cubicBezTo>
                    <a:pt x="0" y="3"/>
                    <a:pt x="0" y="6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40" name="Freeform 1067"/>
            <p:cNvSpPr>
              <a:spLocks noChangeArrowheads="1"/>
            </p:cNvSpPr>
            <p:nvPr/>
          </p:nvSpPr>
          <p:spPr bwMode="auto">
            <a:xfrm>
              <a:off x="3995738" y="2713038"/>
              <a:ext cx="9525" cy="4762"/>
            </a:xfrm>
            <a:custGeom>
              <a:avLst/>
              <a:gdLst>
                <a:gd name="T0" fmla="*/ 20 w 27"/>
                <a:gd name="T1" fmla="*/ 0 h 12"/>
                <a:gd name="T2" fmla="*/ 9 w 27"/>
                <a:gd name="T3" fmla="*/ 8 h 12"/>
                <a:gd name="T4" fmla="*/ 20 w 2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12">
                  <a:moveTo>
                    <a:pt x="20" y="0"/>
                  </a:moveTo>
                  <a:cubicBezTo>
                    <a:pt x="17" y="0"/>
                    <a:pt x="0" y="3"/>
                    <a:pt x="9" y="8"/>
                  </a:cubicBezTo>
                  <a:cubicBezTo>
                    <a:pt x="9" y="11"/>
                    <a:pt x="26" y="6"/>
                    <a:pt x="2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41" name="Freeform 1068"/>
            <p:cNvSpPr>
              <a:spLocks noChangeArrowheads="1"/>
            </p:cNvSpPr>
            <p:nvPr/>
          </p:nvSpPr>
          <p:spPr bwMode="auto">
            <a:xfrm>
              <a:off x="3992563" y="2724150"/>
              <a:ext cx="4762" cy="1588"/>
            </a:xfrm>
            <a:custGeom>
              <a:avLst/>
              <a:gdLst>
                <a:gd name="T0" fmla="*/ 6 w 12"/>
                <a:gd name="T1" fmla="*/ 0 h 4"/>
                <a:gd name="T2" fmla="*/ 0 w 12"/>
                <a:gd name="T3" fmla="*/ 3 h 4"/>
                <a:gd name="T4" fmla="*/ 6 w 12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4">
                  <a:moveTo>
                    <a:pt x="6" y="0"/>
                  </a:moveTo>
                  <a:cubicBezTo>
                    <a:pt x="11" y="0"/>
                    <a:pt x="3" y="3"/>
                    <a:pt x="0" y="3"/>
                  </a:cubicBezTo>
                  <a:cubicBezTo>
                    <a:pt x="0" y="3"/>
                    <a:pt x="3" y="3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42" name="Freeform 1069"/>
            <p:cNvSpPr>
              <a:spLocks noChangeArrowheads="1"/>
            </p:cNvSpPr>
            <p:nvPr/>
          </p:nvSpPr>
          <p:spPr bwMode="auto">
            <a:xfrm>
              <a:off x="3987800" y="2733675"/>
              <a:ext cx="1588" cy="4763"/>
            </a:xfrm>
            <a:custGeom>
              <a:avLst/>
              <a:gdLst>
                <a:gd name="T0" fmla="*/ 0 w 6"/>
                <a:gd name="T1" fmla="*/ 3 h 13"/>
                <a:gd name="T2" fmla="*/ 0 w 6"/>
                <a:gd name="T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3">
                  <a:moveTo>
                    <a:pt x="0" y="3"/>
                  </a:moveTo>
                  <a:cubicBezTo>
                    <a:pt x="2" y="12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43" name="Freeform 1070"/>
            <p:cNvSpPr>
              <a:spLocks noChangeArrowheads="1"/>
            </p:cNvSpPr>
            <p:nvPr/>
          </p:nvSpPr>
          <p:spPr bwMode="auto">
            <a:xfrm>
              <a:off x="4081463" y="2709863"/>
              <a:ext cx="4762" cy="6350"/>
            </a:xfrm>
            <a:custGeom>
              <a:avLst/>
              <a:gdLst>
                <a:gd name="T0" fmla="*/ 6 w 15"/>
                <a:gd name="T1" fmla="*/ 9 h 16"/>
                <a:gd name="T2" fmla="*/ 0 w 15"/>
                <a:gd name="T3" fmla="*/ 6 h 16"/>
                <a:gd name="T4" fmla="*/ 6 w 15"/>
                <a:gd name="T5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6" y="9"/>
                  </a:moveTo>
                  <a:cubicBezTo>
                    <a:pt x="3" y="6"/>
                    <a:pt x="0" y="0"/>
                    <a:pt x="0" y="6"/>
                  </a:cubicBezTo>
                  <a:cubicBezTo>
                    <a:pt x="0" y="15"/>
                    <a:pt x="14" y="9"/>
                    <a:pt x="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44" name="Freeform 1071"/>
            <p:cNvSpPr>
              <a:spLocks noChangeArrowheads="1"/>
            </p:cNvSpPr>
            <p:nvPr/>
          </p:nvSpPr>
          <p:spPr bwMode="auto">
            <a:xfrm>
              <a:off x="3992563" y="2697163"/>
              <a:ext cx="4762" cy="6350"/>
            </a:xfrm>
            <a:custGeom>
              <a:avLst/>
              <a:gdLst>
                <a:gd name="T0" fmla="*/ 8 w 15"/>
                <a:gd name="T1" fmla="*/ 17 h 18"/>
                <a:gd name="T2" fmla="*/ 8 w 15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8" y="17"/>
                  </a:moveTo>
                  <a:cubicBezTo>
                    <a:pt x="14" y="0"/>
                    <a:pt x="0" y="11"/>
                    <a:pt x="8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45" name="Freeform 1072"/>
            <p:cNvSpPr>
              <a:spLocks noChangeArrowheads="1"/>
            </p:cNvSpPr>
            <p:nvPr/>
          </p:nvSpPr>
          <p:spPr bwMode="auto">
            <a:xfrm>
              <a:off x="4300538" y="2638425"/>
              <a:ext cx="4762" cy="3175"/>
            </a:xfrm>
            <a:custGeom>
              <a:avLst/>
              <a:gdLst>
                <a:gd name="T0" fmla="*/ 0 w 12"/>
                <a:gd name="T1" fmla="*/ 6 h 9"/>
                <a:gd name="T2" fmla="*/ 0 w 12"/>
                <a:gd name="T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6"/>
                  </a:moveTo>
                  <a:cubicBezTo>
                    <a:pt x="11" y="8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46" name="Freeform 1073"/>
            <p:cNvSpPr>
              <a:spLocks noChangeArrowheads="1"/>
            </p:cNvSpPr>
            <p:nvPr/>
          </p:nvSpPr>
          <p:spPr bwMode="auto">
            <a:xfrm>
              <a:off x="4311650" y="2636838"/>
              <a:ext cx="3175" cy="7937"/>
            </a:xfrm>
            <a:custGeom>
              <a:avLst/>
              <a:gdLst>
                <a:gd name="T0" fmla="*/ 0 w 7"/>
                <a:gd name="T1" fmla="*/ 12 h 21"/>
                <a:gd name="T2" fmla="*/ 0 w 7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1">
                  <a:moveTo>
                    <a:pt x="0" y="12"/>
                  </a:moveTo>
                  <a:cubicBezTo>
                    <a:pt x="6" y="20"/>
                    <a:pt x="6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47" name="Freeform 1074"/>
            <p:cNvSpPr>
              <a:spLocks noChangeArrowheads="1"/>
            </p:cNvSpPr>
            <p:nvPr/>
          </p:nvSpPr>
          <p:spPr bwMode="auto">
            <a:xfrm>
              <a:off x="4324350" y="2641600"/>
              <a:ext cx="3175" cy="3175"/>
            </a:xfrm>
            <a:custGeom>
              <a:avLst/>
              <a:gdLst>
                <a:gd name="T0" fmla="*/ 8 w 9"/>
                <a:gd name="T1" fmla="*/ 6 h 10"/>
                <a:gd name="T2" fmla="*/ 2 w 9"/>
                <a:gd name="T3" fmla="*/ 0 h 10"/>
                <a:gd name="T4" fmla="*/ 8 w 9"/>
                <a:gd name="T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8" y="6"/>
                  </a:moveTo>
                  <a:cubicBezTo>
                    <a:pt x="8" y="3"/>
                    <a:pt x="5" y="0"/>
                    <a:pt x="2" y="0"/>
                  </a:cubicBezTo>
                  <a:cubicBezTo>
                    <a:pt x="0" y="3"/>
                    <a:pt x="2" y="9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48" name="Freeform 1075"/>
            <p:cNvSpPr>
              <a:spLocks noChangeArrowheads="1"/>
            </p:cNvSpPr>
            <p:nvPr/>
          </p:nvSpPr>
          <p:spPr bwMode="auto">
            <a:xfrm>
              <a:off x="4335463" y="2638425"/>
              <a:ext cx="4762" cy="3175"/>
            </a:xfrm>
            <a:custGeom>
              <a:avLst/>
              <a:gdLst>
                <a:gd name="T0" fmla="*/ 0 w 15"/>
                <a:gd name="T1" fmla="*/ 6 h 9"/>
                <a:gd name="T2" fmla="*/ 0 w 15"/>
                <a:gd name="T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0" y="6"/>
                  </a:moveTo>
                  <a:cubicBezTo>
                    <a:pt x="14" y="8"/>
                    <a:pt x="2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49" name="Freeform 1076"/>
            <p:cNvSpPr>
              <a:spLocks noChangeArrowheads="1"/>
            </p:cNvSpPr>
            <p:nvPr/>
          </p:nvSpPr>
          <p:spPr bwMode="auto">
            <a:xfrm>
              <a:off x="4341813" y="2638425"/>
              <a:ext cx="3175" cy="7938"/>
            </a:xfrm>
            <a:custGeom>
              <a:avLst/>
              <a:gdLst>
                <a:gd name="T0" fmla="*/ 0 w 7"/>
                <a:gd name="T1" fmla="*/ 8 h 21"/>
                <a:gd name="T2" fmla="*/ 0 w 7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1">
                  <a:moveTo>
                    <a:pt x="0" y="8"/>
                  </a:moveTo>
                  <a:cubicBezTo>
                    <a:pt x="6" y="20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50" name="Freeform 1077"/>
            <p:cNvSpPr>
              <a:spLocks noChangeArrowheads="1"/>
            </p:cNvSpPr>
            <p:nvPr/>
          </p:nvSpPr>
          <p:spPr bwMode="auto">
            <a:xfrm>
              <a:off x="4357688" y="2638425"/>
              <a:ext cx="4762" cy="4763"/>
            </a:xfrm>
            <a:custGeom>
              <a:avLst/>
              <a:gdLst>
                <a:gd name="T0" fmla="*/ 8 w 15"/>
                <a:gd name="T1" fmla="*/ 14 h 15"/>
                <a:gd name="T2" fmla="*/ 0 w 15"/>
                <a:gd name="T3" fmla="*/ 3 h 15"/>
                <a:gd name="T4" fmla="*/ 8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8" y="14"/>
                  </a:moveTo>
                  <a:cubicBezTo>
                    <a:pt x="14" y="8"/>
                    <a:pt x="5" y="0"/>
                    <a:pt x="0" y="3"/>
                  </a:cubicBezTo>
                  <a:cubicBezTo>
                    <a:pt x="3" y="8"/>
                    <a:pt x="3" y="11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51" name="Freeform 1078"/>
            <p:cNvSpPr>
              <a:spLocks noChangeArrowheads="1"/>
            </p:cNvSpPr>
            <p:nvPr/>
          </p:nvSpPr>
          <p:spPr bwMode="auto">
            <a:xfrm>
              <a:off x="4313238" y="2644775"/>
              <a:ext cx="4762" cy="3175"/>
            </a:xfrm>
            <a:custGeom>
              <a:avLst/>
              <a:gdLst>
                <a:gd name="T0" fmla="*/ 0 w 13"/>
                <a:gd name="T1" fmla="*/ 9 h 10"/>
                <a:gd name="T2" fmla="*/ 0 w 13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9"/>
                  </a:moveTo>
                  <a:cubicBezTo>
                    <a:pt x="12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52" name="Freeform 1079"/>
            <p:cNvSpPr>
              <a:spLocks noChangeArrowheads="1"/>
            </p:cNvSpPr>
            <p:nvPr/>
          </p:nvSpPr>
          <p:spPr bwMode="auto">
            <a:xfrm>
              <a:off x="4298950" y="264953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53" name="Freeform 1080"/>
            <p:cNvSpPr>
              <a:spLocks noChangeArrowheads="1"/>
            </p:cNvSpPr>
            <p:nvPr/>
          </p:nvSpPr>
          <p:spPr bwMode="auto">
            <a:xfrm>
              <a:off x="4333875" y="2643188"/>
              <a:ext cx="4763" cy="3175"/>
            </a:xfrm>
            <a:custGeom>
              <a:avLst/>
              <a:gdLst>
                <a:gd name="T0" fmla="*/ 0 w 12"/>
                <a:gd name="T1" fmla="*/ 6 h 10"/>
                <a:gd name="T2" fmla="*/ 0 w 12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11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54" name="Freeform 1081"/>
            <p:cNvSpPr>
              <a:spLocks noChangeArrowheads="1"/>
            </p:cNvSpPr>
            <p:nvPr/>
          </p:nvSpPr>
          <p:spPr bwMode="auto">
            <a:xfrm>
              <a:off x="4318000" y="2646363"/>
              <a:ext cx="4763" cy="3175"/>
            </a:xfrm>
            <a:custGeom>
              <a:avLst/>
              <a:gdLst>
                <a:gd name="T0" fmla="*/ 0 w 12"/>
                <a:gd name="T1" fmla="*/ 5 h 9"/>
                <a:gd name="T2" fmla="*/ 0 w 12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11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55" name="Freeform 1082"/>
            <p:cNvSpPr>
              <a:spLocks noChangeArrowheads="1"/>
            </p:cNvSpPr>
            <p:nvPr/>
          </p:nvSpPr>
          <p:spPr bwMode="auto">
            <a:xfrm>
              <a:off x="4330700" y="2644775"/>
              <a:ext cx="4763" cy="4763"/>
            </a:xfrm>
            <a:custGeom>
              <a:avLst/>
              <a:gdLst>
                <a:gd name="T0" fmla="*/ 8 w 12"/>
                <a:gd name="T1" fmla="*/ 0 h 12"/>
                <a:gd name="T2" fmla="*/ 0 w 12"/>
                <a:gd name="T3" fmla="*/ 8 h 12"/>
                <a:gd name="T4" fmla="*/ 8 w 12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cubicBezTo>
                    <a:pt x="0" y="0"/>
                    <a:pt x="0" y="6"/>
                    <a:pt x="0" y="8"/>
                  </a:cubicBezTo>
                  <a:cubicBezTo>
                    <a:pt x="5" y="11"/>
                    <a:pt x="11" y="8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56" name="Freeform 1083"/>
            <p:cNvSpPr>
              <a:spLocks noChangeArrowheads="1"/>
            </p:cNvSpPr>
            <p:nvPr/>
          </p:nvSpPr>
          <p:spPr bwMode="auto">
            <a:xfrm>
              <a:off x="4365625" y="2638425"/>
              <a:ext cx="3175" cy="6350"/>
            </a:xfrm>
            <a:custGeom>
              <a:avLst/>
              <a:gdLst>
                <a:gd name="T0" fmla="*/ 0 w 7"/>
                <a:gd name="T1" fmla="*/ 8 h 18"/>
                <a:gd name="T2" fmla="*/ 0 w 7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8"/>
                  </a:moveTo>
                  <a:cubicBezTo>
                    <a:pt x="6" y="17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57" name="Freeform 1084"/>
            <p:cNvSpPr>
              <a:spLocks noChangeArrowheads="1"/>
            </p:cNvSpPr>
            <p:nvPr/>
          </p:nvSpPr>
          <p:spPr bwMode="auto">
            <a:xfrm>
              <a:off x="4297363" y="2652713"/>
              <a:ext cx="1587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58" name="Freeform 1085"/>
            <p:cNvSpPr>
              <a:spLocks noChangeArrowheads="1"/>
            </p:cNvSpPr>
            <p:nvPr/>
          </p:nvSpPr>
          <p:spPr bwMode="auto">
            <a:xfrm>
              <a:off x="4305300" y="2647950"/>
              <a:ext cx="4763" cy="7938"/>
            </a:xfrm>
            <a:custGeom>
              <a:avLst/>
              <a:gdLst>
                <a:gd name="T0" fmla="*/ 14 w 15"/>
                <a:gd name="T1" fmla="*/ 9 h 21"/>
                <a:gd name="T2" fmla="*/ 14 w 15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14" y="9"/>
                  </a:moveTo>
                  <a:cubicBezTo>
                    <a:pt x="0" y="0"/>
                    <a:pt x="6" y="20"/>
                    <a:pt x="1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59" name="Freeform 1086"/>
            <p:cNvSpPr>
              <a:spLocks noChangeArrowheads="1"/>
            </p:cNvSpPr>
            <p:nvPr/>
          </p:nvSpPr>
          <p:spPr bwMode="auto">
            <a:xfrm>
              <a:off x="4340225" y="2646363"/>
              <a:ext cx="4763" cy="1587"/>
            </a:xfrm>
            <a:custGeom>
              <a:avLst/>
              <a:gdLst>
                <a:gd name="T0" fmla="*/ 0 w 12"/>
                <a:gd name="T1" fmla="*/ 0 h 6"/>
                <a:gd name="T2" fmla="*/ 11 w 12"/>
                <a:gd name="T3" fmla="*/ 5 h 6"/>
                <a:gd name="T4" fmla="*/ 0 w 12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6">
                  <a:moveTo>
                    <a:pt x="0" y="0"/>
                  </a:moveTo>
                  <a:cubicBezTo>
                    <a:pt x="0" y="5"/>
                    <a:pt x="5" y="5"/>
                    <a:pt x="11" y="5"/>
                  </a:cubicBezTo>
                  <a:cubicBezTo>
                    <a:pt x="11" y="0"/>
                    <a:pt x="8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60" name="Freeform 1087"/>
            <p:cNvSpPr>
              <a:spLocks noChangeArrowheads="1"/>
            </p:cNvSpPr>
            <p:nvPr/>
          </p:nvSpPr>
          <p:spPr bwMode="auto">
            <a:xfrm>
              <a:off x="4300538" y="2652713"/>
              <a:ext cx="3175" cy="6350"/>
            </a:xfrm>
            <a:custGeom>
              <a:avLst/>
              <a:gdLst>
                <a:gd name="T0" fmla="*/ 0 w 9"/>
                <a:gd name="T1" fmla="*/ 8 h 18"/>
                <a:gd name="T2" fmla="*/ 0 w 9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8"/>
                  </a:moveTo>
                  <a:cubicBezTo>
                    <a:pt x="8" y="17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61" name="Freeform 1088"/>
            <p:cNvSpPr>
              <a:spLocks noChangeArrowheads="1"/>
            </p:cNvSpPr>
            <p:nvPr/>
          </p:nvSpPr>
          <p:spPr bwMode="auto">
            <a:xfrm>
              <a:off x="4332288" y="2647950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62" name="Freeform 1089"/>
            <p:cNvSpPr>
              <a:spLocks noChangeArrowheads="1"/>
            </p:cNvSpPr>
            <p:nvPr/>
          </p:nvSpPr>
          <p:spPr bwMode="auto">
            <a:xfrm>
              <a:off x="4305300" y="2655888"/>
              <a:ext cx="1588" cy="1587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3" y="3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63" name="Freeform 1090"/>
            <p:cNvSpPr>
              <a:spLocks noChangeArrowheads="1"/>
            </p:cNvSpPr>
            <p:nvPr/>
          </p:nvSpPr>
          <p:spPr bwMode="auto">
            <a:xfrm>
              <a:off x="4300538" y="2659063"/>
              <a:ext cx="4762" cy="3175"/>
            </a:xfrm>
            <a:custGeom>
              <a:avLst/>
              <a:gdLst>
                <a:gd name="T0" fmla="*/ 14 w 15"/>
                <a:gd name="T1" fmla="*/ 2 h 9"/>
                <a:gd name="T2" fmla="*/ 0 w 15"/>
                <a:gd name="T3" fmla="*/ 8 h 9"/>
                <a:gd name="T4" fmla="*/ 14 w 15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2"/>
                  </a:moveTo>
                  <a:cubicBezTo>
                    <a:pt x="8" y="0"/>
                    <a:pt x="3" y="2"/>
                    <a:pt x="0" y="8"/>
                  </a:cubicBezTo>
                  <a:cubicBezTo>
                    <a:pt x="3" y="5"/>
                    <a:pt x="14" y="8"/>
                    <a:pt x="14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64" name="Freeform 1091"/>
            <p:cNvSpPr>
              <a:spLocks noChangeArrowheads="1"/>
            </p:cNvSpPr>
            <p:nvPr/>
          </p:nvSpPr>
          <p:spPr bwMode="auto">
            <a:xfrm>
              <a:off x="4340225" y="2640013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5 h 12"/>
                <a:gd name="T4" fmla="*/ 3 w 9"/>
                <a:gd name="T5" fmla="*/ 11 h 12"/>
                <a:gd name="T6" fmla="*/ 0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0" y="5"/>
                    <a:pt x="0" y="5"/>
                    <a:pt x="0" y="5"/>
                  </a:cubicBezTo>
                  <a:lnTo>
                    <a:pt x="3" y="11"/>
                  </a:lnTo>
                  <a:cubicBezTo>
                    <a:pt x="8" y="11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65" name="Freeform 1092"/>
            <p:cNvSpPr>
              <a:spLocks noChangeArrowheads="1"/>
            </p:cNvSpPr>
            <p:nvPr/>
          </p:nvSpPr>
          <p:spPr bwMode="auto">
            <a:xfrm>
              <a:off x="4333875" y="2649538"/>
              <a:ext cx="6350" cy="4762"/>
            </a:xfrm>
            <a:custGeom>
              <a:avLst/>
              <a:gdLst>
                <a:gd name="T0" fmla="*/ 14 w 18"/>
                <a:gd name="T1" fmla="*/ 0 h 12"/>
                <a:gd name="T2" fmla="*/ 14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14" y="0"/>
                  </a:moveTo>
                  <a:cubicBezTo>
                    <a:pt x="0" y="6"/>
                    <a:pt x="17" y="11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66" name="Freeform 1093"/>
            <p:cNvSpPr>
              <a:spLocks noChangeArrowheads="1"/>
            </p:cNvSpPr>
            <p:nvPr/>
          </p:nvSpPr>
          <p:spPr bwMode="auto">
            <a:xfrm>
              <a:off x="4335463" y="2647950"/>
              <a:ext cx="1587" cy="6350"/>
            </a:xfrm>
            <a:custGeom>
              <a:avLst/>
              <a:gdLst>
                <a:gd name="T0" fmla="*/ 0 w 6"/>
                <a:gd name="T1" fmla="*/ 3 h 16"/>
                <a:gd name="T2" fmla="*/ 0 w 6"/>
                <a:gd name="T3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6">
                  <a:moveTo>
                    <a:pt x="0" y="3"/>
                  </a:moveTo>
                  <a:cubicBezTo>
                    <a:pt x="2" y="15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67" name="Freeform 1094"/>
            <p:cNvSpPr>
              <a:spLocks noChangeArrowheads="1"/>
            </p:cNvSpPr>
            <p:nvPr/>
          </p:nvSpPr>
          <p:spPr bwMode="auto">
            <a:xfrm>
              <a:off x="4329113" y="2640013"/>
              <a:ext cx="6350" cy="6350"/>
            </a:xfrm>
            <a:custGeom>
              <a:avLst/>
              <a:gdLst>
                <a:gd name="T0" fmla="*/ 8 w 18"/>
                <a:gd name="T1" fmla="*/ 17 h 18"/>
                <a:gd name="T2" fmla="*/ 8 w 18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8">
                  <a:moveTo>
                    <a:pt x="8" y="17"/>
                  </a:moveTo>
                  <a:cubicBezTo>
                    <a:pt x="17" y="0"/>
                    <a:pt x="0" y="11"/>
                    <a:pt x="8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68" name="Freeform 1095"/>
            <p:cNvSpPr>
              <a:spLocks noChangeArrowheads="1"/>
            </p:cNvSpPr>
            <p:nvPr/>
          </p:nvSpPr>
          <p:spPr bwMode="auto">
            <a:xfrm>
              <a:off x="4098925" y="2684463"/>
              <a:ext cx="4763" cy="3175"/>
            </a:xfrm>
            <a:custGeom>
              <a:avLst/>
              <a:gdLst>
                <a:gd name="T0" fmla="*/ 12 w 15"/>
                <a:gd name="T1" fmla="*/ 0 h 10"/>
                <a:gd name="T2" fmla="*/ 12 w 15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0">
                  <a:moveTo>
                    <a:pt x="12" y="0"/>
                  </a:moveTo>
                  <a:cubicBezTo>
                    <a:pt x="0" y="0"/>
                    <a:pt x="14" y="9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69" name="Freeform 1096"/>
            <p:cNvSpPr>
              <a:spLocks noChangeArrowheads="1"/>
            </p:cNvSpPr>
            <p:nvPr/>
          </p:nvSpPr>
          <p:spPr bwMode="auto">
            <a:xfrm>
              <a:off x="4089400" y="2684463"/>
              <a:ext cx="1588" cy="7937"/>
            </a:xfrm>
            <a:custGeom>
              <a:avLst/>
              <a:gdLst>
                <a:gd name="T0" fmla="*/ 5 w 6"/>
                <a:gd name="T1" fmla="*/ 6 h 21"/>
                <a:gd name="T2" fmla="*/ 5 w 6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21">
                  <a:moveTo>
                    <a:pt x="5" y="6"/>
                  </a:moveTo>
                  <a:cubicBezTo>
                    <a:pt x="0" y="0"/>
                    <a:pt x="3" y="20"/>
                    <a:pt x="5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70" name="Freeform 1097"/>
            <p:cNvSpPr>
              <a:spLocks noChangeArrowheads="1"/>
            </p:cNvSpPr>
            <p:nvPr/>
          </p:nvSpPr>
          <p:spPr bwMode="auto">
            <a:xfrm>
              <a:off x="4075113" y="2684463"/>
              <a:ext cx="3175" cy="3175"/>
            </a:xfrm>
            <a:custGeom>
              <a:avLst/>
              <a:gdLst>
                <a:gd name="T0" fmla="*/ 0 w 10"/>
                <a:gd name="T1" fmla="*/ 3 h 9"/>
                <a:gd name="T2" fmla="*/ 9 w 10"/>
                <a:gd name="T3" fmla="*/ 8 h 9"/>
                <a:gd name="T4" fmla="*/ 0 w 10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3"/>
                  </a:moveTo>
                  <a:cubicBezTo>
                    <a:pt x="0" y="6"/>
                    <a:pt x="3" y="8"/>
                    <a:pt x="9" y="8"/>
                  </a:cubicBezTo>
                  <a:cubicBezTo>
                    <a:pt x="9" y="3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71" name="Freeform 1098"/>
            <p:cNvSpPr>
              <a:spLocks noChangeArrowheads="1"/>
            </p:cNvSpPr>
            <p:nvPr/>
          </p:nvSpPr>
          <p:spPr bwMode="auto">
            <a:xfrm>
              <a:off x="4064000" y="2689225"/>
              <a:ext cx="4763" cy="3175"/>
            </a:xfrm>
            <a:custGeom>
              <a:avLst/>
              <a:gdLst>
                <a:gd name="T0" fmla="*/ 12 w 13"/>
                <a:gd name="T1" fmla="*/ 0 h 10"/>
                <a:gd name="T2" fmla="*/ 12 w 13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12" y="0"/>
                  </a:moveTo>
                  <a:cubicBezTo>
                    <a:pt x="0" y="3"/>
                    <a:pt x="12" y="9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72" name="Freeform 1099"/>
            <p:cNvSpPr>
              <a:spLocks noChangeArrowheads="1"/>
            </p:cNvSpPr>
            <p:nvPr/>
          </p:nvSpPr>
          <p:spPr bwMode="auto">
            <a:xfrm>
              <a:off x="4057650" y="2687638"/>
              <a:ext cx="3175" cy="6350"/>
            </a:xfrm>
            <a:custGeom>
              <a:avLst/>
              <a:gdLst>
                <a:gd name="T0" fmla="*/ 9 w 10"/>
                <a:gd name="T1" fmla="*/ 6 h 18"/>
                <a:gd name="T2" fmla="*/ 9 w 10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6"/>
                  </a:moveTo>
                  <a:cubicBezTo>
                    <a:pt x="0" y="0"/>
                    <a:pt x="6" y="17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73" name="Freeform 1100"/>
            <p:cNvSpPr>
              <a:spLocks noChangeArrowheads="1"/>
            </p:cNvSpPr>
            <p:nvPr/>
          </p:nvSpPr>
          <p:spPr bwMode="auto">
            <a:xfrm>
              <a:off x="4041775" y="2692400"/>
              <a:ext cx="4763" cy="4763"/>
            </a:xfrm>
            <a:custGeom>
              <a:avLst/>
              <a:gdLst>
                <a:gd name="T0" fmla="*/ 3 w 15"/>
                <a:gd name="T1" fmla="*/ 0 h 12"/>
                <a:gd name="T2" fmla="*/ 14 w 15"/>
                <a:gd name="T3" fmla="*/ 11 h 12"/>
                <a:gd name="T4" fmla="*/ 3 w 15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3" y="0"/>
                  </a:moveTo>
                  <a:cubicBezTo>
                    <a:pt x="0" y="5"/>
                    <a:pt x="6" y="11"/>
                    <a:pt x="14" y="11"/>
                  </a:cubicBezTo>
                  <a:cubicBezTo>
                    <a:pt x="12" y="5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74" name="Freeform 1101"/>
            <p:cNvSpPr>
              <a:spLocks noChangeArrowheads="1"/>
            </p:cNvSpPr>
            <p:nvPr/>
          </p:nvSpPr>
          <p:spPr bwMode="auto">
            <a:xfrm>
              <a:off x="4084638" y="2681288"/>
              <a:ext cx="4762" cy="3175"/>
            </a:xfrm>
            <a:custGeom>
              <a:avLst/>
              <a:gdLst>
                <a:gd name="T0" fmla="*/ 8 w 12"/>
                <a:gd name="T1" fmla="*/ 0 h 9"/>
                <a:gd name="T2" fmla="*/ 8 w 12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8" y="0"/>
                  </a:moveTo>
                  <a:cubicBezTo>
                    <a:pt x="0" y="0"/>
                    <a:pt x="11" y="8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75" name="Freeform 1102"/>
            <p:cNvSpPr>
              <a:spLocks noChangeArrowheads="1"/>
            </p:cNvSpPr>
            <p:nvPr/>
          </p:nvSpPr>
          <p:spPr bwMode="auto">
            <a:xfrm>
              <a:off x="4100513" y="2674938"/>
              <a:ext cx="3175" cy="1587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0" y="0"/>
                    <a:pt x="6" y="3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76" name="Freeform 1103"/>
            <p:cNvSpPr>
              <a:spLocks noChangeArrowheads="1"/>
            </p:cNvSpPr>
            <p:nvPr/>
          </p:nvSpPr>
          <p:spPr bwMode="auto">
            <a:xfrm>
              <a:off x="4064000" y="2686050"/>
              <a:ext cx="4763" cy="3175"/>
            </a:xfrm>
            <a:custGeom>
              <a:avLst/>
              <a:gdLst>
                <a:gd name="T0" fmla="*/ 12 w 15"/>
                <a:gd name="T1" fmla="*/ 0 h 9"/>
                <a:gd name="T2" fmla="*/ 12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2" y="0"/>
                  </a:moveTo>
                  <a:cubicBezTo>
                    <a:pt x="0" y="0"/>
                    <a:pt x="14" y="8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77" name="Freeform 1104"/>
            <p:cNvSpPr>
              <a:spLocks noChangeArrowheads="1"/>
            </p:cNvSpPr>
            <p:nvPr/>
          </p:nvSpPr>
          <p:spPr bwMode="auto">
            <a:xfrm>
              <a:off x="4079875" y="2679700"/>
              <a:ext cx="4763" cy="3175"/>
            </a:xfrm>
            <a:custGeom>
              <a:avLst/>
              <a:gdLst>
                <a:gd name="T0" fmla="*/ 9 w 13"/>
                <a:gd name="T1" fmla="*/ 0 h 9"/>
                <a:gd name="T2" fmla="*/ 9 w 13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9">
                  <a:moveTo>
                    <a:pt x="9" y="0"/>
                  </a:moveTo>
                  <a:cubicBezTo>
                    <a:pt x="0" y="3"/>
                    <a:pt x="12" y="8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78" name="Freeform 1105"/>
            <p:cNvSpPr>
              <a:spLocks noChangeArrowheads="1"/>
            </p:cNvSpPr>
            <p:nvPr/>
          </p:nvSpPr>
          <p:spPr bwMode="auto">
            <a:xfrm>
              <a:off x="4068763" y="2681288"/>
              <a:ext cx="4762" cy="4762"/>
            </a:xfrm>
            <a:custGeom>
              <a:avLst/>
              <a:gdLst>
                <a:gd name="T0" fmla="*/ 2 w 12"/>
                <a:gd name="T1" fmla="*/ 11 h 12"/>
                <a:gd name="T2" fmla="*/ 11 w 12"/>
                <a:gd name="T3" fmla="*/ 0 h 12"/>
                <a:gd name="T4" fmla="*/ 2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2" y="11"/>
                  </a:moveTo>
                  <a:cubicBezTo>
                    <a:pt x="11" y="11"/>
                    <a:pt x="8" y="5"/>
                    <a:pt x="11" y="0"/>
                  </a:cubicBezTo>
                  <a:cubicBezTo>
                    <a:pt x="2" y="2"/>
                    <a:pt x="0" y="5"/>
                    <a:pt x="2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79" name="Freeform 1106"/>
            <p:cNvSpPr>
              <a:spLocks noChangeArrowheads="1"/>
            </p:cNvSpPr>
            <p:nvPr/>
          </p:nvSpPr>
          <p:spPr bwMode="auto">
            <a:xfrm>
              <a:off x="4035425" y="2692400"/>
              <a:ext cx="3175" cy="6350"/>
            </a:xfrm>
            <a:custGeom>
              <a:avLst/>
              <a:gdLst>
                <a:gd name="T0" fmla="*/ 9 w 10"/>
                <a:gd name="T1" fmla="*/ 8 h 18"/>
                <a:gd name="T2" fmla="*/ 9 w 10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8"/>
                  </a:moveTo>
                  <a:cubicBezTo>
                    <a:pt x="0" y="0"/>
                    <a:pt x="9" y="17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80" name="Freeform 1107"/>
            <p:cNvSpPr>
              <a:spLocks noChangeArrowheads="1"/>
            </p:cNvSpPr>
            <p:nvPr/>
          </p:nvSpPr>
          <p:spPr bwMode="auto">
            <a:xfrm>
              <a:off x="4102100" y="2671763"/>
              <a:ext cx="1588" cy="1587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0"/>
                    <a:pt x="5" y="3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81" name="Freeform 1108"/>
            <p:cNvSpPr>
              <a:spLocks noChangeArrowheads="1"/>
            </p:cNvSpPr>
            <p:nvPr/>
          </p:nvSpPr>
          <p:spPr bwMode="auto">
            <a:xfrm>
              <a:off x="4090988" y="2671763"/>
              <a:ext cx="6350" cy="6350"/>
            </a:xfrm>
            <a:custGeom>
              <a:avLst/>
              <a:gdLst>
                <a:gd name="T0" fmla="*/ 0 w 16"/>
                <a:gd name="T1" fmla="*/ 12 h 18"/>
                <a:gd name="T2" fmla="*/ 0 w 16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8">
                  <a:moveTo>
                    <a:pt x="0" y="12"/>
                  </a:moveTo>
                  <a:cubicBezTo>
                    <a:pt x="15" y="17"/>
                    <a:pt x="6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82" name="Freeform 1109"/>
            <p:cNvSpPr>
              <a:spLocks noChangeArrowheads="1"/>
            </p:cNvSpPr>
            <p:nvPr/>
          </p:nvSpPr>
          <p:spPr bwMode="auto">
            <a:xfrm>
              <a:off x="4067175" y="2682875"/>
              <a:ext cx="1588" cy="1588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83" name="Freeform 1110"/>
            <p:cNvSpPr>
              <a:spLocks noChangeArrowheads="1"/>
            </p:cNvSpPr>
            <p:nvPr/>
          </p:nvSpPr>
          <p:spPr bwMode="auto">
            <a:xfrm>
              <a:off x="4057650" y="2684463"/>
              <a:ext cx="4763" cy="3175"/>
            </a:xfrm>
            <a:custGeom>
              <a:avLst/>
              <a:gdLst>
                <a:gd name="T0" fmla="*/ 11 w 12"/>
                <a:gd name="T1" fmla="*/ 6 h 10"/>
                <a:gd name="T2" fmla="*/ 0 w 12"/>
                <a:gd name="T3" fmla="*/ 0 h 10"/>
                <a:gd name="T4" fmla="*/ 11 w 12"/>
                <a:gd name="T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6"/>
                  </a:moveTo>
                  <a:cubicBezTo>
                    <a:pt x="11" y="0"/>
                    <a:pt x="2" y="0"/>
                    <a:pt x="0" y="0"/>
                  </a:cubicBezTo>
                  <a:cubicBezTo>
                    <a:pt x="2" y="9"/>
                    <a:pt x="5" y="9"/>
                    <a:pt x="1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84" name="Freeform 1111"/>
            <p:cNvSpPr>
              <a:spLocks noChangeArrowheads="1"/>
            </p:cNvSpPr>
            <p:nvPr/>
          </p:nvSpPr>
          <p:spPr bwMode="auto">
            <a:xfrm>
              <a:off x="4097338" y="2667000"/>
              <a:ext cx="3175" cy="6350"/>
            </a:xfrm>
            <a:custGeom>
              <a:avLst/>
              <a:gdLst>
                <a:gd name="T0" fmla="*/ 8 w 9"/>
                <a:gd name="T1" fmla="*/ 6 h 18"/>
                <a:gd name="T2" fmla="*/ 8 w 9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6"/>
                  </a:moveTo>
                  <a:cubicBezTo>
                    <a:pt x="0" y="0"/>
                    <a:pt x="8" y="17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85" name="Freeform 1112"/>
            <p:cNvSpPr>
              <a:spLocks noChangeArrowheads="1"/>
            </p:cNvSpPr>
            <p:nvPr/>
          </p:nvSpPr>
          <p:spPr bwMode="auto">
            <a:xfrm>
              <a:off x="4065588" y="2679700"/>
              <a:ext cx="4762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86" name="Freeform 1113"/>
            <p:cNvSpPr>
              <a:spLocks noChangeArrowheads="1"/>
            </p:cNvSpPr>
            <p:nvPr/>
          </p:nvSpPr>
          <p:spPr bwMode="auto">
            <a:xfrm>
              <a:off x="4094163" y="2670175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87" name="Freeform 1114"/>
            <p:cNvSpPr>
              <a:spLocks noChangeArrowheads="1"/>
            </p:cNvSpPr>
            <p:nvPr/>
          </p:nvSpPr>
          <p:spPr bwMode="auto">
            <a:xfrm>
              <a:off x="4087813" y="2671763"/>
              <a:ext cx="1587" cy="1587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88" name="Freeform 1115"/>
            <p:cNvSpPr>
              <a:spLocks noChangeArrowheads="1"/>
            </p:cNvSpPr>
            <p:nvPr/>
          </p:nvSpPr>
          <p:spPr bwMode="auto">
            <a:xfrm>
              <a:off x="4092575" y="2665413"/>
              <a:ext cx="6350" cy="4762"/>
            </a:xfrm>
            <a:custGeom>
              <a:avLst/>
              <a:gdLst>
                <a:gd name="T0" fmla="*/ 3 w 18"/>
                <a:gd name="T1" fmla="*/ 8 h 12"/>
                <a:gd name="T2" fmla="*/ 17 w 18"/>
                <a:gd name="T3" fmla="*/ 0 h 12"/>
                <a:gd name="T4" fmla="*/ 3 w 18"/>
                <a:gd name="T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3" y="8"/>
                  </a:moveTo>
                  <a:cubicBezTo>
                    <a:pt x="9" y="11"/>
                    <a:pt x="14" y="5"/>
                    <a:pt x="17" y="0"/>
                  </a:cubicBezTo>
                  <a:cubicBezTo>
                    <a:pt x="12" y="2"/>
                    <a:pt x="0" y="2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89" name="Freeform 1116"/>
            <p:cNvSpPr>
              <a:spLocks noChangeArrowheads="1"/>
            </p:cNvSpPr>
            <p:nvPr/>
          </p:nvSpPr>
          <p:spPr bwMode="auto">
            <a:xfrm>
              <a:off x="4059238" y="2687638"/>
              <a:ext cx="4762" cy="6350"/>
            </a:xfrm>
            <a:custGeom>
              <a:avLst/>
              <a:gdLst>
                <a:gd name="T0" fmla="*/ 11 w 12"/>
                <a:gd name="T1" fmla="*/ 9 h 16"/>
                <a:gd name="T2" fmla="*/ 11 w 12"/>
                <a:gd name="T3" fmla="*/ 6 h 16"/>
                <a:gd name="T4" fmla="*/ 9 w 12"/>
                <a:gd name="T5" fmla="*/ 0 h 16"/>
                <a:gd name="T6" fmla="*/ 11 w 12"/>
                <a:gd name="T7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6">
                  <a:moveTo>
                    <a:pt x="11" y="9"/>
                  </a:moveTo>
                  <a:cubicBezTo>
                    <a:pt x="11" y="9"/>
                    <a:pt x="9" y="6"/>
                    <a:pt x="11" y="6"/>
                  </a:cubicBezTo>
                  <a:lnTo>
                    <a:pt x="9" y="0"/>
                  </a:lnTo>
                  <a:cubicBezTo>
                    <a:pt x="0" y="3"/>
                    <a:pt x="6" y="15"/>
                    <a:pt x="11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90" name="Freeform 1117"/>
            <p:cNvSpPr>
              <a:spLocks noChangeArrowheads="1"/>
            </p:cNvSpPr>
            <p:nvPr/>
          </p:nvSpPr>
          <p:spPr bwMode="auto">
            <a:xfrm>
              <a:off x="4060825" y="2678113"/>
              <a:ext cx="4763" cy="4762"/>
            </a:xfrm>
            <a:custGeom>
              <a:avLst/>
              <a:gdLst>
                <a:gd name="T0" fmla="*/ 3 w 15"/>
                <a:gd name="T1" fmla="*/ 12 h 13"/>
                <a:gd name="T2" fmla="*/ 3 w 15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3" y="12"/>
                  </a:moveTo>
                  <a:cubicBezTo>
                    <a:pt x="14" y="3"/>
                    <a:pt x="0" y="0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91" name="Freeform 1118"/>
            <p:cNvSpPr>
              <a:spLocks noChangeArrowheads="1"/>
            </p:cNvSpPr>
            <p:nvPr/>
          </p:nvSpPr>
          <p:spPr bwMode="auto">
            <a:xfrm>
              <a:off x="4064000" y="2678113"/>
              <a:ext cx="3175" cy="4762"/>
            </a:xfrm>
            <a:custGeom>
              <a:avLst/>
              <a:gdLst>
                <a:gd name="T0" fmla="*/ 6 w 7"/>
                <a:gd name="T1" fmla="*/ 11 h 15"/>
                <a:gd name="T2" fmla="*/ 6 w 7"/>
                <a:gd name="T3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6" y="11"/>
                  </a:moveTo>
                  <a:cubicBezTo>
                    <a:pt x="3" y="0"/>
                    <a:pt x="0" y="14"/>
                    <a:pt x="6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92" name="Freeform 1119"/>
            <p:cNvSpPr>
              <a:spLocks noChangeArrowheads="1"/>
            </p:cNvSpPr>
            <p:nvPr/>
          </p:nvSpPr>
          <p:spPr bwMode="auto">
            <a:xfrm>
              <a:off x="4068763" y="2684463"/>
              <a:ext cx="4762" cy="6350"/>
            </a:xfrm>
            <a:custGeom>
              <a:avLst/>
              <a:gdLst>
                <a:gd name="T0" fmla="*/ 2 w 15"/>
                <a:gd name="T1" fmla="*/ 0 h 18"/>
                <a:gd name="T2" fmla="*/ 2 w 15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2" y="0"/>
                  </a:moveTo>
                  <a:cubicBezTo>
                    <a:pt x="0" y="17"/>
                    <a:pt x="14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93" name="Freeform 1120"/>
            <p:cNvSpPr>
              <a:spLocks noChangeArrowheads="1"/>
            </p:cNvSpPr>
            <p:nvPr/>
          </p:nvSpPr>
          <p:spPr bwMode="auto">
            <a:xfrm>
              <a:off x="4210050" y="2689225"/>
              <a:ext cx="4763" cy="3175"/>
            </a:xfrm>
            <a:custGeom>
              <a:avLst/>
              <a:gdLst>
                <a:gd name="T0" fmla="*/ 11 w 12"/>
                <a:gd name="T1" fmla="*/ 0 h 7"/>
                <a:gd name="T2" fmla="*/ 11 w 12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0" y="0"/>
                    <a:pt x="11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94" name="Freeform 1121"/>
            <p:cNvSpPr>
              <a:spLocks noChangeArrowheads="1"/>
            </p:cNvSpPr>
            <p:nvPr/>
          </p:nvSpPr>
          <p:spPr bwMode="auto">
            <a:xfrm>
              <a:off x="4200525" y="2689225"/>
              <a:ext cx="3175" cy="6350"/>
            </a:xfrm>
            <a:custGeom>
              <a:avLst/>
              <a:gdLst>
                <a:gd name="T0" fmla="*/ 6 w 7"/>
                <a:gd name="T1" fmla="*/ 6 h 18"/>
                <a:gd name="T2" fmla="*/ 6 w 7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6" y="6"/>
                  </a:moveTo>
                  <a:cubicBezTo>
                    <a:pt x="0" y="0"/>
                    <a:pt x="3" y="17"/>
                    <a:pt x="6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95" name="Freeform 1122"/>
            <p:cNvSpPr>
              <a:spLocks noChangeArrowheads="1"/>
            </p:cNvSpPr>
            <p:nvPr/>
          </p:nvSpPr>
          <p:spPr bwMode="auto">
            <a:xfrm>
              <a:off x="4184650" y="2689225"/>
              <a:ext cx="4763" cy="3175"/>
            </a:xfrm>
            <a:custGeom>
              <a:avLst/>
              <a:gdLst>
                <a:gd name="T0" fmla="*/ 0 w 12"/>
                <a:gd name="T1" fmla="*/ 3 h 10"/>
                <a:gd name="T2" fmla="*/ 9 w 12"/>
                <a:gd name="T3" fmla="*/ 9 h 10"/>
                <a:gd name="T4" fmla="*/ 0 w 12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0" y="3"/>
                  </a:moveTo>
                  <a:cubicBezTo>
                    <a:pt x="0" y="6"/>
                    <a:pt x="3" y="9"/>
                    <a:pt x="9" y="9"/>
                  </a:cubicBezTo>
                  <a:cubicBezTo>
                    <a:pt x="11" y="3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96" name="Freeform 1123"/>
            <p:cNvSpPr>
              <a:spLocks noChangeArrowheads="1"/>
            </p:cNvSpPr>
            <p:nvPr/>
          </p:nvSpPr>
          <p:spPr bwMode="auto">
            <a:xfrm>
              <a:off x="4173538" y="2695575"/>
              <a:ext cx="4762" cy="3175"/>
            </a:xfrm>
            <a:custGeom>
              <a:avLst/>
              <a:gdLst>
                <a:gd name="T0" fmla="*/ 14 w 15"/>
                <a:gd name="T1" fmla="*/ 0 h 10"/>
                <a:gd name="T2" fmla="*/ 14 w 15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0">
                  <a:moveTo>
                    <a:pt x="14" y="0"/>
                  </a:moveTo>
                  <a:cubicBezTo>
                    <a:pt x="0" y="0"/>
                    <a:pt x="14" y="9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97" name="Freeform 1124"/>
            <p:cNvSpPr>
              <a:spLocks noChangeArrowheads="1"/>
            </p:cNvSpPr>
            <p:nvPr/>
          </p:nvSpPr>
          <p:spPr bwMode="auto">
            <a:xfrm>
              <a:off x="4167188" y="2692400"/>
              <a:ext cx="3175" cy="6350"/>
            </a:xfrm>
            <a:custGeom>
              <a:avLst/>
              <a:gdLst>
                <a:gd name="T0" fmla="*/ 9 w 10"/>
                <a:gd name="T1" fmla="*/ 8 h 18"/>
                <a:gd name="T2" fmla="*/ 9 w 10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8"/>
                  </a:moveTo>
                  <a:cubicBezTo>
                    <a:pt x="0" y="0"/>
                    <a:pt x="9" y="17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98" name="Freeform 1125"/>
            <p:cNvSpPr>
              <a:spLocks noChangeArrowheads="1"/>
            </p:cNvSpPr>
            <p:nvPr/>
          </p:nvSpPr>
          <p:spPr bwMode="auto">
            <a:xfrm>
              <a:off x="4151313" y="2697163"/>
              <a:ext cx="4762" cy="4762"/>
            </a:xfrm>
            <a:custGeom>
              <a:avLst/>
              <a:gdLst>
                <a:gd name="T0" fmla="*/ 3 w 15"/>
                <a:gd name="T1" fmla="*/ 0 h 12"/>
                <a:gd name="T2" fmla="*/ 14 w 15"/>
                <a:gd name="T3" fmla="*/ 11 h 12"/>
                <a:gd name="T4" fmla="*/ 3 w 15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3" y="0"/>
                  </a:moveTo>
                  <a:cubicBezTo>
                    <a:pt x="0" y="5"/>
                    <a:pt x="6" y="11"/>
                    <a:pt x="14" y="11"/>
                  </a:cubicBezTo>
                  <a:cubicBezTo>
                    <a:pt x="11" y="5"/>
                    <a:pt x="8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99" name="Freeform 1126"/>
            <p:cNvSpPr>
              <a:spLocks noChangeArrowheads="1"/>
            </p:cNvSpPr>
            <p:nvPr/>
          </p:nvSpPr>
          <p:spPr bwMode="auto">
            <a:xfrm>
              <a:off x="4194175" y="2686050"/>
              <a:ext cx="6350" cy="1588"/>
            </a:xfrm>
            <a:custGeom>
              <a:avLst/>
              <a:gdLst>
                <a:gd name="T0" fmla="*/ 12 w 16"/>
                <a:gd name="T1" fmla="*/ 0 h 6"/>
                <a:gd name="T2" fmla="*/ 12 w 16"/>
                <a:gd name="T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6">
                  <a:moveTo>
                    <a:pt x="12" y="0"/>
                  </a:moveTo>
                  <a:cubicBezTo>
                    <a:pt x="0" y="0"/>
                    <a:pt x="15" y="5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00" name="Freeform 1127"/>
            <p:cNvSpPr>
              <a:spLocks noChangeArrowheads="1"/>
            </p:cNvSpPr>
            <p:nvPr/>
          </p:nvSpPr>
          <p:spPr bwMode="auto">
            <a:xfrm>
              <a:off x="4211638" y="2679700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01" name="Freeform 1128"/>
            <p:cNvSpPr>
              <a:spLocks noChangeArrowheads="1"/>
            </p:cNvSpPr>
            <p:nvPr/>
          </p:nvSpPr>
          <p:spPr bwMode="auto">
            <a:xfrm>
              <a:off x="4175125" y="2690813"/>
              <a:ext cx="4763" cy="3175"/>
            </a:xfrm>
            <a:custGeom>
              <a:avLst/>
              <a:gdLst>
                <a:gd name="T0" fmla="*/ 11 w 12"/>
                <a:gd name="T1" fmla="*/ 0 h 9"/>
                <a:gd name="T2" fmla="*/ 11 w 12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11" y="0"/>
                  </a:moveTo>
                  <a:cubicBezTo>
                    <a:pt x="0" y="0"/>
                    <a:pt x="11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02" name="Freeform 1129"/>
            <p:cNvSpPr>
              <a:spLocks noChangeArrowheads="1"/>
            </p:cNvSpPr>
            <p:nvPr/>
          </p:nvSpPr>
          <p:spPr bwMode="auto">
            <a:xfrm>
              <a:off x="4189413" y="2684463"/>
              <a:ext cx="4762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03" name="Freeform 1130"/>
            <p:cNvSpPr>
              <a:spLocks noChangeArrowheads="1"/>
            </p:cNvSpPr>
            <p:nvPr/>
          </p:nvSpPr>
          <p:spPr bwMode="auto">
            <a:xfrm>
              <a:off x="4178300" y="2687638"/>
              <a:ext cx="4763" cy="4762"/>
            </a:xfrm>
            <a:custGeom>
              <a:avLst/>
              <a:gdLst>
                <a:gd name="T0" fmla="*/ 3 w 12"/>
                <a:gd name="T1" fmla="*/ 11 h 12"/>
                <a:gd name="T2" fmla="*/ 11 w 12"/>
                <a:gd name="T3" fmla="*/ 0 h 12"/>
                <a:gd name="T4" fmla="*/ 3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3" y="11"/>
                  </a:moveTo>
                  <a:cubicBezTo>
                    <a:pt x="11" y="11"/>
                    <a:pt x="9" y="5"/>
                    <a:pt x="11" y="0"/>
                  </a:cubicBezTo>
                  <a:cubicBezTo>
                    <a:pt x="3" y="0"/>
                    <a:pt x="0" y="2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04" name="Freeform 1131"/>
            <p:cNvSpPr>
              <a:spLocks noChangeArrowheads="1"/>
            </p:cNvSpPr>
            <p:nvPr/>
          </p:nvSpPr>
          <p:spPr bwMode="auto">
            <a:xfrm>
              <a:off x="4144963" y="2697163"/>
              <a:ext cx="3175" cy="6350"/>
            </a:xfrm>
            <a:custGeom>
              <a:avLst/>
              <a:gdLst>
                <a:gd name="T0" fmla="*/ 8 w 9"/>
                <a:gd name="T1" fmla="*/ 5 h 18"/>
                <a:gd name="T2" fmla="*/ 8 w 9"/>
                <a:gd name="T3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5"/>
                  </a:moveTo>
                  <a:cubicBezTo>
                    <a:pt x="0" y="0"/>
                    <a:pt x="8" y="17"/>
                    <a:pt x="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05" name="Freeform 1132"/>
            <p:cNvSpPr>
              <a:spLocks noChangeArrowheads="1"/>
            </p:cNvSpPr>
            <p:nvPr/>
          </p:nvSpPr>
          <p:spPr bwMode="auto">
            <a:xfrm>
              <a:off x="4211638" y="2676525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06" name="Freeform 1133"/>
            <p:cNvSpPr>
              <a:spLocks noChangeArrowheads="1"/>
            </p:cNvSpPr>
            <p:nvPr/>
          </p:nvSpPr>
          <p:spPr bwMode="auto">
            <a:xfrm>
              <a:off x="4200525" y="2676525"/>
              <a:ext cx="6350" cy="6350"/>
            </a:xfrm>
            <a:custGeom>
              <a:avLst/>
              <a:gdLst>
                <a:gd name="T0" fmla="*/ 0 w 18"/>
                <a:gd name="T1" fmla="*/ 12 h 18"/>
                <a:gd name="T2" fmla="*/ 0 w 18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8">
                  <a:moveTo>
                    <a:pt x="0" y="12"/>
                  </a:moveTo>
                  <a:cubicBezTo>
                    <a:pt x="17" y="17"/>
                    <a:pt x="9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07" name="Freeform 1134"/>
            <p:cNvSpPr>
              <a:spLocks noChangeArrowheads="1"/>
            </p:cNvSpPr>
            <p:nvPr/>
          </p:nvSpPr>
          <p:spPr bwMode="auto">
            <a:xfrm>
              <a:off x="4176713" y="2687638"/>
              <a:ext cx="1587" cy="1587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08" name="Freeform 1135"/>
            <p:cNvSpPr>
              <a:spLocks noChangeArrowheads="1"/>
            </p:cNvSpPr>
            <p:nvPr/>
          </p:nvSpPr>
          <p:spPr bwMode="auto">
            <a:xfrm>
              <a:off x="4167188" y="2689225"/>
              <a:ext cx="4762" cy="3175"/>
            </a:xfrm>
            <a:custGeom>
              <a:avLst/>
              <a:gdLst>
                <a:gd name="T0" fmla="*/ 11 w 12"/>
                <a:gd name="T1" fmla="*/ 6 h 10"/>
                <a:gd name="T2" fmla="*/ 0 w 12"/>
                <a:gd name="T3" fmla="*/ 0 h 10"/>
                <a:gd name="T4" fmla="*/ 11 w 12"/>
                <a:gd name="T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6"/>
                  </a:moveTo>
                  <a:cubicBezTo>
                    <a:pt x="11" y="0"/>
                    <a:pt x="3" y="0"/>
                    <a:pt x="0" y="0"/>
                  </a:cubicBezTo>
                  <a:cubicBezTo>
                    <a:pt x="0" y="9"/>
                    <a:pt x="6" y="9"/>
                    <a:pt x="1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09" name="Freeform 1136"/>
            <p:cNvSpPr>
              <a:spLocks noChangeArrowheads="1"/>
            </p:cNvSpPr>
            <p:nvPr/>
          </p:nvSpPr>
          <p:spPr bwMode="auto">
            <a:xfrm>
              <a:off x="4206875" y="2673350"/>
              <a:ext cx="3175" cy="6350"/>
            </a:xfrm>
            <a:custGeom>
              <a:avLst/>
              <a:gdLst>
                <a:gd name="T0" fmla="*/ 9 w 10"/>
                <a:gd name="T1" fmla="*/ 6 h 18"/>
                <a:gd name="T2" fmla="*/ 9 w 10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6"/>
                  </a:moveTo>
                  <a:cubicBezTo>
                    <a:pt x="0" y="0"/>
                    <a:pt x="9" y="17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10" name="Freeform 1137"/>
            <p:cNvSpPr>
              <a:spLocks noChangeArrowheads="1"/>
            </p:cNvSpPr>
            <p:nvPr/>
          </p:nvSpPr>
          <p:spPr bwMode="auto">
            <a:xfrm>
              <a:off x="4176713" y="2684463"/>
              <a:ext cx="4762" cy="3175"/>
            </a:xfrm>
            <a:custGeom>
              <a:avLst/>
              <a:gdLst>
                <a:gd name="T0" fmla="*/ 11 w 12"/>
                <a:gd name="T1" fmla="*/ 0 h 9"/>
                <a:gd name="T2" fmla="*/ 11 w 12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11" y="0"/>
                  </a:moveTo>
                  <a:cubicBezTo>
                    <a:pt x="0" y="0"/>
                    <a:pt x="11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11" name="Freeform 1138"/>
            <p:cNvSpPr>
              <a:spLocks noChangeArrowheads="1"/>
            </p:cNvSpPr>
            <p:nvPr/>
          </p:nvSpPr>
          <p:spPr bwMode="auto">
            <a:xfrm>
              <a:off x="4203700" y="2670175"/>
              <a:ext cx="6350" cy="4763"/>
            </a:xfrm>
            <a:custGeom>
              <a:avLst/>
              <a:gdLst>
                <a:gd name="T0" fmla="*/ 3 w 18"/>
                <a:gd name="T1" fmla="*/ 8 h 12"/>
                <a:gd name="T2" fmla="*/ 17 w 18"/>
                <a:gd name="T3" fmla="*/ 0 h 12"/>
                <a:gd name="T4" fmla="*/ 3 w 18"/>
                <a:gd name="T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3" y="8"/>
                  </a:moveTo>
                  <a:cubicBezTo>
                    <a:pt x="8" y="11"/>
                    <a:pt x="14" y="5"/>
                    <a:pt x="17" y="0"/>
                  </a:cubicBezTo>
                  <a:cubicBezTo>
                    <a:pt x="11" y="2"/>
                    <a:pt x="0" y="2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12" name="Freeform 1139"/>
            <p:cNvSpPr>
              <a:spLocks noChangeArrowheads="1"/>
            </p:cNvSpPr>
            <p:nvPr/>
          </p:nvSpPr>
          <p:spPr bwMode="auto">
            <a:xfrm>
              <a:off x="4170363" y="2692400"/>
              <a:ext cx="3175" cy="4763"/>
            </a:xfrm>
            <a:custGeom>
              <a:avLst/>
              <a:gdLst>
                <a:gd name="T0" fmla="*/ 8 w 9"/>
                <a:gd name="T1" fmla="*/ 8 h 12"/>
                <a:gd name="T2" fmla="*/ 8 w 9"/>
                <a:gd name="T3" fmla="*/ 5 h 12"/>
                <a:gd name="T4" fmla="*/ 5 w 9"/>
                <a:gd name="T5" fmla="*/ 2 h 12"/>
                <a:gd name="T6" fmla="*/ 8 w 9"/>
                <a:gd name="T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8"/>
                  </a:moveTo>
                  <a:cubicBezTo>
                    <a:pt x="8" y="8"/>
                    <a:pt x="5" y="5"/>
                    <a:pt x="8" y="5"/>
                  </a:cubicBezTo>
                  <a:lnTo>
                    <a:pt x="5" y="2"/>
                  </a:lnTo>
                  <a:cubicBezTo>
                    <a:pt x="0" y="0"/>
                    <a:pt x="5" y="11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13" name="Freeform 1140"/>
            <p:cNvSpPr>
              <a:spLocks noChangeArrowheads="1"/>
            </p:cNvSpPr>
            <p:nvPr/>
          </p:nvSpPr>
          <p:spPr bwMode="auto">
            <a:xfrm>
              <a:off x="4171950" y="2682875"/>
              <a:ext cx="4763" cy="4763"/>
            </a:xfrm>
            <a:custGeom>
              <a:avLst/>
              <a:gdLst>
                <a:gd name="T0" fmla="*/ 3 w 15"/>
                <a:gd name="T1" fmla="*/ 12 h 13"/>
                <a:gd name="T2" fmla="*/ 3 w 15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3" y="12"/>
                  </a:moveTo>
                  <a:cubicBezTo>
                    <a:pt x="14" y="3"/>
                    <a:pt x="0" y="0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14" name="Freeform 1141"/>
            <p:cNvSpPr>
              <a:spLocks noChangeArrowheads="1"/>
            </p:cNvSpPr>
            <p:nvPr/>
          </p:nvSpPr>
          <p:spPr bwMode="auto">
            <a:xfrm>
              <a:off x="4175125" y="2684463"/>
              <a:ext cx="1588" cy="4762"/>
            </a:xfrm>
            <a:custGeom>
              <a:avLst/>
              <a:gdLst>
                <a:gd name="T0" fmla="*/ 5 w 6"/>
                <a:gd name="T1" fmla="*/ 9 h 15"/>
                <a:gd name="T2" fmla="*/ 5 w 6"/>
                <a:gd name="T3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5">
                  <a:moveTo>
                    <a:pt x="5" y="9"/>
                  </a:moveTo>
                  <a:cubicBezTo>
                    <a:pt x="0" y="0"/>
                    <a:pt x="0" y="14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15" name="Freeform 1142"/>
            <p:cNvSpPr>
              <a:spLocks noChangeArrowheads="1"/>
            </p:cNvSpPr>
            <p:nvPr/>
          </p:nvSpPr>
          <p:spPr bwMode="auto">
            <a:xfrm>
              <a:off x="4178300" y="2689225"/>
              <a:ext cx="4763" cy="6350"/>
            </a:xfrm>
            <a:custGeom>
              <a:avLst/>
              <a:gdLst>
                <a:gd name="T0" fmla="*/ 3 w 12"/>
                <a:gd name="T1" fmla="*/ 0 h 18"/>
                <a:gd name="T2" fmla="*/ 3 w 12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3" y="0"/>
                  </a:moveTo>
                  <a:cubicBezTo>
                    <a:pt x="0" y="17"/>
                    <a:pt x="11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16" name="Freeform 1143"/>
            <p:cNvSpPr>
              <a:spLocks noChangeArrowheads="1"/>
            </p:cNvSpPr>
            <p:nvPr/>
          </p:nvSpPr>
          <p:spPr bwMode="auto">
            <a:xfrm>
              <a:off x="4276725" y="2654300"/>
              <a:ext cx="4763" cy="1588"/>
            </a:xfrm>
            <a:custGeom>
              <a:avLst/>
              <a:gdLst>
                <a:gd name="T0" fmla="*/ 8 w 12"/>
                <a:gd name="T1" fmla="*/ 0 h 6"/>
                <a:gd name="T2" fmla="*/ 8 w 12"/>
                <a:gd name="T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6">
                  <a:moveTo>
                    <a:pt x="8" y="0"/>
                  </a:moveTo>
                  <a:cubicBezTo>
                    <a:pt x="0" y="0"/>
                    <a:pt x="11" y="5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17" name="Freeform 1144"/>
            <p:cNvSpPr>
              <a:spLocks noChangeArrowheads="1"/>
            </p:cNvSpPr>
            <p:nvPr/>
          </p:nvSpPr>
          <p:spPr bwMode="auto">
            <a:xfrm>
              <a:off x="4267200" y="2654300"/>
              <a:ext cx="1588" cy="6350"/>
            </a:xfrm>
            <a:custGeom>
              <a:avLst/>
              <a:gdLst>
                <a:gd name="T0" fmla="*/ 5 w 6"/>
                <a:gd name="T1" fmla="*/ 5 h 17"/>
                <a:gd name="T2" fmla="*/ 5 w 6"/>
                <a:gd name="T3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7">
                  <a:moveTo>
                    <a:pt x="5" y="5"/>
                  </a:moveTo>
                  <a:cubicBezTo>
                    <a:pt x="0" y="0"/>
                    <a:pt x="2" y="16"/>
                    <a:pt x="5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18" name="Freeform 1145"/>
            <p:cNvSpPr>
              <a:spLocks noChangeArrowheads="1"/>
            </p:cNvSpPr>
            <p:nvPr/>
          </p:nvSpPr>
          <p:spPr bwMode="auto">
            <a:xfrm>
              <a:off x="4251325" y="2654300"/>
              <a:ext cx="4763" cy="3175"/>
            </a:xfrm>
            <a:custGeom>
              <a:avLst/>
              <a:gdLst>
                <a:gd name="T0" fmla="*/ 0 w 13"/>
                <a:gd name="T1" fmla="*/ 3 h 10"/>
                <a:gd name="T2" fmla="*/ 9 w 13"/>
                <a:gd name="T3" fmla="*/ 9 h 10"/>
                <a:gd name="T4" fmla="*/ 0 w 13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0" y="3"/>
                  </a:moveTo>
                  <a:cubicBezTo>
                    <a:pt x="0" y="6"/>
                    <a:pt x="3" y="9"/>
                    <a:pt x="9" y="9"/>
                  </a:cubicBezTo>
                  <a:cubicBezTo>
                    <a:pt x="12" y="3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19" name="Freeform 1146"/>
            <p:cNvSpPr>
              <a:spLocks noChangeArrowheads="1"/>
            </p:cNvSpPr>
            <p:nvPr/>
          </p:nvSpPr>
          <p:spPr bwMode="auto">
            <a:xfrm>
              <a:off x="4240213" y="2659063"/>
              <a:ext cx="6350" cy="3175"/>
            </a:xfrm>
            <a:custGeom>
              <a:avLst/>
              <a:gdLst>
                <a:gd name="T0" fmla="*/ 15 w 16"/>
                <a:gd name="T1" fmla="*/ 0 h 10"/>
                <a:gd name="T2" fmla="*/ 15 w 16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0">
                  <a:moveTo>
                    <a:pt x="15" y="0"/>
                  </a:moveTo>
                  <a:cubicBezTo>
                    <a:pt x="0" y="0"/>
                    <a:pt x="15" y="9"/>
                    <a:pt x="1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20" name="Freeform 1147"/>
            <p:cNvSpPr>
              <a:spLocks noChangeArrowheads="1"/>
            </p:cNvSpPr>
            <p:nvPr/>
          </p:nvSpPr>
          <p:spPr bwMode="auto">
            <a:xfrm>
              <a:off x="4235450" y="2655888"/>
              <a:ext cx="3175" cy="6350"/>
            </a:xfrm>
            <a:custGeom>
              <a:avLst/>
              <a:gdLst>
                <a:gd name="T0" fmla="*/ 9 w 10"/>
                <a:gd name="T1" fmla="*/ 8 h 18"/>
                <a:gd name="T2" fmla="*/ 9 w 10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8"/>
                  </a:moveTo>
                  <a:cubicBezTo>
                    <a:pt x="0" y="0"/>
                    <a:pt x="9" y="17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21" name="Freeform 1148"/>
            <p:cNvSpPr>
              <a:spLocks noChangeArrowheads="1"/>
            </p:cNvSpPr>
            <p:nvPr/>
          </p:nvSpPr>
          <p:spPr bwMode="auto">
            <a:xfrm>
              <a:off x="4217988" y="2662238"/>
              <a:ext cx="4762" cy="4762"/>
            </a:xfrm>
            <a:custGeom>
              <a:avLst/>
              <a:gdLst>
                <a:gd name="T0" fmla="*/ 3 w 15"/>
                <a:gd name="T1" fmla="*/ 0 h 12"/>
                <a:gd name="T2" fmla="*/ 14 w 15"/>
                <a:gd name="T3" fmla="*/ 11 h 12"/>
                <a:gd name="T4" fmla="*/ 3 w 15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3" y="0"/>
                  </a:moveTo>
                  <a:cubicBezTo>
                    <a:pt x="0" y="6"/>
                    <a:pt x="6" y="11"/>
                    <a:pt x="14" y="11"/>
                  </a:cubicBezTo>
                  <a:cubicBezTo>
                    <a:pt x="11" y="6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22" name="Freeform 1149"/>
            <p:cNvSpPr>
              <a:spLocks noChangeArrowheads="1"/>
            </p:cNvSpPr>
            <p:nvPr/>
          </p:nvSpPr>
          <p:spPr bwMode="auto">
            <a:xfrm>
              <a:off x="4260850" y="2649538"/>
              <a:ext cx="4763" cy="3175"/>
            </a:xfrm>
            <a:custGeom>
              <a:avLst/>
              <a:gdLst>
                <a:gd name="T0" fmla="*/ 11 w 15"/>
                <a:gd name="T1" fmla="*/ 0 h 7"/>
                <a:gd name="T2" fmla="*/ 11 w 15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7">
                  <a:moveTo>
                    <a:pt x="11" y="0"/>
                  </a:moveTo>
                  <a:cubicBezTo>
                    <a:pt x="0" y="0"/>
                    <a:pt x="14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23" name="Freeform 1150"/>
            <p:cNvSpPr>
              <a:spLocks noChangeArrowheads="1"/>
            </p:cNvSpPr>
            <p:nvPr/>
          </p:nvSpPr>
          <p:spPr bwMode="auto">
            <a:xfrm>
              <a:off x="4278313" y="2644775"/>
              <a:ext cx="1587" cy="1588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0" y="0"/>
                    <a:pt x="2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24" name="Freeform 1151"/>
            <p:cNvSpPr>
              <a:spLocks noChangeArrowheads="1"/>
            </p:cNvSpPr>
            <p:nvPr/>
          </p:nvSpPr>
          <p:spPr bwMode="auto">
            <a:xfrm>
              <a:off x="4241800" y="2655888"/>
              <a:ext cx="4763" cy="3175"/>
            </a:xfrm>
            <a:custGeom>
              <a:avLst/>
              <a:gdLst>
                <a:gd name="T0" fmla="*/ 11 w 12"/>
                <a:gd name="T1" fmla="*/ 0 h 7"/>
                <a:gd name="T2" fmla="*/ 11 w 12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0" y="0"/>
                    <a:pt x="11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25" name="Freeform 1152"/>
            <p:cNvSpPr>
              <a:spLocks noChangeArrowheads="1"/>
            </p:cNvSpPr>
            <p:nvPr/>
          </p:nvSpPr>
          <p:spPr bwMode="auto">
            <a:xfrm>
              <a:off x="4257675" y="2649538"/>
              <a:ext cx="6350" cy="3175"/>
            </a:xfrm>
            <a:custGeom>
              <a:avLst/>
              <a:gdLst>
                <a:gd name="T0" fmla="*/ 12 w 16"/>
                <a:gd name="T1" fmla="*/ 0 h 10"/>
                <a:gd name="T2" fmla="*/ 12 w 16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0">
                  <a:moveTo>
                    <a:pt x="12" y="0"/>
                  </a:moveTo>
                  <a:cubicBezTo>
                    <a:pt x="0" y="0"/>
                    <a:pt x="15" y="9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26" name="Freeform 1153"/>
            <p:cNvSpPr>
              <a:spLocks noChangeArrowheads="1"/>
            </p:cNvSpPr>
            <p:nvPr/>
          </p:nvSpPr>
          <p:spPr bwMode="auto">
            <a:xfrm>
              <a:off x="4246563" y="2649538"/>
              <a:ext cx="4762" cy="4762"/>
            </a:xfrm>
            <a:custGeom>
              <a:avLst/>
              <a:gdLst>
                <a:gd name="T0" fmla="*/ 3 w 13"/>
                <a:gd name="T1" fmla="*/ 11 h 12"/>
                <a:gd name="T2" fmla="*/ 12 w 13"/>
                <a:gd name="T3" fmla="*/ 0 h 12"/>
                <a:gd name="T4" fmla="*/ 3 w 13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3" y="11"/>
                  </a:moveTo>
                  <a:cubicBezTo>
                    <a:pt x="12" y="11"/>
                    <a:pt x="9" y="6"/>
                    <a:pt x="12" y="0"/>
                  </a:cubicBezTo>
                  <a:cubicBezTo>
                    <a:pt x="3" y="3"/>
                    <a:pt x="0" y="6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27" name="Freeform 1154"/>
            <p:cNvSpPr>
              <a:spLocks noChangeArrowheads="1"/>
            </p:cNvSpPr>
            <p:nvPr/>
          </p:nvSpPr>
          <p:spPr bwMode="auto">
            <a:xfrm>
              <a:off x="4211638" y="2662238"/>
              <a:ext cx="3175" cy="6350"/>
            </a:xfrm>
            <a:custGeom>
              <a:avLst/>
              <a:gdLst>
                <a:gd name="T0" fmla="*/ 9 w 10"/>
                <a:gd name="T1" fmla="*/ 6 h 18"/>
                <a:gd name="T2" fmla="*/ 9 w 10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6"/>
                  </a:moveTo>
                  <a:cubicBezTo>
                    <a:pt x="0" y="0"/>
                    <a:pt x="6" y="17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28" name="Freeform 1155"/>
            <p:cNvSpPr>
              <a:spLocks noChangeArrowheads="1"/>
            </p:cNvSpPr>
            <p:nvPr/>
          </p:nvSpPr>
          <p:spPr bwMode="auto">
            <a:xfrm>
              <a:off x="4268788" y="2641600"/>
              <a:ext cx="6350" cy="6350"/>
            </a:xfrm>
            <a:custGeom>
              <a:avLst/>
              <a:gdLst>
                <a:gd name="T0" fmla="*/ 0 w 18"/>
                <a:gd name="T1" fmla="*/ 11 h 18"/>
                <a:gd name="T2" fmla="*/ 0 w 18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8">
                  <a:moveTo>
                    <a:pt x="0" y="11"/>
                  </a:moveTo>
                  <a:cubicBezTo>
                    <a:pt x="17" y="17"/>
                    <a:pt x="9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29" name="Freeform 1156"/>
            <p:cNvSpPr>
              <a:spLocks noChangeArrowheads="1"/>
            </p:cNvSpPr>
            <p:nvPr/>
          </p:nvSpPr>
          <p:spPr bwMode="auto">
            <a:xfrm>
              <a:off x="4235450" y="2654300"/>
              <a:ext cx="4763" cy="3175"/>
            </a:xfrm>
            <a:custGeom>
              <a:avLst/>
              <a:gdLst>
                <a:gd name="T0" fmla="*/ 12 w 13"/>
                <a:gd name="T1" fmla="*/ 5 h 9"/>
                <a:gd name="T2" fmla="*/ 0 w 13"/>
                <a:gd name="T3" fmla="*/ 0 h 9"/>
                <a:gd name="T4" fmla="*/ 12 w 13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9">
                  <a:moveTo>
                    <a:pt x="12" y="5"/>
                  </a:moveTo>
                  <a:cubicBezTo>
                    <a:pt x="12" y="0"/>
                    <a:pt x="3" y="0"/>
                    <a:pt x="0" y="0"/>
                  </a:cubicBezTo>
                  <a:cubicBezTo>
                    <a:pt x="0" y="8"/>
                    <a:pt x="6" y="8"/>
                    <a:pt x="12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30" name="Freeform 1157"/>
            <p:cNvSpPr>
              <a:spLocks noChangeArrowheads="1"/>
            </p:cNvSpPr>
            <p:nvPr/>
          </p:nvSpPr>
          <p:spPr bwMode="auto">
            <a:xfrm>
              <a:off x="4273550" y="2636838"/>
              <a:ext cx="3175" cy="6350"/>
            </a:xfrm>
            <a:custGeom>
              <a:avLst/>
              <a:gdLst>
                <a:gd name="T0" fmla="*/ 9 w 10"/>
                <a:gd name="T1" fmla="*/ 8 h 17"/>
                <a:gd name="T2" fmla="*/ 9 w 10"/>
                <a:gd name="T3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7">
                  <a:moveTo>
                    <a:pt x="9" y="8"/>
                  </a:moveTo>
                  <a:cubicBezTo>
                    <a:pt x="0" y="0"/>
                    <a:pt x="9" y="16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31" name="Freeform 1158"/>
            <p:cNvSpPr>
              <a:spLocks noChangeArrowheads="1"/>
            </p:cNvSpPr>
            <p:nvPr/>
          </p:nvSpPr>
          <p:spPr bwMode="auto">
            <a:xfrm>
              <a:off x="4243388" y="2649538"/>
              <a:ext cx="4762" cy="3175"/>
            </a:xfrm>
            <a:custGeom>
              <a:avLst/>
              <a:gdLst>
                <a:gd name="T0" fmla="*/ 11 w 12"/>
                <a:gd name="T1" fmla="*/ 0 h 7"/>
                <a:gd name="T2" fmla="*/ 11 w 12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0" y="0"/>
                    <a:pt x="11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32" name="Freeform 1159"/>
            <p:cNvSpPr>
              <a:spLocks noChangeArrowheads="1"/>
            </p:cNvSpPr>
            <p:nvPr/>
          </p:nvSpPr>
          <p:spPr bwMode="auto">
            <a:xfrm>
              <a:off x="4270375" y="2633663"/>
              <a:ext cx="4763" cy="4762"/>
            </a:xfrm>
            <a:custGeom>
              <a:avLst/>
              <a:gdLst>
                <a:gd name="T0" fmla="*/ 0 w 15"/>
                <a:gd name="T1" fmla="*/ 9 h 12"/>
                <a:gd name="T2" fmla="*/ 14 w 15"/>
                <a:gd name="T3" fmla="*/ 0 h 12"/>
                <a:gd name="T4" fmla="*/ 0 w 15"/>
                <a:gd name="T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0" y="9"/>
                  </a:moveTo>
                  <a:cubicBezTo>
                    <a:pt x="6" y="11"/>
                    <a:pt x="11" y="6"/>
                    <a:pt x="14" y="0"/>
                  </a:cubicBezTo>
                  <a:cubicBezTo>
                    <a:pt x="11" y="6"/>
                    <a:pt x="0" y="3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33" name="Freeform 1160"/>
            <p:cNvSpPr>
              <a:spLocks noChangeArrowheads="1"/>
            </p:cNvSpPr>
            <p:nvPr/>
          </p:nvSpPr>
          <p:spPr bwMode="auto">
            <a:xfrm>
              <a:off x="4237038" y="2657475"/>
              <a:ext cx="3175" cy="4763"/>
            </a:xfrm>
            <a:custGeom>
              <a:avLst/>
              <a:gdLst>
                <a:gd name="T0" fmla="*/ 8 w 9"/>
                <a:gd name="T1" fmla="*/ 8 h 12"/>
                <a:gd name="T2" fmla="*/ 8 w 9"/>
                <a:gd name="T3" fmla="*/ 5 h 12"/>
                <a:gd name="T4" fmla="*/ 6 w 9"/>
                <a:gd name="T5" fmla="*/ 0 h 12"/>
                <a:gd name="T6" fmla="*/ 8 w 9"/>
                <a:gd name="T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8"/>
                  </a:moveTo>
                  <a:cubicBezTo>
                    <a:pt x="8" y="8"/>
                    <a:pt x="6" y="5"/>
                    <a:pt x="8" y="5"/>
                  </a:cubicBezTo>
                  <a:lnTo>
                    <a:pt x="6" y="0"/>
                  </a:lnTo>
                  <a:cubicBezTo>
                    <a:pt x="0" y="0"/>
                    <a:pt x="6" y="11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34" name="Freeform 1161"/>
            <p:cNvSpPr>
              <a:spLocks noChangeArrowheads="1"/>
            </p:cNvSpPr>
            <p:nvPr/>
          </p:nvSpPr>
          <p:spPr bwMode="auto">
            <a:xfrm>
              <a:off x="4238625" y="2647950"/>
              <a:ext cx="6350" cy="4763"/>
            </a:xfrm>
            <a:custGeom>
              <a:avLst/>
              <a:gdLst>
                <a:gd name="T0" fmla="*/ 5 w 18"/>
                <a:gd name="T1" fmla="*/ 11 h 12"/>
                <a:gd name="T2" fmla="*/ 5 w 18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5" y="11"/>
                  </a:moveTo>
                  <a:cubicBezTo>
                    <a:pt x="17" y="2"/>
                    <a:pt x="0" y="0"/>
                    <a:pt x="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35" name="Freeform 1162"/>
            <p:cNvSpPr>
              <a:spLocks noChangeArrowheads="1"/>
            </p:cNvSpPr>
            <p:nvPr/>
          </p:nvSpPr>
          <p:spPr bwMode="auto">
            <a:xfrm>
              <a:off x="4241800" y="2647950"/>
              <a:ext cx="3175" cy="6350"/>
            </a:xfrm>
            <a:custGeom>
              <a:avLst/>
              <a:gdLst>
                <a:gd name="T0" fmla="*/ 6 w 7"/>
                <a:gd name="T1" fmla="*/ 9 h 16"/>
                <a:gd name="T2" fmla="*/ 6 w 7"/>
                <a:gd name="T3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6">
                  <a:moveTo>
                    <a:pt x="6" y="9"/>
                  </a:moveTo>
                  <a:cubicBezTo>
                    <a:pt x="0" y="0"/>
                    <a:pt x="0" y="15"/>
                    <a:pt x="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36" name="Freeform 1163"/>
            <p:cNvSpPr>
              <a:spLocks noChangeArrowheads="1"/>
            </p:cNvSpPr>
            <p:nvPr/>
          </p:nvSpPr>
          <p:spPr bwMode="auto">
            <a:xfrm>
              <a:off x="4246563" y="2654300"/>
              <a:ext cx="4762" cy="6350"/>
            </a:xfrm>
            <a:custGeom>
              <a:avLst/>
              <a:gdLst>
                <a:gd name="T0" fmla="*/ 3 w 13"/>
                <a:gd name="T1" fmla="*/ 0 h 18"/>
                <a:gd name="T2" fmla="*/ 3 w 13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3" y="0"/>
                  </a:moveTo>
                  <a:cubicBezTo>
                    <a:pt x="0" y="17"/>
                    <a:pt x="12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37" name="Freeform 1164"/>
            <p:cNvSpPr>
              <a:spLocks noChangeArrowheads="1"/>
            </p:cNvSpPr>
            <p:nvPr/>
          </p:nvSpPr>
          <p:spPr bwMode="auto">
            <a:xfrm>
              <a:off x="4294188" y="2679700"/>
              <a:ext cx="4762" cy="3175"/>
            </a:xfrm>
            <a:custGeom>
              <a:avLst/>
              <a:gdLst>
                <a:gd name="T0" fmla="*/ 11 w 12"/>
                <a:gd name="T1" fmla="*/ 0 h 7"/>
                <a:gd name="T2" fmla="*/ 11 w 12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0" y="0"/>
                    <a:pt x="11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38" name="Freeform 1165"/>
            <p:cNvSpPr>
              <a:spLocks noChangeArrowheads="1"/>
            </p:cNvSpPr>
            <p:nvPr/>
          </p:nvSpPr>
          <p:spPr bwMode="auto">
            <a:xfrm>
              <a:off x="4284663" y="2679700"/>
              <a:ext cx="3175" cy="6350"/>
            </a:xfrm>
            <a:custGeom>
              <a:avLst/>
              <a:gdLst>
                <a:gd name="T0" fmla="*/ 6 w 7"/>
                <a:gd name="T1" fmla="*/ 6 h 18"/>
                <a:gd name="T2" fmla="*/ 6 w 7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6" y="6"/>
                  </a:moveTo>
                  <a:cubicBezTo>
                    <a:pt x="0" y="0"/>
                    <a:pt x="3" y="17"/>
                    <a:pt x="6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39" name="Freeform 1166"/>
            <p:cNvSpPr>
              <a:spLocks noChangeArrowheads="1"/>
            </p:cNvSpPr>
            <p:nvPr/>
          </p:nvSpPr>
          <p:spPr bwMode="auto">
            <a:xfrm>
              <a:off x="4271963" y="2681288"/>
              <a:ext cx="3175" cy="3175"/>
            </a:xfrm>
            <a:custGeom>
              <a:avLst/>
              <a:gdLst>
                <a:gd name="T0" fmla="*/ 0 w 9"/>
                <a:gd name="T1" fmla="*/ 3 h 9"/>
                <a:gd name="T2" fmla="*/ 8 w 9"/>
                <a:gd name="T3" fmla="*/ 8 h 9"/>
                <a:gd name="T4" fmla="*/ 0 w 9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0" y="3"/>
                  </a:moveTo>
                  <a:cubicBezTo>
                    <a:pt x="0" y="5"/>
                    <a:pt x="3" y="8"/>
                    <a:pt x="8" y="8"/>
                  </a:cubicBezTo>
                  <a:cubicBezTo>
                    <a:pt x="8" y="3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40" name="Freeform 1167"/>
            <p:cNvSpPr>
              <a:spLocks noChangeArrowheads="1"/>
            </p:cNvSpPr>
            <p:nvPr/>
          </p:nvSpPr>
          <p:spPr bwMode="auto">
            <a:xfrm>
              <a:off x="4257675" y="2686050"/>
              <a:ext cx="4763" cy="3175"/>
            </a:xfrm>
            <a:custGeom>
              <a:avLst/>
              <a:gdLst>
                <a:gd name="T0" fmla="*/ 14 w 15"/>
                <a:gd name="T1" fmla="*/ 0 h 9"/>
                <a:gd name="T2" fmla="*/ 14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4" y="0"/>
                  </a:moveTo>
                  <a:cubicBezTo>
                    <a:pt x="0" y="0"/>
                    <a:pt x="14" y="8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41" name="Freeform 1168"/>
            <p:cNvSpPr>
              <a:spLocks noChangeArrowheads="1"/>
            </p:cNvSpPr>
            <p:nvPr/>
          </p:nvSpPr>
          <p:spPr bwMode="auto">
            <a:xfrm>
              <a:off x="4252913" y="2682875"/>
              <a:ext cx="4762" cy="6350"/>
            </a:xfrm>
            <a:custGeom>
              <a:avLst/>
              <a:gdLst>
                <a:gd name="T0" fmla="*/ 11 w 12"/>
                <a:gd name="T1" fmla="*/ 9 h 18"/>
                <a:gd name="T2" fmla="*/ 11 w 12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11" y="9"/>
                  </a:moveTo>
                  <a:cubicBezTo>
                    <a:pt x="0" y="0"/>
                    <a:pt x="9" y="17"/>
                    <a:pt x="11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42" name="Freeform 1169"/>
            <p:cNvSpPr>
              <a:spLocks noChangeArrowheads="1"/>
            </p:cNvSpPr>
            <p:nvPr/>
          </p:nvSpPr>
          <p:spPr bwMode="auto">
            <a:xfrm>
              <a:off x="4237038" y="2687638"/>
              <a:ext cx="4762" cy="4762"/>
            </a:xfrm>
            <a:custGeom>
              <a:avLst/>
              <a:gdLst>
                <a:gd name="T0" fmla="*/ 3 w 15"/>
                <a:gd name="T1" fmla="*/ 0 h 13"/>
                <a:gd name="T2" fmla="*/ 14 w 15"/>
                <a:gd name="T3" fmla="*/ 12 h 13"/>
                <a:gd name="T4" fmla="*/ 3 w 15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3" y="0"/>
                  </a:moveTo>
                  <a:cubicBezTo>
                    <a:pt x="0" y="6"/>
                    <a:pt x="6" y="12"/>
                    <a:pt x="14" y="12"/>
                  </a:cubicBezTo>
                  <a:cubicBezTo>
                    <a:pt x="11" y="6"/>
                    <a:pt x="8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43" name="Freeform 1170"/>
            <p:cNvSpPr>
              <a:spLocks noChangeArrowheads="1"/>
            </p:cNvSpPr>
            <p:nvPr/>
          </p:nvSpPr>
          <p:spPr bwMode="auto">
            <a:xfrm>
              <a:off x="4279900" y="2676525"/>
              <a:ext cx="6350" cy="3175"/>
            </a:xfrm>
            <a:custGeom>
              <a:avLst/>
              <a:gdLst>
                <a:gd name="T0" fmla="*/ 12 w 16"/>
                <a:gd name="T1" fmla="*/ 0 h 7"/>
                <a:gd name="T2" fmla="*/ 12 w 16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7">
                  <a:moveTo>
                    <a:pt x="12" y="0"/>
                  </a:moveTo>
                  <a:cubicBezTo>
                    <a:pt x="0" y="0"/>
                    <a:pt x="15" y="6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44" name="Freeform 1171"/>
            <p:cNvSpPr>
              <a:spLocks noChangeArrowheads="1"/>
            </p:cNvSpPr>
            <p:nvPr/>
          </p:nvSpPr>
          <p:spPr bwMode="auto">
            <a:xfrm>
              <a:off x="4297363" y="2670175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45" name="Freeform 1172"/>
            <p:cNvSpPr>
              <a:spLocks noChangeArrowheads="1"/>
            </p:cNvSpPr>
            <p:nvPr/>
          </p:nvSpPr>
          <p:spPr bwMode="auto">
            <a:xfrm>
              <a:off x="4260850" y="2681288"/>
              <a:ext cx="4763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46" name="Freeform 1173"/>
            <p:cNvSpPr>
              <a:spLocks noChangeArrowheads="1"/>
            </p:cNvSpPr>
            <p:nvPr/>
          </p:nvSpPr>
          <p:spPr bwMode="auto">
            <a:xfrm>
              <a:off x="4275138" y="2676525"/>
              <a:ext cx="4762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47" name="Freeform 1174"/>
            <p:cNvSpPr>
              <a:spLocks noChangeArrowheads="1"/>
            </p:cNvSpPr>
            <p:nvPr/>
          </p:nvSpPr>
          <p:spPr bwMode="auto">
            <a:xfrm>
              <a:off x="4264025" y="2678113"/>
              <a:ext cx="4763" cy="4762"/>
            </a:xfrm>
            <a:custGeom>
              <a:avLst/>
              <a:gdLst>
                <a:gd name="T0" fmla="*/ 3 w 12"/>
                <a:gd name="T1" fmla="*/ 12 h 13"/>
                <a:gd name="T2" fmla="*/ 11 w 12"/>
                <a:gd name="T3" fmla="*/ 0 h 13"/>
                <a:gd name="T4" fmla="*/ 3 w 12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3">
                  <a:moveTo>
                    <a:pt x="3" y="12"/>
                  </a:moveTo>
                  <a:cubicBezTo>
                    <a:pt x="11" y="12"/>
                    <a:pt x="9" y="6"/>
                    <a:pt x="11" y="0"/>
                  </a:cubicBezTo>
                  <a:cubicBezTo>
                    <a:pt x="3" y="0"/>
                    <a:pt x="0" y="3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48" name="Freeform 1175"/>
            <p:cNvSpPr>
              <a:spLocks noChangeArrowheads="1"/>
            </p:cNvSpPr>
            <p:nvPr/>
          </p:nvSpPr>
          <p:spPr bwMode="auto">
            <a:xfrm>
              <a:off x="4230688" y="2687638"/>
              <a:ext cx="3175" cy="6350"/>
            </a:xfrm>
            <a:custGeom>
              <a:avLst/>
              <a:gdLst>
                <a:gd name="T0" fmla="*/ 9 w 10"/>
                <a:gd name="T1" fmla="*/ 6 h 18"/>
                <a:gd name="T2" fmla="*/ 9 w 10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6"/>
                  </a:moveTo>
                  <a:cubicBezTo>
                    <a:pt x="0" y="0"/>
                    <a:pt x="9" y="17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49" name="Freeform 1176"/>
            <p:cNvSpPr>
              <a:spLocks noChangeArrowheads="1"/>
            </p:cNvSpPr>
            <p:nvPr/>
          </p:nvSpPr>
          <p:spPr bwMode="auto">
            <a:xfrm>
              <a:off x="4297363" y="2667000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50" name="Freeform 1177"/>
            <p:cNvSpPr>
              <a:spLocks noChangeArrowheads="1"/>
            </p:cNvSpPr>
            <p:nvPr/>
          </p:nvSpPr>
          <p:spPr bwMode="auto">
            <a:xfrm>
              <a:off x="4287838" y="2667000"/>
              <a:ext cx="4762" cy="6350"/>
            </a:xfrm>
            <a:custGeom>
              <a:avLst/>
              <a:gdLst>
                <a:gd name="T0" fmla="*/ 0 w 15"/>
                <a:gd name="T1" fmla="*/ 11 h 18"/>
                <a:gd name="T2" fmla="*/ 0 w 15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0" y="11"/>
                  </a:moveTo>
                  <a:cubicBezTo>
                    <a:pt x="14" y="17"/>
                    <a:pt x="6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51" name="Freeform 1178"/>
            <p:cNvSpPr>
              <a:spLocks noChangeArrowheads="1"/>
            </p:cNvSpPr>
            <p:nvPr/>
          </p:nvSpPr>
          <p:spPr bwMode="auto">
            <a:xfrm>
              <a:off x="4262438" y="2678113"/>
              <a:ext cx="1587" cy="1587"/>
            </a:xfrm>
            <a:custGeom>
              <a:avLst/>
              <a:gdLst>
                <a:gd name="T0" fmla="*/ 2 w 6"/>
                <a:gd name="T1" fmla="*/ 0 h 4"/>
                <a:gd name="T2" fmla="*/ 2 w 6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4">
                  <a:moveTo>
                    <a:pt x="2" y="0"/>
                  </a:moveTo>
                  <a:cubicBezTo>
                    <a:pt x="0" y="0"/>
                    <a:pt x="5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52" name="Freeform 1179"/>
            <p:cNvSpPr>
              <a:spLocks noChangeArrowheads="1"/>
            </p:cNvSpPr>
            <p:nvPr/>
          </p:nvSpPr>
          <p:spPr bwMode="auto">
            <a:xfrm>
              <a:off x="4252913" y="2679700"/>
              <a:ext cx="4762" cy="3175"/>
            </a:xfrm>
            <a:custGeom>
              <a:avLst/>
              <a:gdLst>
                <a:gd name="T0" fmla="*/ 11 w 12"/>
                <a:gd name="T1" fmla="*/ 6 h 9"/>
                <a:gd name="T2" fmla="*/ 0 w 12"/>
                <a:gd name="T3" fmla="*/ 0 h 9"/>
                <a:gd name="T4" fmla="*/ 11 w 12"/>
                <a:gd name="T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11" y="6"/>
                  </a:moveTo>
                  <a:cubicBezTo>
                    <a:pt x="11" y="0"/>
                    <a:pt x="3" y="0"/>
                    <a:pt x="0" y="0"/>
                  </a:cubicBezTo>
                  <a:cubicBezTo>
                    <a:pt x="0" y="8"/>
                    <a:pt x="6" y="8"/>
                    <a:pt x="1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53" name="Freeform 1180"/>
            <p:cNvSpPr>
              <a:spLocks noChangeArrowheads="1"/>
            </p:cNvSpPr>
            <p:nvPr/>
          </p:nvSpPr>
          <p:spPr bwMode="auto">
            <a:xfrm>
              <a:off x="4292600" y="2663825"/>
              <a:ext cx="3175" cy="4763"/>
            </a:xfrm>
            <a:custGeom>
              <a:avLst/>
              <a:gdLst>
                <a:gd name="T0" fmla="*/ 9 w 10"/>
                <a:gd name="T1" fmla="*/ 5 h 15"/>
                <a:gd name="T2" fmla="*/ 9 w 10"/>
                <a:gd name="T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9" y="5"/>
                  </a:moveTo>
                  <a:cubicBezTo>
                    <a:pt x="0" y="0"/>
                    <a:pt x="9" y="14"/>
                    <a:pt x="9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54" name="Freeform 1181"/>
            <p:cNvSpPr>
              <a:spLocks noChangeArrowheads="1"/>
            </p:cNvSpPr>
            <p:nvPr/>
          </p:nvSpPr>
          <p:spPr bwMode="auto">
            <a:xfrm>
              <a:off x="4260850" y="2676525"/>
              <a:ext cx="4763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55" name="Freeform 1182"/>
            <p:cNvSpPr>
              <a:spLocks noChangeArrowheads="1"/>
            </p:cNvSpPr>
            <p:nvPr/>
          </p:nvSpPr>
          <p:spPr bwMode="auto">
            <a:xfrm>
              <a:off x="4289425" y="2660650"/>
              <a:ext cx="6350" cy="4763"/>
            </a:xfrm>
            <a:custGeom>
              <a:avLst/>
              <a:gdLst>
                <a:gd name="T0" fmla="*/ 3 w 18"/>
                <a:gd name="T1" fmla="*/ 9 h 13"/>
                <a:gd name="T2" fmla="*/ 17 w 18"/>
                <a:gd name="T3" fmla="*/ 0 h 13"/>
                <a:gd name="T4" fmla="*/ 3 w 18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3" y="9"/>
                  </a:moveTo>
                  <a:cubicBezTo>
                    <a:pt x="8" y="12"/>
                    <a:pt x="14" y="6"/>
                    <a:pt x="17" y="0"/>
                  </a:cubicBezTo>
                  <a:cubicBezTo>
                    <a:pt x="11" y="3"/>
                    <a:pt x="0" y="3"/>
                    <a:pt x="3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56" name="Freeform 1183"/>
            <p:cNvSpPr>
              <a:spLocks noChangeArrowheads="1"/>
            </p:cNvSpPr>
            <p:nvPr/>
          </p:nvSpPr>
          <p:spPr bwMode="auto">
            <a:xfrm>
              <a:off x="4254500" y="2684463"/>
              <a:ext cx="3175" cy="4762"/>
            </a:xfrm>
            <a:custGeom>
              <a:avLst/>
              <a:gdLst>
                <a:gd name="T0" fmla="*/ 8 w 9"/>
                <a:gd name="T1" fmla="*/ 9 h 12"/>
                <a:gd name="T2" fmla="*/ 8 w 9"/>
                <a:gd name="T3" fmla="*/ 6 h 12"/>
                <a:gd name="T4" fmla="*/ 5 w 9"/>
                <a:gd name="T5" fmla="*/ 0 h 12"/>
                <a:gd name="T6" fmla="*/ 8 w 9"/>
                <a:gd name="T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9"/>
                  </a:moveTo>
                  <a:cubicBezTo>
                    <a:pt x="8" y="9"/>
                    <a:pt x="5" y="6"/>
                    <a:pt x="8" y="6"/>
                  </a:cubicBezTo>
                  <a:lnTo>
                    <a:pt x="5" y="0"/>
                  </a:lnTo>
                  <a:cubicBezTo>
                    <a:pt x="0" y="0"/>
                    <a:pt x="5" y="11"/>
                    <a:pt x="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57" name="Freeform 1184"/>
            <p:cNvSpPr>
              <a:spLocks noChangeArrowheads="1"/>
            </p:cNvSpPr>
            <p:nvPr/>
          </p:nvSpPr>
          <p:spPr bwMode="auto">
            <a:xfrm>
              <a:off x="4257675" y="2673350"/>
              <a:ext cx="6350" cy="4763"/>
            </a:xfrm>
            <a:custGeom>
              <a:avLst/>
              <a:gdLst>
                <a:gd name="T0" fmla="*/ 3 w 16"/>
                <a:gd name="T1" fmla="*/ 11 h 12"/>
                <a:gd name="T2" fmla="*/ 3 w 16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2">
                  <a:moveTo>
                    <a:pt x="3" y="11"/>
                  </a:moveTo>
                  <a:cubicBezTo>
                    <a:pt x="15" y="3"/>
                    <a:pt x="0" y="0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58" name="Freeform 1185"/>
            <p:cNvSpPr>
              <a:spLocks noChangeArrowheads="1"/>
            </p:cNvSpPr>
            <p:nvPr/>
          </p:nvSpPr>
          <p:spPr bwMode="auto">
            <a:xfrm>
              <a:off x="4260850" y="2674938"/>
              <a:ext cx="3175" cy="4762"/>
            </a:xfrm>
            <a:custGeom>
              <a:avLst/>
              <a:gdLst>
                <a:gd name="T0" fmla="*/ 6 w 7"/>
                <a:gd name="T1" fmla="*/ 8 h 15"/>
                <a:gd name="T2" fmla="*/ 6 w 7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6" y="8"/>
                  </a:moveTo>
                  <a:cubicBezTo>
                    <a:pt x="3" y="0"/>
                    <a:pt x="0" y="14"/>
                    <a:pt x="6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59" name="Freeform 1186"/>
            <p:cNvSpPr>
              <a:spLocks noChangeArrowheads="1"/>
            </p:cNvSpPr>
            <p:nvPr/>
          </p:nvSpPr>
          <p:spPr bwMode="auto">
            <a:xfrm>
              <a:off x="4264025" y="2681288"/>
              <a:ext cx="4763" cy="6350"/>
            </a:xfrm>
            <a:custGeom>
              <a:avLst/>
              <a:gdLst>
                <a:gd name="T0" fmla="*/ 3 w 12"/>
                <a:gd name="T1" fmla="*/ 0 h 18"/>
                <a:gd name="T2" fmla="*/ 3 w 12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3" y="0"/>
                  </a:moveTo>
                  <a:cubicBezTo>
                    <a:pt x="0" y="17"/>
                    <a:pt x="11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60" name="Freeform 1187"/>
            <p:cNvSpPr>
              <a:spLocks noChangeArrowheads="1"/>
            </p:cNvSpPr>
            <p:nvPr/>
          </p:nvSpPr>
          <p:spPr bwMode="auto">
            <a:xfrm>
              <a:off x="3992563" y="2719388"/>
              <a:ext cx="6350" cy="3175"/>
            </a:xfrm>
            <a:custGeom>
              <a:avLst/>
              <a:gdLst>
                <a:gd name="T0" fmla="*/ 0 w 18"/>
                <a:gd name="T1" fmla="*/ 8 h 9"/>
                <a:gd name="T2" fmla="*/ 0 w 18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0" y="8"/>
                  </a:moveTo>
                  <a:cubicBezTo>
                    <a:pt x="17" y="8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61" name="Freeform 1188"/>
            <p:cNvSpPr>
              <a:spLocks noChangeArrowheads="1"/>
            </p:cNvSpPr>
            <p:nvPr/>
          </p:nvSpPr>
          <p:spPr bwMode="auto">
            <a:xfrm>
              <a:off x="4187825" y="2687638"/>
              <a:ext cx="4763" cy="6350"/>
            </a:xfrm>
            <a:custGeom>
              <a:avLst/>
              <a:gdLst>
                <a:gd name="T0" fmla="*/ 0 w 12"/>
                <a:gd name="T1" fmla="*/ 9 h 16"/>
                <a:gd name="T2" fmla="*/ 11 w 12"/>
                <a:gd name="T3" fmla="*/ 12 h 16"/>
                <a:gd name="T4" fmla="*/ 0 w 12"/>
                <a:gd name="T5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6">
                  <a:moveTo>
                    <a:pt x="0" y="9"/>
                  </a:moveTo>
                  <a:cubicBezTo>
                    <a:pt x="2" y="12"/>
                    <a:pt x="8" y="15"/>
                    <a:pt x="11" y="12"/>
                  </a:cubicBezTo>
                  <a:cubicBezTo>
                    <a:pt x="8" y="6"/>
                    <a:pt x="2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62" name="Freeform 1189"/>
            <p:cNvSpPr>
              <a:spLocks noChangeArrowheads="1"/>
            </p:cNvSpPr>
            <p:nvPr/>
          </p:nvSpPr>
          <p:spPr bwMode="auto">
            <a:xfrm>
              <a:off x="4181475" y="2679700"/>
              <a:ext cx="4763" cy="6350"/>
            </a:xfrm>
            <a:custGeom>
              <a:avLst/>
              <a:gdLst>
                <a:gd name="T0" fmla="*/ 5 w 15"/>
                <a:gd name="T1" fmla="*/ 17 h 18"/>
                <a:gd name="T2" fmla="*/ 14 w 15"/>
                <a:gd name="T3" fmla="*/ 11 h 18"/>
                <a:gd name="T4" fmla="*/ 5 w 15"/>
                <a:gd name="T5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8">
                  <a:moveTo>
                    <a:pt x="5" y="17"/>
                  </a:moveTo>
                  <a:cubicBezTo>
                    <a:pt x="8" y="14"/>
                    <a:pt x="11" y="17"/>
                    <a:pt x="14" y="11"/>
                  </a:cubicBezTo>
                  <a:cubicBezTo>
                    <a:pt x="11" y="0"/>
                    <a:pt x="0" y="11"/>
                    <a:pt x="5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63" name="Freeform 1190"/>
            <p:cNvSpPr>
              <a:spLocks noChangeArrowheads="1"/>
            </p:cNvSpPr>
            <p:nvPr/>
          </p:nvSpPr>
          <p:spPr bwMode="auto">
            <a:xfrm>
              <a:off x="4189413" y="2667000"/>
              <a:ext cx="4762" cy="7938"/>
            </a:xfrm>
            <a:custGeom>
              <a:avLst/>
              <a:gdLst>
                <a:gd name="T0" fmla="*/ 0 w 15"/>
                <a:gd name="T1" fmla="*/ 3 h 24"/>
                <a:gd name="T2" fmla="*/ 0 w 15"/>
                <a:gd name="T3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0" y="3"/>
                  </a:moveTo>
                  <a:cubicBezTo>
                    <a:pt x="3" y="23"/>
                    <a:pt x="14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64" name="Freeform 1191"/>
            <p:cNvSpPr>
              <a:spLocks noChangeArrowheads="1"/>
            </p:cNvSpPr>
            <p:nvPr/>
          </p:nvSpPr>
          <p:spPr bwMode="auto">
            <a:xfrm>
              <a:off x="4194175" y="2659063"/>
              <a:ext cx="3175" cy="7937"/>
            </a:xfrm>
            <a:custGeom>
              <a:avLst/>
              <a:gdLst>
                <a:gd name="T0" fmla="*/ 9 w 10"/>
                <a:gd name="T1" fmla="*/ 12 h 21"/>
                <a:gd name="T2" fmla="*/ 9 w 10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9" y="12"/>
                  </a:moveTo>
                  <a:cubicBezTo>
                    <a:pt x="0" y="0"/>
                    <a:pt x="0" y="20"/>
                    <a:pt x="9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65" name="Freeform 1192"/>
            <p:cNvSpPr>
              <a:spLocks noChangeArrowheads="1"/>
            </p:cNvSpPr>
            <p:nvPr/>
          </p:nvSpPr>
          <p:spPr bwMode="auto">
            <a:xfrm>
              <a:off x="4225925" y="2668588"/>
              <a:ext cx="6350" cy="4762"/>
            </a:xfrm>
            <a:custGeom>
              <a:avLst/>
              <a:gdLst>
                <a:gd name="T0" fmla="*/ 17 w 18"/>
                <a:gd name="T1" fmla="*/ 8 h 15"/>
                <a:gd name="T2" fmla="*/ 11 w 18"/>
                <a:gd name="T3" fmla="*/ 0 h 15"/>
                <a:gd name="T4" fmla="*/ 17 w 18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7" y="8"/>
                  </a:moveTo>
                  <a:cubicBezTo>
                    <a:pt x="17" y="8"/>
                    <a:pt x="8" y="0"/>
                    <a:pt x="11" y="0"/>
                  </a:cubicBezTo>
                  <a:cubicBezTo>
                    <a:pt x="0" y="0"/>
                    <a:pt x="14" y="14"/>
                    <a:pt x="17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66" name="Freeform 1193"/>
            <p:cNvSpPr>
              <a:spLocks noChangeArrowheads="1"/>
            </p:cNvSpPr>
            <p:nvPr/>
          </p:nvSpPr>
          <p:spPr bwMode="auto">
            <a:xfrm>
              <a:off x="4235450" y="2670175"/>
              <a:ext cx="11113" cy="1588"/>
            </a:xfrm>
            <a:custGeom>
              <a:avLst/>
              <a:gdLst>
                <a:gd name="T0" fmla="*/ 14 w 30"/>
                <a:gd name="T1" fmla="*/ 3 h 4"/>
                <a:gd name="T2" fmla="*/ 14 w 30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0" h="4">
                  <a:moveTo>
                    <a:pt x="14" y="3"/>
                  </a:moveTo>
                  <a:cubicBezTo>
                    <a:pt x="29" y="0"/>
                    <a:pt x="0" y="0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67" name="Freeform 1194"/>
            <p:cNvSpPr>
              <a:spLocks noChangeArrowheads="1"/>
            </p:cNvSpPr>
            <p:nvPr/>
          </p:nvSpPr>
          <p:spPr bwMode="auto">
            <a:xfrm>
              <a:off x="4233863" y="2662238"/>
              <a:ext cx="4762" cy="4762"/>
            </a:xfrm>
            <a:custGeom>
              <a:avLst/>
              <a:gdLst>
                <a:gd name="T0" fmla="*/ 2 w 12"/>
                <a:gd name="T1" fmla="*/ 6 h 15"/>
                <a:gd name="T2" fmla="*/ 2 w 12"/>
                <a:gd name="T3" fmla="*/ 14 h 15"/>
                <a:gd name="T4" fmla="*/ 2 w 12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2" y="6"/>
                  </a:moveTo>
                  <a:cubicBezTo>
                    <a:pt x="5" y="8"/>
                    <a:pt x="0" y="11"/>
                    <a:pt x="2" y="14"/>
                  </a:cubicBezTo>
                  <a:cubicBezTo>
                    <a:pt x="11" y="14"/>
                    <a:pt x="8" y="0"/>
                    <a:pt x="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68" name="Freeform 1195"/>
            <p:cNvSpPr>
              <a:spLocks noChangeArrowheads="1"/>
            </p:cNvSpPr>
            <p:nvPr/>
          </p:nvSpPr>
          <p:spPr bwMode="auto">
            <a:xfrm>
              <a:off x="4238625" y="2663825"/>
              <a:ext cx="11113" cy="7938"/>
            </a:xfrm>
            <a:custGeom>
              <a:avLst/>
              <a:gdLst>
                <a:gd name="T0" fmla="*/ 19 w 32"/>
                <a:gd name="T1" fmla="*/ 17 h 20"/>
                <a:gd name="T2" fmla="*/ 25 w 32"/>
                <a:gd name="T3" fmla="*/ 0 h 20"/>
                <a:gd name="T4" fmla="*/ 0 w 32"/>
                <a:gd name="T5" fmla="*/ 8 h 20"/>
                <a:gd name="T6" fmla="*/ 19 w 32"/>
                <a:gd name="T7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0">
                  <a:moveTo>
                    <a:pt x="19" y="17"/>
                  </a:moveTo>
                  <a:cubicBezTo>
                    <a:pt x="8" y="5"/>
                    <a:pt x="31" y="11"/>
                    <a:pt x="25" y="0"/>
                  </a:cubicBezTo>
                  <a:cubicBezTo>
                    <a:pt x="17" y="11"/>
                    <a:pt x="8" y="0"/>
                    <a:pt x="0" y="8"/>
                  </a:cubicBezTo>
                  <a:cubicBezTo>
                    <a:pt x="5" y="11"/>
                    <a:pt x="14" y="19"/>
                    <a:pt x="19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69" name="Freeform 1196"/>
            <p:cNvSpPr>
              <a:spLocks noChangeArrowheads="1"/>
            </p:cNvSpPr>
            <p:nvPr/>
          </p:nvSpPr>
          <p:spPr bwMode="auto">
            <a:xfrm>
              <a:off x="4278313" y="2692400"/>
              <a:ext cx="3175" cy="7938"/>
            </a:xfrm>
            <a:custGeom>
              <a:avLst/>
              <a:gdLst>
                <a:gd name="T0" fmla="*/ 8 w 9"/>
                <a:gd name="T1" fmla="*/ 11 h 20"/>
                <a:gd name="T2" fmla="*/ 8 w 9"/>
                <a:gd name="T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8" y="11"/>
                  </a:moveTo>
                  <a:cubicBezTo>
                    <a:pt x="0" y="0"/>
                    <a:pt x="0" y="19"/>
                    <a:pt x="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70" name="Freeform 1197"/>
            <p:cNvSpPr>
              <a:spLocks noChangeArrowheads="1"/>
            </p:cNvSpPr>
            <p:nvPr/>
          </p:nvSpPr>
          <p:spPr bwMode="auto">
            <a:xfrm>
              <a:off x="4256088" y="2665413"/>
              <a:ext cx="3175" cy="7937"/>
            </a:xfrm>
            <a:custGeom>
              <a:avLst/>
              <a:gdLst>
                <a:gd name="T0" fmla="*/ 8 w 9"/>
                <a:gd name="T1" fmla="*/ 14 h 21"/>
                <a:gd name="T2" fmla="*/ 8 w 9"/>
                <a:gd name="T3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8" y="14"/>
                  </a:moveTo>
                  <a:cubicBezTo>
                    <a:pt x="0" y="0"/>
                    <a:pt x="0" y="20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71" name="Freeform 1198"/>
            <p:cNvSpPr>
              <a:spLocks noChangeArrowheads="1"/>
            </p:cNvSpPr>
            <p:nvPr/>
          </p:nvSpPr>
          <p:spPr bwMode="auto">
            <a:xfrm>
              <a:off x="4289425" y="2692400"/>
              <a:ext cx="4763" cy="4763"/>
            </a:xfrm>
            <a:custGeom>
              <a:avLst/>
              <a:gdLst>
                <a:gd name="T0" fmla="*/ 6 w 12"/>
                <a:gd name="T1" fmla="*/ 11 h 12"/>
                <a:gd name="T2" fmla="*/ 11 w 12"/>
                <a:gd name="T3" fmla="*/ 5 h 12"/>
                <a:gd name="T4" fmla="*/ 6 w 12"/>
                <a:gd name="T5" fmla="*/ 0 h 12"/>
                <a:gd name="T6" fmla="*/ 0 w 12"/>
                <a:gd name="T7" fmla="*/ 5 h 12"/>
                <a:gd name="T8" fmla="*/ 6 w 12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11"/>
                  </a:moveTo>
                  <a:lnTo>
                    <a:pt x="11" y="5"/>
                  </a:lnTo>
                  <a:lnTo>
                    <a:pt x="6" y="0"/>
                  </a:lnTo>
                  <a:lnTo>
                    <a:pt x="0" y="5"/>
                  </a:lnTo>
                  <a:lnTo>
                    <a:pt x="6" y="11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72" name="Freeform 1199"/>
            <p:cNvSpPr>
              <a:spLocks noChangeArrowheads="1"/>
            </p:cNvSpPr>
            <p:nvPr/>
          </p:nvSpPr>
          <p:spPr bwMode="auto">
            <a:xfrm>
              <a:off x="4265613" y="2667000"/>
              <a:ext cx="4762" cy="4763"/>
            </a:xfrm>
            <a:custGeom>
              <a:avLst/>
              <a:gdLst>
                <a:gd name="T0" fmla="*/ 0 w 15"/>
                <a:gd name="T1" fmla="*/ 6 h 15"/>
                <a:gd name="T2" fmla="*/ 6 w 15"/>
                <a:gd name="T3" fmla="*/ 14 h 15"/>
                <a:gd name="T4" fmla="*/ 0 w 15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0" y="6"/>
                  </a:moveTo>
                  <a:cubicBezTo>
                    <a:pt x="3" y="9"/>
                    <a:pt x="0" y="11"/>
                    <a:pt x="6" y="14"/>
                  </a:cubicBezTo>
                  <a:cubicBezTo>
                    <a:pt x="14" y="14"/>
                    <a:pt x="3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73" name="Freeform 1200"/>
            <p:cNvSpPr>
              <a:spLocks noChangeArrowheads="1"/>
            </p:cNvSpPr>
            <p:nvPr/>
          </p:nvSpPr>
          <p:spPr bwMode="auto">
            <a:xfrm>
              <a:off x="4284663" y="2684463"/>
              <a:ext cx="1587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74" name="Freeform 1201"/>
            <p:cNvSpPr>
              <a:spLocks noChangeArrowheads="1"/>
            </p:cNvSpPr>
            <p:nvPr/>
          </p:nvSpPr>
          <p:spPr bwMode="auto">
            <a:xfrm>
              <a:off x="4265613" y="2659063"/>
              <a:ext cx="3175" cy="7937"/>
            </a:xfrm>
            <a:custGeom>
              <a:avLst/>
              <a:gdLst>
                <a:gd name="T0" fmla="*/ 8 w 9"/>
                <a:gd name="T1" fmla="*/ 12 h 21"/>
                <a:gd name="T2" fmla="*/ 8 w 9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8" y="12"/>
                  </a:moveTo>
                  <a:cubicBezTo>
                    <a:pt x="0" y="0"/>
                    <a:pt x="0" y="20"/>
                    <a:pt x="8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75" name="Freeform 1202"/>
            <p:cNvSpPr>
              <a:spLocks noChangeArrowheads="1"/>
            </p:cNvSpPr>
            <p:nvPr/>
          </p:nvSpPr>
          <p:spPr bwMode="auto">
            <a:xfrm>
              <a:off x="4279900" y="2673350"/>
              <a:ext cx="7938" cy="4763"/>
            </a:xfrm>
            <a:custGeom>
              <a:avLst/>
              <a:gdLst>
                <a:gd name="T0" fmla="*/ 20 w 21"/>
                <a:gd name="T1" fmla="*/ 9 h 15"/>
                <a:gd name="T2" fmla="*/ 6 w 21"/>
                <a:gd name="T3" fmla="*/ 9 h 15"/>
                <a:gd name="T4" fmla="*/ 20 w 21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5">
                  <a:moveTo>
                    <a:pt x="20" y="9"/>
                  </a:moveTo>
                  <a:cubicBezTo>
                    <a:pt x="17" y="0"/>
                    <a:pt x="0" y="0"/>
                    <a:pt x="6" y="9"/>
                  </a:cubicBezTo>
                  <a:cubicBezTo>
                    <a:pt x="9" y="3"/>
                    <a:pt x="14" y="14"/>
                    <a:pt x="2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76" name="Freeform 1203"/>
            <p:cNvSpPr>
              <a:spLocks noChangeArrowheads="1"/>
            </p:cNvSpPr>
            <p:nvPr/>
          </p:nvSpPr>
          <p:spPr bwMode="auto">
            <a:xfrm>
              <a:off x="4314825" y="2698750"/>
              <a:ext cx="7938" cy="3175"/>
            </a:xfrm>
            <a:custGeom>
              <a:avLst/>
              <a:gdLst>
                <a:gd name="T0" fmla="*/ 0 w 21"/>
                <a:gd name="T1" fmla="*/ 3 h 10"/>
                <a:gd name="T2" fmla="*/ 20 w 21"/>
                <a:gd name="T3" fmla="*/ 6 h 10"/>
                <a:gd name="T4" fmla="*/ 0 w 21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0">
                  <a:moveTo>
                    <a:pt x="0" y="3"/>
                  </a:moveTo>
                  <a:cubicBezTo>
                    <a:pt x="6" y="9"/>
                    <a:pt x="14" y="9"/>
                    <a:pt x="20" y="6"/>
                  </a:cubicBezTo>
                  <a:cubicBezTo>
                    <a:pt x="14" y="3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77" name="Freeform 1204"/>
            <p:cNvSpPr>
              <a:spLocks noChangeArrowheads="1"/>
            </p:cNvSpPr>
            <p:nvPr/>
          </p:nvSpPr>
          <p:spPr bwMode="auto">
            <a:xfrm>
              <a:off x="4294188" y="2678113"/>
              <a:ext cx="4762" cy="7937"/>
            </a:xfrm>
            <a:custGeom>
              <a:avLst/>
              <a:gdLst>
                <a:gd name="T0" fmla="*/ 11 w 15"/>
                <a:gd name="T1" fmla="*/ 14 h 21"/>
                <a:gd name="T2" fmla="*/ 11 w 15"/>
                <a:gd name="T3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11" y="14"/>
                  </a:moveTo>
                  <a:cubicBezTo>
                    <a:pt x="14" y="0"/>
                    <a:pt x="0" y="20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78" name="Freeform 1205"/>
            <p:cNvSpPr>
              <a:spLocks noChangeArrowheads="1"/>
            </p:cNvSpPr>
            <p:nvPr/>
          </p:nvSpPr>
          <p:spPr bwMode="auto">
            <a:xfrm>
              <a:off x="4268788" y="2655888"/>
              <a:ext cx="7937" cy="4762"/>
            </a:xfrm>
            <a:custGeom>
              <a:avLst/>
              <a:gdLst>
                <a:gd name="T0" fmla="*/ 9 w 24"/>
                <a:gd name="T1" fmla="*/ 14 h 15"/>
                <a:gd name="T2" fmla="*/ 9 w 24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15">
                  <a:moveTo>
                    <a:pt x="9" y="14"/>
                  </a:moveTo>
                  <a:cubicBezTo>
                    <a:pt x="23" y="0"/>
                    <a:pt x="0" y="3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79" name="Freeform 1206"/>
            <p:cNvSpPr>
              <a:spLocks noChangeArrowheads="1"/>
            </p:cNvSpPr>
            <p:nvPr/>
          </p:nvSpPr>
          <p:spPr bwMode="auto">
            <a:xfrm>
              <a:off x="4284663" y="2667000"/>
              <a:ext cx="3175" cy="7938"/>
            </a:xfrm>
            <a:custGeom>
              <a:avLst/>
              <a:gdLst>
                <a:gd name="T0" fmla="*/ 9 w 10"/>
                <a:gd name="T1" fmla="*/ 11 h 21"/>
                <a:gd name="T2" fmla="*/ 9 w 10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9" y="11"/>
                  </a:moveTo>
                  <a:cubicBezTo>
                    <a:pt x="0" y="0"/>
                    <a:pt x="3" y="20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80" name="Freeform 1207"/>
            <p:cNvSpPr>
              <a:spLocks noChangeArrowheads="1"/>
            </p:cNvSpPr>
            <p:nvPr/>
          </p:nvSpPr>
          <p:spPr bwMode="auto">
            <a:xfrm>
              <a:off x="4291013" y="2667000"/>
              <a:ext cx="3175" cy="7938"/>
            </a:xfrm>
            <a:custGeom>
              <a:avLst/>
              <a:gdLst>
                <a:gd name="T0" fmla="*/ 9 w 10"/>
                <a:gd name="T1" fmla="*/ 11 h 21"/>
                <a:gd name="T2" fmla="*/ 9 w 10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9" y="11"/>
                  </a:moveTo>
                  <a:cubicBezTo>
                    <a:pt x="0" y="0"/>
                    <a:pt x="3" y="20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81" name="Freeform 1208"/>
            <p:cNvSpPr>
              <a:spLocks noChangeArrowheads="1"/>
            </p:cNvSpPr>
            <p:nvPr/>
          </p:nvSpPr>
          <p:spPr bwMode="auto">
            <a:xfrm>
              <a:off x="4310063" y="2673350"/>
              <a:ext cx="3175" cy="7938"/>
            </a:xfrm>
            <a:custGeom>
              <a:avLst/>
              <a:gdLst>
                <a:gd name="T0" fmla="*/ 9 w 10"/>
                <a:gd name="T1" fmla="*/ 11 h 21"/>
                <a:gd name="T2" fmla="*/ 9 w 10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9" y="11"/>
                  </a:moveTo>
                  <a:cubicBezTo>
                    <a:pt x="0" y="0"/>
                    <a:pt x="0" y="20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82" name="Freeform 1209"/>
            <p:cNvSpPr>
              <a:spLocks noChangeArrowheads="1"/>
            </p:cNvSpPr>
            <p:nvPr/>
          </p:nvSpPr>
          <p:spPr bwMode="auto">
            <a:xfrm>
              <a:off x="4321175" y="2679700"/>
              <a:ext cx="4763" cy="7938"/>
            </a:xfrm>
            <a:custGeom>
              <a:avLst/>
              <a:gdLst>
                <a:gd name="T0" fmla="*/ 11 w 12"/>
                <a:gd name="T1" fmla="*/ 14 h 21"/>
                <a:gd name="T2" fmla="*/ 0 w 12"/>
                <a:gd name="T3" fmla="*/ 6 h 21"/>
                <a:gd name="T4" fmla="*/ 11 w 12"/>
                <a:gd name="T5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1">
                  <a:moveTo>
                    <a:pt x="11" y="14"/>
                  </a:moveTo>
                  <a:cubicBezTo>
                    <a:pt x="6" y="11"/>
                    <a:pt x="9" y="0"/>
                    <a:pt x="0" y="6"/>
                  </a:cubicBezTo>
                  <a:cubicBezTo>
                    <a:pt x="3" y="8"/>
                    <a:pt x="6" y="20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83" name="Freeform 1210"/>
            <p:cNvSpPr>
              <a:spLocks noChangeArrowheads="1"/>
            </p:cNvSpPr>
            <p:nvPr/>
          </p:nvSpPr>
          <p:spPr bwMode="auto">
            <a:xfrm>
              <a:off x="4305300" y="2665413"/>
              <a:ext cx="4763" cy="4762"/>
            </a:xfrm>
            <a:custGeom>
              <a:avLst/>
              <a:gdLst>
                <a:gd name="T0" fmla="*/ 14 w 15"/>
                <a:gd name="T1" fmla="*/ 8 h 15"/>
                <a:gd name="T2" fmla="*/ 11 w 15"/>
                <a:gd name="T3" fmla="*/ 0 h 15"/>
                <a:gd name="T4" fmla="*/ 14 w 15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8"/>
                  </a:moveTo>
                  <a:cubicBezTo>
                    <a:pt x="11" y="5"/>
                    <a:pt x="14" y="2"/>
                    <a:pt x="11" y="0"/>
                  </a:cubicBezTo>
                  <a:cubicBezTo>
                    <a:pt x="0" y="0"/>
                    <a:pt x="6" y="14"/>
                    <a:pt x="1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84" name="Freeform 1211"/>
            <p:cNvSpPr>
              <a:spLocks noChangeArrowheads="1"/>
            </p:cNvSpPr>
            <p:nvPr/>
          </p:nvSpPr>
          <p:spPr bwMode="auto">
            <a:xfrm>
              <a:off x="4173538" y="2670175"/>
              <a:ext cx="7937" cy="6350"/>
            </a:xfrm>
            <a:custGeom>
              <a:avLst/>
              <a:gdLst>
                <a:gd name="T0" fmla="*/ 23 w 24"/>
                <a:gd name="T1" fmla="*/ 9 h 18"/>
                <a:gd name="T2" fmla="*/ 3 w 24"/>
                <a:gd name="T3" fmla="*/ 9 h 18"/>
                <a:gd name="T4" fmla="*/ 23 w 24"/>
                <a:gd name="T5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8">
                  <a:moveTo>
                    <a:pt x="23" y="9"/>
                  </a:moveTo>
                  <a:cubicBezTo>
                    <a:pt x="17" y="6"/>
                    <a:pt x="0" y="0"/>
                    <a:pt x="3" y="9"/>
                  </a:cubicBezTo>
                  <a:cubicBezTo>
                    <a:pt x="8" y="3"/>
                    <a:pt x="17" y="17"/>
                    <a:pt x="23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85" name="Freeform 1212"/>
            <p:cNvSpPr>
              <a:spLocks noChangeArrowheads="1"/>
            </p:cNvSpPr>
            <p:nvPr/>
          </p:nvSpPr>
          <p:spPr bwMode="auto">
            <a:xfrm>
              <a:off x="4192588" y="2678113"/>
              <a:ext cx="7937" cy="6350"/>
            </a:xfrm>
            <a:custGeom>
              <a:avLst/>
              <a:gdLst>
                <a:gd name="T0" fmla="*/ 19 w 20"/>
                <a:gd name="T1" fmla="*/ 12 h 18"/>
                <a:gd name="T2" fmla="*/ 2 w 20"/>
                <a:gd name="T3" fmla="*/ 9 h 18"/>
                <a:gd name="T4" fmla="*/ 19 w 20"/>
                <a:gd name="T5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8">
                  <a:moveTo>
                    <a:pt x="19" y="12"/>
                  </a:moveTo>
                  <a:cubicBezTo>
                    <a:pt x="14" y="0"/>
                    <a:pt x="0" y="3"/>
                    <a:pt x="2" y="9"/>
                  </a:cubicBezTo>
                  <a:cubicBezTo>
                    <a:pt x="8" y="3"/>
                    <a:pt x="14" y="17"/>
                    <a:pt x="19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86" name="Freeform 1213"/>
            <p:cNvSpPr>
              <a:spLocks noChangeArrowheads="1"/>
            </p:cNvSpPr>
            <p:nvPr/>
          </p:nvSpPr>
          <p:spPr bwMode="auto">
            <a:xfrm>
              <a:off x="4273550" y="2679700"/>
              <a:ext cx="11113" cy="9525"/>
            </a:xfrm>
            <a:custGeom>
              <a:avLst/>
              <a:gdLst>
                <a:gd name="T0" fmla="*/ 0 w 29"/>
                <a:gd name="T1" fmla="*/ 6 h 26"/>
                <a:gd name="T2" fmla="*/ 5 w 29"/>
                <a:gd name="T3" fmla="*/ 14 h 26"/>
                <a:gd name="T4" fmla="*/ 25 w 29"/>
                <a:gd name="T5" fmla="*/ 17 h 26"/>
                <a:gd name="T6" fmla="*/ 28 w 29"/>
                <a:gd name="T7" fmla="*/ 8 h 26"/>
                <a:gd name="T8" fmla="*/ 0 w 29"/>
                <a:gd name="T9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6">
                  <a:moveTo>
                    <a:pt x="0" y="6"/>
                  </a:moveTo>
                  <a:cubicBezTo>
                    <a:pt x="2" y="8"/>
                    <a:pt x="5" y="11"/>
                    <a:pt x="5" y="14"/>
                  </a:cubicBezTo>
                  <a:cubicBezTo>
                    <a:pt x="11" y="0"/>
                    <a:pt x="19" y="25"/>
                    <a:pt x="25" y="17"/>
                  </a:cubicBezTo>
                  <a:cubicBezTo>
                    <a:pt x="22" y="14"/>
                    <a:pt x="25" y="11"/>
                    <a:pt x="28" y="8"/>
                  </a:cubicBezTo>
                  <a:cubicBezTo>
                    <a:pt x="19" y="3"/>
                    <a:pt x="11" y="11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87" name="Freeform 1214"/>
            <p:cNvSpPr>
              <a:spLocks noChangeArrowheads="1"/>
            </p:cNvSpPr>
            <p:nvPr/>
          </p:nvSpPr>
          <p:spPr bwMode="auto">
            <a:xfrm>
              <a:off x="4297363" y="2698750"/>
              <a:ext cx="11112" cy="7938"/>
            </a:xfrm>
            <a:custGeom>
              <a:avLst/>
              <a:gdLst>
                <a:gd name="T0" fmla="*/ 0 w 32"/>
                <a:gd name="T1" fmla="*/ 6 h 24"/>
                <a:gd name="T2" fmla="*/ 31 w 32"/>
                <a:gd name="T3" fmla="*/ 17 h 24"/>
                <a:gd name="T4" fmla="*/ 0 w 32"/>
                <a:gd name="T5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" h="24">
                  <a:moveTo>
                    <a:pt x="0" y="6"/>
                  </a:moveTo>
                  <a:cubicBezTo>
                    <a:pt x="9" y="15"/>
                    <a:pt x="31" y="23"/>
                    <a:pt x="31" y="17"/>
                  </a:cubicBezTo>
                  <a:cubicBezTo>
                    <a:pt x="20" y="17"/>
                    <a:pt x="9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88" name="Freeform 1215"/>
            <p:cNvSpPr>
              <a:spLocks noChangeArrowheads="1"/>
            </p:cNvSpPr>
            <p:nvPr/>
          </p:nvSpPr>
          <p:spPr bwMode="auto">
            <a:xfrm>
              <a:off x="4303713" y="2687638"/>
              <a:ext cx="7937" cy="7937"/>
            </a:xfrm>
            <a:custGeom>
              <a:avLst/>
              <a:gdLst>
                <a:gd name="T0" fmla="*/ 0 w 24"/>
                <a:gd name="T1" fmla="*/ 11 h 20"/>
                <a:gd name="T2" fmla="*/ 17 w 24"/>
                <a:gd name="T3" fmla="*/ 17 h 20"/>
                <a:gd name="T4" fmla="*/ 23 w 24"/>
                <a:gd name="T5" fmla="*/ 8 h 20"/>
                <a:gd name="T6" fmla="*/ 0 w 24"/>
                <a:gd name="T7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0">
                  <a:moveTo>
                    <a:pt x="0" y="11"/>
                  </a:moveTo>
                  <a:cubicBezTo>
                    <a:pt x="6" y="19"/>
                    <a:pt x="11" y="8"/>
                    <a:pt x="17" y="17"/>
                  </a:cubicBezTo>
                  <a:lnTo>
                    <a:pt x="23" y="8"/>
                  </a:lnTo>
                  <a:cubicBezTo>
                    <a:pt x="11" y="0"/>
                    <a:pt x="14" y="14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89" name="Freeform 1216"/>
            <p:cNvSpPr>
              <a:spLocks noChangeArrowheads="1"/>
            </p:cNvSpPr>
            <p:nvPr/>
          </p:nvSpPr>
          <p:spPr bwMode="auto">
            <a:xfrm>
              <a:off x="4178300" y="2667000"/>
              <a:ext cx="4763" cy="11113"/>
            </a:xfrm>
            <a:custGeom>
              <a:avLst/>
              <a:gdLst>
                <a:gd name="T0" fmla="*/ 0 w 15"/>
                <a:gd name="T1" fmla="*/ 8 h 29"/>
                <a:gd name="T2" fmla="*/ 0 w 15"/>
                <a:gd name="T3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9">
                  <a:moveTo>
                    <a:pt x="0" y="8"/>
                  </a:moveTo>
                  <a:cubicBezTo>
                    <a:pt x="3" y="28"/>
                    <a:pt x="14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90" name="Freeform 1217"/>
            <p:cNvSpPr>
              <a:spLocks noChangeArrowheads="1"/>
            </p:cNvSpPr>
            <p:nvPr/>
          </p:nvSpPr>
          <p:spPr bwMode="auto">
            <a:xfrm>
              <a:off x="4197350" y="2676525"/>
              <a:ext cx="6350" cy="4763"/>
            </a:xfrm>
            <a:custGeom>
              <a:avLst/>
              <a:gdLst>
                <a:gd name="T0" fmla="*/ 8 w 18"/>
                <a:gd name="T1" fmla="*/ 12 h 13"/>
                <a:gd name="T2" fmla="*/ 8 w 18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8" y="12"/>
                  </a:moveTo>
                  <a:cubicBezTo>
                    <a:pt x="17" y="0"/>
                    <a:pt x="0" y="9"/>
                    <a:pt x="8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91" name="Freeform 1218"/>
            <p:cNvSpPr>
              <a:spLocks noChangeArrowheads="1"/>
            </p:cNvSpPr>
            <p:nvPr/>
          </p:nvSpPr>
          <p:spPr bwMode="auto">
            <a:xfrm>
              <a:off x="4241800" y="2667000"/>
              <a:ext cx="6350" cy="4763"/>
            </a:xfrm>
            <a:custGeom>
              <a:avLst/>
              <a:gdLst>
                <a:gd name="T0" fmla="*/ 6 w 18"/>
                <a:gd name="T1" fmla="*/ 14 h 15"/>
                <a:gd name="T2" fmla="*/ 17 w 18"/>
                <a:gd name="T3" fmla="*/ 3 h 15"/>
                <a:gd name="T4" fmla="*/ 0 w 18"/>
                <a:gd name="T5" fmla="*/ 8 h 15"/>
                <a:gd name="T6" fmla="*/ 6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6" y="14"/>
                  </a:moveTo>
                  <a:cubicBezTo>
                    <a:pt x="9" y="8"/>
                    <a:pt x="17" y="14"/>
                    <a:pt x="17" y="3"/>
                  </a:cubicBezTo>
                  <a:cubicBezTo>
                    <a:pt x="9" y="0"/>
                    <a:pt x="6" y="3"/>
                    <a:pt x="0" y="8"/>
                  </a:cubicBezTo>
                  <a:cubicBezTo>
                    <a:pt x="6" y="8"/>
                    <a:pt x="3" y="11"/>
                    <a:pt x="6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92" name="Freeform 1219"/>
            <p:cNvSpPr>
              <a:spLocks noChangeArrowheads="1"/>
            </p:cNvSpPr>
            <p:nvPr/>
          </p:nvSpPr>
          <p:spPr bwMode="auto">
            <a:xfrm>
              <a:off x="4351338" y="2647950"/>
              <a:ext cx="6350" cy="4763"/>
            </a:xfrm>
            <a:custGeom>
              <a:avLst/>
              <a:gdLst>
                <a:gd name="T0" fmla="*/ 6 w 18"/>
                <a:gd name="T1" fmla="*/ 14 h 15"/>
                <a:gd name="T2" fmla="*/ 17 w 18"/>
                <a:gd name="T3" fmla="*/ 2 h 15"/>
                <a:gd name="T4" fmla="*/ 0 w 18"/>
                <a:gd name="T5" fmla="*/ 8 h 15"/>
                <a:gd name="T6" fmla="*/ 6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6" y="14"/>
                  </a:moveTo>
                  <a:cubicBezTo>
                    <a:pt x="8" y="8"/>
                    <a:pt x="17" y="14"/>
                    <a:pt x="17" y="2"/>
                  </a:cubicBezTo>
                  <a:cubicBezTo>
                    <a:pt x="8" y="0"/>
                    <a:pt x="6" y="2"/>
                    <a:pt x="0" y="8"/>
                  </a:cubicBezTo>
                  <a:cubicBezTo>
                    <a:pt x="6" y="11"/>
                    <a:pt x="3" y="14"/>
                    <a:pt x="6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93" name="Freeform 1220"/>
            <p:cNvSpPr>
              <a:spLocks noChangeArrowheads="1"/>
            </p:cNvSpPr>
            <p:nvPr/>
          </p:nvSpPr>
          <p:spPr bwMode="auto">
            <a:xfrm>
              <a:off x="4251325" y="2665413"/>
              <a:ext cx="6350" cy="4762"/>
            </a:xfrm>
            <a:custGeom>
              <a:avLst/>
              <a:gdLst>
                <a:gd name="T0" fmla="*/ 9 w 18"/>
                <a:gd name="T1" fmla="*/ 11 h 12"/>
                <a:gd name="T2" fmla="*/ 9 w 18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9" y="11"/>
                  </a:moveTo>
                  <a:cubicBezTo>
                    <a:pt x="17" y="0"/>
                    <a:pt x="0" y="5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94" name="Freeform 1221"/>
            <p:cNvSpPr>
              <a:spLocks noChangeArrowheads="1"/>
            </p:cNvSpPr>
            <p:nvPr/>
          </p:nvSpPr>
          <p:spPr bwMode="auto">
            <a:xfrm>
              <a:off x="4265613" y="2665413"/>
              <a:ext cx="7937" cy="4762"/>
            </a:xfrm>
            <a:custGeom>
              <a:avLst/>
              <a:gdLst>
                <a:gd name="T0" fmla="*/ 8 w 21"/>
                <a:gd name="T1" fmla="*/ 11 h 12"/>
                <a:gd name="T2" fmla="*/ 8 w 21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2">
                  <a:moveTo>
                    <a:pt x="8" y="11"/>
                  </a:moveTo>
                  <a:cubicBezTo>
                    <a:pt x="20" y="11"/>
                    <a:pt x="0" y="0"/>
                    <a:pt x="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95" name="Freeform 1222"/>
            <p:cNvSpPr>
              <a:spLocks noChangeArrowheads="1"/>
            </p:cNvSpPr>
            <p:nvPr/>
          </p:nvSpPr>
          <p:spPr bwMode="auto">
            <a:xfrm>
              <a:off x="4165600" y="2674938"/>
              <a:ext cx="4763" cy="4762"/>
            </a:xfrm>
            <a:custGeom>
              <a:avLst/>
              <a:gdLst>
                <a:gd name="T0" fmla="*/ 0 w 13"/>
                <a:gd name="T1" fmla="*/ 8 h 15"/>
                <a:gd name="T2" fmla="*/ 0 w 13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8"/>
                  </a:moveTo>
                  <a:cubicBezTo>
                    <a:pt x="12" y="14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96" name="Freeform 1223"/>
            <p:cNvSpPr>
              <a:spLocks noChangeArrowheads="1"/>
            </p:cNvSpPr>
            <p:nvPr/>
          </p:nvSpPr>
          <p:spPr bwMode="auto">
            <a:xfrm>
              <a:off x="4146550" y="2679700"/>
              <a:ext cx="4763" cy="4763"/>
            </a:xfrm>
            <a:custGeom>
              <a:avLst/>
              <a:gdLst>
                <a:gd name="T0" fmla="*/ 0 w 15"/>
                <a:gd name="T1" fmla="*/ 8 h 12"/>
                <a:gd name="T2" fmla="*/ 3 w 15"/>
                <a:gd name="T3" fmla="*/ 11 h 12"/>
                <a:gd name="T4" fmla="*/ 8 w 15"/>
                <a:gd name="T5" fmla="*/ 11 h 12"/>
                <a:gd name="T6" fmla="*/ 0 w 15"/>
                <a:gd name="T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2">
                  <a:moveTo>
                    <a:pt x="0" y="8"/>
                  </a:moveTo>
                  <a:cubicBezTo>
                    <a:pt x="3" y="8"/>
                    <a:pt x="3" y="8"/>
                    <a:pt x="3" y="11"/>
                  </a:cubicBezTo>
                  <a:lnTo>
                    <a:pt x="8" y="11"/>
                  </a:lnTo>
                  <a:cubicBezTo>
                    <a:pt x="14" y="6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97" name="Freeform 1224"/>
            <p:cNvSpPr>
              <a:spLocks noChangeArrowheads="1"/>
            </p:cNvSpPr>
            <p:nvPr/>
          </p:nvSpPr>
          <p:spPr bwMode="auto">
            <a:xfrm>
              <a:off x="4167188" y="2686050"/>
              <a:ext cx="4762" cy="4763"/>
            </a:xfrm>
            <a:custGeom>
              <a:avLst/>
              <a:gdLst>
                <a:gd name="T0" fmla="*/ 0 w 13"/>
                <a:gd name="T1" fmla="*/ 8 h 15"/>
                <a:gd name="T2" fmla="*/ 0 w 13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8"/>
                  </a:moveTo>
                  <a:cubicBezTo>
                    <a:pt x="12" y="14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98" name="Freeform 1225"/>
            <p:cNvSpPr>
              <a:spLocks noChangeArrowheads="1"/>
            </p:cNvSpPr>
            <p:nvPr/>
          </p:nvSpPr>
          <p:spPr bwMode="auto">
            <a:xfrm>
              <a:off x="4121150" y="2678113"/>
              <a:ext cx="3175" cy="7937"/>
            </a:xfrm>
            <a:custGeom>
              <a:avLst/>
              <a:gdLst>
                <a:gd name="T0" fmla="*/ 0 w 7"/>
                <a:gd name="T1" fmla="*/ 9 h 24"/>
                <a:gd name="T2" fmla="*/ 0 w 7"/>
                <a:gd name="T3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4">
                  <a:moveTo>
                    <a:pt x="0" y="9"/>
                  </a:moveTo>
                  <a:cubicBezTo>
                    <a:pt x="6" y="23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99" name="Freeform 1226"/>
            <p:cNvSpPr>
              <a:spLocks noChangeArrowheads="1"/>
            </p:cNvSpPr>
            <p:nvPr/>
          </p:nvSpPr>
          <p:spPr bwMode="auto">
            <a:xfrm>
              <a:off x="4141788" y="2686050"/>
              <a:ext cx="6350" cy="4763"/>
            </a:xfrm>
            <a:custGeom>
              <a:avLst/>
              <a:gdLst>
                <a:gd name="T0" fmla="*/ 5 w 17"/>
                <a:gd name="T1" fmla="*/ 0 h 12"/>
                <a:gd name="T2" fmla="*/ 16 w 17"/>
                <a:gd name="T3" fmla="*/ 11 h 12"/>
                <a:gd name="T4" fmla="*/ 5 w 1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2">
                  <a:moveTo>
                    <a:pt x="5" y="0"/>
                  </a:moveTo>
                  <a:cubicBezTo>
                    <a:pt x="0" y="8"/>
                    <a:pt x="8" y="11"/>
                    <a:pt x="16" y="11"/>
                  </a:cubicBezTo>
                  <a:cubicBezTo>
                    <a:pt x="16" y="3"/>
                    <a:pt x="14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00" name="Freeform 1227"/>
            <p:cNvSpPr>
              <a:spLocks noChangeArrowheads="1"/>
            </p:cNvSpPr>
            <p:nvPr/>
          </p:nvSpPr>
          <p:spPr bwMode="auto">
            <a:xfrm>
              <a:off x="4156075" y="2687638"/>
              <a:ext cx="4763" cy="6350"/>
            </a:xfrm>
            <a:custGeom>
              <a:avLst/>
              <a:gdLst>
                <a:gd name="T0" fmla="*/ 3 w 15"/>
                <a:gd name="T1" fmla="*/ 0 h 16"/>
                <a:gd name="T2" fmla="*/ 6 w 15"/>
                <a:gd name="T3" fmla="*/ 15 h 16"/>
                <a:gd name="T4" fmla="*/ 3 w 15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3" y="0"/>
                  </a:moveTo>
                  <a:cubicBezTo>
                    <a:pt x="0" y="6"/>
                    <a:pt x="0" y="12"/>
                    <a:pt x="6" y="15"/>
                  </a:cubicBezTo>
                  <a:cubicBezTo>
                    <a:pt x="3" y="6"/>
                    <a:pt x="14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01" name="Freeform 1228"/>
            <p:cNvSpPr>
              <a:spLocks noChangeArrowheads="1"/>
            </p:cNvSpPr>
            <p:nvPr/>
          </p:nvSpPr>
          <p:spPr bwMode="auto">
            <a:xfrm>
              <a:off x="4162425" y="2690813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02" name="Freeform 1229"/>
            <p:cNvSpPr>
              <a:spLocks noChangeArrowheads="1"/>
            </p:cNvSpPr>
            <p:nvPr/>
          </p:nvSpPr>
          <p:spPr bwMode="auto">
            <a:xfrm>
              <a:off x="4165600" y="2689225"/>
              <a:ext cx="6350" cy="4763"/>
            </a:xfrm>
            <a:custGeom>
              <a:avLst/>
              <a:gdLst>
                <a:gd name="T0" fmla="*/ 0 w 18"/>
                <a:gd name="T1" fmla="*/ 6 h 12"/>
                <a:gd name="T2" fmla="*/ 17 w 18"/>
                <a:gd name="T3" fmla="*/ 6 h 12"/>
                <a:gd name="T4" fmla="*/ 0 w 18"/>
                <a:gd name="T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0" y="6"/>
                  </a:moveTo>
                  <a:cubicBezTo>
                    <a:pt x="5" y="6"/>
                    <a:pt x="14" y="11"/>
                    <a:pt x="17" y="6"/>
                  </a:cubicBezTo>
                  <a:cubicBezTo>
                    <a:pt x="11" y="6"/>
                    <a:pt x="2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03" name="Freeform 1230"/>
            <p:cNvSpPr>
              <a:spLocks noChangeArrowheads="1"/>
            </p:cNvSpPr>
            <p:nvPr/>
          </p:nvSpPr>
          <p:spPr bwMode="auto">
            <a:xfrm>
              <a:off x="4095750" y="2676525"/>
              <a:ext cx="4763" cy="6350"/>
            </a:xfrm>
            <a:custGeom>
              <a:avLst/>
              <a:gdLst>
                <a:gd name="T0" fmla="*/ 0 w 12"/>
                <a:gd name="T1" fmla="*/ 9 h 16"/>
                <a:gd name="T2" fmla="*/ 0 w 12"/>
                <a:gd name="T3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6">
                  <a:moveTo>
                    <a:pt x="0" y="9"/>
                  </a:moveTo>
                  <a:cubicBezTo>
                    <a:pt x="11" y="15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04" name="Freeform 1231"/>
            <p:cNvSpPr>
              <a:spLocks noChangeArrowheads="1"/>
            </p:cNvSpPr>
            <p:nvPr/>
          </p:nvSpPr>
          <p:spPr bwMode="auto">
            <a:xfrm>
              <a:off x="4124325" y="2684463"/>
              <a:ext cx="3175" cy="3175"/>
            </a:xfrm>
            <a:custGeom>
              <a:avLst/>
              <a:gdLst>
                <a:gd name="T0" fmla="*/ 0 w 11"/>
                <a:gd name="T1" fmla="*/ 9 h 10"/>
                <a:gd name="T2" fmla="*/ 10 w 11"/>
                <a:gd name="T3" fmla="*/ 3 h 10"/>
                <a:gd name="T4" fmla="*/ 0 w 11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0">
                  <a:moveTo>
                    <a:pt x="0" y="9"/>
                  </a:moveTo>
                  <a:cubicBezTo>
                    <a:pt x="3" y="9"/>
                    <a:pt x="7" y="9"/>
                    <a:pt x="10" y="3"/>
                  </a:cubicBezTo>
                  <a:cubicBezTo>
                    <a:pt x="4" y="3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05" name="Freeform 1232"/>
            <p:cNvSpPr>
              <a:spLocks noChangeArrowheads="1"/>
            </p:cNvSpPr>
            <p:nvPr/>
          </p:nvSpPr>
          <p:spPr bwMode="auto">
            <a:xfrm>
              <a:off x="4137025" y="2687638"/>
              <a:ext cx="1588" cy="1587"/>
            </a:xfrm>
            <a:custGeom>
              <a:avLst/>
              <a:gdLst>
                <a:gd name="T0" fmla="*/ 2 w 3"/>
                <a:gd name="T1" fmla="*/ 2 h 6"/>
                <a:gd name="T2" fmla="*/ 2 w 3"/>
                <a:gd name="T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6">
                  <a:moveTo>
                    <a:pt x="2" y="2"/>
                  </a:moveTo>
                  <a:cubicBezTo>
                    <a:pt x="2" y="5"/>
                    <a:pt x="0" y="0"/>
                    <a:pt x="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06" name="Freeform 1233"/>
            <p:cNvSpPr>
              <a:spLocks noChangeArrowheads="1"/>
            </p:cNvSpPr>
            <p:nvPr/>
          </p:nvSpPr>
          <p:spPr bwMode="auto">
            <a:xfrm>
              <a:off x="4108450" y="2679700"/>
              <a:ext cx="4763" cy="7938"/>
            </a:xfrm>
            <a:custGeom>
              <a:avLst/>
              <a:gdLst>
                <a:gd name="T0" fmla="*/ 0 w 13"/>
                <a:gd name="T1" fmla="*/ 11 h 23"/>
                <a:gd name="T2" fmla="*/ 0 w 13"/>
                <a:gd name="T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3">
                  <a:moveTo>
                    <a:pt x="0" y="11"/>
                  </a:moveTo>
                  <a:cubicBezTo>
                    <a:pt x="3" y="22"/>
                    <a:pt x="12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07" name="Freeform 1234"/>
            <p:cNvSpPr>
              <a:spLocks noChangeArrowheads="1"/>
            </p:cNvSpPr>
            <p:nvPr/>
          </p:nvSpPr>
          <p:spPr bwMode="auto">
            <a:xfrm>
              <a:off x="4138613" y="2689225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6 w 7"/>
                <a:gd name="T3" fmla="*/ 0 h 7"/>
                <a:gd name="T4" fmla="*/ 0 w 7"/>
                <a:gd name="T5" fmla="*/ 0 h 7"/>
                <a:gd name="T6" fmla="*/ 0 w 7"/>
                <a:gd name="T7" fmla="*/ 6 h 7"/>
                <a:gd name="T8" fmla="*/ 6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08" name="Freeform 1235"/>
            <p:cNvSpPr>
              <a:spLocks noChangeArrowheads="1"/>
            </p:cNvSpPr>
            <p:nvPr/>
          </p:nvSpPr>
          <p:spPr bwMode="auto">
            <a:xfrm>
              <a:off x="4149725" y="2690813"/>
              <a:ext cx="4763" cy="4762"/>
            </a:xfrm>
            <a:custGeom>
              <a:avLst/>
              <a:gdLst>
                <a:gd name="T0" fmla="*/ 9 w 15"/>
                <a:gd name="T1" fmla="*/ 14 h 15"/>
                <a:gd name="T2" fmla="*/ 3 w 15"/>
                <a:gd name="T3" fmla="*/ 0 h 15"/>
                <a:gd name="T4" fmla="*/ 9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14"/>
                  </a:moveTo>
                  <a:cubicBezTo>
                    <a:pt x="14" y="6"/>
                    <a:pt x="6" y="3"/>
                    <a:pt x="3" y="0"/>
                  </a:cubicBezTo>
                  <a:cubicBezTo>
                    <a:pt x="0" y="6"/>
                    <a:pt x="6" y="8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09" name="Freeform 1236"/>
            <p:cNvSpPr>
              <a:spLocks noChangeArrowheads="1"/>
            </p:cNvSpPr>
            <p:nvPr/>
          </p:nvSpPr>
          <p:spPr bwMode="auto">
            <a:xfrm>
              <a:off x="4122738" y="2689225"/>
              <a:ext cx="3175" cy="4763"/>
            </a:xfrm>
            <a:custGeom>
              <a:avLst/>
              <a:gdLst>
                <a:gd name="T0" fmla="*/ 7 w 8"/>
                <a:gd name="T1" fmla="*/ 11 h 12"/>
                <a:gd name="T2" fmla="*/ 3 w 8"/>
                <a:gd name="T3" fmla="*/ 0 h 12"/>
                <a:gd name="T4" fmla="*/ 7 w 8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2">
                  <a:moveTo>
                    <a:pt x="7" y="11"/>
                  </a:moveTo>
                  <a:cubicBezTo>
                    <a:pt x="7" y="9"/>
                    <a:pt x="7" y="3"/>
                    <a:pt x="3" y="0"/>
                  </a:cubicBezTo>
                  <a:cubicBezTo>
                    <a:pt x="0" y="3"/>
                    <a:pt x="0" y="9"/>
                    <a:pt x="7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10" name="Freeform 1237"/>
            <p:cNvSpPr>
              <a:spLocks noChangeArrowheads="1"/>
            </p:cNvSpPr>
            <p:nvPr/>
          </p:nvSpPr>
          <p:spPr bwMode="auto">
            <a:xfrm>
              <a:off x="4137025" y="2689225"/>
              <a:ext cx="6350" cy="6350"/>
            </a:xfrm>
            <a:custGeom>
              <a:avLst/>
              <a:gdLst>
                <a:gd name="T0" fmla="*/ 0 w 16"/>
                <a:gd name="T1" fmla="*/ 9 h 18"/>
                <a:gd name="T2" fmla="*/ 0 w 16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8">
                  <a:moveTo>
                    <a:pt x="0" y="9"/>
                  </a:moveTo>
                  <a:cubicBezTo>
                    <a:pt x="15" y="17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11" name="Freeform 1238"/>
            <p:cNvSpPr>
              <a:spLocks noChangeArrowheads="1"/>
            </p:cNvSpPr>
            <p:nvPr/>
          </p:nvSpPr>
          <p:spPr bwMode="auto">
            <a:xfrm>
              <a:off x="4144963" y="2693988"/>
              <a:ext cx="3175" cy="7937"/>
            </a:xfrm>
            <a:custGeom>
              <a:avLst/>
              <a:gdLst>
                <a:gd name="T0" fmla="*/ 0 w 7"/>
                <a:gd name="T1" fmla="*/ 9 h 24"/>
                <a:gd name="T2" fmla="*/ 0 w 7"/>
                <a:gd name="T3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4">
                  <a:moveTo>
                    <a:pt x="0" y="9"/>
                  </a:moveTo>
                  <a:cubicBezTo>
                    <a:pt x="6" y="23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12" name="Freeform 1239"/>
            <p:cNvSpPr>
              <a:spLocks noChangeArrowheads="1"/>
            </p:cNvSpPr>
            <p:nvPr/>
          </p:nvSpPr>
          <p:spPr bwMode="auto">
            <a:xfrm>
              <a:off x="4110038" y="2687638"/>
              <a:ext cx="4762" cy="6350"/>
            </a:xfrm>
            <a:custGeom>
              <a:avLst/>
              <a:gdLst>
                <a:gd name="T0" fmla="*/ 0 w 13"/>
                <a:gd name="T1" fmla="*/ 12 h 18"/>
                <a:gd name="T2" fmla="*/ 0 w 13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0" y="12"/>
                  </a:moveTo>
                  <a:cubicBezTo>
                    <a:pt x="12" y="17"/>
                    <a:pt x="3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13" name="Freeform 1240"/>
            <p:cNvSpPr>
              <a:spLocks noChangeArrowheads="1"/>
            </p:cNvSpPr>
            <p:nvPr/>
          </p:nvSpPr>
          <p:spPr bwMode="auto">
            <a:xfrm>
              <a:off x="4098925" y="2689225"/>
              <a:ext cx="4763" cy="7938"/>
            </a:xfrm>
            <a:custGeom>
              <a:avLst/>
              <a:gdLst>
                <a:gd name="T0" fmla="*/ 12 w 13"/>
                <a:gd name="T1" fmla="*/ 14 h 24"/>
                <a:gd name="T2" fmla="*/ 12 w 13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4">
                  <a:moveTo>
                    <a:pt x="12" y="14"/>
                  </a:moveTo>
                  <a:cubicBezTo>
                    <a:pt x="0" y="0"/>
                    <a:pt x="0" y="23"/>
                    <a:pt x="1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14" name="Freeform 1241"/>
            <p:cNvSpPr>
              <a:spLocks noChangeArrowheads="1"/>
            </p:cNvSpPr>
            <p:nvPr/>
          </p:nvSpPr>
          <p:spPr bwMode="auto">
            <a:xfrm>
              <a:off x="4152900" y="2678113"/>
              <a:ext cx="4763" cy="4762"/>
            </a:xfrm>
            <a:custGeom>
              <a:avLst/>
              <a:gdLst>
                <a:gd name="T0" fmla="*/ 0 w 12"/>
                <a:gd name="T1" fmla="*/ 0 h 15"/>
                <a:gd name="T2" fmla="*/ 0 w 12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0" y="0"/>
                  </a:moveTo>
                  <a:cubicBezTo>
                    <a:pt x="0" y="14"/>
                    <a:pt x="11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15" name="Freeform 1242"/>
            <p:cNvSpPr>
              <a:spLocks noChangeArrowheads="1"/>
            </p:cNvSpPr>
            <p:nvPr/>
          </p:nvSpPr>
          <p:spPr bwMode="auto">
            <a:xfrm>
              <a:off x="4149725" y="2679700"/>
              <a:ext cx="4763" cy="4763"/>
            </a:xfrm>
            <a:custGeom>
              <a:avLst/>
              <a:gdLst>
                <a:gd name="T0" fmla="*/ 0 w 13"/>
                <a:gd name="T1" fmla="*/ 3 h 15"/>
                <a:gd name="T2" fmla="*/ 0 w 13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3"/>
                  </a:moveTo>
                  <a:cubicBezTo>
                    <a:pt x="0" y="14"/>
                    <a:pt x="12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16" name="Freeform 1243"/>
            <p:cNvSpPr>
              <a:spLocks noChangeArrowheads="1"/>
            </p:cNvSpPr>
            <p:nvPr/>
          </p:nvSpPr>
          <p:spPr bwMode="auto">
            <a:xfrm>
              <a:off x="4133850" y="2674938"/>
              <a:ext cx="3175" cy="3175"/>
            </a:xfrm>
            <a:custGeom>
              <a:avLst/>
              <a:gdLst>
                <a:gd name="T0" fmla="*/ 0 w 10"/>
                <a:gd name="T1" fmla="*/ 0 h 9"/>
                <a:gd name="T2" fmla="*/ 9 w 10"/>
                <a:gd name="T3" fmla="*/ 8 h 9"/>
                <a:gd name="T4" fmla="*/ 0 w 10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cubicBezTo>
                    <a:pt x="0" y="5"/>
                    <a:pt x="3" y="8"/>
                    <a:pt x="9" y="8"/>
                  </a:cubicBezTo>
                  <a:cubicBezTo>
                    <a:pt x="6" y="5"/>
                    <a:pt x="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17" name="Freeform 1244"/>
            <p:cNvSpPr>
              <a:spLocks noChangeArrowheads="1"/>
            </p:cNvSpPr>
            <p:nvPr/>
          </p:nvSpPr>
          <p:spPr bwMode="auto">
            <a:xfrm>
              <a:off x="4125913" y="2678113"/>
              <a:ext cx="4762" cy="4762"/>
            </a:xfrm>
            <a:custGeom>
              <a:avLst/>
              <a:gdLst>
                <a:gd name="T0" fmla="*/ 0 w 13"/>
                <a:gd name="T1" fmla="*/ 3 h 15"/>
                <a:gd name="T2" fmla="*/ 0 w 13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3"/>
                  </a:moveTo>
                  <a:cubicBezTo>
                    <a:pt x="0" y="14"/>
                    <a:pt x="12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18" name="Freeform 1245"/>
            <p:cNvSpPr>
              <a:spLocks noChangeArrowheads="1"/>
            </p:cNvSpPr>
            <p:nvPr/>
          </p:nvSpPr>
          <p:spPr bwMode="auto">
            <a:xfrm>
              <a:off x="4122738" y="2678113"/>
              <a:ext cx="3175" cy="4762"/>
            </a:xfrm>
            <a:custGeom>
              <a:avLst/>
              <a:gdLst>
                <a:gd name="T0" fmla="*/ 0 w 8"/>
                <a:gd name="T1" fmla="*/ 0 h 15"/>
                <a:gd name="T2" fmla="*/ 0 w 8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" h="15">
                  <a:moveTo>
                    <a:pt x="0" y="0"/>
                  </a:moveTo>
                  <a:cubicBezTo>
                    <a:pt x="0" y="14"/>
                    <a:pt x="7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19" name="Freeform 1246"/>
            <p:cNvSpPr>
              <a:spLocks noChangeArrowheads="1"/>
            </p:cNvSpPr>
            <p:nvPr/>
          </p:nvSpPr>
          <p:spPr bwMode="auto">
            <a:xfrm>
              <a:off x="4092575" y="2673350"/>
              <a:ext cx="11113" cy="4763"/>
            </a:xfrm>
            <a:custGeom>
              <a:avLst/>
              <a:gdLst>
                <a:gd name="T0" fmla="*/ 23 w 30"/>
                <a:gd name="T1" fmla="*/ 6 h 15"/>
                <a:gd name="T2" fmla="*/ 6 w 30"/>
                <a:gd name="T3" fmla="*/ 11 h 15"/>
                <a:gd name="T4" fmla="*/ 23 w 30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15">
                  <a:moveTo>
                    <a:pt x="23" y="6"/>
                  </a:moveTo>
                  <a:cubicBezTo>
                    <a:pt x="20" y="3"/>
                    <a:pt x="0" y="0"/>
                    <a:pt x="6" y="11"/>
                  </a:cubicBezTo>
                  <a:cubicBezTo>
                    <a:pt x="6" y="14"/>
                    <a:pt x="29" y="14"/>
                    <a:pt x="2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20" name="Freeform 1247"/>
            <p:cNvSpPr>
              <a:spLocks noChangeArrowheads="1"/>
            </p:cNvSpPr>
            <p:nvPr/>
          </p:nvSpPr>
          <p:spPr bwMode="auto">
            <a:xfrm>
              <a:off x="4100513" y="2682875"/>
              <a:ext cx="6350" cy="9525"/>
            </a:xfrm>
            <a:custGeom>
              <a:avLst/>
              <a:gdLst>
                <a:gd name="T0" fmla="*/ 14 w 18"/>
                <a:gd name="T1" fmla="*/ 0 h 27"/>
                <a:gd name="T2" fmla="*/ 8 w 18"/>
                <a:gd name="T3" fmla="*/ 26 h 27"/>
                <a:gd name="T4" fmla="*/ 14 w 1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7">
                  <a:moveTo>
                    <a:pt x="14" y="0"/>
                  </a:moveTo>
                  <a:cubicBezTo>
                    <a:pt x="3" y="0"/>
                    <a:pt x="0" y="17"/>
                    <a:pt x="8" y="26"/>
                  </a:cubicBezTo>
                  <a:cubicBezTo>
                    <a:pt x="14" y="20"/>
                    <a:pt x="17" y="9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21" name="Freeform 1248"/>
            <p:cNvSpPr>
              <a:spLocks noChangeArrowheads="1"/>
            </p:cNvSpPr>
            <p:nvPr/>
          </p:nvSpPr>
          <p:spPr bwMode="auto">
            <a:xfrm>
              <a:off x="4094163" y="2673350"/>
              <a:ext cx="6350" cy="9525"/>
            </a:xfrm>
            <a:custGeom>
              <a:avLst/>
              <a:gdLst>
                <a:gd name="T0" fmla="*/ 14 w 18"/>
                <a:gd name="T1" fmla="*/ 20 h 27"/>
                <a:gd name="T2" fmla="*/ 14 w 18"/>
                <a:gd name="T3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27">
                  <a:moveTo>
                    <a:pt x="14" y="20"/>
                  </a:moveTo>
                  <a:cubicBezTo>
                    <a:pt x="17" y="0"/>
                    <a:pt x="0" y="26"/>
                    <a:pt x="14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22" name="Freeform 1249"/>
            <p:cNvSpPr>
              <a:spLocks noChangeArrowheads="1"/>
            </p:cNvSpPr>
            <p:nvPr/>
          </p:nvSpPr>
          <p:spPr bwMode="auto">
            <a:xfrm>
              <a:off x="4108450" y="2684463"/>
              <a:ext cx="7938" cy="7937"/>
            </a:xfrm>
            <a:custGeom>
              <a:avLst/>
              <a:gdLst>
                <a:gd name="T0" fmla="*/ 12 w 21"/>
                <a:gd name="T1" fmla="*/ 20 h 21"/>
                <a:gd name="T2" fmla="*/ 20 w 21"/>
                <a:gd name="T3" fmla="*/ 11 h 21"/>
                <a:gd name="T4" fmla="*/ 12 w 21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21">
                  <a:moveTo>
                    <a:pt x="12" y="20"/>
                  </a:moveTo>
                  <a:lnTo>
                    <a:pt x="20" y="11"/>
                  </a:lnTo>
                  <a:cubicBezTo>
                    <a:pt x="17" y="0"/>
                    <a:pt x="0" y="17"/>
                    <a:pt x="12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23" name="Freeform 1250"/>
            <p:cNvSpPr>
              <a:spLocks noChangeArrowheads="1"/>
            </p:cNvSpPr>
            <p:nvPr/>
          </p:nvSpPr>
          <p:spPr bwMode="auto">
            <a:xfrm>
              <a:off x="4114800" y="2676525"/>
              <a:ext cx="11113" cy="7938"/>
            </a:xfrm>
            <a:custGeom>
              <a:avLst/>
              <a:gdLst>
                <a:gd name="T0" fmla="*/ 0 w 32"/>
                <a:gd name="T1" fmla="*/ 8 h 23"/>
                <a:gd name="T2" fmla="*/ 22 w 32"/>
                <a:gd name="T3" fmla="*/ 22 h 23"/>
                <a:gd name="T4" fmla="*/ 31 w 32"/>
                <a:gd name="T5" fmla="*/ 14 h 23"/>
                <a:gd name="T6" fmla="*/ 8 w 32"/>
                <a:gd name="T7" fmla="*/ 2 h 23"/>
                <a:gd name="T8" fmla="*/ 0 w 32"/>
                <a:gd name="T9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3">
                  <a:moveTo>
                    <a:pt x="0" y="8"/>
                  </a:moveTo>
                  <a:cubicBezTo>
                    <a:pt x="8" y="17"/>
                    <a:pt x="14" y="22"/>
                    <a:pt x="22" y="22"/>
                  </a:cubicBezTo>
                  <a:lnTo>
                    <a:pt x="31" y="14"/>
                  </a:lnTo>
                  <a:cubicBezTo>
                    <a:pt x="28" y="5"/>
                    <a:pt x="16" y="0"/>
                    <a:pt x="8" y="2"/>
                  </a:cubicBezTo>
                  <a:cubicBezTo>
                    <a:pt x="2" y="2"/>
                    <a:pt x="2" y="5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24" name="Freeform 1251"/>
            <p:cNvSpPr>
              <a:spLocks noChangeArrowheads="1"/>
            </p:cNvSpPr>
            <p:nvPr/>
          </p:nvSpPr>
          <p:spPr bwMode="auto">
            <a:xfrm>
              <a:off x="4141788" y="2692400"/>
              <a:ext cx="3175" cy="7938"/>
            </a:xfrm>
            <a:custGeom>
              <a:avLst/>
              <a:gdLst>
                <a:gd name="T0" fmla="*/ 8 w 9"/>
                <a:gd name="T1" fmla="*/ 14 h 23"/>
                <a:gd name="T2" fmla="*/ 8 w 9"/>
                <a:gd name="T3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3">
                  <a:moveTo>
                    <a:pt x="8" y="14"/>
                  </a:moveTo>
                  <a:cubicBezTo>
                    <a:pt x="0" y="0"/>
                    <a:pt x="0" y="22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25" name="Freeform 1252"/>
            <p:cNvSpPr>
              <a:spLocks noChangeArrowheads="1"/>
            </p:cNvSpPr>
            <p:nvPr/>
          </p:nvSpPr>
          <p:spPr bwMode="auto">
            <a:xfrm>
              <a:off x="4129088" y="2679700"/>
              <a:ext cx="4762" cy="6350"/>
            </a:xfrm>
            <a:custGeom>
              <a:avLst/>
              <a:gdLst>
                <a:gd name="T0" fmla="*/ 6 w 12"/>
                <a:gd name="T1" fmla="*/ 17 h 18"/>
                <a:gd name="T2" fmla="*/ 8 w 12"/>
                <a:gd name="T3" fmla="*/ 3 h 18"/>
                <a:gd name="T4" fmla="*/ 6 w 12"/>
                <a:gd name="T5" fmla="*/ 0 h 18"/>
                <a:gd name="T6" fmla="*/ 3 w 12"/>
                <a:gd name="T7" fmla="*/ 14 h 18"/>
                <a:gd name="T8" fmla="*/ 6 w 12"/>
                <a:gd name="T9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8">
                  <a:moveTo>
                    <a:pt x="6" y="17"/>
                  </a:moveTo>
                  <a:cubicBezTo>
                    <a:pt x="11" y="14"/>
                    <a:pt x="11" y="8"/>
                    <a:pt x="8" y="3"/>
                  </a:cubicBezTo>
                  <a:cubicBezTo>
                    <a:pt x="8" y="0"/>
                    <a:pt x="6" y="0"/>
                    <a:pt x="6" y="0"/>
                  </a:cubicBezTo>
                  <a:cubicBezTo>
                    <a:pt x="0" y="3"/>
                    <a:pt x="0" y="8"/>
                    <a:pt x="3" y="14"/>
                  </a:cubicBezTo>
                  <a:cubicBezTo>
                    <a:pt x="3" y="14"/>
                    <a:pt x="3" y="17"/>
                    <a:pt x="6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26" name="Freeform 1253"/>
            <p:cNvSpPr>
              <a:spLocks noChangeArrowheads="1"/>
            </p:cNvSpPr>
            <p:nvPr/>
          </p:nvSpPr>
          <p:spPr bwMode="auto">
            <a:xfrm>
              <a:off x="4146550" y="2689225"/>
              <a:ext cx="3175" cy="7938"/>
            </a:xfrm>
            <a:custGeom>
              <a:avLst/>
              <a:gdLst>
                <a:gd name="T0" fmla="*/ 8 w 9"/>
                <a:gd name="T1" fmla="*/ 14 h 24"/>
                <a:gd name="T2" fmla="*/ 8 w 9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4">
                  <a:moveTo>
                    <a:pt x="8" y="14"/>
                  </a:moveTo>
                  <a:cubicBezTo>
                    <a:pt x="0" y="0"/>
                    <a:pt x="0" y="23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27" name="Freeform 1254"/>
            <p:cNvSpPr>
              <a:spLocks noChangeArrowheads="1"/>
            </p:cNvSpPr>
            <p:nvPr/>
          </p:nvSpPr>
          <p:spPr bwMode="auto">
            <a:xfrm>
              <a:off x="4159250" y="2700338"/>
              <a:ext cx="4763" cy="4762"/>
            </a:xfrm>
            <a:custGeom>
              <a:avLst/>
              <a:gdLst>
                <a:gd name="T0" fmla="*/ 5 w 12"/>
                <a:gd name="T1" fmla="*/ 0 h 12"/>
                <a:gd name="T2" fmla="*/ 0 w 12"/>
                <a:gd name="T3" fmla="*/ 6 h 12"/>
                <a:gd name="T4" fmla="*/ 5 w 12"/>
                <a:gd name="T5" fmla="*/ 11 h 12"/>
                <a:gd name="T6" fmla="*/ 11 w 12"/>
                <a:gd name="T7" fmla="*/ 6 h 12"/>
                <a:gd name="T8" fmla="*/ 5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0" y="6"/>
                  </a:lnTo>
                  <a:lnTo>
                    <a:pt x="5" y="11"/>
                  </a:lnTo>
                  <a:lnTo>
                    <a:pt x="11" y="6"/>
                  </a:lnTo>
                  <a:lnTo>
                    <a:pt x="5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28" name="Freeform 1255"/>
            <p:cNvSpPr>
              <a:spLocks noChangeArrowheads="1"/>
            </p:cNvSpPr>
            <p:nvPr/>
          </p:nvSpPr>
          <p:spPr bwMode="auto">
            <a:xfrm>
              <a:off x="4141788" y="2684463"/>
              <a:ext cx="1587" cy="3175"/>
            </a:xfrm>
            <a:custGeom>
              <a:avLst/>
              <a:gdLst>
                <a:gd name="T0" fmla="*/ 3 w 4"/>
                <a:gd name="T1" fmla="*/ 6 h 10"/>
                <a:gd name="T2" fmla="*/ 3 w 4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0">
                  <a:moveTo>
                    <a:pt x="3" y="6"/>
                  </a:moveTo>
                  <a:cubicBezTo>
                    <a:pt x="0" y="0"/>
                    <a:pt x="3" y="9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29" name="Freeform 1256"/>
            <p:cNvSpPr>
              <a:spLocks noChangeArrowheads="1"/>
            </p:cNvSpPr>
            <p:nvPr/>
          </p:nvSpPr>
          <p:spPr bwMode="auto">
            <a:xfrm>
              <a:off x="4149725" y="2687638"/>
              <a:ext cx="4763" cy="4762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2 h 13"/>
                <a:gd name="T6" fmla="*/ 12 w 13"/>
                <a:gd name="T7" fmla="*/ 6 h 13"/>
                <a:gd name="T8" fmla="*/ 6 w 13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lnTo>
                    <a:pt x="0" y="6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30" name="Freeform 1257"/>
            <p:cNvSpPr>
              <a:spLocks noChangeArrowheads="1"/>
            </p:cNvSpPr>
            <p:nvPr/>
          </p:nvSpPr>
          <p:spPr bwMode="auto">
            <a:xfrm>
              <a:off x="4144963" y="2681288"/>
              <a:ext cx="7937" cy="4762"/>
            </a:xfrm>
            <a:custGeom>
              <a:avLst/>
              <a:gdLst>
                <a:gd name="T0" fmla="*/ 11 w 21"/>
                <a:gd name="T1" fmla="*/ 0 h 15"/>
                <a:gd name="T2" fmla="*/ 3 w 21"/>
                <a:gd name="T3" fmla="*/ 14 h 15"/>
                <a:gd name="T4" fmla="*/ 20 w 21"/>
                <a:gd name="T5" fmla="*/ 8 h 15"/>
                <a:gd name="T6" fmla="*/ 11 w 21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5">
                  <a:moveTo>
                    <a:pt x="11" y="0"/>
                  </a:moveTo>
                  <a:cubicBezTo>
                    <a:pt x="8" y="5"/>
                    <a:pt x="0" y="11"/>
                    <a:pt x="3" y="14"/>
                  </a:cubicBezTo>
                  <a:cubicBezTo>
                    <a:pt x="8" y="0"/>
                    <a:pt x="14" y="11"/>
                    <a:pt x="20" y="8"/>
                  </a:cubicBezTo>
                  <a:lnTo>
                    <a:pt x="11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31" name="Freeform 1258"/>
            <p:cNvSpPr>
              <a:spLocks noChangeArrowheads="1"/>
            </p:cNvSpPr>
            <p:nvPr/>
          </p:nvSpPr>
          <p:spPr bwMode="auto">
            <a:xfrm>
              <a:off x="4141788" y="2671763"/>
              <a:ext cx="6350" cy="9525"/>
            </a:xfrm>
            <a:custGeom>
              <a:avLst/>
              <a:gdLst>
                <a:gd name="T0" fmla="*/ 16 w 17"/>
                <a:gd name="T1" fmla="*/ 20 h 27"/>
                <a:gd name="T2" fmla="*/ 16 w 17"/>
                <a:gd name="T3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27">
                  <a:moveTo>
                    <a:pt x="16" y="20"/>
                  </a:moveTo>
                  <a:cubicBezTo>
                    <a:pt x="14" y="0"/>
                    <a:pt x="0" y="26"/>
                    <a:pt x="16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32" name="Freeform 1259"/>
            <p:cNvSpPr>
              <a:spLocks noChangeArrowheads="1"/>
            </p:cNvSpPr>
            <p:nvPr/>
          </p:nvSpPr>
          <p:spPr bwMode="auto">
            <a:xfrm>
              <a:off x="4160838" y="2687638"/>
              <a:ext cx="6350" cy="6350"/>
            </a:xfrm>
            <a:custGeom>
              <a:avLst/>
              <a:gdLst>
                <a:gd name="T0" fmla="*/ 0 w 18"/>
                <a:gd name="T1" fmla="*/ 8 h 18"/>
                <a:gd name="T2" fmla="*/ 9 w 18"/>
                <a:gd name="T3" fmla="*/ 17 h 18"/>
                <a:gd name="T4" fmla="*/ 17 w 18"/>
                <a:gd name="T5" fmla="*/ 8 h 18"/>
                <a:gd name="T6" fmla="*/ 3 w 18"/>
                <a:gd name="T7" fmla="*/ 2 h 18"/>
                <a:gd name="T8" fmla="*/ 0 w 18"/>
                <a:gd name="T9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0" y="8"/>
                  </a:moveTo>
                  <a:lnTo>
                    <a:pt x="9" y="17"/>
                  </a:lnTo>
                  <a:lnTo>
                    <a:pt x="17" y="8"/>
                  </a:lnTo>
                  <a:cubicBezTo>
                    <a:pt x="14" y="2"/>
                    <a:pt x="9" y="0"/>
                    <a:pt x="3" y="2"/>
                  </a:cubicBezTo>
                  <a:cubicBezTo>
                    <a:pt x="0" y="5"/>
                    <a:pt x="0" y="5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33" name="Freeform 1260"/>
            <p:cNvSpPr>
              <a:spLocks noChangeArrowheads="1"/>
            </p:cNvSpPr>
            <p:nvPr/>
          </p:nvSpPr>
          <p:spPr bwMode="auto">
            <a:xfrm>
              <a:off x="4154488" y="2673350"/>
              <a:ext cx="4762" cy="9525"/>
            </a:xfrm>
            <a:custGeom>
              <a:avLst/>
              <a:gdLst>
                <a:gd name="T0" fmla="*/ 12 w 13"/>
                <a:gd name="T1" fmla="*/ 14 h 27"/>
                <a:gd name="T2" fmla="*/ 12 w 13"/>
                <a:gd name="T3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7">
                  <a:moveTo>
                    <a:pt x="12" y="14"/>
                  </a:moveTo>
                  <a:cubicBezTo>
                    <a:pt x="0" y="0"/>
                    <a:pt x="3" y="26"/>
                    <a:pt x="1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34" name="Freeform 1261"/>
            <p:cNvSpPr>
              <a:spLocks noChangeArrowheads="1"/>
            </p:cNvSpPr>
            <p:nvPr/>
          </p:nvSpPr>
          <p:spPr bwMode="auto">
            <a:xfrm>
              <a:off x="4160838" y="2673350"/>
              <a:ext cx="7937" cy="6350"/>
            </a:xfrm>
            <a:custGeom>
              <a:avLst/>
              <a:gdLst>
                <a:gd name="T0" fmla="*/ 20 w 21"/>
                <a:gd name="T1" fmla="*/ 8 h 18"/>
                <a:gd name="T2" fmla="*/ 0 w 21"/>
                <a:gd name="T3" fmla="*/ 6 h 18"/>
                <a:gd name="T4" fmla="*/ 20 w 21"/>
                <a:gd name="T5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20" y="8"/>
                  </a:moveTo>
                  <a:cubicBezTo>
                    <a:pt x="12" y="0"/>
                    <a:pt x="6" y="6"/>
                    <a:pt x="0" y="6"/>
                  </a:cubicBezTo>
                  <a:cubicBezTo>
                    <a:pt x="9" y="11"/>
                    <a:pt x="14" y="17"/>
                    <a:pt x="2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35" name="Freeform 1262"/>
            <p:cNvSpPr>
              <a:spLocks noChangeArrowheads="1"/>
            </p:cNvSpPr>
            <p:nvPr/>
          </p:nvSpPr>
          <p:spPr bwMode="auto">
            <a:xfrm>
              <a:off x="4117975" y="2686050"/>
              <a:ext cx="1588" cy="4763"/>
            </a:xfrm>
            <a:custGeom>
              <a:avLst/>
              <a:gdLst>
                <a:gd name="T0" fmla="*/ 0 w 4"/>
                <a:gd name="T1" fmla="*/ 11 h 12"/>
                <a:gd name="T2" fmla="*/ 1 w 4"/>
                <a:gd name="T3" fmla="*/ 6 h 12"/>
                <a:gd name="T4" fmla="*/ 0 w 4"/>
                <a:gd name="T5" fmla="*/ 8 h 12"/>
                <a:gd name="T6" fmla="*/ 0 w 4"/>
                <a:gd name="T7" fmla="*/ 11 h 12"/>
                <a:gd name="T8" fmla="*/ 3 w 4"/>
                <a:gd name="T9" fmla="*/ 0 h 12"/>
                <a:gd name="T10" fmla="*/ 1 w 4"/>
                <a:gd name="T11" fmla="*/ 6 h 12"/>
                <a:gd name="T12" fmla="*/ 3 w 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2">
                  <a:moveTo>
                    <a:pt x="0" y="11"/>
                  </a:moveTo>
                  <a:cubicBezTo>
                    <a:pt x="0" y="10"/>
                    <a:pt x="0" y="8"/>
                    <a:pt x="1" y="6"/>
                  </a:cubicBezTo>
                  <a:cubicBezTo>
                    <a:pt x="0" y="7"/>
                    <a:pt x="0" y="8"/>
                    <a:pt x="0" y="8"/>
                  </a:cubicBezTo>
                  <a:lnTo>
                    <a:pt x="0" y="11"/>
                  </a:lnTo>
                  <a:close/>
                  <a:moveTo>
                    <a:pt x="3" y="0"/>
                  </a:moveTo>
                  <a:cubicBezTo>
                    <a:pt x="3" y="0"/>
                    <a:pt x="3" y="2"/>
                    <a:pt x="1" y="6"/>
                  </a:cubicBezTo>
                  <a:cubicBezTo>
                    <a:pt x="2" y="3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36" name="Freeform 1263"/>
            <p:cNvSpPr>
              <a:spLocks noChangeArrowheads="1"/>
            </p:cNvSpPr>
            <p:nvPr/>
          </p:nvSpPr>
          <p:spPr bwMode="auto">
            <a:xfrm>
              <a:off x="4090988" y="2673350"/>
              <a:ext cx="6350" cy="9525"/>
            </a:xfrm>
            <a:custGeom>
              <a:avLst/>
              <a:gdLst>
                <a:gd name="T0" fmla="*/ 11 w 18"/>
                <a:gd name="T1" fmla="*/ 0 h 27"/>
                <a:gd name="T2" fmla="*/ 0 w 18"/>
                <a:gd name="T3" fmla="*/ 14 h 27"/>
                <a:gd name="T4" fmla="*/ 11 w 1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7">
                  <a:moveTo>
                    <a:pt x="11" y="0"/>
                  </a:moveTo>
                  <a:cubicBezTo>
                    <a:pt x="8" y="9"/>
                    <a:pt x="2" y="6"/>
                    <a:pt x="0" y="14"/>
                  </a:cubicBezTo>
                  <a:cubicBezTo>
                    <a:pt x="8" y="26"/>
                    <a:pt x="17" y="3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37" name="Freeform 1264"/>
            <p:cNvSpPr>
              <a:spLocks noChangeArrowheads="1"/>
            </p:cNvSpPr>
            <p:nvPr/>
          </p:nvSpPr>
          <p:spPr bwMode="auto">
            <a:xfrm>
              <a:off x="4113213" y="2671763"/>
              <a:ext cx="7937" cy="4762"/>
            </a:xfrm>
            <a:custGeom>
              <a:avLst/>
              <a:gdLst>
                <a:gd name="T0" fmla="*/ 11 w 23"/>
                <a:gd name="T1" fmla="*/ 14 h 15"/>
                <a:gd name="T2" fmla="*/ 11 w 23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5">
                  <a:moveTo>
                    <a:pt x="11" y="14"/>
                  </a:moveTo>
                  <a:cubicBezTo>
                    <a:pt x="22" y="0"/>
                    <a:pt x="0" y="9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38" name="Freeform 1265"/>
            <p:cNvSpPr>
              <a:spLocks noChangeArrowheads="1"/>
            </p:cNvSpPr>
            <p:nvPr/>
          </p:nvSpPr>
          <p:spPr bwMode="auto">
            <a:xfrm>
              <a:off x="4117975" y="2671763"/>
              <a:ext cx="7938" cy="6350"/>
            </a:xfrm>
            <a:custGeom>
              <a:avLst/>
              <a:gdLst>
                <a:gd name="T0" fmla="*/ 11 w 21"/>
                <a:gd name="T1" fmla="*/ 17 h 18"/>
                <a:gd name="T2" fmla="*/ 11 w 21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8">
                  <a:moveTo>
                    <a:pt x="11" y="17"/>
                  </a:moveTo>
                  <a:cubicBezTo>
                    <a:pt x="20" y="0"/>
                    <a:pt x="0" y="12"/>
                    <a:pt x="11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39" name="Freeform 1266"/>
            <p:cNvSpPr>
              <a:spLocks noChangeArrowheads="1"/>
            </p:cNvSpPr>
            <p:nvPr/>
          </p:nvSpPr>
          <p:spPr bwMode="auto">
            <a:xfrm>
              <a:off x="4137025" y="2689225"/>
              <a:ext cx="7938" cy="4763"/>
            </a:xfrm>
            <a:custGeom>
              <a:avLst/>
              <a:gdLst>
                <a:gd name="T0" fmla="*/ 11 w 23"/>
                <a:gd name="T1" fmla="*/ 14 h 15"/>
                <a:gd name="T2" fmla="*/ 11 w 23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5">
                  <a:moveTo>
                    <a:pt x="11" y="14"/>
                  </a:moveTo>
                  <a:cubicBezTo>
                    <a:pt x="22" y="0"/>
                    <a:pt x="0" y="9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40" name="Freeform 1267"/>
            <p:cNvSpPr>
              <a:spLocks noChangeArrowheads="1"/>
            </p:cNvSpPr>
            <p:nvPr/>
          </p:nvSpPr>
          <p:spPr bwMode="auto">
            <a:xfrm>
              <a:off x="4144963" y="2681288"/>
              <a:ext cx="7937" cy="4762"/>
            </a:xfrm>
            <a:custGeom>
              <a:avLst/>
              <a:gdLst>
                <a:gd name="T0" fmla="*/ 11 w 24"/>
                <a:gd name="T1" fmla="*/ 14 h 15"/>
                <a:gd name="T2" fmla="*/ 11 w 24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15">
                  <a:moveTo>
                    <a:pt x="11" y="14"/>
                  </a:moveTo>
                  <a:cubicBezTo>
                    <a:pt x="23" y="0"/>
                    <a:pt x="0" y="8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41" name="Freeform 1268"/>
            <p:cNvSpPr>
              <a:spLocks noChangeArrowheads="1"/>
            </p:cNvSpPr>
            <p:nvPr/>
          </p:nvSpPr>
          <p:spPr bwMode="auto">
            <a:xfrm>
              <a:off x="4165600" y="2678113"/>
              <a:ext cx="4763" cy="6350"/>
            </a:xfrm>
            <a:custGeom>
              <a:avLst/>
              <a:gdLst>
                <a:gd name="T0" fmla="*/ 2 w 15"/>
                <a:gd name="T1" fmla="*/ 0 h 18"/>
                <a:gd name="T2" fmla="*/ 5 w 15"/>
                <a:gd name="T3" fmla="*/ 14 h 18"/>
                <a:gd name="T4" fmla="*/ 11 w 15"/>
                <a:gd name="T5" fmla="*/ 17 h 18"/>
                <a:gd name="T6" fmla="*/ 8 w 15"/>
                <a:gd name="T7" fmla="*/ 3 h 18"/>
                <a:gd name="T8" fmla="*/ 2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2" y="0"/>
                  </a:moveTo>
                  <a:cubicBezTo>
                    <a:pt x="0" y="6"/>
                    <a:pt x="0" y="12"/>
                    <a:pt x="5" y="14"/>
                  </a:cubicBezTo>
                  <a:cubicBezTo>
                    <a:pt x="8" y="14"/>
                    <a:pt x="8" y="17"/>
                    <a:pt x="11" y="17"/>
                  </a:cubicBezTo>
                  <a:cubicBezTo>
                    <a:pt x="14" y="12"/>
                    <a:pt x="14" y="6"/>
                    <a:pt x="8" y="3"/>
                  </a:cubicBezTo>
                  <a:cubicBezTo>
                    <a:pt x="5" y="0"/>
                    <a:pt x="5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42" name="Freeform 1269"/>
            <p:cNvSpPr>
              <a:spLocks noChangeArrowheads="1"/>
            </p:cNvSpPr>
            <p:nvPr/>
          </p:nvSpPr>
          <p:spPr bwMode="auto">
            <a:xfrm>
              <a:off x="4462463" y="2640013"/>
              <a:ext cx="4762" cy="6350"/>
            </a:xfrm>
            <a:custGeom>
              <a:avLst/>
              <a:gdLst>
                <a:gd name="T0" fmla="*/ 0 w 13"/>
                <a:gd name="T1" fmla="*/ 11 h 18"/>
                <a:gd name="T2" fmla="*/ 0 w 13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0" y="11"/>
                  </a:moveTo>
                  <a:cubicBezTo>
                    <a:pt x="12" y="17"/>
                    <a:pt x="3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43" name="Freeform 1270"/>
            <p:cNvSpPr>
              <a:spLocks noChangeArrowheads="1"/>
            </p:cNvSpPr>
            <p:nvPr/>
          </p:nvSpPr>
          <p:spPr bwMode="auto">
            <a:xfrm>
              <a:off x="4443413" y="2646363"/>
              <a:ext cx="4762" cy="3175"/>
            </a:xfrm>
            <a:custGeom>
              <a:avLst/>
              <a:gdLst>
                <a:gd name="T0" fmla="*/ 0 w 15"/>
                <a:gd name="T1" fmla="*/ 5 h 9"/>
                <a:gd name="T2" fmla="*/ 3 w 15"/>
                <a:gd name="T3" fmla="*/ 8 h 9"/>
                <a:gd name="T4" fmla="*/ 8 w 15"/>
                <a:gd name="T5" fmla="*/ 8 h 9"/>
                <a:gd name="T6" fmla="*/ 0 w 15"/>
                <a:gd name="T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9">
                  <a:moveTo>
                    <a:pt x="0" y="5"/>
                  </a:moveTo>
                  <a:cubicBezTo>
                    <a:pt x="3" y="5"/>
                    <a:pt x="3" y="5"/>
                    <a:pt x="3" y="8"/>
                  </a:cubicBezTo>
                  <a:lnTo>
                    <a:pt x="8" y="8"/>
                  </a:lnTo>
                  <a:cubicBezTo>
                    <a:pt x="14" y="3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44" name="Freeform 1271"/>
            <p:cNvSpPr>
              <a:spLocks noChangeArrowheads="1"/>
            </p:cNvSpPr>
            <p:nvPr/>
          </p:nvSpPr>
          <p:spPr bwMode="auto">
            <a:xfrm>
              <a:off x="4464050" y="2651125"/>
              <a:ext cx="4763" cy="4763"/>
            </a:xfrm>
            <a:custGeom>
              <a:avLst/>
              <a:gdLst>
                <a:gd name="T0" fmla="*/ 0 w 15"/>
                <a:gd name="T1" fmla="*/ 8 h 15"/>
                <a:gd name="T2" fmla="*/ 0 w 15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0" y="8"/>
                  </a:moveTo>
                  <a:cubicBezTo>
                    <a:pt x="14" y="14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45" name="Freeform 1272"/>
            <p:cNvSpPr>
              <a:spLocks noChangeArrowheads="1"/>
            </p:cNvSpPr>
            <p:nvPr/>
          </p:nvSpPr>
          <p:spPr bwMode="auto">
            <a:xfrm>
              <a:off x="4418013" y="2644775"/>
              <a:ext cx="3175" cy="7938"/>
            </a:xfrm>
            <a:custGeom>
              <a:avLst/>
              <a:gdLst>
                <a:gd name="T0" fmla="*/ 0 w 10"/>
                <a:gd name="T1" fmla="*/ 11 h 24"/>
                <a:gd name="T2" fmla="*/ 0 w 10"/>
                <a:gd name="T3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4">
                  <a:moveTo>
                    <a:pt x="0" y="11"/>
                  </a:moveTo>
                  <a:cubicBezTo>
                    <a:pt x="9" y="23"/>
                    <a:pt x="6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46" name="Freeform 1273"/>
            <p:cNvSpPr>
              <a:spLocks noChangeArrowheads="1"/>
            </p:cNvSpPr>
            <p:nvPr/>
          </p:nvSpPr>
          <p:spPr bwMode="auto">
            <a:xfrm>
              <a:off x="4438650" y="2651125"/>
              <a:ext cx="7938" cy="4763"/>
            </a:xfrm>
            <a:custGeom>
              <a:avLst/>
              <a:gdLst>
                <a:gd name="T0" fmla="*/ 6 w 21"/>
                <a:gd name="T1" fmla="*/ 0 h 12"/>
                <a:gd name="T2" fmla="*/ 17 w 21"/>
                <a:gd name="T3" fmla="*/ 11 h 12"/>
                <a:gd name="T4" fmla="*/ 6 w 21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6" y="0"/>
                  </a:moveTo>
                  <a:cubicBezTo>
                    <a:pt x="0" y="8"/>
                    <a:pt x="9" y="11"/>
                    <a:pt x="17" y="11"/>
                  </a:cubicBezTo>
                  <a:cubicBezTo>
                    <a:pt x="20" y="3"/>
                    <a:pt x="15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47" name="Freeform 1274"/>
            <p:cNvSpPr>
              <a:spLocks noChangeArrowheads="1"/>
            </p:cNvSpPr>
            <p:nvPr/>
          </p:nvSpPr>
          <p:spPr bwMode="auto">
            <a:xfrm>
              <a:off x="4452938" y="2654300"/>
              <a:ext cx="4762" cy="4763"/>
            </a:xfrm>
            <a:custGeom>
              <a:avLst/>
              <a:gdLst>
                <a:gd name="T0" fmla="*/ 3 w 15"/>
                <a:gd name="T1" fmla="*/ 0 h 15"/>
                <a:gd name="T2" fmla="*/ 6 w 15"/>
                <a:gd name="T3" fmla="*/ 14 h 15"/>
                <a:gd name="T4" fmla="*/ 3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3" y="0"/>
                  </a:moveTo>
                  <a:cubicBezTo>
                    <a:pt x="0" y="6"/>
                    <a:pt x="0" y="12"/>
                    <a:pt x="6" y="14"/>
                  </a:cubicBezTo>
                  <a:cubicBezTo>
                    <a:pt x="3" y="3"/>
                    <a:pt x="14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48" name="Freeform 1275"/>
            <p:cNvSpPr>
              <a:spLocks noChangeArrowheads="1"/>
            </p:cNvSpPr>
            <p:nvPr/>
          </p:nvSpPr>
          <p:spPr bwMode="auto">
            <a:xfrm>
              <a:off x="4459288" y="2655888"/>
              <a:ext cx="1587" cy="3175"/>
            </a:xfrm>
            <a:custGeom>
              <a:avLst/>
              <a:gdLst>
                <a:gd name="T0" fmla="*/ 0 w 4"/>
                <a:gd name="T1" fmla="*/ 3 h 7"/>
                <a:gd name="T2" fmla="*/ 0 w 4"/>
                <a:gd name="T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7">
                  <a:moveTo>
                    <a:pt x="0" y="3"/>
                  </a:moveTo>
                  <a:cubicBezTo>
                    <a:pt x="3" y="6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49" name="Freeform 1276"/>
            <p:cNvSpPr>
              <a:spLocks noChangeArrowheads="1"/>
            </p:cNvSpPr>
            <p:nvPr/>
          </p:nvSpPr>
          <p:spPr bwMode="auto">
            <a:xfrm>
              <a:off x="4462463" y="2655888"/>
              <a:ext cx="6350" cy="4762"/>
            </a:xfrm>
            <a:custGeom>
              <a:avLst/>
              <a:gdLst>
                <a:gd name="T0" fmla="*/ 0 w 18"/>
                <a:gd name="T1" fmla="*/ 6 h 12"/>
                <a:gd name="T2" fmla="*/ 17 w 18"/>
                <a:gd name="T3" fmla="*/ 6 h 12"/>
                <a:gd name="T4" fmla="*/ 0 w 18"/>
                <a:gd name="T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0" y="6"/>
                  </a:moveTo>
                  <a:cubicBezTo>
                    <a:pt x="6" y="6"/>
                    <a:pt x="14" y="11"/>
                    <a:pt x="17" y="6"/>
                  </a:cubicBezTo>
                  <a:cubicBezTo>
                    <a:pt x="9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50" name="Freeform 1277"/>
            <p:cNvSpPr>
              <a:spLocks noChangeArrowheads="1"/>
            </p:cNvSpPr>
            <p:nvPr/>
          </p:nvSpPr>
          <p:spPr bwMode="auto">
            <a:xfrm>
              <a:off x="4392613" y="2641600"/>
              <a:ext cx="4762" cy="6350"/>
            </a:xfrm>
            <a:custGeom>
              <a:avLst/>
              <a:gdLst>
                <a:gd name="T0" fmla="*/ 0 w 15"/>
                <a:gd name="T1" fmla="*/ 9 h 16"/>
                <a:gd name="T2" fmla="*/ 0 w 15"/>
                <a:gd name="T3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6">
                  <a:moveTo>
                    <a:pt x="0" y="9"/>
                  </a:moveTo>
                  <a:cubicBezTo>
                    <a:pt x="14" y="15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51" name="Freeform 1278"/>
            <p:cNvSpPr>
              <a:spLocks noChangeArrowheads="1"/>
            </p:cNvSpPr>
            <p:nvPr/>
          </p:nvSpPr>
          <p:spPr bwMode="auto">
            <a:xfrm>
              <a:off x="4421188" y="2649538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11 w 12"/>
                <a:gd name="T3" fmla="*/ 3 h 10"/>
                <a:gd name="T4" fmla="*/ 0 w 12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2" y="9"/>
                    <a:pt x="8" y="9"/>
                    <a:pt x="11" y="3"/>
                  </a:cubicBezTo>
                  <a:cubicBezTo>
                    <a:pt x="5" y="3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52" name="Freeform 1279"/>
            <p:cNvSpPr>
              <a:spLocks noChangeArrowheads="1"/>
            </p:cNvSpPr>
            <p:nvPr/>
          </p:nvSpPr>
          <p:spPr bwMode="auto">
            <a:xfrm>
              <a:off x="4432300" y="2654300"/>
              <a:ext cx="1588" cy="1588"/>
            </a:xfrm>
            <a:custGeom>
              <a:avLst/>
              <a:gdLst>
                <a:gd name="T0" fmla="*/ 2 w 3"/>
                <a:gd name="T1" fmla="*/ 0 h 3"/>
                <a:gd name="T2" fmla="*/ 2 w 3"/>
                <a:gd name="T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2"/>
                    <a:pt x="0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53" name="Freeform 1280"/>
            <p:cNvSpPr>
              <a:spLocks noChangeArrowheads="1"/>
            </p:cNvSpPr>
            <p:nvPr/>
          </p:nvSpPr>
          <p:spPr bwMode="auto">
            <a:xfrm>
              <a:off x="4405313" y="2644775"/>
              <a:ext cx="4762" cy="7938"/>
            </a:xfrm>
            <a:custGeom>
              <a:avLst/>
              <a:gdLst>
                <a:gd name="T0" fmla="*/ 0 w 13"/>
                <a:gd name="T1" fmla="*/ 11 h 24"/>
                <a:gd name="T2" fmla="*/ 0 w 13"/>
                <a:gd name="T3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4">
                  <a:moveTo>
                    <a:pt x="0" y="11"/>
                  </a:moveTo>
                  <a:cubicBezTo>
                    <a:pt x="3" y="23"/>
                    <a:pt x="12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54" name="Freeform 1281"/>
            <p:cNvSpPr>
              <a:spLocks noChangeArrowheads="1"/>
            </p:cNvSpPr>
            <p:nvPr/>
          </p:nvSpPr>
          <p:spPr bwMode="auto">
            <a:xfrm>
              <a:off x="4435475" y="2654300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6 w 7"/>
                <a:gd name="T3" fmla="*/ 0 h 7"/>
                <a:gd name="T4" fmla="*/ 0 w 7"/>
                <a:gd name="T5" fmla="*/ 0 h 7"/>
                <a:gd name="T6" fmla="*/ 0 w 7"/>
                <a:gd name="T7" fmla="*/ 6 h 7"/>
                <a:gd name="T8" fmla="*/ 6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55" name="Freeform 1282"/>
            <p:cNvSpPr>
              <a:spLocks noChangeArrowheads="1"/>
            </p:cNvSpPr>
            <p:nvPr/>
          </p:nvSpPr>
          <p:spPr bwMode="auto">
            <a:xfrm>
              <a:off x="4446588" y="2655888"/>
              <a:ext cx="6350" cy="4762"/>
            </a:xfrm>
            <a:custGeom>
              <a:avLst/>
              <a:gdLst>
                <a:gd name="T0" fmla="*/ 11 w 18"/>
                <a:gd name="T1" fmla="*/ 14 h 15"/>
                <a:gd name="T2" fmla="*/ 6 w 18"/>
                <a:gd name="T3" fmla="*/ 0 h 15"/>
                <a:gd name="T4" fmla="*/ 11 w 18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1" y="14"/>
                  </a:moveTo>
                  <a:cubicBezTo>
                    <a:pt x="17" y="6"/>
                    <a:pt x="9" y="3"/>
                    <a:pt x="6" y="0"/>
                  </a:cubicBezTo>
                  <a:cubicBezTo>
                    <a:pt x="0" y="8"/>
                    <a:pt x="6" y="11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56" name="Freeform 1283"/>
            <p:cNvSpPr>
              <a:spLocks noChangeArrowheads="1"/>
            </p:cNvSpPr>
            <p:nvPr/>
          </p:nvSpPr>
          <p:spPr bwMode="auto">
            <a:xfrm>
              <a:off x="4445000" y="2659063"/>
              <a:ext cx="1588" cy="1587"/>
            </a:xfrm>
            <a:custGeom>
              <a:avLst/>
              <a:gdLst>
                <a:gd name="T0" fmla="*/ 0 w 4"/>
                <a:gd name="T1" fmla="*/ 2 h 6"/>
                <a:gd name="T2" fmla="*/ 0 w 4"/>
                <a:gd name="T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6">
                  <a:moveTo>
                    <a:pt x="0" y="2"/>
                  </a:moveTo>
                  <a:cubicBezTo>
                    <a:pt x="3" y="5"/>
                    <a:pt x="0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57" name="Freeform 1284"/>
            <p:cNvSpPr>
              <a:spLocks noChangeArrowheads="1"/>
            </p:cNvSpPr>
            <p:nvPr/>
          </p:nvSpPr>
          <p:spPr bwMode="auto">
            <a:xfrm>
              <a:off x="4419600" y="2655888"/>
              <a:ext cx="4763" cy="4762"/>
            </a:xfrm>
            <a:custGeom>
              <a:avLst/>
              <a:gdLst>
                <a:gd name="T0" fmla="*/ 11 w 12"/>
                <a:gd name="T1" fmla="*/ 11 h 12"/>
                <a:gd name="T2" fmla="*/ 6 w 12"/>
                <a:gd name="T3" fmla="*/ 0 h 12"/>
                <a:gd name="T4" fmla="*/ 11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11" y="11"/>
                  </a:moveTo>
                  <a:cubicBezTo>
                    <a:pt x="11" y="9"/>
                    <a:pt x="11" y="3"/>
                    <a:pt x="6" y="0"/>
                  </a:cubicBezTo>
                  <a:cubicBezTo>
                    <a:pt x="0" y="6"/>
                    <a:pt x="3" y="11"/>
                    <a:pt x="1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58" name="Freeform 1285"/>
            <p:cNvSpPr>
              <a:spLocks noChangeArrowheads="1"/>
            </p:cNvSpPr>
            <p:nvPr/>
          </p:nvSpPr>
          <p:spPr bwMode="auto">
            <a:xfrm>
              <a:off x="4433888" y="2655888"/>
              <a:ext cx="6350" cy="4762"/>
            </a:xfrm>
            <a:custGeom>
              <a:avLst/>
              <a:gdLst>
                <a:gd name="T0" fmla="*/ 0 w 18"/>
                <a:gd name="T1" fmla="*/ 8 h 15"/>
                <a:gd name="T2" fmla="*/ 0 w 18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5">
                  <a:moveTo>
                    <a:pt x="0" y="8"/>
                  </a:moveTo>
                  <a:cubicBezTo>
                    <a:pt x="17" y="14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59" name="Freeform 1286"/>
            <p:cNvSpPr>
              <a:spLocks noChangeArrowheads="1"/>
            </p:cNvSpPr>
            <p:nvPr/>
          </p:nvSpPr>
          <p:spPr bwMode="auto">
            <a:xfrm>
              <a:off x="4440238" y="2659063"/>
              <a:ext cx="3175" cy="7937"/>
            </a:xfrm>
            <a:custGeom>
              <a:avLst/>
              <a:gdLst>
                <a:gd name="T0" fmla="*/ 0 w 7"/>
                <a:gd name="T1" fmla="*/ 12 h 24"/>
                <a:gd name="T2" fmla="*/ 0 w 7"/>
                <a:gd name="T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4">
                  <a:moveTo>
                    <a:pt x="0" y="12"/>
                  </a:moveTo>
                  <a:cubicBezTo>
                    <a:pt x="6" y="23"/>
                    <a:pt x="6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60" name="Freeform 1287"/>
            <p:cNvSpPr>
              <a:spLocks noChangeArrowheads="1"/>
            </p:cNvSpPr>
            <p:nvPr/>
          </p:nvSpPr>
          <p:spPr bwMode="auto">
            <a:xfrm>
              <a:off x="4406900" y="2654300"/>
              <a:ext cx="4763" cy="4763"/>
            </a:xfrm>
            <a:custGeom>
              <a:avLst/>
              <a:gdLst>
                <a:gd name="T0" fmla="*/ 0 w 12"/>
                <a:gd name="T1" fmla="*/ 9 h 15"/>
                <a:gd name="T2" fmla="*/ 0 w 12"/>
                <a:gd name="T3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0" y="9"/>
                  </a:moveTo>
                  <a:cubicBezTo>
                    <a:pt x="11" y="14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61" name="Freeform 1288"/>
            <p:cNvSpPr>
              <a:spLocks noChangeArrowheads="1"/>
            </p:cNvSpPr>
            <p:nvPr/>
          </p:nvSpPr>
          <p:spPr bwMode="auto">
            <a:xfrm>
              <a:off x="4395788" y="2655888"/>
              <a:ext cx="4762" cy="7937"/>
            </a:xfrm>
            <a:custGeom>
              <a:avLst/>
              <a:gdLst>
                <a:gd name="T0" fmla="*/ 14 w 15"/>
                <a:gd name="T1" fmla="*/ 14 h 24"/>
                <a:gd name="T2" fmla="*/ 14 w 15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14" y="14"/>
                  </a:moveTo>
                  <a:cubicBezTo>
                    <a:pt x="0" y="0"/>
                    <a:pt x="0" y="23"/>
                    <a:pt x="14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62" name="Freeform 1289"/>
            <p:cNvSpPr>
              <a:spLocks noChangeArrowheads="1"/>
            </p:cNvSpPr>
            <p:nvPr/>
          </p:nvSpPr>
          <p:spPr bwMode="auto">
            <a:xfrm>
              <a:off x="4449763" y="2643188"/>
              <a:ext cx="4762" cy="4762"/>
            </a:xfrm>
            <a:custGeom>
              <a:avLst/>
              <a:gdLst>
                <a:gd name="T0" fmla="*/ 3 w 12"/>
                <a:gd name="T1" fmla="*/ 0 h 15"/>
                <a:gd name="T2" fmla="*/ 3 w 12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3" y="0"/>
                  </a:moveTo>
                  <a:cubicBezTo>
                    <a:pt x="0" y="14"/>
                    <a:pt x="11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63" name="Freeform 1290"/>
            <p:cNvSpPr>
              <a:spLocks noChangeArrowheads="1"/>
            </p:cNvSpPr>
            <p:nvPr/>
          </p:nvSpPr>
          <p:spPr bwMode="auto">
            <a:xfrm>
              <a:off x="4446588" y="2646363"/>
              <a:ext cx="4762" cy="4762"/>
            </a:xfrm>
            <a:custGeom>
              <a:avLst/>
              <a:gdLst>
                <a:gd name="T0" fmla="*/ 3 w 13"/>
                <a:gd name="T1" fmla="*/ 0 h 15"/>
                <a:gd name="T2" fmla="*/ 3 w 13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3" y="0"/>
                  </a:moveTo>
                  <a:cubicBezTo>
                    <a:pt x="0" y="14"/>
                    <a:pt x="12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64" name="Freeform 1291"/>
            <p:cNvSpPr>
              <a:spLocks noChangeArrowheads="1"/>
            </p:cNvSpPr>
            <p:nvPr/>
          </p:nvSpPr>
          <p:spPr bwMode="auto">
            <a:xfrm>
              <a:off x="4429125" y="2641600"/>
              <a:ext cx="3175" cy="3175"/>
            </a:xfrm>
            <a:custGeom>
              <a:avLst/>
              <a:gdLst>
                <a:gd name="T0" fmla="*/ 0 w 10"/>
                <a:gd name="T1" fmla="*/ 0 h 9"/>
                <a:gd name="T2" fmla="*/ 9 w 10"/>
                <a:gd name="T3" fmla="*/ 8 h 9"/>
                <a:gd name="T4" fmla="*/ 0 w 10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cubicBezTo>
                    <a:pt x="0" y="5"/>
                    <a:pt x="3" y="8"/>
                    <a:pt x="9" y="8"/>
                  </a:cubicBezTo>
                  <a:cubicBezTo>
                    <a:pt x="9" y="2"/>
                    <a:pt x="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65" name="Freeform 1292"/>
            <p:cNvSpPr>
              <a:spLocks noChangeArrowheads="1"/>
            </p:cNvSpPr>
            <p:nvPr/>
          </p:nvSpPr>
          <p:spPr bwMode="auto">
            <a:xfrm>
              <a:off x="4422775" y="2644775"/>
              <a:ext cx="4763" cy="4763"/>
            </a:xfrm>
            <a:custGeom>
              <a:avLst/>
              <a:gdLst>
                <a:gd name="T0" fmla="*/ 3 w 13"/>
                <a:gd name="T1" fmla="*/ 0 h 15"/>
                <a:gd name="T2" fmla="*/ 3 w 13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3" y="0"/>
                  </a:moveTo>
                  <a:cubicBezTo>
                    <a:pt x="0" y="14"/>
                    <a:pt x="12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66" name="Freeform 1293"/>
            <p:cNvSpPr>
              <a:spLocks noChangeArrowheads="1"/>
            </p:cNvSpPr>
            <p:nvPr/>
          </p:nvSpPr>
          <p:spPr bwMode="auto">
            <a:xfrm>
              <a:off x="4419600" y="2643188"/>
              <a:ext cx="4763" cy="4762"/>
            </a:xfrm>
            <a:custGeom>
              <a:avLst/>
              <a:gdLst>
                <a:gd name="T0" fmla="*/ 0 w 12"/>
                <a:gd name="T1" fmla="*/ 0 h 15"/>
                <a:gd name="T2" fmla="*/ 0 w 12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0" y="0"/>
                  </a:moveTo>
                  <a:cubicBezTo>
                    <a:pt x="0" y="14"/>
                    <a:pt x="11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67" name="Freeform 1294"/>
            <p:cNvSpPr>
              <a:spLocks noChangeArrowheads="1"/>
            </p:cNvSpPr>
            <p:nvPr/>
          </p:nvSpPr>
          <p:spPr bwMode="auto">
            <a:xfrm>
              <a:off x="4389438" y="2638425"/>
              <a:ext cx="11112" cy="6350"/>
            </a:xfrm>
            <a:custGeom>
              <a:avLst/>
              <a:gdLst>
                <a:gd name="T0" fmla="*/ 23 w 29"/>
                <a:gd name="T1" fmla="*/ 6 h 18"/>
                <a:gd name="T2" fmla="*/ 6 w 29"/>
                <a:gd name="T3" fmla="*/ 11 h 18"/>
                <a:gd name="T4" fmla="*/ 23 w 29"/>
                <a:gd name="T5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18">
                  <a:moveTo>
                    <a:pt x="23" y="6"/>
                  </a:moveTo>
                  <a:cubicBezTo>
                    <a:pt x="20" y="3"/>
                    <a:pt x="0" y="0"/>
                    <a:pt x="6" y="11"/>
                  </a:cubicBezTo>
                  <a:cubicBezTo>
                    <a:pt x="6" y="17"/>
                    <a:pt x="28" y="14"/>
                    <a:pt x="2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68" name="Freeform 1295"/>
            <p:cNvSpPr>
              <a:spLocks noChangeArrowheads="1"/>
            </p:cNvSpPr>
            <p:nvPr/>
          </p:nvSpPr>
          <p:spPr bwMode="auto">
            <a:xfrm>
              <a:off x="4397375" y="2649538"/>
              <a:ext cx="6350" cy="9525"/>
            </a:xfrm>
            <a:custGeom>
              <a:avLst/>
              <a:gdLst>
                <a:gd name="T0" fmla="*/ 14 w 18"/>
                <a:gd name="T1" fmla="*/ 0 h 27"/>
                <a:gd name="T2" fmla="*/ 8 w 18"/>
                <a:gd name="T3" fmla="*/ 26 h 27"/>
                <a:gd name="T4" fmla="*/ 14 w 1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7">
                  <a:moveTo>
                    <a:pt x="14" y="0"/>
                  </a:moveTo>
                  <a:cubicBezTo>
                    <a:pt x="3" y="0"/>
                    <a:pt x="0" y="17"/>
                    <a:pt x="8" y="26"/>
                  </a:cubicBezTo>
                  <a:cubicBezTo>
                    <a:pt x="14" y="17"/>
                    <a:pt x="17" y="9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69" name="Freeform 1296"/>
            <p:cNvSpPr>
              <a:spLocks noChangeArrowheads="1"/>
            </p:cNvSpPr>
            <p:nvPr/>
          </p:nvSpPr>
          <p:spPr bwMode="auto">
            <a:xfrm>
              <a:off x="4389438" y="2638425"/>
              <a:ext cx="6350" cy="9525"/>
            </a:xfrm>
            <a:custGeom>
              <a:avLst/>
              <a:gdLst>
                <a:gd name="T0" fmla="*/ 14 w 18"/>
                <a:gd name="T1" fmla="*/ 20 h 27"/>
                <a:gd name="T2" fmla="*/ 14 w 18"/>
                <a:gd name="T3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27">
                  <a:moveTo>
                    <a:pt x="14" y="20"/>
                  </a:moveTo>
                  <a:cubicBezTo>
                    <a:pt x="17" y="0"/>
                    <a:pt x="0" y="26"/>
                    <a:pt x="14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70" name="Freeform 1297"/>
            <p:cNvSpPr>
              <a:spLocks noChangeArrowheads="1"/>
            </p:cNvSpPr>
            <p:nvPr/>
          </p:nvSpPr>
          <p:spPr bwMode="auto">
            <a:xfrm>
              <a:off x="4405313" y="2649538"/>
              <a:ext cx="7937" cy="7937"/>
            </a:xfrm>
            <a:custGeom>
              <a:avLst/>
              <a:gdLst>
                <a:gd name="T0" fmla="*/ 14 w 24"/>
                <a:gd name="T1" fmla="*/ 23 h 24"/>
                <a:gd name="T2" fmla="*/ 23 w 24"/>
                <a:gd name="T3" fmla="*/ 14 h 24"/>
                <a:gd name="T4" fmla="*/ 14 w 24"/>
                <a:gd name="T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24">
                  <a:moveTo>
                    <a:pt x="14" y="23"/>
                  </a:moveTo>
                  <a:lnTo>
                    <a:pt x="23" y="14"/>
                  </a:lnTo>
                  <a:cubicBezTo>
                    <a:pt x="17" y="0"/>
                    <a:pt x="0" y="20"/>
                    <a:pt x="14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71" name="Freeform 1298"/>
            <p:cNvSpPr>
              <a:spLocks noChangeArrowheads="1"/>
            </p:cNvSpPr>
            <p:nvPr/>
          </p:nvSpPr>
          <p:spPr bwMode="auto">
            <a:xfrm>
              <a:off x="4410075" y="2641600"/>
              <a:ext cx="11113" cy="7938"/>
            </a:xfrm>
            <a:custGeom>
              <a:avLst/>
              <a:gdLst>
                <a:gd name="T0" fmla="*/ 0 w 33"/>
                <a:gd name="T1" fmla="*/ 8 h 23"/>
                <a:gd name="T2" fmla="*/ 23 w 33"/>
                <a:gd name="T3" fmla="*/ 22 h 23"/>
                <a:gd name="T4" fmla="*/ 32 w 33"/>
                <a:gd name="T5" fmla="*/ 14 h 23"/>
                <a:gd name="T6" fmla="*/ 9 w 33"/>
                <a:gd name="T7" fmla="*/ 2 h 23"/>
                <a:gd name="T8" fmla="*/ 0 w 33"/>
                <a:gd name="T9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0" y="8"/>
                  </a:moveTo>
                  <a:cubicBezTo>
                    <a:pt x="9" y="17"/>
                    <a:pt x="15" y="22"/>
                    <a:pt x="23" y="22"/>
                  </a:cubicBezTo>
                  <a:lnTo>
                    <a:pt x="32" y="14"/>
                  </a:lnTo>
                  <a:cubicBezTo>
                    <a:pt x="29" y="5"/>
                    <a:pt x="17" y="0"/>
                    <a:pt x="9" y="2"/>
                  </a:cubicBezTo>
                  <a:cubicBezTo>
                    <a:pt x="6" y="2"/>
                    <a:pt x="3" y="5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72" name="Freeform 1299"/>
            <p:cNvSpPr>
              <a:spLocks noChangeArrowheads="1"/>
            </p:cNvSpPr>
            <p:nvPr/>
          </p:nvSpPr>
          <p:spPr bwMode="auto">
            <a:xfrm>
              <a:off x="4438650" y="2657475"/>
              <a:ext cx="4763" cy="9525"/>
            </a:xfrm>
            <a:custGeom>
              <a:avLst/>
              <a:gdLst>
                <a:gd name="T0" fmla="*/ 12 w 13"/>
                <a:gd name="T1" fmla="*/ 14 h 26"/>
                <a:gd name="T2" fmla="*/ 12 w 13"/>
                <a:gd name="T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6">
                  <a:moveTo>
                    <a:pt x="12" y="14"/>
                  </a:moveTo>
                  <a:cubicBezTo>
                    <a:pt x="0" y="0"/>
                    <a:pt x="0" y="25"/>
                    <a:pt x="1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73" name="Freeform 1300"/>
            <p:cNvSpPr>
              <a:spLocks noChangeArrowheads="1"/>
            </p:cNvSpPr>
            <p:nvPr/>
          </p:nvSpPr>
          <p:spPr bwMode="auto">
            <a:xfrm>
              <a:off x="4425950" y="2646363"/>
              <a:ext cx="4763" cy="6350"/>
            </a:xfrm>
            <a:custGeom>
              <a:avLst/>
              <a:gdLst>
                <a:gd name="T0" fmla="*/ 5 w 12"/>
                <a:gd name="T1" fmla="*/ 17 h 18"/>
                <a:gd name="T2" fmla="*/ 8 w 12"/>
                <a:gd name="T3" fmla="*/ 3 h 18"/>
                <a:gd name="T4" fmla="*/ 5 w 12"/>
                <a:gd name="T5" fmla="*/ 0 h 18"/>
                <a:gd name="T6" fmla="*/ 3 w 12"/>
                <a:gd name="T7" fmla="*/ 14 h 18"/>
                <a:gd name="T8" fmla="*/ 5 w 12"/>
                <a:gd name="T9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8">
                  <a:moveTo>
                    <a:pt x="5" y="17"/>
                  </a:moveTo>
                  <a:cubicBezTo>
                    <a:pt x="11" y="14"/>
                    <a:pt x="11" y="8"/>
                    <a:pt x="8" y="3"/>
                  </a:cubicBezTo>
                  <a:cubicBezTo>
                    <a:pt x="8" y="0"/>
                    <a:pt x="5" y="0"/>
                    <a:pt x="5" y="0"/>
                  </a:cubicBezTo>
                  <a:cubicBezTo>
                    <a:pt x="0" y="3"/>
                    <a:pt x="0" y="8"/>
                    <a:pt x="3" y="14"/>
                  </a:cubicBezTo>
                  <a:cubicBezTo>
                    <a:pt x="3" y="14"/>
                    <a:pt x="5" y="14"/>
                    <a:pt x="5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74" name="Freeform 1301"/>
            <p:cNvSpPr>
              <a:spLocks noChangeArrowheads="1"/>
            </p:cNvSpPr>
            <p:nvPr/>
          </p:nvSpPr>
          <p:spPr bwMode="auto">
            <a:xfrm>
              <a:off x="4443413" y="2655888"/>
              <a:ext cx="4762" cy="7937"/>
            </a:xfrm>
            <a:custGeom>
              <a:avLst/>
              <a:gdLst>
                <a:gd name="T0" fmla="*/ 11 w 12"/>
                <a:gd name="T1" fmla="*/ 14 h 24"/>
                <a:gd name="T2" fmla="*/ 11 w 12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4">
                  <a:moveTo>
                    <a:pt x="11" y="14"/>
                  </a:moveTo>
                  <a:cubicBezTo>
                    <a:pt x="0" y="0"/>
                    <a:pt x="0" y="23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75" name="Freeform 1302"/>
            <p:cNvSpPr>
              <a:spLocks noChangeArrowheads="1"/>
            </p:cNvSpPr>
            <p:nvPr/>
          </p:nvSpPr>
          <p:spPr bwMode="auto">
            <a:xfrm>
              <a:off x="4457700" y="2667000"/>
              <a:ext cx="4763" cy="4763"/>
            </a:xfrm>
            <a:custGeom>
              <a:avLst/>
              <a:gdLst>
                <a:gd name="T0" fmla="*/ 6 w 13"/>
                <a:gd name="T1" fmla="*/ 0 h 12"/>
                <a:gd name="T2" fmla="*/ 0 w 13"/>
                <a:gd name="T3" fmla="*/ 6 h 12"/>
                <a:gd name="T4" fmla="*/ 6 w 13"/>
                <a:gd name="T5" fmla="*/ 11 h 12"/>
                <a:gd name="T6" fmla="*/ 12 w 13"/>
                <a:gd name="T7" fmla="*/ 6 h 12"/>
                <a:gd name="T8" fmla="*/ 6 w 13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6" y="0"/>
                  </a:moveTo>
                  <a:lnTo>
                    <a:pt x="0" y="6"/>
                  </a:lnTo>
                  <a:lnTo>
                    <a:pt x="6" y="11"/>
                  </a:lnTo>
                  <a:lnTo>
                    <a:pt x="12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76" name="Freeform 1303"/>
            <p:cNvSpPr>
              <a:spLocks noChangeArrowheads="1"/>
            </p:cNvSpPr>
            <p:nvPr/>
          </p:nvSpPr>
          <p:spPr bwMode="auto">
            <a:xfrm>
              <a:off x="4446588" y="2654300"/>
              <a:ext cx="4762" cy="4763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2 h 13"/>
                <a:gd name="T6" fmla="*/ 12 w 13"/>
                <a:gd name="T7" fmla="*/ 6 h 13"/>
                <a:gd name="T8" fmla="*/ 6 w 13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lnTo>
                    <a:pt x="0" y="6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77" name="Freeform 1304"/>
            <p:cNvSpPr>
              <a:spLocks noChangeArrowheads="1"/>
            </p:cNvSpPr>
            <p:nvPr/>
          </p:nvSpPr>
          <p:spPr bwMode="auto">
            <a:xfrm>
              <a:off x="4441825" y="2647950"/>
              <a:ext cx="7938" cy="4763"/>
            </a:xfrm>
            <a:custGeom>
              <a:avLst/>
              <a:gdLst>
                <a:gd name="T0" fmla="*/ 11 w 21"/>
                <a:gd name="T1" fmla="*/ 0 h 15"/>
                <a:gd name="T2" fmla="*/ 3 w 21"/>
                <a:gd name="T3" fmla="*/ 14 h 15"/>
                <a:gd name="T4" fmla="*/ 20 w 21"/>
                <a:gd name="T5" fmla="*/ 8 h 15"/>
                <a:gd name="T6" fmla="*/ 11 w 21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5">
                  <a:moveTo>
                    <a:pt x="11" y="0"/>
                  </a:moveTo>
                  <a:cubicBezTo>
                    <a:pt x="8" y="5"/>
                    <a:pt x="0" y="11"/>
                    <a:pt x="3" y="14"/>
                  </a:cubicBezTo>
                  <a:cubicBezTo>
                    <a:pt x="8" y="0"/>
                    <a:pt x="14" y="11"/>
                    <a:pt x="20" y="8"/>
                  </a:cubicBezTo>
                  <a:lnTo>
                    <a:pt x="11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78" name="Freeform 1305"/>
            <p:cNvSpPr>
              <a:spLocks noChangeArrowheads="1"/>
            </p:cNvSpPr>
            <p:nvPr/>
          </p:nvSpPr>
          <p:spPr bwMode="auto">
            <a:xfrm>
              <a:off x="4438650" y="2638425"/>
              <a:ext cx="6350" cy="9525"/>
            </a:xfrm>
            <a:custGeom>
              <a:avLst/>
              <a:gdLst>
                <a:gd name="T0" fmla="*/ 17 w 18"/>
                <a:gd name="T1" fmla="*/ 17 h 27"/>
                <a:gd name="T2" fmla="*/ 17 w 18"/>
                <a:gd name="T3" fmla="*/ 1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27">
                  <a:moveTo>
                    <a:pt x="17" y="17"/>
                  </a:moveTo>
                  <a:cubicBezTo>
                    <a:pt x="17" y="0"/>
                    <a:pt x="0" y="26"/>
                    <a:pt x="17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79" name="Freeform 1306"/>
            <p:cNvSpPr>
              <a:spLocks noChangeArrowheads="1"/>
            </p:cNvSpPr>
            <p:nvPr/>
          </p:nvSpPr>
          <p:spPr bwMode="auto">
            <a:xfrm>
              <a:off x="4457700" y="2654300"/>
              <a:ext cx="6350" cy="4763"/>
            </a:xfrm>
            <a:custGeom>
              <a:avLst/>
              <a:gdLst>
                <a:gd name="T0" fmla="*/ 0 w 18"/>
                <a:gd name="T1" fmla="*/ 5 h 15"/>
                <a:gd name="T2" fmla="*/ 9 w 18"/>
                <a:gd name="T3" fmla="*/ 14 h 15"/>
                <a:gd name="T4" fmla="*/ 17 w 18"/>
                <a:gd name="T5" fmla="*/ 5 h 15"/>
                <a:gd name="T6" fmla="*/ 3 w 18"/>
                <a:gd name="T7" fmla="*/ 2 h 15"/>
                <a:gd name="T8" fmla="*/ 0 w 18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0" y="5"/>
                  </a:moveTo>
                  <a:lnTo>
                    <a:pt x="9" y="14"/>
                  </a:lnTo>
                  <a:lnTo>
                    <a:pt x="17" y="5"/>
                  </a:lnTo>
                  <a:cubicBezTo>
                    <a:pt x="14" y="0"/>
                    <a:pt x="9" y="0"/>
                    <a:pt x="3" y="2"/>
                  </a:cubicBezTo>
                  <a:lnTo>
                    <a:pt x="0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80" name="Freeform 1307"/>
            <p:cNvSpPr>
              <a:spLocks noChangeArrowheads="1"/>
            </p:cNvSpPr>
            <p:nvPr/>
          </p:nvSpPr>
          <p:spPr bwMode="auto">
            <a:xfrm>
              <a:off x="4451350" y="2638425"/>
              <a:ext cx="3175" cy="7938"/>
            </a:xfrm>
            <a:custGeom>
              <a:avLst/>
              <a:gdLst>
                <a:gd name="T0" fmla="*/ 9 w 10"/>
                <a:gd name="T1" fmla="*/ 14 h 24"/>
                <a:gd name="T2" fmla="*/ 9 w 10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4">
                  <a:moveTo>
                    <a:pt x="9" y="14"/>
                  </a:moveTo>
                  <a:cubicBezTo>
                    <a:pt x="0" y="0"/>
                    <a:pt x="0" y="23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81" name="Freeform 1308"/>
            <p:cNvSpPr>
              <a:spLocks noChangeArrowheads="1"/>
            </p:cNvSpPr>
            <p:nvPr/>
          </p:nvSpPr>
          <p:spPr bwMode="auto">
            <a:xfrm>
              <a:off x="4457700" y="2638425"/>
              <a:ext cx="7938" cy="7938"/>
            </a:xfrm>
            <a:custGeom>
              <a:avLst/>
              <a:gdLst>
                <a:gd name="T0" fmla="*/ 20 w 21"/>
                <a:gd name="T1" fmla="*/ 8 h 21"/>
                <a:gd name="T2" fmla="*/ 0 w 21"/>
                <a:gd name="T3" fmla="*/ 6 h 21"/>
                <a:gd name="T4" fmla="*/ 20 w 21"/>
                <a:gd name="T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21">
                  <a:moveTo>
                    <a:pt x="20" y="8"/>
                  </a:moveTo>
                  <a:cubicBezTo>
                    <a:pt x="11" y="0"/>
                    <a:pt x="6" y="6"/>
                    <a:pt x="0" y="6"/>
                  </a:cubicBezTo>
                  <a:cubicBezTo>
                    <a:pt x="6" y="11"/>
                    <a:pt x="11" y="20"/>
                    <a:pt x="2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82" name="Freeform 1309"/>
            <p:cNvSpPr>
              <a:spLocks noChangeArrowheads="1"/>
            </p:cNvSpPr>
            <p:nvPr/>
          </p:nvSpPr>
          <p:spPr bwMode="auto">
            <a:xfrm>
              <a:off x="4414838" y="2652713"/>
              <a:ext cx="1587" cy="4762"/>
            </a:xfrm>
            <a:custGeom>
              <a:avLst/>
              <a:gdLst>
                <a:gd name="T0" fmla="*/ 0 w 4"/>
                <a:gd name="T1" fmla="*/ 11 h 12"/>
                <a:gd name="T2" fmla="*/ 0 w 4"/>
                <a:gd name="T3" fmla="*/ 8 h 12"/>
                <a:gd name="T4" fmla="*/ 0 w 4"/>
                <a:gd name="T5" fmla="*/ 11 h 12"/>
                <a:gd name="T6" fmla="*/ 1 w 4"/>
                <a:gd name="T7" fmla="*/ 6 h 12"/>
                <a:gd name="T8" fmla="*/ 0 w 4"/>
                <a:gd name="T9" fmla="*/ 8 h 12"/>
                <a:gd name="T10" fmla="*/ 0 w 4"/>
                <a:gd name="T11" fmla="*/ 8 h 12"/>
                <a:gd name="T12" fmla="*/ 1 w 4"/>
                <a:gd name="T13" fmla="*/ 6 h 12"/>
                <a:gd name="T14" fmla="*/ 3 w 4"/>
                <a:gd name="T15" fmla="*/ 0 h 12"/>
                <a:gd name="T16" fmla="*/ 1 w 4"/>
                <a:gd name="T17" fmla="*/ 6 h 12"/>
                <a:gd name="T18" fmla="*/ 3 w 4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2">
                  <a:moveTo>
                    <a:pt x="0" y="11"/>
                  </a:moveTo>
                  <a:cubicBezTo>
                    <a:pt x="0" y="10"/>
                    <a:pt x="0" y="9"/>
                    <a:pt x="0" y="8"/>
                  </a:cubicBezTo>
                  <a:cubicBezTo>
                    <a:pt x="2" y="8"/>
                    <a:pt x="0" y="11"/>
                    <a:pt x="0" y="11"/>
                  </a:cubicBezTo>
                  <a:close/>
                  <a:moveTo>
                    <a:pt x="1" y="6"/>
                  </a:moveTo>
                  <a:cubicBezTo>
                    <a:pt x="0" y="7"/>
                    <a:pt x="0" y="8"/>
                    <a:pt x="0" y="8"/>
                  </a:cubicBezTo>
                  <a:lnTo>
                    <a:pt x="0" y="8"/>
                  </a:lnTo>
                  <a:cubicBezTo>
                    <a:pt x="0" y="8"/>
                    <a:pt x="0" y="7"/>
                    <a:pt x="1" y="6"/>
                  </a:cubicBezTo>
                  <a:close/>
                  <a:moveTo>
                    <a:pt x="3" y="0"/>
                  </a:moveTo>
                  <a:cubicBezTo>
                    <a:pt x="3" y="0"/>
                    <a:pt x="3" y="2"/>
                    <a:pt x="1" y="6"/>
                  </a:cubicBezTo>
                  <a:cubicBezTo>
                    <a:pt x="1" y="3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83" name="Freeform 1310"/>
            <p:cNvSpPr>
              <a:spLocks noChangeArrowheads="1"/>
            </p:cNvSpPr>
            <p:nvPr/>
          </p:nvSpPr>
          <p:spPr bwMode="auto">
            <a:xfrm>
              <a:off x="4387850" y="2638425"/>
              <a:ext cx="6350" cy="9525"/>
            </a:xfrm>
            <a:custGeom>
              <a:avLst/>
              <a:gdLst>
                <a:gd name="T0" fmla="*/ 11 w 18"/>
                <a:gd name="T1" fmla="*/ 0 h 27"/>
                <a:gd name="T2" fmla="*/ 0 w 18"/>
                <a:gd name="T3" fmla="*/ 14 h 27"/>
                <a:gd name="T4" fmla="*/ 11 w 1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7">
                  <a:moveTo>
                    <a:pt x="11" y="0"/>
                  </a:moveTo>
                  <a:cubicBezTo>
                    <a:pt x="8" y="9"/>
                    <a:pt x="2" y="6"/>
                    <a:pt x="0" y="14"/>
                  </a:cubicBezTo>
                  <a:cubicBezTo>
                    <a:pt x="8" y="26"/>
                    <a:pt x="17" y="3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84" name="Freeform 1311"/>
            <p:cNvSpPr>
              <a:spLocks noChangeArrowheads="1"/>
            </p:cNvSpPr>
            <p:nvPr/>
          </p:nvSpPr>
          <p:spPr bwMode="auto">
            <a:xfrm>
              <a:off x="4410075" y="2636838"/>
              <a:ext cx="7938" cy="6350"/>
            </a:xfrm>
            <a:custGeom>
              <a:avLst/>
              <a:gdLst>
                <a:gd name="T0" fmla="*/ 11 w 23"/>
                <a:gd name="T1" fmla="*/ 17 h 18"/>
                <a:gd name="T2" fmla="*/ 11 w 23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8">
                  <a:moveTo>
                    <a:pt x="11" y="17"/>
                  </a:moveTo>
                  <a:cubicBezTo>
                    <a:pt x="22" y="0"/>
                    <a:pt x="0" y="12"/>
                    <a:pt x="11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85" name="Freeform 1312"/>
            <p:cNvSpPr>
              <a:spLocks noChangeArrowheads="1"/>
            </p:cNvSpPr>
            <p:nvPr/>
          </p:nvSpPr>
          <p:spPr bwMode="auto">
            <a:xfrm>
              <a:off x="4414838" y="2638425"/>
              <a:ext cx="7937" cy="4763"/>
            </a:xfrm>
            <a:custGeom>
              <a:avLst/>
              <a:gdLst>
                <a:gd name="T0" fmla="*/ 11 w 21"/>
                <a:gd name="T1" fmla="*/ 14 h 15"/>
                <a:gd name="T2" fmla="*/ 11 w 21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5">
                  <a:moveTo>
                    <a:pt x="11" y="14"/>
                  </a:moveTo>
                  <a:cubicBezTo>
                    <a:pt x="20" y="0"/>
                    <a:pt x="0" y="9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86" name="Freeform 1313"/>
            <p:cNvSpPr>
              <a:spLocks noChangeArrowheads="1"/>
            </p:cNvSpPr>
            <p:nvPr/>
          </p:nvSpPr>
          <p:spPr bwMode="auto">
            <a:xfrm>
              <a:off x="4432300" y="2655888"/>
              <a:ext cx="7938" cy="4762"/>
            </a:xfrm>
            <a:custGeom>
              <a:avLst/>
              <a:gdLst>
                <a:gd name="T0" fmla="*/ 11 w 23"/>
                <a:gd name="T1" fmla="*/ 14 h 15"/>
                <a:gd name="T2" fmla="*/ 11 w 23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5">
                  <a:moveTo>
                    <a:pt x="11" y="14"/>
                  </a:moveTo>
                  <a:cubicBezTo>
                    <a:pt x="22" y="0"/>
                    <a:pt x="0" y="9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87" name="Freeform 1314"/>
            <p:cNvSpPr>
              <a:spLocks noChangeArrowheads="1"/>
            </p:cNvSpPr>
            <p:nvPr/>
          </p:nvSpPr>
          <p:spPr bwMode="auto">
            <a:xfrm>
              <a:off x="4441825" y="2647950"/>
              <a:ext cx="7938" cy="4763"/>
            </a:xfrm>
            <a:custGeom>
              <a:avLst/>
              <a:gdLst>
                <a:gd name="T0" fmla="*/ 11 w 21"/>
                <a:gd name="T1" fmla="*/ 14 h 15"/>
                <a:gd name="T2" fmla="*/ 11 w 21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5">
                  <a:moveTo>
                    <a:pt x="11" y="14"/>
                  </a:moveTo>
                  <a:cubicBezTo>
                    <a:pt x="20" y="0"/>
                    <a:pt x="0" y="8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88" name="Freeform 1315"/>
            <p:cNvSpPr>
              <a:spLocks noChangeArrowheads="1"/>
            </p:cNvSpPr>
            <p:nvPr/>
          </p:nvSpPr>
          <p:spPr bwMode="auto">
            <a:xfrm>
              <a:off x="4460875" y="2643188"/>
              <a:ext cx="4763" cy="6350"/>
            </a:xfrm>
            <a:custGeom>
              <a:avLst/>
              <a:gdLst>
                <a:gd name="T0" fmla="*/ 2 w 15"/>
                <a:gd name="T1" fmla="*/ 0 h 18"/>
                <a:gd name="T2" fmla="*/ 5 w 15"/>
                <a:gd name="T3" fmla="*/ 14 h 18"/>
                <a:gd name="T4" fmla="*/ 11 w 15"/>
                <a:gd name="T5" fmla="*/ 17 h 18"/>
                <a:gd name="T6" fmla="*/ 8 w 15"/>
                <a:gd name="T7" fmla="*/ 3 h 18"/>
                <a:gd name="T8" fmla="*/ 2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2" y="0"/>
                  </a:moveTo>
                  <a:cubicBezTo>
                    <a:pt x="0" y="6"/>
                    <a:pt x="0" y="12"/>
                    <a:pt x="5" y="14"/>
                  </a:cubicBezTo>
                  <a:cubicBezTo>
                    <a:pt x="8" y="14"/>
                    <a:pt x="8" y="17"/>
                    <a:pt x="11" y="17"/>
                  </a:cubicBezTo>
                  <a:cubicBezTo>
                    <a:pt x="14" y="12"/>
                    <a:pt x="14" y="6"/>
                    <a:pt x="8" y="3"/>
                  </a:cubicBezTo>
                  <a:cubicBezTo>
                    <a:pt x="5" y="0"/>
                    <a:pt x="5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89" name="Freeform 1316"/>
            <p:cNvSpPr>
              <a:spLocks noChangeArrowheads="1"/>
            </p:cNvSpPr>
            <p:nvPr/>
          </p:nvSpPr>
          <p:spPr bwMode="auto">
            <a:xfrm>
              <a:off x="3863975" y="2724150"/>
              <a:ext cx="3175" cy="3175"/>
            </a:xfrm>
            <a:custGeom>
              <a:avLst/>
              <a:gdLst>
                <a:gd name="T0" fmla="*/ 8 w 9"/>
                <a:gd name="T1" fmla="*/ 3 h 9"/>
                <a:gd name="T2" fmla="*/ 8 w 9"/>
                <a:gd name="T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9">
                  <a:moveTo>
                    <a:pt x="8" y="3"/>
                  </a:moveTo>
                  <a:cubicBezTo>
                    <a:pt x="0" y="0"/>
                    <a:pt x="8" y="8"/>
                    <a:pt x="8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90" name="Freeform 1317"/>
            <p:cNvSpPr>
              <a:spLocks noChangeArrowheads="1"/>
            </p:cNvSpPr>
            <p:nvPr/>
          </p:nvSpPr>
          <p:spPr bwMode="auto">
            <a:xfrm>
              <a:off x="3878263" y="2717800"/>
              <a:ext cx="4762" cy="3175"/>
            </a:xfrm>
            <a:custGeom>
              <a:avLst/>
              <a:gdLst>
                <a:gd name="T0" fmla="*/ 11 w 15"/>
                <a:gd name="T1" fmla="*/ 3 h 10"/>
                <a:gd name="T2" fmla="*/ 6 w 15"/>
                <a:gd name="T3" fmla="*/ 0 h 10"/>
                <a:gd name="T4" fmla="*/ 11 w 15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11" y="3"/>
                  </a:moveTo>
                  <a:lnTo>
                    <a:pt x="6" y="0"/>
                  </a:lnTo>
                  <a:cubicBezTo>
                    <a:pt x="0" y="6"/>
                    <a:pt x="14" y="9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91" name="Freeform 1318"/>
            <p:cNvSpPr>
              <a:spLocks noChangeArrowheads="1"/>
            </p:cNvSpPr>
            <p:nvPr/>
          </p:nvSpPr>
          <p:spPr bwMode="auto">
            <a:xfrm>
              <a:off x="3860800" y="2716213"/>
              <a:ext cx="3175" cy="4762"/>
            </a:xfrm>
            <a:custGeom>
              <a:avLst/>
              <a:gdLst>
                <a:gd name="T0" fmla="*/ 8 w 9"/>
                <a:gd name="T1" fmla="*/ 2 h 12"/>
                <a:gd name="T2" fmla="*/ 8 w 9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8" y="2"/>
                  </a:moveTo>
                  <a:cubicBezTo>
                    <a:pt x="0" y="0"/>
                    <a:pt x="8" y="11"/>
                    <a:pt x="8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92" name="Freeform 1319"/>
            <p:cNvSpPr>
              <a:spLocks noChangeArrowheads="1"/>
            </p:cNvSpPr>
            <p:nvPr/>
          </p:nvSpPr>
          <p:spPr bwMode="auto">
            <a:xfrm>
              <a:off x="3900488" y="2714625"/>
              <a:ext cx="3175" cy="6350"/>
            </a:xfrm>
            <a:custGeom>
              <a:avLst/>
              <a:gdLst>
                <a:gd name="T0" fmla="*/ 9 w 10"/>
                <a:gd name="T1" fmla="*/ 8 h 18"/>
                <a:gd name="T2" fmla="*/ 9 w 10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8"/>
                  </a:moveTo>
                  <a:cubicBezTo>
                    <a:pt x="0" y="0"/>
                    <a:pt x="3" y="17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93" name="Freeform 1320"/>
            <p:cNvSpPr>
              <a:spLocks noChangeArrowheads="1"/>
            </p:cNvSpPr>
            <p:nvPr/>
          </p:nvSpPr>
          <p:spPr bwMode="auto">
            <a:xfrm>
              <a:off x="3879850" y="2714625"/>
              <a:ext cx="4763" cy="3175"/>
            </a:xfrm>
            <a:custGeom>
              <a:avLst/>
              <a:gdLst>
                <a:gd name="T0" fmla="*/ 11 w 15"/>
                <a:gd name="T1" fmla="*/ 8 h 9"/>
                <a:gd name="T2" fmla="*/ 3 w 15"/>
                <a:gd name="T3" fmla="*/ 0 h 9"/>
                <a:gd name="T4" fmla="*/ 11 w 15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1" y="8"/>
                  </a:moveTo>
                  <a:cubicBezTo>
                    <a:pt x="14" y="0"/>
                    <a:pt x="8" y="0"/>
                    <a:pt x="3" y="0"/>
                  </a:cubicBezTo>
                  <a:cubicBezTo>
                    <a:pt x="0" y="5"/>
                    <a:pt x="3" y="8"/>
                    <a:pt x="11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94" name="Freeform 1321"/>
            <p:cNvSpPr>
              <a:spLocks noChangeArrowheads="1"/>
            </p:cNvSpPr>
            <p:nvPr/>
          </p:nvSpPr>
          <p:spPr bwMode="auto">
            <a:xfrm>
              <a:off x="3868738" y="2711450"/>
              <a:ext cx="4762" cy="4763"/>
            </a:xfrm>
            <a:custGeom>
              <a:avLst/>
              <a:gdLst>
                <a:gd name="T0" fmla="*/ 11 w 12"/>
                <a:gd name="T1" fmla="*/ 11 h 12"/>
                <a:gd name="T2" fmla="*/ 5 w 12"/>
                <a:gd name="T3" fmla="*/ 0 h 12"/>
                <a:gd name="T4" fmla="*/ 11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11" y="11"/>
                  </a:moveTo>
                  <a:cubicBezTo>
                    <a:pt x="11" y="6"/>
                    <a:pt x="11" y="3"/>
                    <a:pt x="5" y="0"/>
                  </a:cubicBezTo>
                  <a:cubicBezTo>
                    <a:pt x="8" y="9"/>
                    <a:pt x="0" y="11"/>
                    <a:pt x="1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95" name="Freeform 1322"/>
            <p:cNvSpPr>
              <a:spLocks noChangeArrowheads="1"/>
            </p:cNvSpPr>
            <p:nvPr/>
          </p:nvSpPr>
          <p:spPr bwMode="auto">
            <a:xfrm>
              <a:off x="3867150" y="271303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96" name="Freeform 1323"/>
            <p:cNvSpPr>
              <a:spLocks noChangeArrowheads="1"/>
            </p:cNvSpPr>
            <p:nvPr/>
          </p:nvSpPr>
          <p:spPr bwMode="auto">
            <a:xfrm>
              <a:off x="3860800" y="2713038"/>
              <a:ext cx="4763" cy="3175"/>
            </a:xfrm>
            <a:custGeom>
              <a:avLst/>
              <a:gdLst>
                <a:gd name="T0" fmla="*/ 14 w 15"/>
                <a:gd name="T1" fmla="*/ 3 h 9"/>
                <a:gd name="T2" fmla="*/ 0 w 15"/>
                <a:gd name="T3" fmla="*/ 6 h 9"/>
                <a:gd name="T4" fmla="*/ 14 w 15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3"/>
                  </a:moveTo>
                  <a:cubicBezTo>
                    <a:pt x="11" y="3"/>
                    <a:pt x="0" y="0"/>
                    <a:pt x="0" y="6"/>
                  </a:cubicBezTo>
                  <a:cubicBezTo>
                    <a:pt x="6" y="3"/>
                    <a:pt x="14" y="8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97" name="Freeform 1324"/>
            <p:cNvSpPr>
              <a:spLocks noChangeArrowheads="1"/>
            </p:cNvSpPr>
            <p:nvPr/>
          </p:nvSpPr>
          <p:spPr bwMode="auto">
            <a:xfrm>
              <a:off x="3919538" y="2716213"/>
              <a:ext cx="4762" cy="4762"/>
            </a:xfrm>
            <a:custGeom>
              <a:avLst/>
              <a:gdLst>
                <a:gd name="T0" fmla="*/ 11 w 12"/>
                <a:gd name="T1" fmla="*/ 2 h 12"/>
                <a:gd name="T2" fmla="*/ 11 w 12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11" y="2"/>
                  </a:moveTo>
                  <a:cubicBezTo>
                    <a:pt x="0" y="0"/>
                    <a:pt x="8" y="11"/>
                    <a:pt x="11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98" name="Freeform 1325"/>
            <p:cNvSpPr>
              <a:spLocks noChangeArrowheads="1"/>
            </p:cNvSpPr>
            <p:nvPr/>
          </p:nvSpPr>
          <p:spPr bwMode="auto">
            <a:xfrm>
              <a:off x="3895725" y="2714625"/>
              <a:ext cx="4763" cy="1588"/>
            </a:xfrm>
            <a:custGeom>
              <a:avLst/>
              <a:gdLst>
                <a:gd name="T0" fmla="*/ 8 w 12"/>
                <a:gd name="T1" fmla="*/ 0 h 6"/>
                <a:gd name="T2" fmla="*/ 0 w 12"/>
                <a:gd name="T3" fmla="*/ 5 h 6"/>
                <a:gd name="T4" fmla="*/ 8 w 12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6">
                  <a:moveTo>
                    <a:pt x="8" y="0"/>
                  </a:moveTo>
                  <a:cubicBezTo>
                    <a:pt x="6" y="0"/>
                    <a:pt x="3" y="0"/>
                    <a:pt x="0" y="5"/>
                  </a:cubicBezTo>
                  <a:cubicBezTo>
                    <a:pt x="6" y="5"/>
                    <a:pt x="11" y="5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99" name="Freeform 1326"/>
            <p:cNvSpPr>
              <a:spLocks noChangeArrowheads="1"/>
            </p:cNvSpPr>
            <p:nvPr/>
          </p:nvSpPr>
          <p:spPr bwMode="auto">
            <a:xfrm>
              <a:off x="3910013" y="2711450"/>
              <a:ext cx="3175" cy="6350"/>
            </a:xfrm>
            <a:custGeom>
              <a:avLst/>
              <a:gdLst>
                <a:gd name="T0" fmla="*/ 8 w 9"/>
                <a:gd name="T1" fmla="*/ 9 h 18"/>
                <a:gd name="T2" fmla="*/ 8 w 9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9"/>
                  </a:moveTo>
                  <a:cubicBezTo>
                    <a:pt x="5" y="0"/>
                    <a:pt x="0" y="17"/>
                    <a:pt x="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00" name="Freeform 1327"/>
            <p:cNvSpPr>
              <a:spLocks noChangeArrowheads="1"/>
            </p:cNvSpPr>
            <p:nvPr/>
          </p:nvSpPr>
          <p:spPr bwMode="auto">
            <a:xfrm>
              <a:off x="3886200" y="2711450"/>
              <a:ext cx="1588" cy="317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6 h 7"/>
                <a:gd name="T4" fmla="*/ 5 w 6"/>
                <a:gd name="T5" fmla="*/ 6 h 7"/>
                <a:gd name="T6" fmla="*/ 5 w 6"/>
                <a:gd name="T7" fmla="*/ 0 h 7"/>
                <a:gd name="T8" fmla="*/ 0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01" name="Freeform 1328"/>
            <p:cNvSpPr>
              <a:spLocks noChangeArrowheads="1"/>
            </p:cNvSpPr>
            <p:nvPr/>
          </p:nvSpPr>
          <p:spPr bwMode="auto">
            <a:xfrm>
              <a:off x="3873500" y="2709863"/>
              <a:ext cx="4763" cy="4762"/>
            </a:xfrm>
            <a:custGeom>
              <a:avLst/>
              <a:gdLst>
                <a:gd name="T0" fmla="*/ 3 w 12"/>
                <a:gd name="T1" fmla="*/ 0 h 13"/>
                <a:gd name="T2" fmla="*/ 8 w 12"/>
                <a:gd name="T3" fmla="*/ 12 h 13"/>
                <a:gd name="T4" fmla="*/ 3 w 12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3">
                  <a:moveTo>
                    <a:pt x="3" y="0"/>
                  </a:moveTo>
                  <a:cubicBezTo>
                    <a:pt x="0" y="9"/>
                    <a:pt x="5" y="9"/>
                    <a:pt x="8" y="12"/>
                  </a:cubicBezTo>
                  <a:cubicBezTo>
                    <a:pt x="11" y="3"/>
                    <a:pt x="5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02" name="Freeform 1329"/>
            <p:cNvSpPr>
              <a:spLocks noChangeArrowheads="1"/>
            </p:cNvSpPr>
            <p:nvPr/>
          </p:nvSpPr>
          <p:spPr bwMode="auto">
            <a:xfrm>
              <a:off x="3878263" y="2709863"/>
              <a:ext cx="1587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03" name="Freeform 1330"/>
            <p:cNvSpPr>
              <a:spLocks noChangeArrowheads="1"/>
            </p:cNvSpPr>
            <p:nvPr/>
          </p:nvSpPr>
          <p:spPr bwMode="auto">
            <a:xfrm>
              <a:off x="3897313" y="2708275"/>
              <a:ext cx="3175" cy="3175"/>
            </a:xfrm>
            <a:custGeom>
              <a:avLst/>
              <a:gdLst>
                <a:gd name="T0" fmla="*/ 0 w 9"/>
                <a:gd name="T1" fmla="*/ 0 h 9"/>
                <a:gd name="T2" fmla="*/ 5 w 9"/>
                <a:gd name="T3" fmla="*/ 8 h 9"/>
                <a:gd name="T4" fmla="*/ 0 w 9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cubicBezTo>
                    <a:pt x="0" y="3"/>
                    <a:pt x="0" y="5"/>
                    <a:pt x="5" y="8"/>
                  </a:cubicBezTo>
                  <a:cubicBezTo>
                    <a:pt x="8" y="5"/>
                    <a:pt x="5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04" name="Freeform 1331"/>
            <p:cNvSpPr>
              <a:spLocks noChangeArrowheads="1"/>
            </p:cNvSpPr>
            <p:nvPr/>
          </p:nvSpPr>
          <p:spPr bwMode="auto">
            <a:xfrm>
              <a:off x="3883025" y="2708275"/>
              <a:ext cx="4763" cy="4763"/>
            </a:xfrm>
            <a:custGeom>
              <a:avLst/>
              <a:gdLst>
                <a:gd name="T0" fmla="*/ 14 w 15"/>
                <a:gd name="T1" fmla="*/ 5 h 12"/>
                <a:gd name="T2" fmla="*/ 14 w 15"/>
                <a:gd name="T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2">
                  <a:moveTo>
                    <a:pt x="14" y="5"/>
                  </a:moveTo>
                  <a:cubicBezTo>
                    <a:pt x="0" y="0"/>
                    <a:pt x="8" y="11"/>
                    <a:pt x="14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05" name="Freeform 1332"/>
            <p:cNvSpPr>
              <a:spLocks noChangeArrowheads="1"/>
            </p:cNvSpPr>
            <p:nvPr/>
          </p:nvSpPr>
          <p:spPr bwMode="auto">
            <a:xfrm>
              <a:off x="3879850" y="2705100"/>
              <a:ext cx="1588" cy="6350"/>
            </a:xfrm>
            <a:custGeom>
              <a:avLst/>
              <a:gdLst>
                <a:gd name="T0" fmla="*/ 5 w 6"/>
                <a:gd name="T1" fmla="*/ 8 h 17"/>
                <a:gd name="T2" fmla="*/ 5 w 6"/>
                <a:gd name="T3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7">
                  <a:moveTo>
                    <a:pt x="5" y="8"/>
                  </a:moveTo>
                  <a:cubicBezTo>
                    <a:pt x="0" y="0"/>
                    <a:pt x="3" y="16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06" name="Freeform 1333"/>
            <p:cNvSpPr>
              <a:spLocks noChangeArrowheads="1"/>
            </p:cNvSpPr>
            <p:nvPr/>
          </p:nvSpPr>
          <p:spPr bwMode="auto">
            <a:xfrm>
              <a:off x="3906838" y="2706688"/>
              <a:ext cx="4762" cy="4762"/>
            </a:xfrm>
            <a:custGeom>
              <a:avLst/>
              <a:gdLst>
                <a:gd name="T0" fmla="*/ 11 w 12"/>
                <a:gd name="T1" fmla="*/ 3 h 12"/>
                <a:gd name="T2" fmla="*/ 11 w 12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11" y="3"/>
                  </a:moveTo>
                  <a:cubicBezTo>
                    <a:pt x="0" y="0"/>
                    <a:pt x="8" y="11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07" name="Freeform 1334"/>
            <p:cNvSpPr>
              <a:spLocks noChangeArrowheads="1"/>
            </p:cNvSpPr>
            <p:nvPr/>
          </p:nvSpPr>
          <p:spPr bwMode="auto">
            <a:xfrm>
              <a:off x="3914775" y="2701925"/>
              <a:ext cx="4763" cy="7938"/>
            </a:xfrm>
            <a:custGeom>
              <a:avLst/>
              <a:gdLst>
                <a:gd name="T0" fmla="*/ 0 w 15"/>
                <a:gd name="T1" fmla="*/ 8 h 21"/>
                <a:gd name="T2" fmla="*/ 0 w 15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0" y="8"/>
                  </a:moveTo>
                  <a:cubicBezTo>
                    <a:pt x="14" y="20"/>
                    <a:pt x="11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08" name="Freeform 1335"/>
            <p:cNvSpPr>
              <a:spLocks noChangeArrowheads="1"/>
            </p:cNvSpPr>
            <p:nvPr/>
          </p:nvSpPr>
          <p:spPr bwMode="auto">
            <a:xfrm>
              <a:off x="3875088" y="2720975"/>
              <a:ext cx="1587" cy="4763"/>
            </a:xfrm>
            <a:custGeom>
              <a:avLst/>
              <a:gdLst>
                <a:gd name="T0" fmla="*/ 5 w 6"/>
                <a:gd name="T1" fmla="*/ 11 h 12"/>
                <a:gd name="T2" fmla="*/ 5 w 6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2">
                  <a:moveTo>
                    <a:pt x="5" y="11"/>
                  </a:moveTo>
                  <a:cubicBezTo>
                    <a:pt x="5" y="0"/>
                    <a:pt x="0" y="11"/>
                    <a:pt x="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09" name="Freeform 1336"/>
            <p:cNvSpPr>
              <a:spLocks noChangeArrowheads="1"/>
            </p:cNvSpPr>
            <p:nvPr/>
          </p:nvSpPr>
          <p:spPr bwMode="auto">
            <a:xfrm>
              <a:off x="3876675" y="2717800"/>
              <a:ext cx="3175" cy="4763"/>
            </a:xfrm>
            <a:custGeom>
              <a:avLst/>
              <a:gdLst>
                <a:gd name="T0" fmla="*/ 9 w 10"/>
                <a:gd name="T1" fmla="*/ 12 h 15"/>
                <a:gd name="T2" fmla="*/ 9 w 10"/>
                <a:gd name="T3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9" y="12"/>
                  </a:moveTo>
                  <a:cubicBezTo>
                    <a:pt x="6" y="0"/>
                    <a:pt x="0" y="14"/>
                    <a:pt x="9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10" name="Freeform 1337"/>
            <p:cNvSpPr>
              <a:spLocks noChangeArrowheads="1"/>
            </p:cNvSpPr>
            <p:nvPr/>
          </p:nvSpPr>
          <p:spPr bwMode="auto">
            <a:xfrm>
              <a:off x="3890963" y="2722563"/>
              <a:ext cx="3175" cy="3175"/>
            </a:xfrm>
            <a:custGeom>
              <a:avLst/>
              <a:gdLst>
                <a:gd name="T0" fmla="*/ 8 w 9"/>
                <a:gd name="T1" fmla="*/ 6 h 7"/>
                <a:gd name="T2" fmla="*/ 3 w 9"/>
                <a:gd name="T3" fmla="*/ 0 h 7"/>
                <a:gd name="T4" fmla="*/ 8 w 9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8" y="6"/>
                  </a:moveTo>
                  <a:cubicBezTo>
                    <a:pt x="8" y="3"/>
                    <a:pt x="5" y="0"/>
                    <a:pt x="3" y="0"/>
                  </a:cubicBezTo>
                  <a:cubicBezTo>
                    <a:pt x="0" y="3"/>
                    <a:pt x="3" y="6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11" name="Freeform 1338"/>
            <p:cNvSpPr>
              <a:spLocks noChangeArrowheads="1"/>
            </p:cNvSpPr>
            <p:nvPr/>
          </p:nvSpPr>
          <p:spPr bwMode="auto">
            <a:xfrm>
              <a:off x="3895725" y="2717800"/>
              <a:ext cx="3175" cy="4763"/>
            </a:xfrm>
            <a:custGeom>
              <a:avLst/>
              <a:gdLst>
                <a:gd name="T0" fmla="*/ 6 w 7"/>
                <a:gd name="T1" fmla="*/ 12 h 13"/>
                <a:gd name="T2" fmla="*/ 6 w 7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3">
                  <a:moveTo>
                    <a:pt x="6" y="12"/>
                  </a:moveTo>
                  <a:cubicBezTo>
                    <a:pt x="6" y="0"/>
                    <a:pt x="0" y="12"/>
                    <a:pt x="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12" name="Freeform 1339"/>
            <p:cNvSpPr>
              <a:spLocks noChangeArrowheads="1"/>
            </p:cNvSpPr>
            <p:nvPr/>
          </p:nvSpPr>
          <p:spPr bwMode="auto">
            <a:xfrm>
              <a:off x="3898900" y="2717800"/>
              <a:ext cx="3175" cy="4763"/>
            </a:xfrm>
            <a:custGeom>
              <a:avLst/>
              <a:gdLst>
                <a:gd name="T0" fmla="*/ 6 w 7"/>
                <a:gd name="T1" fmla="*/ 12 h 13"/>
                <a:gd name="T2" fmla="*/ 6 w 7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3">
                  <a:moveTo>
                    <a:pt x="6" y="12"/>
                  </a:moveTo>
                  <a:cubicBezTo>
                    <a:pt x="6" y="0"/>
                    <a:pt x="0" y="12"/>
                    <a:pt x="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13" name="Freeform 1340"/>
            <p:cNvSpPr>
              <a:spLocks noChangeArrowheads="1"/>
            </p:cNvSpPr>
            <p:nvPr/>
          </p:nvSpPr>
          <p:spPr bwMode="auto">
            <a:xfrm>
              <a:off x="3917950" y="2717800"/>
              <a:ext cx="9525" cy="4763"/>
            </a:xfrm>
            <a:custGeom>
              <a:avLst/>
              <a:gdLst>
                <a:gd name="T0" fmla="*/ 6 w 27"/>
                <a:gd name="T1" fmla="*/ 9 h 12"/>
                <a:gd name="T2" fmla="*/ 20 w 27"/>
                <a:gd name="T3" fmla="*/ 3 h 12"/>
                <a:gd name="T4" fmla="*/ 6 w 27"/>
                <a:gd name="T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12">
                  <a:moveTo>
                    <a:pt x="6" y="9"/>
                  </a:moveTo>
                  <a:cubicBezTo>
                    <a:pt x="9" y="11"/>
                    <a:pt x="26" y="11"/>
                    <a:pt x="20" y="3"/>
                  </a:cubicBezTo>
                  <a:cubicBezTo>
                    <a:pt x="20" y="0"/>
                    <a:pt x="0" y="3"/>
                    <a:pt x="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14" name="Freeform 1341"/>
            <p:cNvSpPr>
              <a:spLocks noChangeArrowheads="1"/>
            </p:cNvSpPr>
            <p:nvPr/>
          </p:nvSpPr>
          <p:spPr bwMode="auto">
            <a:xfrm>
              <a:off x="3914775" y="2708275"/>
              <a:ext cx="4763" cy="7938"/>
            </a:xfrm>
            <a:custGeom>
              <a:avLst/>
              <a:gdLst>
                <a:gd name="T0" fmla="*/ 3 w 15"/>
                <a:gd name="T1" fmla="*/ 20 h 21"/>
                <a:gd name="T2" fmla="*/ 3 w 15"/>
                <a:gd name="T3" fmla="*/ 0 h 21"/>
                <a:gd name="T4" fmla="*/ 3 w 15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1">
                  <a:moveTo>
                    <a:pt x="3" y="20"/>
                  </a:moveTo>
                  <a:cubicBezTo>
                    <a:pt x="11" y="17"/>
                    <a:pt x="14" y="5"/>
                    <a:pt x="3" y="0"/>
                  </a:cubicBezTo>
                  <a:cubicBezTo>
                    <a:pt x="0" y="5"/>
                    <a:pt x="0" y="11"/>
                    <a:pt x="3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15" name="Freeform 1342"/>
            <p:cNvSpPr>
              <a:spLocks noChangeArrowheads="1"/>
            </p:cNvSpPr>
            <p:nvPr/>
          </p:nvSpPr>
          <p:spPr bwMode="auto">
            <a:xfrm>
              <a:off x="3921125" y="2716213"/>
              <a:ext cx="4763" cy="7937"/>
            </a:xfrm>
            <a:custGeom>
              <a:avLst/>
              <a:gdLst>
                <a:gd name="T0" fmla="*/ 0 w 12"/>
                <a:gd name="T1" fmla="*/ 5 h 23"/>
                <a:gd name="T2" fmla="*/ 0 w 12"/>
                <a:gd name="T3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3">
                  <a:moveTo>
                    <a:pt x="0" y="5"/>
                  </a:moveTo>
                  <a:cubicBezTo>
                    <a:pt x="0" y="22"/>
                    <a:pt x="11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16" name="Freeform 1343"/>
            <p:cNvSpPr>
              <a:spLocks noChangeArrowheads="1"/>
            </p:cNvSpPr>
            <p:nvPr/>
          </p:nvSpPr>
          <p:spPr bwMode="auto">
            <a:xfrm>
              <a:off x="3905250" y="2708275"/>
              <a:ext cx="6350" cy="7938"/>
            </a:xfrm>
            <a:custGeom>
              <a:avLst/>
              <a:gdLst>
                <a:gd name="T0" fmla="*/ 6 w 18"/>
                <a:gd name="T1" fmla="*/ 0 h 21"/>
                <a:gd name="T2" fmla="*/ 0 w 18"/>
                <a:gd name="T3" fmla="*/ 8 h 21"/>
                <a:gd name="T4" fmla="*/ 6 w 18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6" y="0"/>
                  </a:moveTo>
                  <a:lnTo>
                    <a:pt x="0" y="8"/>
                  </a:lnTo>
                  <a:cubicBezTo>
                    <a:pt x="6" y="20"/>
                    <a:pt x="17" y="3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17" name="Freeform 1344"/>
            <p:cNvSpPr>
              <a:spLocks noChangeArrowheads="1"/>
            </p:cNvSpPr>
            <p:nvPr/>
          </p:nvSpPr>
          <p:spPr bwMode="auto">
            <a:xfrm>
              <a:off x="3900488" y="2716213"/>
              <a:ext cx="9525" cy="6350"/>
            </a:xfrm>
            <a:custGeom>
              <a:avLst/>
              <a:gdLst>
                <a:gd name="T0" fmla="*/ 26 w 27"/>
                <a:gd name="T1" fmla="*/ 9 h 18"/>
                <a:gd name="T2" fmla="*/ 6 w 27"/>
                <a:gd name="T3" fmla="*/ 0 h 18"/>
                <a:gd name="T4" fmla="*/ 0 w 27"/>
                <a:gd name="T5" fmla="*/ 9 h 18"/>
                <a:gd name="T6" fmla="*/ 20 w 27"/>
                <a:gd name="T7" fmla="*/ 15 h 18"/>
                <a:gd name="T8" fmla="*/ 26 w 27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8">
                  <a:moveTo>
                    <a:pt x="26" y="9"/>
                  </a:moveTo>
                  <a:cubicBezTo>
                    <a:pt x="20" y="3"/>
                    <a:pt x="11" y="0"/>
                    <a:pt x="6" y="0"/>
                  </a:cubicBezTo>
                  <a:lnTo>
                    <a:pt x="0" y="9"/>
                  </a:lnTo>
                  <a:cubicBezTo>
                    <a:pt x="3" y="15"/>
                    <a:pt x="11" y="17"/>
                    <a:pt x="20" y="15"/>
                  </a:cubicBezTo>
                  <a:cubicBezTo>
                    <a:pt x="20" y="15"/>
                    <a:pt x="23" y="12"/>
                    <a:pt x="2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18" name="Freeform 1345"/>
            <p:cNvSpPr>
              <a:spLocks noChangeArrowheads="1"/>
            </p:cNvSpPr>
            <p:nvPr/>
          </p:nvSpPr>
          <p:spPr bwMode="auto">
            <a:xfrm>
              <a:off x="3881438" y="2705100"/>
              <a:ext cx="4762" cy="6350"/>
            </a:xfrm>
            <a:custGeom>
              <a:avLst/>
              <a:gdLst>
                <a:gd name="T0" fmla="*/ 0 w 12"/>
                <a:gd name="T1" fmla="*/ 9 h 18"/>
                <a:gd name="T2" fmla="*/ 0 w 12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0" y="9"/>
                  </a:moveTo>
                  <a:cubicBezTo>
                    <a:pt x="11" y="17"/>
                    <a:pt x="5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19" name="Freeform 1346"/>
            <p:cNvSpPr>
              <a:spLocks noChangeArrowheads="1"/>
            </p:cNvSpPr>
            <p:nvPr/>
          </p:nvSpPr>
          <p:spPr bwMode="auto">
            <a:xfrm>
              <a:off x="3892550" y="2716213"/>
              <a:ext cx="3175" cy="4762"/>
            </a:xfrm>
            <a:custGeom>
              <a:avLst/>
              <a:gdLst>
                <a:gd name="T0" fmla="*/ 3 w 10"/>
                <a:gd name="T1" fmla="*/ 0 h 15"/>
                <a:gd name="T2" fmla="*/ 3 w 10"/>
                <a:gd name="T3" fmla="*/ 11 h 15"/>
                <a:gd name="T4" fmla="*/ 6 w 10"/>
                <a:gd name="T5" fmla="*/ 14 h 15"/>
                <a:gd name="T6" fmla="*/ 6 w 10"/>
                <a:gd name="T7" fmla="*/ 2 h 15"/>
                <a:gd name="T8" fmla="*/ 3 w 1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3" y="0"/>
                  </a:moveTo>
                  <a:cubicBezTo>
                    <a:pt x="0" y="2"/>
                    <a:pt x="0" y="8"/>
                    <a:pt x="3" y="11"/>
                  </a:cubicBezTo>
                  <a:lnTo>
                    <a:pt x="6" y="14"/>
                  </a:lnTo>
                  <a:cubicBezTo>
                    <a:pt x="9" y="11"/>
                    <a:pt x="9" y="5"/>
                    <a:pt x="6" y="2"/>
                  </a:cubicBezTo>
                  <a:cubicBezTo>
                    <a:pt x="6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20" name="Freeform 1347"/>
            <p:cNvSpPr>
              <a:spLocks noChangeArrowheads="1"/>
            </p:cNvSpPr>
            <p:nvPr/>
          </p:nvSpPr>
          <p:spPr bwMode="auto">
            <a:xfrm>
              <a:off x="3878263" y="2706688"/>
              <a:ext cx="4762" cy="7937"/>
            </a:xfrm>
            <a:custGeom>
              <a:avLst/>
              <a:gdLst>
                <a:gd name="T0" fmla="*/ 0 w 12"/>
                <a:gd name="T1" fmla="*/ 8 h 21"/>
                <a:gd name="T2" fmla="*/ 0 w 12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1">
                  <a:moveTo>
                    <a:pt x="0" y="8"/>
                  </a:moveTo>
                  <a:cubicBezTo>
                    <a:pt x="11" y="20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21" name="Freeform 1348"/>
            <p:cNvSpPr>
              <a:spLocks noChangeArrowheads="1"/>
            </p:cNvSpPr>
            <p:nvPr/>
          </p:nvSpPr>
          <p:spPr bwMode="auto">
            <a:xfrm>
              <a:off x="3865563" y="2703513"/>
              <a:ext cx="3175" cy="3175"/>
            </a:xfrm>
            <a:custGeom>
              <a:avLst/>
              <a:gdLst>
                <a:gd name="T0" fmla="*/ 6 w 10"/>
                <a:gd name="T1" fmla="*/ 8 h 9"/>
                <a:gd name="T2" fmla="*/ 9 w 10"/>
                <a:gd name="T3" fmla="*/ 3 h 9"/>
                <a:gd name="T4" fmla="*/ 3 w 10"/>
                <a:gd name="T5" fmla="*/ 0 h 9"/>
                <a:gd name="T6" fmla="*/ 0 w 10"/>
                <a:gd name="T7" fmla="*/ 5 h 9"/>
                <a:gd name="T8" fmla="*/ 6 w 10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6" y="8"/>
                  </a:moveTo>
                  <a:lnTo>
                    <a:pt x="9" y="3"/>
                  </a:lnTo>
                  <a:lnTo>
                    <a:pt x="3" y="0"/>
                  </a:lnTo>
                  <a:lnTo>
                    <a:pt x="0" y="5"/>
                  </a:lnTo>
                  <a:lnTo>
                    <a:pt x="6" y="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22" name="Freeform 1349"/>
            <p:cNvSpPr>
              <a:spLocks noChangeArrowheads="1"/>
            </p:cNvSpPr>
            <p:nvPr/>
          </p:nvSpPr>
          <p:spPr bwMode="auto">
            <a:xfrm>
              <a:off x="3875088" y="2711450"/>
              <a:ext cx="3175" cy="3175"/>
            </a:xfrm>
            <a:custGeom>
              <a:avLst/>
              <a:gdLst>
                <a:gd name="T0" fmla="*/ 5 w 9"/>
                <a:gd name="T1" fmla="*/ 9 h 10"/>
                <a:gd name="T2" fmla="*/ 8 w 9"/>
                <a:gd name="T3" fmla="*/ 3 h 10"/>
                <a:gd name="T4" fmla="*/ 2 w 9"/>
                <a:gd name="T5" fmla="*/ 0 h 10"/>
                <a:gd name="T6" fmla="*/ 0 w 9"/>
                <a:gd name="T7" fmla="*/ 6 h 10"/>
                <a:gd name="T8" fmla="*/ 5 w 9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5" y="9"/>
                  </a:moveTo>
                  <a:lnTo>
                    <a:pt x="8" y="3"/>
                  </a:lnTo>
                  <a:lnTo>
                    <a:pt x="2" y="0"/>
                  </a:lnTo>
                  <a:lnTo>
                    <a:pt x="0" y="6"/>
                  </a:lnTo>
                  <a:lnTo>
                    <a:pt x="5" y="9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23" name="Freeform 1350"/>
            <p:cNvSpPr>
              <a:spLocks noChangeArrowheads="1"/>
            </p:cNvSpPr>
            <p:nvPr/>
          </p:nvSpPr>
          <p:spPr bwMode="auto">
            <a:xfrm>
              <a:off x="3876675" y="2716213"/>
              <a:ext cx="6350" cy="4762"/>
            </a:xfrm>
            <a:custGeom>
              <a:avLst/>
              <a:gdLst>
                <a:gd name="T0" fmla="*/ 9 w 18"/>
                <a:gd name="T1" fmla="*/ 14 h 15"/>
                <a:gd name="T2" fmla="*/ 14 w 18"/>
                <a:gd name="T3" fmla="*/ 0 h 15"/>
                <a:gd name="T4" fmla="*/ 0 w 18"/>
                <a:gd name="T5" fmla="*/ 8 h 15"/>
                <a:gd name="T6" fmla="*/ 9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9" y="14"/>
                  </a:moveTo>
                  <a:cubicBezTo>
                    <a:pt x="12" y="8"/>
                    <a:pt x="17" y="5"/>
                    <a:pt x="14" y="0"/>
                  </a:cubicBezTo>
                  <a:cubicBezTo>
                    <a:pt x="12" y="11"/>
                    <a:pt x="6" y="2"/>
                    <a:pt x="0" y="8"/>
                  </a:cubicBezTo>
                  <a:lnTo>
                    <a:pt x="9" y="14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24" name="Freeform 1351"/>
            <p:cNvSpPr>
              <a:spLocks noChangeArrowheads="1"/>
            </p:cNvSpPr>
            <p:nvPr/>
          </p:nvSpPr>
          <p:spPr bwMode="auto">
            <a:xfrm>
              <a:off x="3881438" y="2720975"/>
              <a:ext cx="4762" cy="7938"/>
            </a:xfrm>
            <a:custGeom>
              <a:avLst/>
              <a:gdLst>
                <a:gd name="T0" fmla="*/ 0 w 12"/>
                <a:gd name="T1" fmla="*/ 5 h 23"/>
                <a:gd name="T2" fmla="*/ 0 w 12"/>
                <a:gd name="T3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3">
                  <a:moveTo>
                    <a:pt x="0" y="5"/>
                  </a:moveTo>
                  <a:cubicBezTo>
                    <a:pt x="2" y="22"/>
                    <a:pt x="11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25" name="Freeform 1352"/>
            <p:cNvSpPr>
              <a:spLocks noChangeArrowheads="1"/>
            </p:cNvSpPr>
            <p:nvPr/>
          </p:nvSpPr>
          <p:spPr bwMode="auto">
            <a:xfrm>
              <a:off x="3863975" y="2713038"/>
              <a:ext cx="6350" cy="4762"/>
            </a:xfrm>
            <a:custGeom>
              <a:avLst/>
              <a:gdLst>
                <a:gd name="T0" fmla="*/ 15 w 16"/>
                <a:gd name="T1" fmla="*/ 6 h 12"/>
                <a:gd name="T2" fmla="*/ 6 w 16"/>
                <a:gd name="T3" fmla="*/ 0 h 12"/>
                <a:gd name="T4" fmla="*/ 0 w 16"/>
                <a:gd name="T5" fmla="*/ 8 h 12"/>
                <a:gd name="T6" fmla="*/ 12 w 16"/>
                <a:gd name="T7" fmla="*/ 8 h 12"/>
                <a:gd name="T8" fmla="*/ 15 w 1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15" y="6"/>
                  </a:moveTo>
                  <a:lnTo>
                    <a:pt x="6" y="0"/>
                  </a:lnTo>
                  <a:lnTo>
                    <a:pt x="0" y="8"/>
                  </a:lnTo>
                  <a:cubicBezTo>
                    <a:pt x="3" y="11"/>
                    <a:pt x="9" y="11"/>
                    <a:pt x="12" y="8"/>
                  </a:cubicBezTo>
                  <a:cubicBezTo>
                    <a:pt x="15" y="8"/>
                    <a:pt x="15" y="6"/>
                    <a:pt x="15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26" name="Freeform 1353"/>
            <p:cNvSpPr>
              <a:spLocks noChangeArrowheads="1"/>
            </p:cNvSpPr>
            <p:nvPr/>
          </p:nvSpPr>
          <p:spPr bwMode="auto">
            <a:xfrm>
              <a:off x="3871913" y="2720975"/>
              <a:ext cx="3175" cy="7938"/>
            </a:xfrm>
            <a:custGeom>
              <a:avLst/>
              <a:gdLst>
                <a:gd name="T0" fmla="*/ 0 w 9"/>
                <a:gd name="T1" fmla="*/ 8 h 20"/>
                <a:gd name="T2" fmla="*/ 0 w 9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8"/>
                  </a:moveTo>
                  <a:cubicBezTo>
                    <a:pt x="8" y="19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27" name="Freeform 1354"/>
            <p:cNvSpPr>
              <a:spLocks noChangeArrowheads="1"/>
            </p:cNvSpPr>
            <p:nvPr/>
          </p:nvSpPr>
          <p:spPr bwMode="auto">
            <a:xfrm>
              <a:off x="3863975" y="2724150"/>
              <a:ext cx="6350" cy="4763"/>
            </a:xfrm>
            <a:custGeom>
              <a:avLst/>
              <a:gdLst>
                <a:gd name="T0" fmla="*/ 0 w 18"/>
                <a:gd name="T1" fmla="*/ 9 h 15"/>
                <a:gd name="T2" fmla="*/ 17 w 18"/>
                <a:gd name="T3" fmla="*/ 9 h 15"/>
                <a:gd name="T4" fmla="*/ 0 w 18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0" y="9"/>
                  </a:moveTo>
                  <a:cubicBezTo>
                    <a:pt x="6" y="14"/>
                    <a:pt x="12" y="11"/>
                    <a:pt x="17" y="9"/>
                  </a:cubicBezTo>
                  <a:cubicBezTo>
                    <a:pt x="12" y="6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28" name="Freeform 1355"/>
            <p:cNvSpPr>
              <a:spLocks noChangeArrowheads="1"/>
            </p:cNvSpPr>
            <p:nvPr/>
          </p:nvSpPr>
          <p:spPr bwMode="auto">
            <a:xfrm>
              <a:off x="3903663" y="2709863"/>
              <a:ext cx="1587" cy="3175"/>
            </a:xfrm>
            <a:custGeom>
              <a:avLst/>
              <a:gdLst>
                <a:gd name="T0" fmla="*/ 2 w 3"/>
                <a:gd name="T1" fmla="*/ 0 h 10"/>
                <a:gd name="T2" fmla="*/ 0 w 3"/>
                <a:gd name="T3" fmla="*/ 9 h 10"/>
                <a:gd name="T4" fmla="*/ 0 w 3"/>
                <a:gd name="T5" fmla="*/ 3 h 10"/>
                <a:gd name="T6" fmla="*/ 2 w 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0">
                  <a:moveTo>
                    <a:pt x="2" y="0"/>
                  </a:moveTo>
                  <a:cubicBezTo>
                    <a:pt x="2" y="0"/>
                    <a:pt x="2" y="9"/>
                    <a:pt x="0" y="9"/>
                  </a:cubicBezTo>
                  <a:cubicBezTo>
                    <a:pt x="0" y="9"/>
                    <a:pt x="0" y="6"/>
                    <a:pt x="0" y="3"/>
                  </a:cubicBezTo>
                  <a:cubicBezTo>
                    <a:pt x="2" y="3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29" name="Freeform 1356"/>
            <p:cNvSpPr>
              <a:spLocks noChangeArrowheads="1"/>
            </p:cNvSpPr>
            <p:nvPr/>
          </p:nvSpPr>
          <p:spPr bwMode="auto">
            <a:xfrm>
              <a:off x="3922713" y="2716213"/>
              <a:ext cx="4762" cy="7937"/>
            </a:xfrm>
            <a:custGeom>
              <a:avLst/>
              <a:gdLst>
                <a:gd name="T0" fmla="*/ 6 w 12"/>
                <a:gd name="T1" fmla="*/ 19 h 20"/>
                <a:gd name="T2" fmla="*/ 11 w 12"/>
                <a:gd name="T3" fmla="*/ 8 h 20"/>
                <a:gd name="T4" fmla="*/ 6 w 12"/>
                <a:gd name="T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0">
                  <a:moveTo>
                    <a:pt x="6" y="19"/>
                  </a:moveTo>
                  <a:cubicBezTo>
                    <a:pt x="6" y="14"/>
                    <a:pt x="11" y="14"/>
                    <a:pt x="11" y="8"/>
                  </a:cubicBezTo>
                  <a:cubicBezTo>
                    <a:pt x="3" y="0"/>
                    <a:pt x="0" y="19"/>
                    <a:pt x="6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30" name="Freeform 1357"/>
            <p:cNvSpPr>
              <a:spLocks noChangeArrowheads="1"/>
            </p:cNvSpPr>
            <p:nvPr/>
          </p:nvSpPr>
          <p:spPr bwMode="auto">
            <a:xfrm>
              <a:off x="3903663" y="2720975"/>
              <a:ext cx="6350" cy="4763"/>
            </a:xfrm>
            <a:custGeom>
              <a:avLst/>
              <a:gdLst>
                <a:gd name="T0" fmla="*/ 6 w 18"/>
                <a:gd name="T1" fmla="*/ 0 h 12"/>
                <a:gd name="T2" fmla="*/ 6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6" y="0"/>
                  </a:moveTo>
                  <a:cubicBezTo>
                    <a:pt x="0" y="11"/>
                    <a:pt x="17" y="2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31" name="Freeform 1358"/>
            <p:cNvSpPr>
              <a:spLocks noChangeArrowheads="1"/>
            </p:cNvSpPr>
            <p:nvPr/>
          </p:nvSpPr>
          <p:spPr bwMode="auto">
            <a:xfrm>
              <a:off x="3900488" y="2720975"/>
              <a:ext cx="6350" cy="4763"/>
            </a:xfrm>
            <a:custGeom>
              <a:avLst/>
              <a:gdLst>
                <a:gd name="T0" fmla="*/ 6 w 18"/>
                <a:gd name="T1" fmla="*/ 0 h 15"/>
                <a:gd name="T2" fmla="*/ 6 w 18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5">
                  <a:moveTo>
                    <a:pt x="6" y="0"/>
                  </a:moveTo>
                  <a:cubicBezTo>
                    <a:pt x="0" y="14"/>
                    <a:pt x="17" y="2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32" name="Freeform 1359"/>
            <p:cNvSpPr>
              <a:spLocks noChangeArrowheads="1"/>
            </p:cNvSpPr>
            <p:nvPr/>
          </p:nvSpPr>
          <p:spPr bwMode="auto">
            <a:xfrm>
              <a:off x="3883025" y="2709863"/>
              <a:ext cx="6350" cy="4762"/>
            </a:xfrm>
            <a:custGeom>
              <a:avLst/>
              <a:gdLst>
                <a:gd name="T0" fmla="*/ 9 w 18"/>
                <a:gd name="T1" fmla="*/ 0 h 12"/>
                <a:gd name="T2" fmla="*/ 9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9" y="0"/>
                  </a:moveTo>
                  <a:cubicBezTo>
                    <a:pt x="0" y="11"/>
                    <a:pt x="17" y="2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33" name="Freeform 1360"/>
            <p:cNvSpPr>
              <a:spLocks noChangeArrowheads="1"/>
            </p:cNvSpPr>
            <p:nvPr/>
          </p:nvSpPr>
          <p:spPr bwMode="auto">
            <a:xfrm>
              <a:off x="3876675" y="2716213"/>
              <a:ext cx="6350" cy="6350"/>
            </a:xfrm>
            <a:custGeom>
              <a:avLst/>
              <a:gdLst>
                <a:gd name="T0" fmla="*/ 9 w 18"/>
                <a:gd name="T1" fmla="*/ 0 h 16"/>
                <a:gd name="T2" fmla="*/ 9 w 18"/>
                <a:gd name="T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6">
                  <a:moveTo>
                    <a:pt x="9" y="0"/>
                  </a:moveTo>
                  <a:cubicBezTo>
                    <a:pt x="0" y="15"/>
                    <a:pt x="17" y="3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34" name="Freeform 1361"/>
            <p:cNvSpPr>
              <a:spLocks noChangeArrowheads="1"/>
            </p:cNvSpPr>
            <p:nvPr/>
          </p:nvSpPr>
          <p:spPr bwMode="auto">
            <a:xfrm>
              <a:off x="3863975" y="2720975"/>
              <a:ext cx="4763" cy="4763"/>
            </a:xfrm>
            <a:custGeom>
              <a:avLst/>
              <a:gdLst>
                <a:gd name="T0" fmla="*/ 8 w 12"/>
                <a:gd name="T1" fmla="*/ 11 h 12"/>
                <a:gd name="T2" fmla="*/ 0 w 12"/>
                <a:gd name="T3" fmla="*/ 0 h 12"/>
                <a:gd name="T4" fmla="*/ 8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8" y="11"/>
                  </a:moveTo>
                  <a:cubicBezTo>
                    <a:pt x="11" y="5"/>
                    <a:pt x="8" y="0"/>
                    <a:pt x="0" y="0"/>
                  </a:cubicBezTo>
                  <a:cubicBezTo>
                    <a:pt x="0" y="5"/>
                    <a:pt x="2" y="11"/>
                    <a:pt x="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35" name="Freeform 1362"/>
            <p:cNvSpPr>
              <a:spLocks noChangeArrowheads="1"/>
            </p:cNvSpPr>
            <p:nvPr/>
          </p:nvSpPr>
          <p:spPr bwMode="auto">
            <a:xfrm>
              <a:off x="4422775" y="2647950"/>
              <a:ext cx="4763" cy="4763"/>
            </a:xfrm>
            <a:custGeom>
              <a:avLst/>
              <a:gdLst>
                <a:gd name="T0" fmla="*/ 12 w 13"/>
                <a:gd name="T1" fmla="*/ 2 h 12"/>
                <a:gd name="T2" fmla="*/ 12 w 13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2">
                  <a:moveTo>
                    <a:pt x="12" y="2"/>
                  </a:moveTo>
                  <a:cubicBezTo>
                    <a:pt x="0" y="0"/>
                    <a:pt x="12" y="11"/>
                    <a:pt x="1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36" name="Freeform 1363"/>
            <p:cNvSpPr>
              <a:spLocks noChangeArrowheads="1"/>
            </p:cNvSpPr>
            <p:nvPr/>
          </p:nvSpPr>
          <p:spPr bwMode="auto">
            <a:xfrm>
              <a:off x="4438650" y="2641600"/>
              <a:ext cx="4763" cy="3175"/>
            </a:xfrm>
            <a:custGeom>
              <a:avLst/>
              <a:gdLst>
                <a:gd name="T0" fmla="*/ 11 w 12"/>
                <a:gd name="T1" fmla="*/ 3 h 10"/>
                <a:gd name="T2" fmla="*/ 2 w 12"/>
                <a:gd name="T3" fmla="*/ 0 h 10"/>
                <a:gd name="T4" fmla="*/ 11 w 12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3"/>
                  </a:moveTo>
                  <a:lnTo>
                    <a:pt x="2" y="0"/>
                  </a:lnTo>
                  <a:cubicBezTo>
                    <a:pt x="0" y="6"/>
                    <a:pt x="11" y="9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37" name="Freeform 1364"/>
            <p:cNvSpPr>
              <a:spLocks noChangeArrowheads="1"/>
            </p:cNvSpPr>
            <p:nvPr/>
          </p:nvSpPr>
          <p:spPr bwMode="auto">
            <a:xfrm>
              <a:off x="4421188" y="2638425"/>
              <a:ext cx="4762" cy="4763"/>
            </a:xfrm>
            <a:custGeom>
              <a:avLst/>
              <a:gdLst>
                <a:gd name="T0" fmla="*/ 11 w 12"/>
                <a:gd name="T1" fmla="*/ 3 h 12"/>
                <a:gd name="T2" fmla="*/ 11 w 12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11" y="3"/>
                  </a:moveTo>
                  <a:cubicBezTo>
                    <a:pt x="0" y="0"/>
                    <a:pt x="8" y="11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38" name="Freeform 1365"/>
            <p:cNvSpPr>
              <a:spLocks noChangeArrowheads="1"/>
            </p:cNvSpPr>
            <p:nvPr/>
          </p:nvSpPr>
          <p:spPr bwMode="auto">
            <a:xfrm>
              <a:off x="4459288" y="2638425"/>
              <a:ext cx="3175" cy="6350"/>
            </a:xfrm>
            <a:custGeom>
              <a:avLst/>
              <a:gdLst>
                <a:gd name="T0" fmla="*/ 8 w 9"/>
                <a:gd name="T1" fmla="*/ 9 h 18"/>
                <a:gd name="T2" fmla="*/ 8 w 9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9"/>
                  </a:moveTo>
                  <a:cubicBezTo>
                    <a:pt x="0" y="0"/>
                    <a:pt x="3" y="17"/>
                    <a:pt x="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39" name="Freeform 1366"/>
            <p:cNvSpPr>
              <a:spLocks noChangeArrowheads="1"/>
            </p:cNvSpPr>
            <p:nvPr/>
          </p:nvSpPr>
          <p:spPr bwMode="auto">
            <a:xfrm>
              <a:off x="4438650" y="2636838"/>
              <a:ext cx="6350" cy="3175"/>
            </a:xfrm>
            <a:custGeom>
              <a:avLst/>
              <a:gdLst>
                <a:gd name="T0" fmla="*/ 12 w 16"/>
                <a:gd name="T1" fmla="*/ 9 h 10"/>
                <a:gd name="T2" fmla="*/ 3 w 16"/>
                <a:gd name="T3" fmla="*/ 0 h 10"/>
                <a:gd name="T4" fmla="*/ 12 w 16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0">
                  <a:moveTo>
                    <a:pt x="12" y="9"/>
                  </a:moveTo>
                  <a:cubicBezTo>
                    <a:pt x="15" y="0"/>
                    <a:pt x="9" y="0"/>
                    <a:pt x="3" y="0"/>
                  </a:cubicBezTo>
                  <a:cubicBezTo>
                    <a:pt x="0" y="9"/>
                    <a:pt x="6" y="9"/>
                    <a:pt x="12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40" name="Freeform 1367"/>
            <p:cNvSpPr>
              <a:spLocks noChangeArrowheads="1"/>
            </p:cNvSpPr>
            <p:nvPr/>
          </p:nvSpPr>
          <p:spPr bwMode="auto">
            <a:xfrm>
              <a:off x="4429125" y="2636838"/>
              <a:ext cx="3175" cy="4762"/>
            </a:xfrm>
            <a:custGeom>
              <a:avLst/>
              <a:gdLst>
                <a:gd name="T0" fmla="*/ 9 w 10"/>
                <a:gd name="T1" fmla="*/ 11 h 12"/>
                <a:gd name="T2" fmla="*/ 3 w 10"/>
                <a:gd name="T3" fmla="*/ 0 h 12"/>
                <a:gd name="T4" fmla="*/ 9 w 10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9" y="11"/>
                  </a:moveTo>
                  <a:cubicBezTo>
                    <a:pt x="9" y="5"/>
                    <a:pt x="9" y="2"/>
                    <a:pt x="3" y="0"/>
                  </a:cubicBezTo>
                  <a:cubicBezTo>
                    <a:pt x="9" y="5"/>
                    <a:pt x="0" y="8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41" name="Freeform 1368"/>
            <p:cNvSpPr>
              <a:spLocks noChangeArrowheads="1"/>
            </p:cNvSpPr>
            <p:nvPr/>
          </p:nvSpPr>
          <p:spPr bwMode="auto">
            <a:xfrm>
              <a:off x="4427538" y="2636838"/>
              <a:ext cx="1587" cy="1587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0" y="0"/>
                    <a:pt x="2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42" name="Freeform 1369"/>
            <p:cNvSpPr>
              <a:spLocks noChangeArrowheads="1"/>
            </p:cNvSpPr>
            <p:nvPr/>
          </p:nvSpPr>
          <p:spPr bwMode="auto">
            <a:xfrm>
              <a:off x="4421188" y="2636838"/>
              <a:ext cx="4762" cy="3175"/>
            </a:xfrm>
            <a:custGeom>
              <a:avLst/>
              <a:gdLst>
                <a:gd name="T0" fmla="*/ 14 w 15"/>
                <a:gd name="T1" fmla="*/ 2 h 9"/>
                <a:gd name="T2" fmla="*/ 0 w 15"/>
                <a:gd name="T3" fmla="*/ 5 h 9"/>
                <a:gd name="T4" fmla="*/ 14 w 15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2"/>
                  </a:moveTo>
                  <a:cubicBezTo>
                    <a:pt x="11" y="2"/>
                    <a:pt x="0" y="0"/>
                    <a:pt x="0" y="5"/>
                  </a:cubicBezTo>
                  <a:cubicBezTo>
                    <a:pt x="5" y="5"/>
                    <a:pt x="14" y="8"/>
                    <a:pt x="14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43" name="Freeform 1370"/>
            <p:cNvSpPr>
              <a:spLocks noChangeArrowheads="1"/>
            </p:cNvSpPr>
            <p:nvPr/>
          </p:nvSpPr>
          <p:spPr bwMode="auto">
            <a:xfrm>
              <a:off x="4479925" y="2638425"/>
              <a:ext cx="3175" cy="4763"/>
            </a:xfrm>
            <a:custGeom>
              <a:avLst/>
              <a:gdLst>
                <a:gd name="T0" fmla="*/ 9 w 10"/>
                <a:gd name="T1" fmla="*/ 3 h 12"/>
                <a:gd name="T2" fmla="*/ 9 w 10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2">
                  <a:moveTo>
                    <a:pt x="9" y="3"/>
                  </a:moveTo>
                  <a:cubicBezTo>
                    <a:pt x="0" y="0"/>
                    <a:pt x="9" y="11"/>
                    <a:pt x="9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44" name="Freeform 1371"/>
            <p:cNvSpPr>
              <a:spLocks noChangeArrowheads="1"/>
            </p:cNvSpPr>
            <p:nvPr/>
          </p:nvSpPr>
          <p:spPr bwMode="auto">
            <a:xfrm>
              <a:off x="4456113" y="2638425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6 h 7"/>
                <a:gd name="T4" fmla="*/ 9 w 10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6" y="0"/>
                    <a:pt x="3" y="0"/>
                    <a:pt x="0" y="6"/>
                  </a:cubicBezTo>
                  <a:cubicBezTo>
                    <a:pt x="3" y="3"/>
                    <a:pt x="9" y="6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45" name="Freeform 1372"/>
            <p:cNvSpPr>
              <a:spLocks noChangeArrowheads="1"/>
            </p:cNvSpPr>
            <p:nvPr/>
          </p:nvSpPr>
          <p:spPr bwMode="auto">
            <a:xfrm>
              <a:off x="4468813" y="2635250"/>
              <a:ext cx="3175" cy="7938"/>
            </a:xfrm>
            <a:custGeom>
              <a:avLst/>
              <a:gdLst>
                <a:gd name="T0" fmla="*/ 6 w 7"/>
                <a:gd name="T1" fmla="*/ 11 h 20"/>
                <a:gd name="T2" fmla="*/ 6 w 7"/>
                <a:gd name="T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0">
                  <a:moveTo>
                    <a:pt x="6" y="11"/>
                  </a:moveTo>
                  <a:cubicBezTo>
                    <a:pt x="3" y="0"/>
                    <a:pt x="0" y="19"/>
                    <a:pt x="6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46" name="Freeform 1373"/>
            <p:cNvSpPr>
              <a:spLocks noChangeArrowheads="1"/>
            </p:cNvSpPr>
            <p:nvPr/>
          </p:nvSpPr>
          <p:spPr bwMode="auto">
            <a:xfrm>
              <a:off x="4445000" y="2636838"/>
              <a:ext cx="3175" cy="1587"/>
            </a:xfrm>
            <a:custGeom>
              <a:avLst/>
              <a:gdLst>
                <a:gd name="T0" fmla="*/ 0 w 7"/>
                <a:gd name="T1" fmla="*/ 0 h 6"/>
                <a:gd name="T2" fmla="*/ 0 w 7"/>
                <a:gd name="T3" fmla="*/ 5 h 6"/>
                <a:gd name="T4" fmla="*/ 6 w 7"/>
                <a:gd name="T5" fmla="*/ 5 h 6"/>
                <a:gd name="T6" fmla="*/ 6 w 7"/>
                <a:gd name="T7" fmla="*/ 0 h 6"/>
                <a:gd name="T8" fmla="*/ 0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lnTo>
                    <a:pt x="0" y="5"/>
                  </a:lnTo>
                  <a:lnTo>
                    <a:pt x="6" y="5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47" name="Freeform 1374"/>
            <p:cNvSpPr>
              <a:spLocks noChangeArrowheads="1"/>
            </p:cNvSpPr>
            <p:nvPr/>
          </p:nvSpPr>
          <p:spPr bwMode="auto">
            <a:xfrm>
              <a:off x="4432300" y="2633663"/>
              <a:ext cx="4763" cy="4762"/>
            </a:xfrm>
            <a:custGeom>
              <a:avLst/>
              <a:gdLst>
                <a:gd name="T0" fmla="*/ 2 w 12"/>
                <a:gd name="T1" fmla="*/ 0 h 12"/>
                <a:gd name="T2" fmla="*/ 8 w 12"/>
                <a:gd name="T3" fmla="*/ 11 h 12"/>
                <a:gd name="T4" fmla="*/ 2 w 12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2" y="0"/>
                  </a:moveTo>
                  <a:cubicBezTo>
                    <a:pt x="0" y="9"/>
                    <a:pt x="5" y="9"/>
                    <a:pt x="8" y="11"/>
                  </a:cubicBezTo>
                  <a:cubicBezTo>
                    <a:pt x="11" y="6"/>
                    <a:pt x="8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48" name="Freeform 1375"/>
            <p:cNvSpPr>
              <a:spLocks noChangeArrowheads="1"/>
            </p:cNvSpPr>
            <p:nvPr/>
          </p:nvSpPr>
          <p:spPr bwMode="auto">
            <a:xfrm>
              <a:off x="4456113" y="2632075"/>
              <a:ext cx="3175" cy="3175"/>
            </a:xfrm>
            <a:custGeom>
              <a:avLst/>
              <a:gdLst>
                <a:gd name="T0" fmla="*/ 0 w 10"/>
                <a:gd name="T1" fmla="*/ 0 h 10"/>
                <a:gd name="T2" fmla="*/ 6 w 10"/>
                <a:gd name="T3" fmla="*/ 9 h 10"/>
                <a:gd name="T4" fmla="*/ 0 w 10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0">
                  <a:moveTo>
                    <a:pt x="0" y="0"/>
                  </a:moveTo>
                  <a:cubicBezTo>
                    <a:pt x="0" y="3"/>
                    <a:pt x="0" y="6"/>
                    <a:pt x="6" y="9"/>
                  </a:cubicBezTo>
                  <a:cubicBezTo>
                    <a:pt x="9" y="6"/>
                    <a:pt x="9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49" name="Freeform 1376"/>
            <p:cNvSpPr>
              <a:spLocks noChangeArrowheads="1"/>
            </p:cNvSpPr>
            <p:nvPr/>
          </p:nvSpPr>
          <p:spPr bwMode="auto">
            <a:xfrm>
              <a:off x="4443413" y="2632075"/>
              <a:ext cx="4762" cy="4763"/>
            </a:xfrm>
            <a:custGeom>
              <a:avLst/>
              <a:gdLst>
                <a:gd name="T0" fmla="*/ 14 w 15"/>
                <a:gd name="T1" fmla="*/ 3 h 13"/>
                <a:gd name="T2" fmla="*/ 14 w 15"/>
                <a:gd name="T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14" y="3"/>
                  </a:moveTo>
                  <a:cubicBezTo>
                    <a:pt x="0" y="0"/>
                    <a:pt x="11" y="12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50" name="Freeform 1377"/>
            <p:cNvSpPr>
              <a:spLocks noChangeArrowheads="1"/>
            </p:cNvSpPr>
            <p:nvPr/>
          </p:nvSpPr>
          <p:spPr bwMode="auto">
            <a:xfrm>
              <a:off x="4440238" y="2627313"/>
              <a:ext cx="3175" cy="7937"/>
            </a:xfrm>
            <a:custGeom>
              <a:avLst/>
              <a:gdLst>
                <a:gd name="T0" fmla="*/ 6 w 7"/>
                <a:gd name="T1" fmla="*/ 11 h 21"/>
                <a:gd name="T2" fmla="*/ 6 w 7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1">
                  <a:moveTo>
                    <a:pt x="6" y="11"/>
                  </a:moveTo>
                  <a:cubicBezTo>
                    <a:pt x="0" y="0"/>
                    <a:pt x="0" y="20"/>
                    <a:pt x="6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51" name="Freeform 1378"/>
            <p:cNvSpPr>
              <a:spLocks noChangeArrowheads="1"/>
            </p:cNvSpPr>
            <p:nvPr/>
          </p:nvSpPr>
          <p:spPr bwMode="auto">
            <a:xfrm>
              <a:off x="4467225" y="2630488"/>
              <a:ext cx="4763" cy="4762"/>
            </a:xfrm>
            <a:custGeom>
              <a:avLst/>
              <a:gdLst>
                <a:gd name="T0" fmla="*/ 11 w 12"/>
                <a:gd name="T1" fmla="*/ 3 h 13"/>
                <a:gd name="T2" fmla="*/ 11 w 12"/>
                <a:gd name="T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3">
                  <a:moveTo>
                    <a:pt x="11" y="3"/>
                  </a:moveTo>
                  <a:cubicBezTo>
                    <a:pt x="0" y="0"/>
                    <a:pt x="11" y="12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52" name="Freeform 1379"/>
            <p:cNvSpPr>
              <a:spLocks noChangeArrowheads="1"/>
            </p:cNvSpPr>
            <p:nvPr/>
          </p:nvSpPr>
          <p:spPr bwMode="auto">
            <a:xfrm>
              <a:off x="4475163" y="2625725"/>
              <a:ext cx="4762" cy="6350"/>
            </a:xfrm>
            <a:custGeom>
              <a:avLst/>
              <a:gdLst>
                <a:gd name="T0" fmla="*/ 0 w 12"/>
                <a:gd name="T1" fmla="*/ 9 h 18"/>
                <a:gd name="T2" fmla="*/ 0 w 12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0" y="9"/>
                  </a:moveTo>
                  <a:cubicBezTo>
                    <a:pt x="11" y="17"/>
                    <a:pt x="9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53" name="Freeform 1380"/>
            <p:cNvSpPr>
              <a:spLocks noChangeArrowheads="1"/>
            </p:cNvSpPr>
            <p:nvPr/>
          </p:nvSpPr>
          <p:spPr bwMode="auto">
            <a:xfrm>
              <a:off x="4433888" y="2644775"/>
              <a:ext cx="3175" cy="4763"/>
            </a:xfrm>
            <a:custGeom>
              <a:avLst/>
              <a:gdLst>
                <a:gd name="T0" fmla="*/ 9 w 10"/>
                <a:gd name="T1" fmla="*/ 11 h 12"/>
                <a:gd name="T2" fmla="*/ 9 w 10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2">
                  <a:moveTo>
                    <a:pt x="9" y="11"/>
                  </a:moveTo>
                  <a:cubicBezTo>
                    <a:pt x="9" y="0"/>
                    <a:pt x="0" y="11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54" name="Freeform 1381"/>
            <p:cNvSpPr>
              <a:spLocks noChangeArrowheads="1"/>
            </p:cNvSpPr>
            <p:nvPr/>
          </p:nvSpPr>
          <p:spPr bwMode="auto">
            <a:xfrm>
              <a:off x="4435475" y="2641600"/>
              <a:ext cx="3175" cy="4763"/>
            </a:xfrm>
            <a:custGeom>
              <a:avLst/>
              <a:gdLst>
                <a:gd name="T0" fmla="*/ 8 w 9"/>
                <a:gd name="T1" fmla="*/ 11 h 15"/>
                <a:gd name="T2" fmla="*/ 8 w 9"/>
                <a:gd name="T3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8" y="11"/>
                  </a:moveTo>
                  <a:cubicBezTo>
                    <a:pt x="8" y="0"/>
                    <a:pt x="0" y="14"/>
                    <a:pt x="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55" name="Freeform 1382"/>
            <p:cNvSpPr>
              <a:spLocks noChangeArrowheads="1"/>
            </p:cNvSpPr>
            <p:nvPr/>
          </p:nvSpPr>
          <p:spPr bwMode="auto">
            <a:xfrm>
              <a:off x="4451350" y="2646363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0 w 7"/>
                <a:gd name="T3" fmla="*/ 0 h 6"/>
                <a:gd name="T4" fmla="*/ 6 w 7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cubicBezTo>
                    <a:pt x="6" y="3"/>
                    <a:pt x="3" y="0"/>
                    <a:pt x="0" y="0"/>
                  </a:cubicBezTo>
                  <a:cubicBezTo>
                    <a:pt x="0" y="3"/>
                    <a:pt x="3" y="5"/>
                    <a:pt x="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56" name="Freeform 1383"/>
            <p:cNvSpPr>
              <a:spLocks noChangeArrowheads="1"/>
            </p:cNvSpPr>
            <p:nvPr/>
          </p:nvSpPr>
          <p:spPr bwMode="auto">
            <a:xfrm>
              <a:off x="4456113" y="2641600"/>
              <a:ext cx="3175" cy="4763"/>
            </a:xfrm>
            <a:custGeom>
              <a:avLst/>
              <a:gdLst>
                <a:gd name="T0" fmla="*/ 8 w 9"/>
                <a:gd name="T1" fmla="*/ 8 h 12"/>
                <a:gd name="T2" fmla="*/ 8 w 9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8" y="8"/>
                  </a:moveTo>
                  <a:cubicBezTo>
                    <a:pt x="8" y="0"/>
                    <a:pt x="0" y="11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57" name="Freeform 1384"/>
            <p:cNvSpPr>
              <a:spLocks noChangeArrowheads="1"/>
            </p:cNvSpPr>
            <p:nvPr/>
          </p:nvSpPr>
          <p:spPr bwMode="auto">
            <a:xfrm>
              <a:off x="4457700" y="2641600"/>
              <a:ext cx="3175" cy="4763"/>
            </a:xfrm>
            <a:custGeom>
              <a:avLst/>
              <a:gdLst>
                <a:gd name="T0" fmla="*/ 9 w 10"/>
                <a:gd name="T1" fmla="*/ 11 h 12"/>
                <a:gd name="T2" fmla="*/ 9 w 10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2">
                  <a:moveTo>
                    <a:pt x="9" y="11"/>
                  </a:moveTo>
                  <a:cubicBezTo>
                    <a:pt x="6" y="0"/>
                    <a:pt x="0" y="11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58" name="Freeform 1385"/>
            <p:cNvSpPr>
              <a:spLocks noChangeArrowheads="1"/>
            </p:cNvSpPr>
            <p:nvPr/>
          </p:nvSpPr>
          <p:spPr bwMode="auto">
            <a:xfrm>
              <a:off x="4478338" y="2641600"/>
              <a:ext cx="9525" cy="4763"/>
            </a:xfrm>
            <a:custGeom>
              <a:avLst/>
              <a:gdLst>
                <a:gd name="T0" fmla="*/ 5 w 26"/>
                <a:gd name="T1" fmla="*/ 11 h 15"/>
                <a:gd name="T2" fmla="*/ 19 w 26"/>
                <a:gd name="T3" fmla="*/ 5 h 15"/>
                <a:gd name="T4" fmla="*/ 5 w 26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15">
                  <a:moveTo>
                    <a:pt x="5" y="11"/>
                  </a:moveTo>
                  <a:cubicBezTo>
                    <a:pt x="8" y="14"/>
                    <a:pt x="25" y="14"/>
                    <a:pt x="19" y="5"/>
                  </a:cubicBezTo>
                  <a:cubicBezTo>
                    <a:pt x="17" y="0"/>
                    <a:pt x="0" y="5"/>
                    <a:pt x="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59" name="Freeform 1386"/>
            <p:cNvSpPr>
              <a:spLocks noChangeArrowheads="1"/>
            </p:cNvSpPr>
            <p:nvPr/>
          </p:nvSpPr>
          <p:spPr bwMode="auto">
            <a:xfrm>
              <a:off x="4473575" y="2630488"/>
              <a:ext cx="6350" cy="7937"/>
            </a:xfrm>
            <a:custGeom>
              <a:avLst/>
              <a:gdLst>
                <a:gd name="T0" fmla="*/ 3 w 16"/>
                <a:gd name="T1" fmla="*/ 20 h 21"/>
                <a:gd name="T2" fmla="*/ 3 w 16"/>
                <a:gd name="T3" fmla="*/ 0 h 21"/>
                <a:gd name="T4" fmla="*/ 3 w 16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21">
                  <a:moveTo>
                    <a:pt x="3" y="20"/>
                  </a:moveTo>
                  <a:cubicBezTo>
                    <a:pt x="12" y="17"/>
                    <a:pt x="15" y="6"/>
                    <a:pt x="3" y="0"/>
                  </a:cubicBezTo>
                  <a:cubicBezTo>
                    <a:pt x="0" y="6"/>
                    <a:pt x="0" y="15"/>
                    <a:pt x="3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60" name="Freeform 1387"/>
            <p:cNvSpPr>
              <a:spLocks noChangeArrowheads="1"/>
            </p:cNvSpPr>
            <p:nvPr/>
          </p:nvSpPr>
          <p:spPr bwMode="auto">
            <a:xfrm>
              <a:off x="4479925" y="2638425"/>
              <a:ext cx="4763" cy="7938"/>
            </a:xfrm>
            <a:custGeom>
              <a:avLst/>
              <a:gdLst>
                <a:gd name="T0" fmla="*/ 0 w 12"/>
                <a:gd name="T1" fmla="*/ 6 h 21"/>
                <a:gd name="T2" fmla="*/ 0 w 12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1">
                  <a:moveTo>
                    <a:pt x="0" y="6"/>
                  </a:moveTo>
                  <a:cubicBezTo>
                    <a:pt x="0" y="20"/>
                    <a:pt x="11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61" name="Freeform 1388"/>
            <p:cNvSpPr>
              <a:spLocks noChangeArrowheads="1"/>
            </p:cNvSpPr>
            <p:nvPr/>
          </p:nvSpPr>
          <p:spPr bwMode="auto">
            <a:xfrm>
              <a:off x="4465638" y="2632075"/>
              <a:ext cx="6350" cy="6350"/>
            </a:xfrm>
            <a:custGeom>
              <a:avLst/>
              <a:gdLst>
                <a:gd name="T0" fmla="*/ 5 w 18"/>
                <a:gd name="T1" fmla="*/ 0 h 18"/>
                <a:gd name="T2" fmla="*/ 0 w 18"/>
                <a:gd name="T3" fmla="*/ 9 h 18"/>
                <a:gd name="T4" fmla="*/ 5 w 18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8">
                  <a:moveTo>
                    <a:pt x="5" y="0"/>
                  </a:moveTo>
                  <a:lnTo>
                    <a:pt x="0" y="9"/>
                  </a:lnTo>
                  <a:cubicBezTo>
                    <a:pt x="5" y="17"/>
                    <a:pt x="17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62" name="Freeform 1389"/>
            <p:cNvSpPr>
              <a:spLocks noChangeArrowheads="1"/>
            </p:cNvSpPr>
            <p:nvPr/>
          </p:nvSpPr>
          <p:spPr bwMode="auto">
            <a:xfrm>
              <a:off x="4459288" y="2640013"/>
              <a:ext cx="9525" cy="6350"/>
            </a:xfrm>
            <a:custGeom>
              <a:avLst/>
              <a:gdLst>
                <a:gd name="T0" fmla="*/ 25 w 26"/>
                <a:gd name="T1" fmla="*/ 8 h 18"/>
                <a:gd name="T2" fmla="*/ 6 w 26"/>
                <a:gd name="T3" fmla="*/ 0 h 18"/>
                <a:gd name="T4" fmla="*/ 0 w 26"/>
                <a:gd name="T5" fmla="*/ 8 h 18"/>
                <a:gd name="T6" fmla="*/ 20 w 26"/>
                <a:gd name="T7" fmla="*/ 14 h 18"/>
                <a:gd name="T8" fmla="*/ 25 w 26"/>
                <a:gd name="T9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25" y="8"/>
                  </a:moveTo>
                  <a:cubicBezTo>
                    <a:pt x="20" y="3"/>
                    <a:pt x="11" y="0"/>
                    <a:pt x="6" y="0"/>
                  </a:cubicBezTo>
                  <a:lnTo>
                    <a:pt x="0" y="8"/>
                  </a:lnTo>
                  <a:cubicBezTo>
                    <a:pt x="3" y="14"/>
                    <a:pt x="11" y="17"/>
                    <a:pt x="20" y="14"/>
                  </a:cubicBezTo>
                  <a:cubicBezTo>
                    <a:pt x="22" y="14"/>
                    <a:pt x="22" y="11"/>
                    <a:pt x="2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63" name="Freeform 1390"/>
            <p:cNvSpPr>
              <a:spLocks noChangeArrowheads="1"/>
            </p:cNvSpPr>
            <p:nvPr/>
          </p:nvSpPr>
          <p:spPr bwMode="auto">
            <a:xfrm>
              <a:off x="4440238" y="2627313"/>
              <a:ext cx="3175" cy="7937"/>
            </a:xfrm>
            <a:custGeom>
              <a:avLst/>
              <a:gdLst>
                <a:gd name="T0" fmla="*/ 0 w 10"/>
                <a:gd name="T1" fmla="*/ 8 h 21"/>
                <a:gd name="T2" fmla="*/ 0 w 10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8"/>
                  </a:moveTo>
                  <a:cubicBezTo>
                    <a:pt x="9" y="20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64" name="Freeform 1391"/>
            <p:cNvSpPr>
              <a:spLocks noChangeArrowheads="1"/>
            </p:cNvSpPr>
            <p:nvPr/>
          </p:nvSpPr>
          <p:spPr bwMode="auto">
            <a:xfrm>
              <a:off x="4451350" y="2638425"/>
              <a:ext cx="3175" cy="4763"/>
            </a:xfrm>
            <a:custGeom>
              <a:avLst/>
              <a:gdLst>
                <a:gd name="T0" fmla="*/ 3 w 10"/>
                <a:gd name="T1" fmla="*/ 0 h 15"/>
                <a:gd name="T2" fmla="*/ 3 w 10"/>
                <a:gd name="T3" fmla="*/ 11 h 15"/>
                <a:gd name="T4" fmla="*/ 6 w 10"/>
                <a:gd name="T5" fmla="*/ 14 h 15"/>
                <a:gd name="T6" fmla="*/ 6 w 10"/>
                <a:gd name="T7" fmla="*/ 3 h 15"/>
                <a:gd name="T8" fmla="*/ 3 w 1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3" y="0"/>
                  </a:moveTo>
                  <a:cubicBezTo>
                    <a:pt x="0" y="3"/>
                    <a:pt x="0" y="8"/>
                    <a:pt x="3" y="11"/>
                  </a:cubicBezTo>
                  <a:lnTo>
                    <a:pt x="6" y="14"/>
                  </a:lnTo>
                  <a:cubicBezTo>
                    <a:pt x="9" y="11"/>
                    <a:pt x="9" y="6"/>
                    <a:pt x="6" y="3"/>
                  </a:cubicBezTo>
                  <a:cubicBezTo>
                    <a:pt x="6" y="0"/>
                    <a:pt x="6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65" name="Freeform 1392"/>
            <p:cNvSpPr>
              <a:spLocks noChangeArrowheads="1"/>
            </p:cNvSpPr>
            <p:nvPr/>
          </p:nvSpPr>
          <p:spPr bwMode="auto">
            <a:xfrm>
              <a:off x="4438650" y="2630488"/>
              <a:ext cx="3175" cy="6350"/>
            </a:xfrm>
            <a:custGeom>
              <a:avLst/>
              <a:gdLst>
                <a:gd name="T0" fmla="*/ 0 w 9"/>
                <a:gd name="T1" fmla="*/ 9 h 18"/>
                <a:gd name="T2" fmla="*/ 0 w 9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9"/>
                  </a:moveTo>
                  <a:cubicBezTo>
                    <a:pt x="8" y="17"/>
                    <a:pt x="5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66" name="Freeform 1393"/>
            <p:cNvSpPr>
              <a:spLocks noChangeArrowheads="1"/>
            </p:cNvSpPr>
            <p:nvPr/>
          </p:nvSpPr>
          <p:spPr bwMode="auto">
            <a:xfrm>
              <a:off x="4424363" y="2625725"/>
              <a:ext cx="3175" cy="3175"/>
            </a:xfrm>
            <a:custGeom>
              <a:avLst/>
              <a:gdLst>
                <a:gd name="T0" fmla="*/ 6 w 9"/>
                <a:gd name="T1" fmla="*/ 9 h 10"/>
                <a:gd name="T2" fmla="*/ 8 w 9"/>
                <a:gd name="T3" fmla="*/ 3 h 10"/>
                <a:gd name="T4" fmla="*/ 3 w 9"/>
                <a:gd name="T5" fmla="*/ 0 h 10"/>
                <a:gd name="T6" fmla="*/ 0 w 9"/>
                <a:gd name="T7" fmla="*/ 6 h 10"/>
                <a:gd name="T8" fmla="*/ 6 w 9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6" y="9"/>
                  </a:moveTo>
                  <a:lnTo>
                    <a:pt x="8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6" y="9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67" name="Freeform 1394"/>
            <p:cNvSpPr>
              <a:spLocks noChangeArrowheads="1"/>
            </p:cNvSpPr>
            <p:nvPr/>
          </p:nvSpPr>
          <p:spPr bwMode="auto">
            <a:xfrm>
              <a:off x="4435475" y="2636838"/>
              <a:ext cx="3175" cy="3175"/>
            </a:xfrm>
            <a:custGeom>
              <a:avLst/>
              <a:gdLst>
                <a:gd name="T0" fmla="*/ 6 w 10"/>
                <a:gd name="T1" fmla="*/ 8 h 9"/>
                <a:gd name="T2" fmla="*/ 9 w 10"/>
                <a:gd name="T3" fmla="*/ 2 h 9"/>
                <a:gd name="T4" fmla="*/ 3 w 10"/>
                <a:gd name="T5" fmla="*/ 0 h 9"/>
                <a:gd name="T6" fmla="*/ 0 w 10"/>
                <a:gd name="T7" fmla="*/ 5 h 9"/>
                <a:gd name="T8" fmla="*/ 6 w 10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6" y="8"/>
                  </a:moveTo>
                  <a:lnTo>
                    <a:pt x="9" y="2"/>
                  </a:lnTo>
                  <a:lnTo>
                    <a:pt x="3" y="0"/>
                  </a:lnTo>
                  <a:lnTo>
                    <a:pt x="0" y="5"/>
                  </a:lnTo>
                  <a:lnTo>
                    <a:pt x="6" y="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68" name="Freeform 1395"/>
            <p:cNvSpPr>
              <a:spLocks noChangeArrowheads="1"/>
            </p:cNvSpPr>
            <p:nvPr/>
          </p:nvSpPr>
          <p:spPr bwMode="auto">
            <a:xfrm>
              <a:off x="4435475" y="2638425"/>
              <a:ext cx="6350" cy="4763"/>
            </a:xfrm>
            <a:custGeom>
              <a:avLst/>
              <a:gdLst>
                <a:gd name="T0" fmla="*/ 8 w 18"/>
                <a:gd name="T1" fmla="*/ 14 h 15"/>
                <a:gd name="T2" fmla="*/ 14 w 18"/>
                <a:gd name="T3" fmla="*/ 0 h 15"/>
                <a:gd name="T4" fmla="*/ 0 w 18"/>
                <a:gd name="T5" fmla="*/ 8 h 15"/>
                <a:gd name="T6" fmla="*/ 8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8" y="14"/>
                  </a:moveTo>
                  <a:cubicBezTo>
                    <a:pt x="11" y="8"/>
                    <a:pt x="17" y="6"/>
                    <a:pt x="14" y="0"/>
                  </a:cubicBezTo>
                  <a:cubicBezTo>
                    <a:pt x="11" y="11"/>
                    <a:pt x="6" y="3"/>
                    <a:pt x="0" y="8"/>
                  </a:cubicBezTo>
                  <a:lnTo>
                    <a:pt x="8" y="14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69" name="Freeform 1396"/>
            <p:cNvSpPr>
              <a:spLocks noChangeArrowheads="1"/>
            </p:cNvSpPr>
            <p:nvPr/>
          </p:nvSpPr>
          <p:spPr bwMode="auto">
            <a:xfrm>
              <a:off x="4440238" y="2644775"/>
              <a:ext cx="4762" cy="7938"/>
            </a:xfrm>
            <a:custGeom>
              <a:avLst/>
              <a:gdLst>
                <a:gd name="T0" fmla="*/ 0 w 12"/>
                <a:gd name="T1" fmla="*/ 6 h 24"/>
                <a:gd name="T2" fmla="*/ 0 w 12"/>
                <a:gd name="T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4">
                  <a:moveTo>
                    <a:pt x="0" y="6"/>
                  </a:moveTo>
                  <a:cubicBezTo>
                    <a:pt x="0" y="23"/>
                    <a:pt x="11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70" name="Freeform 1397"/>
            <p:cNvSpPr>
              <a:spLocks noChangeArrowheads="1"/>
            </p:cNvSpPr>
            <p:nvPr/>
          </p:nvSpPr>
          <p:spPr bwMode="auto">
            <a:xfrm>
              <a:off x="4424363" y="2636838"/>
              <a:ext cx="4762" cy="4762"/>
            </a:xfrm>
            <a:custGeom>
              <a:avLst/>
              <a:gdLst>
                <a:gd name="T0" fmla="*/ 14 w 15"/>
                <a:gd name="T1" fmla="*/ 6 h 13"/>
                <a:gd name="T2" fmla="*/ 6 w 15"/>
                <a:gd name="T3" fmla="*/ 0 h 13"/>
                <a:gd name="T4" fmla="*/ 0 w 15"/>
                <a:gd name="T5" fmla="*/ 9 h 13"/>
                <a:gd name="T6" fmla="*/ 11 w 15"/>
                <a:gd name="T7" fmla="*/ 9 h 13"/>
                <a:gd name="T8" fmla="*/ 14 w 15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3">
                  <a:moveTo>
                    <a:pt x="14" y="6"/>
                  </a:moveTo>
                  <a:lnTo>
                    <a:pt x="6" y="0"/>
                  </a:lnTo>
                  <a:lnTo>
                    <a:pt x="0" y="9"/>
                  </a:lnTo>
                  <a:cubicBezTo>
                    <a:pt x="3" y="12"/>
                    <a:pt x="8" y="12"/>
                    <a:pt x="11" y="9"/>
                  </a:cubicBezTo>
                  <a:cubicBezTo>
                    <a:pt x="11" y="6"/>
                    <a:pt x="14" y="6"/>
                    <a:pt x="14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71" name="Freeform 1398"/>
            <p:cNvSpPr>
              <a:spLocks noChangeArrowheads="1"/>
            </p:cNvSpPr>
            <p:nvPr/>
          </p:nvSpPr>
          <p:spPr bwMode="auto">
            <a:xfrm>
              <a:off x="4432300" y="2644775"/>
              <a:ext cx="4763" cy="6350"/>
            </a:xfrm>
            <a:custGeom>
              <a:avLst/>
              <a:gdLst>
                <a:gd name="T0" fmla="*/ 0 w 12"/>
                <a:gd name="T1" fmla="*/ 8 h 18"/>
                <a:gd name="T2" fmla="*/ 0 w 12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0" y="8"/>
                  </a:moveTo>
                  <a:cubicBezTo>
                    <a:pt x="11" y="17"/>
                    <a:pt x="5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72" name="Freeform 1399"/>
            <p:cNvSpPr>
              <a:spLocks noChangeArrowheads="1"/>
            </p:cNvSpPr>
            <p:nvPr/>
          </p:nvSpPr>
          <p:spPr bwMode="auto">
            <a:xfrm>
              <a:off x="4424363" y="2647950"/>
              <a:ext cx="6350" cy="4763"/>
            </a:xfrm>
            <a:custGeom>
              <a:avLst/>
              <a:gdLst>
                <a:gd name="T0" fmla="*/ 0 w 18"/>
                <a:gd name="T1" fmla="*/ 8 h 15"/>
                <a:gd name="T2" fmla="*/ 17 w 18"/>
                <a:gd name="T3" fmla="*/ 8 h 15"/>
                <a:gd name="T4" fmla="*/ 0 w 18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0" y="8"/>
                  </a:moveTo>
                  <a:cubicBezTo>
                    <a:pt x="6" y="14"/>
                    <a:pt x="11" y="11"/>
                    <a:pt x="17" y="8"/>
                  </a:cubicBezTo>
                  <a:cubicBezTo>
                    <a:pt x="11" y="5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73" name="Freeform 1400"/>
            <p:cNvSpPr>
              <a:spLocks noChangeArrowheads="1"/>
            </p:cNvSpPr>
            <p:nvPr/>
          </p:nvSpPr>
          <p:spPr bwMode="auto">
            <a:xfrm>
              <a:off x="4462463" y="2633663"/>
              <a:ext cx="1587" cy="3175"/>
            </a:xfrm>
            <a:custGeom>
              <a:avLst/>
              <a:gdLst>
                <a:gd name="T0" fmla="*/ 3 w 4"/>
                <a:gd name="T1" fmla="*/ 0 h 9"/>
                <a:gd name="T2" fmla="*/ 0 w 4"/>
                <a:gd name="T3" fmla="*/ 8 h 9"/>
                <a:gd name="T4" fmla="*/ 0 w 4"/>
                <a:gd name="T5" fmla="*/ 3 h 9"/>
                <a:gd name="T6" fmla="*/ 3 w 4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3" y="0"/>
                  </a:moveTo>
                  <a:cubicBezTo>
                    <a:pt x="3" y="0"/>
                    <a:pt x="3" y="8"/>
                    <a:pt x="0" y="8"/>
                  </a:cubicBezTo>
                  <a:cubicBezTo>
                    <a:pt x="0" y="8"/>
                    <a:pt x="0" y="6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74" name="Freeform 1401"/>
            <p:cNvSpPr>
              <a:spLocks noChangeArrowheads="1"/>
            </p:cNvSpPr>
            <p:nvPr/>
          </p:nvSpPr>
          <p:spPr bwMode="auto">
            <a:xfrm>
              <a:off x="4483100" y="2638425"/>
              <a:ext cx="4763" cy="7938"/>
            </a:xfrm>
            <a:custGeom>
              <a:avLst/>
              <a:gdLst>
                <a:gd name="T0" fmla="*/ 5 w 12"/>
                <a:gd name="T1" fmla="*/ 20 h 21"/>
                <a:gd name="T2" fmla="*/ 11 w 12"/>
                <a:gd name="T3" fmla="*/ 8 h 21"/>
                <a:gd name="T4" fmla="*/ 5 w 12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1">
                  <a:moveTo>
                    <a:pt x="5" y="20"/>
                  </a:moveTo>
                  <a:cubicBezTo>
                    <a:pt x="5" y="14"/>
                    <a:pt x="11" y="14"/>
                    <a:pt x="11" y="8"/>
                  </a:cubicBezTo>
                  <a:cubicBezTo>
                    <a:pt x="5" y="0"/>
                    <a:pt x="0" y="20"/>
                    <a:pt x="5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75" name="Freeform 1402"/>
            <p:cNvSpPr>
              <a:spLocks noChangeArrowheads="1"/>
            </p:cNvSpPr>
            <p:nvPr/>
          </p:nvSpPr>
          <p:spPr bwMode="auto">
            <a:xfrm>
              <a:off x="4464050" y="2644775"/>
              <a:ext cx="6350" cy="4763"/>
            </a:xfrm>
            <a:custGeom>
              <a:avLst/>
              <a:gdLst>
                <a:gd name="T0" fmla="*/ 9 w 18"/>
                <a:gd name="T1" fmla="*/ 0 h 15"/>
                <a:gd name="T2" fmla="*/ 9 w 18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5">
                  <a:moveTo>
                    <a:pt x="9" y="0"/>
                  </a:moveTo>
                  <a:cubicBezTo>
                    <a:pt x="0" y="14"/>
                    <a:pt x="17" y="6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76" name="Freeform 1403"/>
            <p:cNvSpPr>
              <a:spLocks noChangeArrowheads="1"/>
            </p:cNvSpPr>
            <p:nvPr/>
          </p:nvSpPr>
          <p:spPr bwMode="auto">
            <a:xfrm>
              <a:off x="4459288" y="2644775"/>
              <a:ext cx="6350" cy="4763"/>
            </a:xfrm>
            <a:custGeom>
              <a:avLst/>
              <a:gdLst>
                <a:gd name="T0" fmla="*/ 8 w 18"/>
                <a:gd name="T1" fmla="*/ 0 h 12"/>
                <a:gd name="T2" fmla="*/ 8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cubicBezTo>
                    <a:pt x="0" y="11"/>
                    <a:pt x="17" y="3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77" name="Freeform 1404"/>
            <p:cNvSpPr>
              <a:spLocks noChangeArrowheads="1"/>
            </p:cNvSpPr>
            <p:nvPr/>
          </p:nvSpPr>
          <p:spPr bwMode="auto">
            <a:xfrm>
              <a:off x="4443413" y="2633663"/>
              <a:ext cx="4762" cy="4762"/>
            </a:xfrm>
            <a:custGeom>
              <a:avLst/>
              <a:gdLst>
                <a:gd name="T0" fmla="*/ 5 w 15"/>
                <a:gd name="T1" fmla="*/ 0 h 12"/>
                <a:gd name="T2" fmla="*/ 5 w 15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2">
                  <a:moveTo>
                    <a:pt x="5" y="0"/>
                  </a:moveTo>
                  <a:cubicBezTo>
                    <a:pt x="0" y="11"/>
                    <a:pt x="14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78" name="Freeform 1405"/>
            <p:cNvSpPr>
              <a:spLocks noChangeArrowheads="1"/>
            </p:cNvSpPr>
            <p:nvPr/>
          </p:nvSpPr>
          <p:spPr bwMode="auto">
            <a:xfrm>
              <a:off x="4437063" y="2640013"/>
              <a:ext cx="6350" cy="4762"/>
            </a:xfrm>
            <a:custGeom>
              <a:avLst/>
              <a:gdLst>
                <a:gd name="T0" fmla="*/ 5 w 18"/>
                <a:gd name="T1" fmla="*/ 0 h 12"/>
                <a:gd name="T2" fmla="*/ 5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5" y="0"/>
                  </a:moveTo>
                  <a:cubicBezTo>
                    <a:pt x="0" y="11"/>
                    <a:pt x="17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79" name="Freeform 1406"/>
            <p:cNvSpPr>
              <a:spLocks noChangeArrowheads="1"/>
            </p:cNvSpPr>
            <p:nvPr/>
          </p:nvSpPr>
          <p:spPr bwMode="auto">
            <a:xfrm>
              <a:off x="4422775" y="2644775"/>
              <a:ext cx="4763" cy="4763"/>
            </a:xfrm>
            <a:custGeom>
              <a:avLst/>
              <a:gdLst>
                <a:gd name="T0" fmla="*/ 12 w 15"/>
                <a:gd name="T1" fmla="*/ 11 h 12"/>
                <a:gd name="T2" fmla="*/ 3 w 15"/>
                <a:gd name="T3" fmla="*/ 0 h 12"/>
                <a:gd name="T4" fmla="*/ 12 w 15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12" y="11"/>
                  </a:moveTo>
                  <a:cubicBezTo>
                    <a:pt x="14" y="6"/>
                    <a:pt x="12" y="0"/>
                    <a:pt x="3" y="0"/>
                  </a:cubicBezTo>
                  <a:cubicBezTo>
                    <a:pt x="0" y="6"/>
                    <a:pt x="3" y="8"/>
                    <a:pt x="12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80" name="Freeform 1407"/>
            <p:cNvSpPr>
              <a:spLocks noChangeArrowheads="1"/>
            </p:cNvSpPr>
            <p:nvPr/>
          </p:nvSpPr>
          <p:spPr bwMode="auto">
            <a:xfrm>
              <a:off x="4273550" y="2689225"/>
              <a:ext cx="7938" cy="6350"/>
            </a:xfrm>
            <a:custGeom>
              <a:avLst/>
              <a:gdLst>
                <a:gd name="T0" fmla="*/ 20 w 21"/>
                <a:gd name="T1" fmla="*/ 9 h 18"/>
                <a:gd name="T2" fmla="*/ 0 w 21"/>
                <a:gd name="T3" fmla="*/ 12 h 18"/>
                <a:gd name="T4" fmla="*/ 20 w 21"/>
                <a:gd name="T5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20" y="9"/>
                  </a:moveTo>
                  <a:cubicBezTo>
                    <a:pt x="14" y="9"/>
                    <a:pt x="3" y="0"/>
                    <a:pt x="0" y="12"/>
                  </a:cubicBezTo>
                  <a:cubicBezTo>
                    <a:pt x="9" y="14"/>
                    <a:pt x="17" y="17"/>
                    <a:pt x="2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81" name="Freeform 1408"/>
            <p:cNvSpPr>
              <a:spLocks noChangeArrowheads="1"/>
            </p:cNvSpPr>
            <p:nvPr/>
          </p:nvSpPr>
          <p:spPr bwMode="auto">
            <a:xfrm>
              <a:off x="4284663" y="2676525"/>
              <a:ext cx="3175" cy="3175"/>
            </a:xfrm>
            <a:custGeom>
              <a:avLst/>
              <a:gdLst>
                <a:gd name="T0" fmla="*/ 0 w 9"/>
                <a:gd name="T1" fmla="*/ 5 h 9"/>
                <a:gd name="T2" fmla="*/ 5 w 9"/>
                <a:gd name="T3" fmla="*/ 8 h 9"/>
                <a:gd name="T4" fmla="*/ 8 w 9"/>
                <a:gd name="T5" fmla="*/ 2 h 9"/>
                <a:gd name="T6" fmla="*/ 2 w 9"/>
                <a:gd name="T7" fmla="*/ 0 h 9"/>
                <a:gd name="T8" fmla="*/ 0 w 9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0" y="5"/>
                  </a:moveTo>
                  <a:lnTo>
                    <a:pt x="5" y="8"/>
                  </a:lnTo>
                  <a:lnTo>
                    <a:pt x="8" y="2"/>
                  </a:lnTo>
                  <a:lnTo>
                    <a:pt x="2" y="0"/>
                  </a:lnTo>
                  <a:lnTo>
                    <a:pt x="0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82" name="Freeform 1409"/>
            <p:cNvSpPr>
              <a:spLocks noChangeArrowheads="1"/>
            </p:cNvSpPr>
            <p:nvPr/>
          </p:nvSpPr>
          <p:spPr bwMode="auto">
            <a:xfrm>
              <a:off x="4284663" y="2686050"/>
              <a:ext cx="7937" cy="9525"/>
            </a:xfrm>
            <a:custGeom>
              <a:avLst/>
              <a:gdLst>
                <a:gd name="T0" fmla="*/ 3 w 24"/>
                <a:gd name="T1" fmla="*/ 25 h 26"/>
                <a:gd name="T2" fmla="*/ 23 w 24"/>
                <a:gd name="T3" fmla="*/ 8 h 26"/>
                <a:gd name="T4" fmla="*/ 3 w 24"/>
                <a:gd name="T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26">
                  <a:moveTo>
                    <a:pt x="3" y="25"/>
                  </a:moveTo>
                  <a:cubicBezTo>
                    <a:pt x="9" y="20"/>
                    <a:pt x="17" y="17"/>
                    <a:pt x="23" y="8"/>
                  </a:cubicBezTo>
                  <a:cubicBezTo>
                    <a:pt x="12" y="0"/>
                    <a:pt x="0" y="20"/>
                    <a:pt x="3" y="2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83" name="Freeform 1410"/>
            <p:cNvSpPr>
              <a:spLocks noChangeArrowheads="1"/>
            </p:cNvSpPr>
            <p:nvPr/>
          </p:nvSpPr>
          <p:spPr bwMode="auto">
            <a:xfrm>
              <a:off x="4297363" y="2673350"/>
              <a:ext cx="7937" cy="4763"/>
            </a:xfrm>
            <a:custGeom>
              <a:avLst/>
              <a:gdLst>
                <a:gd name="T0" fmla="*/ 12 w 21"/>
                <a:gd name="T1" fmla="*/ 14 h 15"/>
                <a:gd name="T2" fmla="*/ 12 w 21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5">
                  <a:moveTo>
                    <a:pt x="12" y="14"/>
                  </a:moveTo>
                  <a:cubicBezTo>
                    <a:pt x="20" y="0"/>
                    <a:pt x="0" y="8"/>
                    <a:pt x="1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84" name="Freeform 1411"/>
            <p:cNvSpPr>
              <a:spLocks noChangeArrowheads="1"/>
            </p:cNvSpPr>
            <p:nvPr/>
          </p:nvSpPr>
          <p:spPr bwMode="auto">
            <a:xfrm>
              <a:off x="4297363" y="2687638"/>
              <a:ext cx="6350" cy="9525"/>
            </a:xfrm>
            <a:custGeom>
              <a:avLst/>
              <a:gdLst>
                <a:gd name="T0" fmla="*/ 6 w 18"/>
                <a:gd name="T1" fmla="*/ 25 h 26"/>
                <a:gd name="T2" fmla="*/ 9 w 18"/>
                <a:gd name="T3" fmla="*/ 0 h 26"/>
                <a:gd name="T4" fmla="*/ 6 w 18"/>
                <a:gd name="T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6">
                  <a:moveTo>
                    <a:pt x="6" y="25"/>
                  </a:moveTo>
                  <a:cubicBezTo>
                    <a:pt x="12" y="22"/>
                    <a:pt x="17" y="5"/>
                    <a:pt x="9" y="0"/>
                  </a:cubicBezTo>
                  <a:cubicBezTo>
                    <a:pt x="3" y="8"/>
                    <a:pt x="0" y="19"/>
                    <a:pt x="6" y="2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85" name="Freeform 1412"/>
            <p:cNvSpPr>
              <a:spLocks noChangeArrowheads="1"/>
            </p:cNvSpPr>
            <p:nvPr/>
          </p:nvSpPr>
          <p:spPr bwMode="auto">
            <a:xfrm>
              <a:off x="4306888" y="2665413"/>
              <a:ext cx="7937" cy="3175"/>
            </a:xfrm>
            <a:custGeom>
              <a:avLst/>
              <a:gdLst>
                <a:gd name="T0" fmla="*/ 8 w 23"/>
                <a:gd name="T1" fmla="*/ 9 h 10"/>
                <a:gd name="T2" fmla="*/ 8 w 23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0">
                  <a:moveTo>
                    <a:pt x="8" y="9"/>
                  </a:moveTo>
                  <a:cubicBezTo>
                    <a:pt x="22" y="6"/>
                    <a:pt x="0" y="0"/>
                    <a:pt x="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86" name="Freeform 1413"/>
            <p:cNvSpPr>
              <a:spLocks noChangeArrowheads="1"/>
            </p:cNvSpPr>
            <p:nvPr/>
          </p:nvSpPr>
          <p:spPr bwMode="auto">
            <a:xfrm>
              <a:off x="4300538" y="2697163"/>
              <a:ext cx="3175" cy="3175"/>
            </a:xfrm>
            <a:custGeom>
              <a:avLst/>
              <a:gdLst>
                <a:gd name="T0" fmla="*/ 0 w 9"/>
                <a:gd name="T1" fmla="*/ 5 h 9"/>
                <a:gd name="T2" fmla="*/ 5 w 9"/>
                <a:gd name="T3" fmla="*/ 8 h 9"/>
                <a:gd name="T4" fmla="*/ 8 w 9"/>
                <a:gd name="T5" fmla="*/ 3 h 9"/>
                <a:gd name="T6" fmla="*/ 3 w 9"/>
                <a:gd name="T7" fmla="*/ 0 h 9"/>
                <a:gd name="T8" fmla="*/ 0 w 9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0" y="5"/>
                  </a:moveTo>
                  <a:lnTo>
                    <a:pt x="5" y="8"/>
                  </a:lnTo>
                  <a:lnTo>
                    <a:pt x="8" y="3"/>
                  </a:lnTo>
                  <a:lnTo>
                    <a:pt x="3" y="0"/>
                  </a:lnTo>
                  <a:lnTo>
                    <a:pt x="0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87" name="Freeform 1414"/>
            <p:cNvSpPr>
              <a:spLocks noChangeArrowheads="1"/>
            </p:cNvSpPr>
            <p:nvPr/>
          </p:nvSpPr>
          <p:spPr bwMode="auto">
            <a:xfrm>
              <a:off x="4329113" y="2649538"/>
              <a:ext cx="6350" cy="4762"/>
            </a:xfrm>
            <a:custGeom>
              <a:avLst/>
              <a:gdLst>
                <a:gd name="T0" fmla="*/ 5 w 18"/>
                <a:gd name="T1" fmla="*/ 12 h 13"/>
                <a:gd name="T2" fmla="*/ 17 w 18"/>
                <a:gd name="T3" fmla="*/ 6 h 13"/>
                <a:gd name="T4" fmla="*/ 5 w 18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5" y="12"/>
                  </a:moveTo>
                  <a:cubicBezTo>
                    <a:pt x="8" y="9"/>
                    <a:pt x="14" y="9"/>
                    <a:pt x="17" y="6"/>
                  </a:cubicBezTo>
                  <a:cubicBezTo>
                    <a:pt x="11" y="0"/>
                    <a:pt x="0" y="9"/>
                    <a:pt x="5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88" name="Freeform 1415"/>
            <p:cNvSpPr>
              <a:spLocks noChangeArrowheads="1"/>
            </p:cNvSpPr>
            <p:nvPr/>
          </p:nvSpPr>
          <p:spPr bwMode="auto">
            <a:xfrm>
              <a:off x="4311650" y="2693988"/>
              <a:ext cx="7938" cy="4762"/>
            </a:xfrm>
            <a:custGeom>
              <a:avLst/>
              <a:gdLst>
                <a:gd name="T0" fmla="*/ 11 w 21"/>
                <a:gd name="T1" fmla="*/ 12 h 13"/>
                <a:gd name="T2" fmla="*/ 11 w 21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3">
                  <a:moveTo>
                    <a:pt x="11" y="12"/>
                  </a:moveTo>
                  <a:cubicBezTo>
                    <a:pt x="20" y="0"/>
                    <a:pt x="0" y="9"/>
                    <a:pt x="11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89" name="Freeform 1416"/>
            <p:cNvSpPr>
              <a:spLocks noChangeArrowheads="1"/>
            </p:cNvSpPr>
            <p:nvPr/>
          </p:nvSpPr>
          <p:spPr bwMode="auto">
            <a:xfrm>
              <a:off x="4324350" y="2665413"/>
              <a:ext cx="9525" cy="3175"/>
            </a:xfrm>
            <a:custGeom>
              <a:avLst/>
              <a:gdLst>
                <a:gd name="T0" fmla="*/ 8 w 26"/>
                <a:gd name="T1" fmla="*/ 8 h 9"/>
                <a:gd name="T2" fmla="*/ 8 w 26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9">
                  <a:moveTo>
                    <a:pt x="8" y="8"/>
                  </a:moveTo>
                  <a:cubicBezTo>
                    <a:pt x="25" y="5"/>
                    <a:pt x="0" y="0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90" name="Freeform 1417"/>
            <p:cNvSpPr>
              <a:spLocks noChangeArrowheads="1"/>
            </p:cNvSpPr>
            <p:nvPr/>
          </p:nvSpPr>
          <p:spPr bwMode="auto">
            <a:xfrm>
              <a:off x="4319588" y="2679700"/>
              <a:ext cx="4762" cy="4763"/>
            </a:xfrm>
            <a:custGeom>
              <a:avLst/>
              <a:gdLst>
                <a:gd name="T0" fmla="*/ 5 w 15"/>
                <a:gd name="T1" fmla="*/ 14 h 15"/>
                <a:gd name="T2" fmla="*/ 11 w 15"/>
                <a:gd name="T3" fmla="*/ 11 h 15"/>
                <a:gd name="T4" fmla="*/ 14 w 15"/>
                <a:gd name="T5" fmla="*/ 6 h 15"/>
                <a:gd name="T6" fmla="*/ 5 w 15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5" y="14"/>
                  </a:moveTo>
                  <a:cubicBezTo>
                    <a:pt x="5" y="11"/>
                    <a:pt x="8" y="11"/>
                    <a:pt x="11" y="11"/>
                  </a:cubicBezTo>
                  <a:lnTo>
                    <a:pt x="14" y="6"/>
                  </a:lnTo>
                  <a:cubicBezTo>
                    <a:pt x="8" y="0"/>
                    <a:pt x="0" y="14"/>
                    <a:pt x="5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91" name="Freeform 1418"/>
            <p:cNvSpPr>
              <a:spLocks noChangeArrowheads="1"/>
            </p:cNvSpPr>
            <p:nvPr/>
          </p:nvSpPr>
          <p:spPr bwMode="auto">
            <a:xfrm>
              <a:off x="4341813" y="2636838"/>
              <a:ext cx="7937" cy="6350"/>
            </a:xfrm>
            <a:custGeom>
              <a:avLst/>
              <a:gdLst>
                <a:gd name="T0" fmla="*/ 9 w 21"/>
                <a:gd name="T1" fmla="*/ 16 h 17"/>
                <a:gd name="T2" fmla="*/ 9 w 21"/>
                <a:gd name="T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7">
                  <a:moveTo>
                    <a:pt x="9" y="16"/>
                  </a:moveTo>
                  <a:cubicBezTo>
                    <a:pt x="20" y="0"/>
                    <a:pt x="0" y="8"/>
                    <a:pt x="9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92" name="Freeform 1419"/>
            <p:cNvSpPr>
              <a:spLocks noChangeArrowheads="1"/>
            </p:cNvSpPr>
            <p:nvPr/>
          </p:nvSpPr>
          <p:spPr bwMode="auto">
            <a:xfrm>
              <a:off x="4340225" y="2660650"/>
              <a:ext cx="4763" cy="6350"/>
            </a:xfrm>
            <a:custGeom>
              <a:avLst/>
              <a:gdLst>
                <a:gd name="T0" fmla="*/ 6 w 12"/>
                <a:gd name="T1" fmla="*/ 0 h 18"/>
                <a:gd name="T2" fmla="*/ 11 w 12"/>
                <a:gd name="T3" fmla="*/ 12 h 18"/>
                <a:gd name="T4" fmla="*/ 6 w 12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cubicBezTo>
                    <a:pt x="0" y="6"/>
                    <a:pt x="8" y="17"/>
                    <a:pt x="11" y="12"/>
                  </a:cubicBezTo>
                  <a:cubicBezTo>
                    <a:pt x="6" y="6"/>
                    <a:pt x="11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93" name="Freeform 1420"/>
            <p:cNvSpPr>
              <a:spLocks noChangeArrowheads="1"/>
            </p:cNvSpPr>
            <p:nvPr/>
          </p:nvSpPr>
          <p:spPr bwMode="auto">
            <a:xfrm>
              <a:off x="4348163" y="2670175"/>
              <a:ext cx="4762" cy="9525"/>
            </a:xfrm>
            <a:custGeom>
              <a:avLst/>
              <a:gdLst>
                <a:gd name="T0" fmla="*/ 3 w 13"/>
                <a:gd name="T1" fmla="*/ 14 h 26"/>
                <a:gd name="T2" fmla="*/ 3 w 13"/>
                <a:gd name="T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6">
                  <a:moveTo>
                    <a:pt x="3" y="14"/>
                  </a:moveTo>
                  <a:cubicBezTo>
                    <a:pt x="12" y="25"/>
                    <a:pt x="0" y="0"/>
                    <a:pt x="3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94" name="Freeform 1421"/>
            <p:cNvSpPr>
              <a:spLocks noChangeArrowheads="1"/>
            </p:cNvSpPr>
            <p:nvPr/>
          </p:nvSpPr>
          <p:spPr bwMode="auto">
            <a:xfrm>
              <a:off x="4351338" y="2659063"/>
              <a:ext cx="6350" cy="6350"/>
            </a:xfrm>
            <a:custGeom>
              <a:avLst/>
              <a:gdLst>
                <a:gd name="T0" fmla="*/ 8 w 18"/>
                <a:gd name="T1" fmla="*/ 15 h 16"/>
                <a:gd name="T2" fmla="*/ 8 w 18"/>
                <a:gd name="T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6">
                  <a:moveTo>
                    <a:pt x="8" y="15"/>
                  </a:moveTo>
                  <a:cubicBezTo>
                    <a:pt x="17" y="0"/>
                    <a:pt x="0" y="9"/>
                    <a:pt x="8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95" name="Freeform 1422"/>
            <p:cNvSpPr>
              <a:spLocks noChangeArrowheads="1"/>
            </p:cNvSpPr>
            <p:nvPr/>
          </p:nvSpPr>
          <p:spPr bwMode="auto">
            <a:xfrm>
              <a:off x="4365625" y="2630488"/>
              <a:ext cx="7938" cy="4762"/>
            </a:xfrm>
            <a:custGeom>
              <a:avLst/>
              <a:gdLst>
                <a:gd name="T0" fmla="*/ 11 w 23"/>
                <a:gd name="T1" fmla="*/ 12 h 13"/>
                <a:gd name="T2" fmla="*/ 11 w 23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3">
                  <a:moveTo>
                    <a:pt x="11" y="12"/>
                  </a:moveTo>
                  <a:cubicBezTo>
                    <a:pt x="22" y="12"/>
                    <a:pt x="0" y="0"/>
                    <a:pt x="11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96" name="Freeform 1423"/>
            <p:cNvSpPr>
              <a:spLocks noChangeArrowheads="1"/>
            </p:cNvSpPr>
            <p:nvPr/>
          </p:nvSpPr>
          <p:spPr bwMode="auto">
            <a:xfrm>
              <a:off x="4359275" y="2665413"/>
              <a:ext cx="3175" cy="9525"/>
            </a:xfrm>
            <a:custGeom>
              <a:avLst/>
              <a:gdLst>
                <a:gd name="T0" fmla="*/ 2 w 9"/>
                <a:gd name="T1" fmla="*/ 14 h 27"/>
                <a:gd name="T2" fmla="*/ 2 w 9"/>
                <a:gd name="T3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7">
                  <a:moveTo>
                    <a:pt x="2" y="14"/>
                  </a:moveTo>
                  <a:cubicBezTo>
                    <a:pt x="8" y="26"/>
                    <a:pt x="0" y="0"/>
                    <a:pt x="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97" name="Freeform 1424"/>
            <p:cNvSpPr>
              <a:spLocks noChangeArrowheads="1"/>
            </p:cNvSpPr>
            <p:nvPr/>
          </p:nvSpPr>
          <p:spPr bwMode="auto">
            <a:xfrm>
              <a:off x="4359275" y="2670175"/>
              <a:ext cx="7938" cy="4763"/>
            </a:xfrm>
            <a:custGeom>
              <a:avLst/>
              <a:gdLst>
                <a:gd name="T0" fmla="*/ 17 w 23"/>
                <a:gd name="T1" fmla="*/ 0 h 13"/>
                <a:gd name="T2" fmla="*/ 17 w 23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3">
                  <a:moveTo>
                    <a:pt x="17" y="0"/>
                  </a:moveTo>
                  <a:cubicBezTo>
                    <a:pt x="0" y="9"/>
                    <a:pt x="22" y="12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98" name="Freeform 1425"/>
            <p:cNvSpPr>
              <a:spLocks noChangeArrowheads="1"/>
            </p:cNvSpPr>
            <p:nvPr/>
          </p:nvSpPr>
          <p:spPr bwMode="auto">
            <a:xfrm>
              <a:off x="4373563" y="2667000"/>
              <a:ext cx="7937" cy="4763"/>
            </a:xfrm>
            <a:custGeom>
              <a:avLst/>
              <a:gdLst>
                <a:gd name="T0" fmla="*/ 11 w 21"/>
                <a:gd name="T1" fmla="*/ 11 h 12"/>
                <a:gd name="T2" fmla="*/ 11 w 21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2">
                  <a:moveTo>
                    <a:pt x="11" y="11"/>
                  </a:moveTo>
                  <a:cubicBezTo>
                    <a:pt x="20" y="0"/>
                    <a:pt x="0" y="6"/>
                    <a:pt x="1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99" name="Freeform 1426"/>
            <p:cNvSpPr>
              <a:spLocks noChangeArrowheads="1"/>
            </p:cNvSpPr>
            <p:nvPr/>
          </p:nvSpPr>
          <p:spPr bwMode="auto">
            <a:xfrm>
              <a:off x="4192588" y="2662238"/>
              <a:ext cx="6350" cy="7937"/>
            </a:xfrm>
            <a:custGeom>
              <a:avLst/>
              <a:gdLst>
                <a:gd name="T0" fmla="*/ 8 w 18"/>
                <a:gd name="T1" fmla="*/ 8 h 21"/>
                <a:gd name="T2" fmla="*/ 8 w 18"/>
                <a:gd name="T3" fmla="*/ 17 h 21"/>
                <a:gd name="T4" fmla="*/ 8 w 18"/>
                <a:gd name="T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8" y="8"/>
                  </a:moveTo>
                  <a:cubicBezTo>
                    <a:pt x="5" y="14"/>
                    <a:pt x="3" y="20"/>
                    <a:pt x="8" y="17"/>
                  </a:cubicBezTo>
                  <a:cubicBezTo>
                    <a:pt x="17" y="8"/>
                    <a:pt x="0" y="0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00" name="Freeform 1427"/>
            <p:cNvSpPr>
              <a:spLocks noChangeArrowheads="1"/>
            </p:cNvSpPr>
            <p:nvPr/>
          </p:nvSpPr>
          <p:spPr bwMode="auto">
            <a:xfrm>
              <a:off x="4284663" y="2682875"/>
              <a:ext cx="6350" cy="4763"/>
            </a:xfrm>
            <a:custGeom>
              <a:avLst/>
              <a:gdLst>
                <a:gd name="T0" fmla="*/ 0 w 18"/>
                <a:gd name="T1" fmla="*/ 6 h 13"/>
                <a:gd name="T2" fmla="*/ 12 w 18"/>
                <a:gd name="T3" fmla="*/ 0 h 13"/>
                <a:gd name="T4" fmla="*/ 0 w 18"/>
                <a:gd name="T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0" y="6"/>
                  </a:moveTo>
                  <a:cubicBezTo>
                    <a:pt x="6" y="12"/>
                    <a:pt x="17" y="3"/>
                    <a:pt x="12" y="0"/>
                  </a:cubicBezTo>
                  <a:cubicBezTo>
                    <a:pt x="9" y="6"/>
                    <a:pt x="3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01" name="Freeform 1428"/>
            <p:cNvSpPr>
              <a:spLocks noChangeArrowheads="1"/>
            </p:cNvSpPr>
            <p:nvPr/>
          </p:nvSpPr>
          <p:spPr bwMode="auto">
            <a:xfrm>
              <a:off x="4297363" y="2655888"/>
              <a:ext cx="3175" cy="9525"/>
            </a:xfrm>
            <a:custGeom>
              <a:avLst/>
              <a:gdLst>
                <a:gd name="T0" fmla="*/ 3 w 10"/>
                <a:gd name="T1" fmla="*/ 14 h 26"/>
                <a:gd name="T2" fmla="*/ 3 w 10"/>
                <a:gd name="T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6">
                  <a:moveTo>
                    <a:pt x="3" y="14"/>
                  </a:moveTo>
                  <a:cubicBezTo>
                    <a:pt x="9" y="25"/>
                    <a:pt x="0" y="0"/>
                    <a:pt x="3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02" name="Freeform 1429"/>
            <p:cNvSpPr>
              <a:spLocks noChangeArrowheads="1"/>
            </p:cNvSpPr>
            <p:nvPr/>
          </p:nvSpPr>
          <p:spPr bwMode="auto">
            <a:xfrm>
              <a:off x="4297363" y="2670175"/>
              <a:ext cx="6350" cy="4763"/>
            </a:xfrm>
            <a:custGeom>
              <a:avLst/>
              <a:gdLst>
                <a:gd name="T0" fmla="*/ 0 w 18"/>
                <a:gd name="T1" fmla="*/ 6 h 13"/>
                <a:gd name="T2" fmla="*/ 12 w 18"/>
                <a:gd name="T3" fmla="*/ 0 h 13"/>
                <a:gd name="T4" fmla="*/ 0 w 18"/>
                <a:gd name="T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0" y="6"/>
                  </a:moveTo>
                  <a:cubicBezTo>
                    <a:pt x="6" y="12"/>
                    <a:pt x="17" y="3"/>
                    <a:pt x="12" y="0"/>
                  </a:cubicBezTo>
                  <a:cubicBezTo>
                    <a:pt x="9" y="6"/>
                    <a:pt x="3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03" name="Freeform 1430"/>
            <p:cNvSpPr>
              <a:spLocks noChangeArrowheads="1"/>
            </p:cNvSpPr>
            <p:nvPr/>
          </p:nvSpPr>
          <p:spPr bwMode="auto">
            <a:xfrm>
              <a:off x="4302125" y="2681288"/>
              <a:ext cx="7938" cy="9525"/>
            </a:xfrm>
            <a:custGeom>
              <a:avLst/>
              <a:gdLst>
                <a:gd name="T0" fmla="*/ 20 w 21"/>
                <a:gd name="T1" fmla="*/ 8 h 26"/>
                <a:gd name="T2" fmla="*/ 9 w 21"/>
                <a:gd name="T3" fmla="*/ 19 h 26"/>
                <a:gd name="T4" fmla="*/ 17 w 21"/>
                <a:gd name="T5" fmla="*/ 19 h 26"/>
                <a:gd name="T6" fmla="*/ 20 w 21"/>
                <a:gd name="T7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6">
                  <a:moveTo>
                    <a:pt x="20" y="8"/>
                  </a:moveTo>
                  <a:cubicBezTo>
                    <a:pt x="12" y="0"/>
                    <a:pt x="0" y="25"/>
                    <a:pt x="9" y="19"/>
                  </a:cubicBezTo>
                  <a:cubicBezTo>
                    <a:pt x="12" y="16"/>
                    <a:pt x="12" y="16"/>
                    <a:pt x="17" y="19"/>
                  </a:cubicBezTo>
                  <a:lnTo>
                    <a:pt x="20" y="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04" name="Freeform 1431"/>
            <p:cNvSpPr>
              <a:spLocks noChangeArrowheads="1"/>
            </p:cNvSpPr>
            <p:nvPr/>
          </p:nvSpPr>
          <p:spPr bwMode="auto">
            <a:xfrm>
              <a:off x="4356100" y="2684463"/>
              <a:ext cx="7938" cy="6350"/>
            </a:xfrm>
            <a:custGeom>
              <a:avLst/>
              <a:gdLst>
                <a:gd name="T0" fmla="*/ 20 w 21"/>
                <a:gd name="T1" fmla="*/ 6 h 18"/>
                <a:gd name="T2" fmla="*/ 6 w 21"/>
                <a:gd name="T3" fmla="*/ 14 h 18"/>
                <a:gd name="T4" fmla="*/ 20 w 21"/>
                <a:gd name="T5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20" y="6"/>
                  </a:moveTo>
                  <a:cubicBezTo>
                    <a:pt x="14" y="0"/>
                    <a:pt x="0" y="11"/>
                    <a:pt x="6" y="14"/>
                  </a:cubicBezTo>
                  <a:cubicBezTo>
                    <a:pt x="9" y="9"/>
                    <a:pt x="17" y="17"/>
                    <a:pt x="2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05" name="Freeform 1432"/>
            <p:cNvSpPr>
              <a:spLocks noChangeArrowheads="1"/>
            </p:cNvSpPr>
            <p:nvPr/>
          </p:nvSpPr>
          <p:spPr bwMode="auto">
            <a:xfrm>
              <a:off x="4433888" y="2622550"/>
              <a:ext cx="3175" cy="4763"/>
            </a:xfrm>
            <a:custGeom>
              <a:avLst/>
              <a:gdLst>
                <a:gd name="T0" fmla="*/ 0 w 10"/>
                <a:gd name="T1" fmla="*/ 0 h 15"/>
                <a:gd name="T2" fmla="*/ 0 w 10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0" y="0"/>
                  </a:moveTo>
                  <a:cubicBezTo>
                    <a:pt x="3" y="14"/>
                    <a:pt x="9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06" name="Freeform 1433"/>
            <p:cNvSpPr>
              <a:spLocks noChangeArrowheads="1"/>
            </p:cNvSpPr>
            <p:nvPr/>
          </p:nvSpPr>
          <p:spPr bwMode="auto">
            <a:xfrm>
              <a:off x="4419600" y="2606675"/>
              <a:ext cx="3175" cy="4763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3" y="11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07" name="Freeform 1434"/>
            <p:cNvSpPr>
              <a:spLocks noChangeArrowheads="1"/>
            </p:cNvSpPr>
            <p:nvPr/>
          </p:nvSpPr>
          <p:spPr bwMode="auto">
            <a:xfrm>
              <a:off x="4416425" y="2611438"/>
              <a:ext cx="6350" cy="3175"/>
            </a:xfrm>
            <a:custGeom>
              <a:avLst/>
              <a:gdLst>
                <a:gd name="T0" fmla="*/ 5 w 18"/>
                <a:gd name="T1" fmla="*/ 0 h 9"/>
                <a:gd name="T2" fmla="*/ 5 w 18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5" y="0"/>
                  </a:moveTo>
                  <a:cubicBezTo>
                    <a:pt x="0" y="8"/>
                    <a:pt x="17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08" name="Freeform 1435"/>
            <p:cNvSpPr>
              <a:spLocks noChangeArrowheads="1"/>
            </p:cNvSpPr>
            <p:nvPr/>
          </p:nvSpPr>
          <p:spPr bwMode="auto">
            <a:xfrm>
              <a:off x="4416425" y="2628900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2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09" name="Freeform 1436"/>
            <p:cNvSpPr>
              <a:spLocks noChangeArrowheads="1"/>
            </p:cNvSpPr>
            <p:nvPr/>
          </p:nvSpPr>
          <p:spPr bwMode="auto">
            <a:xfrm>
              <a:off x="4406900" y="2628900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3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10" name="Freeform 1437"/>
            <p:cNvSpPr>
              <a:spLocks noChangeArrowheads="1"/>
            </p:cNvSpPr>
            <p:nvPr/>
          </p:nvSpPr>
          <p:spPr bwMode="auto">
            <a:xfrm>
              <a:off x="4410075" y="2640013"/>
              <a:ext cx="3175" cy="6350"/>
            </a:xfrm>
            <a:custGeom>
              <a:avLst/>
              <a:gdLst>
                <a:gd name="T0" fmla="*/ 0 w 10"/>
                <a:gd name="T1" fmla="*/ 3 h 18"/>
                <a:gd name="T2" fmla="*/ 0 w 10"/>
                <a:gd name="T3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0" y="3"/>
                  </a:moveTo>
                  <a:cubicBezTo>
                    <a:pt x="6" y="17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11" name="Freeform 1438"/>
            <p:cNvSpPr>
              <a:spLocks noChangeArrowheads="1"/>
            </p:cNvSpPr>
            <p:nvPr/>
          </p:nvSpPr>
          <p:spPr bwMode="auto">
            <a:xfrm>
              <a:off x="4398963" y="2630488"/>
              <a:ext cx="7937" cy="6350"/>
            </a:xfrm>
            <a:custGeom>
              <a:avLst/>
              <a:gdLst>
                <a:gd name="T0" fmla="*/ 17 w 20"/>
                <a:gd name="T1" fmla="*/ 17 h 18"/>
                <a:gd name="T2" fmla="*/ 2 w 20"/>
                <a:gd name="T3" fmla="*/ 0 h 18"/>
                <a:gd name="T4" fmla="*/ 17 w 20"/>
                <a:gd name="T5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8">
                  <a:moveTo>
                    <a:pt x="17" y="17"/>
                  </a:moveTo>
                  <a:cubicBezTo>
                    <a:pt x="19" y="8"/>
                    <a:pt x="8" y="0"/>
                    <a:pt x="2" y="0"/>
                  </a:cubicBezTo>
                  <a:cubicBezTo>
                    <a:pt x="14" y="5"/>
                    <a:pt x="0" y="17"/>
                    <a:pt x="17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12" name="Freeform 1439"/>
            <p:cNvSpPr>
              <a:spLocks noChangeArrowheads="1"/>
            </p:cNvSpPr>
            <p:nvPr/>
          </p:nvSpPr>
          <p:spPr bwMode="auto">
            <a:xfrm>
              <a:off x="4402138" y="2638425"/>
              <a:ext cx="3175" cy="3175"/>
            </a:xfrm>
            <a:custGeom>
              <a:avLst/>
              <a:gdLst>
                <a:gd name="T0" fmla="*/ 6 w 10"/>
                <a:gd name="T1" fmla="*/ 0 h 10"/>
                <a:gd name="T2" fmla="*/ 0 w 10"/>
                <a:gd name="T3" fmla="*/ 3 h 10"/>
                <a:gd name="T4" fmla="*/ 3 w 10"/>
                <a:gd name="T5" fmla="*/ 9 h 10"/>
                <a:gd name="T6" fmla="*/ 9 w 10"/>
                <a:gd name="T7" fmla="*/ 6 h 10"/>
                <a:gd name="T8" fmla="*/ 6 w 1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6" y="0"/>
                  </a:moveTo>
                  <a:lnTo>
                    <a:pt x="0" y="3"/>
                  </a:lnTo>
                  <a:lnTo>
                    <a:pt x="3" y="9"/>
                  </a:lnTo>
                  <a:lnTo>
                    <a:pt x="9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13" name="Freeform 1440"/>
            <p:cNvSpPr>
              <a:spLocks noChangeArrowheads="1"/>
            </p:cNvSpPr>
            <p:nvPr/>
          </p:nvSpPr>
          <p:spPr bwMode="auto">
            <a:xfrm>
              <a:off x="4406900" y="2644775"/>
              <a:ext cx="3175" cy="4763"/>
            </a:xfrm>
            <a:custGeom>
              <a:avLst/>
              <a:gdLst>
                <a:gd name="T0" fmla="*/ 0 w 7"/>
                <a:gd name="T1" fmla="*/ 3 h 15"/>
                <a:gd name="T2" fmla="*/ 0 w 7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cubicBezTo>
                    <a:pt x="3" y="14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14" name="Freeform 1441"/>
            <p:cNvSpPr>
              <a:spLocks noChangeArrowheads="1"/>
            </p:cNvSpPr>
            <p:nvPr/>
          </p:nvSpPr>
          <p:spPr bwMode="auto">
            <a:xfrm>
              <a:off x="4389438" y="2616200"/>
              <a:ext cx="3175" cy="4763"/>
            </a:xfrm>
            <a:custGeom>
              <a:avLst/>
              <a:gdLst>
                <a:gd name="T0" fmla="*/ 6 w 10"/>
                <a:gd name="T1" fmla="*/ 0 h 12"/>
                <a:gd name="T2" fmla="*/ 3 w 10"/>
                <a:gd name="T3" fmla="*/ 11 h 12"/>
                <a:gd name="T4" fmla="*/ 9 w 10"/>
                <a:gd name="T5" fmla="*/ 3 h 12"/>
                <a:gd name="T6" fmla="*/ 6 w 10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cubicBezTo>
                    <a:pt x="0" y="3"/>
                    <a:pt x="3" y="6"/>
                    <a:pt x="3" y="11"/>
                  </a:cubicBezTo>
                  <a:cubicBezTo>
                    <a:pt x="6" y="11"/>
                    <a:pt x="9" y="9"/>
                    <a:pt x="9" y="3"/>
                  </a:cubicBezTo>
                  <a:cubicBezTo>
                    <a:pt x="6" y="3"/>
                    <a:pt x="6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15" name="Freeform 1442"/>
            <p:cNvSpPr>
              <a:spLocks noChangeArrowheads="1"/>
            </p:cNvSpPr>
            <p:nvPr/>
          </p:nvSpPr>
          <p:spPr bwMode="auto">
            <a:xfrm>
              <a:off x="4392613" y="2630488"/>
              <a:ext cx="3175" cy="4762"/>
            </a:xfrm>
            <a:custGeom>
              <a:avLst/>
              <a:gdLst>
                <a:gd name="T0" fmla="*/ 0 w 9"/>
                <a:gd name="T1" fmla="*/ 5 h 15"/>
                <a:gd name="T2" fmla="*/ 0 w 9"/>
                <a:gd name="T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5"/>
                  </a:moveTo>
                  <a:cubicBezTo>
                    <a:pt x="3" y="14"/>
                    <a:pt x="8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16" name="Freeform 1443"/>
            <p:cNvSpPr>
              <a:spLocks noChangeArrowheads="1"/>
            </p:cNvSpPr>
            <p:nvPr/>
          </p:nvSpPr>
          <p:spPr bwMode="auto">
            <a:xfrm>
              <a:off x="4389438" y="2630488"/>
              <a:ext cx="3175" cy="3175"/>
            </a:xfrm>
            <a:custGeom>
              <a:avLst/>
              <a:gdLst>
                <a:gd name="T0" fmla="*/ 6 w 10"/>
                <a:gd name="T1" fmla="*/ 0 h 10"/>
                <a:gd name="T2" fmla="*/ 0 w 10"/>
                <a:gd name="T3" fmla="*/ 3 h 10"/>
                <a:gd name="T4" fmla="*/ 3 w 10"/>
                <a:gd name="T5" fmla="*/ 9 h 10"/>
                <a:gd name="T6" fmla="*/ 9 w 10"/>
                <a:gd name="T7" fmla="*/ 6 h 10"/>
                <a:gd name="T8" fmla="*/ 6 w 1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6" y="0"/>
                  </a:moveTo>
                  <a:lnTo>
                    <a:pt x="0" y="3"/>
                  </a:lnTo>
                  <a:lnTo>
                    <a:pt x="3" y="9"/>
                  </a:lnTo>
                  <a:lnTo>
                    <a:pt x="9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17" name="Freeform 1444"/>
            <p:cNvSpPr>
              <a:spLocks noChangeArrowheads="1"/>
            </p:cNvSpPr>
            <p:nvPr/>
          </p:nvSpPr>
          <p:spPr bwMode="auto">
            <a:xfrm>
              <a:off x="4376738" y="2622550"/>
              <a:ext cx="3175" cy="3175"/>
            </a:xfrm>
            <a:custGeom>
              <a:avLst/>
              <a:gdLst>
                <a:gd name="T0" fmla="*/ 8 w 9"/>
                <a:gd name="T1" fmla="*/ 6 h 9"/>
                <a:gd name="T2" fmla="*/ 0 w 9"/>
                <a:gd name="T3" fmla="*/ 0 h 9"/>
                <a:gd name="T4" fmla="*/ 8 w 9"/>
                <a:gd name="T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6"/>
                  </a:moveTo>
                  <a:cubicBezTo>
                    <a:pt x="8" y="3"/>
                    <a:pt x="2" y="0"/>
                    <a:pt x="0" y="0"/>
                  </a:cubicBezTo>
                  <a:cubicBezTo>
                    <a:pt x="2" y="6"/>
                    <a:pt x="2" y="8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18" name="Freeform 1445"/>
            <p:cNvSpPr>
              <a:spLocks noChangeArrowheads="1"/>
            </p:cNvSpPr>
            <p:nvPr/>
          </p:nvSpPr>
          <p:spPr bwMode="auto">
            <a:xfrm>
              <a:off x="4375150" y="2644775"/>
              <a:ext cx="6350" cy="4763"/>
            </a:xfrm>
            <a:custGeom>
              <a:avLst/>
              <a:gdLst>
                <a:gd name="T0" fmla="*/ 14 w 18"/>
                <a:gd name="T1" fmla="*/ 11 h 12"/>
                <a:gd name="T2" fmla="*/ 11 w 18"/>
                <a:gd name="T3" fmla="*/ 6 h 12"/>
                <a:gd name="T4" fmla="*/ 17 w 18"/>
                <a:gd name="T5" fmla="*/ 0 h 12"/>
                <a:gd name="T6" fmla="*/ 0 w 18"/>
                <a:gd name="T7" fmla="*/ 9 h 12"/>
                <a:gd name="T8" fmla="*/ 14 w 18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14" y="11"/>
                  </a:moveTo>
                  <a:cubicBezTo>
                    <a:pt x="14" y="9"/>
                    <a:pt x="14" y="6"/>
                    <a:pt x="11" y="6"/>
                  </a:cubicBezTo>
                  <a:cubicBezTo>
                    <a:pt x="14" y="3"/>
                    <a:pt x="17" y="3"/>
                    <a:pt x="17" y="0"/>
                  </a:cubicBezTo>
                  <a:cubicBezTo>
                    <a:pt x="11" y="0"/>
                    <a:pt x="5" y="3"/>
                    <a:pt x="0" y="9"/>
                  </a:cubicBezTo>
                  <a:lnTo>
                    <a:pt x="14" y="11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19" name="Freeform 1446"/>
            <p:cNvSpPr>
              <a:spLocks noChangeArrowheads="1"/>
            </p:cNvSpPr>
            <p:nvPr/>
          </p:nvSpPr>
          <p:spPr bwMode="auto">
            <a:xfrm>
              <a:off x="4368800" y="2632075"/>
              <a:ext cx="6350" cy="4763"/>
            </a:xfrm>
            <a:custGeom>
              <a:avLst/>
              <a:gdLst>
                <a:gd name="T0" fmla="*/ 5 w 18"/>
                <a:gd name="T1" fmla="*/ 0 h 13"/>
                <a:gd name="T2" fmla="*/ 5 w 18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5" y="0"/>
                  </a:moveTo>
                  <a:cubicBezTo>
                    <a:pt x="0" y="12"/>
                    <a:pt x="17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20" name="Freeform 1447"/>
            <p:cNvSpPr>
              <a:spLocks noChangeArrowheads="1"/>
            </p:cNvSpPr>
            <p:nvPr/>
          </p:nvSpPr>
          <p:spPr bwMode="auto">
            <a:xfrm>
              <a:off x="4370388" y="2641600"/>
              <a:ext cx="3175" cy="3175"/>
            </a:xfrm>
            <a:custGeom>
              <a:avLst/>
              <a:gdLst>
                <a:gd name="T0" fmla="*/ 0 w 10"/>
                <a:gd name="T1" fmla="*/ 2 h 9"/>
                <a:gd name="T2" fmla="*/ 3 w 10"/>
                <a:gd name="T3" fmla="*/ 8 h 9"/>
                <a:gd name="T4" fmla="*/ 9 w 10"/>
                <a:gd name="T5" fmla="*/ 5 h 9"/>
                <a:gd name="T6" fmla="*/ 0 w 10"/>
                <a:gd name="T7" fmla="*/ 0 h 9"/>
                <a:gd name="T8" fmla="*/ 0 w 10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0" y="2"/>
                  </a:moveTo>
                  <a:lnTo>
                    <a:pt x="3" y="8"/>
                  </a:lnTo>
                  <a:lnTo>
                    <a:pt x="9" y="5"/>
                  </a:lnTo>
                  <a:cubicBezTo>
                    <a:pt x="9" y="2"/>
                    <a:pt x="6" y="0"/>
                    <a:pt x="0" y="0"/>
                  </a:cubicBezTo>
                  <a:cubicBezTo>
                    <a:pt x="3" y="2"/>
                    <a:pt x="3" y="2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21" name="Freeform 1448"/>
            <p:cNvSpPr>
              <a:spLocks noChangeArrowheads="1"/>
            </p:cNvSpPr>
            <p:nvPr/>
          </p:nvSpPr>
          <p:spPr bwMode="auto">
            <a:xfrm>
              <a:off x="4352925" y="2635250"/>
              <a:ext cx="6350" cy="1588"/>
            </a:xfrm>
            <a:custGeom>
              <a:avLst/>
              <a:gdLst>
                <a:gd name="T0" fmla="*/ 6 w 18"/>
                <a:gd name="T1" fmla="*/ 0 h 6"/>
                <a:gd name="T2" fmla="*/ 6 w 18"/>
                <a:gd name="T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6">
                  <a:moveTo>
                    <a:pt x="6" y="0"/>
                  </a:moveTo>
                  <a:cubicBezTo>
                    <a:pt x="0" y="5"/>
                    <a:pt x="17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22" name="Freeform 1449"/>
            <p:cNvSpPr>
              <a:spLocks noChangeArrowheads="1"/>
            </p:cNvSpPr>
            <p:nvPr/>
          </p:nvSpPr>
          <p:spPr bwMode="auto">
            <a:xfrm>
              <a:off x="4435475" y="2609850"/>
              <a:ext cx="3175" cy="7938"/>
            </a:xfrm>
            <a:custGeom>
              <a:avLst/>
              <a:gdLst>
                <a:gd name="T0" fmla="*/ 3 w 9"/>
                <a:gd name="T1" fmla="*/ 9 h 21"/>
                <a:gd name="T2" fmla="*/ 3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3" y="9"/>
                  </a:moveTo>
                  <a:cubicBezTo>
                    <a:pt x="0" y="20"/>
                    <a:pt x="8" y="0"/>
                    <a:pt x="3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23" name="Freeform 1450"/>
            <p:cNvSpPr>
              <a:spLocks noChangeArrowheads="1"/>
            </p:cNvSpPr>
            <p:nvPr/>
          </p:nvSpPr>
          <p:spPr bwMode="auto">
            <a:xfrm>
              <a:off x="4400550" y="2616200"/>
              <a:ext cx="4763" cy="7938"/>
            </a:xfrm>
            <a:custGeom>
              <a:avLst/>
              <a:gdLst>
                <a:gd name="T0" fmla="*/ 6 w 13"/>
                <a:gd name="T1" fmla="*/ 0 h 21"/>
                <a:gd name="T2" fmla="*/ 6 w 13"/>
                <a:gd name="T3" fmla="*/ 20 h 21"/>
                <a:gd name="T4" fmla="*/ 6 w 13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1">
                  <a:moveTo>
                    <a:pt x="6" y="0"/>
                  </a:moveTo>
                  <a:cubicBezTo>
                    <a:pt x="0" y="3"/>
                    <a:pt x="3" y="20"/>
                    <a:pt x="6" y="20"/>
                  </a:cubicBezTo>
                  <a:cubicBezTo>
                    <a:pt x="3" y="14"/>
                    <a:pt x="12" y="9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24" name="Freeform 1451"/>
            <p:cNvSpPr>
              <a:spLocks noChangeArrowheads="1"/>
            </p:cNvSpPr>
            <p:nvPr/>
          </p:nvSpPr>
          <p:spPr bwMode="auto">
            <a:xfrm>
              <a:off x="4391025" y="2636838"/>
              <a:ext cx="3175" cy="7937"/>
            </a:xfrm>
            <a:custGeom>
              <a:avLst/>
              <a:gdLst>
                <a:gd name="T0" fmla="*/ 3 w 7"/>
                <a:gd name="T1" fmla="*/ 12 h 21"/>
                <a:gd name="T2" fmla="*/ 3 w 7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1">
                  <a:moveTo>
                    <a:pt x="3" y="12"/>
                  </a:moveTo>
                  <a:cubicBezTo>
                    <a:pt x="0" y="20"/>
                    <a:pt x="6" y="0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25" name="Freeform 1452"/>
            <p:cNvSpPr>
              <a:spLocks noChangeArrowheads="1"/>
            </p:cNvSpPr>
            <p:nvPr/>
          </p:nvSpPr>
          <p:spPr bwMode="auto">
            <a:xfrm>
              <a:off x="4389438" y="2647950"/>
              <a:ext cx="11112" cy="4763"/>
            </a:xfrm>
            <a:custGeom>
              <a:avLst/>
              <a:gdLst>
                <a:gd name="T0" fmla="*/ 14 w 32"/>
                <a:gd name="T1" fmla="*/ 0 h 15"/>
                <a:gd name="T2" fmla="*/ 17 w 32"/>
                <a:gd name="T3" fmla="*/ 5 h 15"/>
                <a:gd name="T4" fmla="*/ 14 w 3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" h="15">
                  <a:moveTo>
                    <a:pt x="14" y="0"/>
                  </a:moveTo>
                  <a:cubicBezTo>
                    <a:pt x="0" y="11"/>
                    <a:pt x="31" y="14"/>
                    <a:pt x="17" y="5"/>
                  </a:cubicBezTo>
                  <a:cubicBezTo>
                    <a:pt x="17" y="14"/>
                    <a:pt x="11" y="2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26" name="Freeform 1453"/>
            <p:cNvSpPr>
              <a:spLocks noChangeArrowheads="1"/>
            </p:cNvSpPr>
            <p:nvPr/>
          </p:nvSpPr>
          <p:spPr bwMode="auto">
            <a:xfrm>
              <a:off x="4381500" y="2622550"/>
              <a:ext cx="4763" cy="6350"/>
            </a:xfrm>
            <a:custGeom>
              <a:avLst/>
              <a:gdLst>
                <a:gd name="T0" fmla="*/ 11 w 15"/>
                <a:gd name="T1" fmla="*/ 17 h 18"/>
                <a:gd name="T2" fmla="*/ 0 w 15"/>
                <a:gd name="T3" fmla="*/ 6 h 18"/>
                <a:gd name="T4" fmla="*/ 11 w 15"/>
                <a:gd name="T5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8">
                  <a:moveTo>
                    <a:pt x="11" y="17"/>
                  </a:moveTo>
                  <a:cubicBezTo>
                    <a:pt x="14" y="14"/>
                    <a:pt x="8" y="0"/>
                    <a:pt x="0" y="6"/>
                  </a:cubicBezTo>
                  <a:cubicBezTo>
                    <a:pt x="2" y="17"/>
                    <a:pt x="8" y="8"/>
                    <a:pt x="11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27" name="Freeform 1454"/>
            <p:cNvSpPr>
              <a:spLocks noChangeArrowheads="1"/>
            </p:cNvSpPr>
            <p:nvPr/>
          </p:nvSpPr>
          <p:spPr bwMode="auto">
            <a:xfrm>
              <a:off x="3824288" y="2508250"/>
              <a:ext cx="69850" cy="171450"/>
            </a:xfrm>
            <a:custGeom>
              <a:avLst/>
              <a:gdLst>
                <a:gd name="T0" fmla="*/ 186 w 192"/>
                <a:gd name="T1" fmla="*/ 436 h 477"/>
                <a:gd name="T2" fmla="*/ 127 w 192"/>
                <a:gd name="T3" fmla="*/ 473 h 477"/>
                <a:gd name="T4" fmla="*/ 48 w 192"/>
                <a:gd name="T5" fmla="*/ 371 h 477"/>
                <a:gd name="T6" fmla="*/ 25 w 192"/>
                <a:gd name="T7" fmla="*/ 236 h 477"/>
                <a:gd name="T8" fmla="*/ 14 w 192"/>
                <a:gd name="T9" fmla="*/ 178 h 477"/>
                <a:gd name="T10" fmla="*/ 2 w 192"/>
                <a:gd name="T11" fmla="*/ 116 h 477"/>
                <a:gd name="T12" fmla="*/ 81 w 192"/>
                <a:gd name="T13" fmla="*/ 0 h 477"/>
                <a:gd name="T14" fmla="*/ 141 w 192"/>
                <a:gd name="T15" fmla="*/ 93 h 477"/>
                <a:gd name="T16" fmla="*/ 141 w 192"/>
                <a:gd name="T17" fmla="*/ 167 h 477"/>
                <a:gd name="T18" fmla="*/ 98 w 192"/>
                <a:gd name="T19" fmla="*/ 133 h 477"/>
                <a:gd name="T20" fmla="*/ 53 w 192"/>
                <a:gd name="T21" fmla="*/ 68 h 477"/>
                <a:gd name="T22" fmla="*/ 59 w 192"/>
                <a:gd name="T23" fmla="*/ 136 h 477"/>
                <a:gd name="T24" fmla="*/ 79 w 192"/>
                <a:gd name="T25" fmla="*/ 228 h 477"/>
                <a:gd name="T26" fmla="*/ 90 w 192"/>
                <a:gd name="T27" fmla="*/ 290 h 477"/>
                <a:gd name="T28" fmla="*/ 118 w 192"/>
                <a:gd name="T29" fmla="*/ 408 h 477"/>
                <a:gd name="T30" fmla="*/ 132 w 192"/>
                <a:gd name="T31" fmla="*/ 318 h 477"/>
                <a:gd name="T32" fmla="*/ 166 w 192"/>
                <a:gd name="T33" fmla="*/ 287 h 477"/>
                <a:gd name="T34" fmla="*/ 25 w 192"/>
                <a:gd name="T35" fmla="*/ 71 h 477"/>
                <a:gd name="T36" fmla="*/ 25 w 192"/>
                <a:gd name="T37" fmla="*/ 57 h 477"/>
                <a:gd name="T38" fmla="*/ 28 w 192"/>
                <a:gd name="T39" fmla="*/ 62 h 477"/>
                <a:gd name="T40" fmla="*/ 31 w 192"/>
                <a:gd name="T41" fmla="*/ 124 h 477"/>
                <a:gd name="T42" fmla="*/ 36 w 192"/>
                <a:gd name="T43" fmla="*/ 169 h 477"/>
                <a:gd name="T44" fmla="*/ 39 w 192"/>
                <a:gd name="T45" fmla="*/ 161 h 477"/>
                <a:gd name="T46" fmla="*/ 31 w 192"/>
                <a:gd name="T47" fmla="*/ 144 h 477"/>
                <a:gd name="T48" fmla="*/ 42 w 192"/>
                <a:gd name="T49" fmla="*/ 34 h 477"/>
                <a:gd name="T50" fmla="*/ 67 w 192"/>
                <a:gd name="T51" fmla="*/ 28 h 477"/>
                <a:gd name="T52" fmla="*/ 56 w 192"/>
                <a:gd name="T53" fmla="*/ 23 h 477"/>
                <a:gd name="T54" fmla="*/ 39 w 192"/>
                <a:gd name="T55" fmla="*/ 28 h 477"/>
                <a:gd name="T56" fmla="*/ 36 w 192"/>
                <a:gd name="T57" fmla="*/ 197 h 477"/>
                <a:gd name="T58" fmla="*/ 50 w 192"/>
                <a:gd name="T59" fmla="*/ 197 h 477"/>
                <a:gd name="T60" fmla="*/ 48 w 192"/>
                <a:gd name="T61" fmla="*/ 194 h 477"/>
                <a:gd name="T62" fmla="*/ 42 w 192"/>
                <a:gd name="T63" fmla="*/ 239 h 477"/>
                <a:gd name="T64" fmla="*/ 53 w 192"/>
                <a:gd name="T65" fmla="*/ 301 h 477"/>
                <a:gd name="T66" fmla="*/ 53 w 192"/>
                <a:gd name="T67" fmla="*/ 281 h 477"/>
                <a:gd name="T68" fmla="*/ 56 w 192"/>
                <a:gd name="T69" fmla="*/ 290 h 477"/>
                <a:gd name="T70" fmla="*/ 56 w 192"/>
                <a:gd name="T71" fmla="*/ 312 h 477"/>
                <a:gd name="T72" fmla="*/ 64 w 192"/>
                <a:gd name="T73" fmla="*/ 273 h 477"/>
                <a:gd name="T74" fmla="*/ 64 w 192"/>
                <a:gd name="T75" fmla="*/ 326 h 477"/>
                <a:gd name="T76" fmla="*/ 67 w 192"/>
                <a:gd name="T77" fmla="*/ 357 h 477"/>
                <a:gd name="T78" fmla="*/ 73 w 192"/>
                <a:gd name="T79" fmla="*/ 338 h 477"/>
                <a:gd name="T80" fmla="*/ 70 w 192"/>
                <a:gd name="T81" fmla="*/ 307 h 477"/>
                <a:gd name="T82" fmla="*/ 76 w 192"/>
                <a:gd name="T83" fmla="*/ 388 h 477"/>
                <a:gd name="T84" fmla="*/ 81 w 192"/>
                <a:gd name="T85" fmla="*/ 383 h 477"/>
                <a:gd name="T86" fmla="*/ 87 w 192"/>
                <a:gd name="T87" fmla="*/ 400 h 477"/>
                <a:gd name="T88" fmla="*/ 87 w 192"/>
                <a:gd name="T89" fmla="*/ 439 h 477"/>
                <a:gd name="T90" fmla="*/ 90 w 192"/>
                <a:gd name="T91" fmla="*/ 40 h 477"/>
                <a:gd name="T92" fmla="*/ 104 w 192"/>
                <a:gd name="T93" fmla="*/ 434 h 477"/>
                <a:gd name="T94" fmla="*/ 101 w 192"/>
                <a:gd name="T95" fmla="*/ 445 h 477"/>
                <a:gd name="T96" fmla="*/ 107 w 192"/>
                <a:gd name="T97" fmla="*/ 51 h 477"/>
                <a:gd name="T98" fmla="*/ 107 w 192"/>
                <a:gd name="T99" fmla="*/ 450 h 477"/>
                <a:gd name="T100" fmla="*/ 115 w 192"/>
                <a:gd name="T101" fmla="*/ 439 h 477"/>
                <a:gd name="T102" fmla="*/ 115 w 192"/>
                <a:gd name="T103" fmla="*/ 450 h 477"/>
                <a:gd name="T104" fmla="*/ 132 w 192"/>
                <a:gd name="T105" fmla="*/ 450 h 477"/>
                <a:gd name="T106" fmla="*/ 149 w 192"/>
                <a:gd name="T107" fmla="*/ 428 h 477"/>
                <a:gd name="T108" fmla="*/ 155 w 192"/>
                <a:gd name="T109" fmla="*/ 355 h 477"/>
                <a:gd name="T110" fmla="*/ 160 w 192"/>
                <a:gd name="T111" fmla="*/ 391 h 477"/>
                <a:gd name="T112" fmla="*/ 160 w 192"/>
                <a:gd name="T113" fmla="*/ 434 h 477"/>
                <a:gd name="T114" fmla="*/ 158 w 192"/>
                <a:gd name="T115" fmla="*/ 366 h 477"/>
                <a:gd name="T116" fmla="*/ 172 w 192"/>
                <a:gd name="T117" fmla="*/ 411 h 477"/>
                <a:gd name="T118" fmla="*/ 163 w 192"/>
                <a:gd name="T119" fmla="*/ 394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2" h="477">
                  <a:moveTo>
                    <a:pt x="177" y="321"/>
                  </a:moveTo>
                  <a:cubicBezTo>
                    <a:pt x="180" y="321"/>
                    <a:pt x="180" y="324"/>
                    <a:pt x="180" y="326"/>
                  </a:cubicBezTo>
                  <a:cubicBezTo>
                    <a:pt x="177" y="329"/>
                    <a:pt x="177" y="332"/>
                    <a:pt x="180" y="338"/>
                  </a:cubicBezTo>
                  <a:cubicBezTo>
                    <a:pt x="180" y="340"/>
                    <a:pt x="183" y="343"/>
                    <a:pt x="183" y="349"/>
                  </a:cubicBezTo>
                  <a:cubicBezTo>
                    <a:pt x="183" y="355"/>
                    <a:pt x="183" y="357"/>
                    <a:pt x="186" y="363"/>
                  </a:cubicBezTo>
                  <a:lnTo>
                    <a:pt x="186" y="377"/>
                  </a:lnTo>
                  <a:cubicBezTo>
                    <a:pt x="186" y="383"/>
                    <a:pt x="186" y="386"/>
                    <a:pt x="189" y="391"/>
                  </a:cubicBezTo>
                  <a:cubicBezTo>
                    <a:pt x="191" y="400"/>
                    <a:pt x="191" y="411"/>
                    <a:pt x="191" y="422"/>
                  </a:cubicBezTo>
                  <a:cubicBezTo>
                    <a:pt x="191" y="428"/>
                    <a:pt x="189" y="434"/>
                    <a:pt x="186" y="436"/>
                  </a:cubicBezTo>
                  <a:cubicBezTo>
                    <a:pt x="186" y="439"/>
                    <a:pt x="183" y="439"/>
                    <a:pt x="183" y="442"/>
                  </a:cubicBezTo>
                  <a:cubicBezTo>
                    <a:pt x="183" y="445"/>
                    <a:pt x="180" y="448"/>
                    <a:pt x="180" y="448"/>
                  </a:cubicBezTo>
                  <a:cubicBezTo>
                    <a:pt x="177" y="453"/>
                    <a:pt x="174" y="456"/>
                    <a:pt x="169" y="462"/>
                  </a:cubicBezTo>
                  <a:cubicBezTo>
                    <a:pt x="163" y="465"/>
                    <a:pt x="160" y="467"/>
                    <a:pt x="155" y="473"/>
                  </a:cubicBezTo>
                  <a:lnTo>
                    <a:pt x="149" y="470"/>
                  </a:lnTo>
                  <a:cubicBezTo>
                    <a:pt x="146" y="470"/>
                    <a:pt x="146" y="473"/>
                    <a:pt x="143" y="473"/>
                  </a:cubicBezTo>
                  <a:lnTo>
                    <a:pt x="141" y="473"/>
                  </a:lnTo>
                  <a:lnTo>
                    <a:pt x="138" y="473"/>
                  </a:lnTo>
                  <a:cubicBezTo>
                    <a:pt x="135" y="476"/>
                    <a:pt x="129" y="476"/>
                    <a:pt x="127" y="473"/>
                  </a:cubicBezTo>
                  <a:lnTo>
                    <a:pt x="115" y="473"/>
                  </a:lnTo>
                  <a:cubicBezTo>
                    <a:pt x="107" y="473"/>
                    <a:pt x="98" y="473"/>
                    <a:pt x="90" y="470"/>
                  </a:cubicBezTo>
                  <a:cubicBezTo>
                    <a:pt x="81" y="467"/>
                    <a:pt x="76" y="462"/>
                    <a:pt x="70" y="456"/>
                  </a:cubicBezTo>
                  <a:cubicBezTo>
                    <a:pt x="62" y="448"/>
                    <a:pt x="56" y="436"/>
                    <a:pt x="56" y="422"/>
                  </a:cubicBezTo>
                  <a:cubicBezTo>
                    <a:pt x="56" y="417"/>
                    <a:pt x="56" y="411"/>
                    <a:pt x="53" y="405"/>
                  </a:cubicBezTo>
                  <a:cubicBezTo>
                    <a:pt x="50" y="403"/>
                    <a:pt x="50" y="400"/>
                    <a:pt x="50" y="397"/>
                  </a:cubicBezTo>
                  <a:cubicBezTo>
                    <a:pt x="50" y="394"/>
                    <a:pt x="48" y="391"/>
                    <a:pt x="48" y="388"/>
                  </a:cubicBezTo>
                  <a:lnTo>
                    <a:pt x="48" y="380"/>
                  </a:lnTo>
                  <a:lnTo>
                    <a:pt x="48" y="371"/>
                  </a:lnTo>
                  <a:lnTo>
                    <a:pt x="48" y="360"/>
                  </a:lnTo>
                  <a:cubicBezTo>
                    <a:pt x="45" y="355"/>
                    <a:pt x="42" y="349"/>
                    <a:pt x="42" y="343"/>
                  </a:cubicBezTo>
                  <a:cubicBezTo>
                    <a:pt x="42" y="338"/>
                    <a:pt x="42" y="332"/>
                    <a:pt x="39" y="326"/>
                  </a:cubicBezTo>
                  <a:cubicBezTo>
                    <a:pt x="39" y="324"/>
                    <a:pt x="42" y="318"/>
                    <a:pt x="39" y="315"/>
                  </a:cubicBezTo>
                  <a:cubicBezTo>
                    <a:pt x="36" y="307"/>
                    <a:pt x="33" y="298"/>
                    <a:pt x="31" y="287"/>
                  </a:cubicBezTo>
                  <a:cubicBezTo>
                    <a:pt x="28" y="281"/>
                    <a:pt x="28" y="276"/>
                    <a:pt x="31" y="270"/>
                  </a:cubicBezTo>
                  <a:cubicBezTo>
                    <a:pt x="31" y="264"/>
                    <a:pt x="31" y="259"/>
                    <a:pt x="28" y="253"/>
                  </a:cubicBezTo>
                  <a:lnTo>
                    <a:pt x="28" y="245"/>
                  </a:lnTo>
                  <a:cubicBezTo>
                    <a:pt x="28" y="242"/>
                    <a:pt x="25" y="239"/>
                    <a:pt x="25" y="236"/>
                  </a:cubicBezTo>
                  <a:cubicBezTo>
                    <a:pt x="25" y="236"/>
                    <a:pt x="22" y="233"/>
                    <a:pt x="25" y="233"/>
                  </a:cubicBezTo>
                  <a:lnTo>
                    <a:pt x="25" y="230"/>
                  </a:lnTo>
                  <a:cubicBezTo>
                    <a:pt x="25" y="228"/>
                    <a:pt x="22" y="222"/>
                    <a:pt x="22" y="219"/>
                  </a:cubicBezTo>
                  <a:cubicBezTo>
                    <a:pt x="22" y="216"/>
                    <a:pt x="22" y="211"/>
                    <a:pt x="19" y="208"/>
                  </a:cubicBezTo>
                  <a:lnTo>
                    <a:pt x="16" y="205"/>
                  </a:lnTo>
                  <a:lnTo>
                    <a:pt x="16" y="202"/>
                  </a:lnTo>
                  <a:cubicBezTo>
                    <a:pt x="19" y="199"/>
                    <a:pt x="19" y="197"/>
                    <a:pt x="16" y="191"/>
                  </a:cubicBezTo>
                  <a:lnTo>
                    <a:pt x="16" y="184"/>
                  </a:lnTo>
                  <a:cubicBezTo>
                    <a:pt x="16" y="181"/>
                    <a:pt x="16" y="181"/>
                    <a:pt x="14" y="178"/>
                  </a:cubicBezTo>
                  <a:cubicBezTo>
                    <a:pt x="11" y="174"/>
                    <a:pt x="8" y="169"/>
                    <a:pt x="11" y="164"/>
                  </a:cubicBezTo>
                  <a:lnTo>
                    <a:pt x="11" y="155"/>
                  </a:lnTo>
                  <a:lnTo>
                    <a:pt x="11" y="150"/>
                  </a:lnTo>
                  <a:cubicBezTo>
                    <a:pt x="11" y="147"/>
                    <a:pt x="11" y="147"/>
                    <a:pt x="8" y="144"/>
                  </a:cubicBezTo>
                  <a:cubicBezTo>
                    <a:pt x="8" y="141"/>
                    <a:pt x="5" y="138"/>
                    <a:pt x="5" y="136"/>
                  </a:cubicBezTo>
                  <a:lnTo>
                    <a:pt x="5" y="130"/>
                  </a:lnTo>
                  <a:lnTo>
                    <a:pt x="5" y="127"/>
                  </a:lnTo>
                  <a:lnTo>
                    <a:pt x="5" y="121"/>
                  </a:lnTo>
                  <a:cubicBezTo>
                    <a:pt x="5" y="119"/>
                    <a:pt x="5" y="119"/>
                    <a:pt x="2" y="116"/>
                  </a:cubicBezTo>
                  <a:cubicBezTo>
                    <a:pt x="2" y="116"/>
                    <a:pt x="0" y="113"/>
                    <a:pt x="2" y="113"/>
                  </a:cubicBezTo>
                  <a:lnTo>
                    <a:pt x="2" y="99"/>
                  </a:lnTo>
                  <a:cubicBezTo>
                    <a:pt x="0" y="88"/>
                    <a:pt x="0" y="76"/>
                    <a:pt x="0" y="65"/>
                  </a:cubicBezTo>
                  <a:cubicBezTo>
                    <a:pt x="0" y="59"/>
                    <a:pt x="0" y="54"/>
                    <a:pt x="2" y="48"/>
                  </a:cubicBezTo>
                  <a:cubicBezTo>
                    <a:pt x="5" y="31"/>
                    <a:pt x="16" y="17"/>
                    <a:pt x="33" y="9"/>
                  </a:cubicBezTo>
                  <a:cubicBezTo>
                    <a:pt x="36" y="6"/>
                    <a:pt x="42" y="6"/>
                    <a:pt x="45" y="3"/>
                  </a:cubicBezTo>
                  <a:cubicBezTo>
                    <a:pt x="48" y="0"/>
                    <a:pt x="50" y="0"/>
                    <a:pt x="56" y="0"/>
                  </a:cubicBezTo>
                  <a:lnTo>
                    <a:pt x="70" y="0"/>
                  </a:lnTo>
                  <a:lnTo>
                    <a:pt x="81" y="0"/>
                  </a:lnTo>
                  <a:cubicBezTo>
                    <a:pt x="90" y="3"/>
                    <a:pt x="98" y="6"/>
                    <a:pt x="104" y="11"/>
                  </a:cubicBezTo>
                  <a:cubicBezTo>
                    <a:pt x="104" y="11"/>
                    <a:pt x="107" y="11"/>
                    <a:pt x="107" y="14"/>
                  </a:cubicBezTo>
                  <a:lnTo>
                    <a:pt x="110" y="17"/>
                  </a:lnTo>
                  <a:cubicBezTo>
                    <a:pt x="112" y="23"/>
                    <a:pt x="115" y="25"/>
                    <a:pt x="118" y="28"/>
                  </a:cubicBezTo>
                  <a:cubicBezTo>
                    <a:pt x="121" y="30"/>
                    <a:pt x="127" y="37"/>
                    <a:pt x="127" y="40"/>
                  </a:cubicBezTo>
                  <a:cubicBezTo>
                    <a:pt x="129" y="45"/>
                    <a:pt x="129" y="51"/>
                    <a:pt x="129" y="57"/>
                  </a:cubicBezTo>
                  <a:cubicBezTo>
                    <a:pt x="129" y="59"/>
                    <a:pt x="132" y="62"/>
                    <a:pt x="135" y="65"/>
                  </a:cubicBezTo>
                  <a:cubicBezTo>
                    <a:pt x="135" y="71"/>
                    <a:pt x="135" y="73"/>
                    <a:pt x="138" y="79"/>
                  </a:cubicBezTo>
                  <a:cubicBezTo>
                    <a:pt x="141" y="82"/>
                    <a:pt x="141" y="88"/>
                    <a:pt x="141" y="93"/>
                  </a:cubicBezTo>
                  <a:lnTo>
                    <a:pt x="141" y="99"/>
                  </a:lnTo>
                  <a:lnTo>
                    <a:pt x="141" y="107"/>
                  </a:lnTo>
                  <a:cubicBezTo>
                    <a:pt x="141" y="113"/>
                    <a:pt x="143" y="119"/>
                    <a:pt x="146" y="121"/>
                  </a:cubicBezTo>
                  <a:cubicBezTo>
                    <a:pt x="146" y="124"/>
                    <a:pt x="149" y="127"/>
                    <a:pt x="149" y="127"/>
                  </a:cubicBezTo>
                  <a:cubicBezTo>
                    <a:pt x="149" y="130"/>
                    <a:pt x="149" y="133"/>
                    <a:pt x="152" y="133"/>
                  </a:cubicBezTo>
                  <a:cubicBezTo>
                    <a:pt x="155" y="136"/>
                    <a:pt x="155" y="138"/>
                    <a:pt x="155" y="141"/>
                  </a:cubicBezTo>
                  <a:cubicBezTo>
                    <a:pt x="152" y="144"/>
                    <a:pt x="152" y="147"/>
                    <a:pt x="155" y="150"/>
                  </a:cubicBezTo>
                  <a:cubicBezTo>
                    <a:pt x="158" y="155"/>
                    <a:pt x="155" y="161"/>
                    <a:pt x="149" y="164"/>
                  </a:cubicBezTo>
                  <a:cubicBezTo>
                    <a:pt x="146" y="167"/>
                    <a:pt x="143" y="167"/>
                    <a:pt x="141" y="167"/>
                  </a:cubicBezTo>
                  <a:lnTo>
                    <a:pt x="138" y="167"/>
                  </a:lnTo>
                  <a:cubicBezTo>
                    <a:pt x="135" y="169"/>
                    <a:pt x="132" y="172"/>
                    <a:pt x="127" y="169"/>
                  </a:cubicBezTo>
                  <a:lnTo>
                    <a:pt x="104" y="164"/>
                  </a:lnTo>
                  <a:cubicBezTo>
                    <a:pt x="101" y="164"/>
                    <a:pt x="101" y="161"/>
                    <a:pt x="101" y="161"/>
                  </a:cubicBezTo>
                  <a:lnTo>
                    <a:pt x="98" y="158"/>
                  </a:lnTo>
                  <a:lnTo>
                    <a:pt x="98" y="152"/>
                  </a:lnTo>
                  <a:lnTo>
                    <a:pt x="98" y="144"/>
                  </a:lnTo>
                  <a:lnTo>
                    <a:pt x="98" y="136"/>
                  </a:lnTo>
                  <a:lnTo>
                    <a:pt x="98" y="133"/>
                  </a:lnTo>
                  <a:cubicBezTo>
                    <a:pt x="95" y="127"/>
                    <a:pt x="93" y="124"/>
                    <a:pt x="93" y="119"/>
                  </a:cubicBezTo>
                  <a:cubicBezTo>
                    <a:pt x="93" y="113"/>
                    <a:pt x="93" y="110"/>
                    <a:pt x="90" y="105"/>
                  </a:cubicBezTo>
                  <a:lnTo>
                    <a:pt x="90" y="99"/>
                  </a:lnTo>
                  <a:lnTo>
                    <a:pt x="90" y="93"/>
                  </a:lnTo>
                  <a:cubicBezTo>
                    <a:pt x="87" y="90"/>
                    <a:pt x="87" y="88"/>
                    <a:pt x="87" y="82"/>
                  </a:cubicBezTo>
                  <a:cubicBezTo>
                    <a:pt x="87" y="79"/>
                    <a:pt x="87" y="73"/>
                    <a:pt x="84" y="71"/>
                  </a:cubicBezTo>
                  <a:cubicBezTo>
                    <a:pt x="81" y="68"/>
                    <a:pt x="79" y="65"/>
                    <a:pt x="79" y="62"/>
                  </a:cubicBezTo>
                  <a:cubicBezTo>
                    <a:pt x="76" y="59"/>
                    <a:pt x="73" y="57"/>
                    <a:pt x="70" y="57"/>
                  </a:cubicBezTo>
                  <a:cubicBezTo>
                    <a:pt x="62" y="57"/>
                    <a:pt x="56" y="59"/>
                    <a:pt x="53" y="68"/>
                  </a:cubicBezTo>
                  <a:lnTo>
                    <a:pt x="53" y="79"/>
                  </a:lnTo>
                  <a:lnTo>
                    <a:pt x="53" y="88"/>
                  </a:lnTo>
                  <a:lnTo>
                    <a:pt x="53" y="99"/>
                  </a:lnTo>
                  <a:lnTo>
                    <a:pt x="53" y="105"/>
                  </a:lnTo>
                  <a:cubicBezTo>
                    <a:pt x="50" y="107"/>
                    <a:pt x="53" y="110"/>
                    <a:pt x="56" y="110"/>
                  </a:cubicBezTo>
                  <a:cubicBezTo>
                    <a:pt x="56" y="113"/>
                    <a:pt x="59" y="116"/>
                    <a:pt x="59" y="119"/>
                  </a:cubicBezTo>
                  <a:lnTo>
                    <a:pt x="59" y="127"/>
                  </a:lnTo>
                  <a:lnTo>
                    <a:pt x="59" y="133"/>
                  </a:lnTo>
                  <a:lnTo>
                    <a:pt x="59" y="136"/>
                  </a:lnTo>
                  <a:cubicBezTo>
                    <a:pt x="62" y="138"/>
                    <a:pt x="64" y="144"/>
                    <a:pt x="64" y="150"/>
                  </a:cubicBezTo>
                  <a:cubicBezTo>
                    <a:pt x="64" y="155"/>
                    <a:pt x="64" y="161"/>
                    <a:pt x="67" y="164"/>
                  </a:cubicBezTo>
                  <a:lnTo>
                    <a:pt x="67" y="169"/>
                  </a:lnTo>
                  <a:lnTo>
                    <a:pt x="67" y="181"/>
                  </a:lnTo>
                  <a:lnTo>
                    <a:pt x="70" y="183"/>
                  </a:lnTo>
                  <a:lnTo>
                    <a:pt x="70" y="188"/>
                  </a:lnTo>
                  <a:cubicBezTo>
                    <a:pt x="70" y="194"/>
                    <a:pt x="70" y="199"/>
                    <a:pt x="73" y="202"/>
                  </a:cubicBezTo>
                  <a:cubicBezTo>
                    <a:pt x="76" y="208"/>
                    <a:pt x="76" y="214"/>
                    <a:pt x="76" y="219"/>
                  </a:cubicBezTo>
                  <a:cubicBezTo>
                    <a:pt x="76" y="222"/>
                    <a:pt x="76" y="225"/>
                    <a:pt x="79" y="228"/>
                  </a:cubicBezTo>
                  <a:cubicBezTo>
                    <a:pt x="79" y="230"/>
                    <a:pt x="81" y="233"/>
                    <a:pt x="81" y="239"/>
                  </a:cubicBezTo>
                  <a:cubicBezTo>
                    <a:pt x="81" y="242"/>
                    <a:pt x="81" y="245"/>
                    <a:pt x="84" y="245"/>
                  </a:cubicBezTo>
                  <a:cubicBezTo>
                    <a:pt x="84" y="245"/>
                    <a:pt x="84" y="247"/>
                    <a:pt x="87" y="250"/>
                  </a:cubicBezTo>
                  <a:lnTo>
                    <a:pt x="87" y="261"/>
                  </a:lnTo>
                  <a:lnTo>
                    <a:pt x="87" y="267"/>
                  </a:lnTo>
                  <a:lnTo>
                    <a:pt x="87" y="273"/>
                  </a:lnTo>
                  <a:cubicBezTo>
                    <a:pt x="84" y="276"/>
                    <a:pt x="87" y="278"/>
                    <a:pt x="87" y="278"/>
                  </a:cubicBezTo>
                  <a:cubicBezTo>
                    <a:pt x="90" y="281"/>
                    <a:pt x="90" y="281"/>
                    <a:pt x="90" y="284"/>
                  </a:cubicBezTo>
                  <a:lnTo>
                    <a:pt x="90" y="290"/>
                  </a:lnTo>
                  <a:lnTo>
                    <a:pt x="98" y="326"/>
                  </a:lnTo>
                  <a:cubicBezTo>
                    <a:pt x="98" y="329"/>
                    <a:pt x="98" y="329"/>
                    <a:pt x="101" y="332"/>
                  </a:cubicBezTo>
                  <a:cubicBezTo>
                    <a:pt x="101" y="335"/>
                    <a:pt x="101" y="338"/>
                    <a:pt x="98" y="338"/>
                  </a:cubicBezTo>
                  <a:lnTo>
                    <a:pt x="98" y="343"/>
                  </a:lnTo>
                  <a:cubicBezTo>
                    <a:pt x="104" y="352"/>
                    <a:pt x="107" y="363"/>
                    <a:pt x="104" y="371"/>
                  </a:cubicBezTo>
                  <a:cubicBezTo>
                    <a:pt x="104" y="374"/>
                    <a:pt x="107" y="377"/>
                    <a:pt x="107" y="380"/>
                  </a:cubicBezTo>
                  <a:cubicBezTo>
                    <a:pt x="107" y="383"/>
                    <a:pt x="107" y="388"/>
                    <a:pt x="110" y="391"/>
                  </a:cubicBezTo>
                  <a:cubicBezTo>
                    <a:pt x="110" y="391"/>
                    <a:pt x="112" y="394"/>
                    <a:pt x="112" y="397"/>
                  </a:cubicBezTo>
                  <a:cubicBezTo>
                    <a:pt x="112" y="403"/>
                    <a:pt x="115" y="405"/>
                    <a:pt x="118" y="408"/>
                  </a:cubicBezTo>
                  <a:cubicBezTo>
                    <a:pt x="121" y="408"/>
                    <a:pt x="121" y="411"/>
                    <a:pt x="124" y="411"/>
                  </a:cubicBezTo>
                  <a:lnTo>
                    <a:pt x="127" y="411"/>
                  </a:lnTo>
                  <a:lnTo>
                    <a:pt x="129" y="411"/>
                  </a:lnTo>
                  <a:lnTo>
                    <a:pt x="138" y="408"/>
                  </a:lnTo>
                  <a:cubicBezTo>
                    <a:pt x="141" y="403"/>
                    <a:pt x="143" y="394"/>
                    <a:pt x="141" y="388"/>
                  </a:cubicBezTo>
                  <a:lnTo>
                    <a:pt x="132" y="332"/>
                  </a:lnTo>
                  <a:lnTo>
                    <a:pt x="132" y="326"/>
                  </a:lnTo>
                  <a:lnTo>
                    <a:pt x="132" y="321"/>
                  </a:lnTo>
                  <a:lnTo>
                    <a:pt x="132" y="318"/>
                  </a:lnTo>
                  <a:cubicBezTo>
                    <a:pt x="132" y="315"/>
                    <a:pt x="132" y="315"/>
                    <a:pt x="129" y="312"/>
                  </a:cubicBezTo>
                  <a:cubicBezTo>
                    <a:pt x="127" y="312"/>
                    <a:pt x="127" y="309"/>
                    <a:pt x="127" y="307"/>
                  </a:cubicBezTo>
                  <a:lnTo>
                    <a:pt x="127" y="301"/>
                  </a:lnTo>
                  <a:lnTo>
                    <a:pt x="127" y="295"/>
                  </a:lnTo>
                  <a:lnTo>
                    <a:pt x="129" y="293"/>
                  </a:lnTo>
                  <a:lnTo>
                    <a:pt x="132" y="290"/>
                  </a:lnTo>
                  <a:cubicBezTo>
                    <a:pt x="135" y="290"/>
                    <a:pt x="135" y="290"/>
                    <a:pt x="138" y="287"/>
                  </a:cubicBezTo>
                  <a:cubicBezTo>
                    <a:pt x="141" y="287"/>
                    <a:pt x="143" y="284"/>
                    <a:pt x="143" y="284"/>
                  </a:cubicBezTo>
                  <a:cubicBezTo>
                    <a:pt x="152" y="281"/>
                    <a:pt x="160" y="281"/>
                    <a:pt x="166" y="287"/>
                  </a:cubicBezTo>
                  <a:lnTo>
                    <a:pt x="172" y="293"/>
                  </a:lnTo>
                  <a:cubicBezTo>
                    <a:pt x="172" y="295"/>
                    <a:pt x="174" y="298"/>
                    <a:pt x="174" y="301"/>
                  </a:cubicBezTo>
                  <a:cubicBezTo>
                    <a:pt x="174" y="315"/>
                    <a:pt x="177" y="318"/>
                    <a:pt x="177" y="321"/>
                  </a:cubicBezTo>
                  <a:close/>
                  <a:moveTo>
                    <a:pt x="14" y="79"/>
                  </a:moveTo>
                  <a:lnTo>
                    <a:pt x="19" y="79"/>
                  </a:lnTo>
                  <a:cubicBezTo>
                    <a:pt x="22" y="79"/>
                    <a:pt x="25" y="76"/>
                    <a:pt x="25" y="76"/>
                  </a:cubicBezTo>
                  <a:cubicBezTo>
                    <a:pt x="28" y="76"/>
                    <a:pt x="31" y="73"/>
                    <a:pt x="33" y="73"/>
                  </a:cubicBezTo>
                  <a:lnTo>
                    <a:pt x="28" y="73"/>
                  </a:lnTo>
                  <a:cubicBezTo>
                    <a:pt x="28" y="73"/>
                    <a:pt x="25" y="73"/>
                    <a:pt x="25" y="71"/>
                  </a:cubicBezTo>
                  <a:lnTo>
                    <a:pt x="22" y="73"/>
                  </a:lnTo>
                  <a:cubicBezTo>
                    <a:pt x="22" y="76"/>
                    <a:pt x="19" y="76"/>
                    <a:pt x="19" y="76"/>
                  </a:cubicBezTo>
                  <a:cubicBezTo>
                    <a:pt x="19" y="76"/>
                    <a:pt x="14" y="76"/>
                    <a:pt x="14" y="79"/>
                  </a:cubicBezTo>
                  <a:close/>
                  <a:moveTo>
                    <a:pt x="19" y="71"/>
                  </a:moveTo>
                  <a:lnTo>
                    <a:pt x="25" y="68"/>
                  </a:lnTo>
                  <a:cubicBezTo>
                    <a:pt x="22" y="68"/>
                    <a:pt x="22" y="65"/>
                    <a:pt x="19" y="65"/>
                  </a:cubicBezTo>
                  <a:lnTo>
                    <a:pt x="19" y="71"/>
                  </a:lnTo>
                  <a:close/>
                  <a:moveTo>
                    <a:pt x="16" y="54"/>
                  </a:moveTo>
                  <a:cubicBezTo>
                    <a:pt x="19" y="54"/>
                    <a:pt x="22" y="57"/>
                    <a:pt x="25" y="57"/>
                  </a:cubicBezTo>
                  <a:cubicBezTo>
                    <a:pt x="25" y="54"/>
                    <a:pt x="25" y="54"/>
                    <a:pt x="28" y="51"/>
                  </a:cubicBezTo>
                  <a:cubicBezTo>
                    <a:pt x="28" y="48"/>
                    <a:pt x="31" y="48"/>
                    <a:pt x="31" y="45"/>
                  </a:cubicBezTo>
                  <a:lnTo>
                    <a:pt x="25" y="48"/>
                  </a:lnTo>
                  <a:lnTo>
                    <a:pt x="16" y="54"/>
                  </a:lnTo>
                  <a:close/>
                  <a:moveTo>
                    <a:pt x="33" y="59"/>
                  </a:moveTo>
                  <a:cubicBezTo>
                    <a:pt x="33" y="57"/>
                    <a:pt x="36" y="57"/>
                    <a:pt x="36" y="54"/>
                  </a:cubicBezTo>
                  <a:lnTo>
                    <a:pt x="25" y="62"/>
                  </a:lnTo>
                  <a:lnTo>
                    <a:pt x="28" y="65"/>
                  </a:lnTo>
                  <a:lnTo>
                    <a:pt x="28" y="62"/>
                  </a:lnTo>
                  <a:cubicBezTo>
                    <a:pt x="31" y="65"/>
                    <a:pt x="31" y="68"/>
                    <a:pt x="33" y="68"/>
                  </a:cubicBezTo>
                  <a:lnTo>
                    <a:pt x="36" y="68"/>
                  </a:lnTo>
                  <a:lnTo>
                    <a:pt x="33" y="59"/>
                  </a:lnTo>
                  <a:close/>
                  <a:moveTo>
                    <a:pt x="31" y="124"/>
                  </a:moveTo>
                  <a:lnTo>
                    <a:pt x="31" y="121"/>
                  </a:lnTo>
                  <a:lnTo>
                    <a:pt x="28" y="121"/>
                  </a:lnTo>
                  <a:lnTo>
                    <a:pt x="28" y="127"/>
                  </a:lnTo>
                  <a:lnTo>
                    <a:pt x="28" y="133"/>
                  </a:lnTo>
                  <a:cubicBezTo>
                    <a:pt x="28" y="130"/>
                    <a:pt x="31" y="127"/>
                    <a:pt x="31" y="124"/>
                  </a:cubicBezTo>
                  <a:close/>
                  <a:moveTo>
                    <a:pt x="31" y="107"/>
                  </a:moveTo>
                  <a:cubicBezTo>
                    <a:pt x="31" y="107"/>
                    <a:pt x="33" y="107"/>
                    <a:pt x="33" y="105"/>
                  </a:cubicBezTo>
                  <a:lnTo>
                    <a:pt x="31" y="102"/>
                  </a:lnTo>
                  <a:lnTo>
                    <a:pt x="25" y="107"/>
                  </a:lnTo>
                  <a:lnTo>
                    <a:pt x="28" y="107"/>
                  </a:lnTo>
                  <a:lnTo>
                    <a:pt x="31" y="107"/>
                  </a:lnTo>
                  <a:close/>
                  <a:moveTo>
                    <a:pt x="36" y="169"/>
                  </a:moveTo>
                  <a:lnTo>
                    <a:pt x="39" y="175"/>
                  </a:lnTo>
                  <a:cubicBezTo>
                    <a:pt x="39" y="172"/>
                    <a:pt x="39" y="169"/>
                    <a:pt x="36" y="169"/>
                  </a:cubicBezTo>
                  <a:cubicBezTo>
                    <a:pt x="36" y="169"/>
                    <a:pt x="38" y="168"/>
                    <a:pt x="37" y="165"/>
                  </a:cubicBezTo>
                  <a:lnTo>
                    <a:pt x="36" y="167"/>
                  </a:lnTo>
                  <a:lnTo>
                    <a:pt x="33" y="167"/>
                  </a:lnTo>
                  <a:lnTo>
                    <a:pt x="31" y="167"/>
                  </a:lnTo>
                  <a:cubicBezTo>
                    <a:pt x="31" y="169"/>
                    <a:pt x="33" y="169"/>
                    <a:pt x="36" y="169"/>
                  </a:cubicBezTo>
                  <a:close/>
                  <a:moveTo>
                    <a:pt x="42" y="155"/>
                  </a:moveTo>
                  <a:lnTo>
                    <a:pt x="36" y="157"/>
                  </a:lnTo>
                  <a:cubicBezTo>
                    <a:pt x="37" y="158"/>
                    <a:pt x="38" y="158"/>
                    <a:pt x="39" y="158"/>
                  </a:cubicBezTo>
                  <a:lnTo>
                    <a:pt x="39" y="161"/>
                  </a:lnTo>
                  <a:lnTo>
                    <a:pt x="42" y="155"/>
                  </a:lnTo>
                  <a:close/>
                  <a:moveTo>
                    <a:pt x="36" y="155"/>
                  </a:moveTo>
                  <a:cubicBezTo>
                    <a:pt x="39" y="155"/>
                    <a:pt x="41" y="153"/>
                    <a:pt x="42" y="150"/>
                  </a:cubicBezTo>
                  <a:cubicBezTo>
                    <a:pt x="40" y="151"/>
                    <a:pt x="39" y="152"/>
                    <a:pt x="39" y="152"/>
                  </a:cubicBezTo>
                  <a:lnTo>
                    <a:pt x="36" y="152"/>
                  </a:lnTo>
                  <a:lnTo>
                    <a:pt x="33" y="152"/>
                  </a:lnTo>
                  <a:cubicBezTo>
                    <a:pt x="33" y="154"/>
                    <a:pt x="34" y="155"/>
                    <a:pt x="35" y="156"/>
                  </a:cubicBezTo>
                  <a:cubicBezTo>
                    <a:pt x="35" y="155"/>
                    <a:pt x="36" y="155"/>
                    <a:pt x="36" y="155"/>
                  </a:cubicBezTo>
                  <a:close/>
                  <a:moveTo>
                    <a:pt x="31" y="144"/>
                  </a:moveTo>
                  <a:lnTo>
                    <a:pt x="28" y="144"/>
                  </a:lnTo>
                  <a:lnTo>
                    <a:pt x="33" y="150"/>
                  </a:lnTo>
                  <a:cubicBezTo>
                    <a:pt x="33" y="147"/>
                    <a:pt x="33" y="144"/>
                    <a:pt x="31" y="144"/>
                  </a:cubicBezTo>
                  <a:close/>
                  <a:moveTo>
                    <a:pt x="28" y="40"/>
                  </a:moveTo>
                  <a:cubicBezTo>
                    <a:pt x="31" y="40"/>
                    <a:pt x="31" y="40"/>
                    <a:pt x="33" y="37"/>
                  </a:cubicBezTo>
                  <a:cubicBezTo>
                    <a:pt x="39" y="42"/>
                    <a:pt x="39" y="42"/>
                    <a:pt x="45" y="40"/>
                  </a:cubicBezTo>
                  <a:lnTo>
                    <a:pt x="42" y="37"/>
                  </a:lnTo>
                  <a:cubicBezTo>
                    <a:pt x="42" y="37"/>
                    <a:pt x="39" y="37"/>
                    <a:pt x="39" y="34"/>
                  </a:cubicBezTo>
                  <a:lnTo>
                    <a:pt x="42" y="34"/>
                  </a:lnTo>
                  <a:lnTo>
                    <a:pt x="45" y="34"/>
                  </a:lnTo>
                  <a:lnTo>
                    <a:pt x="42" y="31"/>
                  </a:lnTo>
                  <a:lnTo>
                    <a:pt x="45" y="31"/>
                  </a:lnTo>
                  <a:lnTo>
                    <a:pt x="45" y="28"/>
                  </a:lnTo>
                  <a:lnTo>
                    <a:pt x="50" y="28"/>
                  </a:lnTo>
                  <a:cubicBezTo>
                    <a:pt x="48" y="37"/>
                    <a:pt x="50" y="40"/>
                    <a:pt x="53" y="40"/>
                  </a:cubicBezTo>
                  <a:lnTo>
                    <a:pt x="56" y="34"/>
                  </a:lnTo>
                  <a:lnTo>
                    <a:pt x="67" y="31"/>
                  </a:lnTo>
                  <a:lnTo>
                    <a:pt x="67" y="28"/>
                  </a:lnTo>
                  <a:lnTo>
                    <a:pt x="67" y="26"/>
                  </a:lnTo>
                  <a:cubicBezTo>
                    <a:pt x="67" y="31"/>
                    <a:pt x="73" y="37"/>
                    <a:pt x="76" y="40"/>
                  </a:cubicBezTo>
                  <a:lnTo>
                    <a:pt x="81" y="40"/>
                  </a:lnTo>
                  <a:cubicBezTo>
                    <a:pt x="79" y="37"/>
                    <a:pt x="76" y="37"/>
                    <a:pt x="73" y="34"/>
                  </a:cubicBezTo>
                  <a:cubicBezTo>
                    <a:pt x="76" y="31"/>
                    <a:pt x="73" y="28"/>
                    <a:pt x="70" y="26"/>
                  </a:cubicBezTo>
                  <a:cubicBezTo>
                    <a:pt x="70" y="23"/>
                    <a:pt x="67" y="23"/>
                    <a:pt x="67" y="20"/>
                  </a:cubicBezTo>
                  <a:cubicBezTo>
                    <a:pt x="64" y="23"/>
                    <a:pt x="62" y="23"/>
                    <a:pt x="59" y="23"/>
                  </a:cubicBezTo>
                  <a:lnTo>
                    <a:pt x="56" y="20"/>
                  </a:lnTo>
                  <a:lnTo>
                    <a:pt x="56" y="23"/>
                  </a:lnTo>
                  <a:lnTo>
                    <a:pt x="56" y="26"/>
                  </a:lnTo>
                  <a:cubicBezTo>
                    <a:pt x="56" y="23"/>
                    <a:pt x="53" y="23"/>
                    <a:pt x="53" y="23"/>
                  </a:cubicBezTo>
                  <a:cubicBezTo>
                    <a:pt x="50" y="23"/>
                    <a:pt x="50" y="20"/>
                    <a:pt x="48" y="20"/>
                  </a:cubicBezTo>
                  <a:lnTo>
                    <a:pt x="42" y="20"/>
                  </a:lnTo>
                  <a:cubicBezTo>
                    <a:pt x="42" y="24"/>
                    <a:pt x="40" y="27"/>
                    <a:pt x="40" y="29"/>
                  </a:cubicBezTo>
                  <a:cubicBezTo>
                    <a:pt x="39" y="30"/>
                    <a:pt x="39" y="30"/>
                    <a:pt x="39" y="31"/>
                  </a:cubicBezTo>
                  <a:lnTo>
                    <a:pt x="42" y="31"/>
                  </a:lnTo>
                  <a:lnTo>
                    <a:pt x="40" y="29"/>
                  </a:lnTo>
                  <a:cubicBezTo>
                    <a:pt x="40" y="29"/>
                    <a:pt x="40" y="29"/>
                    <a:pt x="39" y="28"/>
                  </a:cubicBezTo>
                  <a:lnTo>
                    <a:pt x="39" y="31"/>
                  </a:lnTo>
                  <a:lnTo>
                    <a:pt x="39" y="34"/>
                  </a:lnTo>
                  <a:cubicBezTo>
                    <a:pt x="36" y="34"/>
                    <a:pt x="36" y="34"/>
                    <a:pt x="33" y="31"/>
                  </a:cubicBezTo>
                  <a:cubicBezTo>
                    <a:pt x="31" y="31"/>
                    <a:pt x="31" y="31"/>
                    <a:pt x="28" y="34"/>
                  </a:cubicBezTo>
                  <a:lnTo>
                    <a:pt x="28" y="40"/>
                  </a:lnTo>
                  <a:close/>
                  <a:moveTo>
                    <a:pt x="36" y="45"/>
                  </a:moveTo>
                  <a:lnTo>
                    <a:pt x="33" y="40"/>
                  </a:lnTo>
                  <a:cubicBezTo>
                    <a:pt x="33" y="45"/>
                    <a:pt x="33" y="45"/>
                    <a:pt x="36" y="45"/>
                  </a:cubicBezTo>
                  <a:close/>
                  <a:moveTo>
                    <a:pt x="36" y="197"/>
                  </a:moveTo>
                  <a:lnTo>
                    <a:pt x="36" y="199"/>
                  </a:lnTo>
                  <a:lnTo>
                    <a:pt x="39" y="199"/>
                  </a:lnTo>
                  <a:lnTo>
                    <a:pt x="39" y="202"/>
                  </a:lnTo>
                  <a:lnTo>
                    <a:pt x="39" y="205"/>
                  </a:lnTo>
                  <a:cubicBezTo>
                    <a:pt x="39" y="205"/>
                    <a:pt x="39" y="208"/>
                    <a:pt x="42" y="208"/>
                  </a:cubicBezTo>
                  <a:lnTo>
                    <a:pt x="45" y="208"/>
                  </a:lnTo>
                  <a:lnTo>
                    <a:pt x="45" y="202"/>
                  </a:lnTo>
                  <a:lnTo>
                    <a:pt x="48" y="199"/>
                  </a:lnTo>
                  <a:lnTo>
                    <a:pt x="50" y="197"/>
                  </a:lnTo>
                  <a:cubicBezTo>
                    <a:pt x="48" y="197"/>
                    <a:pt x="48" y="194"/>
                    <a:pt x="45" y="194"/>
                  </a:cubicBezTo>
                  <a:lnTo>
                    <a:pt x="45" y="197"/>
                  </a:lnTo>
                  <a:lnTo>
                    <a:pt x="39" y="197"/>
                  </a:lnTo>
                  <a:lnTo>
                    <a:pt x="39" y="194"/>
                  </a:lnTo>
                  <a:lnTo>
                    <a:pt x="36" y="197"/>
                  </a:lnTo>
                  <a:close/>
                  <a:moveTo>
                    <a:pt x="48" y="194"/>
                  </a:moveTo>
                  <a:cubicBezTo>
                    <a:pt x="48" y="191"/>
                    <a:pt x="48" y="191"/>
                    <a:pt x="45" y="188"/>
                  </a:cubicBezTo>
                  <a:lnTo>
                    <a:pt x="42" y="188"/>
                  </a:lnTo>
                  <a:cubicBezTo>
                    <a:pt x="42" y="194"/>
                    <a:pt x="45" y="194"/>
                    <a:pt x="48" y="194"/>
                  </a:cubicBezTo>
                  <a:close/>
                  <a:moveTo>
                    <a:pt x="42" y="228"/>
                  </a:moveTo>
                  <a:cubicBezTo>
                    <a:pt x="48" y="228"/>
                    <a:pt x="50" y="225"/>
                    <a:pt x="53" y="222"/>
                  </a:cubicBezTo>
                  <a:lnTo>
                    <a:pt x="48" y="222"/>
                  </a:lnTo>
                  <a:lnTo>
                    <a:pt x="45" y="225"/>
                  </a:lnTo>
                  <a:cubicBezTo>
                    <a:pt x="45" y="225"/>
                    <a:pt x="42" y="225"/>
                    <a:pt x="42" y="228"/>
                  </a:cubicBezTo>
                  <a:close/>
                  <a:moveTo>
                    <a:pt x="45" y="211"/>
                  </a:moveTo>
                  <a:cubicBezTo>
                    <a:pt x="42" y="211"/>
                    <a:pt x="42" y="214"/>
                    <a:pt x="42" y="214"/>
                  </a:cubicBezTo>
                  <a:cubicBezTo>
                    <a:pt x="45" y="214"/>
                    <a:pt x="45" y="211"/>
                    <a:pt x="45" y="211"/>
                  </a:cubicBezTo>
                  <a:close/>
                  <a:moveTo>
                    <a:pt x="42" y="239"/>
                  </a:moveTo>
                  <a:lnTo>
                    <a:pt x="50" y="236"/>
                  </a:lnTo>
                  <a:lnTo>
                    <a:pt x="50" y="233"/>
                  </a:lnTo>
                  <a:lnTo>
                    <a:pt x="48" y="230"/>
                  </a:lnTo>
                  <a:lnTo>
                    <a:pt x="42" y="239"/>
                  </a:lnTo>
                  <a:close/>
                  <a:moveTo>
                    <a:pt x="50" y="245"/>
                  </a:moveTo>
                  <a:lnTo>
                    <a:pt x="50" y="239"/>
                  </a:lnTo>
                  <a:lnTo>
                    <a:pt x="45" y="239"/>
                  </a:lnTo>
                  <a:cubicBezTo>
                    <a:pt x="45" y="242"/>
                    <a:pt x="48" y="245"/>
                    <a:pt x="50" y="245"/>
                  </a:cubicBezTo>
                  <a:close/>
                  <a:moveTo>
                    <a:pt x="53" y="301"/>
                  </a:moveTo>
                  <a:lnTo>
                    <a:pt x="62" y="301"/>
                  </a:lnTo>
                  <a:cubicBezTo>
                    <a:pt x="59" y="298"/>
                    <a:pt x="56" y="298"/>
                    <a:pt x="56" y="298"/>
                  </a:cubicBezTo>
                  <a:lnTo>
                    <a:pt x="53" y="301"/>
                  </a:lnTo>
                  <a:close/>
                  <a:moveTo>
                    <a:pt x="53" y="281"/>
                  </a:moveTo>
                  <a:lnTo>
                    <a:pt x="56" y="281"/>
                  </a:lnTo>
                  <a:lnTo>
                    <a:pt x="59" y="281"/>
                  </a:lnTo>
                  <a:cubicBezTo>
                    <a:pt x="59" y="278"/>
                    <a:pt x="56" y="273"/>
                    <a:pt x="56" y="270"/>
                  </a:cubicBezTo>
                  <a:cubicBezTo>
                    <a:pt x="56" y="273"/>
                    <a:pt x="56" y="273"/>
                    <a:pt x="53" y="276"/>
                  </a:cubicBezTo>
                  <a:lnTo>
                    <a:pt x="53" y="281"/>
                  </a:lnTo>
                  <a:close/>
                  <a:moveTo>
                    <a:pt x="59" y="267"/>
                  </a:moveTo>
                  <a:lnTo>
                    <a:pt x="59" y="264"/>
                  </a:lnTo>
                  <a:lnTo>
                    <a:pt x="56" y="264"/>
                  </a:lnTo>
                  <a:lnTo>
                    <a:pt x="56" y="267"/>
                  </a:lnTo>
                  <a:cubicBezTo>
                    <a:pt x="56" y="270"/>
                    <a:pt x="59" y="270"/>
                    <a:pt x="59" y="267"/>
                  </a:cubicBezTo>
                  <a:close/>
                  <a:moveTo>
                    <a:pt x="62" y="293"/>
                  </a:moveTo>
                  <a:lnTo>
                    <a:pt x="62" y="290"/>
                  </a:lnTo>
                  <a:lnTo>
                    <a:pt x="59" y="290"/>
                  </a:lnTo>
                  <a:lnTo>
                    <a:pt x="56" y="290"/>
                  </a:lnTo>
                  <a:lnTo>
                    <a:pt x="62" y="293"/>
                  </a:lnTo>
                  <a:close/>
                  <a:moveTo>
                    <a:pt x="62" y="284"/>
                  </a:moveTo>
                  <a:lnTo>
                    <a:pt x="59" y="284"/>
                  </a:lnTo>
                  <a:lnTo>
                    <a:pt x="59" y="287"/>
                  </a:lnTo>
                  <a:lnTo>
                    <a:pt x="59" y="290"/>
                  </a:lnTo>
                  <a:cubicBezTo>
                    <a:pt x="59" y="290"/>
                    <a:pt x="59" y="287"/>
                    <a:pt x="62" y="287"/>
                  </a:cubicBezTo>
                  <a:lnTo>
                    <a:pt x="62" y="284"/>
                  </a:lnTo>
                  <a:close/>
                  <a:moveTo>
                    <a:pt x="62" y="304"/>
                  </a:moveTo>
                  <a:cubicBezTo>
                    <a:pt x="56" y="307"/>
                    <a:pt x="56" y="309"/>
                    <a:pt x="56" y="312"/>
                  </a:cubicBezTo>
                  <a:cubicBezTo>
                    <a:pt x="59" y="312"/>
                    <a:pt x="59" y="309"/>
                    <a:pt x="62" y="309"/>
                  </a:cubicBezTo>
                  <a:lnTo>
                    <a:pt x="62" y="304"/>
                  </a:lnTo>
                  <a:close/>
                  <a:moveTo>
                    <a:pt x="62" y="37"/>
                  </a:moveTo>
                  <a:lnTo>
                    <a:pt x="59" y="37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62" y="42"/>
                  </a:lnTo>
                  <a:lnTo>
                    <a:pt x="62" y="37"/>
                  </a:lnTo>
                  <a:close/>
                  <a:moveTo>
                    <a:pt x="64" y="273"/>
                  </a:moveTo>
                  <a:cubicBezTo>
                    <a:pt x="64" y="270"/>
                    <a:pt x="62" y="270"/>
                    <a:pt x="59" y="270"/>
                  </a:cubicBezTo>
                  <a:lnTo>
                    <a:pt x="59" y="276"/>
                  </a:lnTo>
                  <a:cubicBezTo>
                    <a:pt x="62" y="273"/>
                    <a:pt x="62" y="273"/>
                    <a:pt x="64" y="273"/>
                  </a:cubicBezTo>
                  <a:close/>
                  <a:moveTo>
                    <a:pt x="64" y="324"/>
                  </a:moveTo>
                  <a:cubicBezTo>
                    <a:pt x="64" y="321"/>
                    <a:pt x="67" y="321"/>
                    <a:pt x="67" y="321"/>
                  </a:cubicBezTo>
                  <a:lnTo>
                    <a:pt x="62" y="321"/>
                  </a:lnTo>
                  <a:lnTo>
                    <a:pt x="62" y="326"/>
                  </a:lnTo>
                  <a:cubicBezTo>
                    <a:pt x="62" y="329"/>
                    <a:pt x="64" y="329"/>
                    <a:pt x="67" y="329"/>
                  </a:cubicBezTo>
                  <a:lnTo>
                    <a:pt x="64" y="326"/>
                  </a:lnTo>
                  <a:lnTo>
                    <a:pt x="64" y="324"/>
                  </a:lnTo>
                  <a:close/>
                  <a:moveTo>
                    <a:pt x="62" y="363"/>
                  </a:moveTo>
                  <a:cubicBezTo>
                    <a:pt x="64" y="363"/>
                    <a:pt x="64" y="366"/>
                    <a:pt x="67" y="366"/>
                  </a:cubicBezTo>
                  <a:cubicBezTo>
                    <a:pt x="67" y="360"/>
                    <a:pt x="67" y="360"/>
                    <a:pt x="62" y="363"/>
                  </a:cubicBezTo>
                  <a:close/>
                  <a:moveTo>
                    <a:pt x="64" y="335"/>
                  </a:moveTo>
                  <a:cubicBezTo>
                    <a:pt x="64" y="338"/>
                    <a:pt x="67" y="338"/>
                    <a:pt x="67" y="340"/>
                  </a:cubicBezTo>
                  <a:lnTo>
                    <a:pt x="67" y="335"/>
                  </a:lnTo>
                  <a:lnTo>
                    <a:pt x="64" y="335"/>
                  </a:lnTo>
                  <a:close/>
                  <a:moveTo>
                    <a:pt x="67" y="357"/>
                  </a:moveTo>
                  <a:cubicBezTo>
                    <a:pt x="70" y="355"/>
                    <a:pt x="73" y="355"/>
                    <a:pt x="73" y="352"/>
                  </a:cubicBezTo>
                  <a:cubicBezTo>
                    <a:pt x="73" y="352"/>
                    <a:pt x="73" y="355"/>
                    <a:pt x="76" y="355"/>
                  </a:cubicBezTo>
                  <a:lnTo>
                    <a:pt x="79" y="355"/>
                  </a:lnTo>
                  <a:lnTo>
                    <a:pt x="76" y="349"/>
                  </a:lnTo>
                  <a:lnTo>
                    <a:pt x="76" y="346"/>
                  </a:lnTo>
                  <a:lnTo>
                    <a:pt x="76" y="343"/>
                  </a:lnTo>
                  <a:lnTo>
                    <a:pt x="73" y="346"/>
                  </a:lnTo>
                  <a:lnTo>
                    <a:pt x="70" y="346"/>
                  </a:lnTo>
                  <a:cubicBezTo>
                    <a:pt x="73" y="343"/>
                    <a:pt x="73" y="340"/>
                    <a:pt x="73" y="338"/>
                  </a:cubicBezTo>
                  <a:cubicBezTo>
                    <a:pt x="67" y="340"/>
                    <a:pt x="64" y="343"/>
                    <a:pt x="64" y="346"/>
                  </a:cubicBezTo>
                  <a:cubicBezTo>
                    <a:pt x="67" y="349"/>
                    <a:pt x="67" y="355"/>
                    <a:pt x="67" y="357"/>
                  </a:cubicBezTo>
                  <a:close/>
                  <a:moveTo>
                    <a:pt x="73" y="377"/>
                  </a:moveTo>
                  <a:cubicBezTo>
                    <a:pt x="70" y="377"/>
                    <a:pt x="70" y="377"/>
                    <a:pt x="67" y="380"/>
                  </a:cubicBezTo>
                  <a:cubicBezTo>
                    <a:pt x="70" y="380"/>
                    <a:pt x="73" y="380"/>
                    <a:pt x="73" y="377"/>
                  </a:cubicBezTo>
                  <a:close/>
                  <a:moveTo>
                    <a:pt x="70" y="307"/>
                  </a:moveTo>
                  <a:lnTo>
                    <a:pt x="67" y="309"/>
                  </a:lnTo>
                  <a:cubicBezTo>
                    <a:pt x="70" y="309"/>
                    <a:pt x="70" y="309"/>
                    <a:pt x="70" y="307"/>
                  </a:cubicBezTo>
                  <a:close/>
                  <a:moveTo>
                    <a:pt x="70" y="307"/>
                  </a:moveTo>
                  <a:cubicBezTo>
                    <a:pt x="70" y="309"/>
                    <a:pt x="67" y="309"/>
                    <a:pt x="70" y="307"/>
                  </a:cubicBezTo>
                  <a:close/>
                  <a:moveTo>
                    <a:pt x="76" y="374"/>
                  </a:moveTo>
                  <a:lnTo>
                    <a:pt x="73" y="366"/>
                  </a:lnTo>
                  <a:lnTo>
                    <a:pt x="73" y="363"/>
                  </a:lnTo>
                  <a:lnTo>
                    <a:pt x="70" y="363"/>
                  </a:lnTo>
                  <a:lnTo>
                    <a:pt x="70" y="371"/>
                  </a:lnTo>
                  <a:cubicBezTo>
                    <a:pt x="70" y="371"/>
                    <a:pt x="73" y="371"/>
                    <a:pt x="76" y="374"/>
                  </a:cubicBezTo>
                  <a:close/>
                  <a:moveTo>
                    <a:pt x="81" y="397"/>
                  </a:moveTo>
                  <a:lnTo>
                    <a:pt x="76" y="388"/>
                  </a:lnTo>
                  <a:lnTo>
                    <a:pt x="76" y="383"/>
                  </a:lnTo>
                  <a:cubicBezTo>
                    <a:pt x="67" y="388"/>
                    <a:pt x="73" y="394"/>
                    <a:pt x="76" y="397"/>
                  </a:cubicBezTo>
                  <a:cubicBezTo>
                    <a:pt x="76" y="400"/>
                    <a:pt x="76" y="400"/>
                    <a:pt x="73" y="403"/>
                  </a:cubicBezTo>
                  <a:cubicBezTo>
                    <a:pt x="76" y="400"/>
                    <a:pt x="79" y="400"/>
                    <a:pt x="81" y="397"/>
                  </a:cubicBezTo>
                  <a:close/>
                  <a:moveTo>
                    <a:pt x="76" y="371"/>
                  </a:moveTo>
                  <a:lnTo>
                    <a:pt x="81" y="377"/>
                  </a:lnTo>
                  <a:lnTo>
                    <a:pt x="81" y="371"/>
                  </a:lnTo>
                  <a:lnTo>
                    <a:pt x="76" y="371"/>
                  </a:lnTo>
                  <a:close/>
                  <a:moveTo>
                    <a:pt x="81" y="383"/>
                  </a:moveTo>
                  <a:cubicBezTo>
                    <a:pt x="87" y="386"/>
                    <a:pt x="87" y="383"/>
                    <a:pt x="87" y="380"/>
                  </a:cubicBezTo>
                  <a:cubicBezTo>
                    <a:pt x="84" y="380"/>
                    <a:pt x="81" y="380"/>
                    <a:pt x="81" y="383"/>
                  </a:cubicBezTo>
                  <a:close/>
                  <a:moveTo>
                    <a:pt x="81" y="34"/>
                  </a:moveTo>
                  <a:cubicBezTo>
                    <a:pt x="81" y="34"/>
                    <a:pt x="84" y="34"/>
                    <a:pt x="81" y="34"/>
                  </a:cubicBezTo>
                  <a:lnTo>
                    <a:pt x="87" y="31"/>
                  </a:lnTo>
                  <a:lnTo>
                    <a:pt x="84" y="28"/>
                  </a:lnTo>
                  <a:lnTo>
                    <a:pt x="81" y="26"/>
                  </a:lnTo>
                  <a:lnTo>
                    <a:pt x="81" y="34"/>
                  </a:lnTo>
                  <a:close/>
                  <a:moveTo>
                    <a:pt x="87" y="400"/>
                  </a:moveTo>
                  <a:cubicBezTo>
                    <a:pt x="84" y="400"/>
                    <a:pt x="84" y="397"/>
                    <a:pt x="84" y="397"/>
                  </a:cubicBezTo>
                  <a:lnTo>
                    <a:pt x="84" y="403"/>
                  </a:lnTo>
                  <a:cubicBezTo>
                    <a:pt x="84" y="400"/>
                    <a:pt x="84" y="400"/>
                    <a:pt x="87" y="400"/>
                  </a:cubicBezTo>
                  <a:close/>
                  <a:moveTo>
                    <a:pt x="87" y="411"/>
                  </a:moveTo>
                  <a:cubicBezTo>
                    <a:pt x="90" y="411"/>
                    <a:pt x="90" y="408"/>
                    <a:pt x="90" y="405"/>
                  </a:cubicBezTo>
                  <a:lnTo>
                    <a:pt x="84" y="405"/>
                  </a:lnTo>
                  <a:lnTo>
                    <a:pt x="87" y="411"/>
                  </a:lnTo>
                  <a:close/>
                  <a:moveTo>
                    <a:pt x="95" y="445"/>
                  </a:moveTo>
                  <a:cubicBezTo>
                    <a:pt x="93" y="442"/>
                    <a:pt x="93" y="439"/>
                    <a:pt x="87" y="439"/>
                  </a:cubicBezTo>
                  <a:cubicBezTo>
                    <a:pt x="87" y="442"/>
                    <a:pt x="90" y="445"/>
                    <a:pt x="93" y="445"/>
                  </a:cubicBezTo>
                  <a:lnTo>
                    <a:pt x="95" y="445"/>
                  </a:lnTo>
                  <a:close/>
                  <a:moveTo>
                    <a:pt x="90" y="417"/>
                  </a:moveTo>
                  <a:lnTo>
                    <a:pt x="87" y="419"/>
                  </a:lnTo>
                  <a:cubicBezTo>
                    <a:pt x="90" y="419"/>
                    <a:pt x="90" y="419"/>
                    <a:pt x="90" y="417"/>
                  </a:cubicBezTo>
                  <a:close/>
                  <a:moveTo>
                    <a:pt x="90" y="40"/>
                  </a:moveTo>
                  <a:lnTo>
                    <a:pt x="95" y="37"/>
                  </a:lnTo>
                  <a:lnTo>
                    <a:pt x="90" y="31"/>
                  </a:lnTo>
                  <a:lnTo>
                    <a:pt x="90" y="40"/>
                  </a:lnTo>
                  <a:close/>
                  <a:moveTo>
                    <a:pt x="95" y="428"/>
                  </a:moveTo>
                  <a:cubicBezTo>
                    <a:pt x="98" y="428"/>
                    <a:pt x="98" y="425"/>
                    <a:pt x="98" y="425"/>
                  </a:cubicBezTo>
                  <a:lnTo>
                    <a:pt x="93" y="419"/>
                  </a:lnTo>
                  <a:cubicBezTo>
                    <a:pt x="93" y="425"/>
                    <a:pt x="93" y="428"/>
                    <a:pt x="95" y="428"/>
                  </a:cubicBezTo>
                  <a:close/>
                  <a:moveTo>
                    <a:pt x="95" y="45"/>
                  </a:moveTo>
                  <a:lnTo>
                    <a:pt x="101" y="42"/>
                  </a:lnTo>
                  <a:lnTo>
                    <a:pt x="98" y="42"/>
                  </a:lnTo>
                  <a:lnTo>
                    <a:pt x="95" y="45"/>
                  </a:lnTo>
                  <a:close/>
                  <a:moveTo>
                    <a:pt x="104" y="434"/>
                  </a:moveTo>
                  <a:cubicBezTo>
                    <a:pt x="104" y="434"/>
                    <a:pt x="107" y="431"/>
                    <a:pt x="104" y="428"/>
                  </a:cubicBezTo>
                  <a:lnTo>
                    <a:pt x="101" y="428"/>
                  </a:lnTo>
                  <a:cubicBezTo>
                    <a:pt x="98" y="428"/>
                    <a:pt x="98" y="428"/>
                    <a:pt x="95" y="431"/>
                  </a:cubicBezTo>
                  <a:lnTo>
                    <a:pt x="95" y="434"/>
                  </a:lnTo>
                  <a:cubicBezTo>
                    <a:pt x="95" y="436"/>
                    <a:pt x="95" y="436"/>
                    <a:pt x="98" y="439"/>
                  </a:cubicBezTo>
                  <a:lnTo>
                    <a:pt x="104" y="434"/>
                  </a:lnTo>
                  <a:close/>
                  <a:moveTo>
                    <a:pt x="101" y="445"/>
                  </a:moveTo>
                  <a:lnTo>
                    <a:pt x="101" y="442"/>
                  </a:lnTo>
                  <a:cubicBezTo>
                    <a:pt x="98" y="442"/>
                    <a:pt x="98" y="442"/>
                    <a:pt x="101" y="445"/>
                  </a:cubicBezTo>
                  <a:close/>
                  <a:moveTo>
                    <a:pt x="101" y="62"/>
                  </a:moveTo>
                  <a:lnTo>
                    <a:pt x="104" y="59"/>
                  </a:lnTo>
                  <a:cubicBezTo>
                    <a:pt x="104" y="59"/>
                    <a:pt x="101" y="59"/>
                    <a:pt x="101" y="62"/>
                  </a:cubicBezTo>
                  <a:close/>
                  <a:moveTo>
                    <a:pt x="101" y="48"/>
                  </a:moveTo>
                  <a:cubicBezTo>
                    <a:pt x="101" y="51"/>
                    <a:pt x="104" y="48"/>
                    <a:pt x="101" y="48"/>
                  </a:cubicBezTo>
                  <a:close/>
                  <a:moveTo>
                    <a:pt x="107" y="51"/>
                  </a:moveTo>
                  <a:cubicBezTo>
                    <a:pt x="107" y="54"/>
                    <a:pt x="104" y="54"/>
                    <a:pt x="104" y="57"/>
                  </a:cubicBezTo>
                  <a:lnTo>
                    <a:pt x="112" y="57"/>
                  </a:lnTo>
                  <a:cubicBezTo>
                    <a:pt x="110" y="54"/>
                    <a:pt x="107" y="54"/>
                    <a:pt x="107" y="51"/>
                  </a:cubicBezTo>
                  <a:close/>
                  <a:moveTo>
                    <a:pt x="107" y="442"/>
                  </a:moveTo>
                  <a:cubicBezTo>
                    <a:pt x="107" y="439"/>
                    <a:pt x="110" y="439"/>
                    <a:pt x="110" y="436"/>
                  </a:cubicBezTo>
                  <a:cubicBezTo>
                    <a:pt x="104" y="436"/>
                    <a:pt x="104" y="436"/>
                    <a:pt x="107" y="442"/>
                  </a:cubicBezTo>
                  <a:close/>
                  <a:moveTo>
                    <a:pt x="110" y="82"/>
                  </a:moveTo>
                  <a:lnTo>
                    <a:pt x="104" y="82"/>
                  </a:lnTo>
                  <a:lnTo>
                    <a:pt x="104" y="85"/>
                  </a:lnTo>
                  <a:lnTo>
                    <a:pt x="110" y="82"/>
                  </a:lnTo>
                  <a:close/>
                  <a:moveTo>
                    <a:pt x="110" y="450"/>
                  </a:moveTo>
                  <a:lnTo>
                    <a:pt x="107" y="450"/>
                  </a:lnTo>
                  <a:lnTo>
                    <a:pt x="110" y="456"/>
                  </a:lnTo>
                  <a:lnTo>
                    <a:pt x="110" y="453"/>
                  </a:lnTo>
                  <a:lnTo>
                    <a:pt x="110" y="450"/>
                  </a:lnTo>
                  <a:close/>
                  <a:moveTo>
                    <a:pt x="115" y="439"/>
                  </a:moveTo>
                  <a:cubicBezTo>
                    <a:pt x="118" y="439"/>
                    <a:pt x="118" y="439"/>
                    <a:pt x="118" y="442"/>
                  </a:cubicBezTo>
                  <a:lnTo>
                    <a:pt x="118" y="439"/>
                  </a:lnTo>
                  <a:lnTo>
                    <a:pt x="118" y="436"/>
                  </a:lnTo>
                  <a:cubicBezTo>
                    <a:pt x="115" y="436"/>
                    <a:pt x="112" y="436"/>
                    <a:pt x="112" y="434"/>
                  </a:cubicBezTo>
                  <a:cubicBezTo>
                    <a:pt x="112" y="439"/>
                    <a:pt x="115" y="439"/>
                    <a:pt x="115" y="439"/>
                  </a:cubicBezTo>
                  <a:close/>
                  <a:moveTo>
                    <a:pt x="146" y="445"/>
                  </a:moveTo>
                  <a:lnTo>
                    <a:pt x="143" y="442"/>
                  </a:lnTo>
                  <a:lnTo>
                    <a:pt x="141" y="439"/>
                  </a:lnTo>
                  <a:cubicBezTo>
                    <a:pt x="138" y="439"/>
                    <a:pt x="138" y="442"/>
                    <a:pt x="138" y="442"/>
                  </a:cubicBezTo>
                  <a:lnTo>
                    <a:pt x="132" y="439"/>
                  </a:lnTo>
                  <a:cubicBezTo>
                    <a:pt x="129" y="442"/>
                    <a:pt x="127" y="445"/>
                    <a:pt x="124" y="445"/>
                  </a:cubicBezTo>
                  <a:lnTo>
                    <a:pt x="121" y="445"/>
                  </a:lnTo>
                  <a:cubicBezTo>
                    <a:pt x="121" y="445"/>
                    <a:pt x="118" y="445"/>
                    <a:pt x="118" y="448"/>
                  </a:cubicBezTo>
                  <a:cubicBezTo>
                    <a:pt x="118" y="448"/>
                    <a:pt x="115" y="448"/>
                    <a:pt x="115" y="450"/>
                  </a:cubicBezTo>
                  <a:lnTo>
                    <a:pt x="115" y="453"/>
                  </a:lnTo>
                  <a:lnTo>
                    <a:pt x="118" y="450"/>
                  </a:lnTo>
                  <a:cubicBezTo>
                    <a:pt x="121" y="450"/>
                    <a:pt x="121" y="450"/>
                    <a:pt x="124" y="448"/>
                  </a:cubicBezTo>
                  <a:lnTo>
                    <a:pt x="127" y="448"/>
                  </a:lnTo>
                  <a:lnTo>
                    <a:pt x="127" y="456"/>
                  </a:lnTo>
                  <a:lnTo>
                    <a:pt x="129" y="450"/>
                  </a:lnTo>
                  <a:cubicBezTo>
                    <a:pt x="129" y="448"/>
                    <a:pt x="132" y="448"/>
                    <a:pt x="132" y="445"/>
                  </a:cubicBezTo>
                  <a:lnTo>
                    <a:pt x="132" y="448"/>
                  </a:lnTo>
                  <a:lnTo>
                    <a:pt x="132" y="450"/>
                  </a:lnTo>
                  <a:lnTo>
                    <a:pt x="135" y="448"/>
                  </a:lnTo>
                  <a:cubicBezTo>
                    <a:pt x="143" y="448"/>
                    <a:pt x="143" y="445"/>
                    <a:pt x="146" y="445"/>
                  </a:cubicBezTo>
                  <a:close/>
                  <a:moveTo>
                    <a:pt x="135" y="434"/>
                  </a:moveTo>
                  <a:cubicBezTo>
                    <a:pt x="135" y="431"/>
                    <a:pt x="132" y="431"/>
                    <a:pt x="132" y="428"/>
                  </a:cubicBezTo>
                  <a:cubicBezTo>
                    <a:pt x="129" y="436"/>
                    <a:pt x="132" y="434"/>
                    <a:pt x="135" y="434"/>
                  </a:cubicBezTo>
                  <a:close/>
                  <a:moveTo>
                    <a:pt x="152" y="425"/>
                  </a:moveTo>
                  <a:cubicBezTo>
                    <a:pt x="149" y="425"/>
                    <a:pt x="146" y="425"/>
                    <a:pt x="146" y="428"/>
                  </a:cubicBezTo>
                  <a:lnTo>
                    <a:pt x="143" y="434"/>
                  </a:lnTo>
                  <a:cubicBezTo>
                    <a:pt x="146" y="434"/>
                    <a:pt x="146" y="431"/>
                    <a:pt x="149" y="428"/>
                  </a:cubicBezTo>
                  <a:cubicBezTo>
                    <a:pt x="149" y="428"/>
                    <a:pt x="149" y="425"/>
                    <a:pt x="152" y="425"/>
                  </a:cubicBezTo>
                  <a:close/>
                  <a:moveTo>
                    <a:pt x="152" y="439"/>
                  </a:moveTo>
                  <a:lnTo>
                    <a:pt x="149" y="439"/>
                  </a:lnTo>
                  <a:lnTo>
                    <a:pt x="149" y="442"/>
                  </a:lnTo>
                  <a:lnTo>
                    <a:pt x="149" y="445"/>
                  </a:lnTo>
                  <a:lnTo>
                    <a:pt x="152" y="445"/>
                  </a:lnTo>
                  <a:lnTo>
                    <a:pt x="152" y="439"/>
                  </a:lnTo>
                  <a:close/>
                  <a:moveTo>
                    <a:pt x="152" y="355"/>
                  </a:moveTo>
                  <a:lnTo>
                    <a:pt x="155" y="355"/>
                  </a:lnTo>
                  <a:lnTo>
                    <a:pt x="155" y="352"/>
                  </a:lnTo>
                  <a:cubicBezTo>
                    <a:pt x="152" y="352"/>
                    <a:pt x="152" y="352"/>
                    <a:pt x="152" y="355"/>
                  </a:cubicBezTo>
                  <a:close/>
                  <a:moveTo>
                    <a:pt x="155" y="343"/>
                  </a:moveTo>
                  <a:lnTo>
                    <a:pt x="155" y="340"/>
                  </a:lnTo>
                  <a:cubicBezTo>
                    <a:pt x="152" y="340"/>
                    <a:pt x="152" y="343"/>
                    <a:pt x="155" y="343"/>
                  </a:cubicBezTo>
                  <a:close/>
                  <a:moveTo>
                    <a:pt x="152" y="391"/>
                  </a:moveTo>
                  <a:lnTo>
                    <a:pt x="158" y="391"/>
                  </a:lnTo>
                  <a:lnTo>
                    <a:pt x="160" y="394"/>
                  </a:lnTo>
                  <a:lnTo>
                    <a:pt x="160" y="391"/>
                  </a:lnTo>
                  <a:lnTo>
                    <a:pt x="160" y="388"/>
                  </a:lnTo>
                  <a:lnTo>
                    <a:pt x="158" y="388"/>
                  </a:lnTo>
                  <a:cubicBezTo>
                    <a:pt x="155" y="388"/>
                    <a:pt x="155" y="391"/>
                    <a:pt x="152" y="391"/>
                  </a:cubicBezTo>
                  <a:close/>
                  <a:moveTo>
                    <a:pt x="160" y="434"/>
                  </a:moveTo>
                  <a:cubicBezTo>
                    <a:pt x="158" y="434"/>
                    <a:pt x="158" y="431"/>
                    <a:pt x="158" y="431"/>
                  </a:cubicBezTo>
                  <a:lnTo>
                    <a:pt x="158" y="425"/>
                  </a:lnTo>
                  <a:lnTo>
                    <a:pt x="155" y="425"/>
                  </a:lnTo>
                  <a:lnTo>
                    <a:pt x="158" y="434"/>
                  </a:lnTo>
                  <a:cubicBezTo>
                    <a:pt x="155" y="434"/>
                    <a:pt x="158" y="434"/>
                    <a:pt x="160" y="434"/>
                  </a:cubicBezTo>
                  <a:close/>
                  <a:moveTo>
                    <a:pt x="160" y="408"/>
                  </a:moveTo>
                  <a:cubicBezTo>
                    <a:pt x="158" y="408"/>
                    <a:pt x="158" y="408"/>
                    <a:pt x="155" y="405"/>
                  </a:cubicBezTo>
                  <a:lnTo>
                    <a:pt x="152" y="408"/>
                  </a:lnTo>
                  <a:lnTo>
                    <a:pt x="152" y="411"/>
                  </a:lnTo>
                  <a:lnTo>
                    <a:pt x="155" y="411"/>
                  </a:lnTo>
                  <a:cubicBezTo>
                    <a:pt x="160" y="411"/>
                    <a:pt x="160" y="411"/>
                    <a:pt x="160" y="408"/>
                  </a:cubicBezTo>
                  <a:close/>
                  <a:moveTo>
                    <a:pt x="163" y="366"/>
                  </a:moveTo>
                  <a:cubicBezTo>
                    <a:pt x="160" y="366"/>
                    <a:pt x="160" y="366"/>
                    <a:pt x="158" y="363"/>
                  </a:cubicBezTo>
                  <a:lnTo>
                    <a:pt x="158" y="366"/>
                  </a:lnTo>
                  <a:lnTo>
                    <a:pt x="163" y="366"/>
                  </a:lnTo>
                  <a:close/>
                  <a:moveTo>
                    <a:pt x="160" y="377"/>
                  </a:moveTo>
                  <a:cubicBezTo>
                    <a:pt x="162" y="377"/>
                    <a:pt x="163" y="377"/>
                    <a:pt x="163" y="374"/>
                  </a:cubicBezTo>
                  <a:cubicBezTo>
                    <a:pt x="163" y="374"/>
                    <a:pt x="157" y="377"/>
                    <a:pt x="160" y="377"/>
                  </a:cubicBezTo>
                  <a:close/>
                  <a:moveTo>
                    <a:pt x="163" y="360"/>
                  </a:moveTo>
                  <a:lnTo>
                    <a:pt x="160" y="355"/>
                  </a:lnTo>
                  <a:lnTo>
                    <a:pt x="160" y="357"/>
                  </a:lnTo>
                  <a:lnTo>
                    <a:pt x="163" y="360"/>
                  </a:lnTo>
                  <a:close/>
                  <a:moveTo>
                    <a:pt x="172" y="411"/>
                  </a:moveTo>
                  <a:lnTo>
                    <a:pt x="172" y="408"/>
                  </a:lnTo>
                  <a:lnTo>
                    <a:pt x="169" y="408"/>
                  </a:lnTo>
                  <a:cubicBezTo>
                    <a:pt x="172" y="405"/>
                    <a:pt x="169" y="405"/>
                    <a:pt x="166" y="405"/>
                  </a:cubicBezTo>
                  <a:lnTo>
                    <a:pt x="163" y="405"/>
                  </a:lnTo>
                  <a:lnTo>
                    <a:pt x="163" y="411"/>
                  </a:lnTo>
                  <a:lnTo>
                    <a:pt x="169" y="411"/>
                  </a:lnTo>
                  <a:lnTo>
                    <a:pt x="169" y="417"/>
                  </a:lnTo>
                  <a:cubicBezTo>
                    <a:pt x="169" y="411"/>
                    <a:pt x="172" y="411"/>
                    <a:pt x="172" y="411"/>
                  </a:cubicBezTo>
                  <a:close/>
                  <a:moveTo>
                    <a:pt x="163" y="394"/>
                  </a:moveTo>
                  <a:cubicBezTo>
                    <a:pt x="166" y="394"/>
                    <a:pt x="166" y="394"/>
                    <a:pt x="169" y="397"/>
                  </a:cubicBezTo>
                  <a:cubicBezTo>
                    <a:pt x="169" y="394"/>
                    <a:pt x="169" y="394"/>
                    <a:pt x="163" y="39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28" name="Freeform 1455"/>
            <p:cNvSpPr>
              <a:spLocks noChangeArrowheads="1"/>
            </p:cNvSpPr>
            <p:nvPr/>
          </p:nvSpPr>
          <p:spPr bwMode="auto">
            <a:xfrm>
              <a:off x="3886200" y="2493963"/>
              <a:ext cx="74613" cy="174625"/>
            </a:xfrm>
            <a:custGeom>
              <a:avLst/>
              <a:gdLst>
                <a:gd name="T0" fmla="*/ 189 w 207"/>
                <a:gd name="T1" fmla="*/ 453 h 485"/>
                <a:gd name="T2" fmla="*/ 62 w 207"/>
                <a:gd name="T3" fmla="*/ 427 h 485"/>
                <a:gd name="T4" fmla="*/ 45 w 207"/>
                <a:gd name="T5" fmla="*/ 332 h 485"/>
                <a:gd name="T6" fmla="*/ 17 w 207"/>
                <a:gd name="T7" fmla="*/ 197 h 485"/>
                <a:gd name="T8" fmla="*/ 25 w 207"/>
                <a:gd name="T9" fmla="*/ 14 h 485"/>
                <a:gd name="T10" fmla="*/ 129 w 207"/>
                <a:gd name="T11" fmla="*/ 56 h 485"/>
                <a:gd name="T12" fmla="*/ 135 w 207"/>
                <a:gd name="T13" fmla="*/ 112 h 485"/>
                <a:gd name="T14" fmla="*/ 158 w 207"/>
                <a:gd name="T15" fmla="*/ 194 h 485"/>
                <a:gd name="T16" fmla="*/ 180 w 207"/>
                <a:gd name="T17" fmla="*/ 315 h 485"/>
                <a:gd name="T18" fmla="*/ 36 w 207"/>
                <a:gd name="T19" fmla="*/ 67 h 485"/>
                <a:gd name="T20" fmla="*/ 39 w 207"/>
                <a:gd name="T21" fmla="*/ 56 h 485"/>
                <a:gd name="T22" fmla="*/ 42 w 207"/>
                <a:gd name="T23" fmla="*/ 132 h 485"/>
                <a:gd name="T24" fmla="*/ 42 w 207"/>
                <a:gd name="T25" fmla="*/ 39 h 485"/>
                <a:gd name="T26" fmla="*/ 48 w 207"/>
                <a:gd name="T27" fmla="*/ 214 h 485"/>
                <a:gd name="T28" fmla="*/ 135 w 207"/>
                <a:gd name="T29" fmla="*/ 348 h 485"/>
                <a:gd name="T30" fmla="*/ 121 w 207"/>
                <a:gd name="T31" fmla="*/ 250 h 485"/>
                <a:gd name="T32" fmla="*/ 98 w 207"/>
                <a:gd name="T33" fmla="*/ 155 h 485"/>
                <a:gd name="T34" fmla="*/ 65 w 207"/>
                <a:gd name="T35" fmla="*/ 70 h 485"/>
                <a:gd name="T36" fmla="*/ 79 w 207"/>
                <a:gd name="T37" fmla="*/ 222 h 485"/>
                <a:gd name="T38" fmla="*/ 98 w 207"/>
                <a:gd name="T39" fmla="*/ 309 h 485"/>
                <a:gd name="T40" fmla="*/ 56 w 207"/>
                <a:gd name="T41" fmla="*/ 258 h 485"/>
                <a:gd name="T42" fmla="*/ 62 w 207"/>
                <a:gd name="T43" fmla="*/ 255 h 485"/>
                <a:gd name="T44" fmla="*/ 65 w 207"/>
                <a:gd name="T45" fmla="*/ 28 h 485"/>
                <a:gd name="T46" fmla="*/ 67 w 207"/>
                <a:gd name="T47" fmla="*/ 309 h 485"/>
                <a:gd name="T48" fmla="*/ 70 w 207"/>
                <a:gd name="T49" fmla="*/ 365 h 485"/>
                <a:gd name="T50" fmla="*/ 76 w 207"/>
                <a:gd name="T51" fmla="*/ 42 h 485"/>
                <a:gd name="T52" fmla="*/ 73 w 207"/>
                <a:gd name="T53" fmla="*/ 396 h 485"/>
                <a:gd name="T54" fmla="*/ 84 w 207"/>
                <a:gd name="T55" fmla="*/ 357 h 485"/>
                <a:gd name="T56" fmla="*/ 88 w 207"/>
                <a:gd name="T57" fmla="*/ 51 h 485"/>
                <a:gd name="T58" fmla="*/ 104 w 207"/>
                <a:gd name="T59" fmla="*/ 42 h 485"/>
                <a:gd name="T60" fmla="*/ 90 w 207"/>
                <a:gd name="T61" fmla="*/ 410 h 485"/>
                <a:gd name="T62" fmla="*/ 104 w 207"/>
                <a:gd name="T63" fmla="*/ 442 h 485"/>
                <a:gd name="T64" fmla="*/ 113 w 207"/>
                <a:gd name="T65" fmla="*/ 76 h 485"/>
                <a:gd name="T66" fmla="*/ 121 w 207"/>
                <a:gd name="T67" fmla="*/ 79 h 485"/>
                <a:gd name="T68" fmla="*/ 118 w 207"/>
                <a:gd name="T69" fmla="*/ 107 h 485"/>
                <a:gd name="T70" fmla="*/ 124 w 207"/>
                <a:gd name="T71" fmla="*/ 141 h 485"/>
                <a:gd name="T72" fmla="*/ 132 w 207"/>
                <a:gd name="T73" fmla="*/ 160 h 485"/>
                <a:gd name="T74" fmla="*/ 121 w 207"/>
                <a:gd name="T75" fmla="*/ 456 h 485"/>
                <a:gd name="T76" fmla="*/ 124 w 207"/>
                <a:gd name="T77" fmla="*/ 144 h 485"/>
                <a:gd name="T78" fmla="*/ 129 w 207"/>
                <a:gd name="T79" fmla="*/ 107 h 485"/>
                <a:gd name="T80" fmla="*/ 135 w 207"/>
                <a:gd name="T81" fmla="*/ 169 h 485"/>
                <a:gd name="T82" fmla="*/ 135 w 207"/>
                <a:gd name="T83" fmla="*/ 152 h 485"/>
                <a:gd name="T84" fmla="*/ 149 w 207"/>
                <a:gd name="T85" fmla="*/ 224 h 485"/>
                <a:gd name="T86" fmla="*/ 138 w 207"/>
                <a:gd name="T87" fmla="*/ 191 h 485"/>
                <a:gd name="T88" fmla="*/ 141 w 207"/>
                <a:gd name="T89" fmla="*/ 450 h 485"/>
                <a:gd name="T90" fmla="*/ 155 w 207"/>
                <a:gd name="T91" fmla="*/ 272 h 485"/>
                <a:gd name="T92" fmla="*/ 146 w 207"/>
                <a:gd name="T93" fmla="*/ 250 h 485"/>
                <a:gd name="T94" fmla="*/ 163 w 207"/>
                <a:gd name="T95" fmla="*/ 298 h 485"/>
                <a:gd name="T96" fmla="*/ 161 w 207"/>
                <a:gd name="T97" fmla="*/ 433 h 485"/>
                <a:gd name="T98" fmla="*/ 166 w 207"/>
                <a:gd name="T99" fmla="*/ 295 h 485"/>
                <a:gd name="T100" fmla="*/ 158 w 207"/>
                <a:gd name="T101" fmla="*/ 332 h 485"/>
                <a:gd name="T102" fmla="*/ 161 w 207"/>
                <a:gd name="T103" fmla="*/ 326 h 485"/>
                <a:gd name="T104" fmla="*/ 161 w 207"/>
                <a:gd name="T105" fmla="*/ 334 h 485"/>
                <a:gd name="T106" fmla="*/ 161 w 207"/>
                <a:gd name="T107" fmla="*/ 368 h 485"/>
                <a:gd name="T108" fmla="*/ 177 w 207"/>
                <a:gd name="T109" fmla="*/ 379 h 485"/>
                <a:gd name="T110" fmla="*/ 166 w 207"/>
                <a:gd name="T111" fmla="*/ 413 h 485"/>
                <a:gd name="T112" fmla="*/ 169 w 207"/>
                <a:gd name="T113" fmla="*/ 315 h 485"/>
                <a:gd name="T114" fmla="*/ 175 w 207"/>
                <a:gd name="T115" fmla="*/ 399 h 485"/>
                <a:gd name="T116" fmla="*/ 175 w 207"/>
                <a:gd name="T117" fmla="*/ 3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7" h="485">
                  <a:moveTo>
                    <a:pt x="197" y="343"/>
                  </a:moveTo>
                  <a:cubicBezTo>
                    <a:pt x="197" y="351"/>
                    <a:pt x="200" y="357"/>
                    <a:pt x="200" y="365"/>
                  </a:cubicBezTo>
                  <a:lnTo>
                    <a:pt x="200" y="371"/>
                  </a:lnTo>
                  <a:lnTo>
                    <a:pt x="200" y="382"/>
                  </a:lnTo>
                  <a:lnTo>
                    <a:pt x="200" y="388"/>
                  </a:lnTo>
                  <a:cubicBezTo>
                    <a:pt x="206" y="394"/>
                    <a:pt x="203" y="396"/>
                    <a:pt x="200" y="402"/>
                  </a:cubicBezTo>
                  <a:lnTo>
                    <a:pt x="200" y="416"/>
                  </a:lnTo>
                  <a:lnTo>
                    <a:pt x="200" y="430"/>
                  </a:lnTo>
                  <a:lnTo>
                    <a:pt x="200" y="436"/>
                  </a:lnTo>
                  <a:cubicBezTo>
                    <a:pt x="200" y="439"/>
                    <a:pt x="197" y="439"/>
                    <a:pt x="197" y="442"/>
                  </a:cubicBezTo>
                  <a:cubicBezTo>
                    <a:pt x="194" y="444"/>
                    <a:pt x="192" y="450"/>
                    <a:pt x="189" y="453"/>
                  </a:cubicBezTo>
                  <a:lnTo>
                    <a:pt x="180" y="464"/>
                  </a:lnTo>
                  <a:cubicBezTo>
                    <a:pt x="175" y="470"/>
                    <a:pt x="166" y="475"/>
                    <a:pt x="158" y="481"/>
                  </a:cubicBezTo>
                  <a:cubicBezTo>
                    <a:pt x="158" y="478"/>
                    <a:pt x="155" y="481"/>
                    <a:pt x="152" y="481"/>
                  </a:cubicBezTo>
                  <a:cubicBezTo>
                    <a:pt x="149" y="481"/>
                    <a:pt x="146" y="481"/>
                    <a:pt x="141" y="484"/>
                  </a:cubicBezTo>
                  <a:cubicBezTo>
                    <a:pt x="138" y="481"/>
                    <a:pt x="138" y="481"/>
                    <a:pt x="135" y="481"/>
                  </a:cubicBezTo>
                  <a:lnTo>
                    <a:pt x="129" y="481"/>
                  </a:lnTo>
                  <a:cubicBezTo>
                    <a:pt x="115" y="484"/>
                    <a:pt x="104" y="478"/>
                    <a:pt x="93" y="470"/>
                  </a:cubicBezTo>
                  <a:cubicBezTo>
                    <a:pt x="87" y="467"/>
                    <a:pt x="84" y="464"/>
                    <a:pt x="82" y="458"/>
                  </a:cubicBezTo>
                  <a:cubicBezTo>
                    <a:pt x="82" y="456"/>
                    <a:pt x="79" y="453"/>
                    <a:pt x="76" y="453"/>
                  </a:cubicBezTo>
                  <a:cubicBezTo>
                    <a:pt x="76" y="453"/>
                    <a:pt x="73" y="453"/>
                    <a:pt x="70" y="450"/>
                  </a:cubicBezTo>
                  <a:cubicBezTo>
                    <a:pt x="70" y="442"/>
                    <a:pt x="67" y="433"/>
                    <a:pt x="62" y="427"/>
                  </a:cubicBezTo>
                  <a:lnTo>
                    <a:pt x="62" y="422"/>
                  </a:lnTo>
                  <a:lnTo>
                    <a:pt x="62" y="419"/>
                  </a:lnTo>
                  <a:cubicBezTo>
                    <a:pt x="62" y="416"/>
                    <a:pt x="59" y="413"/>
                    <a:pt x="59" y="410"/>
                  </a:cubicBezTo>
                  <a:cubicBezTo>
                    <a:pt x="56" y="405"/>
                    <a:pt x="53" y="399"/>
                    <a:pt x="56" y="394"/>
                  </a:cubicBezTo>
                  <a:lnTo>
                    <a:pt x="56" y="385"/>
                  </a:lnTo>
                  <a:cubicBezTo>
                    <a:pt x="56" y="382"/>
                    <a:pt x="53" y="377"/>
                    <a:pt x="53" y="374"/>
                  </a:cubicBezTo>
                  <a:lnTo>
                    <a:pt x="48" y="368"/>
                  </a:lnTo>
                  <a:cubicBezTo>
                    <a:pt x="45" y="365"/>
                    <a:pt x="48" y="365"/>
                    <a:pt x="48" y="360"/>
                  </a:cubicBezTo>
                  <a:lnTo>
                    <a:pt x="48" y="354"/>
                  </a:lnTo>
                  <a:lnTo>
                    <a:pt x="48" y="346"/>
                  </a:lnTo>
                  <a:cubicBezTo>
                    <a:pt x="45" y="340"/>
                    <a:pt x="45" y="338"/>
                    <a:pt x="45" y="332"/>
                  </a:cubicBezTo>
                  <a:cubicBezTo>
                    <a:pt x="45" y="327"/>
                    <a:pt x="42" y="323"/>
                    <a:pt x="42" y="317"/>
                  </a:cubicBezTo>
                  <a:cubicBezTo>
                    <a:pt x="39" y="315"/>
                    <a:pt x="39" y="312"/>
                    <a:pt x="39" y="309"/>
                  </a:cubicBezTo>
                  <a:cubicBezTo>
                    <a:pt x="39" y="306"/>
                    <a:pt x="39" y="306"/>
                    <a:pt x="36" y="303"/>
                  </a:cubicBezTo>
                  <a:cubicBezTo>
                    <a:pt x="36" y="300"/>
                    <a:pt x="34" y="300"/>
                    <a:pt x="34" y="298"/>
                  </a:cubicBezTo>
                  <a:lnTo>
                    <a:pt x="34" y="292"/>
                  </a:lnTo>
                  <a:lnTo>
                    <a:pt x="31" y="269"/>
                  </a:lnTo>
                  <a:cubicBezTo>
                    <a:pt x="31" y="264"/>
                    <a:pt x="28" y="255"/>
                    <a:pt x="28" y="250"/>
                  </a:cubicBezTo>
                  <a:lnTo>
                    <a:pt x="28" y="241"/>
                  </a:lnTo>
                  <a:lnTo>
                    <a:pt x="25" y="224"/>
                  </a:lnTo>
                  <a:cubicBezTo>
                    <a:pt x="22" y="220"/>
                    <a:pt x="22" y="214"/>
                    <a:pt x="19" y="206"/>
                  </a:cubicBezTo>
                  <a:cubicBezTo>
                    <a:pt x="19" y="203"/>
                    <a:pt x="17" y="200"/>
                    <a:pt x="17" y="197"/>
                  </a:cubicBezTo>
                  <a:cubicBezTo>
                    <a:pt x="17" y="194"/>
                    <a:pt x="17" y="191"/>
                    <a:pt x="14" y="189"/>
                  </a:cubicBezTo>
                  <a:cubicBezTo>
                    <a:pt x="11" y="186"/>
                    <a:pt x="8" y="180"/>
                    <a:pt x="11" y="175"/>
                  </a:cubicBezTo>
                  <a:lnTo>
                    <a:pt x="11" y="160"/>
                  </a:lnTo>
                  <a:cubicBezTo>
                    <a:pt x="11" y="158"/>
                    <a:pt x="8" y="152"/>
                    <a:pt x="8" y="149"/>
                  </a:cubicBezTo>
                  <a:cubicBezTo>
                    <a:pt x="8" y="141"/>
                    <a:pt x="8" y="135"/>
                    <a:pt x="5" y="127"/>
                  </a:cubicBezTo>
                  <a:cubicBezTo>
                    <a:pt x="2" y="115"/>
                    <a:pt x="0" y="101"/>
                    <a:pt x="0" y="90"/>
                  </a:cubicBezTo>
                  <a:lnTo>
                    <a:pt x="0" y="65"/>
                  </a:lnTo>
                  <a:lnTo>
                    <a:pt x="0" y="56"/>
                  </a:lnTo>
                  <a:cubicBezTo>
                    <a:pt x="0" y="45"/>
                    <a:pt x="5" y="31"/>
                    <a:pt x="14" y="22"/>
                  </a:cubicBezTo>
                  <a:lnTo>
                    <a:pt x="22" y="14"/>
                  </a:lnTo>
                  <a:lnTo>
                    <a:pt x="25" y="14"/>
                  </a:lnTo>
                  <a:cubicBezTo>
                    <a:pt x="28" y="14"/>
                    <a:pt x="31" y="11"/>
                    <a:pt x="34" y="11"/>
                  </a:cubicBezTo>
                  <a:lnTo>
                    <a:pt x="42" y="8"/>
                  </a:lnTo>
                  <a:cubicBezTo>
                    <a:pt x="45" y="8"/>
                    <a:pt x="47" y="5"/>
                    <a:pt x="50" y="5"/>
                  </a:cubicBezTo>
                  <a:cubicBezTo>
                    <a:pt x="52" y="5"/>
                    <a:pt x="56" y="2"/>
                    <a:pt x="59" y="2"/>
                  </a:cubicBezTo>
                  <a:cubicBezTo>
                    <a:pt x="62" y="2"/>
                    <a:pt x="65" y="0"/>
                    <a:pt x="65" y="2"/>
                  </a:cubicBezTo>
                  <a:lnTo>
                    <a:pt x="82" y="5"/>
                  </a:lnTo>
                  <a:cubicBezTo>
                    <a:pt x="93" y="8"/>
                    <a:pt x="104" y="11"/>
                    <a:pt x="110" y="19"/>
                  </a:cubicBezTo>
                  <a:cubicBezTo>
                    <a:pt x="113" y="25"/>
                    <a:pt x="118" y="31"/>
                    <a:pt x="121" y="34"/>
                  </a:cubicBezTo>
                  <a:cubicBezTo>
                    <a:pt x="124" y="36"/>
                    <a:pt x="124" y="36"/>
                    <a:pt x="124" y="39"/>
                  </a:cubicBezTo>
                  <a:cubicBezTo>
                    <a:pt x="124" y="42"/>
                    <a:pt x="124" y="45"/>
                    <a:pt x="127" y="48"/>
                  </a:cubicBezTo>
                  <a:lnTo>
                    <a:pt x="129" y="56"/>
                  </a:lnTo>
                  <a:cubicBezTo>
                    <a:pt x="129" y="59"/>
                    <a:pt x="132" y="62"/>
                    <a:pt x="132" y="65"/>
                  </a:cubicBezTo>
                  <a:lnTo>
                    <a:pt x="132" y="70"/>
                  </a:lnTo>
                  <a:cubicBezTo>
                    <a:pt x="129" y="76"/>
                    <a:pt x="132" y="81"/>
                    <a:pt x="132" y="84"/>
                  </a:cubicBezTo>
                  <a:cubicBezTo>
                    <a:pt x="132" y="84"/>
                    <a:pt x="132" y="87"/>
                    <a:pt x="135" y="87"/>
                  </a:cubicBezTo>
                  <a:lnTo>
                    <a:pt x="135" y="93"/>
                  </a:lnTo>
                  <a:lnTo>
                    <a:pt x="135" y="96"/>
                  </a:lnTo>
                  <a:cubicBezTo>
                    <a:pt x="135" y="96"/>
                    <a:pt x="138" y="98"/>
                    <a:pt x="135" y="98"/>
                  </a:cubicBezTo>
                  <a:lnTo>
                    <a:pt x="135" y="101"/>
                  </a:lnTo>
                  <a:lnTo>
                    <a:pt x="135" y="107"/>
                  </a:lnTo>
                  <a:lnTo>
                    <a:pt x="135" y="110"/>
                  </a:lnTo>
                  <a:lnTo>
                    <a:pt x="135" y="112"/>
                  </a:lnTo>
                  <a:cubicBezTo>
                    <a:pt x="138" y="115"/>
                    <a:pt x="138" y="115"/>
                    <a:pt x="138" y="118"/>
                  </a:cubicBezTo>
                  <a:cubicBezTo>
                    <a:pt x="138" y="121"/>
                    <a:pt x="141" y="124"/>
                    <a:pt x="141" y="129"/>
                  </a:cubicBezTo>
                  <a:cubicBezTo>
                    <a:pt x="141" y="132"/>
                    <a:pt x="141" y="138"/>
                    <a:pt x="144" y="141"/>
                  </a:cubicBezTo>
                  <a:lnTo>
                    <a:pt x="144" y="144"/>
                  </a:lnTo>
                  <a:lnTo>
                    <a:pt x="144" y="146"/>
                  </a:lnTo>
                  <a:lnTo>
                    <a:pt x="146" y="149"/>
                  </a:lnTo>
                  <a:cubicBezTo>
                    <a:pt x="146" y="152"/>
                    <a:pt x="146" y="155"/>
                    <a:pt x="149" y="158"/>
                  </a:cubicBezTo>
                  <a:lnTo>
                    <a:pt x="149" y="169"/>
                  </a:lnTo>
                  <a:cubicBezTo>
                    <a:pt x="149" y="169"/>
                    <a:pt x="149" y="172"/>
                    <a:pt x="152" y="175"/>
                  </a:cubicBezTo>
                  <a:cubicBezTo>
                    <a:pt x="155" y="180"/>
                    <a:pt x="155" y="186"/>
                    <a:pt x="155" y="191"/>
                  </a:cubicBezTo>
                  <a:lnTo>
                    <a:pt x="158" y="194"/>
                  </a:lnTo>
                  <a:lnTo>
                    <a:pt x="158" y="200"/>
                  </a:lnTo>
                  <a:lnTo>
                    <a:pt x="161" y="220"/>
                  </a:lnTo>
                  <a:lnTo>
                    <a:pt x="161" y="224"/>
                  </a:lnTo>
                  <a:lnTo>
                    <a:pt x="161" y="236"/>
                  </a:lnTo>
                  <a:lnTo>
                    <a:pt x="161" y="241"/>
                  </a:lnTo>
                  <a:cubicBezTo>
                    <a:pt x="161" y="244"/>
                    <a:pt x="161" y="250"/>
                    <a:pt x="163" y="253"/>
                  </a:cubicBezTo>
                  <a:cubicBezTo>
                    <a:pt x="166" y="258"/>
                    <a:pt x="169" y="267"/>
                    <a:pt x="169" y="272"/>
                  </a:cubicBezTo>
                  <a:cubicBezTo>
                    <a:pt x="169" y="275"/>
                    <a:pt x="169" y="278"/>
                    <a:pt x="172" y="284"/>
                  </a:cubicBezTo>
                  <a:cubicBezTo>
                    <a:pt x="175" y="286"/>
                    <a:pt x="175" y="292"/>
                    <a:pt x="177" y="298"/>
                  </a:cubicBezTo>
                  <a:cubicBezTo>
                    <a:pt x="177" y="303"/>
                    <a:pt x="177" y="306"/>
                    <a:pt x="180" y="312"/>
                  </a:cubicBezTo>
                  <a:lnTo>
                    <a:pt x="180" y="315"/>
                  </a:lnTo>
                  <a:lnTo>
                    <a:pt x="180" y="320"/>
                  </a:lnTo>
                  <a:lnTo>
                    <a:pt x="180" y="323"/>
                  </a:lnTo>
                  <a:cubicBezTo>
                    <a:pt x="194" y="329"/>
                    <a:pt x="197" y="337"/>
                    <a:pt x="197" y="343"/>
                  </a:cubicBezTo>
                  <a:close/>
                  <a:moveTo>
                    <a:pt x="25" y="101"/>
                  </a:moveTo>
                  <a:cubicBezTo>
                    <a:pt x="28" y="104"/>
                    <a:pt x="28" y="104"/>
                    <a:pt x="31" y="104"/>
                  </a:cubicBezTo>
                  <a:lnTo>
                    <a:pt x="31" y="98"/>
                  </a:lnTo>
                  <a:lnTo>
                    <a:pt x="25" y="101"/>
                  </a:lnTo>
                  <a:close/>
                  <a:moveTo>
                    <a:pt x="36" y="70"/>
                  </a:moveTo>
                  <a:cubicBezTo>
                    <a:pt x="39" y="70"/>
                    <a:pt x="39" y="70"/>
                    <a:pt x="42" y="67"/>
                  </a:cubicBezTo>
                  <a:lnTo>
                    <a:pt x="39" y="67"/>
                  </a:lnTo>
                  <a:lnTo>
                    <a:pt x="36" y="67"/>
                  </a:lnTo>
                  <a:cubicBezTo>
                    <a:pt x="34" y="67"/>
                    <a:pt x="31" y="70"/>
                    <a:pt x="28" y="70"/>
                  </a:cubicBezTo>
                  <a:lnTo>
                    <a:pt x="28" y="73"/>
                  </a:lnTo>
                  <a:lnTo>
                    <a:pt x="36" y="70"/>
                  </a:lnTo>
                  <a:close/>
                  <a:moveTo>
                    <a:pt x="31" y="132"/>
                  </a:moveTo>
                  <a:lnTo>
                    <a:pt x="34" y="132"/>
                  </a:lnTo>
                  <a:cubicBezTo>
                    <a:pt x="34" y="132"/>
                    <a:pt x="34" y="129"/>
                    <a:pt x="31" y="127"/>
                  </a:cubicBezTo>
                  <a:lnTo>
                    <a:pt x="31" y="132"/>
                  </a:lnTo>
                  <a:close/>
                  <a:moveTo>
                    <a:pt x="34" y="59"/>
                  </a:moveTo>
                  <a:lnTo>
                    <a:pt x="39" y="59"/>
                  </a:lnTo>
                  <a:cubicBezTo>
                    <a:pt x="39" y="62"/>
                    <a:pt x="42" y="62"/>
                    <a:pt x="45" y="59"/>
                  </a:cubicBezTo>
                  <a:cubicBezTo>
                    <a:pt x="42" y="59"/>
                    <a:pt x="42" y="56"/>
                    <a:pt x="39" y="56"/>
                  </a:cubicBezTo>
                  <a:cubicBezTo>
                    <a:pt x="36" y="56"/>
                    <a:pt x="36" y="53"/>
                    <a:pt x="34" y="53"/>
                  </a:cubicBezTo>
                  <a:lnTo>
                    <a:pt x="34" y="59"/>
                  </a:lnTo>
                  <a:close/>
                  <a:moveTo>
                    <a:pt x="39" y="175"/>
                  </a:moveTo>
                  <a:lnTo>
                    <a:pt x="36" y="172"/>
                  </a:lnTo>
                  <a:cubicBezTo>
                    <a:pt x="34" y="175"/>
                    <a:pt x="36" y="177"/>
                    <a:pt x="39" y="175"/>
                  </a:cubicBezTo>
                  <a:close/>
                  <a:moveTo>
                    <a:pt x="36" y="48"/>
                  </a:moveTo>
                  <a:cubicBezTo>
                    <a:pt x="39" y="48"/>
                    <a:pt x="39" y="45"/>
                    <a:pt x="42" y="45"/>
                  </a:cubicBezTo>
                  <a:cubicBezTo>
                    <a:pt x="39" y="45"/>
                    <a:pt x="39" y="42"/>
                    <a:pt x="36" y="39"/>
                  </a:cubicBezTo>
                  <a:lnTo>
                    <a:pt x="36" y="48"/>
                  </a:lnTo>
                  <a:close/>
                  <a:moveTo>
                    <a:pt x="45" y="138"/>
                  </a:moveTo>
                  <a:cubicBezTo>
                    <a:pt x="45" y="138"/>
                    <a:pt x="45" y="135"/>
                    <a:pt x="42" y="132"/>
                  </a:cubicBezTo>
                  <a:lnTo>
                    <a:pt x="39" y="138"/>
                  </a:lnTo>
                  <a:lnTo>
                    <a:pt x="45" y="138"/>
                  </a:lnTo>
                  <a:close/>
                  <a:moveTo>
                    <a:pt x="42" y="186"/>
                  </a:moveTo>
                  <a:lnTo>
                    <a:pt x="45" y="186"/>
                  </a:lnTo>
                  <a:lnTo>
                    <a:pt x="45" y="183"/>
                  </a:lnTo>
                  <a:cubicBezTo>
                    <a:pt x="45" y="186"/>
                    <a:pt x="45" y="186"/>
                    <a:pt x="42" y="186"/>
                  </a:cubicBezTo>
                  <a:close/>
                  <a:moveTo>
                    <a:pt x="42" y="175"/>
                  </a:moveTo>
                  <a:lnTo>
                    <a:pt x="45" y="175"/>
                  </a:lnTo>
                  <a:lnTo>
                    <a:pt x="45" y="172"/>
                  </a:lnTo>
                  <a:lnTo>
                    <a:pt x="42" y="175"/>
                  </a:lnTo>
                  <a:close/>
                  <a:moveTo>
                    <a:pt x="42" y="39"/>
                  </a:moveTo>
                  <a:lnTo>
                    <a:pt x="45" y="42"/>
                  </a:lnTo>
                  <a:lnTo>
                    <a:pt x="48" y="42"/>
                  </a:lnTo>
                  <a:lnTo>
                    <a:pt x="45" y="39"/>
                  </a:lnTo>
                  <a:cubicBezTo>
                    <a:pt x="48" y="36"/>
                    <a:pt x="45" y="36"/>
                    <a:pt x="42" y="39"/>
                  </a:cubicBezTo>
                  <a:close/>
                  <a:moveTo>
                    <a:pt x="45" y="45"/>
                  </a:moveTo>
                  <a:cubicBezTo>
                    <a:pt x="48" y="48"/>
                    <a:pt x="48" y="50"/>
                    <a:pt x="50" y="53"/>
                  </a:cubicBezTo>
                  <a:cubicBezTo>
                    <a:pt x="53" y="50"/>
                    <a:pt x="53" y="48"/>
                    <a:pt x="56" y="42"/>
                  </a:cubicBezTo>
                  <a:lnTo>
                    <a:pt x="45" y="45"/>
                  </a:lnTo>
                  <a:close/>
                  <a:moveTo>
                    <a:pt x="53" y="211"/>
                  </a:moveTo>
                  <a:lnTo>
                    <a:pt x="48" y="211"/>
                  </a:lnTo>
                  <a:lnTo>
                    <a:pt x="48" y="214"/>
                  </a:lnTo>
                  <a:lnTo>
                    <a:pt x="50" y="214"/>
                  </a:lnTo>
                  <a:lnTo>
                    <a:pt x="53" y="211"/>
                  </a:lnTo>
                  <a:close/>
                  <a:moveTo>
                    <a:pt x="113" y="413"/>
                  </a:moveTo>
                  <a:lnTo>
                    <a:pt x="118" y="419"/>
                  </a:lnTo>
                  <a:cubicBezTo>
                    <a:pt x="121" y="422"/>
                    <a:pt x="124" y="422"/>
                    <a:pt x="124" y="425"/>
                  </a:cubicBezTo>
                  <a:lnTo>
                    <a:pt x="135" y="422"/>
                  </a:lnTo>
                  <a:cubicBezTo>
                    <a:pt x="141" y="413"/>
                    <a:pt x="144" y="402"/>
                    <a:pt x="141" y="391"/>
                  </a:cubicBezTo>
                  <a:lnTo>
                    <a:pt x="141" y="385"/>
                  </a:lnTo>
                  <a:lnTo>
                    <a:pt x="141" y="379"/>
                  </a:lnTo>
                  <a:cubicBezTo>
                    <a:pt x="141" y="368"/>
                    <a:pt x="141" y="369"/>
                    <a:pt x="138" y="363"/>
                  </a:cubicBezTo>
                  <a:cubicBezTo>
                    <a:pt x="135" y="358"/>
                    <a:pt x="135" y="351"/>
                    <a:pt x="135" y="348"/>
                  </a:cubicBezTo>
                  <a:lnTo>
                    <a:pt x="135" y="334"/>
                  </a:lnTo>
                  <a:cubicBezTo>
                    <a:pt x="132" y="332"/>
                    <a:pt x="132" y="326"/>
                    <a:pt x="132" y="323"/>
                  </a:cubicBezTo>
                  <a:cubicBezTo>
                    <a:pt x="132" y="320"/>
                    <a:pt x="132" y="315"/>
                    <a:pt x="129" y="312"/>
                  </a:cubicBezTo>
                  <a:lnTo>
                    <a:pt x="127" y="289"/>
                  </a:lnTo>
                  <a:lnTo>
                    <a:pt x="127" y="284"/>
                  </a:lnTo>
                  <a:lnTo>
                    <a:pt x="127" y="278"/>
                  </a:lnTo>
                  <a:lnTo>
                    <a:pt x="127" y="272"/>
                  </a:lnTo>
                  <a:cubicBezTo>
                    <a:pt x="127" y="269"/>
                    <a:pt x="124" y="269"/>
                    <a:pt x="124" y="267"/>
                  </a:cubicBezTo>
                  <a:lnTo>
                    <a:pt x="121" y="255"/>
                  </a:lnTo>
                  <a:lnTo>
                    <a:pt x="121" y="253"/>
                  </a:lnTo>
                  <a:lnTo>
                    <a:pt x="121" y="250"/>
                  </a:lnTo>
                  <a:lnTo>
                    <a:pt x="115" y="244"/>
                  </a:lnTo>
                  <a:lnTo>
                    <a:pt x="115" y="238"/>
                  </a:lnTo>
                  <a:lnTo>
                    <a:pt x="115" y="227"/>
                  </a:lnTo>
                  <a:lnTo>
                    <a:pt x="115" y="217"/>
                  </a:lnTo>
                  <a:cubicBezTo>
                    <a:pt x="115" y="214"/>
                    <a:pt x="115" y="208"/>
                    <a:pt x="113" y="206"/>
                  </a:cubicBezTo>
                  <a:cubicBezTo>
                    <a:pt x="110" y="203"/>
                    <a:pt x="107" y="197"/>
                    <a:pt x="107" y="194"/>
                  </a:cubicBezTo>
                  <a:lnTo>
                    <a:pt x="107" y="189"/>
                  </a:lnTo>
                  <a:lnTo>
                    <a:pt x="107" y="175"/>
                  </a:lnTo>
                  <a:lnTo>
                    <a:pt x="107" y="169"/>
                  </a:lnTo>
                  <a:cubicBezTo>
                    <a:pt x="107" y="166"/>
                    <a:pt x="107" y="166"/>
                    <a:pt x="104" y="163"/>
                  </a:cubicBezTo>
                  <a:cubicBezTo>
                    <a:pt x="104" y="160"/>
                    <a:pt x="101" y="158"/>
                    <a:pt x="98" y="155"/>
                  </a:cubicBezTo>
                  <a:cubicBezTo>
                    <a:pt x="96" y="152"/>
                    <a:pt x="96" y="149"/>
                    <a:pt x="98" y="146"/>
                  </a:cubicBezTo>
                  <a:lnTo>
                    <a:pt x="98" y="138"/>
                  </a:lnTo>
                  <a:lnTo>
                    <a:pt x="98" y="129"/>
                  </a:lnTo>
                  <a:cubicBezTo>
                    <a:pt x="101" y="127"/>
                    <a:pt x="98" y="124"/>
                    <a:pt x="98" y="121"/>
                  </a:cubicBezTo>
                  <a:cubicBezTo>
                    <a:pt x="96" y="121"/>
                    <a:pt x="96" y="118"/>
                    <a:pt x="96" y="115"/>
                  </a:cubicBezTo>
                  <a:lnTo>
                    <a:pt x="96" y="110"/>
                  </a:lnTo>
                  <a:lnTo>
                    <a:pt x="93" y="96"/>
                  </a:lnTo>
                  <a:cubicBezTo>
                    <a:pt x="93" y="90"/>
                    <a:pt x="90" y="84"/>
                    <a:pt x="87" y="79"/>
                  </a:cubicBezTo>
                  <a:cubicBezTo>
                    <a:pt x="87" y="76"/>
                    <a:pt x="84" y="76"/>
                    <a:pt x="82" y="73"/>
                  </a:cubicBezTo>
                  <a:cubicBezTo>
                    <a:pt x="79" y="73"/>
                    <a:pt x="79" y="70"/>
                    <a:pt x="76" y="67"/>
                  </a:cubicBezTo>
                  <a:lnTo>
                    <a:pt x="65" y="70"/>
                  </a:lnTo>
                  <a:lnTo>
                    <a:pt x="62" y="73"/>
                  </a:lnTo>
                  <a:lnTo>
                    <a:pt x="59" y="76"/>
                  </a:lnTo>
                  <a:cubicBezTo>
                    <a:pt x="59" y="79"/>
                    <a:pt x="59" y="84"/>
                    <a:pt x="56" y="87"/>
                  </a:cubicBezTo>
                  <a:cubicBezTo>
                    <a:pt x="53" y="93"/>
                    <a:pt x="56" y="96"/>
                    <a:pt x="59" y="101"/>
                  </a:cubicBezTo>
                  <a:lnTo>
                    <a:pt x="67" y="146"/>
                  </a:lnTo>
                  <a:lnTo>
                    <a:pt x="67" y="163"/>
                  </a:lnTo>
                  <a:cubicBezTo>
                    <a:pt x="67" y="166"/>
                    <a:pt x="67" y="169"/>
                    <a:pt x="70" y="169"/>
                  </a:cubicBezTo>
                  <a:cubicBezTo>
                    <a:pt x="73" y="175"/>
                    <a:pt x="76" y="180"/>
                    <a:pt x="73" y="183"/>
                  </a:cubicBezTo>
                  <a:cubicBezTo>
                    <a:pt x="73" y="186"/>
                    <a:pt x="73" y="191"/>
                    <a:pt x="76" y="194"/>
                  </a:cubicBezTo>
                  <a:lnTo>
                    <a:pt x="76" y="200"/>
                  </a:lnTo>
                  <a:cubicBezTo>
                    <a:pt x="79" y="206"/>
                    <a:pt x="82" y="214"/>
                    <a:pt x="79" y="222"/>
                  </a:cubicBezTo>
                  <a:cubicBezTo>
                    <a:pt x="79" y="227"/>
                    <a:pt x="79" y="233"/>
                    <a:pt x="82" y="236"/>
                  </a:cubicBezTo>
                  <a:lnTo>
                    <a:pt x="82" y="238"/>
                  </a:lnTo>
                  <a:lnTo>
                    <a:pt x="82" y="241"/>
                  </a:lnTo>
                  <a:cubicBezTo>
                    <a:pt x="82" y="244"/>
                    <a:pt x="82" y="244"/>
                    <a:pt x="84" y="247"/>
                  </a:cubicBezTo>
                  <a:cubicBezTo>
                    <a:pt x="84" y="250"/>
                    <a:pt x="87" y="255"/>
                    <a:pt x="87" y="258"/>
                  </a:cubicBezTo>
                  <a:cubicBezTo>
                    <a:pt x="87" y="261"/>
                    <a:pt x="87" y="264"/>
                    <a:pt x="90" y="264"/>
                  </a:cubicBezTo>
                  <a:cubicBezTo>
                    <a:pt x="93" y="269"/>
                    <a:pt x="93" y="275"/>
                    <a:pt x="90" y="281"/>
                  </a:cubicBezTo>
                  <a:cubicBezTo>
                    <a:pt x="93" y="284"/>
                    <a:pt x="93" y="289"/>
                    <a:pt x="96" y="292"/>
                  </a:cubicBezTo>
                  <a:lnTo>
                    <a:pt x="96" y="298"/>
                  </a:lnTo>
                  <a:lnTo>
                    <a:pt x="96" y="303"/>
                  </a:lnTo>
                  <a:cubicBezTo>
                    <a:pt x="96" y="306"/>
                    <a:pt x="98" y="306"/>
                    <a:pt x="98" y="309"/>
                  </a:cubicBezTo>
                  <a:cubicBezTo>
                    <a:pt x="98" y="315"/>
                    <a:pt x="101" y="317"/>
                    <a:pt x="101" y="320"/>
                  </a:cubicBezTo>
                  <a:lnTo>
                    <a:pt x="101" y="323"/>
                  </a:lnTo>
                  <a:lnTo>
                    <a:pt x="101" y="326"/>
                  </a:lnTo>
                  <a:cubicBezTo>
                    <a:pt x="101" y="337"/>
                    <a:pt x="101" y="348"/>
                    <a:pt x="107" y="360"/>
                  </a:cubicBezTo>
                  <a:cubicBezTo>
                    <a:pt x="107" y="363"/>
                    <a:pt x="110" y="368"/>
                    <a:pt x="110" y="371"/>
                  </a:cubicBezTo>
                  <a:lnTo>
                    <a:pt x="110" y="382"/>
                  </a:lnTo>
                  <a:cubicBezTo>
                    <a:pt x="107" y="388"/>
                    <a:pt x="110" y="394"/>
                    <a:pt x="110" y="399"/>
                  </a:cubicBezTo>
                  <a:cubicBezTo>
                    <a:pt x="113" y="402"/>
                    <a:pt x="113" y="408"/>
                    <a:pt x="113" y="410"/>
                  </a:cubicBezTo>
                  <a:cubicBezTo>
                    <a:pt x="110" y="405"/>
                    <a:pt x="113" y="410"/>
                    <a:pt x="113" y="413"/>
                  </a:cubicBezTo>
                  <a:close/>
                  <a:moveTo>
                    <a:pt x="53" y="261"/>
                  </a:moveTo>
                  <a:lnTo>
                    <a:pt x="56" y="258"/>
                  </a:lnTo>
                  <a:lnTo>
                    <a:pt x="56" y="255"/>
                  </a:lnTo>
                  <a:lnTo>
                    <a:pt x="56" y="253"/>
                  </a:lnTo>
                  <a:cubicBezTo>
                    <a:pt x="53" y="255"/>
                    <a:pt x="53" y="255"/>
                    <a:pt x="53" y="261"/>
                  </a:cubicBezTo>
                  <a:close/>
                  <a:moveTo>
                    <a:pt x="53" y="42"/>
                  </a:moveTo>
                  <a:lnTo>
                    <a:pt x="59" y="36"/>
                  </a:lnTo>
                  <a:cubicBezTo>
                    <a:pt x="53" y="36"/>
                    <a:pt x="53" y="39"/>
                    <a:pt x="53" y="42"/>
                  </a:cubicBezTo>
                  <a:close/>
                  <a:moveTo>
                    <a:pt x="59" y="267"/>
                  </a:moveTo>
                  <a:cubicBezTo>
                    <a:pt x="59" y="269"/>
                    <a:pt x="62" y="272"/>
                    <a:pt x="65" y="272"/>
                  </a:cubicBezTo>
                  <a:cubicBezTo>
                    <a:pt x="65" y="269"/>
                    <a:pt x="62" y="269"/>
                    <a:pt x="59" y="267"/>
                  </a:cubicBezTo>
                  <a:cubicBezTo>
                    <a:pt x="62" y="264"/>
                    <a:pt x="62" y="264"/>
                    <a:pt x="62" y="261"/>
                  </a:cubicBezTo>
                  <a:lnTo>
                    <a:pt x="62" y="255"/>
                  </a:lnTo>
                  <a:cubicBezTo>
                    <a:pt x="59" y="258"/>
                    <a:pt x="56" y="258"/>
                    <a:pt x="56" y="261"/>
                  </a:cubicBezTo>
                  <a:cubicBezTo>
                    <a:pt x="59" y="264"/>
                    <a:pt x="59" y="267"/>
                    <a:pt x="59" y="267"/>
                  </a:cubicBezTo>
                  <a:close/>
                  <a:moveTo>
                    <a:pt x="65" y="298"/>
                  </a:moveTo>
                  <a:cubicBezTo>
                    <a:pt x="62" y="295"/>
                    <a:pt x="62" y="298"/>
                    <a:pt x="59" y="298"/>
                  </a:cubicBezTo>
                  <a:cubicBezTo>
                    <a:pt x="65" y="300"/>
                    <a:pt x="65" y="300"/>
                    <a:pt x="65" y="298"/>
                  </a:cubicBezTo>
                  <a:close/>
                  <a:moveTo>
                    <a:pt x="62" y="31"/>
                  </a:moveTo>
                  <a:cubicBezTo>
                    <a:pt x="62" y="34"/>
                    <a:pt x="65" y="34"/>
                    <a:pt x="62" y="31"/>
                  </a:cubicBezTo>
                  <a:lnTo>
                    <a:pt x="67" y="31"/>
                  </a:lnTo>
                  <a:lnTo>
                    <a:pt x="67" y="28"/>
                  </a:lnTo>
                  <a:lnTo>
                    <a:pt x="67" y="25"/>
                  </a:lnTo>
                  <a:cubicBezTo>
                    <a:pt x="65" y="25"/>
                    <a:pt x="65" y="28"/>
                    <a:pt x="65" y="28"/>
                  </a:cubicBezTo>
                  <a:cubicBezTo>
                    <a:pt x="65" y="31"/>
                    <a:pt x="62" y="31"/>
                    <a:pt x="62" y="31"/>
                  </a:cubicBezTo>
                  <a:close/>
                  <a:moveTo>
                    <a:pt x="62" y="278"/>
                  </a:moveTo>
                  <a:cubicBezTo>
                    <a:pt x="65" y="281"/>
                    <a:pt x="65" y="281"/>
                    <a:pt x="65" y="284"/>
                  </a:cubicBezTo>
                  <a:cubicBezTo>
                    <a:pt x="67" y="286"/>
                    <a:pt x="67" y="289"/>
                    <a:pt x="67" y="292"/>
                  </a:cubicBezTo>
                  <a:cubicBezTo>
                    <a:pt x="70" y="284"/>
                    <a:pt x="70" y="281"/>
                    <a:pt x="62" y="278"/>
                  </a:cubicBezTo>
                  <a:close/>
                  <a:moveTo>
                    <a:pt x="70" y="317"/>
                  </a:moveTo>
                  <a:cubicBezTo>
                    <a:pt x="70" y="317"/>
                    <a:pt x="72" y="317"/>
                    <a:pt x="73" y="319"/>
                  </a:cubicBezTo>
                  <a:lnTo>
                    <a:pt x="70" y="306"/>
                  </a:lnTo>
                  <a:lnTo>
                    <a:pt x="67" y="306"/>
                  </a:lnTo>
                  <a:lnTo>
                    <a:pt x="65" y="306"/>
                  </a:lnTo>
                  <a:lnTo>
                    <a:pt x="67" y="309"/>
                  </a:lnTo>
                  <a:cubicBezTo>
                    <a:pt x="67" y="309"/>
                    <a:pt x="67" y="312"/>
                    <a:pt x="70" y="312"/>
                  </a:cubicBezTo>
                  <a:cubicBezTo>
                    <a:pt x="67" y="315"/>
                    <a:pt x="67" y="315"/>
                    <a:pt x="65" y="315"/>
                  </a:cubicBezTo>
                  <a:lnTo>
                    <a:pt x="70" y="317"/>
                  </a:lnTo>
                  <a:close/>
                  <a:moveTo>
                    <a:pt x="65" y="34"/>
                  </a:moveTo>
                  <a:lnTo>
                    <a:pt x="65" y="39"/>
                  </a:lnTo>
                  <a:cubicBezTo>
                    <a:pt x="67" y="39"/>
                    <a:pt x="70" y="39"/>
                    <a:pt x="73" y="42"/>
                  </a:cubicBezTo>
                  <a:lnTo>
                    <a:pt x="73" y="39"/>
                  </a:lnTo>
                  <a:cubicBezTo>
                    <a:pt x="73" y="39"/>
                    <a:pt x="70" y="36"/>
                    <a:pt x="65" y="34"/>
                  </a:cubicBezTo>
                  <a:close/>
                  <a:moveTo>
                    <a:pt x="67" y="363"/>
                  </a:moveTo>
                  <a:cubicBezTo>
                    <a:pt x="70" y="365"/>
                    <a:pt x="70" y="365"/>
                    <a:pt x="70" y="368"/>
                  </a:cubicBezTo>
                  <a:lnTo>
                    <a:pt x="70" y="365"/>
                  </a:lnTo>
                  <a:lnTo>
                    <a:pt x="67" y="363"/>
                  </a:lnTo>
                  <a:close/>
                  <a:moveTo>
                    <a:pt x="70" y="382"/>
                  </a:moveTo>
                  <a:lnTo>
                    <a:pt x="73" y="382"/>
                  </a:lnTo>
                  <a:cubicBezTo>
                    <a:pt x="73" y="379"/>
                    <a:pt x="70" y="379"/>
                    <a:pt x="70" y="382"/>
                  </a:cubicBezTo>
                  <a:close/>
                  <a:moveTo>
                    <a:pt x="70" y="34"/>
                  </a:moveTo>
                  <a:cubicBezTo>
                    <a:pt x="73" y="34"/>
                    <a:pt x="76" y="36"/>
                    <a:pt x="82" y="36"/>
                  </a:cubicBezTo>
                  <a:lnTo>
                    <a:pt x="82" y="34"/>
                  </a:lnTo>
                  <a:lnTo>
                    <a:pt x="73" y="31"/>
                  </a:lnTo>
                  <a:lnTo>
                    <a:pt x="70" y="34"/>
                  </a:lnTo>
                  <a:close/>
                  <a:moveTo>
                    <a:pt x="82" y="39"/>
                  </a:moveTo>
                  <a:lnTo>
                    <a:pt x="76" y="42"/>
                  </a:lnTo>
                  <a:cubicBezTo>
                    <a:pt x="73" y="42"/>
                    <a:pt x="73" y="45"/>
                    <a:pt x="70" y="45"/>
                  </a:cubicBezTo>
                  <a:lnTo>
                    <a:pt x="76" y="50"/>
                  </a:lnTo>
                  <a:cubicBezTo>
                    <a:pt x="76" y="48"/>
                    <a:pt x="79" y="48"/>
                    <a:pt x="79" y="45"/>
                  </a:cubicBezTo>
                  <a:cubicBezTo>
                    <a:pt x="82" y="45"/>
                    <a:pt x="82" y="42"/>
                    <a:pt x="82" y="39"/>
                  </a:cubicBezTo>
                  <a:close/>
                  <a:moveTo>
                    <a:pt x="79" y="337"/>
                  </a:moveTo>
                  <a:lnTo>
                    <a:pt x="73" y="337"/>
                  </a:lnTo>
                  <a:lnTo>
                    <a:pt x="73" y="340"/>
                  </a:lnTo>
                  <a:cubicBezTo>
                    <a:pt x="76" y="340"/>
                    <a:pt x="79" y="337"/>
                    <a:pt x="79" y="337"/>
                  </a:cubicBezTo>
                  <a:close/>
                  <a:moveTo>
                    <a:pt x="82" y="394"/>
                  </a:moveTo>
                  <a:lnTo>
                    <a:pt x="76" y="394"/>
                  </a:lnTo>
                  <a:lnTo>
                    <a:pt x="73" y="396"/>
                  </a:lnTo>
                  <a:cubicBezTo>
                    <a:pt x="73" y="399"/>
                    <a:pt x="76" y="399"/>
                    <a:pt x="76" y="402"/>
                  </a:cubicBezTo>
                  <a:cubicBezTo>
                    <a:pt x="79" y="399"/>
                    <a:pt x="82" y="396"/>
                    <a:pt x="82" y="394"/>
                  </a:cubicBezTo>
                  <a:close/>
                  <a:moveTo>
                    <a:pt x="82" y="394"/>
                  </a:moveTo>
                  <a:cubicBezTo>
                    <a:pt x="84" y="394"/>
                    <a:pt x="82" y="391"/>
                    <a:pt x="82" y="394"/>
                  </a:cubicBezTo>
                  <a:close/>
                  <a:moveTo>
                    <a:pt x="76" y="365"/>
                  </a:moveTo>
                  <a:lnTo>
                    <a:pt x="82" y="365"/>
                  </a:lnTo>
                  <a:lnTo>
                    <a:pt x="82" y="360"/>
                  </a:lnTo>
                  <a:cubicBezTo>
                    <a:pt x="82" y="360"/>
                    <a:pt x="82" y="363"/>
                    <a:pt x="79" y="363"/>
                  </a:cubicBezTo>
                  <a:cubicBezTo>
                    <a:pt x="79" y="363"/>
                    <a:pt x="79" y="365"/>
                    <a:pt x="76" y="365"/>
                  </a:cubicBezTo>
                  <a:close/>
                  <a:moveTo>
                    <a:pt x="79" y="357"/>
                  </a:moveTo>
                  <a:lnTo>
                    <a:pt x="84" y="357"/>
                  </a:lnTo>
                  <a:lnTo>
                    <a:pt x="84" y="354"/>
                  </a:lnTo>
                  <a:cubicBezTo>
                    <a:pt x="82" y="357"/>
                    <a:pt x="79" y="357"/>
                    <a:pt x="79" y="357"/>
                  </a:cubicBezTo>
                  <a:close/>
                  <a:moveTo>
                    <a:pt x="87" y="379"/>
                  </a:moveTo>
                  <a:cubicBezTo>
                    <a:pt x="87" y="377"/>
                    <a:pt x="84" y="377"/>
                    <a:pt x="84" y="377"/>
                  </a:cubicBezTo>
                  <a:lnTo>
                    <a:pt x="82" y="379"/>
                  </a:lnTo>
                  <a:lnTo>
                    <a:pt x="84" y="382"/>
                  </a:lnTo>
                  <a:lnTo>
                    <a:pt x="87" y="382"/>
                  </a:lnTo>
                  <a:lnTo>
                    <a:pt x="87" y="379"/>
                  </a:lnTo>
                  <a:close/>
                  <a:moveTo>
                    <a:pt x="93" y="42"/>
                  </a:moveTo>
                  <a:lnTo>
                    <a:pt x="90" y="48"/>
                  </a:lnTo>
                  <a:cubicBezTo>
                    <a:pt x="90" y="49"/>
                    <a:pt x="89" y="50"/>
                    <a:pt x="88" y="51"/>
                  </a:cubicBezTo>
                  <a:cubicBezTo>
                    <a:pt x="89" y="51"/>
                    <a:pt x="90" y="52"/>
                    <a:pt x="90" y="53"/>
                  </a:cubicBezTo>
                  <a:cubicBezTo>
                    <a:pt x="90" y="50"/>
                    <a:pt x="93" y="50"/>
                    <a:pt x="93" y="48"/>
                  </a:cubicBezTo>
                  <a:cubicBezTo>
                    <a:pt x="93" y="45"/>
                    <a:pt x="96" y="45"/>
                    <a:pt x="96" y="42"/>
                  </a:cubicBezTo>
                  <a:lnTo>
                    <a:pt x="93" y="42"/>
                  </a:lnTo>
                  <a:lnTo>
                    <a:pt x="90" y="37"/>
                  </a:lnTo>
                  <a:cubicBezTo>
                    <a:pt x="87" y="37"/>
                    <a:pt x="88" y="39"/>
                    <a:pt x="90" y="42"/>
                  </a:cubicBezTo>
                  <a:cubicBezTo>
                    <a:pt x="91" y="42"/>
                    <a:pt x="92" y="42"/>
                    <a:pt x="93" y="42"/>
                  </a:cubicBezTo>
                  <a:close/>
                  <a:moveTo>
                    <a:pt x="98" y="45"/>
                  </a:moveTo>
                  <a:lnTo>
                    <a:pt x="101" y="45"/>
                  </a:lnTo>
                  <a:lnTo>
                    <a:pt x="104" y="45"/>
                  </a:lnTo>
                  <a:lnTo>
                    <a:pt x="104" y="42"/>
                  </a:lnTo>
                  <a:lnTo>
                    <a:pt x="101" y="42"/>
                  </a:lnTo>
                  <a:lnTo>
                    <a:pt x="98" y="42"/>
                  </a:lnTo>
                  <a:lnTo>
                    <a:pt x="98" y="45"/>
                  </a:lnTo>
                  <a:close/>
                  <a:moveTo>
                    <a:pt x="87" y="394"/>
                  </a:moveTo>
                  <a:cubicBezTo>
                    <a:pt x="84" y="394"/>
                    <a:pt x="84" y="396"/>
                    <a:pt x="84" y="396"/>
                  </a:cubicBezTo>
                  <a:lnTo>
                    <a:pt x="87" y="394"/>
                  </a:lnTo>
                  <a:close/>
                  <a:moveTo>
                    <a:pt x="90" y="433"/>
                  </a:moveTo>
                  <a:cubicBezTo>
                    <a:pt x="90" y="430"/>
                    <a:pt x="93" y="430"/>
                    <a:pt x="93" y="430"/>
                  </a:cubicBezTo>
                  <a:lnTo>
                    <a:pt x="87" y="425"/>
                  </a:lnTo>
                  <a:cubicBezTo>
                    <a:pt x="90" y="430"/>
                    <a:pt x="90" y="430"/>
                    <a:pt x="90" y="433"/>
                  </a:cubicBezTo>
                  <a:close/>
                  <a:moveTo>
                    <a:pt x="90" y="410"/>
                  </a:moveTo>
                  <a:lnTo>
                    <a:pt x="90" y="413"/>
                  </a:lnTo>
                  <a:cubicBezTo>
                    <a:pt x="93" y="413"/>
                    <a:pt x="96" y="413"/>
                    <a:pt x="90" y="410"/>
                  </a:cubicBezTo>
                  <a:close/>
                  <a:moveTo>
                    <a:pt x="96" y="45"/>
                  </a:moveTo>
                  <a:cubicBezTo>
                    <a:pt x="96" y="48"/>
                    <a:pt x="98" y="50"/>
                    <a:pt x="98" y="50"/>
                  </a:cubicBezTo>
                  <a:lnTo>
                    <a:pt x="98" y="53"/>
                  </a:lnTo>
                  <a:lnTo>
                    <a:pt x="98" y="56"/>
                  </a:lnTo>
                  <a:cubicBezTo>
                    <a:pt x="101" y="59"/>
                    <a:pt x="104" y="62"/>
                    <a:pt x="110" y="56"/>
                  </a:cubicBezTo>
                  <a:cubicBezTo>
                    <a:pt x="107" y="53"/>
                    <a:pt x="101" y="48"/>
                    <a:pt x="96" y="45"/>
                  </a:cubicBezTo>
                  <a:close/>
                  <a:moveTo>
                    <a:pt x="110" y="433"/>
                  </a:moveTo>
                  <a:cubicBezTo>
                    <a:pt x="107" y="436"/>
                    <a:pt x="104" y="436"/>
                    <a:pt x="101" y="439"/>
                  </a:cubicBezTo>
                  <a:lnTo>
                    <a:pt x="104" y="442"/>
                  </a:lnTo>
                  <a:cubicBezTo>
                    <a:pt x="104" y="444"/>
                    <a:pt x="104" y="444"/>
                    <a:pt x="107" y="447"/>
                  </a:cubicBezTo>
                  <a:cubicBezTo>
                    <a:pt x="110" y="442"/>
                    <a:pt x="110" y="439"/>
                    <a:pt x="110" y="433"/>
                  </a:cubicBezTo>
                  <a:close/>
                  <a:moveTo>
                    <a:pt x="113" y="450"/>
                  </a:moveTo>
                  <a:lnTo>
                    <a:pt x="110" y="450"/>
                  </a:lnTo>
                  <a:cubicBezTo>
                    <a:pt x="107" y="450"/>
                    <a:pt x="107" y="450"/>
                    <a:pt x="104" y="453"/>
                  </a:cubicBezTo>
                  <a:cubicBezTo>
                    <a:pt x="107" y="453"/>
                    <a:pt x="107" y="456"/>
                    <a:pt x="110" y="456"/>
                  </a:cubicBezTo>
                  <a:cubicBezTo>
                    <a:pt x="110" y="456"/>
                    <a:pt x="110" y="453"/>
                    <a:pt x="113" y="450"/>
                  </a:cubicBezTo>
                  <a:close/>
                  <a:moveTo>
                    <a:pt x="113" y="76"/>
                  </a:moveTo>
                  <a:cubicBezTo>
                    <a:pt x="110" y="76"/>
                    <a:pt x="110" y="76"/>
                    <a:pt x="107" y="79"/>
                  </a:cubicBezTo>
                  <a:cubicBezTo>
                    <a:pt x="107" y="81"/>
                    <a:pt x="110" y="81"/>
                    <a:pt x="113" y="81"/>
                  </a:cubicBezTo>
                  <a:lnTo>
                    <a:pt x="113" y="76"/>
                  </a:lnTo>
                  <a:close/>
                  <a:moveTo>
                    <a:pt x="115" y="442"/>
                  </a:moveTo>
                  <a:lnTo>
                    <a:pt x="113" y="442"/>
                  </a:lnTo>
                  <a:cubicBezTo>
                    <a:pt x="113" y="447"/>
                    <a:pt x="113" y="450"/>
                    <a:pt x="118" y="450"/>
                  </a:cubicBezTo>
                  <a:lnTo>
                    <a:pt x="115" y="442"/>
                  </a:lnTo>
                  <a:close/>
                  <a:moveTo>
                    <a:pt x="113" y="62"/>
                  </a:moveTo>
                  <a:lnTo>
                    <a:pt x="113" y="65"/>
                  </a:lnTo>
                  <a:lnTo>
                    <a:pt x="113" y="70"/>
                  </a:lnTo>
                  <a:lnTo>
                    <a:pt x="118" y="65"/>
                  </a:lnTo>
                  <a:cubicBezTo>
                    <a:pt x="118" y="62"/>
                    <a:pt x="115" y="62"/>
                    <a:pt x="113" y="62"/>
                  </a:cubicBezTo>
                  <a:close/>
                  <a:moveTo>
                    <a:pt x="124" y="79"/>
                  </a:moveTo>
                  <a:cubicBezTo>
                    <a:pt x="123" y="79"/>
                    <a:pt x="122" y="79"/>
                    <a:pt x="121" y="79"/>
                  </a:cubicBezTo>
                  <a:lnTo>
                    <a:pt x="121" y="76"/>
                  </a:lnTo>
                  <a:cubicBezTo>
                    <a:pt x="121" y="73"/>
                    <a:pt x="118" y="73"/>
                    <a:pt x="115" y="73"/>
                  </a:cubicBezTo>
                  <a:cubicBezTo>
                    <a:pt x="117" y="75"/>
                    <a:pt x="119" y="77"/>
                    <a:pt x="120" y="79"/>
                  </a:cubicBezTo>
                  <a:cubicBezTo>
                    <a:pt x="119" y="79"/>
                    <a:pt x="117" y="80"/>
                    <a:pt x="115" y="81"/>
                  </a:cubicBezTo>
                  <a:cubicBezTo>
                    <a:pt x="118" y="84"/>
                    <a:pt x="121" y="84"/>
                    <a:pt x="124" y="84"/>
                  </a:cubicBezTo>
                  <a:lnTo>
                    <a:pt x="124" y="79"/>
                  </a:lnTo>
                  <a:close/>
                  <a:moveTo>
                    <a:pt x="120" y="79"/>
                  </a:moveTo>
                  <a:cubicBezTo>
                    <a:pt x="121" y="80"/>
                    <a:pt x="121" y="81"/>
                    <a:pt x="121" y="81"/>
                  </a:cubicBezTo>
                  <a:lnTo>
                    <a:pt x="121" y="79"/>
                  </a:lnTo>
                  <a:cubicBezTo>
                    <a:pt x="121" y="79"/>
                    <a:pt x="121" y="79"/>
                    <a:pt x="120" y="79"/>
                  </a:cubicBezTo>
                  <a:close/>
                  <a:moveTo>
                    <a:pt x="118" y="107"/>
                  </a:moveTo>
                  <a:cubicBezTo>
                    <a:pt x="118" y="110"/>
                    <a:pt x="118" y="112"/>
                    <a:pt x="115" y="115"/>
                  </a:cubicBezTo>
                  <a:lnTo>
                    <a:pt x="118" y="115"/>
                  </a:lnTo>
                  <a:lnTo>
                    <a:pt x="124" y="115"/>
                  </a:lnTo>
                  <a:lnTo>
                    <a:pt x="127" y="115"/>
                  </a:lnTo>
                  <a:lnTo>
                    <a:pt x="118" y="107"/>
                  </a:lnTo>
                  <a:cubicBezTo>
                    <a:pt x="121" y="107"/>
                    <a:pt x="124" y="104"/>
                    <a:pt x="124" y="101"/>
                  </a:cubicBezTo>
                  <a:cubicBezTo>
                    <a:pt x="121" y="104"/>
                    <a:pt x="118" y="104"/>
                    <a:pt x="118" y="107"/>
                  </a:cubicBezTo>
                  <a:close/>
                  <a:moveTo>
                    <a:pt x="118" y="129"/>
                  </a:moveTo>
                  <a:cubicBezTo>
                    <a:pt x="121" y="129"/>
                    <a:pt x="121" y="132"/>
                    <a:pt x="121" y="132"/>
                  </a:cubicBezTo>
                  <a:lnTo>
                    <a:pt x="124" y="135"/>
                  </a:lnTo>
                  <a:cubicBezTo>
                    <a:pt x="121" y="138"/>
                    <a:pt x="124" y="141"/>
                    <a:pt x="124" y="141"/>
                  </a:cubicBezTo>
                  <a:cubicBezTo>
                    <a:pt x="124" y="141"/>
                    <a:pt x="124" y="144"/>
                    <a:pt x="127" y="144"/>
                  </a:cubicBezTo>
                  <a:lnTo>
                    <a:pt x="129" y="141"/>
                  </a:lnTo>
                  <a:cubicBezTo>
                    <a:pt x="129" y="141"/>
                    <a:pt x="127" y="138"/>
                    <a:pt x="127" y="135"/>
                  </a:cubicBezTo>
                  <a:lnTo>
                    <a:pt x="127" y="124"/>
                  </a:lnTo>
                  <a:lnTo>
                    <a:pt x="124" y="124"/>
                  </a:lnTo>
                  <a:lnTo>
                    <a:pt x="118" y="129"/>
                  </a:lnTo>
                  <a:close/>
                  <a:moveTo>
                    <a:pt x="121" y="155"/>
                  </a:moveTo>
                  <a:lnTo>
                    <a:pt x="124" y="158"/>
                  </a:lnTo>
                  <a:cubicBezTo>
                    <a:pt x="124" y="158"/>
                    <a:pt x="127" y="158"/>
                    <a:pt x="127" y="160"/>
                  </a:cubicBezTo>
                  <a:lnTo>
                    <a:pt x="124" y="163"/>
                  </a:lnTo>
                  <a:cubicBezTo>
                    <a:pt x="127" y="166"/>
                    <a:pt x="129" y="163"/>
                    <a:pt x="132" y="160"/>
                  </a:cubicBezTo>
                  <a:cubicBezTo>
                    <a:pt x="129" y="160"/>
                    <a:pt x="129" y="158"/>
                    <a:pt x="129" y="158"/>
                  </a:cubicBezTo>
                  <a:cubicBezTo>
                    <a:pt x="127" y="158"/>
                    <a:pt x="127" y="155"/>
                    <a:pt x="124" y="158"/>
                  </a:cubicBezTo>
                  <a:cubicBezTo>
                    <a:pt x="127" y="152"/>
                    <a:pt x="124" y="152"/>
                    <a:pt x="121" y="155"/>
                  </a:cubicBezTo>
                  <a:close/>
                  <a:moveTo>
                    <a:pt x="141" y="461"/>
                  </a:moveTo>
                  <a:lnTo>
                    <a:pt x="138" y="458"/>
                  </a:lnTo>
                  <a:lnTo>
                    <a:pt x="132" y="458"/>
                  </a:lnTo>
                  <a:lnTo>
                    <a:pt x="132" y="453"/>
                  </a:lnTo>
                  <a:lnTo>
                    <a:pt x="127" y="453"/>
                  </a:lnTo>
                  <a:lnTo>
                    <a:pt x="124" y="453"/>
                  </a:lnTo>
                  <a:lnTo>
                    <a:pt x="118" y="453"/>
                  </a:lnTo>
                  <a:lnTo>
                    <a:pt x="121" y="456"/>
                  </a:lnTo>
                  <a:lnTo>
                    <a:pt x="121" y="461"/>
                  </a:lnTo>
                  <a:lnTo>
                    <a:pt x="121" y="467"/>
                  </a:lnTo>
                  <a:cubicBezTo>
                    <a:pt x="124" y="464"/>
                    <a:pt x="127" y="464"/>
                    <a:pt x="129" y="464"/>
                  </a:cubicBezTo>
                  <a:cubicBezTo>
                    <a:pt x="138" y="458"/>
                    <a:pt x="138" y="458"/>
                    <a:pt x="141" y="461"/>
                  </a:cubicBezTo>
                  <a:close/>
                  <a:moveTo>
                    <a:pt x="121" y="87"/>
                  </a:moveTo>
                  <a:lnTo>
                    <a:pt x="127" y="93"/>
                  </a:lnTo>
                  <a:cubicBezTo>
                    <a:pt x="129" y="93"/>
                    <a:pt x="129" y="90"/>
                    <a:pt x="129" y="90"/>
                  </a:cubicBezTo>
                  <a:cubicBezTo>
                    <a:pt x="127" y="87"/>
                    <a:pt x="127" y="84"/>
                    <a:pt x="121" y="87"/>
                  </a:cubicBezTo>
                  <a:close/>
                  <a:moveTo>
                    <a:pt x="124" y="144"/>
                  </a:moveTo>
                  <a:cubicBezTo>
                    <a:pt x="124" y="146"/>
                    <a:pt x="124" y="146"/>
                    <a:pt x="127" y="146"/>
                  </a:cubicBezTo>
                  <a:lnTo>
                    <a:pt x="124" y="144"/>
                  </a:lnTo>
                  <a:close/>
                  <a:moveTo>
                    <a:pt x="127" y="166"/>
                  </a:moveTo>
                  <a:lnTo>
                    <a:pt x="129" y="169"/>
                  </a:lnTo>
                  <a:cubicBezTo>
                    <a:pt x="129" y="166"/>
                    <a:pt x="127" y="163"/>
                    <a:pt x="127" y="166"/>
                  </a:cubicBezTo>
                  <a:close/>
                  <a:moveTo>
                    <a:pt x="127" y="121"/>
                  </a:moveTo>
                  <a:cubicBezTo>
                    <a:pt x="127" y="121"/>
                    <a:pt x="129" y="121"/>
                    <a:pt x="127" y="121"/>
                  </a:cubicBezTo>
                  <a:lnTo>
                    <a:pt x="132" y="118"/>
                  </a:lnTo>
                  <a:cubicBezTo>
                    <a:pt x="124" y="115"/>
                    <a:pt x="127" y="118"/>
                    <a:pt x="127" y="121"/>
                  </a:cubicBezTo>
                  <a:close/>
                  <a:moveTo>
                    <a:pt x="129" y="98"/>
                  </a:moveTo>
                  <a:cubicBezTo>
                    <a:pt x="127" y="98"/>
                    <a:pt x="127" y="98"/>
                    <a:pt x="127" y="101"/>
                  </a:cubicBezTo>
                  <a:cubicBezTo>
                    <a:pt x="127" y="101"/>
                    <a:pt x="129" y="101"/>
                    <a:pt x="129" y="104"/>
                  </a:cubicBezTo>
                  <a:lnTo>
                    <a:pt x="129" y="107"/>
                  </a:lnTo>
                  <a:lnTo>
                    <a:pt x="132" y="107"/>
                  </a:lnTo>
                  <a:lnTo>
                    <a:pt x="129" y="98"/>
                  </a:lnTo>
                  <a:close/>
                  <a:moveTo>
                    <a:pt x="132" y="183"/>
                  </a:moveTo>
                  <a:lnTo>
                    <a:pt x="132" y="189"/>
                  </a:lnTo>
                  <a:lnTo>
                    <a:pt x="135" y="189"/>
                  </a:lnTo>
                  <a:lnTo>
                    <a:pt x="138" y="186"/>
                  </a:lnTo>
                  <a:lnTo>
                    <a:pt x="138" y="183"/>
                  </a:lnTo>
                  <a:cubicBezTo>
                    <a:pt x="144" y="180"/>
                    <a:pt x="144" y="180"/>
                    <a:pt x="141" y="175"/>
                  </a:cubicBezTo>
                  <a:lnTo>
                    <a:pt x="132" y="183"/>
                  </a:lnTo>
                  <a:close/>
                  <a:moveTo>
                    <a:pt x="138" y="172"/>
                  </a:moveTo>
                  <a:cubicBezTo>
                    <a:pt x="138" y="172"/>
                    <a:pt x="135" y="172"/>
                    <a:pt x="135" y="169"/>
                  </a:cubicBezTo>
                  <a:lnTo>
                    <a:pt x="135" y="172"/>
                  </a:lnTo>
                  <a:lnTo>
                    <a:pt x="135" y="175"/>
                  </a:lnTo>
                  <a:cubicBezTo>
                    <a:pt x="135" y="177"/>
                    <a:pt x="138" y="175"/>
                    <a:pt x="138" y="172"/>
                  </a:cubicBezTo>
                  <a:close/>
                  <a:moveTo>
                    <a:pt x="138" y="442"/>
                  </a:moveTo>
                  <a:lnTo>
                    <a:pt x="135" y="442"/>
                  </a:lnTo>
                  <a:lnTo>
                    <a:pt x="135" y="444"/>
                  </a:lnTo>
                  <a:cubicBezTo>
                    <a:pt x="138" y="447"/>
                    <a:pt x="138" y="444"/>
                    <a:pt x="138" y="442"/>
                  </a:cubicBezTo>
                  <a:close/>
                  <a:moveTo>
                    <a:pt x="135" y="129"/>
                  </a:moveTo>
                  <a:cubicBezTo>
                    <a:pt x="135" y="132"/>
                    <a:pt x="138" y="132"/>
                    <a:pt x="135" y="129"/>
                  </a:cubicBezTo>
                  <a:close/>
                  <a:moveTo>
                    <a:pt x="141" y="149"/>
                  </a:moveTo>
                  <a:cubicBezTo>
                    <a:pt x="138" y="149"/>
                    <a:pt x="138" y="152"/>
                    <a:pt x="135" y="152"/>
                  </a:cubicBezTo>
                  <a:cubicBezTo>
                    <a:pt x="141" y="152"/>
                    <a:pt x="141" y="152"/>
                    <a:pt x="141" y="149"/>
                  </a:cubicBezTo>
                  <a:close/>
                  <a:moveTo>
                    <a:pt x="141" y="258"/>
                  </a:moveTo>
                  <a:lnTo>
                    <a:pt x="141" y="253"/>
                  </a:lnTo>
                  <a:lnTo>
                    <a:pt x="138" y="253"/>
                  </a:lnTo>
                  <a:lnTo>
                    <a:pt x="135" y="253"/>
                  </a:lnTo>
                  <a:lnTo>
                    <a:pt x="141" y="258"/>
                  </a:lnTo>
                  <a:close/>
                  <a:moveTo>
                    <a:pt x="138" y="220"/>
                  </a:moveTo>
                  <a:lnTo>
                    <a:pt x="138" y="224"/>
                  </a:lnTo>
                  <a:lnTo>
                    <a:pt x="135" y="224"/>
                  </a:lnTo>
                  <a:cubicBezTo>
                    <a:pt x="141" y="227"/>
                    <a:pt x="144" y="227"/>
                    <a:pt x="144" y="230"/>
                  </a:cubicBezTo>
                  <a:cubicBezTo>
                    <a:pt x="146" y="230"/>
                    <a:pt x="146" y="227"/>
                    <a:pt x="149" y="224"/>
                  </a:cubicBezTo>
                  <a:lnTo>
                    <a:pt x="149" y="222"/>
                  </a:lnTo>
                  <a:lnTo>
                    <a:pt x="146" y="222"/>
                  </a:lnTo>
                  <a:lnTo>
                    <a:pt x="144" y="227"/>
                  </a:lnTo>
                  <a:lnTo>
                    <a:pt x="141" y="224"/>
                  </a:lnTo>
                  <a:lnTo>
                    <a:pt x="138" y="220"/>
                  </a:lnTo>
                  <a:close/>
                  <a:moveTo>
                    <a:pt x="138" y="233"/>
                  </a:moveTo>
                  <a:lnTo>
                    <a:pt x="138" y="236"/>
                  </a:lnTo>
                  <a:lnTo>
                    <a:pt x="141" y="236"/>
                  </a:lnTo>
                  <a:cubicBezTo>
                    <a:pt x="138" y="236"/>
                    <a:pt x="138" y="236"/>
                    <a:pt x="138" y="233"/>
                  </a:cubicBezTo>
                  <a:close/>
                  <a:moveTo>
                    <a:pt x="144" y="191"/>
                  </a:moveTo>
                  <a:lnTo>
                    <a:pt x="138" y="191"/>
                  </a:lnTo>
                  <a:lnTo>
                    <a:pt x="138" y="197"/>
                  </a:lnTo>
                  <a:lnTo>
                    <a:pt x="138" y="203"/>
                  </a:lnTo>
                  <a:lnTo>
                    <a:pt x="141" y="203"/>
                  </a:lnTo>
                  <a:lnTo>
                    <a:pt x="141" y="197"/>
                  </a:lnTo>
                  <a:lnTo>
                    <a:pt x="144" y="191"/>
                  </a:lnTo>
                  <a:close/>
                  <a:moveTo>
                    <a:pt x="138" y="238"/>
                  </a:moveTo>
                  <a:cubicBezTo>
                    <a:pt x="138" y="241"/>
                    <a:pt x="141" y="241"/>
                    <a:pt x="138" y="238"/>
                  </a:cubicBezTo>
                  <a:close/>
                  <a:moveTo>
                    <a:pt x="146" y="450"/>
                  </a:moveTo>
                  <a:lnTo>
                    <a:pt x="144" y="439"/>
                  </a:lnTo>
                  <a:cubicBezTo>
                    <a:pt x="141" y="442"/>
                    <a:pt x="138" y="442"/>
                    <a:pt x="141" y="444"/>
                  </a:cubicBezTo>
                  <a:lnTo>
                    <a:pt x="141" y="450"/>
                  </a:lnTo>
                  <a:lnTo>
                    <a:pt x="146" y="450"/>
                  </a:lnTo>
                  <a:close/>
                  <a:moveTo>
                    <a:pt x="155" y="272"/>
                  </a:moveTo>
                  <a:lnTo>
                    <a:pt x="152" y="267"/>
                  </a:lnTo>
                  <a:cubicBezTo>
                    <a:pt x="152" y="264"/>
                    <a:pt x="155" y="264"/>
                    <a:pt x="155" y="264"/>
                  </a:cubicBezTo>
                  <a:cubicBezTo>
                    <a:pt x="155" y="258"/>
                    <a:pt x="152" y="255"/>
                    <a:pt x="149" y="255"/>
                  </a:cubicBezTo>
                  <a:lnTo>
                    <a:pt x="149" y="261"/>
                  </a:lnTo>
                  <a:cubicBezTo>
                    <a:pt x="149" y="261"/>
                    <a:pt x="146" y="261"/>
                    <a:pt x="146" y="258"/>
                  </a:cubicBezTo>
                  <a:lnTo>
                    <a:pt x="146" y="264"/>
                  </a:lnTo>
                  <a:lnTo>
                    <a:pt x="144" y="267"/>
                  </a:lnTo>
                  <a:cubicBezTo>
                    <a:pt x="146" y="267"/>
                    <a:pt x="149" y="269"/>
                    <a:pt x="149" y="269"/>
                  </a:cubicBezTo>
                  <a:cubicBezTo>
                    <a:pt x="149" y="272"/>
                    <a:pt x="152" y="272"/>
                    <a:pt x="155" y="272"/>
                  </a:cubicBezTo>
                  <a:close/>
                  <a:moveTo>
                    <a:pt x="144" y="220"/>
                  </a:moveTo>
                  <a:cubicBezTo>
                    <a:pt x="144" y="222"/>
                    <a:pt x="146" y="222"/>
                    <a:pt x="144" y="220"/>
                  </a:cubicBezTo>
                  <a:close/>
                  <a:moveTo>
                    <a:pt x="149" y="197"/>
                  </a:moveTo>
                  <a:cubicBezTo>
                    <a:pt x="146" y="194"/>
                    <a:pt x="146" y="197"/>
                    <a:pt x="146" y="197"/>
                  </a:cubicBezTo>
                  <a:lnTo>
                    <a:pt x="149" y="197"/>
                  </a:lnTo>
                  <a:close/>
                  <a:moveTo>
                    <a:pt x="155" y="447"/>
                  </a:moveTo>
                  <a:cubicBezTo>
                    <a:pt x="146" y="450"/>
                    <a:pt x="144" y="456"/>
                    <a:pt x="144" y="458"/>
                  </a:cubicBezTo>
                  <a:lnTo>
                    <a:pt x="146" y="458"/>
                  </a:lnTo>
                  <a:lnTo>
                    <a:pt x="146" y="453"/>
                  </a:lnTo>
                  <a:cubicBezTo>
                    <a:pt x="155" y="450"/>
                    <a:pt x="155" y="450"/>
                    <a:pt x="155" y="447"/>
                  </a:cubicBezTo>
                  <a:close/>
                  <a:moveTo>
                    <a:pt x="146" y="250"/>
                  </a:moveTo>
                  <a:lnTo>
                    <a:pt x="149" y="253"/>
                  </a:lnTo>
                  <a:cubicBezTo>
                    <a:pt x="149" y="250"/>
                    <a:pt x="152" y="250"/>
                    <a:pt x="152" y="247"/>
                  </a:cubicBezTo>
                  <a:lnTo>
                    <a:pt x="152" y="241"/>
                  </a:lnTo>
                  <a:cubicBezTo>
                    <a:pt x="152" y="244"/>
                    <a:pt x="149" y="244"/>
                    <a:pt x="149" y="244"/>
                  </a:cubicBezTo>
                  <a:lnTo>
                    <a:pt x="146" y="250"/>
                  </a:lnTo>
                  <a:close/>
                  <a:moveTo>
                    <a:pt x="155" y="306"/>
                  </a:moveTo>
                  <a:lnTo>
                    <a:pt x="166" y="309"/>
                  </a:lnTo>
                  <a:lnTo>
                    <a:pt x="166" y="315"/>
                  </a:lnTo>
                  <a:cubicBezTo>
                    <a:pt x="166" y="315"/>
                    <a:pt x="169" y="309"/>
                    <a:pt x="172" y="306"/>
                  </a:cubicBezTo>
                  <a:cubicBezTo>
                    <a:pt x="169" y="303"/>
                    <a:pt x="169" y="303"/>
                    <a:pt x="169" y="300"/>
                  </a:cubicBezTo>
                  <a:cubicBezTo>
                    <a:pt x="169" y="298"/>
                    <a:pt x="166" y="298"/>
                    <a:pt x="163" y="298"/>
                  </a:cubicBezTo>
                  <a:lnTo>
                    <a:pt x="160" y="296"/>
                  </a:lnTo>
                  <a:lnTo>
                    <a:pt x="158" y="298"/>
                  </a:lnTo>
                  <a:cubicBezTo>
                    <a:pt x="158" y="298"/>
                    <a:pt x="158" y="300"/>
                    <a:pt x="155" y="300"/>
                  </a:cubicBezTo>
                  <a:lnTo>
                    <a:pt x="161" y="300"/>
                  </a:lnTo>
                  <a:lnTo>
                    <a:pt x="161" y="303"/>
                  </a:lnTo>
                  <a:lnTo>
                    <a:pt x="155" y="303"/>
                  </a:lnTo>
                  <a:lnTo>
                    <a:pt x="155" y="306"/>
                  </a:lnTo>
                  <a:lnTo>
                    <a:pt x="149" y="306"/>
                  </a:lnTo>
                  <a:cubicBezTo>
                    <a:pt x="152" y="309"/>
                    <a:pt x="152" y="309"/>
                    <a:pt x="155" y="306"/>
                  </a:cubicBezTo>
                  <a:close/>
                  <a:moveTo>
                    <a:pt x="161" y="433"/>
                  </a:moveTo>
                  <a:cubicBezTo>
                    <a:pt x="161" y="430"/>
                    <a:pt x="158" y="430"/>
                    <a:pt x="161" y="433"/>
                  </a:cubicBezTo>
                  <a:cubicBezTo>
                    <a:pt x="158" y="433"/>
                    <a:pt x="158" y="433"/>
                    <a:pt x="158" y="436"/>
                  </a:cubicBezTo>
                  <a:lnTo>
                    <a:pt x="152" y="439"/>
                  </a:lnTo>
                  <a:cubicBezTo>
                    <a:pt x="152" y="442"/>
                    <a:pt x="155" y="442"/>
                    <a:pt x="155" y="442"/>
                  </a:cubicBezTo>
                  <a:cubicBezTo>
                    <a:pt x="155" y="439"/>
                    <a:pt x="158" y="436"/>
                    <a:pt x="161" y="436"/>
                  </a:cubicBezTo>
                  <a:cubicBezTo>
                    <a:pt x="161" y="436"/>
                    <a:pt x="163" y="436"/>
                    <a:pt x="161" y="433"/>
                  </a:cubicBezTo>
                  <a:close/>
                  <a:moveTo>
                    <a:pt x="152" y="337"/>
                  </a:moveTo>
                  <a:cubicBezTo>
                    <a:pt x="152" y="337"/>
                    <a:pt x="155" y="337"/>
                    <a:pt x="152" y="337"/>
                  </a:cubicBezTo>
                  <a:cubicBezTo>
                    <a:pt x="155" y="337"/>
                    <a:pt x="155" y="334"/>
                    <a:pt x="155" y="334"/>
                  </a:cubicBezTo>
                  <a:lnTo>
                    <a:pt x="152" y="337"/>
                  </a:lnTo>
                  <a:close/>
                  <a:moveTo>
                    <a:pt x="158" y="295"/>
                  </a:moveTo>
                  <a:lnTo>
                    <a:pt x="166" y="295"/>
                  </a:lnTo>
                  <a:lnTo>
                    <a:pt x="161" y="289"/>
                  </a:lnTo>
                  <a:cubicBezTo>
                    <a:pt x="161" y="292"/>
                    <a:pt x="158" y="292"/>
                    <a:pt x="158" y="289"/>
                  </a:cubicBezTo>
                  <a:cubicBezTo>
                    <a:pt x="155" y="289"/>
                    <a:pt x="155" y="289"/>
                    <a:pt x="155" y="292"/>
                  </a:cubicBezTo>
                  <a:lnTo>
                    <a:pt x="158" y="292"/>
                  </a:lnTo>
                  <a:lnTo>
                    <a:pt x="161" y="295"/>
                  </a:lnTo>
                  <a:lnTo>
                    <a:pt x="160" y="296"/>
                  </a:lnTo>
                  <a:lnTo>
                    <a:pt x="158" y="295"/>
                  </a:lnTo>
                  <a:close/>
                  <a:moveTo>
                    <a:pt x="158" y="332"/>
                  </a:moveTo>
                  <a:lnTo>
                    <a:pt x="158" y="326"/>
                  </a:lnTo>
                  <a:lnTo>
                    <a:pt x="155" y="326"/>
                  </a:lnTo>
                  <a:cubicBezTo>
                    <a:pt x="155" y="329"/>
                    <a:pt x="158" y="332"/>
                    <a:pt x="158" y="332"/>
                  </a:cubicBezTo>
                  <a:close/>
                  <a:moveTo>
                    <a:pt x="155" y="317"/>
                  </a:moveTo>
                  <a:lnTo>
                    <a:pt x="158" y="320"/>
                  </a:lnTo>
                  <a:lnTo>
                    <a:pt x="158" y="317"/>
                  </a:lnTo>
                  <a:lnTo>
                    <a:pt x="158" y="315"/>
                  </a:lnTo>
                  <a:cubicBezTo>
                    <a:pt x="158" y="312"/>
                    <a:pt x="155" y="312"/>
                    <a:pt x="155" y="312"/>
                  </a:cubicBezTo>
                  <a:lnTo>
                    <a:pt x="155" y="317"/>
                  </a:lnTo>
                  <a:close/>
                  <a:moveTo>
                    <a:pt x="175" y="332"/>
                  </a:moveTo>
                  <a:cubicBezTo>
                    <a:pt x="172" y="329"/>
                    <a:pt x="169" y="329"/>
                    <a:pt x="166" y="329"/>
                  </a:cubicBezTo>
                  <a:cubicBezTo>
                    <a:pt x="166" y="326"/>
                    <a:pt x="166" y="326"/>
                    <a:pt x="169" y="323"/>
                  </a:cubicBezTo>
                  <a:lnTo>
                    <a:pt x="161" y="323"/>
                  </a:lnTo>
                  <a:lnTo>
                    <a:pt x="161" y="326"/>
                  </a:lnTo>
                  <a:lnTo>
                    <a:pt x="166" y="326"/>
                  </a:lnTo>
                  <a:cubicBezTo>
                    <a:pt x="163" y="329"/>
                    <a:pt x="163" y="332"/>
                    <a:pt x="161" y="334"/>
                  </a:cubicBezTo>
                  <a:lnTo>
                    <a:pt x="161" y="340"/>
                  </a:lnTo>
                  <a:lnTo>
                    <a:pt x="161" y="343"/>
                  </a:lnTo>
                  <a:lnTo>
                    <a:pt x="158" y="343"/>
                  </a:lnTo>
                  <a:lnTo>
                    <a:pt x="158" y="351"/>
                  </a:lnTo>
                  <a:lnTo>
                    <a:pt x="161" y="351"/>
                  </a:lnTo>
                  <a:lnTo>
                    <a:pt x="163" y="348"/>
                  </a:lnTo>
                  <a:lnTo>
                    <a:pt x="166" y="340"/>
                  </a:lnTo>
                  <a:lnTo>
                    <a:pt x="163" y="337"/>
                  </a:lnTo>
                  <a:lnTo>
                    <a:pt x="161" y="334"/>
                  </a:lnTo>
                  <a:lnTo>
                    <a:pt x="166" y="334"/>
                  </a:lnTo>
                  <a:cubicBezTo>
                    <a:pt x="166" y="334"/>
                    <a:pt x="166" y="337"/>
                    <a:pt x="169" y="337"/>
                  </a:cubicBezTo>
                  <a:cubicBezTo>
                    <a:pt x="169" y="340"/>
                    <a:pt x="172" y="343"/>
                    <a:pt x="175" y="340"/>
                  </a:cubicBezTo>
                  <a:lnTo>
                    <a:pt x="177" y="340"/>
                  </a:lnTo>
                  <a:cubicBezTo>
                    <a:pt x="172" y="337"/>
                    <a:pt x="172" y="334"/>
                    <a:pt x="175" y="332"/>
                  </a:cubicBezTo>
                  <a:close/>
                  <a:moveTo>
                    <a:pt x="161" y="286"/>
                  </a:moveTo>
                  <a:cubicBezTo>
                    <a:pt x="163" y="286"/>
                    <a:pt x="163" y="286"/>
                    <a:pt x="166" y="284"/>
                  </a:cubicBezTo>
                  <a:cubicBezTo>
                    <a:pt x="166" y="281"/>
                    <a:pt x="163" y="281"/>
                    <a:pt x="161" y="281"/>
                  </a:cubicBezTo>
                  <a:lnTo>
                    <a:pt x="161" y="286"/>
                  </a:lnTo>
                  <a:close/>
                  <a:moveTo>
                    <a:pt x="163" y="363"/>
                  </a:moveTo>
                  <a:cubicBezTo>
                    <a:pt x="163" y="365"/>
                    <a:pt x="161" y="368"/>
                    <a:pt x="161" y="368"/>
                  </a:cubicBezTo>
                  <a:cubicBezTo>
                    <a:pt x="163" y="368"/>
                    <a:pt x="163" y="368"/>
                    <a:pt x="163" y="371"/>
                  </a:cubicBezTo>
                  <a:lnTo>
                    <a:pt x="163" y="374"/>
                  </a:lnTo>
                  <a:lnTo>
                    <a:pt x="163" y="377"/>
                  </a:lnTo>
                  <a:cubicBezTo>
                    <a:pt x="163" y="379"/>
                    <a:pt x="163" y="379"/>
                    <a:pt x="166" y="379"/>
                  </a:cubicBezTo>
                  <a:cubicBezTo>
                    <a:pt x="163" y="379"/>
                    <a:pt x="163" y="382"/>
                    <a:pt x="163" y="385"/>
                  </a:cubicBezTo>
                  <a:lnTo>
                    <a:pt x="166" y="388"/>
                  </a:lnTo>
                  <a:cubicBezTo>
                    <a:pt x="169" y="388"/>
                    <a:pt x="169" y="388"/>
                    <a:pt x="172" y="385"/>
                  </a:cubicBezTo>
                  <a:lnTo>
                    <a:pt x="175" y="385"/>
                  </a:lnTo>
                  <a:cubicBezTo>
                    <a:pt x="175" y="382"/>
                    <a:pt x="177" y="385"/>
                    <a:pt x="177" y="388"/>
                  </a:cubicBezTo>
                  <a:lnTo>
                    <a:pt x="177" y="382"/>
                  </a:lnTo>
                  <a:lnTo>
                    <a:pt x="177" y="379"/>
                  </a:lnTo>
                  <a:lnTo>
                    <a:pt x="172" y="379"/>
                  </a:lnTo>
                  <a:lnTo>
                    <a:pt x="166" y="379"/>
                  </a:lnTo>
                  <a:lnTo>
                    <a:pt x="166" y="371"/>
                  </a:lnTo>
                  <a:cubicBezTo>
                    <a:pt x="166" y="368"/>
                    <a:pt x="166" y="365"/>
                    <a:pt x="169" y="363"/>
                  </a:cubicBezTo>
                  <a:lnTo>
                    <a:pt x="166" y="363"/>
                  </a:lnTo>
                  <a:lnTo>
                    <a:pt x="166" y="354"/>
                  </a:lnTo>
                  <a:lnTo>
                    <a:pt x="163" y="354"/>
                  </a:lnTo>
                  <a:cubicBezTo>
                    <a:pt x="166" y="357"/>
                    <a:pt x="166" y="360"/>
                    <a:pt x="163" y="363"/>
                  </a:cubicBezTo>
                  <a:close/>
                  <a:moveTo>
                    <a:pt x="163" y="408"/>
                  </a:moveTo>
                  <a:lnTo>
                    <a:pt x="163" y="413"/>
                  </a:lnTo>
                  <a:lnTo>
                    <a:pt x="166" y="413"/>
                  </a:lnTo>
                  <a:lnTo>
                    <a:pt x="163" y="408"/>
                  </a:lnTo>
                  <a:close/>
                  <a:moveTo>
                    <a:pt x="172" y="436"/>
                  </a:moveTo>
                  <a:cubicBezTo>
                    <a:pt x="169" y="436"/>
                    <a:pt x="166" y="436"/>
                    <a:pt x="163" y="433"/>
                  </a:cubicBezTo>
                  <a:cubicBezTo>
                    <a:pt x="163" y="436"/>
                    <a:pt x="166" y="436"/>
                    <a:pt x="169" y="439"/>
                  </a:cubicBezTo>
                  <a:lnTo>
                    <a:pt x="172" y="439"/>
                  </a:lnTo>
                  <a:lnTo>
                    <a:pt x="175" y="442"/>
                  </a:lnTo>
                  <a:cubicBezTo>
                    <a:pt x="175" y="440"/>
                    <a:pt x="175" y="438"/>
                    <a:pt x="176" y="436"/>
                  </a:cubicBezTo>
                  <a:cubicBezTo>
                    <a:pt x="175" y="436"/>
                    <a:pt x="173" y="436"/>
                    <a:pt x="172" y="436"/>
                  </a:cubicBezTo>
                  <a:close/>
                  <a:moveTo>
                    <a:pt x="166" y="317"/>
                  </a:moveTo>
                  <a:lnTo>
                    <a:pt x="169" y="320"/>
                  </a:lnTo>
                  <a:lnTo>
                    <a:pt x="169" y="315"/>
                  </a:lnTo>
                  <a:cubicBezTo>
                    <a:pt x="166" y="315"/>
                    <a:pt x="166" y="315"/>
                    <a:pt x="166" y="317"/>
                  </a:cubicBezTo>
                  <a:close/>
                  <a:moveTo>
                    <a:pt x="175" y="399"/>
                  </a:moveTo>
                  <a:lnTo>
                    <a:pt x="169" y="399"/>
                  </a:lnTo>
                  <a:lnTo>
                    <a:pt x="163" y="399"/>
                  </a:lnTo>
                  <a:lnTo>
                    <a:pt x="169" y="405"/>
                  </a:lnTo>
                  <a:lnTo>
                    <a:pt x="169" y="408"/>
                  </a:lnTo>
                  <a:cubicBezTo>
                    <a:pt x="169" y="408"/>
                    <a:pt x="169" y="410"/>
                    <a:pt x="166" y="410"/>
                  </a:cubicBezTo>
                  <a:cubicBezTo>
                    <a:pt x="169" y="410"/>
                    <a:pt x="169" y="408"/>
                    <a:pt x="172" y="408"/>
                  </a:cubicBezTo>
                  <a:lnTo>
                    <a:pt x="175" y="408"/>
                  </a:lnTo>
                  <a:lnTo>
                    <a:pt x="177" y="408"/>
                  </a:lnTo>
                  <a:lnTo>
                    <a:pt x="175" y="399"/>
                  </a:lnTo>
                  <a:close/>
                  <a:moveTo>
                    <a:pt x="177" y="422"/>
                  </a:moveTo>
                  <a:cubicBezTo>
                    <a:pt x="175" y="422"/>
                    <a:pt x="175" y="422"/>
                    <a:pt x="175" y="425"/>
                  </a:cubicBezTo>
                  <a:lnTo>
                    <a:pt x="177" y="427"/>
                  </a:lnTo>
                  <a:lnTo>
                    <a:pt x="175" y="427"/>
                  </a:lnTo>
                  <a:lnTo>
                    <a:pt x="172" y="427"/>
                  </a:lnTo>
                  <a:lnTo>
                    <a:pt x="172" y="430"/>
                  </a:lnTo>
                  <a:lnTo>
                    <a:pt x="172" y="433"/>
                  </a:lnTo>
                  <a:cubicBezTo>
                    <a:pt x="177" y="430"/>
                    <a:pt x="180" y="427"/>
                    <a:pt x="177" y="422"/>
                  </a:cubicBezTo>
                  <a:close/>
                  <a:moveTo>
                    <a:pt x="180" y="360"/>
                  </a:moveTo>
                  <a:cubicBezTo>
                    <a:pt x="180" y="357"/>
                    <a:pt x="177" y="357"/>
                    <a:pt x="177" y="354"/>
                  </a:cubicBezTo>
                  <a:cubicBezTo>
                    <a:pt x="175" y="357"/>
                    <a:pt x="175" y="357"/>
                    <a:pt x="175" y="360"/>
                  </a:cubicBezTo>
                  <a:lnTo>
                    <a:pt x="177" y="360"/>
                  </a:lnTo>
                  <a:lnTo>
                    <a:pt x="180" y="360"/>
                  </a:lnTo>
                  <a:close/>
                  <a:moveTo>
                    <a:pt x="177" y="374"/>
                  </a:moveTo>
                  <a:lnTo>
                    <a:pt x="177" y="368"/>
                  </a:lnTo>
                  <a:lnTo>
                    <a:pt x="175" y="368"/>
                  </a:lnTo>
                  <a:cubicBezTo>
                    <a:pt x="177" y="371"/>
                    <a:pt x="177" y="374"/>
                    <a:pt x="177" y="3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29" name="Freeform 1456"/>
            <p:cNvSpPr>
              <a:spLocks noChangeArrowheads="1"/>
            </p:cNvSpPr>
            <p:nvPr/>
          </p:nvSpPr>
          <p:spPr bwMode="auto">
            <a:xfrm>
              <a:off x="3956050" y="2482850"/>
              <a:ext cx="73025" cy="176213"/>
            </a:xfrm>
            <a:custGeom>
              <a:avLst/>
              <a:gdLst>
                <a:gd name="T0" fmla="*/ 184 w 202"/>
                <a:gd name="T1" fmla="*/ 453 h 490"/>
                <a:gd name="T2" fmla="*/ 48 w 202"/>
                <a:gd name="T3" fmla="*/ 430 h 490"/>
                <a:gd name="T4" fmla="*/ 43 w 202"/>
                <a:gd name="T5" fmla="*/ 331 h 490"/>
                <a:gd name="T6" fmla="*/ 14 w 202"/>
                <a:gd name="T7" fmla="*/ 197 h 490"/>
                <a:gd name="T8" fmla="*/ 26 w 202"/>
                <a:gd name="T9" fmla="*/ 14 h 490"/>
                <a:gd name="T10" fmla="*/ 130 w 202"/>
                <a:gd name="T11" fmla="*/ 56 h 490"/>
                <a:gd name="T12" fmla="*/ 136 w 202"/>
                <a:gd name="T13" fmla="*/ 112 h 490"/>
                <a:gd name="T14" fmla="*/ 158 w 202"/>
                <a:gd name="T15" fmla="*/ 194 h 490"/>
                <a:gd name="T16" fmla="*/ 181 w 202"/>
                <a:gd name="T17" fmla="*/ 315 h 490"/>
                <a:gd name="T18" fmla="*/ 31 w 202"/>
                <a:gd name="T19" fmla="*/ 65 h 490"/>
                <a:gd name="T20" fmla="*/ 34 w 202"/>
                <a:gd name="T21" fmla="*/ 56 h 490"/>
                <a:gd name="T22" fmla="*/ 37 w 202"/>
                <a:gd name="T23" fmla="*/ 129 h 490"/>
                <a:gd name="T24" fmla="*/ 40 w 202"/>
                <a:gd name="T25" fmla="*/ 36 h 490"/>
                <a:gd name="T26" fmla="*/ 43 w 202"/>
                <a:gd name="T27" fmla="*/ 211 h 490"/>
                <a:gd name="T28" fmla="*/ 133 w 202"/>
                <a:gd name="T29" fmla="*/ 346 h 490"/>
                <a:gd name="T30" fmla="*/ 116 w 202"/>
                <a:gd name="T31" fmla="*/ 248 h 490"/>
                <a:gd name="T32" fmla="*/ 93 w 202"/>
                <a:gd name="T33" fmla="*/ 152 h 490"/>
                <a:gd name="T34" fmla="*/ 60 w 202"/>
                <a:gd name="T35" fmla="*/ 62 h 490"/>
                <a:gd name="T36" fmla="*/ 74 w 202"/>
                <a:gd name="T37" fmla="*/ 214 h 490"/>
                <a:gd name="T38" fmla="*/ 93 w 202"/>
                <a:gd name="T39" fmla="*/ 300 h 490"/>
                <a:gd name="T40" fmla="*/ 51 w 202"/>
                <a:gd name="T41" fmla="*/ 255 h 490"/>
                <a:gd name="T42" fmla="*/ 60 w 202"/>
                <a:gd name="T43" fmla="*/ 255 h 490"/>
                <a:gd name="T44" fmla="*/ 60 w 202"/>
                <a:gd name="T45" fmla="*/ 28 h 490"/>
                <a:gd name="T46" fmla="*/ 62 w 202"/>
                <a:gd name="T47" fmla="*/ 309 h 490"/>
                <a:gd name="T48" fmla="*/ 74 w 202"/>
                <a:gd name="T49" fmla="*/ 39 h 490"/>
                <a:gd name="T50" fmla="*/ 65 w 202"/>
                <a:gd name="T51" fmla="*/ 379 h 490"/>
                <a:gd name="T52" fmla="*/ 77 w 202"/>
                <a:gd name="T53" fmla="*/ 334 h 490"/>
                <a:gd name="T54" fmla="*/ 74 w 202"/>
                <a:gd name="T55" fmla="*/ 357 h 490"/>
                <a:gd name="T56" fmla="*/ 88 w 202"/>
                <a:gd name="T57" fmla="*/ 45 h 490"/>
                <a:gd name="T58" fmla="*/ 88 w 202"/>
                <a:gd name="T59" fmla="*/ 39 h 490"/>
                <a:gd name="T60" fmla="*/ 88 w 202"/>
                <a:gd name="T61" fmla="*/ 39 h 490"/>
                <a:gd name="T62" fmla="*/ 85 w 202"/>
                <a:gd name="T63" fmla="*/ 413 h 490"/>
                <a:gd name="T64" fmla="*/ 105 w 202"/>
                <a:gd name="T65" fmla="*/ 444 h 490"/>
                <a:gd name="T66" fmla="*/ 113 w 202"/>
                <a:gd name="T67" fmla="*/ 439 h 490"/>
                <a:gd name="T68" fmla="*/ 119 w 202"/>
                <a:gd name="T69" fmla="*/ 84 h 490"/>
                <a:gd name="T70" fmla="*/ 116 w 202"/>
                <a:gd name="T71" fmla="*/ 104 h 490"/>
                <a:gd name="T72" fmla="*/ 122 w 202"/>
                <a:gd name="T73" fmla="*/ 121 h 490"/>
                <a:gd name="T74" fmla="*/ 136 w 202"/>
                <a:gd name="T75" fmla="*/ 456 h 490"/>
                <a:gd name="T76" fmla="*/ 119 w 202"/>
                <a:gd name="T77" fmla="*/ 84 h 490"/>
                <a:gd name="T78" fmla="*/ 125 w 202"/>
                <a:gd name="T79" fmla="*/ 169 h 490"/>
                <a:gd name="T80" fmla="*/ 127 w 202"/>
                <a:gd name="T81" fmla="*/ 183 h 490"/>
                <a:gd name="T82" fmla="*/ 133 w 202"/>
                <a:gd name="T83" fmla="*/ 172 h 490"/>
                <a:gd name="T84" fmla="*/ 130 w 202"/>
                <a:gd name="T85" fmla="*/ 251 h 490"/>
                <a:gd name="T86" fmla="*/ 133 w 202"/>
                <a:gd name="T87" fmla="*/ 217 h 490"/>
                <a:gd name="T88" fmla="*/ 139 w 202"/>
                <a:gd name="T89" fmla="*/ 189 h 490"/>
                <a:gd name="T90" fmla="*/ 141 w 202"/>
                <a:gd name="T91" fmla="*/ 258 h 490"/>
                <a:gd name="T92" fmla="*/ 141 w 202"/>
                <a:gd name="T93" fmla="*/ 180 h 490"/>
                <a:gd name="T94" fmla="*/ 141 w 202"/>
                <a:gd name="T95" fmla="*/ 248 h 490"/>
                <a:gd name="T96" fmla="*/ 158 w 202"/>
                <a:gd name="T97" fmla="*/ 430 h 490"/>
                <a:gd name="T98" fmla="*/ 158 w 202"/>
                <a:gd name="T99" fmla="*/ 303 h 490"/>
                <a:gd name="T100" fmla="*/ 158 w 202"/>
                <a:gd name="T101" fmla="*/ 289 h 490"/>
                <a:gd name="T102" fmla="*/ 153 w 202"/>
                <a:gd name="T103" fmla="*/ 317 h 490"/>
                <a:gd name="T104" fmla="*/ 161 w 202"/>
                <a:gd name="T105" fmla="*/ 323 h 490"/>
                <a:gd name="T106" fmla="*/ 161 w 202"/>
                <a:gd name="T107" fmla="*/ 331 h 490"/>
                <a:gd name="T108" fmla="*/ 161 w 202"/>
                <a:gd name="T109" fmla="*/ 368 h 490"/>
                <a:gd name="T110" fmla="*/ 170 w 202"/>
                <a:gd name="T111" fmla="*/ 377 h 490"/>
                <a:gd name="T112" fmla="*/ 158 w 202"/>
                <a:gd name="T113" fmla="*/ 405 h 490"/>
                <a:gd name="T114" fmla="*/ 167 w 202"/>
                <a:gd name="T115" fmla="*/ 402 h 490"/>
                <a:gd name="T116" fmla="*/ 167 w 202"/>
                <a:gd name="T117" fmla="*/ 425 h 490"/>
                <a:gd name="T118" fmla="*/ 170 w 202"/>
                <a:gd name="T119" fmla="*/ 36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2" h="490">
                  <a:moveTo>
                    <a:pt x="192" y="343"/>
                  </a:moveTo>
                  <a:cubicBezTo>
                    <a:pt x="192" y="352"/>
                    <a:pt x="195" y="357"/>
                    <a:pt x="195" y="365"/>
                  </a:cubicBezTo>
                  <a:lnTo>
                    <a:pt x="195" y="371"/>
                  </a:lnTo>
                  <a:lnTo>
                    <a:pt x="195" y="382"/>
                  </a:lnTo>
                  <a:lnTo>
                    <a:pt x="195" y="388"/>
                  </a:lnTo>
                  <a:cubicBezTo>
                    <a:pt x="201" y="394"/>
                    <a:pt x="198" y="396"/>
                    <a:pt x="195" y="402"/>
                  </a:cubicBezTo>
                  <a:lnTo>
                    <a:pt x="195" y="416"/>
                  </a:lnTo>
                  <a:lnTo>
                    <a:pt x="195" y="430"/>
                  </a:lnTo>
                  <a:lnTo>
                    <a:pt x="195" y="436"/>
                  </a:lnTo>
                  <a:cubicBezTo>
                    <a:pt x="195" y="439"/>
                    <a:pt x="192" y="439"/>
                    <a:pt x="192" y="441"/>
                  </a:cubicBezTo>
                  <a:cubicBezTo>
                    <a:pt x="189" y="444"/>
                    <a:pt x="187" y="450"/>
                    <a:pt x="184" y="453"/>
                  </a:cubicBezTo>
                  <a:lnTo>
                    <a:pt x="175" y="464"/>
                  </a:lnTo>
                  <a:cubicBezTo>
                    <a:pt x="170" y="470"/>
                    <a:pt x="161" y="475"/>
                    <a:pt x="153" y="481"/>
                  </a:cubicBezTo>
                  <a:cubicBezTo>
                    <a:pt x="150" y="484"/>
                    <a:pt x="147" y="484"/>
                    <a:pt x="141" y="484"/>
                  </a:cubicBezTo>
                  <a:cubicBezTo>
                    <a:pt x="139" y="484"/>
                    <a:pt x="136" y="484"/>
                    <a:pt x="130" y="487"/>
                  </a:cubicBezTo>
                  <a:cubicBezTo>
                    <a:pt x="127" y="484"/>
                    <a:pt x="127" y="484"/>
                    <a:pt x="125" y="484"/>
                  </a:cubicBezTo>
                  <a:cubicBezTo>
                    <a:pt x="122" y="484"/>
                    <a:pt x="122" y="487"/>
                    <a:pt x="119" y="487"/>
                  </a:cubicBezTo>
                  <a:cubicBezTo>
                    <a:pt x="105" y="489"/>
                    <a:pt x="93" y="484"/>
                    <a:pt x="82" y="475"/>
                  </a:cubicBezTo>
                  <a:cubicBezTo>
                    <a:pt x="77" y="473"/>
                    <a:pt x="74" y="470"/>
                    <a:pt x="71" y="464"/>
                  </a:cubicBezTo>
                  <a:cubicBezTo>
                    <a:pt x="71" y="461"/>
                    <a:pt x="68" y="458"/>
                    <a:pt x="65" y="458"/>
                  </a:cubicBezTo>
                  <a:cubicBezTo>
                    <a:pt x="62" y="456"/>
                    <a:pt x="60" y="456"/>
                    <a:pt x="57" y="453"/>
                  </a:cubicBezTo>
                  <a:cubicBezTo>
                    <a:pt x="57" y="444"/>
                    <a:pt x="54" y="436"/>
                    <a:pt x="48" y="430"/>
                  </a:cubicBezTo>
                  <a:lnTo>
                    <a:pt x="48" y="425"/>
                  </a:lnTo>
                  <a:lnTo>
                    <a:pt x="48" y="422"/>
                  </a:lnTo>
                  <a:cubicBezTo>
                    <a:pt x="48" y="419"/>
                    <a:pt x="46" y="416"/>
                    <a:pt x="46" y="413"/>
                  </a:cubicBezTo>
                  <a:cubicBezTo>
                    <a:pt x="48" y="405"/>
                    <a:pt x="48" y="397"/>
                    <a:pt x="48" y="394"/>
                  </a:cubicBezTo>
                  <a:cubicBezTo>
                    <a:pt x="48" y="392"/>
                    <a:pt x="48" y="388"/>
                    <a:pt x="51" y="385"/>
                  </a:cubicBezTo>
                  <a:cubicBezTo>
                    <a:pt x="51" y="382"/>
                    <a:pt x="48" y="377"/>
                    <a:pt x="48" y="374"/>
                  </a:cubicBezTo>
                  <a:lnTo>
                    <a:pt x="46" y="368"/>
                  </a:lnTo>
                  <a:cubicBezTo>
                    <a:pt x="43" y="365"/>
                    <a:pt x="46" y="365"/>
                    <a:pt x="46" y="360"/>
                  </a:cubicBezTo>
                  <a:lnTo>
                    <a:pt x="46" y="354"/>
                  </a:lnTo>
                  <a:lnTo>
                    <a:pt x="46" y="346"/>
                  </a:lnTo>
                  <a:cubicBezTo>
                    <a:pt x="43" y="340"/>
                    <a:pt x="43" y="337"/>
                    <a:pt x="43" y="331"/>
                  </a:cubicBezTo>
                  <a:cubicBezTo>
                    <a:pt x="43" y="326"/>
                    <a:pt x="40" y="323"/>
                    <a:pt x="40" y="317"/>
                  </a:cubicBezTo>
                  <a:cubicBezTo>
                    <a:pt x="37" y="315"/>
                    <a:pt x="37" y="312"/>
                    <a:pt x="37" y="309"/>
                  </a:cubicBezTo>
                  <a:cubicBezTo>
                    <a:pt x="37" y="306"/>
                    <a:pt x="37" y="306"/>
                    <a:pt x="34" y="303"/>
                  </a:cubicBezTo>
                  <a:cubicBezTo>
                    <a:pt x="34" y="300"/>
                    <a:pt x="31" y="300"/>
                    <a:pt x="31" y="298"/>
                  </a:cubicBezTo>
                  <a:lnTo>
                    <a:pt x="31" y="292"/>
                  </a:lnTo>
                  <a:lnTo>
                    <a:pt x="29" y="269"/>
                  </a:lnTo>
                  <a:cubicBezTo>
                    <a:pt x="29" y="264"/>
                    <a:pt x="26" y="255"/>
                    <a:pt x="26" y="251"/>
                  </a:cubicBezTo>
                  <a:lnTo>
                    <a:pt x="26" y="242"/>
                  </a:lnTo>
                  <a:lnTo>
                    <a:pt x="23" y="225"/>
                  </a:lnTo>
                  <a:cubicBezTo>
                    <a:pt x="20" y="220"/>
                    <a:pt x="20" y="214"/>
                    <a:pt x="17" y="206"/>
                  </a:cubicBezTo>
                  <a:cubicBezTo>
                    <a:pt x="17" y="203"/>
                    <a:pt x="14" y="200"/>
                    <a:pt x="14" y="197"/>
                  </a:cubicBezTo>
                  <a:cubicBezTo>
                    <a:pt x="14" y="194"/>
                    <a:pt x="14" y="191"/>
                    <a:pt x="12" y="189"/>
                  </a:cubicBezTo>
                  <a:cubicBezTo>
                    <a:pt x="9" y="186"/>
                    <a:pt x="6" y="180"/>
                    <a:pt x="9" y="175"/>
                  </a:cubicBezTo>
                  <a:lnTo>
                    <a:pt x="9" y="160"/>
                  </a:lnTo>
                  <a:cubicBezTo>
                    <a:pt x="9" y="158"/>
                    <a:pt x="6" y="152"/>
                    <a:pt x="9" y="149"/>
                  </a:cubicBezTo>
                  <a:cubicBezTo>
                    <a:pt x="9" y="141"/>
                    <a:pt x="9" y="135"/>
                    <a:pt x="6" y="127"/>
                  </a:cubicBezTo>
                  <a:cubicBezTo>
                    <a:pt x="3" y="115"/>
                    <a:pt x="0" y="101"/>
                    <a:pt x="0" y="90"/>
                  </a:cubicBezTo>
                  <a:lnTo>
                    <a:pt x="0" y="65"/>
                  </a:lnTo>
                  <a:lnTo>
                    <a:pt x="0" y="56"/>
                  </a:lnTo>
                  <a:cubicBezTo>
                    <a:pt x="0" y="45"/>
                    <a:pt x="6" y="31"/>
                    <a:pt x="14" y="22"/>
                  </a:cubicBezTo>
                  <a:lnTo>
                    <a:pt x="23" y="14"/>
                  </a:lnTo>
                  <a:lnTo>
                    <a:pt x="26" y="14"/>
                  </a:lnTo>
                  <a:cubicBezTo>
                    <a:pt x="29" y="14"/>
                    <a:pt x="31" y="11"/>
                    <a:pt x="34" y="11"/>
                  </a:cubicBezTo>
                  <a:lnTo>
                    <a:pt x="43" y="8"/>
                  </a:lnTo>
                  <a:cubicBezTo>
                    <a:pt x="46" y="8"/>
                    <a:pt x="48" y="5"/>
                    <a:pt x="51" y="5"/>
                  </a:cubicBezTo>
                  <a:cubicBezTo>
                    <a:pt x="54" y="5"/>
                    <a:pt x="57" y="2"/>
                    <a:pt x="60" y="2"/>
                  </a:cubicBezTo>
                  <a:cubicBezTo>
                    <a:pt x="62" y="2"/>
                    <a:pt x="65" y="0"/>
                    <a:pt x="65" y="2"/>
                  </a:cubicBezTo>
                  <a:lnTo>
                    <a:pt x="82" y="5"/>
                  </a:lnTo>
                  <a:cubicBezTo>
                    <a:pt x="93" y="8"/>
                    <a:pt x="105" y="11"/>
                    <a:pt x="110" y="19"/>
                  </a:cubicBezTo>
                  <a:cubicBezTo>
                    <a:pt x="113" y="25"/>
                    <a:pt x="119" y="30"/>
                    <a:pt x="122" y="33"/>
                  </a:cubicBezTo>
                  <a:cubicBezTo>
                    <a:pt x="125" y="35"/>
                    <a:pt x="125" y="39"/>
                    <a:pt x="125" y="39"/>
                  </a:cubicBezTo>
                  <a:cubicBezTo>
                    <a:pt x="125" y="42"/>
                    <a:pt x="125" y="45"/>
                    <a:pt x="127" y="48"/>
                  </a:cubicBezTo>
                  <a:lnTo>
                    <a:pt x="130" y="56"/>
                  </a:lnTo>
                  <a:cubicBezTo>
                    <a:pt x="130" y="59"/>
                    <a:pt x="133" y="62"/>
                    <a:pt x="133" y="65"/>
                  </a:cubicBezTo>
                  <a:lnTo>
                    <a:pt x="133" y="70"/>
                  </a:lnTo>
                  <a:cubicBezTo>
                    <a:pt x="130" y="76"/>
                    <a:pt x="133" y="81"/>
                    <a:pt x="133" y="84"/>
                  </a:cubicBezTo>
                  <a:cubicBezTo>
                    <a:pt x="133" y="84"/>
                    <a:pt x="133" y="87"/>
                    <a:pt x="136" y="87"/>
                  </a:cubicBezTo>
                  <a:lnTo>
                    <a:pt x="136" y="93"/>
                  </a:lnTo>
                  <a:lnTo>
                    <a:pt x="136" y="96"/>
                  </a:lnTo>
                  <a:cubicBezTo>
                    <a:pt x="136" y="96"/>
                    <a:pt x="139" y="98"/>
                    <a:pt x="136" y="98"/>
                  </a:cubicBezTo>
                  <a:lnTo>
                    <a:pt x="136" y="101"/>
                  </a:lnTo>
                  <a:lnTo>
                    <a:pt x="136" y="107"/>
                  </a:lnTo>
                  <a:lnTo>
                    <a:pt x="136" y="110"/>
                  </a:lnTo>
                  <a:lnTo>
                    <a:pt x="136" y="112"/>
                  </a:lnTo>
                  <a:cubicBezTo>
                    <a:pt x="139" y="115"/>
                    <a:pt x="139" y="115"/>
                    <a:pt x="139" y="118"/>
                  </a:cubicBezTo>
                  <a:cubicBezTo>
                    <a:pt x="139" y="121"/>
                    <a:pt x="141" y="124"/>
                    <a:pt x="141" y="129"/>
                  </a:cubicBezTo>
                  <a:cubicBezTo>
                    <a:pt x="141" y="132"/>
                    <a:pt x="141" y="138"/>
                    <a:pt x="144" y="141"/>
                  </a:cubicBezTo>
                  <a:lnTo>
                    <a:pt x="144" y="143"/>
                  </a:lnTo>
                  <a:lnTo>
                    <a:pt x="144" y="146"/>
                  </a:lnTo>
                  <a:lnTo>
                    <a:pt x="147" y="149"/>
                  </a:lnTo>
                  <a:cubicBezTo>
                    <a:pt x="147" y="152"/>
                    <a:pt x="147" y="155"/>
                    <a:pt x="150" y="158"/>
                  </a:cubicBezTo>
                  <a:lnTo>
                    <a:pt x="150" y="169"/>
                  </a:lnTo>
                  <a:cubicBezTo>
                    <a:pt x="150" y="169"/>
                    <a:pt x="150" y="172"/>
                    <a:pt x="153" y="175"/>
                  </a:cubicBezTo>
                  <a:cubicBezTo>
                    <a:pt x="156" y="180"/>
                    <a:pt x="156" y="186"/>
                    <a:pt x="156" y="191"/>
                  </a:cubicBezTo>
                  <a:lnTo>
                    <a:pt x="158" y="194"/>
                  </a:lnTo>
                  <a:lnTo>
                    <a:pt x="158" y="200"/>
                  </a:lnTo>
                  <a:lnTo>
                    <a:pt x="161" y="220"/>
                  </a:lnTo>
                  <a:lnTo>
                    <a:pt x="161" y="225"/>
                  </a:lnTo>
                  <a:lnTo>
                    <a:pt x="161" y="237"/>
                  </a:lnTo>
                  <a:lnTo>
                    <a:pt x="161" y="242"/>
                  </a:lnTo>
                  <a:cubicBezTo>
                    <a:pt x="161" y="245"/>
                    <a:pt x="161" y="251"/>
                    <a:pt x="164" y="254"/>
                  </a:cubicBezTo>
                  <a:cubicBezTo>
                    <a:pt x="167" y="258"/>
                    <a:pt x="170" y="267"/>
                    <a:pt x="170" y="272"/>
                  </a:cubicBezTo>
                  <a:cubicBezTo>
                    <a:pt x="170" y="275"/>
                    <a:pt x="170" y="278"/>
                    <a:pt x="172" y="284"/>
                  </a:cubicBezTo>
                  <a:cubicBezTo>
                    <a:pt x="175" y="286"/>
                    <a:pt x="175" y="292"/>
                    <a:pt x="178" y="298"/>
                  </a:cubicBezTo>
                  <a:cubicBezTo>
                    <a:pt x="178" y="303"/>
                    <a:pt x="178" y="306"/>
                    <a:pt x="181" y="312"/>
                  </a:cubicBezTo>
                  <a:lnTo>
                    <a:pt x="181" y="315"/>
                  </a:lnTo>
                  <a:lnTo>
                    <a:pt x="181" y="320"/>
                  </a:lnTo>
                  <a:lnTo>
                    <a:pt x="181" y="323"/>
                  </a:lnTo>
                  <a:cubicBezTo>
                    <a:pt x="189" y="329"/>
                    <a:pt x="192" y="335"/>
                    <a:pt x="192" y="343"/>
                  </a:cubicBezTo>
                  <a:close/>
                  <a:moveTo>
                    <a:pt x="23" y="98"/>
                  </a:moveTo>
                  <a:cubicBezTo>
                    <a:pt x="26" y="101"/>
                    <a:pt x="26" y="101"/>
                    <a:pt x="29" y="101"/>
                  </a:cubicBezTo>
                  <a:lnTo>
                    <a:pt x="29" y="96"/>
                  </a:lnTo>
                  <a:lnTo>
                    <a:pt x="23" y="98"/>
                  </a:lnTo>
                  <a:close/>
                  <a:moveTo>
                    <a:pt x="31" y="67"/>
                  </a:moveTo>
                  <a:cubicBezTo>
                    <a:pt x="34" y="67"/>
                    <a:pt x="34" y="67"/>
                    <a:pt x="37" y="65"/>
                  </a:cubicBezTo>
                  <a:lnTo>
                    <a:pt x="34" y="65"/>
                  </a:lnTo>
                  <a:lnTo>
                    <a:pt x="31" y="65"/>
                  </a:lnTo>
                  <a:cubicBezTo>
                    <a:pt x="29" y="65"/>
                    <a:pt x="26" y="67"/>
                    <a:pt x="23" y="67"/>
                  </a:cubicBezTo>
                  <a:lnTo>
                    <a:pt x="23" y="70"/>
                  </a:lnTo>
                  <a:lnTo>
                    <a:pt x="31" y="67"/>
                  </a:lnTo>
                  <a:close/>
                  <a:moveTo>
                    <a:pt x="26" y="132"/>
                  </a:moveTo>
                  <a:lnTo>
                    <a:pt x="29" y="132"/>
                  </a:lnTo>
                  <a:cubicBezTo>
                    <a:pt x="29" y="132"/>
                    <a:pt x="29" y="129"/>
                    <a:pt x="26" y="127"/>
                  </a:cubicBezTo>
                  <a:lnTo>
                    <a:pt x="26" y="132"/>
                  </a:lnTo>
                  <a:close/>
                  <a:moveTo>
                    <a:pt x="29" y="59"/>
                  </a:moveTo>
                  <a:lnTo>
                    <a:pt x="34" y="59"/>
                  </a:lnTo>
                  <a:cubicBezTo>
                    <a:pt x="34" y="62"/>
                    <a:pt x="37" y="62"/>
                    <a:pt x="40" y="59"/>
                  </a:cubicBezTo>
                  <a:cubicBezTo>
                    <a:pt x="37" y="59"/>
                    <a:pt x="37" y="56"/>
                    <a:pt x="34" y="56"/>
                  </a:cubicBezTo>
                  <a:cubicBezTo>
                    <a:pt x="31" y="56"/>
                    <a:pt x="31" y="53"/>
                    <a:pt x="29" y="53"/>
                  </a:cubicBezTo>
                  <a:lnTo>
                    <a:pt x="29" y="59"/>
                  </a:lnTo>
                  <a:close/>
                  <a:moveTo>
                    <a:pt x="34" y="172"/>
                  </a:moveTo>
                  <a:lnTo>
                    <a:pt x="31" y="169"/>
                  </a:lnTo>
                  <a:cubicBezTo>
                    <a:pt x="29" y="175"/>
                    <a:pt x="31" y="175"/>
                    <a:pt x="34" y="172"/>
                  </a:cubicBezTo>
                  <a:close/>
                  <a:moveTo>
                    <a:pt x="31" y="48"/>
                  </a:moveTo>
                  <a:cubicBezTo>
                    <a:pt x="34" y="48"/>
                    <a:pt x="34" y="45"/>
                    <a:pt x="37" y="45"/>
                  </a:cubicBezTo>
                  <a:cubicBezTo>
                    <a:pt x="34" y="45"/>
                    <a:pt x="34" y="42"/>
                    <a:pt x="31" y="39"/>
                  </a:cubicBezTo>
                  <a:lnTo>
                    <a:pt x="31" y="48"/>
                  </a:lnTo>
                  <a:close/>
                  <a:moveTo>
                    <a:pt x="40" y="135"/>
                  </a:moveTo>
                  <a:cubicBezTo>
                    <a:pt x="40" y="135"/>
                    <a:pt x="40" y="132"/>
                    <a:pt x="37" y="129"/>
                  </a:cubicBezTo>
                  <a:lnTo>
                    <a:pt x="34" y="135"/>
                  </a:lnTo>
                  <a:lnTo>
                    <a:pt x="40" y="135"/>
                  </a:lnTo>
                  <a:close/>
                  <a:moveTo>
                    <a:pt x="37" y="186"/>
                  </a:moveTo>
                  <a:lnTo>
                    <a:pt x="40" y="186"/>
                  </a:lnTo>
                  <a:lnTo>
                    <a:pt x="40" y="183"/>
                  </a:lnTo>
                  <a:cubicBezTo>
                    <a:pt x="40" y="183"/>
                    <a:pt x="37" y="183"/>
                    <a:pt x="37" y="186"/>
                  </a:cubicBezTo>
                  <a:close/>
                  <a:moveTo>
                    <a:pt x="37" y="172"/>
                  </a:moveTo>
                  <a:lnTo>
                    <a:pt x="40" y="172"/>
                  </a:lnTo>
                  <a:lnTo>
                    <a:pt x="40" y="169"/>
                  </a:lnTo>
                  <a:lnTo>
                    <a:pt x="37" y="172"/>
                  </a:lnTo>
                  <a:close/>
                  <a:moveTo>
                    <a:pt x="40" y="36"/>
                  </a:moveTo>
                  <a:lnTo>
                    <a:pt x="43" y="39"/>
                  </a:lnTo>
                  <a:lnTo>
                    <a:pt x="46" y="39"/>
                  </a:lnTo>
                  <a:lnTo>
                    <a:pt x="43" y="36"/>
                  </a:lnTo>
                  <a:lnTo>
                    <a:pt x="40" y="36"/>
                  </a:lnTo>
                  <a:close/>
                  <a:moveTo>
                    <a:pt x="40" y="45"/>
                  </a:moveTo>
                  <a:cubicBezTo>
                    <a:pt x="43" y="48"/>
                    <a:pt x="43" y="50"/>
                    <a:pt x="46" y="53"/>
                  </a:cubicBezTo>
                  <a:cubicBezTo>
                    <a:pt x="48" y="50"/>
                    <a:pt x="48" y="48"/>
                    <a:pt x="51" y="42"/>
                  </a:cubicBezTo>
                  <a:lnTo>
                    <a:pt x="40" y="45"/>
                  </a:lnTo>
                  <a:close/>
                  <a:moveTo>
                    <a:pt x="48" y="208"/>
                  </a:moveTo>
                  <a:lnTo>
                    <a:pt x="43" y="208"/>
                  </a:lnTo>
                  <a:lnTo>
                    <a:pt x="43" y="211"/>
                  </a:lnTo>
                  <a:lnTo>
                    <a:pt x="46" y="211"/>
                  </a:lnTo>
                  <a:lnTo>
                    <a:pt x="48" y="208"/>
                  </a:lnTo>
                  <a:close/>
                  <a:moveTo>
                    <a:pt x="110" y="413"/>
                  </a:moveTo>
                  <a:lnTo>
                    <a:pt x="116" y="419"/>
                  </a:lnTo>
                  <a:cubicBezTo>
                    <a:pt x="119" y="422"/>
                    <a:pt x="122" y="422"/>
                    <a:pt x="122" y="425"/>
                  </a:cubicBezTo>
                  <a:lnTo>
                    <a:pt x="133" y="422"/>
                  </a:lnTo>
                  <a:cubicBezTo>
                    <a:pt x="139" y="413"/>
                    <a:pt x="141" y="402"/>
                    <a:pt x="139" y="391"/>
                  </a:cubicBezTo>
                  <a:lnTo>
                    <a:pt x="139" y="385"/>
                  </a:lnTo>
                  <a:lnTo>
                    <a:pt x="139" y="379"/>
                  </a:lnTo>
                  <a:cubicBezTo>
                    <a:pt x="139" y="368"/>
                    <a:pt x="139" y="368"/>
                    <a:pt x="136" y="363"/>
                  </a:cubicBezTo>
                  <a:cubicBezTo>
                    <a:pt x="133" y="357"/>
                    <a:pt x="133" y="351"/>
                    <a:pt x="133" y="346"/>
                  </a:cubicBezTo>
                  <a:lnTo>
                    <a:pt x="133" y="331"/>
                  </a:lnTo>
                  <a:cubicBezTo>
                    <a:pt x="130" y="329"/>
                    <a:pt x="130" y="323"/>
                    <a:pt x="130" y="320"/>
                  </a:cubicBezTo>
                  <a:cubicBezTo>
                    <a:pt x="130" y="317"/>
                    <a:pt x="130" y="312"/>
                    <a:pt x="127" y="309"/>
                  </a:cubicBezTo>
                  <a:lnTo>
                    <a:pt x="122" y="286"/>
                  </a:lnTo>
                  <a:lnTo>
                    <a:pt x="122" y="281"/>
                  </a:lnTo>
                  <a:lnTo>
                    <a:pt x="122" y="275"/>
                  </a:lnTo>
                  <a:lnTo>
                    <a:pt x="122" y="269"/>
                  </a:lnTo>
                  <a:cubicBezTo>
                    <a:pt x="122" y="267"/>
                    <a:pt x="119" y="267"/>
                    <a:pt x="119" y="264"/>
                  </a:cubicBezTo>
                  <a:lnTo>
                    <a:pt x="116" y="253"/>
                  </a:lnTo>
                  <a:lnTo>
                    <a:pt x="116" y="251"/>
                  </a:lnTo>
                  <a:lnTo>
                    <a:pt x="116" y="248"/>
                  </a:lnTo>
                  <a:lnTo>
                    <a:pt x="110" y="242"/>
                  </a:lnTo>
                  <a:lnTo>
                    <a:pt x="110" y="237"/>
                  </a:lnTo>
                  <a:lnTo>
                    <a:pt x="110" y="225"/>
                  </a:lnTo>
                  <a:lnTo>
                    <a:pt x="110" y="214"/>
                  </a:lnTo>
                  <a:cubicBezTo>
                    <a:pt x="110" y="211"/>
                    <a:pt x="110" y="206"/>
                    <a:pt x="108" y="203"/>
                  </a:cubicBezTo>
                  <a:cubicBezTo>
                    <a:pt x="105" y="200"/>
                    <a:pt x="102" y="194"/>
                    <a:pt x="102" y="191"/>
                  </a:cubicBezTo>
                  <a:lnTo>
                    <a:pt x="102" y="186"/>
                  </a:lnTo>
                  <a:lnTo>
                    <a:pt x="102" y="172"/>
                  </a:lnTo>
                  <a:lnTo>
                    <a:pt x="102" y="166"/>
                  </a:lnTo>
                  <a:cubicBezTo>
                    <a:pt x="102" y="163"/>
                    <a:pt x="102" y="163"/>
                    <a:pt x="99" y="160"/>
                  </a:cubicBezTo>
                  <a:cubicBezTo>
                    <a:pt x="99" y="158"/>
                    <a:pt x="96" y="155"/>
                    <a:pt x="93" y="152"/>
                  </a:cubicBezTo>
                  <a:cubicBezTo>
                    <a:pt x="91" y="149"/>
                    <a:pt x="91" y="146"/>
                    <a:pt x="93" y="143"/>
                  </a:cubicBezTo>
                  <a:lnTo>
                    <a:pt x="93" y="135"/>
                  </a:lnTo>
                  <a:lnTo>
                    <a:pt x="93" y="127"/>
                  </a:lnTo>
                  <a:cubicBezTo>
                    <a:pt x="96" y="124"/>
                    <a:pt x="93" y="121"/>
                    <a:pt x="93" y="118"/>
                  </a:cubicBezTo>
                  <a:cubicBezTo>
                    <a:pt x="91" y="118"/>
                    <a:pt x="91" y="115"/>
                    <a:pt x="91" y="112"/>
                  </a:cubicBezTo>
                  <a:lnTo>
                    <a:pt x="91" y="107"/>
                  </a:lnTo>
                  <a:lnTo>
                    <a:pt x="88" y="93"/>
                  </a:lnTo>
                  <a:cubicBezTo>
                    <a:pt x="88" y="87"/>
                    <a:pt x="85" y="81"/>
                    <a:pt x="82" y="76"/>
                  </a:cubicBezTo>
                  <a:cubicBezTo>
                    <a:pt x="82" y="73"/>
                    <a:pt x="79" y="73"/>
                    <a:pt x="77" y="70"/>
                  </a:cubicBezTo>
                  <a:cubicBezTo>
                    <a:pt x="74" y="70"/>
                    <a:pt x="74" y="67"/>
                    <a:pt x="71" y="65"/>
                  </a:cubicBezTo>
                  <a:lnTo>
                    <a:pt x="60" y="62"/>
                  </a:lnTo>
                  <a:lnTo>
                    <a:pt x="57" y="65"/>
                  </a:lnTo>
                  <a:lnTo>
                    <a:pt x="54" y="67"/>
                  </a:lnTo>
                  <a:cubicBezTo>
                    <a:pt x="54" y="70"/>
                    <a:pt x="54" y="76"/>
                    <a:pt x="51" y="79"/>
                  </a:cubicBezTo>
                  <a:cubicBezTo>
                    <a:pt x="48" y="84"/>
                    <a:pt x="51" y="87"/>
                    <a:pt x="54" y="93"/>
                  </a:cubicBezTo>
                  <a:lnTo>
                    <a:pt x="62" y="138"/>
                  </a:lnTo>
                  <a:lnTo>
                    <a:pt x="62" y="155"/>
                  </a:lnTo>
                  <a:cubicBezTo>
                    <a:pt x="62" y="158"/>
                    <a:pt x="62" y="160"/>
                    <a:pt x="65" y="160"/>
                  </a:cubicBezTo>
                  <a:cubicBezTo>
                    <a:pt x="68" y="166"/>
                    <a:pt x="71" y="172"/>
                    <a:pt x="68" y="175"/>
                  </a:cubicBezTo>
                  <a:cubicBezTo>
                    <a:pt x="68" y="177"/>
                    <a:pt x="68" y="183"/>
                    <a:pt x="71" y="186"/>
                  </a:cubicBezTo>
                  <a:lnTo>
                    <a:pt x="71" y="191"/>
                  </a:lnTo>
                  <a:cubicBezTo>
                    <a:pt x="74" y="197"/>
                    <a:pt x="77" y="206"/>
                    <a:pt x="74" y="214"/>
                  </a:cubicBezTo>
                  <a:cubicBezTo>
                    <a:pt x="74" y="220"/>
                    <a:pt x="74" y="225"/>
                    <a:pt x="77" y="228"/>
                  </a:cubicBezTo>
                  <a:lnTo>
                    <a:pt x="77" y="231"/>
                  </a:lnTo>
                  <a:lnTo>
                    <a:pt x="77" y="234"/>
                  </a:lnTo>
                  <a:cubicBezTo>
                    <a:pt x="77" y="237"/>
                    <a:pt x="77" y="237"/>
                    <a:pt x="79" y="239"/>
                  </a:cubicBezTo>
                  <a:cubicBezTo>
                    <a:pt x="79" y="242"/>
                    <a:pt x="82" y="248"/>
                    <a:pt x="82" y="251"/>
                  </a:cubicBezTo>
                  <a:cubicBezTo>
                    <a:pt x="82" y="254"/>
                    <a:pt x="82" y="255"/>
                    <a:pt x="85" y="255"/>
                  </a:cubicBezTo>
                  <a:cubicBezTo>
                    <a:pt x="88" y="261"/>
                    <a:pt x="88" y="267"/>
                    <a:pt x="85" y="272"/>
                  </a:cubicBezTo>
                  <a:cubicBezTo>
                    <a:pt x="88" y="275"/>
                    <a:pt x="88" y="281"/>
                    <a:pt x="91" y="284"/>
                  </a:cubicBezTo>
                  <a:lnTo>
                    <a:pt x="91" y="289"/>
                  </a:lnTo>
                  <a:lnTo>
                    <a:pt x="91" y="295"/>
                  </a:lnTo>
                  <a:cubicBezTo>
                    <a:pt x="91" y="298"/>
                    <a:pt x="93" y="298"/>
                    <a:pt x="93" y="300"/>
                  </a:cubicBezTo>
                  <a:cubicBezTo>
                    <a:pt x="93" y="306"/>
                    <a:pt x="96" y="309"/>
                    <a:pt x="96" y="312"/>
                  </a:cubicBezTo>
                  <a:lnTo>
                    <a:pt x="96" y="315"/>
                  </a:lnTo>
                  <a:lnTo>
                    <a:pt x="96" y="317"/>
                  </a:lnTo>
                  <a:cubicBezTo>
                    <a:pt x="96" y="329"/>
                    <a:pt x="96" y="340"/>
                    <a:pt x="102" y="351"/>
                  </a:cubicBezTo>
                  <a:cubicBezTo>
                    <a:pt x="102" y="354"/>
                    <a:pt x="105" y="360"/>
                    <a:pt x="105" y="363"/>
                  </a:cubicBezTo>
                  <a:lnTo>
                    <a:pt x="105" y="374"/>
                  </a:lnTo>
                  <a:cubicBezTo>
                    <a:pt x="102" y="379"/>
                    <a:pt x="105" y="385"/>
                    <a:pt x="105" y="391"/>
                  </a:cubicBezTo>
                  <a:cubicBezTo>
                    <a:pt x="108" y="394"/>
                    <a:pt x="108" y="399"/>
                    <a:pt x="108" y="402"/>
                  </a:cubicBezTo>
                  <a:cubicBezTo>
                    <a:pt x="108" y="405"/>
                    <a:pt x="108" y="408"/>
                    <a:pt x="110" y="413"/>
                  </a:cubicBezTo>
                  <a:close/>
                  <a:moveTo>
                    <a:pt x="48" y="258"/>
                  </a:moveTo>
                  <a:lnTo>
                    <a:pt x="51" y="255"/>
                  </a:lnTo>
                  <a:lnTo>
                    <a:pt x="51" y="253"/>
                  </a:lnTo>
                  <a:lnTo>
                    <a:pt x="51" y="251"/>
                  </a:lnTo>
                  <a:cubicBezTo>
                    <a:pt x="51" y="254"/>
                    <a:pt x="48" y="253"/>
                    <a:pt x="48" y="258"/>
                  </a:cubicBezTo>
                  <a:close/>
                  <a:moveTo>
                    <a:pt x="51" y="42"/>
                  </a:moveTo>
                  <a:lnTo>
                    <a:pt x="57" y="36"/>
                  </a:lnTo>
                  <a:cubicBezTo>
                    <a:pt x="51" y="36"/>
                    <a:pt x="48" y="39"/>
                    <a:pt x="51" y="42"/>
                  </a:cubicBezTo>
                  <a:close/>
                  <a:moveTo>
                    <a:pt x="57" y="267"/>
                  </a:moveTo>
                  <a:cubicBezTo>
                    <a:pt x="57" y="269"/>
                    <a:pt x="60" y="272"/>
                    <a:pt x="62" y="272"/>
                  </a:cubicBezTo>
                  <a:cubicBezTo>
                    <a:pt x="60" y="269"/>
                    <a:pt x="60" y="267"/>
                    <a:pt x="57" y="267"/>
                  </a:cubicBezTo>
                  <a:cubicBezTo>
                    <a:pt x="60" y="264"/>
                    <a:pt x="60" y="264"/>
                    <a:pt x="60" y="261"/>
                  </a:cubicBezTo>
                  <a:lnTo>
                    <a:pt x="60" y="255"/>
                  </a:lnTo>
                  <a:cubicBezTo>
                    <a:pt x="57" y="258"/>
                    <a:pt x="54" y="258"/>
                    <a:pt x="54" y="261"/>
                  </a:cubicBezTo>
                  <a:cubicBezTo>
                    <a:pt x="54" y="261"/>
                    <a:pt x="57" y="264"/>
                    <a:pt x="57" y="267"/>
                  </a:cubicBezTo>
                  <a:close/>
                  <a:moveTo>
                    <a:pt x="62" y="298"/>
                  </a:moveTo>
                  <a:cubicBezTo>
                    <a:pt x="62" y="298"/>
                    <a:pt x="60" y="295"/>
                    <a:pt x="62" y="298"/>
                  </a:cubicBezTo>
                  <a:cubicBezTo>
                    <a:pt x="60" y="295"/>
                    <a:pt x="60" y="298"/>
                    <a:pt x="57" y="298"/>
                  </a:cubicBezTo>
                  <a:lnTo>
                    <a:pt x="62" y="298"/>
                  </a:lnTo>
                  <a:close/>
                  <a:moveTo>
                    <a:pt x="57" y="31"/>
                  </a:moveTo>
                  <a:lnTo>
                    <a:pt x="62" y="31"/>
                  </a:lnTo>
                  <a:lnTo>
                    <a:pt x="62" y="28"/>
                  </a:lnTo>
                  <a:lnTo>
                    <a:pt x="62" y="25"/>
                  </a:lnTo>
                  <a:cubicBezTo>
                    <a:pt x="60" y="25"/>
                    <a:pt x="60" y="28"/>
                    <a:pt x="60" y="28"/>
                  </a:cubicBezTo>
                  <a:lnTo>
                    <a:pt x="57" y="31"/>
                  </a:lnTo>
                  <a:close/>
                  <a:moveTo>
                    <a:pt x="60" y="278"/>
                  </a:moveTo>
                  <a:cubicBezTo>
                    <a:pt x="62" y="281"/>
                    <a:pt x="62" y="281"/>
                    <a:pt x="62" y="284"/>
                  </a:cubicBezTo>
                  <a:cubicBezTo>
                    <a:pt x="65" y="286"/>
                    <a:pt x="65" y="289"/>
                    <a:pt x="65" y="292"/>
                  </a:cubicBezTo>
                  <a:cubicBezTo>
                    <a:pt x="65" y="284"/>
                    <a:pt x="65" y="281"/>
                    <a:pt x="60" y="278"/>
                  </a:cubicBezTo>
                  <a:close/>
                  <a:moveTo>
                    <a:pt x="65" y="317"/>
                  </a:moveTo>
                  <a:cubicBezTo>
                    <a:pt x="65" y="317"/>
                    <a:pt x="67" y="317"/>
                    <a:pt x="68" y="319"/>
                  </a:cubicBezTo>
                  <a:lnTo>
                    <a:pt x="65" y="306"/>
                  </a:lnTo>
                  <a:lnTo>
                    <a:pt x="62" y="306"/>
                  </a:lnTo>
                  <a:lnTo>
                    <a:pt x="60" y="306"/>
                  </a:lnTo>
                  <a:lnTo>
                    <a:pt x="62" y="309"/>
                  </a:lnTo>
                  <a:cubicBezTo>
                    <a:pt x="62" y="309"/>
                    <a:pt x="62" y="312"/>
                    <a:pt x="65" y="312"/>
                  </a:cubicBezTo>
                  <a:cubicBezTo>
                    <a:pt x="65" y="315"/>
                    <a:pt x="62" y="315"/>
                    <a:pt x="60" y="315"/>
                  </a:cubicBezTo>
                  <a:lnTo>
                    <a:pt x="65" y="317"/>
                  </a:lnTo>
                  <a:close/>
                  <a:moveTo>
                    <a:pt x="62" y="33"/>
                  </a:moveTo>
                  <a:lnTo>
                    <a:pt x="62" y="39"/>
                  </a:lnTo>
                  <a:cubicBezTo>
                    <a:pt x="65" y="39"/>
                    <a:pt x="68" y="39"/>
                    <a:pt x="70" y="41"/>
                  </a:cubicBezTo>
                  <a:cubicBezTo>
                    <a:pt x="70" y="42"/>
                    <a:pt x="69" y="42"/>
                    <a:pt x="68" y="42"/>
                  </a:cubicBezTo>
                  <a:lnTo>
                    <a:pt x="74" y="48"/>
                  </a:lnTo>
                  <a:cubicBezTo>
                    <a:pt x="74" y="45"/>
                    <a:pt x="77" y="45"/>
                    <a:pt x="77" y="42"/>
                  </a:cubicBezTo>
                  <a:cubicBezTo>
                    <a:pt x="77" y="42"/>
                    <a:pt x="77" y="39"/>
                    <a:pt x="79" y="36"/>
                  </a:cubicBezTo>
                  <a:lnTo>
                    <a:pt x="74" y="39"/>
                  </a:lnTo>
                  <a:cubicBezTo>
                    <a:pt x="72" y="39"/>
                    <a:pt x="72" y="40"/>
                    <a:pt x="71" y="41"/>
                  </a:cubicBezTo>
                  <a:lnTo>
                    <a:pt x="70" y="41"/>
                  </a:lnTo>
                  <a:lnTo>
                    <a:pt x="71" y="42"/>
                  </a:lnTo>
                  <a:cubicBezTo>
                    <a:pt x="71" y="41"/>
                    <a:pt x="71" y="40"/>
                    <a:pt x="71" y="41"/>
                  </a:cubicBezTo>
                  <a:lnTo>
                    <a:pt x="71" y="39"/>
                  </a:lnTo>
                  <a:cubicBezTo>
                    <a:pt x="71" y="39"/>
                    <a:pt x="65" y="33"/>
                    <a:pt x="62" y="33"/>
                  </a:cubicBezTo>
                  <a:close/>
                  <a:moveTo>
                    <a:pt x="65" y="363"/>
                  </a:moveTo>
                  <a:cubicBezTo>
                    <a:pt x="68" y="365"/>
                    <a:pt x="68" y="365"/>
                    <a:pt x="68" y="368"/>
                  </a:cubicBezTo>
                  <a:lnTo>
                    <a:pt x="68" y="365"/>
                  </a:lnTo>
                  <a:lnTo>
                    <a:pt x="65" y="363"/>
                  </a:lnTo>
                  <a:close/>
                  <a:moveTo>
                    <a:pt x="65" y="379"/>
                  </a:moveTo>
                  <a:lnTo>
                    <a:pt x="68" y="379"/>
                  </a:lnTo>
                  <a:cubicBezTo>
                    <a:pt x="68" y="377"/>
                    <a:pt x="65" y="377"/>
                    <a:pt x="65" y="379"/>
                  </a:cubicBezTo>
                  <a:close/>
                  <a:moveTo>
                    <a:pt x="68" y="33"/>
                  </a:moveTo>
                  <a:cubicBezTo>
                    <a:pt x="71" y="33"/>
                    <a:pt x="74" y="36"/>
                    <a:pt x="79" y="36"/>
                  </a:cubicBezTo>
                  <a:lnTo>
                    <a:pt x="79" y="33"/>
                  </a:lnTo>
                  <a:lnTo>
                    <a:pt x="71" y="31"/>
                  </a:lnTo>
                  <a:lnTo>
                    <a:pt x="68" y="33"/>
                  </a:lnTo>
                  <a:close/>
                  <a:moveTo>
                    <a:pt x="77" y="334"/>
                  </a:moveTo>
                  <a:lnTo>
                    <a:pt x="71" y="334"/>
                  </a:lnTo>
                  <a:lnTo>
                    <a:pt x="71" y="337"/>
                  </a:lnTo>
                  <a:cubicBezTo>
                    <a:pt x="71" y="337"/>
                    <a:pt x="74" y="337"/>
                    <a:pt x="77" y="334"/>
                  </a:cubicBezTo>
                  <a:close/>
                  <a:moveTo>
                    <a:pt x="79" y="391"/>
                  </a:moveTo>
                  <a:lnTo>
                    <a:pt x="74" y="391"/>
                  </a:lnTo>
                  <a:lnTo>
                    <a:pt x="71" y="394"/>
                  </a:lnTo>
                  <a:cubicBezTo>
                    <a:pt x="71" y="396"/>
                    <a:pt x="74" y="396"/>
                    <a:pt x="74" y="399"/>
                  </a:cubicBezTo>
                  <a:cubicBezTo>
                    <a:pt x="77" y="396"/>
                    <a:pt x="77" y="394"/>
                    <a:pt x="79" y="391"/>
                  </a:cubicBezTo>
                  <a:close/>
                  <a:moveTo>
                    <a:pt x="74" y="365"/>
                  </a:moveTo>
                  <a:lnTo>
                    <a:pt x="79" y="365"/>
                  </a:lnTo>
                  <a:lnTo>
                    <a:pt x="79" y="360"/>
                  </a:lnTo>
                  <a:cubicBezTo>
                    <a:pt x="79" y="360"/>
                    <a:pt x="79" y="363"/>
                    <a:pt x="77" y="363"/>
                  </a:cubicBezTo>
                  <a:cubicBezTo>
                    <a:pt x="77" y="363"/>
                    <a:pt x="74" y="363"/>
                    <a:pt x="74" y="365"/>
                  </a:cubicBezTo>
                  <a:close/>
                  <a:moveTo>
                    <a:pt x="74" y="357"/>
                  </a:moveTo>
                  <a:lnTo>
                    <a:pt x="79" y="357"/>
                  </a:lnTo>
                  <a:lnTo>
                    <a:pt x="79" y="354"/>
                  </a:lnTo>
                  <a:cubicBezTo>
                    <a:pt x="77" y="357"/>
                    <a:pt x="77" y="357"/>
                    <a:pt x="74" y="357"/>
                  </a:cubicBezTo>
                  <a:close/>
                  <a:moveTo>
                    <a:pt x="82" y="377"/>
                  </a:moveTo>
                  <a:cubicBezTo>
                    <a:pt x="82" y="374"/>
                    <a:pt x="79" y="374"/>
                    <a:pt x="79" y="374"/>
                  </a:cubicBezTo>
                  <a:lnTo>
                    <a:pt x="77" y="377"/>
                  </a:lnTo>
                  <a:lnTo>
                    <a:pt x="79" y="379"/>
                  </a:lnTo>
                  <a:lnTo>
                    <a:pt x="82" y="379"/>
                  </a:lnTo>
                  <a:lnTo>
                    <a:pt x="82" y="377"/>
                  </a:lnTo>
                  <a:close/>
                  <a:moveTo>
                    <a:pt x="91" y="39"/>
                  </a:moveTo>
                  <a:lnTo>
                    <a:pt x="88" y="45"/>
                  </a:lnTo>
                  <a:cubicBezTo>
                    <a:pt x="88" y="46"/>
                    <a:pt x="87" y="47"/>
                    <a:pt x="86" y="48"/>
                  </a:cubicBezTo>
                  <a:cubicBezTo>
                    <a:pt x="87" y="48"/>
                    <a:pt x="88" y="49"/>
                    <a:pt x="88" y="50"/>
                  </a:cubicBezTo>
                  <a:cubicBezTo>
                    <a:pt x="88" y="48"/>
                    <a:pt x="91" y="48"/>
                    <a:pt x="91" y="45"/>
                  </a:cubicBezTo>
                  <a:cubicBezTo>
                    <a:pt x="91" y="42"/>
                    <a:pt x="93" y="42"/>
                    <a:pt x="93" y="39"/>
                  </a:cubicBezTo>
                  <a:lnTo>
                    <a:pt x="91" y="39"/>
                  </a:lnTo>
                  <a:lnTo>
                    <a:pt x="88" y="34"/>
                  </a:lnTo>
                  <a:cubicBezTo>
                    <a:pt x="87" y="34"/>
                    <a:pt x="86" y="35"/>
                    <a:pt x="86" y="35"/>
                  </a:cubicBezTo>
                  <a:lnTo>
                    <a:pt x="85" y="33"/>
                  </a:lnTo>
                  <a:lnTo>
                    <a:pt x="82" y="36"/>
                  </a:lnTo>
                  <a:cubicBezTo>
                    <a:pt x="84" y="38"/>
                    <a:pt x="86" y="39"/>
                    <a:pt x="88" y="39"/>
                  </a:cubicBezTo>
                  <a:lnTo>
                    <a:pt x="88" y="39"/>
                  </a:lnTo>
                  <a:lnTo>
                    <a:pt x="88" y="39"/>
                  </a:lnTo>
                  <a:cubicBezTo>
                    <a:pt x="89" y="39"/>
                    <a:pt x="90" y="39"/>
                    <a:pt x="91" y="39"/>
                  </a:cubicBezTo>
                  <a:close/>
                  <a:moveTo>
                    <a:pt x="96" y="42"/>
                  </a:moveTo>
                  <a:lnTo>
                    <a:pt x="99" y="42"/>
                  </a:lnTo>
                  <a:lnTo>
                    <a:pt x="102" y="42"/>
                  </a:lnTo>
                  <a:lnTo>
                    <a:pt x="102" y="39"/>
                  </a:lnTo>
                  <a:lnTo>
                    <a:pt x="99" y="39"/>
                  </a:lnTo>
                  <a:lnTo>
                    <a:pt x="96" y="39"/>
                  </a:lnTo>
                  <a:lnTo>
                    <a:pt x="96" y="42"/>
                  </a:lnTo>
                  <a:close/>
                  <a:moveTo>
                    <a:pt x="88" y="39"/>
                  </a:moveTo>
                  <a:lnTo>
                    <a:pt x="88" y="39"/>
                  </a:lnTo>
                  <a:lnTo>
                    <a:pt x="86" y="35"/>
                  </a:lnTo>
                  <a:cubicBezTo>
                    <a:pt x="86" y="36"/>
                    <a:pt x="86" y="38"/>
                    <a:pt x="88" y="39"/>
                  </a:cubicBezTo>
                  <a:close/>
                  <a:moveTo>
                    <a:pt x="85" y="394"/>
                  </a:moveTo>
                  <a:cubicBezTo>
                    <a:pt x="82" y="394"/>
                    <a:pt x="82" y="396"/>
                    <a:pt x="82" y="396"/>
                  </a:cubicBezTo>
                  <a:lnTo>
                    <a:pt x="85" y="394"/>
                  </a:lnTo>
                  <a:close/>
                  <a:moveTo>
                    <a:pt x="88" y="430"/>
                  </a:moveTo>
                  <a:cubicBezTo>
                    <a:pt x="88" y="427"/>
                    <a:pt x="91" y="427"/>
                    <a:pt x="91" y="427"/>
                  </a:cubicBezTo>
                  <a:lnTo>
                    <a:pt x="85" y="422"/>
                  </a:lnTo>
                  <a:cubicBezTo>
                    <a:pt x="85" y="427"/>
                    <a:pt x="88" y="430"/>
                    <a:pt x="88" y="430"/>
                  </a:cubicBezTo>
                  <a:close/>
                  <a:moveTo>
                    <a:pt x="85" y="410"/>
                  </a:moveTo>
                  <a:lnTo>
                    <a:pt x="85" y="413"/>
                  </a:lnTo>
                  <a:cubicBezTo>
                    <a:pt x="91" y="413"/>
                    <a:pt x="91" y="410"/>
                    <a:pt x="85" y="410"/>
                  </a:cubicBezTo>
                  <a:close/>
                  <a:moveTo>
                    <a:pt x="91" y="45"/>
                  </a:moveTo>
                  <a:cubicBezTo>
                    <a:pt x="91" y="48"/>
                    <a:pt x="93" y="50"/>
                    <a:pt x="93" y="50"/>
                  </a:cubicBezTo>
                  <a:lnTo>
                    <a:pt x="93" y="53"/>
                  </a:lnTo>
                  <a:lnTo>
                    <a:pt x="93" y="56"/>
                  </a:lnTo>
                  <a:cubicBezTo>
                    <a:pt x="96" y="59"/>
                    <a:pt x="99" y="62"/>
                    <a:pt x="105" y="56"/>
                  </a:cubicBezTo>
                  <a:cubicBezTo>
                    <a:pt x="102" y="50"/>
                    <a:pt x="96" y="45"/>
                    <a:pt x="91" y="45"/>
                  </a:cubicBezTo>
                  <a:close/>
                  <a:moveTo>
                    <a:pt x="108" y="430"/>
                  </a:moveTo>
                  <a:cubicBezTo>
                    <a:pt x="105" y="433"/>
                    <a:pt x="102" y="433"/>
                    <a:pt x="99" y="436"/>
                  </a:cubicBezTo>
                  <a:lnTo>
                    <a:pt x="102" y="439"/>
                  </a:lnTo>
                  <a:cubicBezTo>
                    <a:pt x="102" y="441"/>
                    <a:pt x="102" y="441"/>
                    <a:pt x="105" y="444"/>
                  </a:cubicBezTo>
                  <a:cubicBezTo>
                    <a:pt x="105" y="441"/>
                    <a:pt x="105" y="439"/>
                    <a:pt x="108" y="430"/>
                  </a:cubicBezTo>
                  <a:close/>
                  <a:moveTo>
                    <a:pt x="110" y="450"/>
                  </a:moveTo>
                  <a:lnTo>
                    <a:pt x="108" y="450"/>
                  </a:lnTo>
                  <a:cubicBezTo>
                    <a:pt x="105" y="450"/>
                    <a:pt x="105" y="450"/>
                    <a:pt x="102" y="453"/>
                  </a:cubicBezTo>
                  <a:cubicBezTo>
                    <a:pt x="105" y="453"/>
                    <a:pt x="105" y="456"/>
                    <a:pt x="108" y="456"/>
                  </a:cubicBezTo>
                  <a:cubicBezTo>
                    <a:pt x="105" y="453"/>
                    <a:pt x="108" y="453"/>
                    <a:pt x="110" y="450"/>
                  </a:cubicBezTo>
                  <a:close/>
                  <a:moveTo>
                    <a:pt x="110" y="76"/>
                  </a:moveTo>
                  <a:cubicBezTo>
                    <a:pt x="108" y="76"/>
                    <a:pt x="108" y="76"/>
                    <a:pt x="105" y="79"/>
                  </a:cubicBezTo>
                  <a:cubicBezTo>
                    <a:pt x="105" y="81"/>
                    <a:pt x="108" y="81"/>
                    <a:pt x="110" y="81"/>
                  </a:cubicBezTo>
                  <a:lnTo>
                    <a:pt x="110" y="76"/>
                  </a:lnTo>
                  <a:close/>
                  <a:moveTo>
                    <a:pt x="113" y="439"/>
                  </a:moveTo>
                  <a:lnTo>
                    <a:pt x="110" y="439"/>
                  </a:lnTo>
                  <a:cubicBezTo>
                    <a:pt x="110" y="444"/>
                    <a:pt x="110" y="447"/>
                    <a:pt x="116" y="447"/>
                  </a:cubicBezTo>
                  <a:lnTo>
                    <a:pt x="113" y="439"/>
                  </a:lnTo>
                  <a:close/>
                  <a:moveTo>
                    <a:pt x="110" y="59"/>
                  </a:moveTo>
                  <a:lnTo>
                    <a:pt x="110" y="62"/>
                  </a:lnTo>
                  <a:lnTo>
                    <a:pt x="110" y="67"/>
                  </a:lnTo>
                  <a:lnTo>
                    <a:pt x="116" y="62"/>
                  </a:lnTo>
                  <a:cubicBezTo>
                    <a:pt x="113" y="62"/>
                    <a:pt x="110" y="59"/>
                    <a:pt x="110" y="59"/>
                  </a:cubicBezTo>
                  <a:close/>
                  <a:moveTo>
                    <a:pt x="119" y="79"/>
                  </a:moveTo>
                  <a:cubicBezTo>
                    <a:pt x="116" y="79"/>
                    <a:pt x="113" y="79"/>
                    <a:pt x="110" y="81"/>
                  </a:cubicBezTo>
                  <a:cubicBezTo>
                    <a:pt x="113" y="84"/>
                    <a:pt x="116" y="84"/>
                    <a:pt x="119" y="84"/>
                  </a:cubicBezTo>
                  <a:lnTo>
                    <a:pt x="119" y="79"/>
                  </a:lnTo>
                  <a:close/>
                  <a:moveTo>
                    <a:pt x="110" y="70"/>
                  </a:moveTo>
                  <a:cubicBezTo>
                    <a:pt x="113" y="73"/>
                    <a:pt x="116" y="76"/>
                    <a:pt x="116" y="79"/>
                  </a:cubicBezTo>
                  <a:lnTo>
                    <a:pt x="116" y="73"/>
                  </a:lnTo>
                  <a:cubicBezTo>
                    <a:pt x="116" y="73"/>
                    <a:pt x="116" y="70"/>
                    <a:pt x="110" y="70"/>
                  </a:cubicBezTo>
                  <a:close/>
                  <a:moveTo>
                    <a:pt x="116" y="104"/>
                  </a:moveTo>
                  <a:cubicBezTo>
                    <a:pt x="116" y="107"/>
                    <a:pt x="116" y="110"/>
                    <a:pt x="113" y="112"/>
                  </a:cubicBezTo>
                  <a:lnTo>
                    <a:pt x="116" y="112"/>
                  </a:lnTo>
                  <a:lnTo>
                    <a:pt x="122" y="112"/>
                  </a:lnTo>
                  <a:lnTo>
                    <a:pt x="125" y="112"/>
                  </a:lnTo>
                  <a:lnTo>
                    <a:pt x="116" y="104"/>
                  </a:lnTo>
                  <a:cubicBezTo>
                    <a:pt x="119" y="104"/>
                    <a:pt x="122" y="101"/>
                    <a:pt x="122" y="98"/>
                  </a:cubicBezTo>
                  <a:cubicBezTo>
                    <a:pt x="116" y="101"/>
                    <a:pt x="116" y="104"/>
                    <a:pt x="116" y="104"/>
                  </a:cubicBezTo>
                  <a:close/>
                  <a:moveTo>
                    <a:pt x="116" y="127"/>
                  </a:moveTo>
                  <a:cubicBezTo>
                    <a:pt x="119" y="127"/>
                    <a:pt x="119" y="129"/>
                    <a:pt x="119" y="129"/>
                  </a:cubicBezTo>
                  <a:lnTo>
                    <a:pt x="122" y="132"/>
                  </a:lnTo>
                  <a:cubicBezTo>
                    <a:pt x="119" y="135"/>
                    <a:pt x="122" y="138"/>
                    <a:pt x="122" y="138"/>
                  </a:cubicBezTo>
                  <a:cubicBezTo>
                    <a:pt x="122" y="138"/>
                    <a:pt x="122" y="141"/>
                    <a:pt x="125" y="141"/>
                  </a:cubicBezTo>
                  <a:lnTo>
                    <a:pt x="127" y="138"/>
                  </a:lnTo>
                  <a:cubicBezTo>
                    <a:pt x="127" y="138"/>
                    <a:pt x="125" y="135"/>
                    <a:pt x="125" y="132"/>
                  </a:cubicBezTo>
                  <a:lnTo>
                    <a:pt x="125" y="121"/>
                  </a:lnTo>
                  <a:lnTo>
                    <a:pt x="122" y="121"/>
                  </a:lnTo>
                  <a:lnTo>
                    <a:pt x="116" y="127"/>
                  </a:lnTo>
                  <a:close/>
                  <a:moveTo>
                    <a:pt x="119" y="152"/>
                  </a:moveTo>
                  <a:lnTo>
                    <a:pt x="122" y="155"/>
                  </a:lnTo>
                  <a:cubicBezTo>
                    <a:pt x="122" y="155"/>
                    <a:pt x="125" y="155"/>
                    <a:pt x="125" y="158"/>
                  </a:cubicBezTo>
                  <a:lnTo>
                    <a:pt x="122" y="160"/>
                  </a:lnTo>
                  <a:cubicBezTo>
                    <a:pt x="125" y="163"/>
                    <a:pt x="127" y="160"/>
                    <a:pt x="130" y="158"/>
                  </a:cubicBezTo>
                  <a:cubicBezTo>
                    <a:pt x="127" y="158"/>
                    <a:pt x="127" y="155"/>
                    <a:pt x="127" y="155"/>
                  </a:cubicBezTo>
                  <a:cubicBezTo>
                    <a:pt x="125" y="155"/>
                    <a:pt x="125" y="152"/>
                    <a:pt x="122" y="155"/>
                  </a:cubicBezTo>
                  <a:cubicBezTo>
                    <a:pt x="122" y="152"/>
                    <a:pt x="122" y="152"/>
                    <a:pt x="119" y="152"/>
                  </a:cubicBezTo>
                  <a:close/>
                  <a:moveTo>
                    <a:pt x="139" y="458"/>
                  </a:moveTo>
                  <a:lnTo>
                    <a:pt x="136" y="456"/>
                  </a:lnTo>
                  <a:lnTo>
                    <a:pt x="130" y="456"/>
                  </a:lnTo>
                  <a:lnTo>
                    <a:pt x="130" y="450"/>
                  </a:lnTo>
                  <a:lnTo>
                    <a:pt x="125" y="450"/>
                  </a:lnTo>
                  <a:lnTo>
                    <a:pt x="122" y="450"/>
                  </a:lnTo>
                  <a:lnTo>
                    <a:pt x="116" y="450"/>
                  </a:lnTo>
                  <a:lnTo>
                    <a:pt x="119" y="453"/>
                  </a:lnTo>
                  <a:lnTo>
                    <a:pt x="119" y="458"/>
                  </a:lnTo>
                  <a:lnTo>
                    <a:pt x="119" y="464"/>
                  </a:lnTo>
                  <a:cubicBezTo>
                    <a:pt x="122" y="461"/>
                    <a:pt x="125" y="461"/>
                    <a:pt x="127" y="461"/>
                  </a:cubicBezTo>
                  <a:cubicBezTo>
                    <a:pt x="133" y="456"/>
                    <a:pt x="136" y="456"/>
                    <a:pt x="139" y="458"/>
                  </a:cubicBezTo>
                  <a:close/>
                  <a:moveTo>
                    <a:pt x="119" y="84"/>
                  </a:moveTo>
                  <a:lnTo>
                    <a:pt x="125" y="90"/>
                  </a:lnTo>
                  <a:cubicBezTo>
                    <a:pt x="127" y="90"/>
                    <a:pt x="127" y="87"/>
                    <a:pt x="127" y="87"/>
                  </a:cubicBezTo>
                  <a:cubicBezTo>
                    <a:pt x="125" y="87"/>
                    <a:pt x="125" y="84"/>
                    <a:pt x="119" y="84"/>
                  </a:cubicBezTo>
                  <a:close/>
                  <a:moveTo>
                    <a:pt x="119" y="141"/>
                  </a:moveTo>
                  <a:cubicBezTo>
                    <a:pt x="119" y="143"/>
                    <a:pt x="119" y="143"/>
                    <a:pt x="122" y="143"/>
                  </a:cubicBezTo>
                  <a:lnTo>
                    <a:pt x="119" y="141"/>
                  </a:lnTo>
                  <a:close/>
                  <a:moveTo>
                    <a:pt x="125" y="436"/>
                  </a:moveTo>
                  <a:lnTo>
                    <a:pt x="122" y="436"/>
                  </a:lnTo>
                  <a:cubicBezTo>
                    <a:pt x="122" y="436"/>
                    <a:pt x="125" y="439"/>
                    <a:pt x="125" y="436"/>
                  </a:cubicBezTo>
                  <a:close/>
                  <a:moveTo>
                    <a:pt x="122" y="166"/>
                  </a:moveTo>
                  <a:lnTo>
                    <a:pt x="125" y="169"/>
                  </a:lnTo>
                  <a:cubicBezTo>
                    <a:pt x="127" y="163"/>
                    <a:pt x="125" y="163"/>
                    <a:pt x="122" y="166"/>
                  </a:cubicBezTo>
                  <a:close/>
                  <a:moveTo>
                    <a:pt x="122" y="121"/>
                  </a:moveTo>
                  <a:lnTo>
                    <a:pt x="127" y="118"/>
                  </a:lnTo>
                  <a:cubicBezTo>
                    <a:pt x="122" y="115"/>
                    <a:pt x="122" y="118"/>
                    <a:pt x="122" y="121"/>
                  </a:cubicBezTo>
                  <a:close/>
                  <a:moveTo>
                    <a:pt x="125" y="98"/>
                  </a:moveTo>
                  <a:cubicBezTo>
                    <a:pt x="122" y="98"/>
                    <a:pt x="122" y="98"/>
                    <a:pt x="122" y="101"/>
                  </a:cubicBezTo>
                  <a:cubicBezTo>
                    <a:pt x="122" y="101"/>
                    <a:pt x="125" y="101"/>
                    <a:pt x="125" y="104"/>
                  </a:cubicBezTo>
                  <a:lnTo>
                    <a:pt x="125" y="107"/>
                  </a:lnTo>
                  <a:lnTo>
                    <a:pt x="127" y="107"/>
                  </a:lnTo>
                  <a:lnTo>
                    <a:pt x="125" y="98"/>
                  </a:lnTo>
                  <a:close/>
                  <a:moveTo>
                    <a:pt x="127" y="183"/>
                  </a:moveTo>
                  <a:lnTo>
                    <a:pt x="127" y="189"/>
                  </a:lnTo>
                  <a:lnTo>
                    <a:pt x="130" y="189"/>
                  </a:lnTo>
                  <a:lnTo>
                    <a:pt x="133" y="186"/>
                  </a:lnTo>
                  <a:lnTo>
                    <a:pt x="133" y="183"/>
                  </a:lnTo>
                  <a:cubicBezTo>
                    <a:pt x="139" y="180"/>
                    <a:pt x="139" y="180"/>
                    <a:pt x="136" y="175"/>
                  </a:cubicBezTo>
                  <a:lnTo>
                    <a:pt x="127" y="183"/>
                  </a:lnTo>
                  <a:close/>
                  <a:moveTo>
                    <a:pt x="133" y="172"/>
                  </a:moveTo>
                  <a:cubicBezTo>
                    <a:pt x="133" y="172"/>
                    <a:pt x="130" y="172"/>
                    <a:pt x="130" y="169"/>
                  </a:cubicBezTo>
                  <a:lnTo>
                    <a:pt x="130" y="172"/>
                  </a:lnTo>
                  <a:lnTo>
                    <a:pt x="130" y="175"/>
                  </a:lnTo>
                  <a:cubicBezTo>
                    <a:pt x="133" y="175"/>
                    <a:pt x="133" y="175"/>
                    <a:pt x="133" y="172"/>
                  </a:cubicBezTo>
                  <a:close/>
                  <a:moveTo>
                    <a:pt x="133" y="439"/>
                  </a:moveTo>
                  <a:lnTo>
                    <a:pt x="130" y="439"/>
                  </a:lnTo>
                  <a:lnTo>
                    <a:pt x="130" y="441"/>
                  </a:lnTo>
                  <a:cubicBezTo>
                    <a:pt x="133" y="444"/>
                    <a:pt x="136" y="444"/>
                    <a:pt x="133" y="439"/>
                  </a:cubicBezTo>
                  <a:close/>
                  <a:moveTo>
                    <a:pt x="136" y="146"/>
                  </a:moveTo>
                  <a:cubicBezTo>
                    <a:pt x="133" y="146"/>
                    <a:pt x="133" y="149"/>
                    <a:pt x="130" y="149"/>
                  </a:cubicBezTo>
                  <a:cubicBezTo>
                    <a:pt x="139" y="152"/>
                    <a:pt x="136" y="149"/>
                    <a:pt x="136" y="146"/>
                  </a:cubicBezTo>
                  <a:close/>
                  <a:moveTo>
                    <a:pt x="136" y="255"/>
                  </a:moveTo>
                  <a:lnTo>
                    <a:pt x="136" y="251"/>
                  </a:lnTo>
                  <a:lnTo>
                    <a:pt x="133" y="251"/>
                  </a:lnTo>
                  <a:lnTo>
                    <a:pt x="130" y="251"/>
                  </a:lnTo>
                  <a:lnTo>
                    <a:pt x="136" y="255"/>
                  </a:lnTo>
                  <a:close/>
                  <a:moveTo>
                    <a:pt x="133" y="217"/>
                  </a:moveTo>
                  <a:lnTo>
                    <a:pt x="133" y="222"/>
                  </a:lnTo>
                  <a:lnTo>
                    <a:pt x="141" y="231"/>
                  </a:lnTo>
                  <a:cubicBezTo>
                    <a:pt x="144" y="231"/>
                    <a:pt x="144" y="228"/>
                    <a:pt x="147" y="225"/>
                  </a:cubicBezTo>
                  <a:lnTo>
                    <a:pt x="147" y="222"/>
                  </a:lnTo>
                  <a:lnTo>
                    <a:pt x="144" y="222"/>
                  </a:lnTo>
                  <a:lnTo>
                    <a:pt x="141" y="225"/>
                  </a:lnTo>
                  <a:lnTo>
                    <a:pt x="139" y="222"/>
                  </a:lnTo>
                  <a:lnTo>
                    <a:pt x="136" y="222"/>
                  </a:lnTo>
                  <a:lnTo>
                    <a:pt x="133" y="217"/>
                  </a:lnTo>
                  <a:close/>
                  <a:moveTo>
                    <a:pt x="133" y="231"/>
                  </a:moveTo>
                  <a:lnTo>
                    <a:pt x="133" y="234"/>
                  </a:lnTo>
                  <a:lnTo>
                    <a:pt x="136" y="234"/>
                  </a:lnTo>
                  <a:lnTo>
                    <a:pt x="133" y="231"/>
                  </a:lnTo>
                  <a:close/>
                  <a:moveTo>
                    <a:pt x="139" y="189"/>
                  </a:moveTo>
                  <a:lnTo>
                    <a:pt x="136" y="189"/>
                  </a:lnTo>
                  <a:lnTo>
                    <a:pt x="136" y="194"/>
                  </a:lnTo>
                  <a:lnTo>
                    <a:pt x="136" y="200"/>
                  </a:lnTo>
                  <a:lnTo>
                    <a:pt x="139" y="200"/>
                  </a:lnTo>
                  <a:lnTo>
                    <a:pt x="139" y="194"/>
                  </a:lnTo>
                  <a:cubicBezTo>
                    <a:pt x="139" y="194"/>
                    <a:pt x="139" y="191"/>
                    <a:pt x="139" y="189"/>
                  </a:cubicBezTo>
                  <a:close/>
                  <a:moveTo>
                    <a:pt x="141" y="447"/>
                  </a:moveTo>
                  <a:lnTo>
                    <a:pt x="139" y="436"/>
                  </a:lnTo>
                  <a:cubicBezTo>
                    <a:pt x="136" y="439"/>
                    <a:pt x="133" y="439"/>
                    <a:pt x="136" y="441"/>
                  </a:cubicBezTo>
                  <a:lnTo>
                    <a:pt x="136" y="447"/>
                  </a:lnTo>
                  <a:lnTo>
                    <a:pt x="141" y="447"/>
                  </a:lnTo>
                  <a:close/>
                  <a:moveTo>
                    <a:pt x="150" y="272"/>
                  </a:moveTo>
                  <a:lnTo>
                    <a:pt x="147" y="267"/>
                  </a:lnTo>
                  <a:cubicBezTo>
                    <a:pt x="147" y="264"/>
                    <a:pt x="150" y="264"/>
                    <a:pt x="150" y="264"/>
                  </a:cubicBezTo>
                  <a:cubicBezTo>
                    <a:pt x="150" y="258"/>
                    <a:pt x="147" y="255"/>
                    <a:pt x="144" y="255"/>
                  </a:cubicBezTo>
                  <a:lnTo>
                    <a:pt x="144" y="261"/>
                  </a:lnTo>
                  <a:cubicBezTo>
                    <a:pt x="144" y="261"/>
                    <a:pt x="141" y="261"/>
                    <a:pt x="141" y="258"/>
                  </a:cubicBezTo>
                  <a:lnTo>
                    <a:pt x="141" y="264"/>
                  </a:lnTo>
                  <a:lnTo>
                    <a:pt x="139" y="267"/>
                  </a:lnTo>
                  <a:cubicBezTo>
                    <a:pt x="141" y="267"/>
                    <a:pt x="144" y="269"/>
                    <a:pt x="144" y="269"/>
                  </a:cubicBezTo>
                  <a:cubicBezTo>
                    <a:pt x="144" y="269"/>
                    <a:pt x="147" y="272"/>
                    <a:pt x="150" y="272"/>
                  </a:cubicBezTo>
                  <a:close/>
                  <a:moveTo>
                    <a:pt x="141" y="208"/>
                  </a:moveTo>
                  <a:lnTo>
                    <a:pt x="141" y="206"/>
                  </a:lnTo>
                  <a:cubicBezTo>
                    <a:pt x="139" y="208"/>
                    <a:pt x="139" y="208"/>
                    <a:pt x="141" y="208"/>
                  </a:cubicBezTo>
                  <a:close/>
                  <a:moveTo>
                    <a:pt x="139" y="220"/>
                  </a:moveTo>
                  <a:cubicBezTo>
                    <a:pt x="141" y="222"/>
                    <a:pt x="141" y="220"/>
                    <a:pt x="139" y="220"/>
                  </a:cubicBezTo>
                  <a:close/>
                  <a:moveTo>
                    <a:pt x="141" y="186"/>
                  </a:moveTo>
                  <a:lnTo>
                    <a:pt x="141" y="180"/>
                  </a:lnTo>
                  <a:lnTo>
                    <a:pt x="139" y="180"/>
                  </a:lnTo>
                  <a:lnTo>
                    <a:pt x="141" y="186"/>
                  </a:lnTo>
                  <a:close/>
                  <a:moveTo>
                    <a:pt x="144" y="194"/>
                  </a:moveTo>
                  <a:cubicBezTo>
                    <a:pt x="141" y="191"/>
                    <a:pt x="141" y="194"/>
                    <a:pt x="141" y="194"/>
                  </a:cubicBezTo>
                  <a:lnTo>
                    <a:pt x="144" y="194"/>
                  </a:lnTo>
                  <a:close/>
                  <a:moveTo>
                    <a:pt x="153" y="444"/>
                  </a:moveTo>
                  <a:cubicBezTo>
                    <a:pt x="144" y="447"/>
                    <a:pt x="141" y="453"/>
                    <a:pt x="141" y="456"/>
                  </a:cubicBezTo>
                  <a:lnTo>
                    <a:pt x="144" y="456"/>
                  </a:lnTo>
                  <a:lnTo>
                    <a:pt x="144" y="450"/>
                  </a:lnTo>
                  <a:cubicBezTo>
                    <a:pt x="153" y="447"/>
                    <a:pt x="153" y="450"/>
                    <a:pt x="153" y="444"/>
                  </a:cubicBezTo>
                  <a:close/>
                  <a:moveTo>
                    <a:pt x="141" y="248"/>
                  </a:moveTo>
                  <a:lnTo>
                    <a:pt x="144" y="251"/>
                  </a:lnTo>
                  <a:cubicBezTo>
                    <a:pt x="144" y="248"/>
                    <a:pt x="147" y="248"/>
                    <a:pt x="147" y="245"/>
                  </a:cubicBezTo>
                  <a:lnTo>
                    <a:pt x="147" y="239"/>
                  </a:lnTo>
                  <a:cubicBezTo>
                    <a:pt x="147" y="242"/>
                    <a:pt x="144" y="242"/>
                    <a:pt x="144" y="242"/>
                  </a:cubicBezTo>
                  <a:lnTo>
                    <a:pt x="141" y="248"/>
                  </a:lnTo>
                  <a:close/>
                  <a:moveTo>
                    <a:pt x="158" y="430"/>
                  </a:moveTo>
                  <a:cubicBezTo>
                    <a:pt x="156" y="433"/>
                    <a:pt x="156" y="433"/>
                    <a:pt x="153" y="433"/>
                  </a:cubicBezTo>
                  <a:lnTo>
                    <a:pt x="147" y="436"/>
                  </a:lnTo>
                  <a:cubicBezTo>
                    <a:pt x="147" y="439"/>
                    <a:pt x="150" y="439"/>
                    <a:pt x="150" y="439"/>
                  </a:cubicBezTo>
                  <a:cubicBezTo>
                    <a:pt x="150" y="436"/>
                    <a:pt x="153" y="433"/>
                    <a:pt x="156" y="433"/>
                  </a:cubicBezTo>
                  <a:cubicBezTo>
                    <a:pt x="158" y="436"/>
                    <a:pt x="158" y="433"/>
                    <a:pt x="158" y="430"/>
                  </a:cubicBezTo>
                  <a:close/>
                  <a:moveTo>
                    <a:pt x="150" y="337"/>
                  </a:moveTo>
                  <a:cubicBezTo>
                    <a:pt x="153" y="337"/>
                    <a:pt x="153" y="334"/>
                    <a:pt x="153" y="334"/>
                  </a:cubicBezTo>
                  <a:lnTo>
                    <a:pt x="150" y="337"/>
                  </a:lnTo>
                  <a:close/>
                  <a:moveTo>
                    <a:pt x="167" y="306"/>
                  </a:moveTo>
                  <a:cubicBezTo>
                    <a:pt x="164" y="303"/>
                    <a:pt x="164" y="303"/>
                    <a:pt x="164" y="300"/>
                  </a:cubicBezTo>
                  <a:cubicBezTo>
                    <a:pt x="164" y="298"/>
                    <a:pt x="161" y="298"/>
                    <a:pt x="158" y="298"/>
                  </a:cubicBezTo>
                  <a:lnTo>
                    <a:pt x="157" y="296"/>
                  </a:lnTo>
                  <a:lnTo>
                    <a:pt x="156" y="298"/>
                  </a:lnTo>
                  <a:cubicBezTo>
                    <a:pt x="156" y="298"/>
                    <a:pt x="156" y="300"/>
                    <a:pt x="153" y="300"/>
                  </a:cubicBezTo>
                  <a:lnTo>
                    <a:pt x="158" y="300"/>
                  </a:lnTo>
                  <a:lnTo>
                    <a:pt x="158" y="303"/>
                  </a:lnTo>
                  <a:lnTo>
                    <a:pt x="153" y="303"/>
                  </a:lnTo>
                  <a:lnTo>
                    <a:pt x="153" y="306"/>
                  </a:lnTo>
                  <a:lnTo>
                    <a:pt x="164" y="309"/>
                  </a:lnTo>
                  <a:lnTo>
                    <a:pt x="164" y="312"/>
                  </a:lnTo>
                  <a:cubicBezTo>
                    <a:pt x="161" y="312"/>
                    <a:pt x="161" y="312"/>
                    <a:pt x="161" y="315"/>
                  </a:cubicBezTo>
                  <a:lnTo>
                    <a:pt x="164" y="317"/>
                  </a:lnTo>
                  <a:lnTo>
                    <a:pt x="164" y="315"/>
                  </a:lnTo>
                  <a:lnTo>
                    <a:pt x="167" y="306"/>
                  </a:lnTo>
                  <a:close/>
                  <a:moveTo>
                    <a:pt x="156" y="295"/>
                  </a:moveTo>
                  <a:lnTo>
                    <a:pt x="164" y="295"/>
                  </a:lnTo>
                  <a:lnTo>
                    <a:pt x="158" y="289"/>
                  </a:lnTo>
                  <a:cubicBezTo>
                    <a:pt x="158" y="292"/>
                    <a:pt x="156" y="292"/>
                    <a:pt x="156" y="289"/>
                  </a:cubicBezTo>
                  <a:cubicBezTo>
                    <a:pt x="153" y="289"/>
                    <a:pt x="153" y="289"/>
                    <a:pt x="153" y="292"/>
                  </a:cubicBezTo>
                  <a:lnTo>
                    <a:pt x="156" y="292"/>
                  </a:lnTo>
                  <a:lnTo>
                    <a:pt x="158" y="295"/>
                  </a:lnTo>
                  <a:lnTo>
                    <a:pt x="157" y="296"/>
                  </a:lnTo>
                  <a:lnTo>
                    <a:pt x="156" y="295"/>
                  </a:lnTo>
                  <a:close/>
                  <a:moveTo>
                    <a:pt x="156" y="331"/>
                  </a:moveTo>
                  <a:lnTo>
                    <a:pt x="156" y="326"/>
                  </a:lnTo>
                  <a:lnTo>
                    <a:pt x="153" y="326"/>
                  </a:lnTo>
                  <a:cubicBezTo>
                    <a:pt x="153" y="329"/>
                    <a:pt x="153" y="329"/>
                    <a:pt x="156" y="331"/>
                  </a:cubicBezTo>
                  <a:close/>
                  <a:moveTo>
                    <a:pt x="153" y="317"/>
                  </a:moveTo>
                  <a:lnTo>
                    <a:pt x="156" y="320"/>
                  </a:lnTo>
                  <a:lnTo>
                    <a:pt x="156" y="317"/>
                  </a:lnTo>
                  <a:lnTo>
                    <a:pt x="156" y="315"/>
                  </a:lnTo>
                  <a:cubicBezTo>
                    <a:pt x="156" y="312"/>
                    <a:pt x="153" y="312"/>
                    <a:pt x="153" y="312"/>
                  </a:cubicBezTo>
                  <a:lnTo>
                    <a:pt x="153" y="317"/>
                  </a:lnTo>
                  <a:close/>
                  <a:moveTo>
                    <a:pt x="170" y="329"/>
                  </a:moveTo>
                  <a:cubicBezTo>
                    <a:pt x="167" y="326"/>
                    <a:pt x="164" y="326"/>
                    <a:pt x="161" y="326"/>
                  </a:cubicBezTo>
                  <a:cubicBezTo>
                    <a:pt x="161" y="323"/>
                    <a:pt x="161" y="323"/>
                    <a:pt x="164" y="320"/>
                  </a:cubicBezTo>
                  <a:lnTo>
                    <a:pt x="156" y="320"/>
                  </a:lnTo>
                  <a:lnTo>
                    <a:pt x="156" y="323"/>
                  </a:lnTo>
                  <a:lnTo>
                    <a:pt x="161" y="323"/>
                  </a:lnTo>
                  <a:cubicBezTo>
                    <a:pt x="158" y="326"/>
                    <a:pt x="158" y="329"/>
                    <a:pt x="156" y="331"/>
                  </a:cubicBezTo>
                  <a:lnTo>
                    <a:pt x="156" y="337"/>
                  </a:lnTo>
                  <a:lnTo>
                    <a:pt x="156" y="340"/>
                  </a:lnTo>
                  <a:lnTo>
                    <a:pt x="153" y="340"/>
                  </a:lnTo>
                  <a:lnTo>
                    <a:pt x="153" y="348"/>
                  </a:lnTo>
                  <a:lnTo>
                    <a:pt x="156" y="348"/>
                  </a:lnTo>
                  <a:lnTo>
                    <a:pt x="158" y="346"/>
                  </a:lnTo>
                  <a:lnTo>
                    <a:pt x="161" y="337"/>
                  </a:lnTo>
                  <a:lnTo>
                    <a:pt x="158" y="334"/>
                  </a:lnTo>
                  <a:lnTo>
                    <a:pt x="156" y="331"/>
                  </a:lnTo>
                  <a:lnTo>
                    <a:pt x="161" y="331"/>
                  </a:lnTo>
                  <a:cubicBezTo>
                    <a:pt x="161" y="331"/>
                    <a:pt x="161" y="334"/>
                    <a:pt x="164" y="334"/>
                  </a:cubicBezTo>
                  <a:cubicBezTo>
                    <a:pt x="164" y="337"/>
                    <a:pt x="167" y="340"/>
                    <a:pt x="170" y="337"/>
                  </a:cubicBezTo>
                  <a:lnTo>
                    <a:pt x="172" y="337"/>
                  </a:lnTo>
                  <a:cubicBezTo>
                    <a:pt x="167" y="337"/>
                    <a:pt x="167" y="331"/>
                    <a:pt x="170" y="329"/>
                  </a:cubicBezTo>
                  <a:close/>
                  <a:moveTo>
                    <a:pt x="156" y="284"/>
                  </a:moveTo>
                  <a:cubicBezTo>
                    <a:pt x="158" y="284"/>
                    <a:pt x="158" y="284"/>
                    <a:pt x="161" y="281"/>
                  </a:cubicBezTo>
                  <a:cubicBezTo>
                    <a:pt x="161" y="278"/>
                    <a:pt x="158" y="278"/>
                    <a:pt x="156" y="278"/>
                  </a:cubicBezTo>
                  <a:lnTo>
                    <a:pt x="156" y="284"/>
                  </a:lnTo>
                  <a:close/>
                  <a:moveTo>
                    <a:pt x="161" y="360"/>
                  </a:moveTo>
                  <a:cubicBezTo>
                    <a:pt x="161" y="363"/>
                    <a:pt x="158" y="365"/>
                    <a:pt x="158" y="365"/>
                  </a:cubicBezTo>
                  <a:cubicBezTo>
                    <a:pt x="161" y="365"/>
                    <a:pt x="161" y="365"/>
                    <a:pt x="161" y="368"/>
                  </a:cubicBezTo>
                  <a:lnTo>
                    <a:pt x="161" y="371"/>
                  </a:lnTo>
                  <a:lnTo>
                    <a:pt x="161" y="374"/>
                  </a:lnTo>
                  <a:cubicBezTo>
                    <a:pt x="161" y="377"/>
                    <a:pt x="161" y="377"/>
                    <a:pt x="164" y="377"/>
                  </a:cubicBezTo>
                  <a:cubicBezTo>
                    <a:pt x="161" y="377"/>
                    <a:pt x="161" y="379"/>
                    <a:pt x="161" y="382"/>
                  </a:cubicBezTo>
                  <a:lnTo>
                    <a:pt x="164" y="385"/>
                  </a:lnTo>
                  <a:cubicBezTo>
                    <a:pt x="167" y="385"/>
                    <a:pt x="167" y="385"/>
                    <a:pt x="170" y="382"/>
                  </a:cubicBezTo>
                  <a:lnTo>
                    <a:pt x="172" y="382"/>
                  </a:lnTo>
                  <a:lnTo>
                    <a:pt x="175" y="385"/>
                  </a:lnTo>
                  <a:lnTo>
                    <a:pt x="175" y="379"/>
                  </a:lnTo>
                  <a:lnTo>
                    <a:pt x="175" y="377"/>
                  </a:lnTo>
                  <a:lnTo>
                    <a:pt x="170" y="377"/>
                  </a:lnTo>
                  <a:lnTo>
                    <a:pt x="164" y="377"/>
                  </a:lnTo>
                  <a:lnTo>
                    <a:pt x="164" y="368"/>
                  </a:lnTo>
                  <a:cubicBezTo>
                    <a:pt x="164" y="365"/>
                    <a:pt x="164" y="363"/>
                    <a:pt x="167" y="360"/>
                  </a:cubicBezTo>
                  <a:lnTo>
                    <a:pt x="164" y="360"/>
                  </a:lnTo>
                  <a:lnTo>
                    <a:pt x="164" y="351"/>
                  </a:lnTo>
                  <a:lnTo>
                    <a:pt x="161" y="351"/>
                  </a:lnTo>
                  <a:cubicBezTo>
                    <a:pt x="164" y="357"/>
                    <a:pt x="161" y="357"/>
                    <a:pt x="161" y="360"/>
                  </a:cubicBezTo>
                  <a:close/>
                  <a:moveTo>
                    <a:pt x="158" y="405"/>
                  </a:moveTo>
                  <a:lnTo>
                    <a:pt x="158" y="410"/>
                  </a:lnTo>
                  <a:lnTo>
                    <a:pt x="161" y="410"/>
                  </a:lnTo>
                  <a:cubicBezTo>
                    <a:pt x="161" y="410"/>
                    <a:pt x="158" y="408"/>
                    <a:pt x="158" y="405"/>
                  </a:cubicBezTo>
                  <a:close/>
                  <a:moveTo>
                    <a:pt x="172" y="430"/>
                  </a:moveTo>
                  <a:cubicBezTo>
                    <a:pt x="172" y="433"/>
                    <a:pt x="170" y="433"/>
                    <a:pt x="167" y="433"/>
                  </a:cubicBezTo>
                  <a:lnTo>
                    <a:pt x="158" y="433"/>
                  </a:lnTo>
                  <a:cubicBezTo>
                    <a:pt x="158" y="436"/>
                    <a:pt x="161" y="436"/>
                    <a:pt x="164" y="439"/>
                  </a:cubicBezTo>
                  <a:lnTo>
                    <a:pt x="167" y="439"/>
                  </a:lnTo>
                  <a:lnTo>
                    <a:pt x="170" y="441"/>
                  </a:lnTo>
                  <a:cubicBezTo>
                    <a:pt x="170" y="436"/>
                    <a:pt x="172" y="433"/>
                    <a:pt x="172" y="430"/>
                  </a:cubicBezTo>
                  <a:close/>
                  <a:moveTo>
                    <a:pt x="172" y="396"/>
                  </a:moveTo>
                  <a:lnTo>
                    <a:pt x="167" y="396"/>
                  </a:lnTo>
                  <a:lnTo>
                    <a:pt x="161" y="396"/>
                  </a:lnTo>
                  <a:lnTo>
                    <a:pt x="167" y="402"/>
                  </a:lnTo>
                  <a:lnTo>
                    <a:pt x="167" y="405"/>
                  </a:lnTo>
                  <a:cubicBezTo>
                    <a:pt x="167" y="405"/>
                    <a:pt x="167" y="408"/>
                    <a:pt x="164" y="408"/>
                  </a:cubicBezTo>
                  <a:cubicBezTo>
                    <a:pt x="167" y="408"/>
                    <a:pt x="167" y="405"/>
                    <a:pt x="170" y="405"/>
                  </a:cubicBezTo>
                  <a:lnTo>
                    <a:pt x="172" y="405"/>
                  </a:lnTo>
                  <a:lnTo>
                    <a:pt x="175" y="405"/>
                  </a:lnTo>
                  <a:lnTo>
                    <a:pt x="172" y="396"/>
                  </a:lnTo>
                  <a:close/>
                  <a:moveTo>
                    <a:pt x="172" y="419"/>
                  </a:moveTo>
                  <a:cubicBezTo>
                    <a:pt x="170" y="419"/>
                    <a:pt x="170" y="419"/>
                    <a:pt x="170" y="422"/>
                  </a:cubicBezTo>
                  <a:lnTo>
                    <a:pt x="172" y="425"/>
                  </a:lnTo>
                  <a:lnTo>
                    <a:pt x="170" y="425"/>
                  </a:lnTo>
                  <a:lnTo>
                    <a:pt x="167" y="425"/>
                  </a:lnTo>
                  <a:lnTo>
                    <a:pt x="167" y="427"/>
                  </a:lnTo>
                  <a:lnTo>
                    <a:pt x="167" y="430"/>
                  </a:lnTo>
                  <a:cubicBezTo>
                    <a:pt x="172" y="427"/>
                    <a:pt x="175" y="425"/>
                    <a:pt x="172" y="419"/>
                  </a:cubicBezTo>
                  <a:close/>
                  <a:moveTo>
                    <a:pt x="175" y="360"/>
                  </a:moveTo>
                  <a:cubicBezTo>
                    <a:pt x="175" y="357"/>
                    <a:pt x="172" y="357"/>
                    <a:pt x="172" y="354"/>
                  </a:cubicBezTo>
                  <a:cubicBezTo>
                    <a:pt x="170" y="357"/>
                    <a:pt x="170" y="357"/>
                    <a:pt x="170" y="360"/>
                  </a:cubicBezTo>
                  <a:lnTo>
                    <a:pt x="172" y="360"/>
                  </a:lnTo>
                  <a:lnTo>
                    <a:pt x="175" y="360"/>
                  </a:lnTo>
                  <a:close/>
                  <a:moveTo>
                    <a:pt x="172" y="374"/>
                  </a:moveTo>
                  <a:lnTo>
                    <a:pt x="172" y="368"/>
                  </a:lnTo>
                  <a:lnTo>
                    <a:pt x="170" y="368"/>
                  </a:lnTo>
                  <a:cubicBezTo>
                    <a:pt x="172" y="371"/>
                    <a:pt x="172" y="371"/>
                    <a:pt x="172" y="3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30" name="Freeform 1457"/>
            <p:cNvSpPr>
              <a:spLocks noChangeArrowheads="1"/>
            </p:cNvSpPr>
            <p:nvPr/>
          </p:nvSpPr>
          <p:spPr bwMode="auto">
            <a:xfrm>
              <a:off x="4022725" y="2471738"/>
              <a:ext cx="84138" cy="176212"/>
            </a:xfrm>
            <a:custGeom>
              <a:avLst/>
              <a:gdLst>
                <a:gd name="T0" fmla="*/ 175 w 232"/>
                <a:gd name="T1" fmla="*/ 459 h 491"/>
                <a:gd name="T2" fmla="*/ 124 w 232"/>
                <a:gd name="T3" fmla="*/ 323 h 491"/>
                <a:gd name="T4" fmla="*/ 121 w 232"/>
                <a:gd name="T5" fmla="*/ 433 h 491"/>
                <a:gd name="T6" fmla="*/ 70 w 232"/>
                <a:gd name="T7" fmla="*/ 436 h 491"/>
                <a:gd name="T8" fmla="*/ 62 w 232"/>
                <a:gd name="T9" fmla="*/ 363 h 491"/>
                <a:gd name="T10" fmla="*/ 33 w 232"/>
                <a:gd name="T11" fmla="*/ 203 h 491"/>
                <a:gd name="T12" fmla="*/ 22 w 232"/>
                <a:gd name="T13" fmla="*/ 141 h 491"/>
                <a:gd name="T14" fmla="*/ 45 w 232"/>
                <a:gd name="T15" fmla="*/ 14 h 491"/>
                <a:gd name="T16" fmla="*/ 67 w 232"/>
                <a:gd name="T17" fmla="*/ 101 h 491"/>
                <a:gd name="T18" fmla="*/ 84 w 232"/>
                <a:gd name="T19" fmla="*/ 172 h 491"/>
                <a:gd name="T20" fmla="*/ 141 w 232"/>
                <a:gd name="T21" fmla="*/ 0 h 491"/>
                <a:gd name="T22" fmla="*/ 135 w 232"/>
                <a:gd name="T23" fmla="*/ 115 h 491"/>
                <a:gd name="T24" fmla="*/ 149 w 232"/>
                <a:gd name="T25" fmla="*/ 242 h 491"/>
                <a:gd name="T26" fmla="*/ 191 w 232"/>
                <a:gd name="T27" fmla="*/ 377 h 491"/>
                <a:gd name="T28" fmla="*/ 22 w 232"/>
                <a:gd name="T29" fmla="*/ 42 h 491"/>
                <a:gd name="T30" fmla="*/ 39 w 232"/>
                <a:gd name="T31" fmla="*/ 84 h 491"/>
                <a:gd name="T32" fmla="*/ 33 w 232"/>
                <a:gd name="T33" fmla="*/ 90 h 491"/>
                <a:gd name="T34" fmla="*/ 36 w 232"/>
                <a:gd name="T35" fmla="*/ 144 h 491"/>
                <a:gd name="T36" fmla="*/ 50 w 232"/>
                <a:gd name="T37" fmla="*/ 149 h 491"/>
                <a:gd name="T38" fmla="*/ 56 w 232"/>
                <a:gd name="T39" fmla="*/ 152 h 491"/>
                <a:gd name="T40" fmla="*/ 146 w 232"/>
                <a:gd name="T41" fmla="*/ 315 h 491"/>
                <a:gd name="T42" fmla="*/ 135 w 232"/>
                <a:gd name="T43" fmla="*/ 289 h 491"/>
                <a:gd name="T44" fmla="*/ 115 w 232"/>
                <a:gd name="T45" fmla="*/ 285 h 491"/>
                <a:gd name="T46" fmla="*/ 127 w 232"/>
                <a:gd name="T47" fmla="*/ 276 h 491"/>
                <a:gd name="T48" fmla="*/ 112 w 232"/>
                <a:gd name="T49" fmla="*/ 256 h 491"/>
                <a:gd name="T50" fmla="*/ 118 w 232"/>
                <a:gd name="T51" fmla="*/ 251 h 491"/>
                <a:gd name="T52" fmla="*/ 101 w 232"/>
                <a:gd name="T53" fmla="*/ 228 h 491"/>
                <a:gd name="T54" fmla="*/ 79 w 232"/>
                <a:gd name="T55" fmla="*/ 200 h 491"/>
                <a:gd name="T56" fmla="*/ 101 w 232"/>
                <a:gd name="T57" fmla="*/ 225 h 491"/>
                <a:gd name="T58" fmla="*/ 74 w 232"/>
                <a:gd name="T59" fmla="*/ 217 h 491"/>
                <a:gd name="T60" fmla="*/ 64 w 232"/>
                <a:gd name="T61" fmla="*/ 251 h 491"/>
                <a:gd name="T62" fmla="*/ 81 w 232"/>
                <a:gd name="T63" fmla="*/ 262 h 491"/>
                <a:gd name="T64" fmla="*/ 93 w 232"/>
                <a:gd name="T65" fmla="*/ 282 h 491"/>
                <a:gd name="T66" fmla="*/ 129 w 232"/>
                <a:gd name="T67" fmla="*/ 288 h 491"/>
                <a:gd name="T68" fmla="*/ 91 w 232"/>
                <a:gd name="T69" fmla="*/ 288 h 491"/>
                <a:gd name="T70" fmla="*/ 70 w 232"/>
                <a:gd name="T71" fmla="*/ 279 h 491"/>
                <a:gd name="T72" fmla="*/ 90 w 232"/>
                <a:gd name="T73" fmla="*/ 298 h 491"/>
                <a:gd name="T74" fmla="*/ 118 w 232"/>
                <a:gd name="T75" fmla="*/ 312 h 491"/>
                <a:gd name="T76" fmla="*/ 89 w 232"/>
                <a:gd name="T77" fmla="*/ 227 h 491"/>
                <a:gd name="T78" fmla="*/ 79 w 232"/>
                <a:gd name="T79" fmla="*/ 206 h 491"/>
                <a:gd name="T80" fmla="*/ 62 w 232"/>
                <a:gd name="T81" fmla="*/ 206 h 491"/>
                <a:gd name="T82" fmla="*/ 45 w 232"/>
                <a:gd name="T83" fmla="*/ 194 h 491"/>
                <a:gd name="T84" fmla="*/ 53 w 232"/>
                <a:gd name="T85" fmla="*/ 217 h 491"/>
                <a:gd name="T86" fmla="*/ 59 w 232"/>
                <a:gd name="T87" fmla="*/ 231 h 491"/>
                <a:gd name="T88" fmla="*/ 62 w 232"/>
                <a:gd name="T89" fmla="*/ 172 h 491"/>
                <a:gd name="T90" fmla="*/ 81 w 232"/>
                <a:gd name="T91" fmla="*/ 306 h 491"/>
                <a:gd name="T92" fmla="*/ 87 w 232"/>
                <a:gd name="T93" fmla="*/ 332 h 491"/>
                <a:gd name="T94" fmla="*/ 79 w 232"/>
                <a:gd name="T95" fmla="*/ 349 h 491"/>
                <a:gd name="T96" fmla="*/ 87 w 232"/>
                <a:gd name="T97" fmla="*/ 391 h 491"/>
                <a:gd name="T98" fmla="*/ 98 w 232"/>
                <a:gd name="T99" fmla="*/ 428 h 491"/>
                <a:gd name="T100" fmla="*/ 98 w 232"/>
                <a:gd name="T101" fmla="*/ 169 h 491"/>
                <a:gd name="T102" fmla="*/ 112 w 232"/>
                <a:gd name="T103" fmla="*/ 200 h 491"/>
                <a:gd name="T104" fmla="*/ 132 w 232"/>
                <a:gd name="T105" fmla="*/ 279 h 491"/>
                <a:gd name="T106" fmla="*/ 135 w 232"/>
                <a:gd name="T107" fmla="*/ 256 h 491"/>
                <a:gd name="T108" fmla="*/ 146 w 232"/>
                <a:gd name="T109" fmla="*/ 321 h 491"/>
                <a:gd name="T110" fmla="*/ 158 w 232"/>
                <a:gd name="T111" fmla="*/ 334 h 491"/>
                <a:gd name="T112" fmla="*/ 149 w 232"/>
                <a:gd name="T113" fmla="*/ 326 h 491"/>
                <a:gd name="T114" fmla="*/ 175 w 232"/>
                <a:gd name="T115" fmla="*/ 363 h 491"/>
                <a:gd name="T116" fmla="*/ 186 w 232"/>
                <a:gd name="T117" fmla="*/ 411 h 491"/>
                <a:gd name="T118" fmla="*/ 197 w 232"/>
                <a:gd name="T119" fmla="*/ 428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2" h="491">
                  <a:moveTo>
                    <a:pt x="231" y="453"/>
                  </a:moveTo>
                  <a:cubicBezTo>
                    <a:pt x="228" y="456"/>
                    <a:pt x="228" y="461"/>
                    <a:pt x="225" y="467"/>
                  </a:cubicBezTo>
                  <a:lnTo>
                    <a:pt x="220" y="467"/>
                  </a:lnTo>
                  <a:cubicBezTo>
                    <a:pt x="217" y="467"/>
                    <a:pt x="214" y="467"/>
                    <a:pt x="214" y="470"/>
                  </a:cubicBezTo>
                  <a:lnTo>
                    <a:pt x="208" y="470"/>
                  </a:lnTo>
                  <a:cubicBezTo>
                    <a:pt x="206" y="470"/>
                    <a:pt x="206" y="470"/>
                    <a:pt x="203" y="473"/>
                  </a:cubicBezTo>
                  <a:lnTo>
                    <a:pt x="200" y="473"/>
                  </a:lnTo>
                  <a:lnTo>
                    <a:pt x="197" y="473"/>
                  </a:lnTo>
                  <a:lnTo>
                    <a:pt x="194" y="473"/>
                  </a:lnTo>
                  <a:lnTo>
                    <a:pt x="189" y="473"/>
                  </a:lnTo>
                  <a:cubicBezTo>
                    <a:pt x="186" y="473"/>
                    <a:pt x="183" y="470"/>
                    <a:pt x="180" y="467"/>
                  </a:cubicBezTo>
                  <a:cubicBezTo>
                    <a:pt x="177" y="464"/>
                    <a:pt x="177" y="461"/>
                    <a:pt x="175" y="459"/>
                  </a:cubicBezTo>
                  <a:cubicBezTo>
                    <a:pt x="175" y="456"/>
                    <a:pt x="175" y="456"/>
                    <a:pt x="177" y="453"/>
                  </a:cubicBezTo>
                  <a:cubicBezTo>
                    <a:pt x="175" y="450"/>
                    <a:pt x="175" y="447"/>
                    <a:pt x="175" y="444"/>
                  </a:cubicBezTo>
                  <a:cubicBezTo>
                    <a:pt x="175" y="442"/>
                    <a:pt x="175" y="439"/>
                    <a:pt x="172" y="436"/>
                  </a:cubicBezTo>
                  <a:cubicBezTo>
                    <a:pt x="166" y="430"/>
                    <a:pt x="163" y="422"/>
                    <a:pt x="163" y="413"/>
                  </a:cubicBezTo>
                  <a:cubicBezTo>
                    <a:pt x="160" y="408"/>
                    <a:pt x="158" y="402"/>
                    <a:pt x="158" y="397"/>
                  </a:cubicBezTo>
                  <a:cubicBezTo>
                    <a:pt x="155" y="391"/>
                    <a:pt x="155" y="385"/>
                    <a:pt x="152" y="382"/>
                  </a:cubicBezTo>
                  <a:lnTo>
                    <a:pt x="152" y="380"/>
                  </a:lnTo>
                  <a:cubicBezTo>
                    <a:pt x="144" y="377"/>
                    <a:pt x="144" y="371"/>
                    <a:pt x="144" y="368"/>
                  </a:cubicBezTo>
                  <a:cubicBezTo>
                    <a:pt x="144" y="365"/>
                    <a:pt x="141" y="360"/>
                    <a:pt x="141" y="357"/>
                  </a:cubicBezTo>
                  <a:cubicBezTo>
                    <a:pt x="138" y="351"/>
                    <a:pt x="135" y="346"/>
                    <a:pt x="135" y="340"/>
                  </a:cubicBezTo>
                  <a:cubicBezTo>
                    <a:pt x="132" y="334"/>
                    <a:pt x="129" y="332"/>
                    <a:pt x="127" y="326"/>
                  </a:cubicBezTo>
                  <a:cubicBezTo>
                    <a:pt x="127" y="326"/>
                    <a:pt x="127" y="323"/>
                    <a:pt x="124" y="323"/>
                  </a:cubicBezTo>
                  <a:lnTo>
                    <a:pt x="115" y="323"/>
                  </a:lnTo>
                  <a:cubicBezTo>
                    <a:pt x="112" y="326"/>
                    <a:pt x="110" y="329"/>
                    <a:pt x="110" y="334"/>
                  </a:cubicBezTo>
                  <a:lnTo>
                    <a:pt x="110" y="346"/>
                  </a:lnTo>
                  <a:lnTo>
                    <a:pt x="110" y="360"/>
                  </a:lnTo>
                  <a:lnTo>
                    <a:pt x="110" y="374"/>
                  </a:lnTo>
                  <a:lnTo>
                    <a:pt x="110" y="380"/>
                  </a:lnTo>
                  <a:cubicBezTo>
                    <a:pt x="110" y="382"/>
                    <a:pt x="110" y="385"/>
                    <a:pt x="112" y="385"/>
                  </a:cubicBezTo>
                  <a:cubicBezTo>
                    <a:pt x="115" y="388"/>
                    <a:pt x="115" y="391"/>
                    <a:pt x="112" y="394"/>
                  </a:cubicBezTo>
                  <a:lnTo>
                    <a:pt x="112" y="399"/>
                  </a:lnTo>
                  <a:lnTo>
                    <a:pt x="112" y="402"/>
                  </a:lnTo>
                  <a:lnTo>
                    <a:pt x="118" y="428"/>
                  </a:lnTo>
                  <a:cubicBezTo>
                    <a:pt x="118" y="430"/>
                    <a:pt x="118" y="430"/>
                    <a:pt x="121" y="433"/>
                  </a:cubicBezTo>
                  <a:cubicBezTo>
                    <a:pt x="121" y="436"/>
                    <a:pt x="121" y="436"/>
                    <a:pt x="118" y="439"/>
                  </a:cubicBezTo>
                  <a:lnTo>
                    <a:pt x="118" y="444"/>
                  </a:lnTo>
                  <a:cubicBezTo>
                    <a:pt x="124" y="447"/>
                    <a:pt x="121" y="453"/>
                    <a:pt x="121" y="459"/>
                  </a:cubicBezTo>
                  <a:lnTo>
                    <a:pt x="121" y="467"/>
                  </a:lnTo>
                  <a:lnTo>
                    <a:pt x="121" y="475"/>
                  </a:lnTo>
                  <a:cubicBezTo>
                    <a:pt x="118" y="475"/>
                    <a:pt x="118" y="478"/>
                    <a:pt x="115" y="478"/>
                  </a:cubicBezTo>
                  <a:lnTo>
                    <a:pt x="110" y="484"/>
                  </a:lnTo>
                  <a:lnTo>
                    <a:pt x="81" y="490"/>
                  </a:lnTo>
                  <a:lnTo>
                    <a:pt x="73" y="481"/>
                  </a:lnTo>
                  <a:cubicBezTo>
                    <a:pt x="70" y="473"/>
                    <a:pt x="70" y="461"/>
                    <a:pt x="73" y="453"/>
                  </a:cubicBezTo>
                  <a:lnTo>
                    <a:pt x="73" y="444"/>
                  </a:lnTo>
                  <a:cubicBezTo>
                    <a:pt x="70" y="442"/>
                    <a:pt x="70" y="439"/>
                    <a:pt x="70" y="436"/>
                  </a:cubicBezTo>
                  <a:lnTo>
                    <a:pt x="70" y="433"/>
                  </a:lnTo>
                  <a:cubicBezTo>
                    <a:pt x="70" y="430"/>
                    <a:pt x="67" y="428"/>
                    <a:pt x="70" y="428"/>
                  </a:cubicBezTo>
                  <a:cubicBezTo>
                    <a:pt x="70" y="425"/>
                    <a:pt x="70" y="422"/>
                    <a:pt x="67" y="422"/>
                  </a:cubicBezTo>
                  <a:lnTo>
                    <a:pt x="67" y="416"/>
                  </a:lnTo>
                  <a:lnTo>
                    <a:pt x="67" y="405"/>
                  </a:lnTo>
                  <a:cubicBezTo>
                    <a:pt x="67" y="402"/>
                    <a:pt x="64" y="402"/>
                    <a:pt x="64" y="399"/>
                  </a:cubicBezTo>
                  <a:lnTo>
                    <a:pt x="64" y="394"/>
                  </a:lnTo>
                  <a:lnTo>
                    <a:pt x="64" y="388"/>
                  </a:lnTo>
                  <a:lnTo>
                    <a:pt x="64" y="385"/>
                  </a:lnTo>
                  <a:lnTo>
                    <a:pt x="64" y="382"/>
                  </a:lnTo>
                  <a:cubicBezTo>
                    <a:pt x="62" y="380"/>
                    <a:pt x="62" y="374"/>
                    <a:pt x="62" y="371"/>
                  </a:cubicBezTo>
                  <a:lnTo>
                    <a:pt x="62" y="363"/>
                  </a:lnTo>
                  <a:lnTo>
                    <a:pt x="62" y="357"/>
                  </a:lnTo>
                  <a:cubicBezTo>
                    <a:pt x="62" y="351"/>
                    <a:pt x="59" y="346"/>
                    <a:pt x="59" y="337"/>
                  </a:cubicBezTo>
                  <a:cubicBezTo>
                    <a:pt x="59" y="332"/>
                    <a:pt x="56" y="326"/>
                    <a:pt x="56" y="318"/>
                  </a:cubicBezTo>
                  <a:cubicBezTo>
                    <a:pt x="56" y="315"/>
                    <a:pt x="56" y="312"/>
                    <a:pt x="53" y="309"/>
                  </a:cubicBezTo>
                  <a:cubicBezTo>
                    <a:pt x="50" y="303"/>
                    <a:pt x="50" y="298"/>
                    <a:pt x="48" y="292"/>
                  </a:cubicBezTo>
                  <a:lnTo>
                    <a:pt x="48" y="285"/>
                  </a:lnTo>
                  <a:cubicBezTo>
                    <a:pt x="48" y="282"/>
                    <a:pt x="48" y="282"/>
                    <a:pt x="45" y="279"/>
                  </a:cubicBezTo>
                  <a:cubicBezTo>
                    <a:pt x="45" y="279"/>
                    <a:pt x="42" y="276"/>
                    <a:pt x="45" y="276"/>
                  </a:cubicBezTo>
                  <a:cubicBezTo>
                    <a:pt x="45" y="268"/>
                    <a:pt x="45" y="259"/>
                    <a:pt x="42" y="251"/>
                  </a:cubicBezTo>
                  <a:cubicBezTo>
                    <a:pt x="39" y="242"/>
                    <a:pt x="39" y="234"/>
                    <a:pt x="36" y="225"/>
                  </a:cubicBezTo>
                  <a:lnTo>
                    <a:pt x="36" y="214"/>
                  </a:lnTo>
                  <a:cubicBezTo>
                    <a:pt x="36" y="211"/>
                    <a:pt x="36" y="209"/>
                    <a:pt x="33" y="203"/>
                  </a:cubicBezTo>
                  <a:lnTo>
                    <a:pt x="33" y="200"/>
                  </a:lnTo>
                  <a:lnTo>
                    <a:pt x="33" y="197"/>
                  </a:lnTo>
                  <a:cubicBezTo>
                    <a:pt x="33" y="194"/>
                    <a:pt x="31" y="194"/>
                    <a:pt x="31" y="192"/>
                  </a:cubicBezTo>
                  <a:cubicBezTo>
                    <a:pt x="31" y="189"/>
                    <a:pt x="31" y="186"/>
                    <a:pt x="28" y="183"/>
                  </a:cubicBezTo>
                  <a:cubicBezTo>
                    <a:pt x="28" y="180"/>
                    <a:pt x="25" y="177"/>
                    <a:pt x="22" y="175"/>
                  </a:cubicBezTo>
                  <a:lnTo>
                    <a:pt x="22" y="172"/>
                  </a:lnTo>
                  <a:lnTo>
                    <a:pt x="22" y="169"/>
                  </a:lnTo>
                  <a:lnTo>
                    <a:pt x="22" y="163"/>
                  </a:lnTo>
                  <a:lnTo>
                    <a:pt x="22" y="158"/>
                  </a:lnTo>
                  <a:lnTo>
                    <a:pt x="22" y="152"/>
                  </a:lnTo>
                  <a:lnTo>
                    <a:pt x="22" y="146"/>
                  </a:lnTo>
                  <a:lnTo>
                    <a:pt x="22" y="141"/>
                  </a:lnTo>
                  <a:lnTo>
                    <a:pt x="17" y="110"/>
                  </a:lnTo>
                  <a:lnTo>
                    <a:pt x="17" y="107"/>
                  </a:lnTo>
                  <a:cubicBezTo>
                    <a:pt x="17" y="107"/>
                    <a:pt x="17" y="104"/>
                    <a:pt x="14" y="104"/>
                  </a:cubicBezTo>
                  <a:cubicBezTo>
                    <a:pt x="8" y="96"/>
                    <a:pt x="8" y="87"/>
                    <a:pt x="8" y="79"/>
                  </a:cubicBezTo>
                  <a:lnTo>
                    <a:pt x="8" y="76"/>
                  </a:lnTo>
                  <a:lnTo>
                    <a:pt x="8" y="73"/>
                  </a:lnTo>
                  <a:lnTo>
                    <a:pt x="2" y="39"/>
                  </a:lnTo>
                  <a:lnTo>
                    <a:pt x="2" y="36"/>
                  </a:lnTo>
                  <a:cubicBezTo>
                    <a:pt x="2" y="36"/>
                    <a:pt x="2" y="34"/>
                    <a:pt x="0" y="34"/>
                  </a:cubicBezTo>
                  <a:lnTo>
                    <a:pt x="5" y="28"/>
                  </a:lnTo>
                  <a:cubicBezTo>
                    <a:pt x="8" y="25"/>
                    <a:pt x="8" y="22"/>
                    <a:pt x="11" y="20"/>
                  </a:cubicBezTo>
                  <a:lnTo>
                    <a:pt x="45" y="14"/>
                  </a:lnTo>
                  <a:lnTo>
                    <a:pt x="48" y="17"/>
                  </a:lnTo>
                  <a:lnTo>
                    <a:pt x="50" y="20"/>
                  </a:lnTo>
                  <a:cubicBezTo>
                    <a:pt x="53" y="25"/>
                    <a:pt x="53" y="28"/>
                    <a:pt x="56" y="34"/>
                  </a:cubicBezTo>
                  <a:cubicBezTo>
                    <a:pt x="59" y="39"/>
                    <a:pt x="59" y="45"/>
                    <a:pt x="59" y="51"/>
                  </a:cubicBezTo>
                  <a:cubicBezTo>
                    <a:pt x="59" y="53"/>
                    <a:pt x="62" y="53"/>
                    <a:pt x="62" y="56"/>
                  </a:cubicBezTo>
                  <a:lnTo>
                    <a:pt x="62" y="59"/>
                  </a:lnTo>
                  <a:lnTo>
                    <a:pt x="62" y="65"/>
                  </a:lnTo>
                  <a:cubicBezTo>
                    <a:pt x="62" y="67"/>
                    <a:pt x="62" y="73"/>
                    <a:pt x="64" y="76"/>
                  </a:cubicBezTo>
                  <a:lnTo>
                    <a:pt x="64" y="82"/>
                  </a:lnTo>
                  <a:cubicBezTo>
                    <a:pt x="64" y="84"/>
                    <a:pt x="64" y="87"/>
                    <a:pt x="67" y="90"/>
                  </a:cubicBezTo>
                  <a:lnTo>
                    <a:pt x="67" y="99"/>
                  </a:lnTo>
                  <a:lnTo>
                    <a:pt x="67" y="101"/>
                  </a:lnTo>
                  <a:cubicBezTo>
                    <a:pt x="67" y="104"/>
                    <a:pt x="70" y="107"/>
                    <a:pt x="70" y="107"/>
                  </a:cubicBezTo>
                  <a:cubicBezTo>
                    <a:pt x="70" y="110"/>
                    <a:pt x="73" y="113"/>
                    <a:pt x="73" y="113"/>
                  </a:cubicBezTo>
                  <a:cubicBezTo>
                    <a:pt x="73" y="118"/>
                    <a:pt x="73" y="121"/>
                    <a:pt x="76" y="127"/>
                  </a:cubicBezTo>
                  <a:lnTo>
                    <a:pt x="79" y="130"/>
                  </a:lnTo>
                  <a:lnTo>
                    <a:pt x="79" y="132"/>
                  </a:lnTo>
                  <a:lnTo>
                    <a:pt x="79" y="138"/>
                  </a:lnTo>
                  <a:lnTo>
                    <a:pt x="79" y="141"/>
                  </a:lnTo>
                  <a:cubicBezTo>
                    <a:pt x="81" y="144"/>
                    <a:pt x="81" y="149"/>
                    <a:pt x="81" y="152"/>
                  </a:cubicBezTo>
                  <a:lnTo>
                    <a:pt x="81" y="155"/>
                  </a:lnTo>
                  <a:lnTo>
                    <a:pt x="81" y="161"/>
                  </a:lnTo>
                  <a:cubicBezTo>
                    <a:pt x="81" y="161"/>
                    <a:pt x="84" y="163"/>
                    <a:pt x="84" y="166"/>
                  </a:cubicBezTo>
                  <a:lnTo>
                    <a:pt x="84" y="172"/>
                  </a:lnTo>
                  <a:lnTo>
                    <a:pt x="93" y="172"/>
                  </a:lnTo>
                  <a:cubicBezTo>
                    <a:pt x="96" y="169"/>
                    <a:pt x="96" y="163"/>
                    <a:pt x="96" y="158"/>
                  </a:cubicBezTo>
                  <a:lnTo>
                    <a:pt x="96" y="144"/>
                  </a:lnTo>
                  <a:cubicBezTo>
                    <a:pt x="98" y="135"/>
                    <a:pt x="98" y="127"/>
                    <a:pt x="98" y="118"/>
                  </a:cubicBezTo>
                  <a:lnTo>
                    <a:pt x="98" y="90"/>
                  </a:lnTo>
                  <a:lnTo>
                    <a:pt x="101" y="73"/>
                  </a:lnTo>
                  <a:cubicBezTo>
                    <a:pt x="101" y="65"/>
                    <a:pt x="101" y="59"/>
                    <a:pt x="104" y="51"/>
                  </a:cubicBezTo>
                  <a:lnTo>
                    <a:pt x="104" y="39"/>
                  </a:lnTo>
                  <a:cubicBezTo>
                    <a:pt x="104" y="31"/>
                    <a:pt x="104" y="25"/>
                    <a:pt x="107" y="17"/>
                  </a:cubicBezTo>
                  <a:cubicBezTo>
                    <a:pt x="110" y="14"/>
                    <a:pt x="110" y="11"/>
                    <a:pt x="112" y="8"/>
                  </a:cubicBezTo>
                  <a:lnTo>
                    <a:pt x="118" y="3"/>
                  </a:lnTo>
                  <a:lnTo>
                    <a:pt x="141" y="0"/>
                  </a:lnTo>
                  <a:lnTo>
                    <a:pt x="144" y="3"/>
                  </a:lnTo>
                  <a:lnTo>
                    <a:pt x="149" y="8"/>
                  </a:lnTo>
                  <a:cubicBezTo>
                    <a:pt x="149" y="14"/>
                    <a:pt x="152" y="17"/>
                    <a:pt x="149" y="22"/>
                  </a:cubicBezTo>
                  <a:lnTo>
                    <a:pt x="144" y="28"/>
                  </a:lnTo>
                  <a:cubicBezTo>
                    <a:pt x="141" y="39"/>
                    <a:pt x="141" y="53"/>
                    <a:pt x="141" y="65"/>
                  </a:cubicBezTo>
                  <a:cubicBezTo>
                    <a:pt x="141" y="67"/>
                    <a:pt x="141" y="70"/>
                    <a:pt x="138" y="73"/>
                  </a:cubicBezTo>
                  <a:cubicBezTo>
                    <a:pt x="135" y="76"/>
                    <a:pt x="135" y="79"/>
                    <a:pt x="135" y="82"/>
                  </a:cubicBezTo>
                  <a:cubicBezTo>
                    <a:pt x="138" y="84"/>
                    <a:pt x="138" y="87"/>
                    <a:pt x="138" y="90"/>
                  </a:cubicBezTo>
                  <a:cubicBezTo>
                    <a:pt x="135" y="93"/>
                    <a:pt x="135" y="96"/>
                    <a:pt x="138" y="99"/>
                  </a:cubicBezTo>
                  <a:lnTo>
                    <a:pt x="135" y="101"/>
                  </a:lnTo>
                  <a:lnTo>
                    <a:pt x="135" y="104"/>
                  </a:lnTo>
                  <a:lnTo>
                    <a:pt x="135" y="115"/>
                  </a:lnTo>
                  <a:cubicBezTo>
                    <a:pt x="135" y="118"/>
                    <a:pt x="132" y="124"/>
                    <a:pt x="132" y="127"/>
                  </a:cubicBezTo>
                  <a:cubicBezTo>
                    <a:pt x="132" y="130"/>
                    <a:pt x="131" y="135"/>
                    <a:pt x="129" y="138"/>
                  </a:cubicBezTo>
                  <a:cubicBezTo>
                    <a:pt x="126" y="141"/>
                    <a:pt x="127" y="146"/>
                    <a:pt x="127" y="149"/>
                  </a:cubicBezTo>
                  <a:cubicBezTo>
                    <a:pt x="124" y="152"/>
                    <a:pt x="124" y="152"/>
                    <a:pt x="127" y="155"/>
                  </a:cubicBezTo>
                  <a:lnTo>
                    <a:pt x="127" y="166"/>
                  </a:lnTo>
                  <a:lnTo>
                    <a:pt x="127" y="172"/>
                  </a:lnTo>
                  <a:cubicBezTo>
                    <a:pt x="129" y="175"/>
                    <a:pt x="129" y="177"/>
                    <a:pt x="129" y="180"/>
                  </a:cubicBezTo>
                  <a:lnTo>
                    <a:pt x="129" y="186"/>
                  </a:lnTo>
                  <a:cubicBezTo>
                    <a:pt x="129" y="189"/>
                    <a:pt x="129" y="189"/>
                    <a:pt x="132" y="192"/>
                  </a:cubicBezTo>
                  <a:cubicBezTo>
                    <a:pt x="132" y="197"/>
                    <a:pt x="132" y="200"/>
                    <a:pt x="135" y="206"/>
                  </a:cubicBezTo>
                  <a:cubicBezTo>
                    <a:pt x="141" y="214"/>
                    <a:pt x="144" y="223"/>
                    <a:pt x="146" y="231"/>
                  </a:cubicBezTo>
                  <a:lnTo>
                    <a:pt x="149" y="242"/>
                  </a:lnTo>
                  <a:cubicBezTo>
                    <a:pt x="149" y="245"/>
                    <a:pt x="149" y="245"/>
                    <a:pt x="152" y="248"/>
                  </a:cubicBezTo>
                  <a:cubicBezTo>
                    <a:pt x="152" y="251"/>
                    <a:pt x="155" y="256"/>
                    <a:pt x="155" y="259"/>
                  </a:cubicBezTo>
                  <a:lnTo>
                    <a:pt x="155" y="265"/>
                  </a:lnTo>
                  <a:cubicBezTo>
                    <a:pt x="155" y="271"/>
                    <a:pt x="158" y="279"/>
                    <a:pt x="163" y="285"/>
                  </a:cubicBezTo>
                  <a:cubicBezTo>
                    <a:pt x="166" y="288"/>
                    <a:pt x="166" y="289"/>
                    <a:pt x="166" y="292"/>
                  </a:cubicBezTo>
                  <a:cubicBezTo>
                    <a:pt x="166" y="298"/>
                    <a:pt x="169" y="303"/>
                    <a:pt x="169" y="309"/>
                  </a:cubicBezTo>
                  <a:cubicBezTo>
                    <a:pt x="172" y="315"/>
                    <a:pt x="175" y="320"/>
                    <a:pt x="175" y="326"/>
                  </a:cubicBezTo>
                  <a:cubicBezTo>
                    <a:pt x="175" y="329"/>
                    <a:pt x="174" y="334"/>
                    <a:pt x="177" y="337"/>
                  </a:cubicBezTo>
                  <a:cubicBezTo>
                    <a:pt x="179" y="340"/>
                    <a:pt x="180" y="343"/>
                    <a:pt x="180" y="349"/>
                  </a:cubicBezTo>
                  <a:cubicBezTo>
                    <a:pt x="183" y="351"/>
                    <a:pt x="186" y="357"/>
                    <a:pt x="186" y="360"/>
                  </a:cubicBezTo>
                  <a:lnTo>
                    <a:pt x="186" y="365"/>
                  </a:lnTo>
                  <a:cubicBezTo>
                    <a:pt x="186" y="371"/>
                    <a:pt x="189" y="374"/>
                    <a:pt x="191" y="377"/>
                  </a:cubicBezTo>
                  <a:cubicBezTo>
                    <a:pt x="191" y="380"/>
                    <a:pt x="194" y="382"/>
                    <a:pt x="191" y="382"/>
                  </a:cubicBezTo>
                  <a:cubicBezTo>
                    <a:pt x="194" y="382"/>
                    <a:pt x="194" y="385"/>
                    <a:pt x="194" y="388"/>
                  </a:cubicBezTo>
                  <a:cubicBezTo>
                    <a:pt x="194" y="391"/>
                    <a:pt x="194" y="394"/>
                    <a:pt x="197" y="394"/>
                  </a:cubicBezTo>
                  <a:cubicBezTo>
                    <a:pt x="197" y="397"/>
                    <a:pt x="197" y="399"/>
                    <a:pt x="200" y="402"/>
                  </a:cubicBezTo>
                  <a:cubicBezTo>
                    <a:pt x="203" y="405"/>
                    <a:pt x="203" y="408"/>
                    <a:pt x="203" y="411"/>
                  </a:cubicBezTo>
                  <a:cubicBezTo>
                    <a:pt x="203" y="416"/>
                    <a:pt x="206" y="422"/>
                    <a:pt x="208" y="425"/>
                  </a:cubicBezTo>
                  <a:lnTo>
                    <a:pt x="214" y="436"/>
                  </a:lnTo>
                  <a:cubicBezTo>
                    <a:pt x="214" y="439"/>
                    <a:pt x="217" y="444"/>
                    <a:pt x="217" y="447"/>
                  </a:cubicBezTo>
                  <a:lnTo>
                    <a:pt x="231" y="453"/>
                  </a:lnTo>
                  <a:close/>
                  <a:moveTo>
                    <a:pt x="19" y="45"/>
                  </a:moveTo>
                  <a:lnTo>
                    <a:pt x="22" y="45"/>
                  </a:lnTo>
                  <a:lnTo>
                    <a:pt x="22" y="42"/>
                  </a:lnTo>
                  <a:cubicBezTo>
                    <a:pt x="22" y="42"/>
                    <a:pt x="19" y="42"/>
                    <a:pt x="19" y="45"/>
                  </a:cubicBezTo>
                  <a:close/>
                  <a:moveTo>
                    <a:pt x="28" y="70"/>
                  </a:moveTo>
                  <a:lnTo>
                    <a:pt x="28" y="65"/>
                  </a:lnTo>
                  <a:lnTo>
                    <a:pt x="25" y="65"/>
                  </a:lnTo>
                  <a:cubicBezTo>
                    <a:pt x="25" y="67"/>
                    <a:pt x="28" y="70"/>
                    <a:pt x="28" y="70"/>
                  </a:cubicBezTo>
                  <a:close/>
                  <a:moveTo>
                    <a:pt x="25" y="56"/>
                  </a:moveTo>
                  <a:cubicBezTo>
                    <a:pt x="28" y="53"/>
                    <a:pt x="25" y="53"/>
                    <a:pt x="25" y="51"/>
                  </a:cubicBezTo>
                  <a:lnTo>
                    <a:pt x="25" y="56"/>
                  </a:lnTo>
                  <a:close/>
                  <a:moveTo>
                    <a:pt x="42" y="76"/>
                  </a:moveTo>
                  <a:lnTo>
                    <a:pt x="28" y="79"/>
                  </a:lnTo>
                  <a:lnTo>
                    <a:pt x="28" y="82"/>
                  </a:lnTo>
                  <a:cubicBezTo>
                    <a:pt x="31" y="82"/>
                    <a:pt x="33" y="82"/>
                    <a:pt x="39" y="84"/>
                  </a:cubicBezTo>
                  <a:lnTo>
                    <a:pt x="42" y="76"/>
                  </a:lnTo>
                  <a:close/>
                  <a:moveTo>
                    <a:pt x="33" y="62"/>
                  </a:moveTo>
                  <a:cubicBezTo>
                    <a:pt x="33" y="65"/>
                    <a:pt x="33" y="65"/>
                    <a:pt x="31" y="67"/>
                  </a:cubicBezTo>
                  <a:cubicBezTo>
                    <a:pt x="31" y="70"/>
                    <a:pt x="28" y="70"/>
                    <a:pt x="28" y="73"/>
                  </a:cubicBezTo>
                  <a:lnTo>
                    <a:pt x="31" y="76"/>
                  </a:lnTo>
                  <a:cubicBezTo>
                    <a:pt x="31" y="73"/>
                    <a:pt x="31" y="73"/>
                    <a:pt x="33" y="70"/>
                  </a:cubicBezTo>
                  <a:lnTo>
                    <a:pt x="36" y="65"/>
                  </a:lnTo>
                  <a:lnTo>
                    <a:pt x="33" y="62"/>
                  </a:lnTo>
                  <a:close/>
                  <a:moveTo>
                    <a:pt x="31" y="93"/>
                  </a:moveTo>
                  <a:lnTo>
                    <a:pt x="31" y="96"/>
                  </a:lnTo>
                  <a:lnTo>
                    <a:pt x="33" y="96"/>
                  </a:lnTo>
                  <a:lnTo>
                    <a:pt x="33" y="90"/>
                  </a:lnTo>
                  <a:cubicBezTo>
                    <a:pt x="33" y="90"/>
                    <a:pt x="33" y="93"/>
                    <a:pt x="31" y="93"/>
                  </a:cubicBezTo>
                  <a:close/>
                  <a:moveTo>
                    <a:pt x="42" y="101"/>
                  </a:moveTo>
                  <a:cubicBezTo>
                    <a:pt x="42" y="99"/>
                    <a:pt x="42" y="101"/>
                    <a:pt x="42" y="101"/>
                  </a:cubicBezTo>
                  <a:lnTo>
                    <a:pt x="36" y="101"/>
                  </a:lnTo>
                  <a:lnTo>
                    <a:pt x="36" y="107"/>
                  </a:lnTo>
                  <a:lnTo>
                    <a:pt x="42" y="101"/>
                  </a:lnTo>
                  <a:close/>
                  <a:moveTo>
                    <a:pt x="39" y="135"/>
                  </a:moveTo>
                  <a:cubicBezTo>
                    <a:pt x="39" y="135"/>
                    <a:pt x="42" y="135"/>
                    <a:pt x="39" y="135"/>
                  </a:cubicBezTo>
                  <a:cubicBezTo>
                    <a:pt x="42" y="132"/>
                    <a:pt x="45" y="132"/>
                    <a:pt x="45" y="130"/>
                  </a:cubicBezTo>
                  <a:lnTo>
                    <a:pt x="36" y="132"/>
                  </a:lnTo>
                  <a:lnTo>
                    <a:pt x="39" y="135"/>
                  </a:lnTo>
                  <a:close/>
                  <a:moveTo>
                    <a:pt x="36" y="144"/>
                  </a:moveTo>
                  <a:lnTo>
                    <a:pt x="39" y="144"/>
                  </a:lnTo>
                  <a:lnTo>
                    <a:pt x="39" y="141"/>
                  </a:lnTo>
                  <a:cubicBezTo>
                    <a:pt x="39" y="141"/>
                    <a:pt x="36" y="141"/>
                    <a:pt x="36" y="144"/>
                  </a:cubicBezTo>
                  <a:close/>
                  <a:moveTo>
                    <a:pt x="42" y="115"/>
                  </a:moveTo>
                  <a:lnTo>
                    <a:pt x="42" y="113"/>
                  </a:lnTo>
                  <a:cubicBezTo>
                    <a:pt x="42" y="113"/>
                    <a:pt x="42" y="115"/>
                    <a:pt x="39" y="115"/>
                  </a:cubicBezTo>
                  <a:lnTo>
                    <a:pt x="36" y="118"/>
                  </a:lnTo>
                  <a:lnTo>
                    <a:pt x="42" y="115"/>
                  </a:lnTo>
                  <a:close/>
                  <a:moveTo>
                    <a:pt x="39" y="152"/>
                  </a:moveTo>
                  <a:cubicBezTo>
                    <a:pt x="42" y="155"/>
                    <a:pt x="42" y="155"/>
                    <a:pt x="45" y="155"/>
                  </a:cubicBezTo>
                  <a:lnTo>
                    <a:pt x="48" y="152"/>
                  </a:lnTo>
                  <a:lnTo>
                    <a:pt x="50" y="149"/>
                  </a:lnTo>
                  <a:lnTo>
                    <a:pt x="48" y="149"/>
                  </a:lnTo>
                  <a:cubicBezTo>
                    <a:pt x="48" y="149"/>
                    <a:pt x="45" y="149"/>
                    <a:pt x="45" y="146"/>
                  </a:cubicBezTo>
                  <a:lnTo>
                    <a:pt x="42" y="146"/>
                  </a:lnTo>
                  <a:lnTo>
                    <a:pt x="39" y="149"/>
                  </a:lnTo>
                  <a:lnTo>
                    <a:pt x="39" y="152"/>
                  </a:lnTo>
                  <a:close/>
                  <a:moveTo>
                    <a:pt x="42" y="169"/>
                  </a:moveTo>
                  <a:lnTo>
                    <a:pt x="45" y="169"/>
                  </a:lnTo>
                  <a:lnTo>
                    <a:pt x="48" y="169"/>
                  </a:lnTo>
                  <a:lnTo>
                    <a:pt x="48" y="166"/>
                  </a:lnTo>
                  <a:lnTo>
                    <a:pt x="42" y="166"/>
                  </a:lnTo>
                  <a:lnTo>
                    <a:pt x="42" y="169"/>
                  </a:lnTo>
                  <a:close/>
                  <a:moveTo>
                    <a:pt x="56" y="152"/>
                  </a:moveTo>
                  <a:lnTo>
                    <a:pt x="53" y="158"/>
                  </a:lnTo>
                  <a:cubicBezTo>
                    <a:pt x="50" y="158"/>
                    <a:pt x="50" y="155"/>
                    <a:pt x="48" y="155"/>
                  </a:cubicBezTo>
                  <a:lnTo>
                    <a:pt x="48" y="158"/>
                  </a:lnTo>
                  <a:lnTo>
                    <a:pt x="50" y="158"/>
                  </a:lnTo>
                  <a:lnTo>
                    <a:pt x="53" y="158"/>
                  </a:lnTo>
                  <a:lnTo>
                    <a:pt x="56" y="158"/>
                  </a:lnTo>
                  <a:cubicBezTo>
                    <a:pt x="53" y="158"/>
                    <a:pt x="56" y="155"/>
                    <a:pt x="56" y="152"/>
                  </a:cubicBezTo>
                  <a:close/>
                  <a:moveTo>
                    <a:pt x="48" y="180"/>
                  </a:moveTo>
                  <a:cubicBezTo>
                    <a:pt x="50" y="180"/>
                    <a:pt x="50" y="177"/>
                    <a:pt x="50" y="177"/>
                  </a:cubicBezTo>
                  <a:cubicBezTo>
                    <a:pt x="50" y="177"/>
                    <a:pt x="50" y="175"/>
                    <a:pt x="48" y="175"/>
                  </a:cubicBezTo>
                  <a:lnTo>
                    <a:pt x="48" y="180"/>
                  </a:lnTo>
                  <a:close/>
                  <a:moveTo>
                    <a:pt x="146" y="315"/>
                  </a:moveTo>
                  <a:cubicBezTo>
                    <a:pt x="146" y="312"/>
                    <a:pt x="146" y="309"/>
                    <a:pt x="149" y="306"/>
                  </a:cubicBezTo>
                  <a:cubicBezTo>
                    <a:pt x="152" y="303"/>
                    <a:pt x="152" y="301"/>
                    <a:pt x="149" y="298"/>
                  </a:cubicBezTo>
                  <a:lnTo>
                    <a:pt x="144" y="298"/>
                  </a:lnTo>
                  <a:lnTo>
                    <a:pt x="139" y="298"/>
                  </a:lnTo>
                  <a:lnTo>
                    <a:pt x="138" y="301"/>
                  </a:lnTo>
                  <a:cubicBezTo>
                    <a:pt x="141" y="301"/>
                    <a:pt x="141" y="303"/>
                    <a:pt x="144" y="303"/>
                  </a:cubicBezTo>
                  <a:lnTo>
                    <a:pt x="146" y="301"/>
                  </a:lnTo>
                  <a:lnTo>
                    <a:pt x="146" y="309"/>
                  </a:lnTo>
                  <a:lnTo>
                    <a:pt x="144" y="312"/>
                  </a:lnTo>
                  <a:lnTo>
                    <a:pt x="144" y="315"/>
                  </a:lnTo>
                  <a:lnTo>
                    <a:pt x="146" y="315"/>
                  </a:lnTo>
                  <a:close/>
                  <a:moveTo>
                    <a:pt x="135" y="289"/>
                  </a:moveTo>
                  <a:cubicBezTo>
                    <a:pt x="134" y="290"/>
                    <a:pt x="134" y="290"/>
                    <a:pt x="134" y="291"/>
                  </a:cubicBezTo>
                  <a:cubicBezTo>
                    <a:pt x="134" y="291"/>
                    <a:pt x="134" y="292"/>
                    <a:pt x="135" y="292"/>
                  </a:cubicBezTo>
                  <a:lnTo>
                    <a:pt x="136" y="292"/>
                  </a:lnTo>
                  <a:lnTo>
                    <a:pt x="135" y="289"/>
                  </a:lnTo>
                  <a:close/>
                  <a:moveTo>
                    <a:pt x="129" y="288"/>
                  </a:moveTo>
                  <a:cubicBezTo>
                    <a:pt x="127" y="285"/>
                    <a:pt x="124" y="285"/>
                    <a:pt x="124" y="285"/>
                  </a:cubicBezTo>
                  <a:lnTo>
                    <a:pt x="124" y="282"/>
                  </a:lnTo>
                  <a:lnTo>
                    <a:pt x="124" y="279"/>
                  </a:lnTo>
                  <a:lnTo>
                    <a:pt x="121" y="279"/>
                  </a:lnTo>
                  <a:lnTo>
                    <a:pt x="121" y="285"/>
                  </a:lnTo>
                  <a:cubicBezTo>
                    <a:pt x="118" y="285"/>
                    <a:pt x="118" y="285"/>
                    <a:pt x="115" y="282"/>
                  </a:cubicBezTo>
                  <a:lnTo>
                    <a:pt x="115" y="285"/>
                  </a:lnTo>
                  <a:lnTo>
                    <a:pt x="112" y="288"/>
                  </a:lnTo>
                  <a:cubicBezTo>
                    <a:pt x="110" y="288"/>
                    <a:pt x="107" y="287"/>
                    <a:pt x="107" y="285"/>
                  </a:cubicBezTo>
                  <a:cubicBezTo>
                    <a:pt x="109" y="285"/>
                    <a:pt x="111" y="284"/>
                    <a:pt x="112" y="282"/>
                  </a:cubicBezTo>
                  <a:lnTo>
                    <a:pt x="107" y="282"/>
                  </a:lnTo>
                  <a:lnTo>
                    <a:pt x="101" y="279"/>
                  </a:lnTo>
                  <a:cubicBezTo>
                    <a:pt x="98" y="279"/>
                    <a:pt x="98" y="276"/>
                    <a:pt x="96" y="276"/>
                  </a:cubicBezTo>
                  <a:cubicBezTo>
                    <a:pt x="96" y="273"/>
                    <a:pt x="98" y="273"/>
                    <a:pt x="98" y="273"/>
                  </a:cubicBezTo>
                  <a:lnTo>
                    <a:pt x="101" y="276"/>
                  </a:lnTo>
                  <a:lnTo>
                    <a:pt x="101" y="273"/>
                  </a:lnTo>
                  <a:cubicBezTo>
                    <a:pt x="104" y="276"/>
                    <a:pt x="107" y="276"/>
                    <a:pt x="112" y="276"/>
                  </a:cubicBezTo>
                  <a:cubicBezTo>
                    <a:pt x="115" y="276"/>
                    <a:pt x="121" y="276"/>
                    <a:pt x="124" y="279"/>
                  </a:cubicBezTo>
                  <a:cubicBezTo>
                    <a:pt x="124" y="279"/>
                    <a:pt x="127" y="279"/>
                    <a:pt x="127" y="276"/>
                  </a:cubicBezTo>
                  <a:cubicBezTo>
                    <a:pt x="127" y="276"/>
                    <a:pt x="129" y="276"/>
                    <a:pt x="129" y="273"/>
                  </a:cubicBezTo>
                  <a:lnTo>
                    <a:pt x="127" y="271"/>
                  </a:lnTo>
                  <a:cubicBezTo>
                    <a:pt x="127" y="271"/>
                    <a:pt x="127" y="268"/>
                    <a:pt x="124" y="268"/>
                  </a:cubicBezTo>
                  <a:cubicBezTo>
                    <a:pt x="121" y="268"/>
                    <a:pt x="121" y="268"/>
                    <a:pt x="118" y="271"/>
                  </a:cubicBezTo>
                  <a:cubicBezTo>
                    <a:pt x="118" y="273"/>
                    <a:pt x="115" y="273"/>
                    <a:pt x="115" y="273"/>
                  </a:cubicBezTo>
                  <a:lnTo>
                    <a:pt x="118" y="271"/>
                  </a:lnTo>
                  <a:lnTo>
                    <a:pt x="121" y="268"/>
                  </a:lnTo>
                  <a:lnTo>
                    <a:pt x="115" y="268"/>
                  </a:lnTo>
                  <a:lnTo>
                    <a:pt x="110" y="268"/>
                  </a:lnTo>
                  <a:lnTo>
                    <a:pt x="107" y="262"/>
                  </a:lnTo>
                  <a:cubicBezTo>
                    <a:pt x="107" y="262"/>
                    <a:pt x="107" y="259"/>
                    <a:pt x="104" y="256"/>
                  </a:cubicBezTo>
                  <a:lnTo>
                    <a:pt x="112" y="256"/>
                  </a:lnTo>
                  <a:lnTo>
                    <a:pt x="112" y="251"/>
                  </a:lnTo>
                  <a:cubicBezTo>
                    <a:pt x="112" y="251"/>
                    <a:pt x="115" y="253"/>
                    <a:pt x="115" y="255"/>
                  </a:cubicBezTo>
                  <a:cubicBezTo>
                    <a:pt x="112" y="257"/>
                    <a:pt x="109" y="257"/>
                    <a:pt x="107" y="259"/>
                  </a:cubicBezTo>
                  <a:cubicBezTo>
                    <a:pt x="112" y="262"/>
                    <a:pt x="115" y="262"/>
                    <a:pt x="118" y="262"/>
                  </a:cubicBezTo>
                  <a:cubicBezTo>
                    <a:pt x="121" y="268"/>
                    <a:pt x="124" y="268"/>
                    <a:pt x="127" y="268"/>
                  </a:cubicBezTo>
                  <a:lnTo>
                    <a:pt x="127" y="265"/>
                  </a:lnTo>
                  <a:lnTo>
                    <a:pt x="124" y="265"/>
                  </a:lnTo>
                  <a:cubicBezTo>
                    <a:pt x="124" y="265"/>
                    <a:pt x="124" y="262"/>
                    <a:pt x="121" y="259"/>
                  </a:cubicBezTo>
                  <a:lnTo>
                    <a:pt x="118" y="262"/>
                  </a:lnTo>
                  <a:lnTo>
                    <a:pt x="118" y="256"/>
                  </a:lnTo>
                  <a:lnTo>
                    <a:pt x="118" y="254"/>
                  </a:lnTo>
                  <a:lnTo>
                    <a:pt x="118" y="251"/>
                  </a:lnTo>
                  <a:cubicBezTo>
                    <a:pt x="118" y="251"/>
                    <a:pt x="115" y="251"/>
                    <a:pt x="115" y="248"/>
                  </a:cubicBezTo>
                  <a:lnTo>
                    <a:pt x="112" y="245"/>
                  </a:lnTo>
                  <a:cubicBezTo>
                    <a:pt x="114" y="243"/>
                    <a:pt x="115" y="241"/>
                    <a:pt x="116" y="240"/>
                  </a:cubicBezTo>
                  <a:cubicBezTo>
                    <a:pt x="116" y="240"/>
                    <a:pt x="116" y="240"/>
                    <a:pt x="115" y="240"/>
                  </a:cubicBezTo>
                  <a:lnTo>
                    <a:pt x="118" y="237"/>
                  </a:lnTo>
                  <a:lnTo>
                    <a:pt x="118" y="234"/>
                  </a:lnTo>
                  <a:lnTo>
                    <a:pt x="115" y="225"/>
                  </a:lnTo>
                  <a:cubicBezTo>
                    <a:pt x="115" y="225"/>
                    <a:pt x="112" y="225"/>
                    <a:pt x="112" y="228"/>
                  </a:cubicBezTo>
                  <a:lnTo>
                    <a:pt x="107" y="228"/>
                  </a:lnTo>
                  <a:lnTo>
                    <a:pt x="107" y="231"/>
                  </a:lnTo>
                  <a:lnTo>
                    <a:pt x="101" y="231"/>
                  </a:lnTo>
                  <a:lnTo>
                    <a:pt x="101" y="228"/>
                  </a:lnTo>
                  <a:lnTo>
                    <a:pt x="101" y="225"/>
                  </a:lnTo>
                  <a:lnTo>
                    <a:pt x="104" y="225"/>
                  </a:lnTo>
                  <a:lnTo>
                    <a:pt x="101" y="223"/>
                  </a:lnTo>
                  <a:lnTo>
                    <a:pt x="98" y="220"/>
                  </a:lnTo>
                  <a:cubicBezTo>
                    <a:pt x="101" y="217"/>
                    <a:pt x="101" y="217"/>
                    <a:pt x="101" y="214"/>
                  </a:cubicBezTo>
                  <a:lnTo>
                    <a:pt x="104" y="211"/>
                  </a:lnTo>
                  <a:lnTo>
                    <a:pt x="101" y="209"/>
                  </a:lnTo>
                  <a:lnTo>
                    <a:pt x="98" y="209"/>
                  </a:lnTo>
                  <a:lnTo>
                    <a:pt x="93" y="209"/>
                  </a:lnTo>
                  <a:cubicBezTo>
                    <a:pt x="93" y="203"/>
                    <a:pt x="90" y="200"/>
                    <a:pt x="87" y="197"/>
                  </a:cubicBezTo>
                  <a:lnTo>
                    <a:pt x="79" y="200"/>
                  </a:lnTo>
                  <a:lnTo>
                    <a:pt x="79" y="200"/>
                  </a:lnTo>
                  <a:lnTo>
                    <a:pt x="79" y="200"/>
                  </a:lnTo>
                  <a:lnTo>
                    <a:pt x="81" y="206"/>
                  </a:lnTo>
                  <a:cubicBezTo>
                    <a:pt x="81" y="209"/>
                    <a:pt x="81" y="209"/>
                    <a:pt x="84" y="211"/>
                  </a:cubicBezTo>
                  <a:lnTo>
                    <a:pt x="84" y="214"/>
                  </a:lnTo>
                  <a:lnTo>
                    <a:pt x="87" y="214"/>
                  </a:lnTo>
                  <a:lnTo>
                    <a:pt x="90" y="214"/>
                  </a:lnTo>
                  <a:lnTo>
                    <a:pt x="93" y="211"/>
                  </a:lnTo>
                  <a:lnTo>
                    <a:pt x="96" y="211"/>
                  </a:lnTo>
                  <a:lnTo>
                    <a:pt x="98" y="211"/>
                  </a:lnTo>
                  <a:cubicBezTo>
                    <a:pt x="98" y="211"/>
                    <a:pt x="98" y="214"/>
                    <a:pt x="96" y="214"/>
                  </a:cubicBezTo>
                  <a:lnTo>
                    <a:pt x="98" y="220"/>
                  </a:lnTo>
                  <a:cubicBezTo>
                    <a:pt x="98" y="223"/>
                    <a:pt x="98" y="223"/>
                    <a:pt x="101" y="225"/>
                  </a:cubicBezTo>
                  <a:cubicBezTo>
                    <a:pt x="98" y="225"/>
                    <a:pt x="98" y="225"/>
                    <a:pt x="96" y="228"/>
                  </a:cubicBezTo>
                  <a:cubicBezTo>
                    <a:pt x="93" y="228"/>
                    <a:pt x="93" y="228"/>
                    <a:pt x="90" y="231"/>
                  </a:cubicBezTo>
                  <a:lnTo>
                    <a:pt x="90" y="228"/>
                  </a:lnTo>
                  <a:cubicBezTo>
                    <a:pt x="90" y="228"/>
                    <a:pt x="90" y="227"/>
                    <a:pt x="89" y="227"/>
                  </a:cubicBezTo>
                  <a:lnTo>
                    <a:pt x="93" y="228"/>
                  </a:lnTo>
                  <a:lnTo>
                    <a:pt x="90" y="220"/>
                  </a:lnTo>
                  <a:lnTo>
                    <a:pt x="87" y="220"/>
                  </a:lnTo>
                  <a:lnTo>
                    <a:pt x="84" y="220"/>
                  </a:lnTo>
                  <a:lnTo>
                    <a:pt x="84" y="223"/>
                  </a:lnTo>
                  <a:cubicBezTo>
                    <a:pt x="81" y="223"/>
                    <a:pt x="79" y="220"/>
                    <a:pt x="79" y="220"/>
                  </a:cubicBezTo>
                  <a:lnTo>
                    <a:pt x="73" y="223"/>
                  </a:lnTo>
                  <a:cubicBezTo>
                    <a:pt x="73" y="221"/>
                    <a:pt x="73" y="219"/>
                    <a:pt x="74" y="217"/>
                  </a:cubicBezTo>
                  <a:lnTo>
                    <a:pt x="73" y="217"/>
                  </a:lnTo>
                  <a:lnTo>
                    <a:pt x="73" y="217"/>
                  </a:lnTo>
                  <a:cubicBezTo>
                    <a:pt x="70" y="217"/>
                    <a:pt x="70" y="220"/>
                    <a:pt x="70" y="220"/>
                  </a:cubicBezTo>
                  <a:lnTo>
                    <a:pt x="67" y="223"/>
                  </a:lnTo>
                  <a:lnTo>
                    <a:pt x="70" y="225"/>
                  </a:lnTo>
                  <a:cubicBezTo>
                    <a:pt x="62" y="231"/>
                    <a:pt x="59" y="237"/>
                    <a:pt x="56" y="237"/>
                  </a:cubicBezTo>
                  <a:cubicBezTo>
                    <a:pt x="56" y="237"/>
                    <a:pt x="56" y="240"/>
                    <a:pt x="53" y="240"/>
                  </a:cubicBezTo>
                  <a:lnTo>
                    <a:pt x="53" y="245"/>
                  </a:lnTo>
                  <a:lnTo>
                    <a:pt x="59" y="245"/>
                  </a:lnTo>
                  <a:lnTo>
                    <a:pt x="64" y="245"/>
                  </a:lnTo>
                  <a:lnTo>
                    <a:pt x="64" y="248"/>
                  </a:lnTo>
                  <a:lnTo>
                    <a:pt x="64" y="251"/>
                  </a:lnTo>
                  <a:lnTo>
                    <a:pt x="67" y="251"/>
                  </a:lnTo>
                  <a:lnTo>
                    <a:pt x="70" y="251"/>
                  </a:lnTo>
                  <a:cubicBezTo>
                    <a:pt x="73" y="251"/>
                    <a:pt x="76" y="248"/>
                    <a:pt x="76" y="248"/>
                  </a:cubicBezTo>
                  <a:cubicBezTo>
                    <a:pt x="76" y="251"/>
                    <a:pt x="76" y="254"/>
                    <a:pt x="73" y="256"/>
                  </a:cubicBezTo>
                  <a:cubicBezTo>
                    <a:pt x="73" y="259"/>
                    <a:pt x="70" y="259"/>
                    <a:pt x="70" y="262"/>
                  </a:cubicBezTo>
                  <a:lnTo>
                    <a:pt x="62" y="262"/>
                  </a:lnTo>
                  <a:lnTo>
                    <a:pt x="62" y="265"/>
                  </a:lnTo>
                  <a:cubicBezTo>
                    <a:pt x="64" y="265"/>
                    <a:pt x="67" y="265"/>
                    <a:pt x="70" y="268"/>
                  </a:cubicBezTo>
                  <a:cubicBezTo>
                    <a:pt x="70" y="268"/>
                    <a:pt x="70" y="265"/>
                    <a:pt x="73" y="265"/>
                  </a:cubicBezTo>
                  <a:lnTo>
                    <a:pt x="76" y="268"/>
                  </a:lnTo>
                  <a:cubicBezTo>
                    <a:pt x="79" y="268"/>
                    <a:pt x="79" y="265"/>
                    <a:pt x="79" y="265"/>
                  </a:cubicBezTo>
                  <a:cubicBezTo>
                    <a:pt x="79" y="265"/>
                    <a:pt x="79" y="262"/>
                    <a:pt x="81" y="262"/>
                  </a:cubicBezTo>
                  <a:lnTo>
                    <a:pt x="81" y="265"/>
                  </a:lnTo>
                  <a:lnTo>
                    <a:pt x="81" y="268"/>
                  </a:lnTo>
                  <a:lnTo>
                    <a:pt x="81" y="271"/>
                  </a:lnTo>
                  <a:cubicBezTo>
                    <a:pt x="81" y="271"/>
                    <a:pt x="81" y="273"/>
                    <a:pt x="79" y="273"/>
                  </a:cubicBezTo>
                  <a:lnTo>
                    <a:pt x="81" y="276"/>
                  </a:lnTo>
                  <a:lnTo>
                    <a:pt x="81" y="273"/>
                  </a:lnTo>
                  <a:lnTo>
                    <a:pt x="81" y="271"/>
                  </a:lnTo>
                  <a:lnTo>
                    <a:pt x="87" y="271"/>
                  </a:lnTo>
                  <a:cubicBezTo>
                    <a:pt x="87" y="271"/>
                    <a:pt x="87" y="268"/>
                    <a:pt x="90" y="268"/>
                  </a:cubicBezTo>
                  <a:cubicBezTo>
                    <a:pt x="93" y="268"/>
                    <a:pt x="90" y="268"/>
                    <a:pt x="93" y="265"/>
                  </a:cubicBezTo>
                  <a:lnTo>
                    <a:pt x="93" y="273"/>
                  </a:lnTo>
                  <a:lnTo>
                    <a:pt x="93" y="282"/>
                  </a:lnTo>
                  <a:lnTo>
                    <a:pt x="96" y="282"/>
                  </a:lnTo>
                  <a:cubicBezTo>
                    <a:pt x="99" y="284"/>
                    <a:pt x="103" y="286"/>
                    <a:pt x="107" y="285"/>
                  </a:cubicBezTo>
                  <a:cubicBezTo>
                    <a:pt x="107" y="286"/>
                    <a:pt x="106" y="288"/>
                    <a:pt x="104" y="288"/>
                  </a:cubicBezTo>
                  <a:lnTo>
                    <a:pt x="104" y="292"/>
                  </a:lnTo>
                  <a:lnTo>
                    <a:pt x="110" y="295"/>
                  </a:lnTo>
                  <a:cubicBezTo>
                    <a:pt x="112" y="292"/>
                    <a:pt x="112" y="292"/>
                    <a:pt x="115" y="292"/>
                  </a:cubicBezTo>
                  <a:cubicBezTo>
                    <a:pt x="118" y="295"/>
                    <a:pt x="121" y="298"/>
                    <a:pt x="123" y="303"/>
                  </a:cubicBezTo>
                  <a:lnTo>
                    <a:pt x="127" y="298"/>
                  </a:lnTo>
                  <a:lnTo>
                    <a:pt x="127" y="289"/>
                  </a:lnTo>
                  <a:lnTo>
                    <a:pt x="124" y="289"/>
                  </a:lnTo>
                  <a:lnTo>
                    <a:pt x="121" y="289"/>
                  </a:lnTo>
                  <a:lnTo>
                    <a:pt x="129" y="288"/>
                  </a:lnTo>
                  <a:close/>
                  <a:moveTo>
                    <a:pt x="118" y="309"/>
                  </a:moveTo>
                  <a:cubicBezTo>
                    <a:pt x="115" y="309"/>
                    <a:pt x="115" y="309"/>
                    <a:pt x="112" y="306"/>
                  </a:cubicBezTo>
                  <a:lnTo>
                    <a:pt x="112" y="303"/>
                  </a:lnTo>
                  <a:lnTo>
                    <a:pt x="110" y="301"/>
                  </a:lnTo>
                  <a:cubicBezTo>
                    <a:pt x="110" y="301"/>
                    <a:pt x="110" y="298"/>
                    <a:pt x="107" y="298"/>
                  </a:cubicBezTo>
                  <a:lnTo>
                    <a:pt x="101" y="301"/>
                  </a:lnTo>
                  <a:lnTo>
                    <a:pt x="101" y="292"/>
                  </a:lnTo>
                  <a:cubicBezTo>
                    <a:pt x="98" y="292"/>
                    <a:pt x="96" y="292"/>
                    <a:pt x="96" y="289"/>
                  </a:cubicBezTo>
                  <a:lnTo>
                    <a:pt x="96" y="292"/>
                  </a:lnTo>
                  <a:lnTo>
                    <a:pt x="96" y="295"/>
                  </a:lnTo>
                  <a:lnTo>
                    <a:pt x="93" y="295"/>
                  </a:lnTo>
                  <a:lnTo>
                    <a:pt x="91" y="288"/>
                  </a:lnTo>
                  <a:lnTo>
                    <a:pt x="87" y="289"/>
                  </a:lnTo>
                  <a:lnTo>
                    <a:pt x="81" y="288"/>
                  </a:lnTo>
                  <a:lnTo>
                    <a:pt x="87" y="282"/>
                  </a:lnTo>
                  <a:cubicBezTo>
                    <a:pt x="87" y="279"/>
                    <a:pt x="90" y="279"/>
                    <a:pt x="90" y="276"/>
                  </a:cubicBezTo>
                  <a:lnTo>
                    <a:pt x="87" y="276"/>
                  </a:lnTo>
                  <a:cubicBezTo>
                    <a:pt x="84" y="279"/>
                    <a:pt x="81" y="276"/>
                    <a:pt x="79" y="276"/>
                  </a:cubicBezTo>
                  <a:lnTo>
                    <a:pt x="73" y="276"/>
                  </a:lnTo>
                  <a:lnTo>
                    <a:pt x="76" y="273"/>
                  </a:lnTo>
                  <a:cubicBezTo>
                    <a:pt x="76" y="271"/>
                    <a:pt x="76" y="271"/>
                    <a:pt x="79" y="268"/>
                  </a:cubicBezTo>
                  <a:lnTo>
                    <a:pt x="70" y="273"/>
                  </a:lnTo>
                  <a:cubicBezTo>
                    <a:pt x="67" y="276"/>
                    <a:pt x="64" y="279"/>
                    <a:pt x="62" y="279"/>
                  </a:cubicBezTo>
                  <a:lnTo>
                    <a:pt x="70" y="279"/>
                  </a:lnTo>
                  <a:lnTo>
                    <a:pt x="70" y="282"/>
                  </a:lnTo>
                  <a:lnTo>
                    <a:pt x="76" y="279"/>
                  </a:lnTo>
                  <a:lnTo>
                    <a:pt x="76" y="285"/>
                  </a:lnTo>
                  <a:cubicBezTo>
                    <a:pt x="73" y="285"/>
                    <a:pt x="73" y="288"/>
                    <a:pt x="73" y="288"/>
                  </a:cubicBezTo>
                  <a:cubicBezTo>
                    <a:pt x="81" y="288"/>
                    <a:pt x="81" y="288"/>
                    <a:pt x="84" y="295"/>
                  </a:cubicBezTo>
                  <a:cubicBezTo>
                    <a:pt x="81" y="292"/>
                    <a:pt x="76" y="292"/>
                    <a:pt x="70" y="295"/>
                  </a:cubicBezTo>
                  <a:lnTo>
                    <a:pt x="70" y="298"/>
                  </a:lnTo>
                  <a:lnTo>
                    <a:pt x="70" y="303"/>
                  </a:lnTo>
                  <a:lnTo>
                    <a:pt x="76" y="298"/>
                  </a:lnTo>
                  <a:lnTo>
                    <a:pt x="81" y="301"/>
                  </a:lnTo>
                  <a:lnTo>
                    <a:pt x="87" y="295"/>
                  </a:lnTo>
                  <a:cubicBezTo>
                    <a:pt x="90" y="295"/>
                    <a:pt x="90" y="298"/>
                    <a:pt x="90" y="298"/>
                  </a:cubicBezTo>
                  <a:lnTo>
                    <a:pt x="90" y="303"/>
                  </a:lnTo>
                  <a:cubicBezTo>
                    <a:pt x="90" y="303"/>
                    <a:pt x="93" y="301"/>
                    <a:pt x="96" y="301"/>
                  </a:cubicBezTo>
                  <a:lnTo>
                    <a:pt x="101" y="301"/>
                  </a:lnTo>
                  <a:lnTo>
                    <a:pt x="93" y="309"/>
                  </a:lnTo>
                  <a:lnTo>
                    <a:pt x="104" y="306"/>
                  </a:lnTo>
                  <a:lnTo>
                    <a:pt x="104" y="303"/>
                  </a:lnTo>
                  <a:cubicBezTo>
                    <a:pt x="104" y="303"/>
                    <a:pt x="104" y="301"/>
                    <a:pt x="107" y="301"/>
                  </a:cubicBezTo>
                  <a:lnTo>
                    <a:pt x="107" y="303"/>
                  </a:lnTo>
                  <a:lnTo>
                    <a:pt x="107" y="306"/>
                  </a:lnTo>
                  <a:cubicBezTo>
                    <a:pt x="107" y="306"/>
                    <a:pt x="107" y="309"/>
                    <a:pt x="110" y="309"/>
                  </a:cubicBezTo>
                  <a:lnTo>
                    <a:pt x="115" y="309"/>
                  </a:lnTo>
                  <a:lnTo>
                    <a:pt x="118" y="312"/>
                  </a:lnTo>
                  <a:lnTo>
                    <a:pt x="121" y="308"/>
                  </a:lnTo>
                  <a:cubicBezTo>
                    <a:pt x="120" y="309"/>
                    <a:pt x="119" y="309"/>
                    <a:pt x="118" y="309"/>
                  </a:cubicBezTo>
                  <a:close/>
                  <a:moveTo>
                    <a:pt x="115" y="256"/>
                  </a:moveTo>
                  <a:lnTo>
                    <a:pt x="118" y="254"/>
                  </a:lnTo>
                  <a:cubicBezTo>
                    <a:pt x="117" y="254"/>
                    <a:pt x="116" y="255"/>
                    <a:pt x="115" y="255"/>
                  </a:cubicBezTo>
                  <a:cubicBezTo>
                    <a:pt x="115" y="256"/>
                    <a:pt x="115" y="256"/>
                    <a:pt x="115" y="256"/>
                  </a:cubicBezTo>
                  <a:close/>
                  <a:moveTo>
                    <a:pt x="127" y="248"/>
                  </a:moveTo>
                  <a:lnTo>
                    <a:pt x="127" y="245"/>
                  </a:lnTo>
                  <a:lnTo>
                    <a:pt x="124" y="248"/>
                  </a:lnTo>
                  <a:lnTo>
                    <a:pt x="127" y="248"/>
                  </a:lnTo>
                  <a:close/>
                  <a:moveTo>
                    <a:pt x="87" y="225"/>
                  </a:moveTo>
                  <a:lnTo>
                    <a:pt x="89" y="227"/>
                  </a:lnTo>
                  <a:cubicBezTo>
                    <a:pt x="89" y="226"/>
                    <a:pt x="88" y="225"/>
                    <a:pt x="87" y="225"/>
                  </a:cubicBezTo>
                  <a:close/>
                  <a:moveTo>
                    <a:pt x="84" y="217"/>
                  </a:moveTo>
                  <a:lnTo>
                    <a:pt x="84" y="217"/>
                  </a:lnTo>
                  <a:lnTo>
                    <a:pt x="84" y="214"/>
                  </a:lnTo>
                  <a:cubicBezTo>
                    <a:pt x="81" y="211"/>
                    <a:pt x="81" y="211"/>
                    <a:pt x="79" y="211"/>
                  </a:cubicBezTo>
                  <a:lnTo>
                    <a:pt x="79" y="213"/>
                  </a:lnTo>
                  <a:cubicBezTo>
                    <a:pt x="80" y="214"/>
                    <a:pt x="82" y="215"/>
                    <a:pt x="84" y="217"/>
                  </a:cubicBezTo>
                  <a:lnTo>
                    <a:pt x="84" y="220"/>
                  </a:lnTo>
                  <a:lnTo>
                    <a:pt x="84" y="217"/>
                  </a:lnTo>
                  <a:close/>
                  <a:moveTo>
                    <a:pt x="76" y="209"/>
                  </a:moveTo>
                  <a:lnTo>
                    <a:pt x="79" y="206"/>
                  </a:lnTo>
                  <a:cubicBezTo>
                    <a:pt x="81" y="203"/>
                    <a:pt x="79" y="206"/>
                    <a:pt x="79" y="206"/>
                  </a:cubicBezTo>
                  <a:lnTo>
                    <a:pt x="76" y="203"/>
                  </a:lnTo>
                  <a:lnTo>
                    <a:pt x="73" y="200"/>
                  </a:lnTo>
                  <a:lnTo>
                    <a:pt x="70" y="204"/>
                  </a:lnTo>
                  <a:lnTo>
                    <a:pt x="70" y="206"/>
                  </a:lnTo>
                  <a:lnTo>
                    <a:pt x="70" y="211"/>
                  </a:lnTo>
                  <a:lnTo>
                    <a:pt x="76" y="211"/>
                  </a:lnTo>
                  <a:lnTo>
                    <a:pt x="76" y="209"/>
                  </a:lnTo>
                  <a:close/>
                  <a:moveTo>
                    <a:pt x="62" y="206"/>
                  </a:moveTo>
                  <a:lnTo>
                    <a:pt x="62" y="209"/>
                  </a:lnTo>
                  <a:lnTo>
                    <a:pt x="62" y="209"/>
                  </a:lnTo>
                  <a:cubicBezTo>
                    <a:pt x="64" y="209"/>
                    <a:pt x="64" y="209"/>
                    <a:pt x="64" y="207"/>
                  </a:cubicBezTo>
                  <a:cubicBezTo>
                    <a:pt x="64" y="206"/>
                    <a:pt x="63" y="206"/>
                    <a:pt x="62" y="206"/>
                  </a:cubicBezTo>
                  <a:close/>
                  <a:moveTo>
                    <a:pt x="59" y="206"/>
                  </a:moveTo>
                  <a:cubicBezTo>
                    <a:pt x="62" y="206"/>
                    <a:pt x="62" y="203"/>
                    <a:pt x="64" y="203"/>
                  </a:cubicBezTo>
                  <a:lnTo>
                    <a:pt x="64" y="200"/>
                  </a:lnTo>
                  <a:lnTo>
                    <a:pt x="67" y="200"/>
                  </a:lnTo>
                  <a:lnTo>
                    <a:pt x="62" y="200"/>
                  </a:lnTo>
                  <a:cubicBezTo>
                    <a:pt x="59" y="200"/>
                    <a:pt x="59" y="203"/>
                    <a:pt x="56" y="200"/>
                  </a:cubicBezTo>
                  <a:lnTo>
                    <a:pt x="53" y="203"/>
                  </a:lnTo>
                  <a:lnTo>
                    <a:pt x="50" y="203"/>
                  </a:lnTo>
                  <a:lnTo>
                    <a:pt x="48" y="203"/>
                  </a:lnTo>
                  <a:lnTo>
                    <a:pt x="45" y="200"/>
                  </a:lnTo>
                  <a:cubicBezTo>
                    <a:pt x="45" y="200"/>
                    <a:pt x="45" y="197"/>
                    <a:pt x="42" y="197"/>
                  </a:cubicBezTo>
                  <a:cubicBezTo>
                    <a:pt x="42" y="197"/>
                    <a:pt x="42" y="194"/>
                    <a:pt x="45" y="194"/>
                  </a:cubicBezTo>
                  <a:lnTo>
                    <a:pt x="45" y="189"/>
                  </a:lnTo>
                  <a:cubicBezTo>
                    <a:pt x="42" y="189"/>
                    <a:pt x="42" y="192"/>
                    <a:pt x="39" y="192"/>
                  </a:cubicBezTo>
                  <a:cubicBezTo>
                    <a:pt x="36" y="192"/>
                    <a:pt x="36" y="194"/>
                    <a:pt x="33" y="194"/>
                  </a:cubicBezTo>
                  <a:lnTo>
                    <a:pt x="39" y="197"/>
                  </a:lnTo>
                  <a:lnTo>
                    <a:pt x="39" y="203"/>
                  </a:lnTo>
                  <a:lnTo>
                    <a:pt x="45" y="203"/>
                  </a:lnTo>
                  <a:lnTo>
                    <a:pt x="45" y="206"/>
                  </a:lnTo>
                  <a:lnTo>
                    <a:pt x="39" y="206"/>
                  </a:lnTo>
                  <a:lnTo>
                    <a:pt x="39" y="211"/>
                  </a:lnTo>
                  <a:cubicBezTo>
                    <a:pt x="41" y="213"/>
                    <a:pt x="42" y="214"/>
                    <a:pt x="43" y="214"/>
                  </a:cubicBezTo>
                  <a:lnTo>
                    <a:pt x="51" y="210"/>
                  </a:lnTo>
                  <a:lnTo>
                    <a:pt x="53" y="217"/>
                  </a:lnTo>
                  <a:lnTo>
                    <a:pt x="59" y="214"/>
                  </a:lnTo>
                  <a:lnTo>
                    <a:pt x="59" y="206"/>
                  </a:lnTo>
                  <a:close/>
                  <a:moveTo>
                    <a:pt x="53" y="209"/>
                  </a:moveTo>
                  <a:lnTo>
                    <a:pt x="50" y="209"/>
                  </a:lnTo>
                  <a:lnTo>
                    <a:pt x="51" y="210"/>
                  </a:lnTo>
                  <a:lnTo>
                    <a:pt x="53" y="209"/>
                  </a:lnTo>
                  <a:close/>
                  <a:moveTo>
                    <a:pt x="64" y="282"/>
                  </a:moveTo>
                  <a:lnTo>
                    <a:pt x="64" y="285"/>
                  </a:lnTo>
                  <a:cubicBezTo>
                    <a:pt x="66" y="285"/>
                    <a:pt x="68" y="283"/>
                    <a:pt x="69" y="282"/>
                  </a:cubicBezTo>
                  <a:lnTo>
                    <a:pt x="64" y="282"/>
                  </a:lnTo>
                  <a:close/>
                  <a:moveTo>
                    <a:pt x="56" y="228"/>
                  </a:moveTo>
                  <a:lnTo>
                    <a:pt x="59" y="231"/>
                  </a:lnTo>
                  <a:cubicBezTo>
                    <a:pt x="59" y="225"/>
                    <a:pt x="56" y="225"/>
                    <a:pt x="50" y="225"/>
                  </a:cubicBezTo>
                  <a:cubicBezTo>
                    <a:pt x="53" y="225"/>
                    <a:pt x="53" y="225"/>
                    <a:pt x="56" y="228"/>
                  </a:cubicBezTo>
                  <a:close/>
                  <a:moveTo>
                    <a:pt x="59" y="163"/>
                  </a:moveTo>
                  <a:cubicBezTo>
                    <a:pt x="59" y="161"/>
                    <a:pt x="56" y="161"/>
                    <a:pt x="53" y="161"/>
                  </a:cubicBezTo>
                  <a:lnTo>
                    <a:pt x="53" y="166"/>
                  </a:lnTo>
                  <a:cubicBezTo>
                    <a:pt x="56" y="166"/>
                    <a:pt x="56" y="166"/>
                    <a:pt x="59" y="163"/>
                  </a:cubicBezTo>
                  <a:close/>
                  <a:moveTo>
                    <a:pt x="62" y="172"/>
                  </a:moveTo>
                  <a:lnTo>
                    <a:pt x="59" y="175"/>
                  </a:lnTo>
                  <a:lnTo>
                    <a:pt x="62" y="175"/>
                  </a:lnTo>
                  <a:lnTo>
                    <a:pt x="67" y="169"/>
                  </a:lnTo>
                  <a:cubicBezTo>
                    <a:pt x="67" y="169"/>
                    <a:pt x="64" y="169"/>
                    <a:pt x="64" y="166"/>
                  </a:cubicBezTo>
                  <a:cubicBezTo>
                    <a:pt x="64" y="172"/>
                    <a:pt x="64" y="172"/>
                    <a:pt x="62" y="172"/>
                  </a:cubicBezTo>
                  <a:close/>
                  <a:moveTo>
                    <a:pt x="67" y="180"/>
                  </a:moveTo>
                  <a:cubicBezTo>
                    <a:pt x="64" y="180"/>
                    <a:pt x="64" y="183"/>
                    <a:pt x="62" y="183"/>
                  </a:cubicBezTo>
                  <a:lnTo>
                    <a:pt x="62" y="186"/>
                  </a:lnTo>
                  <a:lnTo>
                    <a:pt x="67" y="180"/>
                  </a:lnTo>
                  <a:lnTo>
                    <a:pt x="70" y="186"/>
                  </a:lnTo>
                  <a:cubicBezTo>
                    <a:pt x="73" y="183"/>
                    <a:pt x="76" y="180"/>
                    <a:pt x="70" y="177"/>
                  </a:cubicBezTo>
                  <a:lnTo>
                    <a:pt x="67" y="180"/>
                  </a:lnTo>
                  <a:close/>
                  <a:moveTo>
                    <a:pt x="98" y="320"/>
                  </a:moveTo>
                  <a:cubicBezTo>
                    <a:pt x="96" y="318"/>
                    <a:pt x="96" y="315"/>
                    <a:pt x="93" y="312"/>
                  </a:cubicBezTo>
                  <a:cubicBezTo>
                    <a:pt x="90" y="309"/>
                    <a:pt x="90" y="306"/>
                    <a:pt x="87" y="306"/>
                  </a:cubicBezTo>
                  <a:lnTo>
                    <a:pt x="84" y="306"/>
                  </a:lnTo>
                  <a:lnTo>
                    <a:pt x="81" y="306"/>
                  </a:lnTo>
                  <a:lnTo>
                    <a:pt x="81" y="301"/>
                  </a:lnTo>
                  <a:lnTo>
                    <a:pt x="70" y="303"/>
                  </a:lnTo>
                  <a:cubicBezTo>
                    <a:pt x="73" y="306"/>
                    <a:pt x="73" y="306"/>
                    <a:pt x="76" y="306"/>
                  </a:cubicBezTo>
                  <a:lnTo>
                    <a:pt x="73" y="315"/>
                  </a:lnTo>
                  <a:lnTo>
                    <a:pt x="79" y="315"/>
                  </a:lnTo>
                  <a:cubicBezTo>
                    <a:pt x="81" y="320"/>
                    <a:pt x="87" y="320"/>
                    <a:pt x="87" y="315"/>
                  </a:cubicBezTo>
                  <a:cubicBezTo>
                    <a:pt x="90" y="315"/>
                    <a:pt x="90" y="318"/>
                    <a:pt x="90" y="320"/>
                  </a:cubicBezTo>
                  <a:lnTo>
                    <a:pt x="87" y="323"/>
                  </a:lnTo>
                  <a:cubicBezTo>
                    <a:pt x="84" y="323"/>
                    <a:pt x="81" y="323"/>
                    <a:pt x="81" y="320"/>
                  </a:cubicBezTo>
                  <a:cubicBezTo>
                    <a:pt x="81" y="318"/>
                    <a:pt x="79" y="318"/>
                    <a:pt x="76" y="320"/>
                  </a:cubicBezTo>
                  <a:cubicBezTo>
                    <a:pt x="79" y="323"/>
                    <a:pt x="81" y="323"/>
                    <a:pt x="87" y="326"/>
                  </a:cubicBezTo>
                  <a:lnTo>
                    <a:pt x="87" y="332"/>
                  </a:lnTo>
                  <a:lnTo>
                    <a:pt x="90" y="332"/>
                  </a:lnTo>
                  <a:lnTo>
                    <a:pt x="93" y="334"/>
                  </a:lnTo>
                  <a:lnTo>
                    <a:pt x="93" y="329"/>
                  </a:lnTo>
                  <a:lnTo>
                    <a:pt x="93" y="323"/>
                  </a:lnTo>
                  <a:cubicBezTo>
                    <a:pt x="93" y="320"/>
                    <a:pt x="96" y="320"/>
                    <a:pt x="98" y="320"/>
                  </a:cubicBezTo>
                  <a:close/>
                  <a:moveTo>
                    <a:pt x="73" y="332"/>
                  </a:moveTo>
                  <a:lnTo>
                    <a:pt x="79" y="332"/>
                  </a:lnTo>
                  <a:cubicBezTo>
                    <a:pt x="79" y="332"/>
                    <a:pt x="81" y="332"/>
                    <a:pt x="81" y="329"/>
                  </a:cubicBezTo>
                  <a:lnTo>
                    <a:pt x="79" y="326"/>
                  </a:lnTo>
                  <a:cubicBezTo>
                    <a:pt x="76" y="329"/>
                    <a:pt x="76" y="332"/>
                    <a:pt x="73" y="332"/>
                  </a:cubicBezTo>
                  <a:close/>
                  <a:moveTo>
                    <a:pt x="76" y="349"/>
                  </a:moveTo>
                  <a:cubicBezTo>
                    <a:pt x="79" y="351"/>
                    <a:pt x="79" y="351"/>
                    <a:pt x="79" y="349"/>
                  </a:cubicBezTo>
                  <a:lnTo>
                    <a:pt x="76" y="349"/>
                  </a:lnTo>
                  <a:close/>
                  <a:moveTo>
                    <a:pt x="79" y="368"/>
                  </a:moveTo>
                  <a:lnTo>
                    <a:pt x="84" y="368"/>
                  </a:lnTo>
                  <a:lnTo>
                    <a:pt x="84" y="363"/>
                  </a:lnTo>
                  <a:cubicBezTo>
                    <a:pt x="79" y="365"/>
                    <a:pt x="76" y="365"/>
                    <a:pt x="79" y="368"/>
                  </a:cubicBezTo>
                  <a:close/>
                  <a:moveTo>
                    <a:pt x="84" y="346"/>
                  </a:moveTo>
                  <a:lnTo>
                    <a:pt x="84" y="340"/>
                  </a:lnTo>
                  <a:lnTo>
                    <a:pt x="84" y="334"/>
                  </a:lnTo>
                  <a:cubicBezTo>
                    <a:pt x="79" y="340"/>
                    <a:pt x="79" y="340"/>
                    <a:pt x="84" y="346"/>
                  </a:cubicBezTo>
                  <a:close/>
                  <a:moveTo>
                    <a:pt x="90" y="394"/>
                  </a:moveTo>
                  <a:cubicBezTo>
                    <a:pt x="90" y="388"/>
                    <a:pt x="90" y="388"/>
                    <a:pt x="87" y="388"/>
                  </a:cubicBezTo>
                  <a:lnTo>
                    <a:pt x="87" y="391"/>
                  </a:lnTo>
                  <a:lnTo>
                    <a:pt x="87" y="392"/>
                  </a:lnTo>
                  <a:cubicBezTo>
                    <a:pt x="88" y="392"/>
                    <a:pt x="89" y="393"/>
                    <a:pt x="90" y="394"/>
                  </a:cubicBezTo>
                  <a:close/>
                  <a:moveTo>
                    <a:pt x="87" y="411"/>
                  </a:moveTo>
                  <a:cubicBezTo>
                    <a:pt x="90" y="411"/>
                    <a:pt x="90" y="413"/>
                    <a:pt x="93" y="413"/>
                  </a:cubicBezTo>
                  <a:cubicBezTo>
                    <a:pt x="90" y="405"/>
                    <a:pt x="90" y="405"/>
                    <a:pt x="84" y="405"/>
                  </a:cubicBezTo>
                  <a:cubicBezTo>
                    <a:pt x="84" y="408"/>
                    <a:pt x="84" y="411"/>
                    <a:pt x="87" y="411"/>
                  </a:cubicBezTo>
                  <a:close/>
                  <a:moveTo>
                    <a:pt x="87" y="399"/>
                  </a:moveTo>
                  <a:cubicBezTo>
                    <a:pt x="87" y="399"/>
                    <a:pt x="84" y="399"/>
                    <a:pt x="87" y="399"/>
                  </a:cubicBezTo>
                  <a:lnTo>
                    <a:pt x="87" y="405"/>
                  </a:lnTo>
                  <a:lnTo>
                    <a:pt x="90" y="405"/>
                  </a:lnTo>
                  <a:lnTo>
                    <a:pt x="87" y="399"/>
                  </a:lnTo>
                  <a:close/>
                  <a:moveTo>
                    <a:pt x="98" y="428"/>
                  </a:moveTo>
                  <a:lnTo>
                    <a:pt x="96" y="425"/>
                  </a:lnTo>
                  <a:lnTo>
                    <a:pt x="93" y="422"/>
                  </a:lnTo>
                  <a:lnTo>
                    <a:pt x="90" y="422"/>
                  </a:lnTo>
                  <a:lnTo>
                    <a:pt x="93" y="425"/>
                  </a:lnTo>
                  <a:cubicBezTo>
                    <a:pt x="93" y="425"/>
                    <a:pt x="93" y="428"/>
                    <a:pt x="96" y="428"/>
                  </a:cubicBezTo>
                  <a:cubicBezTo>
                    <a:pt x="96" y="430"/>
                    <a:pt x="96" y="430"/>
                    <a:pt x="98" y="428"/>
                  </a:cubicBezTo>
                  <a:close/>
                  <a:moveTo>
                    <a:pt x="90" y="175"/>
                  </a:moveTo>
                  <a:lnTo>
                    <a:pt x="96" y="180"/>
                  </a:lnTo>
                  <a:cubicBezTo>
                    <a:pt x="98" y="180"/>
                    <a:pt x="98" y="183"/>
                    <a:pt x="98" y="183"/>
                  </a:cubicBezTo>
                  <a:lnTo>
                    <a:pt x="101" y="180"/>
                  </a:lnTo>
                  <a:lnTo>
                    <a:pt x="104" y="177"/>
                  </a:lnTo>
                  <a:cubicBezTo>
                    <a:pt x="101" y="175"/>
                    <a:pt x="101" y="172"/>
                    <a:pt x="98" y="169"/>
                  </a:cubicBezTo>
                  <a:lnTo>
                    <a:pt x="96" y="172"/>
                  </a:lnTo>
                  <a:cubicBezTo>
                    <a:pt x="96" y="175"/>
                    <a:pt x="93" y="175"/>
                    <a:pt x="90" y="175"/>
                  </a:cubicBezTo>
                  <a:close/>
                  <a:moveTo>
                    <a:pt x="93" y="391"/>
                  </a:moveTo>
                  <a:cubicBezTo>
                    <a:pt x="93" y="392"/>
                    <a:pt x="93" y="392"/>
                    <a:pt x="94" y="393"/>
                  </a:cubicBezTo>
                  <a:cubicBezTo>
                    <a:pt x="93" y="392"/>
                    <a:pt x="93" y="391"/>
                    <a:pt x="93" y="391"/>
                  </a:cubicBezTo>
                  <a:close/>
                  <a:moveTo>
                    <a:pt x="107" y="309"/>
                  </a:moveTo>
                  <a:lnTo>
                    <a:pt x="104" y="309"/>
                  </a:lnTo>
                  <a:lnTo>
                    <a:pt x="104" y="315"/>
                  </a:lnTo>
                  <a:cubicBezTo>
                    <a:pt x="104" y="312"/>
                    <a:pt x="107" y="312"/>
                    <a:pt x="107" y="309"/>
                  </a:cubicBezTo>
                  <a:close/>
                  <a:moveTo>
                    <a:pt x="112" y="200"/>
                  </a:moveTo>
                  <a:lnTo>
                    <a:pt x="115" y="197"/>
                  </a:lnTo>
                  <a:cubicBezTo>
                    <a:pt x="115" y="197"/>
                    <a:pt x="112" y="197"/>
                    <a:pt x="112" y="200"/>
                  </a:cubicBezTo>
                  <a:close/>
                  <a:moveTo>
                    <a:pt x="121" y="217"/>
                  </a:moveTo>
                  <a:lnTo>
                    <a:pt x="118" y="214"/>
                  </a:lnTo>
                  <a:lnTo>
                    <a:pt x="118" y="217"/>
                  </a:lnTo>
                  <a:cubicBezTo>
                    <a:pt x="118" y="214"/>
                    <a:pt x="118" y="217"/>
                    <a:pt x="121" y="217"/>
                  </a:cubicBezTo>
                  <a:lnTo>
                    <a:pt x="118" y="223"/>
                  </a:lnTo>
                  <a:lnTo>
                    <a:pt x="121" y="223"/>
                  </a:lnTo>
                  <a:lnTo>
                    <a:pt x="124" y="223"/>
                  </a:lnTo>
                  <a:cubicBezTo>
                    <a:pt x="124" y="220"/>
                    <a:pt x="121" y="217"/>
                    <a:pt x="121" y="217"/>
                  </a:cubicBezTo>
                  <a:close/>
                  <a:moveTo>
                    <a:pt x="129" y="276"/>
                  </a:moveTo>
                  <a:cubicBezTo>
                    <a:pt x="129" y="276"/>
                    <a:pt x="129" y="279"/>
                    <a:pt x="127" y="279"/>
                  </a:cubicBezTo>
                  <a:lnTo>
                    <a:pt x="129" y="279"/>
                  </a:lnTo>
                  <a:lnTo>
                    <a:pt x="132" y="279"/>
                  </a:lnTo>
                  <a:cubicBezTo>
                    <a:pt x="132" y="276"/>
                    <a:pt x="132" y="276"/>
                    <a:pt x="135" y="273"/>
                  </a:cubicBezTo>
                  <a:cubicBezTo>
                    <a:pt x="138" y="276"/>
                    <a:pt x="138" y="279"/>
                    <a:pt x="141" y="279"/>
                  </a:cubicBezTo>
                  <a:cubicBezTo>
                    <a:pt x="141" y="279"/>
                    <a:pt x="141" y="276"/>
                    <a:pt x="138" y="273"/>
                  </a:cubicBezTo>
                  <a:lnTo>
                    <a:pt x="135" y="268"/>
                  </a:lnTo>
                  <a:cubicBezTo>
                    <a:pt x="132" y="268"/>
                    <a:pt x="129" y="271"/>
                    <a:pt x="129" y="276"/>
                  </a:cubicBezTo>
                  <a:close/>
                  <a:moveTo>
                    <a:pt x="138" y="268"/>
                  </a:moveTo>
                  <a:lnTo>
                    <a:pt x="141" y="268"/>
                  </a:lnTo>
                  <a:lnTo>
                    <a:pt x="141" y="265"/>
                  </a:lnTo>
                  <a:cubicBezTo>
                    <a:pt x="138" y="268"/>
                    <a:pt x="135" y="268"/>
                    <a:pt x="135" y="268"/>
                  </a:cubicBezTo>
                  <a:lnTo>
                    <a:pt x="138" y="268"/>
                  </a:lnTo>
                  <a:close/>
                  <a:moveTo>
                    <a:pt x="132" y="259"/>
                  </a:moveTo>
                  <a:cubicBezTo>
                    <a:pt x="132" y="259"/>
                    <a:pt x="135" y="259"/>
                    <a:pt x="135" y="256"/>
                  </a:cubicBezTo>
                  <a:cubicBezTo>
                    <a:pt x="132" y="256"/>
                    <a:pt x="132" y="254"/>
                    <a:pt x="129" y="254"/>
                  </a:cubicBezTo>
                  <a:cubicBezTo>
                    <a:pt x="129" y="256"/>
                    <a:pt x="129" y="259"/>
                    <a:pt x="132" y="259"/>
                  </a:cubicBezTo>
                  <a:cubicBezTo>
                    <a:pt x="129" y="262"/>
                    <a:pt x="132" y="265"/>
                    <a:pt x="132" y="265"/>
                  </a:cubicBezTo>
                  <a:lnTo>
                    <a:pt x="135" y="265"/>
                  </a:lnTo>
                  <a:cubicBezTo>
                    <a:pt x="135" y="265"/>
                    <a:pt x="135" y="262"/>
                    <a:pt x="132" y="259"/>
                  </a:cubicBezTo>
                  <a:close/>
                  <a:moveTo>
                    <a:pt x="149" y="320"/>
                  </a:moveTo>
                  <a:lnTo>
                    <a:pt x="149" y="318"/>
                  </a:lnTo>
                  <a:lnTo>
                    <a:pt x="146" y="320"/>
                  </a:lnTo>
                  <a:lnTo>
                    <a:pt x="146" y="321"/>
                  </a:lnTo>
                  <a:cubicBezTo>
                    <a:pt x="148" y="320"/>
                    <a:pt x="149" y="320"/>
                    <a:pt x="149" y="320"/>
                  </a:cubicBezTo>
                  <a:close/>
                  <a:moveTo>
                    <a:pt x="144" y="323"/>
                  </a:moveTo>
                  <a:cubicBezTo>
                    <a:pt x="144" y="322"/>
                    <a:pt x="145" y="322"/>
                    <a:pt x="146" y="321"/>
                  </a:cubicBezTo>
                  <a:lnTo>
                    <a:pt x="146" y="323"/>
                  </a:lnTo>
                  <a:lnTo>
                    <a:pt x="149" y="326"/>
                  </a:lnTo>
                  <a:lnTo>
                    <a:pt x="146" y="326"/>
                  </a:lnTo>
                  <a:cubicBezTo>
                    <a:pt x="148" y="326"/>
                    <a:pt x="149" y="326"/>
                    <a:pt x="149" y="326"/>
                  </a:cubicBezTo>
                  <a:cubicBezTo>
                    <a:pt x="146" y="332"/>
                    <a:pt x="146" y="335"/>
                    <a:pt x="146" y="340"/>
                  </a:cubicBezTo>
                  <a:cubicBezTo>
                    <a:pt x="155" y="337"/>
                    <a:pt x="158" y="337"/>
                    <a:pt x="160" y="340"/>
                  </a:cubicBezTo>
                  <a:cubicBezTo>
                    <a:pt x="160" y="343"/>
                    <a:pt x="163" y="346"/>
                    <a:pt x="163" y="349"/>
                  </a:cubicBezTo>
                  <a:cubicBezTo>
                    <a:pt x="163" y="346"/>
                    <a:pt x="166" y="343"/>
                    <a:pt x="166" y="340"/>
                  </a:cubicBezTo>
                  <a:lnTo>
                    <a:pt x="163" y="337"/>
                  </a:lnTo>
                  <a:lnTo>
                    <a:pt x="163" y="334"/>
                  </a:lnTo>
                  <a:lnTo>
                    <a:pt x="163" y="332"/>
                  </a:lnTo>
                  <a:cubicBezTo>
                    <a:pt x="163" y="332"/>
                    <a:pt x="160" y="334"/>
                    <a:pt x="158" y="334"/>
                  </a:cubicBezTo>
                  <a:lnTo>
                    <a:pt x="152" y="337"/>
                  </a:lnTo>
                  <a:lnTo>
                    <a:pt x="149" y="326"/>
                  </a:lnTo>
                  <a:lnTo>
                    <a:pt x="152" y="323"/>
                  </a:lnTo>
                  <a:lnTo>
                    <a:pt x="155" y="318"/>
                  </a:lnTo>
                  <a:lnTo>
                    <a:pt x="152" y="318"/>
                  </a:lnTo>
                  <a:lnTo>
                    <a:pt x="149" y="318"/>
                  </a:lnTo>
                  <a:lnTo>
                    <a:pt x="146" y="318"/>
                  </a:lnTo>
                  <a:lnTo>
                    <a:pt x="146" y="320"/>
                  </a:lnTo>
                  <a:lnTo>
                    <a:pt x="144" y="323"/>
                  </a:lnTo>
                  <a:close/>
                  <a:moveTo>
                    <a:pt x="149" y="329"/>
                  </a:moveTo>
                  <a:lnTo>
                    <a:pt x="149" y="326"/>
                  </a:lnTo>
                  <a:lnTo>
                    <a:pt x="149" y="326"/>
                  </a:lnTo>
                  <a:cubicBezTo>
                    <a:pt x="149" y="327"/>
                    <a:pt x="149" y="328"/>
                    <a:pt x="149" y="329"/>
                  </a:cubicBezTo>
                  <a:close/>
                  <a:moveTo>
                    <a:pt x="169" y="363"/>
                  </a:moveTo>
                  <a:lnTo>
                    <a:pt x="166" y="357"/>
                  </a:lnTo>
                  <a:cubicBezTo>
                    <a:pt x="166" y="357"/>
                    <a:pt x="166" y="360"/>
                    <a:pt x="163" y="360"/>
                  </a:cubicBezTo>
                  <a:lnTo>
                    <a:pt x="160" y="363"/>
                  </a:lnTo>
                  <a:lnTo>
                    <a:pt x="169" y="363"/>
                  </a:lnTo>
                  <a:close/>
                  <a:moveTo>
                    <a:pt x="175" y="363"/>
                  </a:moveTo>
                  <a:lnTo>
                    <a:pt x="172" y="360"/>
                  </a:lnTo>
                  <a:lnTo>
                    <a:pt x="172" y="368"/>
                  </a:lnTo>
                  <a:lnTo>
                    <a:pt x="175" y="368"/>
                  </a:lnTo>
                  <a:lnTo>
                    <a:pt x="177" y="368"/>
                  </a:lnTo>
                  <a:lnTo>
                    <a:pt x="175" y="363"/>
                  </a:lnTo>
                  <a:close/>
                  <a:moveTo>
                    <a:pt x="172" y="385"/>
                  </a:moveTo>
                  <a:lnTo>
                    <a:pt x="175" y="385"/>
                  </a:lnTo>
                  <a:lnTo>
                    <a:pt x="175" y="382"/>
                  </a:lnTo>
                  <a:lnTo>
                    <a:pt x="172" y="385"/>
                  </a:lnTo>
                  <a:close/>
                  <a:moveTo>
                    <a:pt x="180" y="394"/>
                  </a:moveTo>
                  <a:lnTo>
                    <a:pt x="177" y="394"/>
                  </a:lnTo>
                  <a:lnTo>
                    <a:pt x="177" y="399"/>
                  </a:lnTo>
                  <a:lnTo>
                    <a:pt x="180" y="394"/>
                  </a:lnTo>
                  <a:close/>
                  <a:moveTo>
                    <a:pt x="186" y="405"/>
                  </a:moveTo>
                  <a:lnTo>
                    <a:pt x="183" y="405"/>
                  </a:lnTo>
                  <a:lnTo>
                    <a:pt x="183" y="411"/>
                  </a:lnTo>
                  <a:lnTo>
                    <a:pt x="186" y="411"/>
                  </a:lnTo>
                  <a:lnTo>
                    <a:pt x="186" y="405"/>
                  </a:lnTo>
                  <a:close/>
                  <a:moveTo>
                    <a:pt x="189" y="405"/>
                  </a:moveTo>
                  <a:lnTo>
                    <a:pt x="189" y="408"/>
                  </a:lnTo>
                  <a:lnTo>
                    <a:pt x="191" y="408"/>
                  </a:lnTo>
                  <a:cubicBezTo>
                    <a:pt x="191" y="408"/>
                    <a:pt x="191" y="405"/>
                    <a:pt x="189" y="405"/>
                  </a:cubicBezTo>
                  <a:close/>
                  <a:moveTo>
                    <a:pt x="200" y="428"/>
                  </a:moveTo>
                  <a:cubicBezTo>
                    <a:pt x="200" y="428"/>
                    <a:pt x="197" y="428"/>
                    <a:pt x="197" y="425"/>
                  </a:cubicBezTo>
                  <a:cubicBezTo>
                    <a:pt x="197" y="425"/>
                    <a:pt x="194" y="425"/>
                    <a:pt x="194" y="422"/>
                  </a:cubicBezTo>
                  <a:lnTo>
                    <a:pt x="194" y="428"/>
                  </a:lnTo>
                  <a:cubicBezTo>
                    <a:pt x="194" y="428"/>
                    <a:pt x="194" y="430"/>
                    <a:pt x="191" y="430"/>
                  </a:cubicBezTo>
                  <a:lnTo>
                    <a:pt x="194" y="430"/>
                  </a:lnTo>
                  <a:lnTo>
                    <a:pt x="197" y="428"/>
                  </a:lnTo>
                  <a:lnTo>
                    <a:pt x="200" y="428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31" name="Freeform 1458"/>
            <p:cNvSpPr>
              <a:spLocks noChangeArrowheads="1"/>
            </p:cNvSpPr>
            <p:nvPr/>
          </p:nvSpPr>
          <p:spPr bwMode="auto">
            <a:xfrm>
              <a:off x="4090988" y="2455863"/>
              <a:ext cx="77787" cy="179387"/>
            </a:xfrm>
            <a:custGeom>
              <a:avLst/>
              <a:gdLst>
                <a:gd name="T0" fmla="*/ 154 w 214"/>
                <a:gd name="T1" fmla="*/ 425 h 500"/>
                <a:gd name="T2" fmla="*/ 140 w 214"/>
                <a:gd name="T3" fmla="*/ 341 h 500"/>
                <a:gd name="T4" fmla="*/ 100 w 214"/>
                <a:gd name="T5" fmla="*/ 294 h 500"/>
                <a:gd name="T6" fmla="*/ 112 w 214"/>
                <a:gd name="T7" fmla="*/ 374 h 500"/>
                <a:gd name="T8" fmla="*/ 120 w 214"/>
                <a:gd name="T9" fmla="*/ 487 h 500"/>
                <a:gd name="T10" fmla="*/ 73 w 214"/>
                <a:gd name="T11" fmla="*/ 462 h 500"/>
                <a:gd name="T12" fmla="*/ 62 w 214"/>
                <a:gd name="T13" fmla="*/ 366 h 500"/>
                <a:gd name="T14" fmla="*/ 45 w 214"/>
                <a:gd name="T15" fmla="*/ 285 h 500"/>
                <a:gd name="T16" fmla="*/ 39 w 214"/>
                <a:gd name="T17" fmla="*/ 243 h 500"/>
                <a:gd name="T18" fmla="*/ 8 w 214"/>
                <a:gd name="T19" fmla="*/ 93 h 500"/>
                <a:gd name="T20" fmla="*/ 39 w 214"/>
                <a:gd name="T21" fmla="*/ 14 h 500"/>
                <a:gd name="T22" fmla="*/ 56 w 214"/>
                <a:gd name="T23" fmla="*/ 57 h 500"/>
                <a:gd name="T24" fmla="*/ 70 w 214"/>
                <a:gd name="T25" fmla="*/ 139 h 500"/>
                <a:gd name="T26" fmla="*/ 84 w 214"/>
                <a:gd name="T27" fmla="*/ 215 h 500"/>
                <a:gd name="T28" fmla="*/ 109 w 214"/>
                <a:gd name="T29" fmla="*/ 161 h 500"/>
                <a:gd name="T30" fmla="*/ 93 w 214"/>
                <a:gd name="T31" fmla="*/ 54 h 500"/>
                <a:gd name="T32" fmla="*/ 137 w 214"/>
                <a:gd name="T33" fmla="*/ 51 h 500"/>
                <a:gd name="T34" fmla="*/ 145 w 214"/>
                <a:gd name="T35" fmla="*/ 105 h 500"/>
                <a:gd name="T36" fmla="*/ 154 w 214"/>
                <a:gd name="T37" fmla="*/ 158 h 500"/>
                <a:gd name="T38" fmla="*/ 182 w 214"/>
                <a:gd name="T39" fmla="*/ 313 h 500"/>
                <a:gd name="T40" fmla="*/ 202 w 214"/>
                <a:gd name="T41" fmla="*/ 414 h 500"/>
                <a:gd name="T42" fmla="*/ 28 w 214"/>
                <a:gd name="T43" fmla="*/ 65 h 500"/>
                <a:gd name="T44" fmla="*/ 34 w 214"/>
                <a:gd name="T45" fmla="*/ 99 h 500"/>
                <a:gd name="T46" fmla="*/ 39 w 214"/>
                <a:gd name="T47" fmla="*/ 91 h 500"/>
                <a:gd name="T48" fmla="*/ 31 w 214"/>
                <a:gd name="T49" fmla="*/ 119 h 500"/>
                <a:gd name="T50" fmla="*/ 39 w 214"/>
                <a:gd name="T51" fmla="*/ 141 h 500"/>
                <a:gd name="T52" fmla="*/ 56 w 214"/>
                <a:gd name="T53" fmla="*/ 164 h 500"/>
                <a:gd name="T54" fmla="*/ 53 w 214"/>
                <a:gd name="T55" fmla="*/ 175 h 500"/>
                <a:gd name="T56" fmla="*/ 59 w 214"/>
                <a:gd name="T57" fmla="*/ 195 h 500"/>
                <a:gd name="T58" fmla="*/ 67 w 214"/>
                <a:gd name="T59" fmla="*/ 229 h 500"/>
                <a:gd name="T60" fmla="*/ 65 w 214"/>
                <a:gd name="T61" fmla="*/ 251 h 500"/>
                <a:gd name="T62" fmla="*/ 67 w 214"/>
                <a:gd name="T63" fmla="*/ 265 h 500"/>
                <a:gd name="T64" fmla="*/ 73 w 214"/>
                <a:gd name="T65" fmla="*/ 282 h 500"/>
                <a:gd name="T66" fmla="*/ 76 w 214"/>
                <a:gd name="T67" fmla="*/ 268 h 500"/>
                <a:gd name="T68" fmla="*/ 79 w 214"/>
                <a:gd name="T69" fmla="*/ 277 h 500"/>
                <a:gd name="T70" fmla="*/ 73 w 214"/>
                <a:gd name="T71" fmla="*/ 305 h 500"/>
                <a:gd name="T72" fmla="*/ 73 w 214"/>
                <a:gd name="T73" fmla="*/ 294 h 500"/>
                <a:gd name="T74" fmla="*/ 76 w 214"/>
                <a:gd name="T75" fmla="*/ 335 h 500"/>
                <a:gd name="T76" fmla="*/ 73 w 214"/>
                <a:gd name="T77" fmla="*/ 349 h 500"/>
                <a:gd name="T78" fmla="*/ 81 w 214"/>
                <a:gd name="T79" fmla="*/ 229 h 500"/>
                <a:gd name="T80" fmla="*/ 79 w 214"/>
                <a:gd name="T81" fmla="*/ 366 h 500"/>
                <a:gd name="T82" fmla="*/ 103 w 214"/>
                <a:gd name="T83" fmla="*/ 246 h 500"/>
                <a:gd name="T84" fmla="*/ 87 w 214"/>
                <a:gd name="T85" fmla="*/ 260 h 500"/>
                <a:gd name="T86" fmla="*/ 100 w 214"/>
                <a:gd name="T87" fmla="*/ 254 h 500"/>
                <a:gd name="T88" fmla="*/ 112 w 214"/>
                <a:gd name="T89" fmla="*/ 251 h 500"/>
                <a:gd name="T90" fmla="*/ 90 w 214"/>
                <a:gd name="T91" fmla="*/ 414 h 500"/>
                <a:gd name="T92" fmla="*/ 97 w 214"/>
                <a:gd name="T93" fmla="*/ 434 h 500"/>
                <a:gd name="T94" fmla="*/ 137 w 214"/>
                <a:gd name="T95" fmla="*/ 257 h 500"/>
                <a:gd name="T96" fmla="*/ 120 w 214"/>
                <a:gd name="T97" fmla="*/ 249 h 500"/>
                <a:gd name="T98" fmla="*/ 131 w 214"/>
                <a:gd name="T99" fmla="*/ 232 h 500"/>
                <a:gd name="T100" fmla="*/ 134 w 214"/>
                <a:gd name="T101" fmla="*/ 124 h 500"/>
                <a:gd name="T102" fmla="*/ 143 w 214"/>
                <a:gd name="T103" fmla="*/ 257 h 500"/>
                <a:gd name="T104" fmla="*/ 140 w 214"/>
                <a:gd name="T105" fmla="*/ 263 h 500"/>
                <a:gd name="T106" fmla="*/ 148 w 214"/>
                <a:gd name="T107" fmla="*/ 234 h 500"/>
                <a:gd name="T108" fmla="*/ 143 w 214"/>
                <a:gd name="T109" fmla="*/ 189 h 500"/>
                <a:gd name="T110" fmla="*/ 159 w 214"/>
                <a:gd name="T111" fmla="*/ 274 h 500"/>
                <a:gd name="T112" fmla="*/ 168 w 214"/>
                <a:gd name="T113" fmla="*/ 360 h 500"/>
                <a:gd name="T114" fmla="*/ 182 w 214"/>
                <a:gd name="T115" fmla="*/ 389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4" h="500">
                  <a:moveTo>
                    <a:pt x="213" y="459"/>
                  </a:moveTo>
                  <a:lnTo>
                    <a:pt x="213" y="465"/>
                  </a:lnTo>
                  <a:cubicBezTo>
                    <a:pt x="213" y="468"/>
                    <a:pt x="210" y="470"/>
                    <a:pt x="207" y="470"/>
                  </a:cubicBezTo>
                  <a:cubicBezTo>
                    <a:pt x="205" y="473"/>
                    <a:pt x="202" y="473"/>
                    <a:pt x="199" y="476"/>
                  </a:cubicBezTo>
                  <a:cubicBezTo>
                    <a:pt x="196" y="476"/>
                    <a:pt x="193" y="479"/>
                    <a:pt x="191" y="479"/>
                  </a:cubicBezTo>
                  <a:cubicBezTo>
                    <a:pt x="188" y="479"/>
                    <a:pt x="185" y="482"/>
                    <a:pt x="182" y="484"/>
                  </a:cubicBezTo>
                  <a:cubicBezTo>
                    <a:pt x="176" y="484"/>
                    <a:pt x="168" y="479"/>
                    <a:pt x="162" y="476"/>
                  </a:cubicBezTo>
                  <a:cubicBezTo>
                    <a:pt x="159" y="473"/>
                    <a:pt x="157" y="470"/>
                    <a:pt x="157" y="468"/>
                  </a:cubicBezTo>
                  <a:lnTo>
                    <a:pt x="157" y="445"/>
                  </a:lnTo>
                  <a:cubicBezTo>
                    <a:pt x="154" y="439"/>
                    <a:pt x="154" y="434"/>
                    <a:pt x="154" y="425"/>
                  </a:cubicBezTo>
                  <a:lnTo>
                    <a:pt x="154" y="420"/>
                  </a:lnTo>
                  <a:lnTo>
                    <a:pt x="154" y="414"/>
                  </a:lnTo>
                  <a:lnTo>
                    <a:pt x="151" y="400"/>
                  </a:lnTo>
                  <a:cubicBezTo>
                    <a:pt x="151" y="400"/>
                    <a:pt x="151" y="397"/>
                    <a:pt x="154" y="397"/>
                  </a:cubicBezTo>
                  <a:cubicBezTo>
                    <a:pt x="151" y="391"/>
                    <a:pt x="148" y="386"/>
                    <a:pt x="148" y="380"/>
                  </a:cubicBezTo>
                  <a:cubicBezTo>
                    <a:pt x="148" y="374"/>
                    <a:pt x="148" y="369"/>
                    <a:pt x="145" y="363"/>
                  </a:cubicBezTo>
                  <a:lnTo>
                    <a:pt x="145" y="360"/>
                  </a:lnTo>
                  <a:lnTo>
                    <a:pt x="145" y="358"/>
                  </a:lnTo>
                  <a:cubicBezTo>
                    <a:pt x="143" y="355"/>
                    <a:pt x="143" y="352"/>
                    <a:pt x="140" y="349"/>
                  </a:cubicBezTo>
                  <a:lnTo>
                    <a:pt x="140" y="341"/>
                  </a:lnTo>
                  <a:lnTo>
                    <a:pt x="140" y="332"/>
                  </a:lnTo>
                  <a:lnTo>
                    <a:pt x="140" y="325"/>
                  </a:lnTo>
                  <a:cubicBezTo>
                    <a:pt x="140" y="316"/>
                    <a:pt x="137" y="311"/>
                    <a:pt x="137" y="302"/>
                  </a:cubicBezTo>
                  <a:cubicBezTo>
                    <a:pt x="137" y="299"/>
                    <a:pt x="134" y="294"/>
                    <a:pt x="134" y="291"/>
                  </a:cubicBezTo>
                  <a:lnTo>
                    <a:pt x="134" y="288"/>
                  </a:lnTo>
                  <a:cubicBezTo>
                    <a:pt x="134" y="285"/>
                    <a:pt x="128" y="282"/>
                    <a:pt x="120" y="277"/>
                  </a:cubicBezTo>
                  <a:lnTo>
                    <a:pt x="103" y="280"/>
                  </a:lnTo>
                  <a:lnTo>
                    <a:pt x="100" y="285"/>
                  </a:lnTo>
                  <a:lnTo>
                    <a:pt x="100" y="291"/>
                  </a:lnTo>
                  <a:lnTo>
                    <a:pt x="100" y="294"/>
                  </a:lnTo>
                  <a:cubicBezTo>
                    <a:pt x="103" y="296"/>
                    <a:pt x="103" y="296"/>
                    <a:pt x="100" y="299"/>
                  </a:cubicBezTo>
                  <a:cubicBezTo>
                    <a:pt x="97" y="302"/>
                    <a:pt x="97" y="302"/>
                    <a:pt x="100" y="305"/>
                  </a:cubicBezTo>
                  <a:lnTo>
                    <a:pt x="100" y="311"/>
                  </a:lnTo>
                  <a:lnTo>
                    <a:pt x="100" y="319"/>
                  </a:lnTo>
                  <a:cubicBezTo>
                    <a:pt x="103" y="322"/>
                    <a:pt x="103" y="328"/>
                    <a:pt x="103" y="329"/>
                  </a:cubicBezTo>
                  <a:lnTo>
                    <a:pt x="103" y="343"/>
                  </a:lnTo>
                  <a:cubicBezTo>
                    <a:pt x="106" y="346"/>
                    <a:pt x="106" y="352"/>
                    <a:pt x="109" y="358"/>
                  </a:cubicBezTo>
                  <a:lnTo>
                    <a:pt x="109" y="372"/>
                  </a:lnTo>
                  <a:lnTo>
                    <a:pt x="112" y="372"/>
                  </a:lnTo>
                  <a:lnTo>
                    <a:pt x="112" y="374"/>
                  </a:lnTo>
                  <a:lnTo>
                    <a:pt x="112" y="377"/>
                  </a:lnTo>
                  <a:lnTo>
                    <a:pt x="112" y="380"/>
                  </a:lnTo>
                  <a:cubicBezTo>
                    <a:pt x="109" y="383"/>
                    <a:pt x="109" y="386"/>
                    <a:pt x="112" y="389"/>
                  </a:cubicBezTo>
                  <a:cubicBezTo>
                    <a:pt x="114" y="391"/>
                    <a:pt x="114" y="394"/>
                    <a:pt x="114" y="397"/>
                  </a:cubicBezTo>
                  <a:cubicBezTo>
                    <a:pt x="114" y="400"/>
                    <a:pt x="114" y="403"/>
                    <a:pt x="117" y="408"/>
                  </a:cubicBezTo>
                  <a:lnTo>
                    <a:pt x="117" y="414"/>
                  </a:lnTo>
                  <a:cubicBezTo>
                    <a:pt x="117" y="422"/>
                    <a:pt x="120" y="434"/>
                    <a:pt x="120" y="442"/>
                  </a:cubicBezTo>
                  <a:lnTo>
                    <a:pt x="123" y="470"/>
                  </a:lnTo>
                  <a:lnTo>
                    <a:pt x="123" y="482"/>
                  </a:lnTo>
                  <a:cubicBezTo>
                    <a:pt x="123" y="484"/>
                    <a:pt x="120" y="484"/>
                    <a:pt x="120" y="487"/>
                  </a:cubicBezTo>
                  <a:cubicBezTo>
                    <a:pt x="117" y="487"/>
                    <a:pt x="114" y="487"/>
                    <a:pt x="114" y="490"/>
                  </a:cubicBezTo>
                  <a:cubicBezTo>
                    <a:pt x="112" y="490"/>
                    <a:pt x="112" y="493"/>
                    <a:pt x="109" y="493"/>
                  </a:cubicBezTo>
                  <a:cubicBezTo>
                    <a:pt x="106" y="493"/>
                    <a:pt x="103" y="493"/>
                    <a:pt x="103" y="496"/>
                  </a:cubicBezTo>
                  <a:cubicBezTo>
                    <a:pt x="100" y="499"/>
                    <a:pt x="96" y="499"/>
                    <a:pt x="93" y="493"/>
                  </a:cubicBezTo>
                  <a:lnTo>
                    <a:pt x="87" y="490"/>
                  </a:lnTo>
                  <a:cubicBezTo>
                    <a:pt x="84" y="490"/>
                    <a:pt x="84" y="487"/>
                    <a:pt x="81" y="487"/>
                  </a:cubicBezTo>
                  <a:lnTo>
                    <a:pt x="81" y="479"/>
                  </a:lnTo>
                  <a:cubicBezTo>
                    <a:pt x="81" y="476"/>
                    <a:pt x="81" y="476"/>
                    <a:pt x="79" y="473"/>
                  </a:cubicBezTo>
                  <a:cubicBezTo>
                    <a:pt x="76" y="473"/>
                    <a:pt x="76" y="471"/>
                    <a:pt x="76" y="468"/>
                  </a:cubicBezTo>
                  <a:cubicBezTo>
                    <a:pt x="76" y="466"/>
                    <a:pt x="76" y="465"/>
                    <a:pt x="73" y="462"/>
                  </a:cubicBezTo>
                  <a:cubicBezTo>
                    <a:pt x="73" y="462"/>
                    <a:pt x="70" y="459"/>
                    <a:pt x="73" y="459"/>
                  </a:cubicBezTo>
                  <a:lnTo>
                    <a:pt x="73" y="442"/>
                  </a:lnTo>
                  <a:cubicBezTo>
                    <a:pt x="70" y="437"/>
                    <a:pt x="70" y="431"/>
                    <a:pt x="70" y="425"/>
                  </a:cubicBezTo>
                  <a:lnTo>
                    <a:pt x="70" y="422"/>
                  </a:lnTo>
                  <a:lnTo>
                    <a:pt x="70" y="420"/>
                  </a:lnTo>
                  <a:cubicBezTo>
                    <a:pt x="67" y="417"/>
                    <a:pt x="67" y="414"/>
                    <a:pt x="67" y="411"/>
                  </a:cubicBezTo>
                  <a:cubicBezTo>
                    <a:pt x="67" y="408"/>
                    <a:pt x="65" y="408"/>
                    <a:pt x="65" y="405"/>
                  </a:cubicBezTo>
                  <a:cubicBezTo>
                    <a:pt x="62" y="403"/>
                    <a:pt x="62" y="400"/>
                    <a:pt x="65" y="400"/>
                  </a:cubicBezTo>
                  <a:cubicBezTo>
                    <a:pt x="67" y="394"/>
                    <a:pt x="67" y="389"/>
                    <a:pt x="65" y="383"/>
                  </a:cubicBezTo>
                  <a:cubicBezTo>
                    <a:pt x="62" y="377"/>
                    <a:pt x="62" y="372"/>
                    <a:pt x="62" y="366"/>
                  </a:cubicBezTo>
                  <a:cubicBezTo>
                    <a:pt x="62" y="363"/>
                    <a:pt x="62" y="363"/>
                    <a:pt x="59" y="360"/>
                  </a:cubicBezTo>
                  <a:lnTo>
                    <a:pt x="56" y="358"/>
                  </a:lnTo>
                  <a:lnTo>
                    <a:pt x="56" y="352"/>
                  </a:lnTo>
                  <a:lnTo>
                    <a:pt x="56" y="341"/>
                  </a:lnTo>
                  <a:lnTo>
                    <a:pt x="56" y="335"/>
                  </a:lnTo>
                  <a:lnTo>
                    <a:pt x="56" y="329"/>
                  </a:lnTo>
                  <a:cubicBezTo>
                    <a:pt x="53" y="327"/>
                    <a:pt x="53" y="325"/>
                    <a:pt x="53" y="319"/>
                  </a:cubicBezTo>
                  <a:cubicBezTo>
                    <a:pt x="53" y="316"/>
                    <a:pt x="53" y="313"/>
                    <a:pt x="50" y="308"/>
                  </a:cubicBezTo>
                  <a:cubicBezTo>
                    <a:pt x="50" y="305"/>
                    <a:pt x="48" y="298"/>
                    <a:pt x="48" y="296"/>
                  </a:cubicBezTo>
                  <a:cubicBezTo>
                    <a:pt x="48" y="293"/>
                    <a:pt x="48" y="288"/>
                    <a:pt x="45" y="285"/>
                  </a:cubicBezTo>
                  <a:lnTo>
                    <a:pt x="45" y="282"/>
                  </a:lnTo>
                  <a:cubicBezTo>
                    <a:pt x="45" y="282"/>
                    <a:pt x="48" y="280"/>
                    <a:pt x="45" y="277"/>
                  </a:cubicBezTo>
                  <a:lnTo>
                    <a:pt x="45" y="274"/>
                  </a:lnTo>
                  <a:cubicBezTo>
                    <a:pt x="48" y="271"/>
                    <a:pt x="48" y="271"/>
                    <a:pt x="45" y="271"/>
                  </a:cubicBezTo>
                  <a:cubicBezTo>
                    <a:pt x="42" y="271"/>
                    <a:pt x="42" y="268"/>
                    <a:pt x="42" y="268"/>
                  </a:cubicBezTo>
                  <a:lnTo>
                    <a:pt x="42" y="263"/>
                  </a:lnTo>
                  <a:lnTo>
                    <a:pt x="42" y="257"/>
                  </a:lnTo>
                  <a:lnTo>
                    <a:pt x="42" y="254"/>
                  </a:lnTo>
                  <a:cubicBezTo>
                    <a:pt x="39" y="254"/>
                    <a:pt x="39" y="251"/>
                    <a:pt x="39" y="249"/>
                  </a:cubicBezTo>
                  <a:lnTo>
                    <a:pt x="39" y="243"/>
                  </a:lnTo>
                  <a:cubicBezTo>
                    <a:pt x="39" y="237"/>
                    <a:pt x="36" y="232"/>
                    <a:pt x="34" y="226"/>
                  </a:cubicBezTo>
                  <a:cubicBezTo>
                    <a:pt x="31" y="220"/>
                    <a:pt x="28" y="215"/>
                    <a:pt x="28" y="209"/>
                  </a:cubicBezTo>
                  <a:lnTo>
                    <a:pt x="28" y="206"/>
                  </a:lnTo>
                  <a:lnTo>
                    <a:pt x="25" y="203"/>
                  </a:lnTo>
                  <a:lnTo>
                    <a:pt x="25" y="189"/>
                  </a:lnTo>
                  <a:lnTo>
                    <a:pt x="25" y="178"/>
                  </a:lnTo>
                  <a:cubicBezTo>
                    <a:pt x="25" y="175"/>
                    <a:pt x="22" y="170"/>
                    <a:pt x="22" y="167"/>
                  </a:cubicBezTo>
                  <a:cubicBezTo>
                    <a:pt x="14" y="150"/>
                    <a:pt x="11" y="136"/>
                    <a:pt x="11" y="119"/>
                  </a:cubicBezTo>
                  <a:cubicBezTo>
                    <a:pt x="11" y="110"/>
                    <a:pt x="11" y="105"/>
                    <a:pt x="8" y="96"/>
                  </a:cubicBezTo>
                  <a:lnTo>
                    <a:pt x="8" y="93"/>
                  </a:lnTo>
                  <a:lnTo>
                    <a:pt x="0" y="43"/>
                  </a:lnTo>
                  <a:lnTo>
                    <a:pt x="0" y="40"/>
                  </a:lnTo>
                  <a:lnTo>
                    <a:pt x="0" y="37"/>
                  </a:lnTo>
                  <a:lnTo>
                    <a:pt x="0" y="34"/>
                  </a:lnTo>
                  <a:lnTo>
                    <a:pt x="0" y="31"/>
                  </a:lnTo>
                  <a:cubicBezTo>
                    <a:pt x="0" y="20"/>
                    <a:pt x="8" y="17"/>
                    <a:pt x="17" y="17"/>
                  </a:cubicBezTo>
                  <a:cubicBezTo>
                    <a:pt x="19" y="17"/>
                    <a:pt x="25" y="17"/>
                    <a:pt x="28" y="14"/>
                  </a:cubicBezTo>
                  <a:cubicBezTo>
                    <a:pt x="28" y="14"/>
                    <a:pt x="31" y="12"/>
                    <a:pt x="31" y="14"/>
                  </a:cubicBezTo>
                  <a:lnTo>
                    <a:pt x="34" y="14"/>
                  </a:lnTo>
                  <a:lnTo>
                    <a:pt x="39" y="14"/>
                  </a:lnTo>
                  <a:cubicBezTo>
                    <a:pt x="42" y="14"/>
                    <a:pt x="45" y="14"/>
                    <a:pt x="48" y="17"/>
                  </a:cubicBezTo>
                  <a:cubicBezTo>
                    <a:pt x="50" y="17"/>
                    <a:pt x="50" y="20"/>
                    <a:pt x="53" y="20"/>
                  </a:cubicBezTo>
                  <a:lnTo>
                    <a:pt x="53" y="26"/>
                  </a:lnTo>
                  <a:lnTo>
                    <a:pt x="53" y="34"/>
                  </a:lnTo>
                  <a:cubicBezTo>
                    <a:pt x="53" y="37"/>
                    <a:pt x="53" y="37"/>
                    <a:pt x="56" y="37"/>
                  </a:cubicBezTo>
                  <a:lnTo>
                    <a:pt x="56" y="40"/>
                  </a:lnTo>
                  <a:cubicBezTo>
                    <a:pt x="53" y="43"/>
                    <a:pt x="53" y="43"/>
                    <a:pt x="56" y="45"/>
                  </a:cubicBezTo>
                  <a:cubicBezTo>
                    <a:pt x="59" y="45"/>
                    <a:pt x="59" y="48"/>
                    <a:pt x="56" y="48"/>
                  </a:cubicBezTo>
                  <a:lnTo>
                    <a:pt x="56" y="51"/>
                  </a:lnTo>
                  <a:lnTo>
                    <a:pt x="56" y="57"/>
                  </a:lnTo>
                  <a:lnTo>
                    <a:pt x="56" y="60"/>
                  </a:lnTo>
                  <a:lnTo>
                    <a:pt x="56" y="65"/>
                  </a:lnTo>
                  <a:lnTo>
                    <a:pt x="56" y="68"/>
                  </a:lnTo>
                  <a:cubicBezTo>
                    <a:pt x="56" y="68"/>
                    <a:pt x="56" y="71"/>
                    <a:pt x="59" y="71"/>
                  </a:cubicBezTo>
                  <a:cubicBezTo>
                    <a:pt x="62" y="74"/>
                    <a:pt x="62" y="79"/>
                    <a:pt x="62" y="85"/>
                  </a:cubicBezTo>
                  <a:lnTo>
                    <a:pt x="62" y="88"/>
                  </a:lnTo>
                  <a:lnTo>
                    <a:pt x="62" y="93"/>
                  </a:lnTo>
                  <a:cubicBezTo>
                    <a:pt x="62" y="99"/>
                    <a:pt x="65" y="104"/>
                    <a:pt x="65" y="110"/>
                  </a:cubicBezTo>
                  <a:cubicBezTo>
                    <a:pt x="65" y="115"/>
                    <a:pt x="67" y="122"/>
                    <a:pt x="67" y="127"/>
                  </a:cubicBezTo>
                  <a:cubicBezTo>
                    <a:pt x="67" y="130"/>
                    <a:pt x="70" y="136"/>
                    <a:pt x="70" y="139"/>
                  </a:cubicBezTo>
                  <a:cubicBezTo>
                    <a:pt x="70" y="141"/>
                    <a:pt x="73" y="147"/>
                    <a:pt x="73" y="150"/>
                  </a:cubicBezTo>
                  <a:lnTo>
                    <a:pt x="73" y="155"/>
                  </a:lnTo>
                  <a:cubicBezTo>
                    <a:pt x="73" y="158"/>
                    <a:pt x="73" y="161"/>
                    <a:pt x="76" y="161"/>
                  </a:cubicBezTo>
                  <a:lnTo>
                    <a:pt x="79" y="164"/>
                  </a:lnTo>
                  <a:lnTo>
                    <a:pt x="79" y="170"/>
                  </a:lnTo>
                  <a:cubicBezTo>
                    <a:pt x="76" y="172"/>
                    <a:pt x="76" y="175"/>
                    <a:pt x="79" y="178"/>
                  </a:cubicBezTo>
                  <a:lnTo>
                    <a:pt x="79" y="186"/>
                  </a:lnTo>
                  <a:cubicBezTo>
                    <a:pt x="76" y="189"/>
                    <a:pt x="79" y="192"/>
                    <a:pt x="79" y="192"/>
                  </a:cubicBezTo>
                  <a:cubicBezTo>
                    <a:pt x="81" y="195"/>
                    <a:pt x="81" y="198"/>
                    <a:pt x="81" y="203"/>
                  </a:cubicBezTo>
                  <a:cubicBezTo>
                    <a:pt x="81" y="206"/>
                    <a:pt x="81" y="212"/>
                    <a:pt x="84" y="215"/>
                  </a:cubicBezTo>
                  <a:lnTo>
                    <a:pt x="84" y="217"/>
                  </a:lnTo>
                  <a:lnTo>
                    <a:pt x="84" y="220"/>
                  </a:lnTo>
                  <a:cubicBezTo>
                    <a:pt x="93" y="226"/>
                    <a:pt x="100" y="226"/>
                    <a:pt x="109" y="223"/>
                  </a:cubicBezTo>
                  <a:lnTo>
                    <a:pt x="112" y="220"/>
                  </a:lnTo>
                  <a:lnTo>
                    <a:pt x="114" y="217"/>
                  </a:lnTo>
                  <a:lnTo>
                    <a:pt x="114" y="209"/>
                  </a:lnTo>
                  <a:lnTo>
                    <a:pt x="114" y="201"/>
                  </a:lnTo>
                  <a:lnTo>
                    <a:pt x="114" y="192"/>
                  </a:lnTo>
                  <a:lnTo>
                    <a:pt x="114" y="184"/>
                  </a:lnTo>
                  <a:cubicBezTo>
                    <a:pt x="109" y="178"/>
                    <a:pt x="109" y="170"/>
                    <a:pt x="109" y="161"/>
                  </a:cubicBezTo>
                  <a:cubicBezTo>
                    <a:pt x="106" y="158"/>
                    <a:pt x="103" y="153"/>
                    <a:pt x="106" y="150"/>
                  </a:cubicBezTo>
                  <a:lnTo>
                    <a:pt x="106" y="139"/>
                  </a:lnTo>
                  <a:cubicBezTo>
                    <a:pt x="103" y="133"/>
                    <a:pt x="103" y="127"/>
                    <a:pt x="103" y="122"/>
                  </a:cubicBezTo>
                  <a:lnTo>
                    <a:pt x="103" y="105"/>
                  </a:lnTo>
                  <a:cubicBezTo>
                    <a:pt x="103" y="102"/>
                    <a:pt x="103" y="99"/>
                    <a:pt x="100" y="96"/>
                  </a:cubicBezTo>
                  <a:cubicBezTo>
                    <a:pt x="100" y="93"/>
                    <a:pt x="97" y="91"/>
                    <a:pt x="97" y="88"/>
                  </a:cubicBezTo>
                  <a:cubicBezTo>
                    <a:pt x="96" y="82"/>
                    <a:pt x="96" y="76"/>
                    <a:pt x="96" y="74"/>
                  </a:cubicBezTo>
                  <a:lnTo>
                    <a:pt x="96" y="71"/>
                  </a:lnTo>
                  <a:lnTo>
                    <a:pt x="96" y="65"/>
                  </a:lnTo>
                  <a:cubicBezTo>
                    <a:pt x="97" y="62"/>
                    <a:pt x="96" y="57"/>
                    <a:pt x="93" y="54"/>
                  </a:cubicBezTo>
                  <a:cubicBezTo>
                    <a:pt x="90" y="48"/>
                    <a:pt x="90" y="43"/>
                    <a:pt x="90" y="34"/>
                  </a:cubicBezTo>
                  <a:cubicBezTo>
                    <a:pt x="90" y="28"/>
                    <a:pt x="90" y="23"/>
                    <a:pt x="84" y="17"/>
                  </a:cubicBezTo>
                  <a:cubicBezTo>
                    <a:pt x="87" y="9"/>
                    <a:pt x="93" y="6"/>
                    <a:pt x="100" y="3"/>
                  </a:cubicBezTo>
                  <a:cubicBezTo>
                    <a:pt x="109" y="0"/>
                    <a:pt x="117" y="0"/>
                    <a:pt x="123" y="3"/>
                  </a:cubicBezTo>
                  <a:cubicBezTo>
                    <a:pt x="123" y="6"/>
                    <a:pt x="126" y="9"/>
                    <a:pt x="128" y="9"/>
                  </a:cubicBezTo>
                  <a:cubicBezTo>
                    <a:pt x="131" y="12"/>
                    <a:pt x="131" y="14"/>
                    <a:pt x="128" y="17"/>
                  </a:cubicBezTo>
                  <a:lnTo>
                    <a:pt x="128" y="23"/>
                  </a:lnTo>
                  <a:cubicBezTo>
                    <a:pt x="128" y="26"/>
                    <a:pt x="128" y="25"/>
                    <a:pt x="131" y="28"/>
                  </a:cubicBezTo>
                  <a:cubicBezTo>
                    <a:pt x="135" y="30"/>
                    <a:pt x="134" y="34"/>
                    <a:pt x="134" y="40"/>
                  </a:cubicBezTo>
                  <a:cubicBezTo>
                    <a:pt x="134" y="43"/>
                    <a:pt x="134" y="48"/>
                    <a:pt x="137" y="51"/>
                  </a:cubicBezTo>
                  <a:lnTo>
                    <a:pt x="137" y="54"/>
                  </a:lnTo>
                  <a:lnTo>
                    <a:pt x="137" y="57"/>
                  </a:lnTo>
                  <a:cubicBezTo>
                    <a:pt x="137" y="60"/>
                    <a:pt x="137" y="60"/>
                    <a:pt x="140" y="62"/>
                  </a:cubicBezTo>
                  <a:lnTo>
                    <a:pt x="140" y="68"/>
                  </a:lnTo>
                  <a:cubicBezTo>
                    <a:pt x="137" y="71"/>
                    <a:pt x="137" y="74"/>
                    <a:pt x="140" y="76"/>
                  </a:cubicBezTo>
                  <a:cubicBezTo>
                    <a:pt x="140" y="79"/>
                    <a:pt x="143" y="82"/>
                    <a:pt x="143" y="85"/>
                  </a:cubicBezTo>
                  <a:lnTo>
                    <a:pt x="143" y="88"/>
                  </a:lnTo>
                  <a:cubicBezTo>
                    <a:pt x="143" y="91"/>
                    <a:pt x="143" y="91"/>
                    <a:pt x="145" y="91"/>
                  </a:cubicBezTo>
                  <a:lnTo>
                    <a:pt x="145" y="96"/>
                  </a:lnTo>
                  <a:lnTo>
                    <a:pt x="145" y="105"/>
                  </a:lnTo>
                  <a:cubicBezTo>
                    <a:pt x="145" y="107"/>
                    <a:pt x="148" y="110"/>
                    <a:pt x="148" y="116"/>
                  </a:cubicBezTo>
                  <a:lnTo>
                    <a:pt x="148" y="119"/>
                  </a:lnTo>
                  <a:lnTo>
                    <a:pt x="148" y="122"/>
                  </a:lnTo>
                  <a:lnTo>
                    <a:pt x="148" y="127"/>
                  </a:lnTo>
                  <a:cubicBezTo>
                    <a:pt x="148" y="130"/>
                    <a:pt x="148" y="130"/>
                    <a:pt x="151" y="133"/>
                  </a:cubicBezTo>
                  <a:lnTo>
                    <a:pt x="154" y="136"/>
                  </a:lnTo>
                  <a:lnTo>
                    <a:pt x="154" y="141"/>
                  </a:lnTo>
                  <a:lnTo>
                    <a:pt x="154" y="147"/>
                  </a:lnTo>
                  <a:lnTo>
                    <a:pt x="154" y="153"/>
                  </a:lnTo>
                  <a:lnTo>
                    <a:pt x="154" y="158"/>
                  </a:lnTo>
                  <a:lnTo>
                    <a:pt x="157" y="161"/>
                  </a:lnTo>
                  <a:lnTo>
                    <a:pt x="157" y="170"/>
                  </a:lnTo>
                  <a:lnTo>
                    <a:pt x="157" y="178"/>
                  </a:lnTo>
                  <a:cubicBezTo>
                    <a:pt x="157" y="189"/>
                    <a:pt x="159" y="203"/>
                    <a:pt x="162" y="215"/>
                  </a:cubicBezTo>
                  <a:cubicBezTo>
                    <a:pt x="162" y="217"/>
                    <a:pt x="162" y="220"/>
                    <a:pt x="165" y="220"/>
                  </a:cubicBezTo>
                  <a:cubicBezTo>
                    <a:pt x="168" y="226"/>
                    <a:pt x="168" y="229"/>
                    <a:pt x="165" y="234"/>
                  </a:cubicBezTo>
                  <a:cubicBezTo>
                    <a:pt x="171" y="243"/>
                    <a:pt x="171" y="251"/>
                    <a:pt x="171" y="257"/>
                  </a:cubicBezTo>
                  <a:cubicBezTo>
                    <a:pt x="171" y="263"/>
                    <a:pt x="171" y="268"/>
                    <a:pt x="174" y="274"/>
                  </a:cubicBezTo>
                  <a:cubicBezTo>
                    <a:pt x="176" y="277"/>
                    <a:pt x="176" y="280"/>
                    <a:pt x="176" y="282"/>
                  </a:cubicBezTo>
                  <a:cubicBezTo>
                    <a:pt x="179" y="294"/>
                    <a:pt x="182" y="305"/>
                    <a:pt x="182" y="313"/>
                  </a:cubicBezTo>
                  <a:lnTo>
                    <a:pt x="182" y="322"/>
                  </a:lnTo>
                  <a:cubicBezTo>
                    <a:pt x="182" y="328"/>
                    <a:pt x="182" y="335"/>
                    <a:pt x="188" y="341"/>
                  </a:cubicBezTo>
                  <a:cubicBezTo>
                    <a:pt x="191" y="346"/>
                    <a:pt x="191" y="352"/>
                    <a:pt x="188" y="355"/>
                  </a:cubicBezTo>
                  <a:lnTo>
                    <a:pt x="188" y="363"/>
                  </a:lnTo>
                  <a:lnTo>
                    <a:pt x="191" y="374"/>
                  </a:lnTo>
                  <a:cubicBezTo>
                    <a:pt x="193" y="374"/>
                    <a:pt x="196" y="374"/>
                    <a:pt x="193" y="377"/>
                  </a:cubicBezTo>
                  <a:lnTo>
                    <a:pt x="193" y="383"/>
                  </a:lnTo>
                  <a:cubicBezTo>
                    <a:pt x="196" y="386"/>
                    <a:pt x="196" y="389"/>
                    <a:pt x="199" y="391"/>
                  </a:cubicBezTo>
                  <a:cubicBezTo>
                    <a:pt x="199" y="394"/>
                    <a:pt x="199" y="397"/>
                    <a:pt x="202" y="403"/>
                  </a:cubicBezTo>
                  <a:lnTo>
                    <a:pt x="202" y="414"/>
                  </a:lnTo>
                  <a:lnTo>
                    <a:pt x="202" y="420"/>
                  </a:lnTo>
                  <a:cubicBezTo>
                    <a:pt x="202" y="422"/>
                    <a:pt x="202" y="422"/>
                    <a:pt x="199" y="425"/>
                  </a:cubicBezTo>
                  <a:lnTo>
                    <a:pt x="199" y="428"/>
                  </a:lnTo>
                  <a:cubicBezTo>
                    <a:pt x="202" y="434"/>
                    <a:pt x="202" y="437"/>
                    <a:pt x="205" y="442"/>
                  </a:cubicBezTo>
                  <a:cubicBezTo>
                    <a:pt x="205" y="445"/>
                    <a:pt x="207" y="445"/>
                    <a:pt x="207" y="448"/>
                  </a:cubicBezTo>
                  <a:cubicBezTo>
                    <a:pt x="210" y="453"/>
                    <a:pt x="213" y="456"/>
                    <a:pt x="213" y="459"/>
                  </a:cubicBezTo>
                  <a:close/>
                  <a:moveTo>
                    <a:pt x="22" y="68"/>
                  </a:moveTo>
                  <a:lnTo>
                    <a:pt x="25" y="71"/>
                  </a:lnTo>
                  <a:lnTo>
                    <a:pt x="28" y="74"/>
                  </a:lnTo>
                  <a:lnTo>
                    <a:pt x="28" y="65"/>
                  </a:lnTo>
                  <a:cubicBezTo>
                    <a:pt x="28" y="68"/>
                    <a:pt x="25" y="68"/>
                    <a:pt x="22" y="68"/>
                  </a:cubicBezTo>
                  <a:close/>
                  <a:moveTo>
                    <a:pt x="25" y="60"/>
                  </a:moveTo>
                  <a:cubicBezTo>
                    <a:pt x="28" y="60"/>
                    <a:pt x="28" y="62"/>
                    <a:pt x="28" y="62"/>
                  </a:cubicBezTo>
                  <a:cubicBezTo>
                    <a:pt x="28" y="60"/>
                    <a:pt x="28" y="60"/>
                    <a:pt x="31" y="57"/>
                  </a:cubicBezTo>
                  <a:lnTo>
                    <a:pt x="28" y="54"/>
                  </a:lnTo>
                  <a:cubicBezTo>
                    <a:pt x="28" y="54"/>
                    <a:pt x="25" y="54"/>
                    <a:pt x="25" y="51"/>
                  </a:cubicBezTo>
                  <a:lnTo>
                    <a:pt x="25" y="60"/>
                  </a:lnTo>
                  <a:close/>
                  <a:moveTo>
                    <a:pt x="28" y="105"/>
                  </a:moveTo>
                  <a:lnTo>
                    <a:pt x="31" y="102"/>
                  </a:lnTo>
                  <a:lnTo>
                    <a:pt x="34" y="99"/>
                  </a:lnTo>
                  <a:lnTo>
                    <a:pt x="36" y="96"/>
                  </a:lnTo>
                  <a:cubicBezTo>
                    <a:pt x="28" y="96"/>
                    <a:pt x="28" y="99"/>
                    <a:pt x="28" y="105"/>
                  </a:cubicBezTo>
                  <a:close/>
                  <a:moveTo>
                    <a:pt x="39" y="76"/>
                  </a:moveTo>
                  <a:cubicBezTo>
                    <a:pt x="36" y="76"/>
                    <a:pt x="31" y="76"/>
                    <a:pt x="31" y="82"/>
                  </a:cubicBezTo>
                  <a:lnTo>
                    <a:pt x="34" y="85"/>
                  </a:lnTo>
                  <a:cubicBezTo>
                    <a:pt x="34" y="85"/>
                    <a:pt x="34" y="88"/>
                    <a:pt x="36" y="88"/>
                  </a:cubicBezTo>
                  <a:cubicBezTo>
                    <a:pt x="36" y="88"/>
                    <a:pt x="39" y="88"/>
                    <a:pt x="39" y="91"/>
                  </a:cubicBezTo>
                  <a:lnTo>
                    <a:pt x="36" y="93"/>
                  </a:lnTo>
                  <a:lnTo>
                    <a:pt x="39" y="93"/>
                  </a:lnTo>
                  <a:lnTo>
                    <a:pt x="39" y="91"/>
                  </a:lnTo>
                  <a:lnTo>
                    <a:pt x="39" y="85"/>
                  </a:lnTo>
                  <a:lnTo>
                    <a:pt x="34" y="85"/>
                  </a:lnTo>
                  <a:lnTo>
                    <a:pt x="36" y="82"/>
                  </a:lnTo>
                  <a:cubicBezTo>
                    <a:pt x="36" y="79"/>
                    <a:pt x="36" y="79"/>
                    <a:pt x="39" y="76"/>
                  </a:cubicBezTo>
                  <a:close/>
                  <a:moveTo>
                    <a:pt x="34" y="62"/>
                  </a:moveTo>
                  <a:cubicBezTo>
                    <a:pt x="34" y="62"/>
                    <a:pt x="31" y="62"/>
                    <a:pt x="34" y="62"/>
                  </a:cubicBezTo>
                  <a:cubicBezTo>
                    <a:pt x="31" y="62"/>
                    <a:pt x="31" y="65"/>
                    <a:pt x="34" y="65"/>
                  </a:cubicBezTo>
                  <a:lnTo>
                    <a:pt x="36" y="68"/>
                  </a:lnTo>
                  <a:lnTo>
                    <a:pt x="34" y="62"/>
                  </a:lnTo>
                  <a:close/>
                  <a:moveTo>
                    <a:pt x="31" y="119"/>
                  </a:moveTo>
                  <a:cubicBezTo>
                    <a:pt x="31" y="122"/>
                    <a:pt x="31" y="122"/>
                    <a:pt x="34" y="122"/>
                  </a:cubicBezTo>
                  <a:lnTo>
                    <a:pt x="31" y="119"/>
                  </a:lnTo>
                  <a:close/>
                  <a:moveTo>
                    <a:pt x="34" y="130"/>
                  </a:moveTo>
                  <a:cubicBezTo>
                    <a:pt x="34" y="130"/>
                    <a:pt x="36" y="130"/>
                    <a:pt x="34" y="130"/>
                  </a:cubicBezTo>
                  <a:cubicBezTo>
                    <a:pt x="39" y="130"/>
                    <a:pt x="42" y="127"/>
                    <a:pt x="45" y="124"/>
                  </a:cubicBezTo>
                  <a:lnTo>
                    <a:pt x="34" y="124"/>
                  </a:lnTo>
                  <a:lnTo>
                    <a:pt x="34" y="130"/>
                  </a:lnTo>
                  <a:close/>
                  <a:moveTo>
                    <a:pt x="36" y="141"/>
                  </a:moveTo>
                  <a:lnTo>
                    <a:pt x="39" y="144"/>
                  </a:lnTo>
                  <a:lnTo>
                    <a:pt x="39" y="141"/>
                  </a:lnTo>
                  <a:lnTo>
                    <a:pt x="39" y="139"/>
                  </a:lnTo>
                  <a:lnTo>
                    <a:pt x="42" y="139"/>
                  </a:lnTo>
                  <a:lnTo>
                    <a:pt x="45" y="139"/>
                  </a:lnTo>
                  <a:lnTo>
                    <a:pt x="45" y="136"/>
                  </a:lnTo>
                  <a:cubicBezTo>
                    <a:pt x="42" y="136"/>
                    <a:pt x="39" y="133"/>
                    <a:pt x="36" y="130"/>
                  </a:cubicBezTo>
                  <a:lnTo>
                    <a:pt x="36" y="141"/>
                  </a:lnTo>
                  <a:close/>
                  <a:moveTo>
                    <a:pt x="48" y="130"/>
                  </a:moveTo>
                  <a:cubicBezTo>
                    <a:pt x="50" y="133"/>
                    <a:pt x="50" y="130"/>
                    <a:pt x="50" y="130"/>
                  </a:cubicBezTo>
                  <a:lnTo>
                    <a:pt x="48" y="130"/>
                  </a:lnTo>
                  <a:close/>
                  <a:moveTo>
                    <a:pt x="56" y="164"/>
                  </a:moveTo>
                  <a:lnTo>
                    <a:pt x="48" y="164"/>
                  </a:lnTo>
                  <a:lnTo>
                    <a:pt x="50" y="167"/>
                  </a:lnTo>
                  <a:lnTo>
                    <a:pt x="53" y="167"/>
                  </a:lnTo>
                  <a:lnTo>
                    <a:pt x="53" y="170"/>
                  </a:lnTo>
                  <a:lnTo>
                    <a:pt x="50" y="170"/>
                  </a:lnTo>
                  <a:lnTo>
                    <a:pt x="50" y="175"/>
                  </a:lnTo>
                  <a:lnTo>
                    <a:pt x="50" y="181"/>
                  </a:lnTo>
                  <a:lnTo>
                    <a:pt x="56" y="181"/>
                  </a:lnTo>
                  <a:lnTo>
                    <a:pt x="56" y="178"/>
                  </a:lnTo>
                  <a:cubicBezTo>
                    <a:pt x="56" y="175"/>
                    <a:pt x="56" y="175"/>
                    <a:pt x="53" y="175"/>
                  </a:cubicBezTo>
                  <a:cubicBezTo>
                    <a:pt x="53" y="172"/>
                    <a:pt x="56" y="172"/>
                    <a:pt x="56" y="170"/>
                  </a:cubicBezTo>
                  <a:lnTo>
                    <a:pt x="59" y="164"/>
                  </a:lnTo>
                  <a:lnTo>
                    <a:pt x="56" y="164"/>
                  </a:lnTo>
                  <a:close/>
                  <a:moveTo>
                    <a:pt x="53" y="189"/>
                  </a:moveTo>
                  <a:lnTo>
                    <a:pt x="56" y="186"/>
                  </a:lnTo>
                  <a:cubicBezTo>
                    <a:pt x="53" y="186"/>
                    <a:pt x="53" y="186"/>
                    <a:pt x="53" y="189"/>
                  </a:cubicBezTo>
                  <a:lnTo>
                    <a:pt x="50" y="189"/>
                  </a:lnTo>
                  <a:cubicBezTo>
                    <a:pt x="50" y="192"/>
                    <a:pt x="50" y="192"/>
                    <a:pt x="53" y="189"/>
                  </a:cubicBezTo>
                  <a:cubicBezTo>
                    <a:pt x="50" y="192"/>
                    <a:pt x="53" y="195"/>
                    <a:pt x="53" y="195"/>
                  </a:cubicBezTo>
                  <a:lnTo>
                    <a:pt x="59" y="195"/>
                  </a:lnTo>
                  <a:lnTo>
                    <a:pt x="59" y="192"/>
                  </a:lnTo>
                  <a:cubicBezTo>
                    <a:pt x="59" y="192"/>
                    <a:pt x="56" y="189"/>
                    <a:pt x="53" y="189"/>
                  </a:cubicBezTo>
                  <a:close/>
                  <a:moveTo>
                    <a:pt x="73" y="226"/>
                  </a:moveTo>
                  <a:cubicBezTo>
                    <a:pt x="70" y="226"/>
                    <a:pt x="67" y="226"/>
                    <a:pt x="65" y="223"/>
                  </a:cubicBezTo>
                  <a:lnTo>
                    <a:pt x="65" y="226"/>
                  </a:lnTo>
                  <a:lnTo>
                    <a:pt x="62" y="223"/>
                  </a:lnTo>
                  <a:lnTo>
                    <a:pt x="59" y="226"/>
                  </a:lnTo>
                  <a:cubicBezTo>
                    <a:pt x="59" y="229"/>
                    <a:pt x="56" y="229"/>
                    <a:pt x="56" y="232"/>
                  </a:cubicBezTo>
                  <a:cubicBezTo>
                    <a:pt x="59" y="234"/>
                    <a:pt x="62" y="234"/>
                    <a:pt x="65" y="234"/>
                  </a:cubicBezTo>
                  <a:cubicBezTo>
                    <a:pt x="67" y="232"/>
                    <a:pt x="67" y="232"/>
                    <a:pt x="67" y="229"/>
                  </a:cubicBezTo>
                  <a:cubicBezTo>
                    <a:pt x="70" y="229"/>
                    <a:pt x="73" y="226"/>
                    <a:pt x="73" y="226"/>
                  </a:cubicBezTo>
                  <a:close/>
                  <a:moveTo>
                    <a:pt x="84" y="265"/>
                  </a:moveTo>
                  <a:cubicBezTo>
                    <a:pt x="81" y="265"/>
                    <a:pt x="81" y="263"/>
                    <a:pt x="81" y="263"/>
                  </a:cubicBezTo>
                  <a:cubicBezTo>
                    <a:pt x="81" y="263"/>
                    <a:pt x="79" y="260"/>
                    <a:pt x="76" y="263"/>
                  </a:cubicBezTo>
                  <a:lnTo>
                    <a:pt x="73" y="263"/>
                  </a:lnTo>
                  <a:lnTo>
                    <a:pt x="70" y="260"/>
                  </a:lnTo>
                  <a:lnTo>
                    <a:pt x="70" y="257"/>
                  </a:lnTo>
                  <a:lnTo>
                    <a:pt x="65" y="257"/>
                  </a:lnTo>
                  <a:lnTo>
                    <a:pt x="67" y="254"/>
                  </a:lnTo>
                  <a:cubicBezTo>
                    <a:pt x="67" y="254"/>
                    <a:pt x="67" y="251"/>
                    <a:pt x="65" y="251"/>
                  </a:cubicBezTo>
                  <a:cubicBezTo>
                    <a:pt x="65" y="249"/>
                    <a:pt x="62" y="246"/>
                    <a:pt x="62" y="243"/>
                  </a:cubicBezTo>
                  <a:cubicBezTo>
                    <a:pt x="59" y="249"/>
                    <a:pt x="59" y="251"/>
                    <a:pt x="62" y="254"/>
                  </a:cubicBezTo>
                  <a:lnTo>
                    <a:pt x="65" y="254"/>
                  </a:lnTo>
                  <a:lnTo>
                    <a:pt x="62" y="257"/>
                  </a:lnTo>
                  <a:cubicBezTo>
                    <a:pt x="62" y="258"/>
                    <a:pt x="62" y="259"/>
                    <a:pt x="63" y="260"/>
                  </a:cubicBezTo>
                  <a:lnTo>
                    <a:pt x="62" y="260"/>
                  </a:lnTo>
                  <a:lnTo>
                    <a:pt x="62" y="265"/>
                  </a:lnTo>
                  <a:cubicBezTo>
                    <a:pt x="63" y="264"/>
                    <a:pt x="64" y="263"/>
                    <a:pt x="64" y="262"/>
                  </a:cubicBezTo>
                  <a:cubicBezTo>
                    <a:pt x="64" y="263"/>
                    <a:pt x="65" y="263"/>
                    <a:pt x="65" y="263"/>
                  </a:cubicBezTo>
                  <a:cubicBezTo>
                    <a:pt x="67" y="263"/>
                    <a:pt x="67" y="262"/>
                    <a:pt x="67" y="265"/>
                  </a:cubicBezTo>
                  <a:cubicBezTo>
                    <a:pt x="67" y="267"/>
                    <a:pt x="67" y="268"/>
                    <a:pt x="70" y="268"/>
                  </a:cubicBezTo>
                  <a:lnTo>
                    <a:pt x="70" y="274"/>
                  </a:lnTo>
                  <a:cubicBezTo>
                    <a:pt x="73" y="274"/>
                    <a:pt x="76" y="274"/>
                    <a:pt x="76" y="271"/>
                  </a:cubicBezTo>
                  <a:lnTo>
                    <a:pt x="76" y="276"/>
                  </a:lnTo>
                  <a:cubicBezTo>
                    <a:pt x="75" y="275"/>
                    <a:pt x="74" y="275"/>
                    <a:pt x="73" y="274"/>
                  </a:cubicBezTo>
                  <a:lnTo>
                    <a:pt x="67" y="277"/>
                  </a:lnTo>
                  <a:lnTo>
                    <a:pt x="70" y="277"/>
                  </a:lnTo>
                  <a:lnTo>
                    <a:pt x="73" y="277"/>
                  </a:lnTo>
                  <a:cubicBezTo>
                    <a:pt x="73" y="280"/>
                    <a:pt x="73" y="280"/>
                    <a:pt x="70" y="282"/>
                  </a:cubicBezTo>
                  <a:lnTo>
                    <a:pt x="73" y="282"/>
                  </a:lnTo>
                  <a:cubicBezTo>
                    <a:pt x="73" y="282"/>
                    <a:pt x="76" y="282"/>
                    <a:pt x="76" y="280"/>
                  </a:cubicBezTo>
                  <a:lnTo>
                    <a:pt x="79" y="280"/>
                  </a:lnTo>
                  <a:lnTo>
                    <a:pt x="79" y="282"/>
                  </a:lnTo>
                  <a:lnTo>
                    <a:pt x="70" y="291"/>
                  </a:lnTo>
                  <a:lnTo>
                    <a:pt x="87" y="288"/>
                  </a:lnTo>
                  <a:lnTo>
                    <a:pt x="84" y="282"/>
                  </a:lnTo>
                  <a:cubicBezTo>
                    <a:pt x="83" y="281"/>
                    <a:pt x="81" y="280"/>
                    <a:pt x="79" y="278"/>
                  </a:cubicBezTo>
                  <a:lnTo>
                    <a:pt x="84" y="265"/>
                  </a:lnTo>
                  <a:cubicBezTo>
                    <a:pt x="81" y="268"/>
                    <a:pt x="81" y="271"/>
                    <a:pt x="79" y="271"/>
                  </a:cubicBezTo>
                  <a:lnTo>
                    <a:pt x="76" y="268"/>
                  </a:lnTo>
                  <a:lnTo>
                    <a:pt x="84" y="265"/>
                  </a:lnTo>
                  <a:close/>
                  <a:moveTo>
                    <a:pt x="64" y="262"/>
                  </a:moveTo>
                  <a:cubicBezTo>
                    <a:pt x="65" y="262"/>
                    <a:pt x="65" y="261"/>
                    <a:pt x="65" y="260"/>
                  </a:cubicBezTo>
                  <a:lnTo>
                    <a:pt x="63" y="260"/>
                  </a:lnTo>
                  <a:cubicBezTo>
                    <a:pt x="63" y="261"/>
                    <a:pt x="64" y="262"/>
                    <a:pt x="64" y="262"/>
                  </a:cubicBezTo>
                  <a:close/>
                  <a:moveTo>
                    <a:pt x="76" y="277"/>
                  </a:moveTo>
                  <a:cubicBezTo>
                    <a:pt x="76" y="277"/>
                    <a:pt x="76" y="277"/>
                    <a:pt x="76" y="276"/>
                  </a:cubicBezTo>
                  <a:lnTo>
                    <a:pt x="76" y="276"/>
                  </a:lnTo>
                  <a:lnTo>
                    <a:pt x="76" y="277"/>
                  </a:lnTo>
                  <a:close/>
                  <a:moveTo>
                    <a:pt x="79" y="277"/>
                  </a:moveTo>
                  <a:lnTo>
                    <a:pt x="79" y="278"/>
                  </a:lnTo>
                  <a:cubicBezTo>
                    <a:pt x="78" y="278"/>
                    <a:pt x="77" y="277"/>
                    <a:pt x="76" y="276"/>
                  </a:cubicBezTo>
                  <a:cubicBezTo>
                    <a:pt x="79" y="274"/>
                    <a:pt x="79" y="277"/>
                    <a:pt x="79" y="277"/>
                  </a:cubicBezTo>
                  <a:close/>
                  <a:moveTo>
                    <a:pt x="79" y="280"/>
                  </a:moveTo>
                  <a:lnTo>
                    <a:pt x="79" y="278"/>
                  </a:lnTo>
                  <a:lnTo>
                    <a:pt x="79" y="278"/>
                  </a:lnTo>
                  <a:lnTo>
                    <a:pt x="79" y="280"/>
                  </a:lnTo>
                  <a:close/>
                  <a:moveTo>
                    <a:pt x="67" y="311"/>
                  </a:moveTo>
                  <a:lnTo>
                    <a:pt x="67" y="316"/>
                  </a:lnTo>
                  <a:cubicBezTo>
                    <a:pt x="67" y="313"/>
                    <a:pt x="70" y="308"/>
                    <a:pt x="73" y="305"/>
                  </a:cubicBezTo>
                  <a:cubicBezTo>
                    <a:pt x="73" y="305"/>
                    <a:pt x="70" y="305"/>
                    <a:pt x="70" y="302"/>
                  </a:cubicBezTo>
                  <a:lnTo>
                    <a:pt x="67" y="305"/>
                  </a:lnTo>
                  <a:cubicBezTo>
                    <a:pt x="65" y="308"/>
                    <a:pt x="65" y="311"/>
                    <a:pt x="67" y="311"/>
                  </a:cubicBezTo>
                  <a:close/>
                  <a:moveTo>
                    <a:pt x="73" y="243"/>
                  </a:moveTo>
                  <a:lnTo>
                    <a:pt x="73" y="237"/>
                  </a:lnTo>
                  <a:lnTo>
                    <a:pt x="73" y="232"/>
                  </a:lnTo>
                  <a:lnTo>
                    <a:pt x="70" y="237"/>
                  </a:lnTo>
                  <a:lnTo>
                    <a:pt x="67" y="240"/>
                  </a:lnTo>
                  <a:cubicBezTo>
                    <a:pt x="70" y="246"/>
                    <a:pt x="73" y="246"/>
                    <a:pt x="73" y="243"/>
                  </a:cubicBezTo>
                  <a:close/>
                  <a:moveTo>
                    <a:pt x="73" y="294"/>
                  </a:moveTo>
                  <a:cubicBezTo>
                    <a:pt x="70" y="294"/>
                    <a:pt x="67" y="296"/>
                    <a:pt x="67" y="296"/>
                  </a:cubicBezTo>
                  <a:cubicBezTo>
                    <a:pt x="70" y="299"/>
                    <a:pt x="73" y="299"/>
                    <a:pt x="73" y="302"/>
                  </a:cubicBezTo>
                  <a:lnTo>
                    <a:pt x="73" y="294"/>
                  </a:lnTo>
                  <a:close/>
                  <a:moveTo>
                    <a:pt x="76" y="322"/>
                  </a:moveTo>
                  <a:lnTo>
                    <a:pt x="70" y="322"/>
                  </a:lnTo>
                  <a:lnTo>
                    <a:pt x="70" y="325"/>
                  </a:lnTo>
                  <a:cubicBezTo>
                    <a:pt x="73" y="325"/>
                    <a:pt x="73" y="322"/>
                    <a:pt x="76" y="322"/>
                  </a:cubicBezTo>
                  <a:close/>
                  <a:moveTo>
                    <a:pt x="70" y="335"/>
                  </a:moveTo>
                  <a:lnTo>
                    <a:pt x="73" y="335"/>
                  </a:lnTo>
                  <a:lnTo>
                    <a:pt x="76" y="335"/>
                  </a:lnTo>
                  <a:lnTo>
                    <a:pt x="73" y="332"/>
                  </a:lnTo>
                  <a:lnTo>
                    <a:pt x="70" y="335"/>
                  </a:lnTo>
                  <a:close/>
                  <a:moveTo>
                    <a:pt x="84" y="352"/>
                  </a:moveTo>
                  <a:lnTo>
                    <a:pt x="81" y="341"/>
                  </a:lnTo>
                  <a:lnTo>
                    <a:pt x="76" y="341"/>
                  </a:lnTo>
                  <a:lnTo>
                    <a:pt x="73" y="341"/>
                  </a:lnTo>
                  <a:lnTo>
                    <a:pt x="67" y="341"/>
                  </a:lnTo>
                  <a:lnTo>
                    <a:pt x="70" y="343"/>
                  </a:lnTo>
                  <a:lnTo>
                    <a:pt x="73" y="343"/>
                  </a:lnTo>
                  <a:lnTo>
                    <a:pt x="73" y="349"/>
                  </a:lnTo>
                  <a:lnTo>
                    <a:pt x="73" y="355"/>
                  </a:lnTo>
                  <a:cubicBezTo>
                    <a:pt x="79" y="352"/>
                    <a:pt x="81" y="352"/>
                    <a:pt x="84" y="352"/>
                  </a:cubicBezTo>
                  <a:close/>
                  <a:moveTo>
                    <a:pt x="79" y="294"/>
                  </a:moveTo>
                  <a:cubicBezTo>
                    <a:pt x="76" y="296"/>
                    <a:pt x="76" y="299"/>
                    <a:pt x="76" y="299"/>
                  </a:cubicBezTo>
                  <a:lnTo>
                    <a:pt x="79" y="299"/>
                  </a:lnTo>
                  <a:lnTo>
                    <a:pt x="81" y="299"/>
                  </a:lnTo>
                  <a:lnTo>
                    <a:pt x="79" y="294"/>
                  </a:lnTo>
                  <a:close/>
                  <a:moveTo>
                    <a:pt x="79" y="232"/>
                  </a:moveTo>
                  <a:lnTo>
                    <a:pt x="79" y="237"/>
                  </a:lnTo>
                  <a:cubicBezTo>
                    <a:pt x="79" y="234"/>
                    <a:pt x="81" y="232"/>
                    <a:pt x="81" y="229"/>
                  </a:cubicBezTo>
                  <a:lnTo>
                    <a:pt x="76" y="229"/>
                  </a:lnTo>
                  <a:lnTo>
                    <a:pt x="79" y="232"/>
                  </a:lnTo>
                  <a:close/>
                  <a:moveTo>
                    <a:pt x="81" y="383"/>
                  </a:moveTo>
                  <a:cubicBezTo>
                    <a:pt x="81" y="383"/>
                    <a:pt x="84" y="383"/>
                    <a:pt x="81" y="383"/>
                  </a:cubicBezTo>
                  <a:lnTo>
                    <a:pt x="87" y="380"/>
                  </a:lnTo>
                  <a:lnTo>
                    <a:pt x="84" y="377"/>
                  </a:lnTo>
                  <a:lnTo>
                    <a:pt x="79" y="374"/>
                  </a:lnTo>
                  <a:cubicBezTo>
                    <a:pt x="79" y="377"/>
                    <a:pt x="81" y="380"/>
                    <a:pt x="81" y="383"/>
                  </a:cubicBezTo>
                  <a:close/>
                  <a:moveTo>
                    <a:pt x="79" y="363"/>
                  </a:moveTo>
                  <a:lnTo>
                    <a:pt x="79" y="366"/>
                  </a:lnTo>
                  <a:cubicBezTo>
                    <a:pt x="79" y="363"/>
                    <a:pt x="81" y="363"/>
                    <a:pt x="81" y="360"/>
                  </a:cubicBezTo>
                  <a:lnTo>
                    <a:pt x="79" y="363"/>
                  </a:lnTo>
                  <a:close/>
                  <a:moveTo>
                    <a:pt x="112" y="251"/>
                  </a:moveTo>
                  <a:lnTo>
                    <a:pt x="112" y="249"/>
                  </a:lnTo>
                  <a:lnTo>
                    <a:pt x="112" y="246"/>
                  </a:lnTo>
                  <a:lnTo>
                    <a:pt x="114" y="243"/>
                  </a:lnTo>
                  <a:cubicBezTo>
                    <a:pt x="114" y="243"/>
                    <a:pt x="114" y="240"/>
                    <a:pt x="117" y="240"/>
                  </a:cubicBezTo>
                  <a:cubicBezTo>
                    <a:pt x="114" y="240"/>
                    <a:pt x="114" y="243"/>
                    <a:pt x="112" y="243"/>
                  </a:cubicBezTo>
                  <a:lnTo>
                    <a:pt x="106" y="246"/>
                  </a:lnTo>
                  <a:lnTo>
                    <a:pt x="103" y="246"/>
                  </a:lnTo>
                  <a:lnTo>
                    <a:pt x="100" y="246"/>
                  </a:lnTo>
                  <a:cubicBezTo>
                    <a:pt x="100" y="246"/>
                    <a:pt x="100" y="249"/>
                    <a:pt x="97" y="249"/>
                  </a:cubicBezTo>
                  <a:cubicBezTo>
                    <a:pt x="97" y="251"/>
                    <a:pt x="96" y="251"/>
                    <a:pt x="96" y="254"/>
                  </a:cubicBezTo>
                  <a:lnTo>
                    <a:pt x="93" y="251"/>
                  </a:lnTo>
                  <a:lnTo>
                    <a:pt x="87" y="249"/>
                  </a:lnTo>
                  <a:cubicBezTo>
                    <a:pt x="87" y="251"/>
                    <a:pt x="83" y="251"/>
                    <a:pt x="81" y="251"/>
                  </a:cubicBezTo>
                  <a:cubicBezTo>
                    <a:pt x="78" y="251"/>
                    <a:pt x="79" y="254"/>
                    <a:pt x="79" y="257"/>
                  </a:cubicBezTo>
                  <a:lnTo>
                    <a:pt x="81" y="257"/>
                  </a:lnTo>
                  <a:cubicBezTo>
                    <a:pt x="81" y="257"/>
                    <a:pt x="84" y="257"/>
                    <a:pt x="84" y="260"/>
                  </a:cubicBezTo>
                  <a:lnTo>
                    <a:pt x="87" y="260"/>
                  </a:lnTo>
                  <a:lnTo>
                    <a:pt x="87" y="257"/>
                  </a:lnTo>
                  <a:lnTo>
                    <a:pt x="87" y="254"/>
                  </a:lnTo>
                  <a:lnTo>
                    <a:pt x="90" y="254"/>
                  </a:lnTo>
                  <a:lnTo>
                    <a:pt x="93" y="257"/>
                  </a:lnTo>
                  <a:cubicBezTo>
                    <a:pt x="96" y="254"/>
                    <a:pt x="95" y="254"/>
                    <a:pt x="97" y="254"/>
                  </a:cubicBezTo>
                  <a:cubicBezTo>
                    <a:pt x="100" y="254"/>
                    <a:pt x="103" y="251"/>
                    <a:pt x="106" y="249"/>
                  </a:cubicBezTo>
                  <a:lnTo>
                    <a:pt x="106" y="260"/>
                  </a:lnTo>
                  <a:lnTo>
                    <a:pt x="106" y="257"/>
                  </a:lnTo>
                  <a:cubicBezTo>
                    <a:pt x="103" y="257"/>
                    <a:pt x="103" y="254"/>
                    <a:pt x="103" y="251"/>
                  </a:cubicBezTo>
                  <a:lnTo>
                    <a:pt x="100" y="254"/>
                  </a:lnTo>
                  <a:lnTo>
                    <a:pt x="100" y="257"/>
                  </a:lnTo>
                  <a:lnTo>
                    <a:pt x="93" y="260"/>
                  </a:lnTo>
                  <a:lnTo>
                    <a:pt x="90" y="260"/>
                  </a:lnTo>
                  <a:lnTo>
                    <a:pt x="87" y="263"/>
                  </a:lnTo>
                  <a:lnTo>
                    <a:pt x="90" y="263"/>
                  </a:lnTo>
                  <a:lnTo>
                    <a:pt x="96" y="260"/>
                  </a:lnTo>
                  <a:cubicBezTo>
                    <a:pt x="97" y="263"/>
                    <a:pt x="103" y="263"/>
                    <a:pt x="106" y="260"/>
                  </a:cubicBezTo>
                  <a:lnTo>
                    <a:pt x="109" y="260"/>
                  </a:lnTo>
                  <a:lnTo>
                    <a:pt x="109" y="257"/>
                  </a:lnTo>
                  <a:cubicBezTo>
                    <a:pt x="112" y="251"/>
                    <a:pt x="109" y="251"/>
                    <a:pt x="112" y="251"/>
                  </a:cubicBezTo>
                  <a:close/>
                  <a:moveTo>
                    <a:pt x="90" y="377"/>
                  </a:moveTo>
                  <a:lnTo>
                    <a:pt x="90" y="369"/>
                  </a:lnTo>
                  <a:lnTo>
                    <a:pt x="87" y="369"/>
                  </a:lnTo>
                  <a:lnTo>
                    <a:pt x="87" y="377"/>
                  </a:lnTo>
                  <a:lnTo>
                    <a:pt x="90" y="377"/>
                  </a:lnTo>
                  <a:close/>
                  <a:moveTo>
                    <a:pt x="90" y="414"/>
                  </a:moveTo>
                  <a:cubicBezTo>
                    <a:pt x="90" y="417"/>
                    <a:pt x="90" y="420"/>
                    <a:pt x="87" y="422"/>
                  </a:cubicBezTo>
                  <a:lnTo>
                    <a:pt x="96" y="422"/>
                  </a:lnTo>
                  <a:lnTo>
                    <a:pt x="93" y="417"/>
                  </a:lnTo>
                  <a:cubicBezTo>
                    <a:pt x="93" y="414"/>
                    <a:pt x="93" y="414"/>
                    <a:pt x="90" y="414"/>
                  </a:cubicBezTo>
                  <a:cubicBezTo>
                    <a:pt x="93" y="411"/>
                    <a:pt x="93" y="408"/>
                    <a:pt x="93" y="408"/>
                  </a:cubicBezTo>
                  <a:lnTo>
                    <a:pt x="93" y="405"/>
                  </a:lnTo>
                  <a:cubicBezTo>
                    <a:pt x="90" y="408"/>
                    <a:pt x="87" y="408"/>
                    <a:pt x="87" y="411"/>
                  </a:cubicBezTo>
                  <a:cubicBezTo>
                    <a:pt x="87" y="411"/>
                    <a:pt x="87" y="414"/>
                    <a:pt x="90" y="414"/>
                  </a:cubicBezTo>
                  <a:close/>
                  <a:moveTo>
                    <a:pt x="84" y="237"/>
                  </a:moveTo>
                  <a:lnTo>
                    <a:pt x="84" y="243"/>
                  </a:lnTo>
                  <a:lnTo>
                    <a:pt x="87" y="243"/>
                  </a:lnTo>
                  <a:lnTo>
                    <a:pt x="87" y="237"/>
                  </a:lnTo>
                  <a:lnTo>
                    <a:pt x="84" y="237"/>
                  </a:lnTo>
                  <a:close/>
                  <a:moveTo>
                    <a:pt x="97" y="434"/>
                  </a:moveTo>
                  <a:lnTo>
                    <a:pt x="96" y="437"/>
                  </a:lnTo>
                  <a:cubicBezTo>
                    <a:pt x="97" y="437"/>
                    <a:pt x="97" y="434"/>
                    <a:pt x="97" y="434"/>
                  </a:cubicBezTo>
                  <a:close/>
                  <a:moveTo>
                    <a:pt x="96" y="448"/>
                  </a:moveTo>
                  <a:lnTo>
                    <a:pt x="100" y="448"/>
                  </a:lnTo>
                  <a:lnTo>
                    <a:pt x="100" y="445"/>
                  </a:lnTo>
                  <a:cubicBezTo>
                    <a:pt x="100" y="448"/>
                    <a:pt x="97" y="448"/>
                    <a:pt x="96" y="448"/>
                  </a:cubicBezTo>
                  <a:close/>
                  <a:moveTo>
                    <a:pt x="97" y="465"/>
                  </a:moveTo>
                  <a:cubicBezTo>
                    <a:pt x="100" y="468"/>
                    <a:pt x="100" y="468"/>
                    <a:pt x="103" y="468"/>
                  </a:cubicBezTo>
                  <a:cubicBezTo>
                    <a:pt x="103" y="462"/>
                    <a:pt x="103" y="465"/>
                    <a:pt x="97" y="465"/>
                  </a:cubicBezTo>
                  <a:close/>
                  <a:moveTo>
                    <a:pt x="137" y="257"/>
                  </a:moveTo>
                  <a:lnTo>
                    <a:pt x="131" y="251"/>
                  </a:lnTo>
                  <a:lnTo>
                    <a:pt x="128" y="249"/>
                  </a:lnTo>
                  <a:cubicBezTo>
                    <a:pt x="131" y="246"/>
                    <a:pt x="131" y="246"/>
                    <a:pt x="131" y="243"/>
                  </a:cubicBezTo>
                  <a:cubicBezTo>
                    <a:pt x="128" y="243"/>
                    <a:pt x="128" y="240"/>
                    <a:pt x="128" y="240"/>
                  </a:cubicBezTo>
                  <a:lnTo>
                    <a:pt x="123" y="240"/>
                  </a:lnTo>
                  <a:lnTo>
                    <a:pt x="128" y="246"/>
                  </a:lnTo>
                  <a:cubicBezTo>
                    <a:pt x="126" y="249"/>
                    <a:pt x="126" y="251"/>
                    <a:pt x="123" y="251"/>
                  </a:cubicBezTo>
                  <a:lnTo>
                    <a:pt x="123" y="254"/>
                  </a:lnTo>
                  <a:cubicBezTo>
                    <a:pt x="123" y="254"/>
                    <a:pt x="123" y="251"/>
                    <a:pt x="120" y="251"/>
                  </a:cubicBezTo>
                  <a:cubicBezTo>
                    <a:pt x="120" y="251"/>
                    <a:pt x="117" y="249"/>
                    <a:pt x="120" y="249"/>
                  </a:cubicBezTo>
                  <a:lnTo>
                    <a:pt x="120" y="246"/>
                  </a:lnTo>
                  <a:lnTo>
                    <a:pt x="117" y="246"/>
                  </a:lnTo>
                  <a:lnTo>
                    <a:pt x="117" y="257"/>
                  </a:lnTo>
                  <a:lnTo>
                    <a:pt x="123" y="257"/>
                  </a:lnTo>
                  <a:lnTo>
                    <a:pt x="128" y="263"/>
                  </a:lnTo>
                  <a:lnTo>
                    <a:pt x="131" y="260"/>
                  </a:lnTo>
                  <a:lnTo>
                    <a:pt x="131" y="257"/>
                  </a:lnTo>
                  <a:cubicBezTo>
                    <a:pt x="131" y="254"/>
                    <a:pt x="134" y="254"/>
                    <a:pt x="137" y="257"/>
                  </a:cubicBezTo>
                  <a:close/>
                  <a:moveTo>
                    <a:pt x="126" y="232"/>
                  </a:moveTo>
                  <a:cubicBezTo>
                    <a:pt x="128" y="234"/>
                    <a:pt x="128" y="234"/>
                    <a:pt x="131" y="232"/>
                  </a:cubicBezTo>
                  <a:lnTo>
                    <a:pt x="131" y="234"/>
                  </a:lnTo>
                  <a:cubicBezTo>
                    <a:pt x="134" y="234"/>
                    <a:pt x="137" y="234"/>
                    <a:pt x="137" y="237"/>
                  </a:cubicBezTo>
                  <a:lnTo>
                    <a:pt x="137" y="232"/>
                  </a:lnTo>
                  <a:lnTo>
                    <a:pt x="131" y="232"/>
                  </a:lnTo>
                  <a:lnTo>
                    <a:pt x="128" y="232"/>
                  </a:lnTo>
                  <a:lnTo>
                    <a:pt x="126" y="232"/>
                  </a:lnTo>
                  <a:close/>
                  <a:moveTo>
                    <a:pt x="131" y="127"/>
                  </a:moveTo>
                  <a:lnTo>
                    <a:pt x="137" y="127"/>
                  </a:lnTo>
                  <a:lnTo>
                    <a:pt x="137" y="124"/>
                  </a:lnTo>
                  <a:lnTo>
                    <a:pt x="134" y="124"/>
                  </a:lnTo>
                  <a:cubicBezTo>
                    <a:pt x="134" y="127"/>
                    <a:pt x="131" y="127"/>
                    <a:pt x="131" y="127"/>
                  </a:cubicBezTo>
                  <a:close/>
                  <a:moveTo>
                    <a:pt x="134" y="226"/>
                  </a:moveTo>
                  <a:lnTo>
                    <a:pt x="137" y="226"/>
                  </a:lnTo>
                  <a:lnTo>
                    <a:pt x="137" y="223"/>
                  </a:lnTo>
                  <a:cubicBezTo>
                    <a:pt x="137" y="226"/>
                    <a:pt x="134" y="226"/>
                    <a:pt x="134" y="226"/>
                  </a:cubicBezTo>
                  <a:close/>
                  <a:moveTo>
                    <a:pt x="143" y="249"/>
                  </a:moveTo>
                  <a:lnTo>
                    <a:pt x="143" y="251"/>
                  </a:lnTo>
                  <a:cubicBezTo>
                    <a:pt x="140" y="251"/>
                    <a:pt x="140" y="251"/>
                    <a:pt x="140" y="249"/>
                  </a:cubicBezTo>
                  <a:cubicBezTo>
                    <a:pt x="139" y="249"/>
                    <a:pt x="138" y="249"/>
                    <a:pt x="137" y="249"/>
                  </a:cubicBezTo>
                  <a:cubicBezTo>
                    <a:pt x="140" y="254"/>
                    <a:pt x="143" y="257"/>
                    <a:pt x="143" y="257"/>
                  </a:cubicBezTo>
                  <a:cubicBezTo>
                    <a:pt x="145" y="254"/>
                    <a:pt x="143" y="254"/>
                    <a:pt x="145" y="251"/>
                  </a:cubicBezTo>
                  <a:lnTo>
                    <a:pt x="145" y="246"/>
                  </a:lnTo>
                  <a:lnTo>
                    <a:pt x="148" y="246"/>
                  </a:lnTo>
                  <a:cubicBezTo>
                    <a:pt x="148" y="243"/>
                    <a:pt x="148" y="243"/>
                    <a:pt x="148" y="246"/>
                  </a:cubicBezTo>
                  <a:lnTo>
                    <a:pt x="145" y="246"/>
                  </a:lnTo>
                  <a:cubicBezTo>
                    <a:pt x="145" y="246"/>
                    <a:pt x="145" y="249"/>
                    <a:pt x="143" y="249"/>
                  </a:cubicBezTo>
                  <a:cubicBezTo>
                    <a:pt x="143" y="240"/>
                    <a:pt x="143" y="240"/>
                    <a:pt x="137" y="240"/>
                  </a:cubicBezTo>
                  <a:cubicBezTo>
                    <a:pt x="137" y="243"/>
                    <a:pt x="140" y="246"/>
                    <a:pt x="143" y="249"/>
                  </a:cubicBezTo>
                  <a:close/>
                  <a:moveTo>
                    <a:pt x="134" y="263"/>
                  </a:moveTo>
                  <a:lnTo>
                    <a:pt x="140" y="263"/>
                  </a:lnTo>
                  <a:lnTo>
                    <a:pt x="137" y="260"/>
                  </a:lnTo>
                  <a:lnTo>
                    <a:pt x="137" y="257"/>
                  </a:lnTo>
                  <a:cubicBezTo>
                    <a:pt x="137" y="257"/>
                    <a:pt x="137" y="260"/>
                    <a:pt x="134" y="263"/>
                  </a:cubicBezTo>
                  <a:close/>
                  <a:moveTo>
                    <a:pt x="137" y="217"/>
                  </a:moveTo>
                  <a:lnTo>
                    <a:pt x="140" y="217"/>
                  </a:lnTo>
                  <a:lnTo>
                    <a:pt x="140" y="215"/>
                  </a:lnTo>
                  <a:lnTo>
                    <a:pt x="137" y="217"/>
                  </a:lnTo>
                  <a:close/>
                  <a:moveTo>
                    <a:pt x="140" y="226"/>
                  </a:moveTo>
                  <a:lnTo>
                    <a:pt x="143" y="234"/>
                  </a:lnTo>
                  <a:lnTo>
                    <a:pt x="148" y="234"/>
                  </a:lnTo>
                  <a:lnTo>
                    <a:pt x="148" y="232"/>
                  </a:lnTo>
                  <a:cubicBezTo>
                    <a:pt x="148" y="229"/>
                    <a:pt x="151" y="229"/>
                    <a:pt x="151" y="229"/>
                  </a:cubicBezTo>
                  <a:cubicBezTo>
                    <a:pt x="145" y="223"/>
                    <a:pt x="143" y="223"/>
                    <a:pt x="140" y="226"/>
                  </a:cubicBezTo>
                  <a:close/>
                  <a:moveTo>
                    <a:pt x="145" y="263"/>
                  </a:moveTo>
                  <a:lnTo>
                    <a:pt x="151" y="263"/>
                  </a:lnTo>
                  <a:cubicBezTo>
                    <a:pt x="154" y="263"/>
                    <a:pt x="154" y="260"/>
                    <a:pt x="151" y="257"/>
                  </a:cubicBezTo>
                  <a:cubicBezTo>
                    <a:pt x="148" y="257"/>
                    <a:pt x="145" y="260"/>
                    <a:pt x="143" y="260"/>
                  </a:cubicBezTo>
                  <a:cubicBezTo>
                    <a:pt x="143" y="263"/>
                    <a:pt x="145" y="263"/>
                    <a:pt x="145" y="263"/>
                  </a:cubicBezTo>
                  <a:close/>
                  <a:moveTo>
                    <a:pt x="148" y="189"/>
                  </a:moveTo>
                  <a:lnTo>
                    <a:pt x="143" y="189"/>
                  </a:lnTo>
                  <a:lnTo>
                    <a:pt x="143" y="192"/>
                  </a:lnTo>
                  <a:cubicBezTo>
                    <a:pt x="145" y="192"/>
                    <a:pt x="148" y="189"/>
                    <a:pt x="148" y="189"/>
                  </a:cubicBezTo>
                  <a:close/>
                  <a:moveTo>
                    <a:pt x="148" y="243"/>
                  </a:moveTo>
                  <a:cubicBezTo>
                    <a:pt x="151" y="240"/>
                    <a:pt x="151" y="240"/>
                    <a:pt x="146" y="240"/>
                  </a:cubicBezTo>
                  <a:cubicBezTo>
                    <a:pt x="147" y="241"/>
                    <a:pt x="147" y="242"/>
                    <a:pt x="148" y="243"/>
                  </a:cubicBezTo>
                  <a:close/>
                  <a:moveTo>
                    <a:pt x="159" y="274"/>
                  </a:moveTo>
                  <a:cubicBezTo>
                    <a:pt x="154" y="268"/>
                    <a:pt x="154" y="268"/>
                    <a:pt x="148" y="274"/>
                  </a:cubicBezTo>
                  <a:lnTo>
                    <a:pt x="154" y="274"/>
                  </a:lnTo>
                  <a:cubicBezTo>
                    <a:pt x="154" y="274"/>
                    <a:pt x="157" y="274"/>
                    <a:pt x="157" y="277"/>
                  </a:cubicBezTo>
                  <a:lnTo>
                    <a:pt x="159" y="274"/>
                  </a:lnTo>
                  <a:close/>
                  <a:moveTo>
                    <a:pt x="159" y="338"/>
                  </a:moveTo>
                  <a:lnTo>
                    <a:pt x="162" y="341"/>
                  </a:lnTo>
                  <a:lnTo>
                    <a:pt x="165" y="341"/>
                  </a:lnTo>
                  <a:cubicBezTo>
                    <a:pt x="165" y="338"/>
                    <a:pt x="165" y="338"/>
                    <a:pt x="159" y="338"/>
                  </a:cubicBezTo>
                  <a:close/>
                  <a:moveTo>
                    <a:pt x="171" y="294"/>
                  </a:moveTo>
                  <a:cubicBezTo>
                    <a:pt x="168" y="291"/>
                    <a:pt x="168" y="291"/>
                    <a:pt x="165" y="291"/>
                  </a:cubicBezTo>
                  <a:lnTo>
                    <a:pt x="165" y="294"/>
                  </a:lnTo>
                  <a:lnTo>
                    <a:pt x="171" y="294"/>
                  </a:lnTo>
                  <a:close/>
                  <a:moveTo>
                    <a:pt x="165" y="363"/>
                  </a:moveTo>
                  <a:cubicBezTo>
                    <a:pt x="171" y="363"/>
                    <a:pt x="171" y="363"/>
                    <a:pt x="168" y="360"/>
                  </a:cubicBezTo>
                  <a:lnTo>
                    <a:pt x="165" y="363"/>
                  </a:lnTo>
                  <a:close/>
                  <a:moveTo>
                    <a:pt x="165" y="386"/>
                  </a:moveTo>
                  <a:cubicBezTo>
                    <a:pt x="168" y="386"/>
                    <a:pt x="171" y="386"/>
                    <a:pt x="171" y="389"/>
                  </a:cubicBezTo>
                  <a:cubicBezTo>
                    <a:pt x="171" y="386"/>
                    <a:pt x="171" y="380"/>
                    <a:pt x="165" y="386"/>
                  </a:cubicBezTo>
                  <a:close/>
                  <a:moveTo>
                    <a:pt x="182" y="374"/>
                  </a:moveTo>
                  <a:lnTo>
                    <a:pt x="176" y="374"/>
                  </a:lnTo>
                  <a:lnTo>
                    <a:pt x="176" y="377"/>
                  </a:lnTo>
                  <a:cubicBezTo>
                    <a:pt x="179" y="374"/>
                    <a:pt x="179" y="374"/>
                    <a:pt x="182" y="374"/>
                  </a:cubicBezTo>
                  <a:close/>
                  <a:moveTo>
                    <a:pt x="179" y="389"/>
                  </a:moveTo>
                  <a:lnTo>
                    <a:pt x="182" y="389"/>
                  </a:lnTo>
                  <a:lnTo>
                    <a:pt x="182" y="386"/>
                  </a:lnTo>
                  <a:cubicBezTo>
                    <a:pt x="182" y="386"/>
                    <a:pt x="179" y="386"/>
                    <a:pt x="179" y="389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32" name="Freeform 1459"/>
            <p:cNvSpPr>
              <a:spLocks noChangeArrowheads="1"/>
            </p:cNvSpPr>
            <p:nvPr/>
          </p:nvSpPr>
          <p:spPr bwMode="auto">
            <a:xfrm>
              <a:off x="4159250" y="2447925"/>
              <a:ext cx="74613" cy="176213"/>
            </a:xfrm>
            <a:custGeom>
              <a:avLst/>
              <a:gdLst>
                <a:gd name="T0" fmla="*/ 191 w 209"/>
                <a:gd name="T1" fmla="*/ 453 h 488"/>
                <a:gd name="T2" fmla="*/ 59 w 209"/>
                <a:gd name="T3" fmla="*/ 428 h 488"/>
                <a:gd name="T4" fmla="*/ 45 w 209"/>
                <a:gd name="T5" fmla="*/ 333 h 488"/>
                <a:gd name="T6" fmla="*/ 16 w 209"/>
                <a:gd name="T7" fmla="*/ 197 h 488"/>
                <a:gd name="T8" fmla="*/ 25 w 209"/>
                <a:gd name="T9" fmla="*/ 14 h 488"/>
                <a:gd name="T10" fmla="*/ 129 w 209"/>
                <a:gd name="T11" fmla="*/ 56 h 488"/>
                <a:gd name="T12" fmla="*/ 135 w 209"/>
                <a:gd name="T13" fmla="*/ 113 h 488"/>
                <a:gd name="T14" fmla="*/ 158 w 209"/>
                <a:gd name="T15" fmla="*/ 195 h 488"/>
                <a:gd name="T16" fmla="*/ 180 w 209"/>
                <a:gd name="T17" fmla="*/ 316 h 488"/>
                <a:gd name="T18" fmla="*/ 39 w 209"/>
                <a:gd name="T19" fmla="*/ 65 h 488"/>
                <a:gd name="T20" fmla="*/ 42 w 209"/>
                <a:gd name="T21" fmla="*/ 56 h 488"/>
                <a:gd name="T22" fmla="*/ 45 w 209"/>
                <a:gd name="T23" fmla="*/ 130 h 488"/>
                <a:gd name="T24" fmla="*/ 45 w 209"/>
                <a:gd name="T25" fmla="*/ 37 h 488"/>
                <a:gd name="T26" fmla="*/ 47 w 209"/>
                <a:gd name="T27" fmla="*/ 42 h 488"/>
                <a:gd name="T28" fmla="*/ 121 w 209"/>
                <a:gd name="T29" fmla="*/ 419 h 488"/>
                <a:gd name="T30" fmla="*/ 129 w 209"/>
                <a:gd name="T31" fmla="*/ 288 h 488"/>
                <a:gd name="T32" fmla="*/ 118 w 209"/>
                <a:gd name="T33" fmla="*/ 214 h 488"/>
                <a:gd name="T34" fmla="*/ 101 w 209"/>
                <a:gd name="T35" fmla="*/ 118 h 488"/>
                <a:gd name="T36" fmla="*/ 62 w 209"/>
                <a:gd name="T37" fmla="*/ 99 h 488"/>
                <a:gd name="T38" fmla="*/ 87 w 209"/>
                <a:gd name="T39" fmla="*/ 245 h 488"/>
                <a:gd name="T40" fmla="*/ 110 w 209"/>
                <a:gd name="T41" fmla="*/ 357 h 488"/>
                <a:gd name="T42" fmla="*/ 62 w 209"/>
                <a:gd name="T43" fmla="*/ 268 h 488"/>
                <a:gd name="T44" fmla="*/ 64 w 209"/>
                <a:gd name="T45" fmla="*/ 31 h 488"/>
                <a:gd name="T46" fmla="*/ 76 w 209"/>
                <a:gd name="T47" fmla="*/ 320 h 488"/>
                <a:gd name="T48" fmla="*/ 73 w 209"/>
                <a:gd name="T49" fmla="*/ 42 h 488"/>
                <a:gd name="T50" fmla="*/ 70 w 209"/>
                <a:gd name="T51" fmla="*/ 363 h 488"/>
                <a:gd name="T52" fmla="*/ 73 w 209"/>
                <a:gd name="T53" fmla="*/ 34 h 488"/>
                <a:gd name="T54" fmla="*/ 84 w 209"/>
                <a:gd name="T55" fmla="*/ 366 h 488"/>
                <a:gd name="T56" fmla="*/ 87 w 209"/>
                <a:gd name="T57" fmla="*/ 380 h 488"/>
                <a:gd name="T58" fmla="*/ 93 w 209"/>
                <a:gd name="T59" fmla="*/ 39 h 488"/>
                <a:gd name="T60" fmla="*/ 87 w 209"/>
                <a:gd name="T61" fmla="*/ 397 h 488"/>
                <a:gd name="T62" fmla="*/ 101 w 209"/>
                <a:gd name="T63" fmla="*/ 53 h 488"/>
                <a:gd name="T64" fmla="*/ 107 w 209"/>
                <a:gd name="T65" fmla="*/ 450 h 488"/>
                <a:gd name="T66" fmla="*/ 115 w 209"/>
                <a:gd name="T67" fmla="*/ 59 h 488"/>
                <a:gd name="T68" fmla="*/ 124 w 209"/>
                <a:gd name="T69" fmla="*/ 73 h 488"/>
                <a:gd name="T70" fmla="*/ 124 w 209"/>
                <a:gd name="T71" fmla="*/ 130 h 488"/>
                <a:gd name="T72" fmla="*/ 129 w 209"/>
                <a:gd name="T73" fmla="*/ 158 h 488"/>
                <a:gd name="T74" fmla="*/ 124 w 209"/>
                <a:gd name="T75" fmla="*/ 453 h 488"/>
                <a:gd name="T76" fmla="*/ 129 w 209"/>
                <a:gd name="T77" fmla="*/ 144 h 488"/>
                <a:gd name="T78" fmla="*/ 129 w 209"/>
                <a:gd name="T79" fmla="*/ 121 h 488"/>
                <a:gd name="T80" fmla="*/ 141 w 209"/>
                <a:gd name="T81" fmla="*/ 186 h 488"/>
                <a:gd name="T82" fmla="*/ 138 w 209"/>
                <a:gd name="T83" fmla="*/ 442 h 488"/>
                <a:gd name="T84" fmla="*/ 141 w 209"/>
                <a:gd name="T85" fmla="*/ 223 h 488"/>
                <a:gd name="T86" fmla="*/ 143 w 209"/>
                <a:gd name="T87" fmla="*/ 234 h 488"/>
                <a:gd name="T88" fmla="*/ 143 w 209"/>
                <a:gd name="T89" fmla="*/ 442 h 488"/>
                <a:gd name="T90" fmla="*/ 152 w 209"/>
                <a:gd name="T91" fmla="*/ 271 h 488"/>
                <a:gd name="T92" fmla="*/ 158 w 209"/>
                <a:gd name="T93" fmla="*/ 445 h 488"/>
                <a:gd name="T94" fmla="*/ 158 w 209"/>
                <a:gd name="T95" fmla="*/ 433 h 488"/>
                <a:gd name="T96" fmla="*/ 165 w 209"/>
                <a:gd name="T97" fmla="*/ 297 h 488"/>
                <a:gd name="T98" fmla="*/ 172 w 209"/>
                <a:gd name="T99" fmla="*/ 296 h 488"/>
                <a:gd name="T100" fmla="*/ 160 w 209"/>
                <a:gd name="T101" fmla="*/ 333 h 488"/>
                <a:gd name="T102" fmla="*/ 163 w 209"/>
                <a:gd name="T103" fmla="*/ 324 h 488"/>
                <a:gd name="T104" fmla="*/ 163 w 209"/>
                <a:gd name="T105" fmla="*/ 333 h 488"/>
                <a:gd name="T106" fmla="*/ 163 w 209"/>
                <a:gd name="T107" fmla="*/ 366 h 488"/>
                <a:gd name="T108" fmla="*/ 180 w 209"/>
                <a:gd name="T109" fmla="*/ 377 h 488"/>
                <a:gd name="T110" fmla="*/ 169 w 209"/>
                <a:gd name="T111" fmla="*/ 411 h 488"/>
                <a:gd name="T112" fmla="*/ 172 w 209"/>
                <a:gd name="T113" fmla="*/ 313 h 488"/>
                <a:gd name="T114" fmla="*/ 177 w 209"/>
                <a:gd name="T115" fmla="*/ 397 h 488"/>
                <a:gd name="T116" fmla="*/ 177 w 209"/>
                <a:gd name="T117" fmla="*/ 360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9" h="488">
                  <a:moveTo>
                    <a:pt x="200" y="344"/>
                  </a:moveTo>
                  <a:cubicBezTo>
                    <a:pt x="200" y="352"/>
                    <a:pt x="203" y="357"/>
                    <a:pt x="203" y="366"/>
                  </a:cubicBezTo>
                  <a:lnTo>
                    <a:pt x="203" y="371"/>
                  </a:lnTo>
                  <a:lnTo>
                    <a:pt x="203" y="383"/>
                  </a:lnTo>
                  <a:lnTo>
                    <a:pt x="203" y="388"/>
                  </a:lnTo>
                  <a:cubicBezTo>
                    <a:pt x="208" y="394"/>
                    <a:pt x="206" y="397"/>
                    <a:pt x="203" y="402"/>
                  </a:cubicBezTo>
                  <a:lnTo>
                    <a:pt x="203" y="416"/>
                  </a:lnTo>
                  <a:lnTo>
                    <a:pt x="203" y="430"/>
                  </a:lnTo>
                  <a:lnTo>
                    <a:pt x="203" y="436"/>
                  </a:lnTo>
                  <a:cubicBezTo>
                    <a:pt x="203" y="439"/>
                    <a:pt x="200" y="439"/>
                    <a:pt x="200" y="442"/>
                  </a:cubicBezTo>
                  <a:cubicBezTo>
                    <a:pt x="197" y="445"/>
                    <a:pt x="194" y="450"/>
                    <a:pt x="191" y="453"/>
                  </a:cubicBezTo>
                  <a:lnTo>
                    <a:pt x="186" y="462"/>
                  </a:lnTo>
                  <a:cubicBezTo>
                    <a:pt x="180" y="467"/>
                    <a:pt x="172" y="473"/>
                    <a:pt x="163" y="478"/>
                  </a:cubicBezTo>
                  <a:cubicBezTo>
                    <a:pt x="160" y="481"/>
                    <a:pt x="158" y="481"/>
                    <a:pt x="152" y="481"/>
                  </a:cubicBezTo>
                  <a:cubicBezTo>
                    <a:pt x="149" y="481"/>
                    <a:pt x="146" y="481"/>
                    <a:pt x="141" y="484"/>
                  </a:cubicBezTo>
                  <a:cubicBezTo>
                    <a:pt x="138" y="481"/>
                    <a:pt x="138" y="481"/>
                    <a:pt x="135" y="481"/>
                  </a:cubicBezTo>
                  <a:cubicBezTo>
                    <a:pt x="132" y="481"/>
                    <a:pt x="132" y="484"/>
                    <a:pt x="129" y="484"/>
                  </a:cubicBezTo>
                  <a:cubicBezTo>
                    <a:pt x="115" y="487"/>
                    <a:pt x="104" y="481"/>
                    <a:pt x="93" y="473"/>
                  </a:cubicBezTo>
                  <a:cubicBezTo>
                    <a:pt x="87" y="470"/>
                    <a:pt x="84" y="467"/>
                    <a:pt x="81" y="462"/>
                  </a:cubicBezTo>
                  <a:cubicBezTo>
                    <a:pt x="81" y="459"/>
                    <a:pt x="79" y="456"/>
                    <a:pt x="76" y="456"/>
                  </a:cubicBezTo>
                  <a:cubicBezTo>
                    <a:pt x="73" y="453"/>
                    <a:pt x="70" y="453"/>
                    <a:pt x="67" y="450"/>
                  </a:cubicBezTo>
                  <a:cubicBezTo>
                    <a:pt x="67" y="442"/>
                    <a:pt x="64" y="433"/>
                    <a:pt x="59" y="428"/>
                  </a:cubicBezTo>
                  <a:lnTo>
                    <a:pt x="59" y="422"/>
                  </a:lnTo>
                  <a:lnTo>
                    <a:pt x="59" y="419"/>
                  </a:lnTo>
                  <a:cubicBezTo>
                    <a:pt x="59" y="416"/>
                    <a:pt x="56" y="414"/>
                    <a:pt x="56" y="411"/>
                  </a:cubicBezTo>
                  <a:cubicBezTo>
                    <a:pt x="53" y="405"/>
                    <a:pt x="50" y="399"/>
                    <a:pt x="53" y="394"/>
                  </a:cubicBezTo>
                  <a:lnTo>
                    <a:pt x="53" y="385"/>
                  </a:lnTo>
                  <a:cubicBezTo>
                    <a:pt x="53" y="383"/>
                    <a:pt x="50" y="377"/>
                    <a:pt x="50" y="374"/>
                  </a:cubicBezTo>
                  <a:lnTo>
                    <a:pt x="47" y="368"/>
                  </a:lnTo>
                  <a:cubicBezTo>
                    <a:pt x="45" y="366"/>
                    <a:pt x="47" y="366"/>
                    <a:pt x="47" y="360"/>
                  </a:cubicBezTo>
                  <a:lnTo>
                    <a:pt x="47" y="354"/>
                  </a:lnTo>
                  <a:lnTo>
                    <a:pt x="47" y="347"/>
                  </a:lnTo>
                  <a:cubicBezTo>
                    <a:pt x="45" y="341"/>
                    <a:pt x="45" y="338"/>
                    <a:pt x="45" y="333"/>
                  </a:cubicBezTo>
                  <a:cubicBezTo>
                    <a:pt x="45" y="327"/>
                    <a:pt x="42" y="324"/>
                    <a:pt x="42" y="319"/>
                  </a:cubicBezTo>
                  <a:cubicBezTo>
                    <a:pt x="39" y="316"/>
                    <a:pt x="39" y="313"/>
                    <a:pt x="39" y="310"/>
                  </a:cubicBezTo>
                  <a:cubicBezTo>
                    <a:pt x="39" y="307"/>
                    <a:pt x="39" y="307"/>
                    <a:pt x="36" y="305"/>
                  </a:cubicBezTo>
                  <a:cubicBezTo>
                    <a:pt x="36" y="302"/>
                    <a:pt x="33" y="302"/>
                    <a:pt x="33" y="299"/>
                  </a:cubicBezTo>
                  <a:lnTo>
                    <a:pt x="33" y="293"/>
                  </a:lnTo>
                  <a:lnTo>
                    <a:pt x="31" y="271"/>
                  </a:lnTo>
                  <a:cubicBezTo>
                    <a:pt x="31" y="265"/>
                    <a:pt x="28" y="257"/>
                    <a:pt x="28" y="251"/>
                  </a:cubicBezTo>
                  <a:lnTo>
                    <a:pt x="28" y="242"/>
                  </a:lnTo>
                  <a:lnTo>
                    <a:pt x="25" y="226"/>
                  </a:lnTo>
                  <a:cubicBezTo>
                    <a:pt x="22" y="220"/>
                    <a:pt x="22" y="214"/>
                    <a:pt x="19" y="206"/>
                  </a:cubicBezTo>
                  <a:cubicBezTo>
                    <a:pt x="19" y="203"/>
                    <a:pt x="16" y="200"/>
                    <a:pt x="16" y="197"/>
                  </a:cubicBezTo>
                  <a:cubicBezTo>
                    <a:pt x="16" y="195"/>
                    <a:pt x="16" y="192"/>
                    <a:pt x="14" y="189"/>
                  </a:cubicBezTo>
                  <a:cubicBezTo>
                    <a:pt x="11" y="186"/>
                    <a:pt x="8" y="180"/>
                    <a:pt x="11" y="175"/>
                  </a:cubicBezTo>
                  <a:lnTo>
                    <a:pt x="11" y="161"/>
                  </a:lnTo>
                  <a:cubicBezTo>
                    <a:pt x="11" y="158"/>
                    <a:pt x="8" y="152"/>
                    <a:pt x="8" y="149"/>
                  </a:cubicBezTo>
                  <a:cubicBezTo>
                    <a:pt x="8" y="141"/>
                    <a:pt x="8" y="135"/>
                    <a:pt x="5" y="127"/>
                  </a:cubicBezTo>
                  <a:cubicBezTo>
                    <a:pt x="2" y="116"/>
                    <a:pt x="0" y="101"/>
                    <a:pt x="0" y="90"/>
                  </a:cubicBezTo>
                  <a:lnTo>
                    <a:pt x="0" y="65"/>
                  </a:lnTo>
                  <a:lnTo>
                    <a:pt x="0" y="56"/>
                  </a:lnTo>
                  <a:cubicBezTo>
                    <a:pt x="0" y="45"/>
                    <a:pt x="5" y="31"/>
                    <a:pt x="14" y="22"/>
                  </a:cubicBezTo>
                  <a:lnTo>
                    <a:pt x="22" y="14"/>
                  </a:lnTo>
                  <a:lnTo>
                    <a:pt x="25" y="14"/>
                  </a:lnTo>
                  <a:cubicBezTo>
                    <a:pt x="28" y="14"/>
                    <a:pt x="31" y="11"/>
                    <a:pt x="33" y="11"/>
                  </a:cubicBezTo>
                  <a:lnTo>
                    <a:pt x="42" y="8"/>
                  </a:lnTo>
                  <a:cubicBezTo>
                    <a:pt x="45" y="8"/>
                    <a:pt x="47" y="6"/>
                    <a:pt x="50" y="6"/>
                  </a:cubicBezTo>
                  <a:cubicBezTo>
                    <a:pt x="53" y="6"/>
                    <a:pt x="56" y="3"/>
                    <a:pt x="59" y="3"/>
                  </a:cubicBezTo>
                  <a:cubicBezTo>
                    <a:pt x="62" y="3"/>
                    <a:pt x="64" y="0"/>
                    <a:pt x="64" y="3"/>
                  </a:cubicBezTo>
                  <a:lnTo>
                    <a:pt x="81" y="6"/>
                  </a:lnTo>
                  <a:cubicBezTo>
                    <a:pt x="93" y="8"/>
                    <a:pt x="104" y="11"/>
                    <a:pt x="110" y="20"/>
                  </a:cubicBezTo>
                  <a:cubicBezTo>
                    <a:pt x="112" y="25"/>
                    <a:pt x="118" y="31"/>
                    <a:pt x="121" y="34"/>
                  </a:cubicBezTo>
                  <a:cubicBezTo>
                    <a:pt x="124" y="37"/>
                    <a:pt x="124" y="39"/>
                    <a:pt x="124" y="39"/>
                  </a:cubicBezTo>
                  <a:cubicBezTo>
                    <a:pt x="124" y="42"/>
                    <a:pt x="124" y="45"/>
                    <a:pt x="127" y="48"/>
                  </a:cubicBezTo>
                  <a:lnTo>
                    <a:pt x="129" y="56"/>
                  </a:lnTo>
                  <a:cubicBezTo>
                    <a:pt x="129" y="59"/>
                    <a:pt x="132" y="62"/>
                    <a:pt x="132" y="65"/>
                  </a:cubicBezTo>
                  <a:lnTo>
                    <a:pt x="132" y="70"/>
                  </a:lnTo>
                  <a:cubicBezTo>
                    <a:pt x="129" y="76"/>
                    <a:pt x="132" y="82"/>
                    <a:pt x="132" y="85"/>
                  </a:cubicBezTo>
                  <a:cubicBezTo>
                    <a:pt x="132" y="85"/>
                    <a:pt x="132" y="87"/>
                    <a:pt x="135" y="87"/>
                  </a:cubicBezTo>
                  <a:lnTo>
                    <a:pt x="135" y="93"/>
                  </a:lnTo>
                  <a:lnTo>
                    <a:pt x="135" y="96"/>
                  </a:lnTo>
                  <a:cubicBezTo>
                    <a:pt x="135" y="96"/>
                    <a:pt x="138" y="99"/>
                    <a:pt x="135" y="99"/>
                  </a:cubicBezTo>
                  <a:lnTo>
                    <a:pt x="135" y="101"/>
                  </a:lnTo>
                  <a:lnTo>
                    <a:pt x="135" y="107"/>
                  </a:lnTo>
                  <a:lnTo>
                    <a:pt x="135" y="110"/>
                  </a:lnTo>
                  <a:lnTo>
                    <a:pt x="135" y="113"/>
                  </a:lnTo>
                  <a:cubicBezTo>
                    <a:pt x="138" y="116"/>
                    <a:pt x="138" y="116"/>
                    <a:pt x="138" y="118"/>
                  </a:cubicBezTo>
                  <a:cubicBezTo>
                    <a:pt x="138" y="121"/>
                    <a:pt x="141" y="124"/>
                    <a:pt x="141" y="130"/>
                  </a:cubicBezTo>
                  <a:cubicBezTo>
                    <a:pt x="141" y="132"/>
                    <a:pt x="141" y="138"/>
                    <a:pt x="143" y="141"/>
                  </a:cubicBezTo>
                  <a:lnTo>
                    <a:pt x="143" y="144"/>
                  </a:lnTo>
                  <a:lnTo>
                    <a:pt x="143" y="147"/>
                  </a:lnTo>
                  <a:lnTo>
                    <a:pt x="146" y="149"/>
                  </a:lnTo>
                  <a:cubicBezTo>
                    <a:pt x="146" y="152"/>
                    <a:pt x="146" y="155"/>
                    <a:pt x="149" y="158"/>
                  </a:cubicBezTo>
                  <a:lnTo>
                    <a:pt x="149" y="169"/>
                  </a:lnTo>
                  <a:cubicBezTo>
                    <a:pt x="149" y="169"/>
                    <a:pt x="149" y="172"/>
                    <a:pt x="152" y="175"/>
                  </a:cubicBezTo>
                  <a:cubicBezTo>
                    <a:pt x="155" y="180"/>
                    <a:pt x="155" y="186"/>
                    <a:pt x="155" y="192"/>
                  </a:cubicBezTo>
                  <a:lnTo>
                    <a:pt x="158" y="195"/>
                  </a:lnTo>
                  <a:lnTo>
                    <a:pt x="158" y="200"/>
                  </a:lnTo>
                  <a:lnTo>
                    <a:pt x="160" y="220"/>
                  </a:lnTo>
                  <a:lnTo>
                    <a:pt x="160" y="226"/>
                  </a:lnTo>
                  <a:lnTo>
                    <a:pt x="160" y="237"/>
                  </a:lnTo>
                  <a:lnTo>
                    <a:pt x="160" y="242"/>
                  </a:lnTo>
                  <a:cubicBezTo>
                    <a:pt x="160" y="245"/>
                    <a:pt x="160" y="251"/>
                    <a:pt x="163" y="254"/>
                  </a:cubicBezTo>
                  <a:cubicBezTo>
                    <a:pt x="166" y="259"/>
                    <a:pt x="169" y="268"/>
                    <a:pt x="169" y="274"/>
                  </a:cubicBezTo>
                  <a:cubicBezTo>
                    <a:pt x="169" y="276"/>
                    <a:pt x="169" y="279"/>
                    <a:pt x="172" y="285"/>
                  </a:cubicBezTo>
                  <a:cubicBezTo>
                    <a:pt x="174" y="288"/>
                    <a:pt x="174" y="293"/>
                    <a:pt x="177" y="299"/>
                  </a:cubicBezTo>
                  <a:cubicBezTo>
                    <a:pt x="177" y="305"/>
                    <a:pt x="177" y="307"/>
                    <a:pt x="180" y="313"/>
                  </a:cubicBezTo>
                  <a:lnTo>
                    <a:pt x="180" y="316"/>
                  </a:lnTo>
                  <a:lnTo>
                    <a:pt x="180" y="321"/>
                  </a:lnTo>
                  <a:lnTo>
                    <a:pt x="180" y="324"/>
                  </a:lnTo>
                  <a:cubicBezTo>
                    <a:pt x="197" y="327"/>
                    <a:pt x="200" y="336"/>
                    <a:pt x="200" y="344"/>
                  </a:cubicBezTo>
                  <a:close/>
                  <a:moveTo>
                    <a:pt x="28" y="99"/>
                  </a:moveTo>
                  <a:cubicBezTo>
                    <a:pt x="31" y="101"/>
                    <a:pt x="31" y="101"/>
                    <a:pt x="33" y="101"/>
                  </a:cubicBezTo>
                  <a:lnTo>
                    <a:pt x="33" y="96"/>
                  </a:lnTo>
                  <a:lnTo>
                    <a:pt x="28" y="99"/>
                  </a:lnTo>
                  <a:close/>
                  <a:moveTo>
                    <a:pt x="39" y="68"/>
                  </a:moveTo>
                  <a:cubicBezTo>
                    <a:pt x="42" y="68"/>
                    <a:pt x="42" y="68"/>
                    <a:pt x="45" y="65"/>
                  </a:cubicBezTo>
                  <a:lnTo>
                    <a:pt x="42" y="65"/>
                  </a:lnTo>
                  <a:lnTo>
                    <a:pt x="39" y="65"/>
                  </a:lnTo>
                  <a:cubicBezTo>
                    <a:pt x="36" y="65"/>
                    <a:pt x="33" y="68"/>
                    <a:pt x="31" y="68"/>
                  </a:cubicBezTo>
                  <a:lnTo>
                    <a:pt x="31" y="70"/>
                  </a:lnTo>
                  <a:lnTo>
                    <a:pt x="39" y="68"/>
                  </a:lnTo>
                  <a:close/>
                  <a:moveTo>
                    <a:pt x="33" y="132"/>
                  </a:moveTo>
                  <a:lnTo>
                    <a:pt x="36" y="132"/>
                  </a:lnTo>
                  <a:cubicBezTo>
                    <a:pt x="36" y="132"/>
                    <a:pt x="36" y="130"/>
                    <a:pt x="33" y="127"/>
                  </a:cubicBezTo>
                  <a:lnTo>
                    <a:pt x="33" y="132"/>
                  </a:lnTo>
                  <a:close/>
                  <a:moveTo>
                    <a:pt x="36" y="59"/>
                  </a:moveTo>
                  <a:lnTo>
                    <a:pt x="42" y="59"/>
                  </a:lnTo>
                  <a:cubicBezTo>
                    <a:pt x="42" y="62"/>
                    <a:pt x="45" y="62"/>
                    <a:pt x="47" y="59"/>
                  </a:cubicBezTo>
                  <a:cubicBezTo>
                    <a:pt x="45" y="59"/>
                    <a:pt x="45" y="56"/>
                    <a:pt x="42" y="56"/>
                  </a:cubicBezTo>
                  <a:cubicBezTo>
                    <a:pt x="39" y="56"/>
                    <a:pt x="39" y="53"/>
                    <a:pt x="36" y="53"/>
                  </a:cubicBezTo>
                  <a:lnTo>
                    <a:pt x="36" y="59"/>
                  </a:lnTo>
                  <a:close/>
                  <a:moveTo>
                    <a:pt x="42" y="172"/>
                  </a:moveTo>
                  <a:lnTo>
                    <a:pt x="39" y="169"/>
                  </a:lnTo>
                  <a:cubicBezTo>
                    <a:pt x="36" y="175"/>
                    <a:pt x="39" y="175"/>
                    <a:pt x="42" y="172"/>
                  </a:cubicBezTo>
                  <a:close/>
                  <a:moveTo>
                    <a:pt x="39" y="48"/>
                  </a:moveTo>
                  <a:cubicBezTo>
                    <a:pt x="42" y="48"/>
                    <a:pt x="42" y="45"/>
                    <a:pt x="45" y="45"/>
                  </a:cubicBezTo>
                  <a:cubicBezTo>
                    <a:pt x="42" y="45"/>
                    <a:pt x="42" y="42"/>
                    <a:pt x="39" y="39"/>
                  </a:cubicBezTo>
                  <a:lnTo>
                    <a:pt x="39" y="48"/>
                  </a:lnTo>
                  <a:close/>
                  <a:moveTo>
                    <a:pt x="47" y="135"/>
                  </a:moveTo>
                  <a:cubicBezTo>
                    <a:pt x="47" y="135"/>
                    <a:pt x="47" y="132"/>
                    <a:pt x="45" y="130"/>
                  </a:cubicBezTo>
                  <a:lnTo>
                    <a:pt x="42" y="135"/>
                  </a:lnTo>
                  <a:lnTo>
                    <a:pt x="47" y="135"/>
                  </a:lnTo>
                  <a:close/>
                  <a:moveTo>
                    <a:pt x="45" y="186"/>
                  </a:moveTo>
                  <a:lnTo>
                    <a:pt x="47" y="186"/>
                  </a:lnTo>
                  <a:lnTo>
                    <a:pt x="47" y="183"/>
                  </a:lnTo>
                  <a:cubicBezTo>
                    <a:pt x="47" y="183"/>
                    <a:pt x="45" y="183"/>
                    <a:pt x="45" y="186"/>
                  </a:cubicBezTo>
                  <a:close/>
                  <a:moveTo>
                    <a:pt x="45" y="172"/>
                  </a:moveTo>
                  <a:lnTo>
                    <a:pt x="47" y="172"/>
                  </a:lnTo>
                  <a:lnTo>
                    <a:pt x="47" y="169"/>
                  </a:lnTo>
                  <a:lnTo>
                    <a:pt x="45" y="172"/>
                  </a:lnTo>
                  <a:close/>
                  <a:moveTo>
                    <a:pt x="45" y="37"/>
                  </a:moveTo>
                  <a:lnTo>
                    <a:pt x="47" y="39"/>
                  </a:lnTo>
                  <a:lnTo>
                    <a:pt x="50" y="39"/>
                  </a:lnTo>
                  <a:lnTo>
                    <a:pt x="47" y="37"/>
                  </a:lnTo>
                  <a:lnTo>
                    <a:pt x="45" y="37"/>
                  </a:lnTo>
                  <a:close/>
                  <a:moveTo>
                    <a:pt x="47" y="42"/>
                  </a:moveTo>
                  <a:cubicBezTo>
                    <a:pt x="50" y="45"/>
                    <a:pt x="50" y="48"/>
                    <a:pt x="53" y="51"/>
                  </a:cubicBezTo>
                  <a:cubicBezTo>
                    <a:pt x="56" y="48"/>
                    <a:pt x="56" y="46"/>
                    <a:pt x="58" y="41"/>
                  </a:cubicBezTo>
                  <a:cubicBezTo>
                    <a:pt x="58" y="42"/>
                    <a:pt x="58" y="42"/>
                    <a:pt x="59" y="42"/>
                  </a:cubicBezTo>
                  <a:lnTo>
                    <a:pt x="64" y="37"/>
                  </a:lnTo>
                  <a:cubicBezTo>
                    <a:pt x="58" y="37"/>
                    <a:pt x="57" y="38"/>
                    <a:pt x="57" y="40"/>
                  </a:cubicBezTo>
                  <a:lnTo>
                    <a:pt x="47" y="42"/>
                  </a:lnTo>
                  <a:close/>
                  <a:moveTo>
                    <a:pt x="59" y="39"/>
                  </a:moveTo>
                  <a:lnTo>
                    <a:pt x="57" y="40"/>
                  </a:lnTo>
                  <a:lnTo>
                    <a:pt x="58" y="41"/>
                  </a:lnTo>
                  <a:cubicBezTo>
                    <a:pt x="58" y="41"/>
                    <a:pt x="58" y="40"/>
                    <a:pt x="59" y="39"/>
                  </a:cubicBezTo>
                  <a:close/>
                  <a:moveTo>
                    <a:pt x="56" y="209"/>
                  </a:moveTo>
                  <a:lnTo>
                    <a:pt x="50" y="209"/>
                  </a:lnTo>
                  <a:lnTo>
                    <a:pt x="50" y="211"/>
                  </a:lnTo>
                  <a:lnTo>
                    <a:pt x="53" y="211"/>
                  </a:lnTo>
                  <a:lnTo>
                    <a:pt x="56" y="209"/>
                  </a:lnTo>
                  <a:close/>
                  <a:moveTo>
                    <a:pt x="115" y="414"/>
                  </a:moveTo>
                  <a:lnTo>
                    <a:pt x="121" y="419"/>
                  </a:lnTo>
                  <a:cubicBezTo>
                    <a:pt x="124" y="422"/>
                    <a:pt x="127" y="422"/>
                    <a:pt x="127" y="425"/>
                  </a:cubicBezTo>
                  <a:lnTo>
                    <a:pt x="138" y="422"/>
                  </a:lnTo>
                  <a:cubicBezTo>
                    <a:pt x="143" y="414"/>
                    <a:pt x="146" y="402"/>
                    <a:pt x="143" y="391"/>
                  </a:cubicBezTo>
                  <a:lnTo>
                    <a:pt x="143" y="385"/>
                  </a:lnTo>
                  <a:lnTo>
                    <a:pt x="143" y="380"/>
                  </a:lnTo>
                  <a:cubicBezTo>
                    <a:pt x="143" y="368"/>
                    <a:pt x="144" y="369"/>
                    <a:pt x="141" y="363"/>
                  </a:cubicBezTo>
                  <a:cubicBezTo>
                    <a:pt x="139" y="358"/>
                    <a:pt x="138" y="353"/>
                    <a:pt x="138" y="350"/>
                  </a:cubicBezTo>
                  <a:lnTo>
                    <a:pt x="138" y="336"/>
                  </a:lnTo>
                  <a:cubicBezTo>
                    <a:pt x="135" y="333"/>
                    <a:pt x="135" y="327"/>
                    <a:pt x="135" y="324"/>
                  </a:cubicBezTo>
                  <a:cubicBezTo>
                    <a:pt x="135" y="321"/>
                    <a:pt x="135" y="316"/>
                    <a:pt x="132" y="313"/>
                  </a:cubicBezTo>
                  <a:lnTo>
                    <a:pt x="129" y="288"/>
                  </a:lnTo>
                  <a:lnTo>
                    <a:pt x="129" y="282"/>
                  </a:lnTo>
                  <a:lnTo>
                    <a:pt x="129" y="276"/>
                  </a:lnTo>
                  <a:lnTo>
                    <a:pt x="129" y="271"/>
                  </a:lnTo>
                  <a:cubicBezTo>
                    <a:pt x="129" y="268"/>
                    <a:pt x="127" y="268"/>
                    <a:pt x="127" y="265"/>
                  </a:cubicBezTo>
                  <a:lnTo>
                    <a:pt x="124" y="254"/>
                  </a:lnTo>
                  <a:lnTo>
                    <a:pt x="124" y="251"/>
                  </a:lnTo>
                  <a:lnTo>
                    <a:pt x="124" y="248"/>
                  </a:lnTo>
                  <a:lnTo>
                    <a:pt x="118" y="242"/>
                  </a:lnTo>
                  <a:lnTo>
                    <a:pt x="118" y="237"/>
                  </a:lnTo>
                  <a:lnTo>
                    <a:pt x="118" y="226"/>
                  </a:lnTo>
                  <a:lnTo>
                    <a:pt x="118" y="214"/>
                  </a:lnTo>
                  <a:cubicBezTo>
                    <a:pt x="118" y="211"/>
                    <a:pt x="118" y="206"/>
                    <a:pt x="115" y="203"/>
                  </a:cubicBezTo>
                  <a:cubicBezTo>
                    <a:pt x="112" y="200"/>
                    <a:pt x="110" y="195"/>
                    <a:pt x="110" y="192"/>
                  </a:cubicBezTo>
                  <a:lnTo>
                    <a:pt x="110" y="186"/>
                  </a:lnTo>
                  <a:lnTo>
                    <a:pt x="110" y="172"/>
                  </a:lnTo>
                  <a:lnTo>
                    <a:pt x="110" y="166"/>
                  </a:lnTo>
                  <a:cubicBezTo>
                    <a:pt x="110" y="164"/>
                    <a:pt x="110" y="164"/>
                    <a:pt x="107" y="161"/>
                  </a:cubicBezTo>
                  <a:cubicBezTo>
                    <a:pt x="107" y="158"/>
                    <a:pt x="104" y="155"/>
                    <a:pt x="101" y="152"/>
                  </a:cubicBezTo>
                  <a:cubicBezTo>
                    <a:pt x="98" y="149"/>
                    <a:pt x="98" y="147"/>
                    <a:pt x="101" y="144"/>
                  </a:cubicBezTo>
                  <a:lnTo>
                    <a:pt x="101" y="135"/>
                  </a:lnTo>
                  <a:lnTo>
                    <a:pt x="101" y="127"/>
                  </a:lnTo>
                  <a:cubicBezTo>
                    <a:pt x="104" y="124"/>
                    <a:pt x="101" y="121"/>
                    <a:pt x="101" y="118"/>
                  </a:cubicBezTo>
                  <a:cubicBezTo>
                    <a:pt x="98" y="118"/>
                    <a:pt x="98" y="116"/>
                    <a:pt x="98" y="113"/>
                  </a:cubicBezTo>
                  <a:lnTo>
                    <a:pt x="98" y="107"/>
                  </a:lnTo>
                  <a:lnTo>
                    <a:pt x="95" y="93"/>
                  </a:lnTo>
                  <a:cubicBezTo>
                    <a:pt x="95" y="87"/>
                    <a:pt x="93" y="82"/>
                    <a:pt x="90" y="76"/>
                  </a:cubicBezTo>
                  <a:cubicBezTo>
                    <a:pt x="90" y="73"/>
                    <a:pt x="87" y="73"/>
                    <a:pt x="84" y="70"/>
                  </a:cubicBezTo>
                  <a:cubicBezTo>
                    <a:pt x="81" y="70"/>
                    <a:pt x="81" y="68"/>
                    <a:pt x="79" y="65"/>
                  </a:cubicBezTo>
                  <a:lnTo>
                    <a:pt x="67" y="68"/>
                  </a:lnTo>
                  <a:lnTo>
                    <a:pt x="64" y="70"/>
                  </a:lnTo>
                  <a:lnTo>
                    <a:pt x="62" y="73"/>
                  </a:lnTo>
                  <a:cubicBezTo>
                    <a:pt x="62" y="76"/>
                    <a:pt x="62" y="82"/>
                    <a:pt x="59" y="85"/>
                  </a:cubicBezTo>
                  <a:cubicBezTo>
                    <a:pt x="56" y="90"/>
                    <a:pt x="59" y="93"/>
                    <a:pt x="62" y="99"/>
                  </a:cubicBezTo>
                  <a:lnTo>
                    <a:pt x="70" y="144"/>
                  </a:lnTo>
                  <a:lnTo>
                    <a:pt x="70" y="161"/>
                  </a:lnTo>
                  <a:cubicBezTo>
                    <a:pt x="70" y="164"/>
                    <a:pt x="70" y="166"/>
                    <a:pt x="73" y="166"/>
                  </a:cubicBezTo>
                  <a:cubicBezTo>
                    <a:pt x="76" y="172"/>
                    <a:pt x="79" y="178"/>
                    <a:pt x="76" y="180"/>
                  </a:cubicBezTo>
                  <a:cubicBezTo>
                    <a:pt x="76" y="183"/>
                    <a:pt x="76" y="189"/>
                    <a:pt x="79" y="192"/>
                  </a:cubicBezTo>
                  <a:lnTo>
                    <a:pt x="79" y="197"/>
                  </a:lnTo>
                  <a:cubicBezTo>
                    <a:pt x="81" y="203"/>
                    <a:pt x="84" y="211"/>
                    <a:pt x="81" y="220"/>
                  </a:cubicBezTo>
                  <a:cubicBezTo>
                    <a:pt x="81" y="226"/>
                    <a:pt x="81" y="231"/>
                    <a:pt x="84" y="234"/>
                  </a:cubicBezTo>
                  <a:lnTo>
                    <a:pt x="84" y="237"/>
                  </a:lnTo>
                  <a:lnTo>
                    <a:pt x="84" y="240"/>
                  </a:lnTo>
                  <a:cubicBezTo>
                    <a:pt x="84" y="242"/>
                    <a:pt x="87" y="242"/>
                    <a:pt x="87" y="245"/>
                  </a:cubicBezTo>
                  <a:cubicBezTo>
                    <a:pt x="87" y="248"/>
                    <a:pt x="90" y="254"/>
                    <a:pt x="90" y="257"/>
                  </a:cubicBezTo>
                  <a:cubicBezTo>
                    <a:pt x="90" y="259"/>
                    <a:pt x="90" y="262"/>
                    <a:pt x="93" y="262"/>
                  </a:cubicBezTo>
                  <a:cubicBezTo>
                    <a:pt x="95" y="268"/>
                    <a:pt x="95" y="274"/>
                    <a:pt x="93" y="279"/>
                  </a:cubicBezTo>
                  <a:cubicBezTo>
                    <a:pt x="95" y="282"/>
                    <a:pt x="95" y="288"/>
                    <a:pt x="98" y="290"/>
                  </a:cubicBezTo>
                  <a:lnTo>
                    <a:pt x="98" y="296"/>
                  </a:lnTo>
                  <a:lnTo>
                    <a:pt x="98" y="302"/>
                  </a:lnTo>
                  <a:cubicBezTo>
                    <a:pt x="98" y="305"/>
                    <a:pt x="101" y="305"/>
                    <a:pt x="101" y="307"/>
                  </a:cubicBezTo>
                  <a:cubicBezTo>
                    <a:pt x="101" y="313"/>
                    <a:pt x="104" y="316"/>
                    <a:pt x="104" y="319"/>
                  </a:cubicBezTo>
                  <a:lnTo>
                    <a:pt x="104" y="321"/>
                  </a:lnTo>
                  <a:lnTo>
                    <a:pt x="104" y="324"/>
                  </a:lnTo>
                  <a:cubicBezTo>
                    <a:pt x="104" y="336"/>
                    <a:pt x="104" y="347"/>
                    <a:pt x="110" y="357"/>
                  </a:cubicBezTo>
                  <a:cubicBezTo>
                    <a:pt x="110" y="360"/>
                    <a:pt x="112" y="366"/>
                    <a:pt x="112" y="368"/>
                  </a:cubicBezTo>
                  <a:lnTo>
                    <a:pt x="112" y="380"/>
                  </a:lnTo>
                  <a:cubicBezTo>
                    <a:pt x="110" y="385"/>
                    <a:pt x="112" y="391"/>
                    <a:pt x="112" y="397"/>
                  </a:cubicBezTo>
                  <a:cubicBezTo>
                    <a:pt x="115" y="399"/>
                    <a:pt x="115" y="405"/>
                    <a:pt x="115" y="408"/>
                  </a:cubicBezTo>
                  <a:cubicBezTo>
                    <a:pt x="112" y="405"/>
                    <a:pt x="115" y="408"/>
                    <a:pt x="115" y="414"/>
                  </a:cubicBezTo>
                  <a:close/>
                  <a:moveTo>
                    <a:pt x="56" y="259"/>
                  </a:moveTo>
                  <a:lnTo>
                    <a:pt x="59" y="257"/>
                  </a:lnTo>
                  <a:lnTo>
                    <a:pt x="59" y="254"/>
                  </a:lnTo>
                  <a:lnTo>
                    <a:pt x="59" y="251"/>
                  </a:lnTo>
                  <a:cubicBezTo>
                    <a:pt x="59" y="254"/>
                    <a:pt x="56" y="254"/>
                    <a:pt x="56" y="259"/>
                  </a:cubicBezTo>
                  <a:close/>
                  <a:moveTo>
                    <a:pt x="62" y="268"/>
                  </a:moveTo>
                  <a:cubicBezTo>
                    <a:pt x="62" y="271"/>
                    <a:pt x="64" y="274"/>
                    <a:pt x="67" y="274"/>
                  </a:cubicBezTo>
                  <a:cubicBezTo>
                    <a:pt x="67" y="271"/>
                    <a:pt x="64" y="268"/>
                    <a:pt x="62" y="268"/>
                  </a:cubicBezTo>
                  <a:cubicBezTo>
                    <a:pt x="64" y="265"/>
                    <a:pt x="64" y="265"/>
                    <a:pt x="64" y="262"/>
                  </a:cubicBezTo>
                  <a:lnTo>
                    <a:pt x="64" y="257"/>
                  </a:lnTo>
                  <a:cubicBezTo>
                    <a:pt x="62" y="259"/>
                    <a:pt x="59" y="259"/>
                    <a:pt x="59" y="262"/>
                  </a:cubicBezTo>
                  <a:cubicBezTo>
                    <a:pt x="62" y="262"/>
                    <a:pt x="62" y="265"/>
                    <a:pt x="62" y="268"/>
                  </a:cubicBezTo>
                  <a:close/>
                  <a:moveTo>
                    <a:pt x="67" y="299"/>
                  </a:moveTo>
                  <a:cubicBezTo>
                    <a:pt x="64" y="296"/>
                    <a:pt x="64" y="299"/>
                    <a:pt x="62" y="299"/>
                  </a:cubicBezTo>
                  <a:lnTo>
                    <a:pt x="67" y="299"/>
                  </a:lnTo>
                  <a:close/>
                  <a:moveTo>
                    <a:pt x="64" y="31"/>
                  </a:moveTo>
                  <a:cubicBezTo>
                    <a:pt x="64" y="31"/>
                    <a:pt x="67" y="31"/>
                    <a:pt x="64" y="31"/>
                  </a:cubicBezTo>
                  <a:lnTo>
                    <a:pt x="70" y="31"/>
                  </a:lnTo>
                  <a:lnTo>
                    <a:pt x="70" y="28"/>
                  </a:lnTo>
                  <a:lnTo>
                    <a:pt x="70" y="25"/>
                  </a:lnTo>
                  <a:cubicBezTo>
                    <a:pt x="67" y="25"/>
                    <a:pt x="67" y="28"/>
                    <a:pt x="67" y="28"/>
                  </a:cubicBezTo>
                  <a:cubicBezTo>
                    <a:pt x="67" y="28"/>
                    <a:pt x="64" y="28"/>
                    <a:pt x="64" y="31"/>
                  </a:cubicBezTo>
                  <a:close/>
                  <a:moveTo>
                    <a:pt x="67" y="279"/>
                  </a:moveTo>
                  <a:cubicBezTo>
                    <a:pt x="70" y="282"/>
                    <a:pt x="70" y="282"/>
                    <a:pt x="70" y="285"/>
                  </a:cubicBezTo>
                  <a:cubicBezTo>
                    <a:pt x="73" y="288"/>
                    <a:pt x="73" y="290"/>
                    <a:pt x="73" y="293"/>
                  </a:cubicBezTo>
                  <a:cubicBezTo>
                    <a:pt x="73" y="285"/>
                    <a:pt x="73" y="282"/>
                    <a:pt x="67" y="279"/>
                  </a:cubicBezTo>
                  <a:close/>
                  <a:moveTo>
                    <a:pt x="73" y="319"/>
                  </a:moveTo>
                  <a:cubicBezTo>
                    <a:pt x="73" y="319"/>
                    <a:pt x="75" y="319"/>
                    <a:pt x="76" y="320"/>
                  </a:cubicBezTo>
                  <a:lnTo>
                    <a:pt x="73" y="305"/>
                  </a:lnTo>
                  <a:lnTo>
                    <a:pt x="70" y="305"/>
                  </a:lnTo>
                  <a:lnTo>
                    <a:pt x="67" y="305"/>
                  </a:lnTo>
                  <a:lnTo>
                    <a:pt x="70" y="307"/>
                  </a:lnTo>
                  <a:cubicBezTo>
                    <a:pt x="70" y="307"/>
                    <a:pt x="70" y="310"/>
                    <a:pt x="73" y="310"/>
                  </a:cubicBezTo>
                  <a:cubicBezTo>
                    <a:pt x="70" y="313"/>
                    <a:pt x="70" y="313"/>
                    <a:pt x="67" y="313"/>
                  </a:cubicBezTo>
                  <a:lnTo>
                    <a:pt x="73" y="319"/>
                  </a:lnTo>
                  <a:close/>
                  <a:moveTo>
                    <a:pt x="67" y="34"/>
                  </a:moveTo>
                  <a:lnTo>
                    <a:pt x="67" y="39"/>
                  </a:lnTo>
                  <a:cubicBezTo>
                    <a:pt x="70" y="39"/>
                    <a:pt x="72" y="39"/>
                    <a:pt x="75" y="42"/>
                  </a:cubicBezTo>
                  <a:cubicBezTo>
                    <a:pt x="74" y="42"/>
                    <a:pt x="74" y="42"/>
                    <a:pt x="73" y="42"/>
                  </a:cubicBezTo>
                  <a:lnTo>
                    <a:pt x="79" y="48"/>
                  </a:lnTo>
                  <a:cubicBezTo>
                    <a:pt x="79" y="45"/>
                    <a:pt x="81" y="45"/>
                    <a:pt x="81" y="42"/>
                  </a:cubicBezTo>
                  <a:cubicBezTo>
                    <a:pt x="84" y="42"/>
                    <a:pt x="84" y="39"/>
                    <a:pt x="84" y="37"/>
                  </a:cubicBezTo>
                  <a:lnTo>
                    <a:pt x="79" y="39"/>
                  </a:lnTo>
                  <a:cubicBezTo>
                    <a:pt x="77" y="39"/>
                    <a:pt x="77" y="40"/>
                    <a:pt x="76" y="41"/>
                  </a:cubicBezTo>
                  <a:cubicBezTo>
                    <a:pt x="76" y="41"/>
                    <a:pt x="75" y="41"/>
                    <a:pt x="75" y="42"/>
                  </a:cubicBezTo>
                  <a:cubicBezTo>
                    <a:pt x="75" y="42"/>
                    <a:pt x="75" y="42"/>
                    <a:pt x="76" y="42"/>
                  </a:cubicBezTo>
                  <a:cubicBezTo>
                    <a:pt x="76" y="41"/>
                    <a:pt x="76" y="40"/>
                    <a:pt x="76" y="41"/>
                  </a:cubicBezTo>
                  <a:lnTo>
                    <a:pt x="76" y="39"/>
                  </a:lnTo>
                  <a:cubicBezTo>
                    <a:pt x="76" y="39"/>
                    <a:pt x="73" y="34"/>
                    <a:pt x="67" y="34"/>
                  </a:cubicBezTo>
                  <a:close/>
                  <a:moveTo>
                    <a:pt x="70" y="363"/>
                  </a:moveTo>
                  <a:cubicBezTo>
                    <a:pt x="73" y="366"/>
                    <a:pt x="73" y="366"/>
                    <a:pt x="73" y="368"/>
                  </a:cubicBezTo>
                  <a:lnTo>
                    <a:pt x="73" y="366"/>
                  </a:lnTo>
                  <a:lnTo>
                    <a:pt x="70" y="363"/>
                  </a:lnTo>
                  <a:close/>
                  <a:moveTo>
                    <a:pt x="73" y="380"/>
                  </a:moveTo>
                  <a:lnTo>
                    <a:pt x="76" y="380"/>
                  </a:lnTo>
                  <a:cubicBezTo>
                    <a:pt x="76" y="377"/>
                    <a:pt x="73" y="377"/>
                    <a:pt x="73" y="380"/>
                  </a:cubicBezTo>
                  <a:close/>
                  <a:moveTo>
                    <a:pt x="73" y="34"/>
                  </a:moveTo>
                  <a:cubicBezTo>
                    <a:pt x="76" y="34"/>
                    <a:pt x="79" y="37"/>
                    <a:pt x="84" y="37"/>
                  </a:cubicBezTo>
                  <a:lnTo>
                    <a:pt x="84" y="34"/>
                  </a:lnTo>
                  <a:lnTo>
                    <a:pt x="76" y="31"/>
                  </a:lnTo>
                  <a:lnTo>
                    <a:pt x="73" y="34"/>
                  </a:lnTo>
                  <a:close/>
                  <a:moveTo>
                    <a:pt x="81" y="336"/>
                  </a:moveTo>
                  <a:lnTo>
                    <a:pt x="76" y="336"/>
                  </a:lnTo>
                  <a:lnTo>
                    <a:pt x="76" y="338"/>
                  </a:lnTo>
                  <a:cubicBezTo>
                    <a:pt x="79" y="338"/>
                    <a:pt x="81" y="338"/>
                    <a:pt x="81" y="336"/>
                  </a:cubicBezTo>
                  <a:close/>
                  <a:moveTo>
                    <a:pt x="84" y="391"/>
                  </a:moveTo>
                  <a:lnTo>
                    <a:pt x="79" y="391"/>
                  </a:lnTo>
                  <a:lnTo>
                    <a:pt x="76" y="394"/>
                  </a:lnTo>
                  <a:cubicBezTo>
                    <a:pt x="76" y="397"/>
                    <a:pt x="79" y="397"/>
                    <a:pt x="79" y="399"/>
                  </a:cubicBezTo>
                  <a:cubicBezTo>
                    <a:pt x="81" y="397"/>
                    <a:pt x="84" y="394"/>
                    <a:pt x="84" y="391"/>
                  </a:cubicBezTo>
                  <a:close/>
                  <a:moveTo>
                    <a:pt x="79" y="366"/>
                  </a:moveTo>
                  <a:lnTo>
                    <a:pt x="84" y="366"/>
                  </a:lnTo>
                  <a:lnTo>
                    <a:pt x="84" y="360"/>
                  </a:lnTo>
                  <a:cubicBezTo>
                    <a:pt x="84" y="360"/>
                    <a:pt x="84" y="363"/>
                    <a:pt x="81" y="363"/>
                  </a:cubicBezTo>
                  <a:cubicBezTo>
                    <a:pt x="81" y="363"/>
                    <a:pt x="81" y="363"/>
                    <a:pt x="79" y="366"/>
                  </a:cubicBezTo>
                  <a:close/>
                  <a:moveTo>
                    <a:pt x="81" y="357"/>
                  </a:moveTo>
                  <a:lnTo>
                    <a:pt x="87" y="357"/>
                  </a:lnTo>
                  <a:lnTo>
                    <a:pt x="87" y="354"/>
                  </a:lnTo>
                  <a:cubicBezTo>
                    <a:pt x="84" y="357"/>
                    <a:pt x="81" y="357"/>
                    <a:pt x="81" y="357"/>
                  </a:cubicBezTo>
                  <a:close/>
                  <a:moveTo>
                    <a:pt x="90" y="377"/>
                  </a:moveTo>
                  <a:cubicBezTo>
                    <a:pt x="90" y="374"/>
                    <a:pt x="87" y="374"/>
                    <a:pt x="87" y="374"/>
                  </a:cubicBezTo>
                  <a:lnTo>
                    <a:pt x="84" y="377"/>
                  </a:lnTo>
                  <a:lnTo>
                    <a:pt x="87" y="380"/>
                  </a:lnTo>
                  <a:lnTo>
                    <a:pt x="90" y="380"/>
                  </a:lnTo>
                  <a:lnTo>
                    <a:pt x="90" y="377"/>
                  </a:lnTo>
                  <a:close/>
                  <a:moveTo>
                    <a:pt x="95" y="39"/>
                  </a:moveTo>
                  <a:lnTo>
                    <a:pt x="93" y="45"/>
                  </a:lnTo>
                  <a:cubicBezTo>
                    <a:pt x="93" y="47"/>
                    <a:pt x="92" y="47"/>
                    <a:pt x="91" y="48"/>
                  </a:cubicBezTo>
                  <a:cubicBezTo>
                    <a:pt x="92" y="48"/>
                    <a:pt x="93" y="49"/>
                    <a:pt x="93" y="51"/>
                  </a:cubicBezTo>
                  <a:cubicBezTo>
                    <a:pt x="93" y="48"/>
                    <a:pt x="95" y="48"/>
                    <a:pt x="95" y="45"/>
                  </a:cubicBezTo>
                  <a:cubicBezTo>
                    <a:pt x="95" y="42"/>
                    <a:pt x="98" y="42"/>
                    <a:pt x="98" y="39"/>
                  </a:cubicBezTo>
                  <a:lnTo>
                    <a:pt x="95" y="39"/>
                  </a:lnTo>
                  <a:lnTo>
                    <a:pt x="93" y="34"/>
                  </a:lnTo>
                  <a:cubicBezTo>
                    <a:pt x="90" y="35"/>
                    <a:pt x="90" y="37"/>
                    <a:pt x="93" y="39"/>
                  </a:cubicBezTo>
                  <a:lnTo>
                    <a:pt x="92" y="40"/>
                  </a:lnTo>
                  <a:cubicBezTo>
                    <a:pt x="93" y="39"/>
                    <a:pt x="94" y="39"/>
                    <a:pt x="95" y="39"/>
                  </a:cubicBezTo>
                  <a:close/>
                  <a:moveTo>
                    <a:pt x="101" y="42"/>
                  </a:moveTo>
                  <a:lnTo>
                    <a:pt x="104" y="42"/>
                  </a:lnTo>
                  <a:lnTo>
                    <a:pt x="107" y="42"/>
                  </a:lnTo>
                  <a:lnTo>
                    <a:pt x="107" y="39"/>
                  </a:lnTo>
                  <a:lnTo>
                    <a:pt x="104" y="39"/>
                  </a:lnTo>
                  <a:lnTo>
                    <a:pt x="101" y="39"/>
                  </a:lnTo>
                  <a:lnTo>
                    <a:pt x="101" y="42"/>
                  </a:lnTo>
                  <a:close/>
                  <a:moveTo>
                    <a:pt x="90" y="394"/>
                  </a:moveTo>
                  <a:cubicBezTo>
                    <a:pt x="87" y="394"/>
                    <a:pt x="87" y="397"/>
                    <a:pt x="87" y="397"/>
                  </a:cubicBezTo>
                  <a:lnTo>
                    <a:pt x="90" y="394"/>
                  </a:lnTo>
                  <a:close/>
                  <a:moveTo>
                    <a:pt x="93" y="430"/>
                  </a:moveTo>
                  <a:cubicBezTo>
                    <a:pt x="93" y="428"/>
                    <a:pt x="95" y="428"/>
                    <a:pt x="95" y="428"/>
                  </a:cubicBezTo>
                  <a:lnTo>
                    <a:pt x="90" y="422"/>
                  </a:lnTo>
                  <a:cubicBezTo>
                    <a:pt x="93" y="428"/>
                    <a:pt x="93" y="430"/>
                    <a:pt x="93" y="430"/>
                  </a:cubicBezTo>
                  <a:close/>
                  <a:moveTo>
                    <a:pt x="93" y="408"/>
                  </a:moveTo>
                  <a:lnTo>
                    <a:pt x="93" y="411"/>
                  </a:lnTo>
                  <a:cubicBezTo>
                    <a:pt x="95" y="414"/>
                    <a:pt x="98" y="411"/>
                    <a:pt x="93" y="408"/>
                  </a:cubicBezTo>
                  <a:close/>
                  <a:moveTo>
                    <a:pt x="98" y="45"/>
                  </a:moveTo>
                  <a:cubicBezTo>
                    <a:pt x="98" y="48"/>
                    <a:pt x="101" y="51"/>
                    <a:pt x="101" y="51"/>
                  </a:cubicBezTo>
                  <a:lnTo>
                    <a:pt x="101" y="53"/>
                  </a:lnTo>
                  <a:lnTo>
                    <a:pt x="101" y="56"/>
                  </a:lnTo>
                  <a:cubicBezTo>
                    <a:pt x="104" y="59"/>
                    <a:pt x="107" y="62"/>
                    <a:pt x="112" y="56"/>
                  </a:cubicBezTo>
                  <a:cubicBezTo>
                    <a:pt x="110" y="51"/>
                    <a:pt x="104" y="45"/>
                    <a:pt x="98" y="45"/>
                  </a:cubicBezTo>
                  <a:close/>
                  <a:moveTo>
                    <a:pt x="112" y="430"/>
                  </a:moveTo>
                  <a:cubicBezTo>
                    <a:pt x="110" y="433"/>
                    <a:pt x="107" y="433"/>
                    <a:pt x="104" y="436"/>
                  </a:cubicBezTo>
                  <a:lnTo>
                    <a:pt x="107" y="439"/>
                  </a:lnTo>
                  <a:cubicBezTo>
                    <a:pt x="107" y="442"/>
                    <a:pt x="107" y="442"/>
                    <a:pt x="110" y="445"/>
                  </a:cubicBezTo>
                  <a:cubicBezTo>
                    <a:pt x="112" y="442"/>
                    <a:pt x="112" y="436"/>
                    <a:pt x="112" y="430"/>
                  </a:cubicBezTo>
                  <a:close/>
                  <a:moveTo>
                    <a:pt x="115" y="447"/>
                  </a:moveTo>
                  <a:lnTo>
                    <a:pt x="112" y="447"/>
                  </a:lnTo>
                  <a:cubicBezTo>
                    <a:pt x="110" y="447"/>
                    <a:pt x="110" y="447"/>
                    <a:pt x="107" y="450"/>
                  </a:cubicBezTo>
                  <a:cubicBezTo>
                    <a:pt x="110" y="450"/>
                    <a:pt x="110" y="453"/>
                    <a:pt x="112" y="453"/>
                  </a:cubicBezTo>
                  <a:cubicBezTo>
                    <a:pt x="112" y="453"/>
                    <a:pt x="115" y="450"/>
                    <a:pt x="115" y="447"/>
                  </a:cubicBezTo>
                  <a:close/>
                  <a:moveTo>
                    <a:pt x="115" y="73"/>
                  </a:moveTo>
                  <a:cubicBezTo>
                    <a:pt x="112" y="73"/>
                    <a:pt x="112" y="73"/>
                    <a:pt x="110" y="76"/>
                  </a:cubicBezTo>
                  <a:cubicBezTo>
                    <a:pt x="110" y="79"/>
                    <a:pt x="112" y="79"/>
                    <a:pt x="115" y="79"/>
                  </a:cubicBezTo>
                  <a:lnTo>
                    <a:pt x="115" y="73"/>
                  </a:lnTo>
                  <a:close/>
                  <a:moveTo>
                    <a:pt x="118" y="439"/>
                  </a:moveTo>
                  <a:lnTo>
                    <a:pt x="115" y="439"/>
                  </a:lnTo>
                  <a:cubicBezTo>
                    <a:pt x="115" y="445"/>
                    <a:pt x="115" y="447"/>
                    <a:pt x="121" y="447"/>
                  </a:cubicBezTo>
                  <a:lnTo>
                    <a:pt x="118" y="439"/>
                  </a:lnTo>
                  <a:close/>
                  <a:moveTo>
                    <a:pt x="115" y="59"/>
                  </a:moveTo>
                  <a:lnTo>
                    <a:pt x="115" y="62"/>
                  </a:lnTo>
                  <a:lnTo>
                    <a:pt x="115" y="68"/>
                  </a:lnTo>
                  <a:lnTo>
                    <a:pt x="121" y="62"/>
                  </a:lnTo>
                  <a:cubicBezTo>
                    <a:pt x="121" y="62"/>
                    <a:pt x="118" y="59"/>
                    <a:pt x="115" y="59"/>
                  </a:cubicBezTo>
                  <a:close/>
                  <a:moveTo>
                    <a:pt x="127" y="79"/>
                  </a:moveTo>
                  <a:cubicBezTo>
                    <a:pt x="124" y="79"/>
                    <a:pt x="121" y="79"/>
                    <a:pt x="118" y="82"/>
                  </a:cubicBezTo>
                  <a:cubicBezTo>
                    <a:pt x="121" y="85"/>
                    <a:pt x="124" y="85"/>
                    <a:pt x="127" y="85"/>
                  </a:cubicBezTo>
                  <a:lnTo>
                    <a:pt x="127" y="79"/>
                  </a:lnTo>
                  <a:close/>
                  <a:moveTo>
                    <a:pt x="118" y="70"/>
                  </a:moveTo>
                  <a:cubicBezTo>
                    <a:pt x="121" y="73"/>
                    <a:pt x="124" y="76"/>
                    <a:pt x="124" y="79"/>
                  </a:cubicBezTo>
                  <a:lnTo>
                    <a:pt x="124" y="73"/>
                  </a:lnTo>
                  <a:cubicBezTo>
                    <a:pt x="124" y="73"/>
                    <a:pt x="121" y="70"/>
                    <a:pt x="118" y="70"/>
                  </a:cubicBezTo>
                  <a:close/>
                  <a:moveTo>
                    <a:pt x="121" y="104"/>
                  </a:moveTo>
                  <a:cubicBezTo>
                    <a:pt x="121" y="107"/>
                    <a:pt x="121" y="110"/>
                    <a:pt x="118" y="113"/>
                  </a:cubicBezTo>
                  <a:lnTo>
                    <a:pt x="121" y="113"/>
                  </a:lnTo>
                  <a:lnTo>
                    <a:pt x="127" y="113"/>
                  </a:lnTo>
                  <a:lnTo>
                    <a:pt x="129" y="113"/>
                  </a:lnTo>
                  <a:lnTo>
                    <a:pt x="121" y="104"/>
                  </a:lnTo>
                  <a:cubicBezTo>
                    <a:pt x="124" y="104"/>
                    <a:pt x="127" y="101"/>
                    <a:pt x="127" y="99"/>
                  </a:cubicBezTo>
                  <a:lnTo>
                    <a:pt x="121" y="104"/>
                  </a:lnTo>
                  <a:close/>
                  <a:moveTo>
                    <a:pt x="121" y="127"/>
                  </a:moveTo>
                  <a:cubicBezTo>
                    <a:pt x="124" y="127"/>
                    <a:pt x="124" y="130"/>
                    <a:pt x="124" y="130"/>
                  </a:cubicBezTo>
                  <a:lnTo>
                    <a:pt x="129" y="132"/>
                  </a:lnTo>
                  <a:cubicBezTo>
                    <a:pt x="127" y="135"/>
                    <a:pt x="129" y="138"/>
                    <a:pt x="129" y="138"/>
                  </a:cubicBezTo>
                  <a:cubicBezTo>
                    <a:pt x="129" y="138"/>
                    <a:pt x="129" y="141"/>
                    <a:pt x="132" y="141"/>
                  </a:cubicBezTo>
                  <a:lnTo>
                    <a:pt x="135" y="138"/>
                  </a:lnTo>
                  <a:cubicBezTo>
                    <a:pt x="135" y="138"/>
                    <a:pt x="132" y="135"/>
                    <a:pt x="132" y="132"/>
                  </a:cubicBezTo>
                  <a:lnTo>
                    <a:pt x="132" y="121"/>
                  </a:lnTo>
                  <a:lnTo>
                    <a:pt x="129" y="121"/>
                  </a:lnTo>
                  <a:lnTo>
                    <a:pt x="121" y="127"/>
                  </a:lnTo>
                  <a:close/>
                  <a:moveTo>
                    <a:pt x="124" y="152"/>
                  </a:moveTo>
                  <a:lnTo>
                    <a:pt x="127" y="155"/>
                  </a:lnTo>
                  <a:cubicBezTo>
                    <a:pt x="127" y="155"/>
                    <a:pt x="129" y="155"/>
                    <a:pt x="129" y="158"/>
                  </a:cubicBezTo>
                  <a:cubicBezTo>
                    <a:pt x="132" y="161"/>
                    <a:pt x="135" y="158"/>
                    <a:pt x="138" y="155"/>
                  </a:cubicBezTo>
                  <a:cubicBezTo>
                    <a:pt x="135" y="155"/>
                    <a:pt x="135" y="152"/>
                    <a:pt x="135" y="152"/>
                  </a:cubicBezTo>
                  <a:cubicBezTo>
                    <a:pt x="132" y="152"/>
                    <a:pt x="132" y="149"/>
                    <a:pt x="129" y="152"/>
                  </a:cubicBezTo>
                  <a:cubicBezTo>
                    <a:pt x="129" y="149"/>
                    <a:pt x="127" y="152"/>
                    <a:pt x="124" y="152"/>
                  </a:cubicBezTo>
                  <a:close/>
                  <a:moveTo>
                    <a:pt x="141" y="456"/>
                  </a:moveTo>
                  <a:lnTo>
                    <a:pt x="135" y="456"/>
                  </a:lnTo>
                  <a:lnTo>
                    <a:pt x="135" y="450"/>
                  </a:lnTo>
                  <a:lnTo>
                    <a:pt x="129" y="450"/>
                  </a:lnTo>
                  <a:lnTo>
                    <a:pt x="127" y="450"/>
                  </a:lnTo>
                  <a:lnTo>
                    <a:pt x="121" y="450"/>
                  </a:lnTo>
                  <a:lnTo>
                    <a:pt x="124" y="453"/>
                  </a:lnTo>
                  <a:lnTo>
                    <a:pt x="124" y="459"/>
                  </a:lnTo>
                  <a:lnTo>
                    <a:pt x="124" y="464"/>
                  </a:lnTo>
                  <a:cubicBezTo>
                    <a:pt x="127" y="462"/>
                    <a:pt x="129" y="462"/>
                    <a:pt x="132" y="462"/>
                  </a:cubicBezTo>
                  <a:cubicBezTo>
                    <a:pt x="137" y="458"/>
                    <a:pt x="140" y="457"/>
                    <a:pt x="142" y="457"/>
                  </a:cubicBezTo>
                  <a:lnTo>
                    <a:pt x="141" y="456"/>
                  </a:lnTo>
                  <a:close/>
                  <a:moveTo>
                    <a:pt x="124" y="85"/>
                  </a:moveTo>
                  <a:lnTo>
                    <a:pt x="129" y="90"/>
                  </a:lnTo>
                  <a:cubicBezTo>
                    <a:pt x="132" y="90"/>
                    <a:pt x="132" y="87"/>
                    <a:pt x="132" y="87"/>
                  </a:cubicBezTo>
                  <a:cubicBezTo>
                    <a:pt x="129" y="87"/>
                    <a:pt x="129" y="85"/>
                    <a:pt x="124" y="85"/>
                  </a:cubicBezTo>
                  <a:close/>
                  <a:moveTo>
                    <a:pt x="127" y="141"/>
                  </a:moveTo>
                  <a:cubicBezTo>
                    <a:pt x="127" y="144"/>
                    <a:pt x="127" y="144"/>
                    <a:pt x="129" y="144"/>
                  </a:cubicBezTo>
                  <a:lnTo>
                    <a:pt x="127" y="141"/>
                  </a:lnTo>
                  <a:close/>
                  <a:moveTo>
                    <a:pt x="129" y="436"/>
                  </a:moveTo>
                  <a:lnTo>
                    <a:pt x="127" y="436"/>
                  </a:lnTo>
                  <a:cubicBezTo>
                    <a:pt x="127" y="436"/>
                    <a:pt x="132" y="439"/>
                    <a:pt x="129" y="436"/>
                  </a:cubicBezTo>
                  <a:close/>
                  <a:moveTo>
                    <a:pt x="129" y="166"/>
                  </a:moveTo>
                  <a:lnTo>
                    <a:pt x="132" y="169"/>
                  </a:lnTo>
                  <a:cubicBezTo>
                    <a:pt x="132" y="164"/>
                    <a:pt x="129" y="164"/>
                    <a:pt x="129" y="166"/>
                  </a:cubicBezTo>
                  <a:close/>
                  <a:moveTo>
                    <a:pt x="129" y="121"/>
                  </a:moveTo>
                  <a:lnTo>
                    <a:pt x="135" y="118"/>
                  </a:lnTo>
                  <a:cubicBezTo>
                    <a:pt x="127" y="116"/>
                    <a:pt x="129" y="118"/>
                    <a:pt x="129" y="121"/>
                  </a:cubicBezTo>
                  <a:close/>
                  <a:moveTo>
                    <a:pt x="129" y="121"/>
                  </a:moveTo>
                  <a:cubicBezTo>
                    <a:pt x="129" y="118"/>
                    <a:pt x="132" y="118"/>
                    <a:pt x="129" y="121"/>
                  </a:cubicBezTo>
                  <a:close/>
                  <a:moveTo>
                    <a:pt x="132" y="99"/>
                  </a:moveTo>
                  <a:cubicBezTo>
                    <a:pt x="129" y="99"/>
                    <a:pt x="129" y="99"/>
                    <a:pt x="129" y="101"/>
                  </a:cubicBezTo>
                  <a:cubicBezTo>
                    <a:pt x="129" y="101"/>
                    <a:pt x="132" y="101"/>
                    <a:pt x="132" y="104"/>
                  </a:cubicBezTo>
                  <a:lnTo>
                    <a:pt x="132" y="107"/>
                  </a:lnTo>
                  <a:lnTo>
                    <a:pt x="135" y="107"/>
                  </a:lnTo>
                  <a:lnTo>
                    <a:pt x="132" y="99"/>
                  </a:lnTo>
                  <a:close/>
                  <a:moveTo>
                    <a:pt x="135" y="183"/>
                  </a:moveTo>
                  <a:lnTo>
                    <a:pt x="135" y="189"/>
                  </a:lnTo>
                  <a:lnTo>
                    <a:pt x="138" y="189"/>
                  </a:lnTo>
                  <a:lnTo>
                    <a:pt x="141" y="186"/>
                  </a:lnTo>
                  <a:lnTo>
                    <a:pt x="141" y="183"/>
                  </a:lnTo>
                  <a:cubicBezTo>
                    <a:pt x="146" y="180"/>
                    <a:pt x="146" y="180"/>
                    <a:pt x="143" y="175"/>
                  </a:cubicBezTo>
                  <a:lnTo>
                    <a:pt x="135" y="183"/>
                  </a:lnTo>
                  <a:close/>
                  <a:moveTo>
                    <a:pt x="141" y="172"/>
                  </a:moveTo>
                  <a:cubicBezTo>
                    <a:pt x="141" y="172"/>
                    <a:pt x="138" y="172"/>
                    <a:pt x="138" y="169"/>
                  </a:cubicBezTo>
                  <a:lnTo>
                    <a:pt x="138" y="172"/>
                  </a:lnTo>
                  <a:lnTo>
                    <a:pt x="138" y="175"/>
                  </a:lnTo>
                  <a:cubicBezTo>
                    <a:pt x="138" y="175"/>
                    <a:pt x="141" y="175"/>
                    <a:pt x="141" y="172"/>
                  </a:cubicBezTo>
                  <a:close/>
                  <a:moveTo>
                    <a:pt x="141" y="439"/>
                  </a:moveTo>
                  <a:lnTo>
                    <a:pt x="138" y="439"/>
                  </a:lnTo>
                  <a:lnTo>
                    <a:pt x="138" y="442"/>
                  </a:lnTo>
                  <a:cubicBezTo>
                    <a:pt x="141" y="445"/>
                    <a:pt x="141" y="442"/>
                    <a:pt x="141" y="439"/>
                  </a:cubicBezTo>
                  <a:close/>
                  <a:moveTo>
                    <a:pt x="138" y="149"/>
                  </a:moveTo>
                  <a:cubicBezTo>
                    <a:pt x="143" y="152"/>
                    <a:pt x="143" y="149"/>
                    <a:pt x="143" y="147"/>
                  </a:cubicBezTo>
                  <a:cubicBezTo>
                    <a:pt x="141" y="147"/>
                    <a:pt x="141" y="149"/>
                    <a:pt x="138" y="149"/>
                  </a:cubicBezTo>
                  <a:close/>
                  <a:moveTo>
                    <a:pt x="143" y="257"/>
                  </a:moveTo>
                  <a:lnTo>
                    <a:pt x="143" y="251"/>
                  </a:lnTo>
                  <a:lnTo>
                    <a:pt x="141" y="251"/>
                  </a:lnTo>
                  <a:lnTo>
                    <a:pt x="138" y="251"/>
                  </a:lnTo>
                  <a:cubicBezTo>
                    <a:pt x="141" y="254"/>
                    <a:pt x="141" y="257"/>
                    <a:pt x="143" y="257"/>
                  </a:cubicBezTo>
                  <a:close/>
                  <a:moveTo>
                    <a:pt x="141" y="217"/>
                  </a:moveTo>
                  <a:lnTo>
                    <a:pt x="141" y="223"/>
                  </a:lnTo>
                  <a:lnTo>
                    <a:pt x="138" y="223"/>
                  </a:lnTo>
                  <a:cubicBezTo>
                    <a:pt x="143" y="226"/>
                    <a:pt x="146" y="228"/>
                    <a:pt x="146" y="231"/>
                  </a:cubicBezTo>
                  <a:cubicBezTo>
                    <a:pt x="149" y="231"/>
                    <a:pt x="149" y="228"/>
                    <a:pt x="152" y="226"/>
                  </a:cubicBezTo>
                  <a:lnTo>
                    <a:pt x="152" y="223"/>
                  </a:lnTo>
                  <a:lnTo>
                    <a:pt x="149" y="223"/>
                  </a:lnTo>
                  <a:lnTo>
                    <a:pt x="146" y="226"/>
                  </a:lnTo>
                  <a:lnTo>
                    <a:pt x="143" y="223"/>
                  </a:lnTo>
                  <a:lnTo>
                    <a:pt x="141" y="217"/>
                  </a:lnTo>
                  <a:close/>
                  <a:moveTo>
                    <a:pt x="141" y="231"/>
                  </a:moveTo>
                  <a:lnTo>
                    <a:pt x="141" y="234"/>
                  </a:lnTo>
                  <a:lnTo>
                    <a:pt x="143" y="234"/>
                  </a:lnTo>
                  <a:cubicBezTo>
                    <a:pt x="141" y="234"/>
                    <a:pt x="141" y="234"/>
                    <a:pt x="141" y="231"/>
                  </a:cubicBezTo>
                  <a:close/>
                  <a:moveTo>
                    <a:pt x="146" y="189"/>
                  </a:moveTo>
                  <a:lnTo>
                    <a:pt x="141" y="189"/>
                  </a:lnTo>
                  <a:lnTo>
                    <a:pt x="141" y="195"/>
                  </a:lnTo>
                  <a:lnTo>
                    <a:pt x="141" y="200"/>
                  </a:lnTo>
                  <a:lnTo>
                    <a:pt x="143" y="200"/>
                  </a:lnTo>
                  <a:lnTo>
                    <a:pt x="143" y="195"/>
                  </a:lnTo>
                  <a:cubicBezTo>
                    <a:pt x="143" y="195"/>
                    <a:pt x="146" y="192"/>
                    <a:pt x="146" y="189"/>
                  </a:cubicBezTo>
                  <a:close/>
                  <a:moveTo>
                    <a:pt x="149" y="447"/>
                  </a:moveTo>
                  <a:lnTo>
                    <a:pt x="146" y="436"/>
                  </a:lnTo>
                  <a:cubicBezTo>
                    <a:pt x="143" y="439"/>
                    <a:pt x="141" y="439"/>
                    <a:pt x="143" y="442"/>
                  </a:cubicBezTo>
                  <a:lnTo>
                    <a:pt x="143" y="447"/>
                  </a:lnTo>
                  <a:lnTo>
                    <a:pt x="149" y="447"/>
                  </a:lnTo>
                  <a:close/>
                  <a:moveTo>
                    <a:pt x="158" y="274"/>
                  </a:moveTo>
                  <a:lnTo>
                    <a:pt x="155" y="268"/>
                  </a:lnTo>
                  <a:cubicBezTo>
                    <a:pt x="155" y="265"/>
                    <a:pt x="158" y="265"/>
                    <a:pt x="158" y="265"/>
                  </a:cubicBezTo>
                  <a:cubicBezTo>
                    <a:pt x="158" y="259"/>
                    <a:pt x="155" y="257"/>
                    <a:pt x="152" y="257"/>
                  </a:cubicBezTo>
                  <a:lnTo>
                    <a:pt x="152" y="262"/>
                  </a:lnTo>
                  <a:cubicBezTo>
                    <a:pt x="152" y="262"/>
                    <a:pt x="149" y="262"/>
                    <a:pt x="149" y="259"/>
                  </a:cubicBezTo>
                  <a:lnTo>
                    <a:pt x="149" y="265"/>
                  </a:lnTo>
                  <a:lnTo>
                    <a:pt x="146" y="268"/>
                  </a:lnTo>
                  <a:cubicBezTo>
                    <a:pt x="149" y="268"/>
                    <a:pt x="152" y="271"/>
                    <a:pt x="152" y="271"/>
                  </a:cubicBezTo>
                  <a:cubicBezTo>
                    <a:pt x="152" y="271"/>
                    <a:pt x="155" y="274"/>
                    <a:pt x="158" y="274"/>
                  </a:cubicBezTo>
                  <a:close/>
                  <a:moveTo>
                    <a:pt x="146" y="220"/>
                  </a:moveTo>
                  <a:cubicBezTo>
                    <a:pt x="146" y="223"/>
                    <a:pt x="149" y="220"/>
                    <a:pt x="146" y="220"/>
                  </a:cubicBezTo>
                  <a:close/>
                  <a:moveTo>
                    <a:pt x="152" y="195"/>
                  </a:moveTo>
                  <a:cubicBezTo>
                    <a:pt x="149" y="192"/>
                    <a:pt x="149" y="195"/>
                    <a:pt x="149" y="195"/>
                  </a:cubicBezTo>
                  <a:lnTo>
                    <a:pt x="152" y="195"/>
                  </a:lnTo>
                  <a:close/>
                  <a:moveTo>
                    <a:pt x="158" y="445"/>
                  </a:moveTo>
                  <a:cubicBezTo>
                    <a:pt x="149" y="447"/>
                    <a:pt x="146" y="453"/>
                    <a:pt x="146" y="456"/>
                  </a:cubicBezTo>
                  <a:lnTo>
                    <a:pt x="149" y="456"/>
                  </a:lnTo>
                  <a:lnTo>
                    <a:pt x="149" y="450"/>
                  </a:lnTo>
                  <a:cubicBezTo>
                    <a:pt x="158" y="447"/>
                    <a:pt x="158" y="450"/>
                    <a:pt x="158" y="445"/>
                  </a:cubicBezTo>
                  <a:close/>
                  <a:moveTo>
                    <a:pt x="149" y="248"/>
                  </a:moveTo>
                  <a:lnTo>
                    <a:pt x="152" y="251"/>
                  </a:lnTo>
                  <a:cubicBezTo>
                    <a:pt x="152" y="248"/>
                    <a:pt x="155" y="248"/>
                    <a:pt x="155" y="245"/>
                  </a:cubicBezTo>
                  <a:lnTo>
                    <a:pt x="155" y="240"/>
                  </a:lnTo>
                  <a:cubicBezTo>
                    <a:pt x="155" y="242"/>
                    <a:pt x="152" y="242"/>
                    <a:pt x="152" y="242"/>
                  </a:cubicBezTo>
                  <a:lnTo>
                    <a:pt x="149" y="248"/>
                  </a:lnTo>
                  <a:close/>
                  <a:moveTo>
                    <a:pt x="158" y="307"/>
                  </a:moveTo>
                  <a:cubicBezTo>
                    <a:pt x="158" y="305"/>
                    <a:pt x="155" y="305"/>
                    <a:pt x="158" y="307"/>
                  </a:cubicBezTo>
                  <a:close/>
                  <a:moveTo>
                    <a:pt x="163" y="430"/>
                  </a:moveTo>
                  <a:cubicBezTo>
                    <a:pt x="163" y="430"/>
                    <a:pt x="160" y="430"/>
                    <a:pt x="163" y="430"/>
                  </a:cubicBezTo>
                  <a:cubicBezTo>
                    <a:pt x="160" y="433"/>
                    <a:pt x="160" y="433"/>
                    <a:pt x="158" y="433"/>
                  </a:cubicBezTo>
                  <a:lnTo>
                    <a:pt x="152" y="436"/>
                  </a:lnTo>
                  <a:cubicBezTo>
                    <a:pt x="152" y="439"/>
                    <a:pt x="155" y="439"/>
                    <a:pt x="155" y="439"/>
                  </a:cubicBezTo>
                  <a:cubicBezTo>
                    <a:pt x="155" y="436"/>
                    <a:pt x="158" y="433"/>
                    <a:pt x="160" y="433"/>
                  </a:cubicBezTo>
                  <a:cubicBezTo>
                    <a:pt x="163" y="436"/>
                    <a:pt x="166" y="433"/>
                    <a:pt x="163" y="430"/>
                  </a:cubicBezTo>
                  <a:close/>
                  <a:moveTo>
                    <a:pt x="155" y="338"/>
                  </a:moveTo>
                  <a:cubicBezTo>
                    <a:pt x="158" y="338"/>
                    <a:pt x="158" y="336"/>
                    <a:pt x="158" y="336"/>
                  </a:cubicBezTo>
                  <a:lnTo>
                    <a:pt x="155" y="338"/>
                  </a:lnTo>
                  <a:close/>
                  <a:moveTo>
                    <a:pt x="174" y="307"/>
                  </a:moveTo>
                  <a:cubicBezTo>
                    <a:pt x="172" y="305"/>
                    <a:pt x="172" y="305"/>
                    <a:pt x="172" y="302"/>
                  </a:cubicBezTo>
                  <a:cubicBezTo>
                    <a:pt x="172" y="299"/>
                    <a:pt x="169" y="299"/>
                    <a:pt x="166" y="299"/>
                  </a:cubicBezTo>
                  <a:lnTo>
                    <a:pt x="165" y="297"/>
                  </a:lnTo>
                  <a:lnTo>
                    <a:pt x="163" y="299"/>
                  </a:lnTo>
                  <a:cubicBezTo>
                    <a:pt x="163" y="299"/>
                    <a:pt x="163" y="302"/>
                    <a:pt x="160" y="302"/>
                  </a:cubicBezTo>
                  <a:lnTo>
                    <a:pt x="166" y="302"/>
                  </a:lnTo>
                  <a:lnTo>
                    <a:pt x="166" y="305"/>
                  </a:lnTo>
                  <a:lnTo>
                    <a:pt x="158" y="302"/>
                  </a:lnTo>
                  <a:lnTo>
                    <a:pt x="158" y="305"/>
                  </a:lnTo>
                  <a:lnTo>
                    <a:pt x="169" y="307"/>
                  </a:lnTo>
                  <a:lnTo>
                    <a:pt x="169" y="313"/>
                  </a:lnTo>
                  <a:cubicBezTo>
                    <a:pt x="169" y="313"/>
                    <a:pt x="172" y="307"/>
                    <a:pt x="174" y="307"/>
                  </a:cubicBezTo>
                  <a:close/>
                  <a:moveTo>
                    <a:pt x="163" y="296"/>
                  </a:moveTo>
                  <a:lnTo>
                    <a:pt x="172" y="296"/>
                  </a:lnTo>
                  <a:lnTo>
                    <a:pt x="166" y="290"/>
                  </a:lnTo>
                  <a:cubicBezTo>
                    <a:pt x="166" y="293"/>
                    <a:pt x="163" y="293"/>
                    <a:pt x="163" y="290"/>
                  </a:cubicBezTo>
                  <a:cubicBezTo>
                    <a:pt x="160" y="290"/>
                    <a:pt x="160" y="290"/>
                    <a:pt x="160" y="293"/>
                  </a:cubicBezTo>
                  <a:lnTo>
                    <a:pt x="163" y="293"/>
                  </a:lnTo>
                  <a:lnTo>
                    <a:pt x="166" y="296"/>
                  </a:lnTo>
                  <a:lnTo>
                    <a:pt x="165" y="297"/>
                  </a:lnTo>
                  <a:lnTo>
                    <a:pt x="163" y="296"/>
                  </a:lnTo>
                  <a:close/>
                  <a:moveTo>
                    <a:pt x="160" y="333"/>
                  </a:moveTo>
                  <a:lnTo>
                    <a:pt x="160" y="327"/>
                  </a:lnTo>
                  <a:lnTo>
                    <a:pt x="158" y="327"/>
                  </a:lnTo>
                  <a:cubicBezTo>
                    <a:pt x="158" y="330"/>
                    <a:pt x="160" y="330"/>
                    <a:pt x="160" y="333"/>
                  </a:cubicBezTo>
                  <a:close/>
                  <a:moveTo>
                    <a:pt x="158" y="319"/>
                  </a:moveTo>
                  <a:lnTo>
                    <a:pt x="160" y="321"/>
                  </a:lnTo>
                  <a:lnTo>
                    <a:pt x="160" y="319"/>
                  </a:lnTo>
                  <a:lnTo>
                    <a:pt x="160" y="316"/>
                  </a:lnTo>
                  <a:cubicBezTo>
                    <a:pt x="160" y="313"/>
                    <a:pt x="158" y="313"/>
                    <a:pt x="158" y="313"/>
                  </a:cubicBezTo>
                  <a:lnTo>
                    <a:pt x="158" y="319"/>
                  </a:lnTo>
                  <a:close/>
                  <a:moveTo>
                    <a:pt x="177" y="330"/>
                  </a:moveTo>
                  <a:cubicBezTo>
                    <a:pt x="174" y="327"/>
                    <a:pt x="172" y="327"/>
                    <a:pt x="169" y="327"/>
                  </a:cubicBezTo>
                  <a:cubicBezTo>
                    <a:pt x="169" y="324"/>
                    <a:pt x="169" y="324"/>
                    <a:pt x="172" y="321"/>
                  </a:cubicBezTo>
                  <a:lnTo>
                    <a:pt x="163" y="321"/>
                  </a:lnTo>
                  <a:lnTo>
                    <a:pt x="163" y="324"/>
                  </a:lnTo>
                  <a:lnTo>
                    <a:pt x="169" y="324"/>
                  </a:lnTo>
                  <a:cubicBezTo>
                    <a:pt x="166" y="327"/>
                    <a:pt x="166" y="330"/>
                    <a:pt x="163" y="333"/>
                  </a:cubicBezTo>
                  <a:lnTo>
                    <a:pt x="163" y="338"/>
                  </a:lnTo>
                  <a:lnTo>
                    <a:pt x="163" y="341"/>
                  </a:lnTo>
                  <a:lnTo>
                    <a:pt x="160" y="341"/>
                  </a:lnTo>
                  <a:lnTo>
                    <a:pt x="160" y="350"/>
                  </a:lnTo>
                  <a:lnTo>
                    <a:pt x="163" y="350"/>
                  </a:lnTo>
                  <a:lnTo>
                    <a:pt x="166" y="347"/>
                  </a:lnTo>
                  <a:lnTo>
                    <a:pt x="169" y="338"/>
                  </a:lnTo>
                  <a:lnTo>
                    <a:pt x="166" y="336"/>
                  </a:lnTo>
                  <a:lnTo>
                    <a:pt x="163" y="333"/>
                  </a:lnTo>
                  <a:lnTo>
                    <a:pt x="169" y="333"/>
                  </a:lnTo>
                  <a:cubicBezTo>
                    <a:pt x="169" y="333"/>
                    <a:pt x="169" y="336"/>
                    <a:pt x="172" y="336"/>
                  </a:cubicBezTo>
                  <a:cubicBezTo>
                    <a:pt x="172" y="338"/>
                    <a:pt x="174" y="341"/>
                    <a:pt x="177" y="338"/>
                  </a:cubicBezTo>
                  <a:lnTo>
                    <a:pt x="180" y="338"/>
                  </a:lnTo>
                  <a:cubicBezTo>
                    <a:pt x="174" y="338"/>
                    <a:pt x="174" y="333"/>
                    <a:pt x="177" y="330"/>
                  </a:cubicBezTo>
                  <a:close/>
                  <a:moveTo>
                    <a:pt x="163" y="285"/>
                  </a:moveTo>
                  <a:cubicBezTo>
                    <a:pt x="166" y="285"/>
                    <a:pt x="166" y="285"/>
                    <a:pt x="169" y="282"/>
                  </a:cubicBezTo>
                  <a:cubicBezTo>
                    <a:pt x="169" y="279"/>
                    <a:pt x="166" y="279"/>
                    <a:pt x="163" y="279"/>
                  </a:cubicBezTo>
                  <a:lnTo>
                    <a:pt x="163" y="285"/>
                  </a:lnTo>
                  <a:close/>
                  <a:moveTo>
                    <a:pt x="166" y="360"/>
                  </a:moveTo>
                  <a:cubicBezTo>
                    <a:pt x="166" y="363"/>
                    <a:pt x="163" y="366"/>
                    <a:pt x="163" y="366"/>
                  </a:cubicBezTo>
                  <a:cubicBezTo>
                    <a:pt x="166" y="366"/>
                    <a:pt x="166" y="366"/>
                    <a:pt x="166" y="368"/>
                  </a:cubicBezTo>
                  <a:lnTo>
                    <a:pt x="166" y="371"/>
                  </a:lnTo>
                  <a:lnTo>
                    <a:pt x="166" y="374"/>
                  </a:lnTo>
                  <a:cubicBezTo>
                    <a:pt x="166" y="377"/>
                    <a:pt x="166" y="377"/>
                    <a:pt x="169" y="377"/>
                  </a:cubicBezTo>
                  <a:cubicBezTo>
                    <a:pt x="166" y="377"/>
                    <a:pt x="166" y="380"/>
                    <a:pt x="166" y="383"/>
                  </a:cubicBezTo>
                  <a:lnTo>
                    <a:pt x="169" y="385"/>
                  </a:lnTo>
                  <a:cubicBezTo>
                    <a:pt x="172" y="385"/>
                    <a:pt x="172" y="385"/>
                    <a:pt x="174" y="383"/>
                  </a:cubicBezTo>
                  <a:lnTo>
                    <a:pt x="177" y="383"/>
                  </a:lnTo>
                  <a:cubicBezTo>
                    <a:pt x="177" y="383"/>
                    <a:pt x="180" y="383"/>
                    <a:pt x="180" y="385"/>
                  </a:cubicBezTo>
                  <a:lnTo>
                    <a:pt x="180" y="380"/>
                  </a:lnTo>
                  <a:lnTo>
                    <a:pt x="180" y="377"/>
                  </a:lnTo>
                  <a:lnTo>
                    <a:pt x="174" y="377"/>
                  </a:lnTo>
                  <a:lnTo>
                    <a:pt x="169" y="377"/>
                  </a:lnTo>
                  <a:lnTo>
                    <a:pt x="169" y="368"/>
                  </a:lnTo>
                  <a:cubicBezTo>
                    <a:pt x="169" y="366"/>
                    <a:pt x="169" y="363"/>
                    <a:pt x="172" y="360"/>
                  </a:cubicBezTo>
                  <a:lnTo>
                    <a:pt x="169" y="360"/>
                  </a:lnTo>
                  <a:lnTo>
                    <a:pt x="169" y="353"/>
                  </a:lnTo>
                  <a:lnTo>
                    <a:pt x="166" y="353"/>
                  </a:lnTo>
                  <a:cubicBezTo>
                    <a:pt x="169" y="357"/>
                    <a:pt x="169" y="357"/>
                    <a:pt x="166" y="360"/>
                  </a:cubicBezTo>
                  <a:close/>
                  <a:moveTo>
                    <a:pt x="166" y="405"/>
                  </a:moveTo>
                  <a:lnTo>
                    <a:pt x="166" y="411"/>
                  </a:lnTo>
                  <a:lnTo>
                    <a:pt x="169" y="411"/>
                  </a:lnTo>
                  <a:cubicBezTo>
                    <a:pt x="169" y="411"/>
                    <a:pt x="166" y="408"/>
                    <a:pt x="166" y="405"/>
                  </a:cubicBezTo>
                  <a:close/>
                  <a:moveTo>
                    <a:pt x="174" y="433"/>
                  </a:moveTo>
                  <a:lnTo>
                    <a:pt x="166" y="433"/>
                  </a:lnTo>
                  <a:cubicBezTo>
                    <a:pt x="166" y="436"/>
                    <a:pt x="169" y="436"/>
                    <a:pt x="172" y="439"/>
                  </a:cubicBezTo>
                  <a:lnTo>
                    <a:pt x="174" y="439"/>
                  </a:lnTo>
                  <a:lnTo>
                    <a:pt x="177" y="442"/>
                  </a:lnTo>
                  <a:cubicBezTo>
                    <a:pt x="177" y="438"/>
                    <a:pt x="177" y="435"/>
                    <a:pt x="178" y="433"/>
                  </a:cubicBezTo>
                  <a:cubicBezTo>
                    <a:pt x="177" y="433"/>
                    <a:pt x="176" y="433"/>
                    <a:pt x="174" y="433"/>
                  </a:cubicBezTo>
                  <a:close/>
                  <a:moveTo>
                    <a:pt x="169" y="316"/>
                  </a:moveTo>
                  <a:lnTo>
                    <a:pt x="172" y="319"/>
                  </a:lnTo>
                  <a:lnTo>
                    <a:pt x="172" y="313"/>
                  </a:lnTo>
                  <a:cubicBezTo>
                    <a:pt x="169" y="313"/>
                    <a:pt x="169" y="313"/>
                    <a:pt x="169" y="316"/>
                  </a:cubicBezTo>
                  <a:close/>
                  <a:moveTo>
                    <a:pt x="177" y="397"/>
                  </a:moveTo>
                  <a:lnTo>
                    <a:pt x="172" y="397"/>
                  </a:lnTo>
                  <a:lnTo>
                    <a:pt x="166" y="397"/>
                  </a:lnTo>
                  <a:lnTo>
                    <a:pt x="172" y="402"/>
                  </a:lnTo>
                  <a:lnTo>
                    <a:pt x="172" y="405"/>
                  </a:lnTo>
                  <a:cubicBezTo>
                    <a:pt x="172" y="405"/>
                    <a:pt x="172" y="408"/>
                    <a:pt x="169" y="408"/>
                  </a:cubicBezTo>
                  <a:cubicBezTo>
                    <a:pt x="172" y="408"/>
                    <a:pt x="172" y="405"/>
                    <a:pt x="174" y="405"/>
                  </a:cubicBezTo>
                  <a:lnTo>
                    <a:pt x="177" y="405"/>
                  </a:lnTo>
                  <a:lnTo>
                    <a:pt x="180" y="405"/>
                  </a:lnTo>
                  <a:lnTo>
                    <a:pt x="177" y="397"/>
                  </a:lnTo>
                  <a:close/>
                  <a:moveTo>
                    <a:pt x="180" y="419"/>
                  </a:moveTo>
                  <a:cubicBezTo>
                    <a:pt x="177" y="419"/>
                    <a:pt x="177" y="419"/>
                    <a:pt x="177" y="422"/>
                  </a:cubicBezTo>
                  <a:lnTo>
                    <a:pt x="180" y="425"/>
                  </a:lnTo>
                  <a:lnTo>
                    <a:pt x="177" y="425"/>
                  </a:lnTo>
                  <a:lnTo>
                    <a:pt x="174" y="425"/>
                  </a:lnTo>
                  <a:lnTo>
                    <a:pt x="174" y="428"/>
                  </a:lnTo>
                  <a:lnTo>
                    <a:pt x="174" y="430"/>
                  </a:lnTo>
                  <a:cubicBezTo>
                    <a:pt x="180" y="428"/>
                    <a:pt x="183" y="425"/>
                    <a:pt x="180" y="419"/>
                  </a:cubicBezTo>
                  <a:close/>
                  <a:moveTo>
                    <a:pt x="183" y="360"/>
                  </a:moveTo>
                  <a:cubicBezTo>
                    <a:pt x="183" y="357"/>
                    <a:pt x="180" y="357"/>
                    <a:pt x="180" y="354"/>
                  </a:cubicBezTo>
                  <a:cubicBezTo>
                    <a:pt x="177" y="357"/>
                    <a:pt x="177" y="357"/>
                    <a:pt x="177" y="360"/>
                  </a:cubicBezTo>
                  <a:lnTo>
                    <a:pt x="180" y="360"/>
                  </a:lnTo>
                  <a:lnTo>
                    <a:pt x="183" y="360"/>
                  </a:lnTo>
                  <a:close/>
                  <a:moveTo>
                    <a:pt x="180" y="374"/>
                  </a:moveTo>
                  <a:lnTo>
                    <a:pt x="180" y="368"/>
                  </a:lnTo>
                  <a:lnTo>
                    <a:pt x="177" y="368"/>
                  </a:lnTo>
                  <a:cubicBezTo>
                    <a:pt x="180" y="371"/>
                    <a:pt x="180" y="371"/>
                    <a:pt x="180" y="3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33" name="Freeform 1460"/>
            <p:cNvSpPr>
              <a:spLocks noChangeArrowheads="1"/>
            </p:cNvSpPr>
            <p:nvPr/>
          </p:nvSpPr>
          <p:spPr bwMode="auto">
            <a:xfrm>
              <a:off x="4225925" y="2436813"/>
              <a:ext cx="73025" cy="173037"/>
            </a:xfrm>
            <a:custGeom>
              <a:avLst/>
              <a:gdLst>
                <a:gd name="T0" fmla="*/ 183 w 204"/>
                <a:gd name="T1" fmla="*/ 304 h 479"/>
                <a:gd name="T2" fmla="*/ 200 w 204"/>
                <a:gd name="T3" fmla="*/ 394 h 479"/>
                <a:gd name="T4" fmla="*/ 158 w 204"/>
                <a:gd name="T5" fmla="*/ 473 h 479"/>
                <a:gd name="T6" fmla="*/ 96 w 204"/>
                <a:gd name="T7" fmla="*/ 461 h 479"/>
                <a:gd name="T8" fmla="*/ 73 w 204"/>
                <a:gd name="T9" fmla="*/ 385 h 479"/>
                <a:gd name="T10" fmla="*/ 59 w 204"/>
                <a:gd name="T11" fmla="*/ 296 h 479"/>
                <a:gd name="T12" fmla="*/ 54 w 204"/>
                <a:gd name="T13" fmla="*/ 251 h 479"/>
                <a:gd name="T14" fmla="*/ 42 w 204"/>
                <a:gd name="T15" fmla="*/ 175 h 479"/>
                <a:gd name="T16" fmla="*/ 3 w 204"/>
                <a:gd name="T17" fmla="*/ 45 h 479"/>
                <a:gd name="T18" fmla="*/ 59 w 204"/>
                <a:gd name="T19" fmla="*/ 45 h 479"/>
                <a:gd name="T20" fmla="*/ 82 w 204"/>
                <a:gd name="T21" fmla="*/ 127 h 479"/>
                <a:gd name="T22" fmla="*/ 87 w 204"/>
                <a:gd name="T23" fmla="*/ 180 h 479"/>
                <a:gd name="T24" fmla="*/ 99 w 204"/>
                <a:gd name="T25" fmla="*/ 254 h 479"/>
                <a:gd name="T26" fmla="*/ 113 w 204"/>
                <a:gd name="T27" fmla="*/ 355 h 479"/>
                <a:gd name="T28" fmla="*/ 135 w 204"/>
                <a:gd name="T29" fmla="*/ 416 h 479"/>
                <a:gd name="T30" fmla="*/ 158 w 204"/>
                <a:gd name="T31" fmla="*/ 372 h 479"/>
                <a:gd name="T32" fmla="*/ 144 w 204"/>
                <a:gd name="T33" fmla="*/ 302 h 479"/>
                <a:gd name="T34" fmla="*/ 127 w 204"/>
                <a:gd name="T35" fmla="*/ 228 h 479"/>
                <a:gd name="T36" fmla="*/ 110 w 204"/>
                <a:gd name="T37" fmla="*/ 144 h 479"/>
                <a:gd name="T38" fmla="*/ 102 w 204"/>
                <a:gd name="T39" fmla="*/ 84 h 479"/>
                <a:gd name="T40" fmla="*/ 118 w 204"/>
                <a:gd name="T41" fmla="*/ 0 h 479"/>
                <a:gd name="T42" fmla="*/ 141 w 204"/>
                <a:gd name="T43" fmla="*/ 87 h 479"/>
                <a:gd name="T44" fmla="*/ 161 w 204"/>
                <a:gd name="T45" fmla="*/ 180 h 479"/>
                <a:gd name="T46" fmla="*/ 25 w 204"/>
                <a:gd name="T47" fmla="*/ 36 h 479"/>
                <a:gd name="T48" fmla="*/ 39 w 204"/>
                <a:gd name="T49" fmla="*/ 76 h 479"/>
                <a:gd name="T50" fmla="*/ 34 w 204"/>
                <a:gd name="T51" fmla="*/ 79 h 479"/>
                <a:gd name="T52" fmla="*/ 34 w 204"/>
                <a:gd name="T53" fmla="*/ 39 h 479"/>
                <a:gd name="T54" fmla="*/ 39 w 204"/>
                <a:gd name="T55" fmla="*/ 96 h 479"/>
                <a:gd name="T56" fmla="*/ 42 w 204"/>
                <a:gd name="T57" fmla="*/ 129 h 479"/>
                <a:gd name="T58" fmla="*/ 45 w 204"/>
                <a:gd name="T59" fmla="*/ 113 h 479"/>
                <a:gd name="T60" fmla="*/ 48 w 204"/>
                <a:gd name="T61" fmla="*/ 146 h 479"/>
                <a:gd name="T62" fmla="*/ 54 w 204"/>
                <a:gd name="T63" fmla="*/ 107 h 479"/>
                <a:gd name="T64" fmla="*/ 62 w 204"/>
                <a:gd name="T65" fmla="*/ 160 h 479"/>
                <a:gd name="T66" fmla="*/ 51 w 204"/>
                <a:gd name="T67" fmla="*/ 169 h 479"/>
                <a:gd name="T68" fmla="*/ 54 w 204"/>
                <a:gd name="T69" fmla="*/ 186 h 479"/>
                <a:gd name="T70" fmla="*/ 62 w 204"/>
                <a:gd name="T71" fmla="*/ 192 h 479"/>
                <a:gd name="T72" fmla="*/ 65 w 204"/>
                <a:gd name="T73" fmla="*/ 279 h 479"/>
                <a:gd name="T74" fmla="*/ 70 w 204"/>
                <a:gd name="T75" fmla="*/ 254 h 479"/>
                <a:gd name="T76" fmla="*/ 79 w 204"/>
                <a:gd name="T77" fmla="*/ 279 h 479"/>
                <a:gd name="T78" fmla="*/ 85 w 204"/>
                <a:gd name="T79" fmla="*/ 313 h 479"/>
                <a:gd name="T80" fmla="*/ 85 w 204"/>
                <a:gd name="T81" fmla="*/ 352 h 479"/>
                <a:gd name="T82" fmla="*/ 79 w 204"/>
                <a:gd name="T83" fmla="*/ 341 h 479"/>
                <a:gd name="T84" fmla="*/ 87 w 204"/>
                <a:gd name="T85" fmla="*/ 316 h 479"/>
                <a:gd name="T86" fmla="*/ 90 w 204"/>
                <a:gd name="T87" fmla="*/ 333 h 479"/>
                <a:gd name="T88" fmla="*/ 98 w 204"/>
                <a:gd name="T89" fmla="*/ 409 h 479"/>
                <a:gd name="T90" fmla="*/ 104 w 204"/>
                <a:gd name="T91" fmla="*/ 405 h 479"/>
                <a:gd name="T92" fmla="*/ 93 w 204"/>
                <a:gd name="T93" fmla="*/ 385 h 479"/>
                <a:gd name="T94" fmla="*/ 93 w 204"/>
                <a:gd name="T95" fmla="*/ 399 h 479"/>
                <a:gd name="T96" fmla="*/ 102 w 204"/>
                <a:gd name="T97" fmla="*/ 419 h 479"/>
                <a:gd name="T98" fmla="*/ 110 w 204"/>
                <a:gd name="T99" fmla="*/ 422 h 479"/>
                <a:gd name="T100" fmla="*/ 113 w 204"/>
                <a:gd name="T101" fmla="*/ 439 h 479"/>
                <a:gd name="T102" fmla="*/ 118 w 204"/>
                <a:gd name="T103" fmla="*/ 442 h 479"/>
                <a:gd name="T104" fmla="*/ 121 w 204"/>
                <a:gd name="T105" fmla="*/ 430 h 479"/>
                <a:gd name="T106" fmla="*/ 130 w 204"/>
                <a:gd name="T107" fmla="*/ 439 h 479"/>
                <a:gd name="T108" fmla="*/ 144 w 204"/>
                <a:gd name="T109" fmla="*/ 447 h 479"/>
                <a:gd name="T110" fmla="*/ 135 w 204"/>
                <a:gd name="T111" fmla="*/ 158 h 479"/>
                <a:gd name="T112" fmla="*/ 161 w 204"/>
                <a:gd name="T113" fmla="*/ 44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4" h="479">
                  <a:moveTo>
                    <a:pt x="175" y="228"/>
                  </a:moveTo>
                  <a:lnTo>
                    <a:pt x="175" y="231"/>
                  </a:lnTo>
                  <a:lnTo>
                    <a:pt x="175" y="237"/>
                  </a:lnTo>
                  <a:lnTo>
                    <a:pt x="175" y="242"/>
                  </a:lnTo>
                  <a:lnTo>
                    <a:pt x="175" y="248"/>
                  </a:lnTo>
                  <a:lnTo>
                    <a:pt x="175" y="254"/>
                  </a:lnTo>
                  <a:cubicBezTo>
                    <a:pt x="175" y="259"/>
                    <a:pt x="175" y="265"/>
                    <a:pt x="178" y="270"/>
                  </a:cubicBezTo>
                  <a:cubicBezTo>
                    <a:pt x="181" y="282"/>
                    <a:pt x="183" y="293"/>
                    <a:pt x="183" y="304"/>
                  </a:cubicBezTo>
                  <a:lnTo>
                    <a:pt x="183" y="307"/>
                  </a:lnTo>
                  <a:cubicBezTo>
                    <a:pt x="189" y="316"/>
                    <a:pt x="189" y="324"/>
                    <a:pt x="189" y="335"/>
                  </a:cubicBezTo>
                  <a:cubicBezTo>
                    <a:pt x="192" y="338"/>
                    <a:pt x="195" y="341"/>
                    <a:pt x="192" y="347"/>
                  </a:cubicBezTo>
                  <a:lnTo>
                    <a:pt x="192" y="355"/>
                  </a:lnTo>
                  <a:lnTo>
                    <a:pt x="192" y="364"/>
                  </a:lnTo>
                  <a:lnTo>
                    <a:pt x="195" y="381"/>
                  </a:lnTo>
                  <a:cubicBezTo>
                    <a:pt x="195" y="382"/>
                    <a:pt x="197" y="385"/>
                    <a:pt x="197" y="385"/>
                  </a:cubicBezTo>
                  <a:cubicBezTo>
                    <a:pt x="197" y="388"/>
                    <a:pt x="197" y="391"/>
                    <a:pt x="200" y="394"/>
                  </a:cubicBezTo>
                  <a:cubicBezTo>
                    <a:pt x="203" y="396"/>
                    <a:pt x="203" y="402"/>
                    <a:pt x="203" y="405"/>
                  </a:cubicBezTo>
                  <a:lnTo>
                    <a:pt x="203" y="411"/>
                  </a:lnTo>
                  <a:lnTo>
                    <a:pt x="203" y="416"/>
                  </a:lnTo>
                  <a:cubicBezTo>
                    <a:pt x="203" y="427"/>
                    <a:pt x="200" y="439"/>
                    <a:pt x="195" y="450"/>
                  </a:cubicBezTo>
                  <a:cubicBezTo>
                    <a:pt x="195" y="453"/>
                    <a:pt x="192" y="453"/>
                    <a:pt x="189" y="453"/>
                  </a:cubicBezTo>
                  <a:cubicBezTo>
                    <a:pt x="183" y="456"/>
                    <a:pt x="178" y="461"/>
                    <a:pt x="172" y="467"/>
                  </a:cubicBezTo>
                  <a:cubicBezTo>
                    <a:pt x="169" y="470"/>
                    <a:pt x="167" y="473"/>
                    <a:pt x="164" y="473"/>
                  </a:cubicBezTo>
                  <a:cubicBezTo>
                    <a:pt x="162" y="473"/>
                    <a:pt x="158" y="475"/>
                    <a:pt x="158" y="473"/>
                  </a:cubicBezTo>
                  <a:cubicBezTo>
                    <a:pt x="155" y="473"/>
                    <a:pt x="152" y="475"/>
                    <a:pt x="149" y="475"/>
                  </a:cubicBezTo>
                  <a:cubicBezTo>
                    <a:pt x="144" y="478"/>
                    <a:pt x="138" y="478"/>
                    <a:pt x="133" y="475"/>
                  </a:cubicBezTo>
                  <a:lnTo>
                    <a:pt x="127" y="475"/>
                  </a:lnTo>
                  <a:lnTo>
                    <a:pt x="118" y="475"/>
                  </a:lnTo>
                  <a:lnTo>
                    <a:pt x="116" y="473"/>
                  </a:lnTo>
                  <a:cubicBezTo>
                    <a:pt x="113" y="473"/>
                    <a:pt x="113" y="470"/>
                    <a:pt x="113" y="470"/>
                  </a:cubicBezTo>
                  <a:cubicBezTo>
                    <a:pt x="110" y="470"/>
                    <a:pt x="104" y="467"/>
                    <a:pt x="104" y="467"/>
                  </a:cubicBezTo>
                  <a:lnTo>
                    <a:pt x="96" y="461"/>
                  </a:lnTo>
                  <a:cubicBezTo>
                    <a:pt x="90" y="456"/>
                    <a:pt x="85" y="450"/>
                    <a:pt x="82" y="442"/>
                  </a:cubicBezTo>
                  <a:cubicBezTo>
                    <a:pt x="79" y="436"/>
                    <a:pt x="79" y="433"/>
                    <a:pt x="76" y="427"/>
                  </a:cubicBezTo>
                  <a:cubicBezTo>
                    <a:pt x="76" y="425"/>
                    <a:pt x="73" y="422"/>
                    <a:pt x="76" y="419"/>
                  </a:cubicBezTo>
                  <a:lnTo>
                    <a:pt x="76" y="411"/>
                  </a:lnTo>
                  <a:cubicBezTo>
                    <a:pt x="76" y="408"/>
                    <a:pt x="73" y="405"/>
                    <a:pt x="76" y="405"/>
                  </a:cubicBezTo>
                  <a:cubicBezTo>
                    <a:pt x="76" y="402"/>
                    <a:pt x="73" y="402"/>
                    <a:pt x="73" y="399"/>
                  </a:cubicBezTo>
                  <a:cubicBezTo>
                    <a:pt x="73" y="396"/>
                    <a:pt x="70" y="394"/>
                    <a:pt x="73" y="391"/>
                  </a:cubicBezTo>
                  <a:lnTo>
                    <a:pt x="73" y="385"/>
                  </a:lnTo>
                  <a:lnTo>
                    <a:pt x="73" y="381"/>
                  </a:lnTo>
                  <a:cubicBezTo>
                    <a:pt x="73" y="375"/>
                    <a:pt x="70" y="369"/>
                    <a:pt x="70" y="364"/>
                  </a:cubicBezTo>
                  <a:cubicBezTo>
                    <a:pt x="70" y="358"/>
                    <a:pt x="68" y="352"/>
                    <a:pt x="68" y="347"/>
                  </a:cubicBezTo>
                  <a:cubicBezTo>
                    <a:pt x="65" y="341"/>
                    <a:pt x="65" y="335"/>
                    <a:pt x="65" y="327"/>
                  </a:cubicBezTo>
                  <a:lnTo>
                    <a:pt x="65" y="318"/>
                  </a:lnTo>
                  <a:cubicBezTo>
                    <a:pt x="65" y="316"/>
                    <a:pt x="62" y="313"/>
                    <a:pt x="62" y="310"/>
                  </a:cubicBezTo>
                  <a:lnTo>
                    <a:pt x="62" y="302"/>
                  </a:lnTo>
                  <a:cubicBezTo>
                    <a:pt x="62" y="299"/>
                    <a:pt x="59" y="296"/>
                    <a:pt x="59" y="296"/>
                  </a:cubicBezTo>
                  <a:cubicBezTo>
                    <a:pt x="59" y="296"/>
                    <a:pt x="56" y="296"/>
                    <a:pt x="59" y="293"/>
                  </a:cubicBezTo>
                  <a:lnTo>
                    <a:pt x="59" y="285"/>
                  </a:lnTo>
                  <a:lnTo>
                    <a:pt x="59" y="282"/>
                  </a:lnTo>
                  <a:cubicBezTo>
                    <a:pt x="56" y="279"/>
                    <a:pt x="54" y="276"/>
                    <a:pt x="56" y="273"/>
                  </a:cubicBezTo>
                  <a:cubicBezTo>
                    <a:pt x="59" y="270"/>
                    <a:pt x="59" y="270"/>
                    <a:pt x="59" y="268"/>
                  </a:cubicBezTo>
                  <a:cubicBezTo>
                    <a:pt x="59" y="268"/>
                    <a:pt x="59" y="265"/>
                    <a:pt x="56" y="262"/>
                  </a:cubicBezTo>
                  <a:cubicBezTo>
                    <a:pt x="56" y="259"/>
                    <a:pt x="56" y="256"/>
                    <a:pt x="54" y="256"/>
                  </a:cubicBezTo>
                  <a:cubicBezTo>
                    <a:pt x="51" y="254"/>
                    <a:pt x="51" y="251"/>
                    <a:pt x="54" y="251"/>
                  </a:cubicBezTo>
                  <a:lnTo>
                    <a:pt x="54" y="245"/>
                  </a:lnTo>
                  <a:cubicBezTo>
                    <a:pt x="54" y="242"/>
                    <a:pt x="51" y="242"/>
                    <a:pt x="51" y="239"/>
                  </a:cubicBezTo>
                  <a:cubicBezTo>
                    <a:pt x="48" y="234"/>
                    <a:pt x="48" y="231"/>
                    <a:pt x="48" y="225"/>
                  </a:cubicBezTo>
                  <a:cubicBezTo>
                    <a:pt x="48" y="223"/>
                    <a:pt x="45" y="220"/>
                    <a:pt x="45" y="217"/>
                  </a:cubicBezTo>
                  <a:cubicBezTo>
                    <a:pt x="42" y="211"/>
                    <a:pt x="39" y="203"/>
                    <a:pt x="42" y="194"/>
                  </a:cubicBezTo>
                  <a:cubicBezTo>
                    <a:pt x="42" y="192"/>
                    <a:pt x="42" y="186"/>
                    <a:pt x="45" y="183"/>
                  </a:cubicBezTo>
                  <a:cubicBezTo>
                    <a:pt x="45" y="180"/>
                    <a:pt x="45" y="180"/>
                    <a:pt x="42" y="177"/>
                  </a:cubicBezTo>
                  <a:lnTo>
                    <a:pt x="42" y="175"/>
                  </a:lnTo>
                  <a:cubicBezTo>
                    <a:pt x="39" y="160"/>
                    <a:pt x="39" y="146"/>
                    <a:pt x="34" y="132"/>
                  </a:cubicBezTo>
                  <a:cubicBezTo>
                    <a:pt x="31" y="118"/>
                    <a:pt x="28" y="107"/>
                    <a:pt x="25" y="93"/>
                  </a:cubicBezTo>
                  <a:lnTo>
                    <a:pt x="25" y="90"/>
                  </a:lnTo>
                  <a:lnTo>
                    <a:pt x="25" y="84"/>
                  </a:lnTo>
                  <a:cubicBezTo>
                    <a:pt x="25" y="81"/>
                    <a:pt x="23" y="79"/>
                    <a:pt x="23" y="79"/>
                  </a:cubicBezTo>
                  <a:cubicBezTo>
                    <a:pt x="25" y="73"/>
                    <a:pt x="23" y="67"/>
                    <a:pt x="20" y="62"/>
                  </a:cubicBezTo>
                  <a:cubicBezTo>
                    <a:pt x="3" y="59"/>
                    <a:pt x="3" y="53"/>
                    <a:pt x="3" y="48"/>
                  </a:cubicBezTo>
                  <a:lnTo>
                    <a:pt x="3" y="45"/>
                  </a:lnTo>
                  <a:cubicBezTo>
                    <a:pt x="0" y="36"/>
                    <a:pt x="0" y="25"/>
                    <a:pt x="6" y="17"/>
                  </a:cubicBezTo>
                  <a:cubicBezTo>
                    <a:pt x="8" y="11"/>
                    <a:pt x="15" y="11"/>
                    <a:pt x="20" y="11"/>
                  </a:cubicBezTo>
                  <a:cubicBezTo>
                    <a:pt x="26" y="11"/>
                    <a:pt x="28" y="8"/>
                    <a:pt x="34" y="5"/>
                  </a:cubicBezTo>
                  <a:cubicBezTo>
                    <a:pt x="39" y="5"/>
                    <a:pt x="45" y="8"/>
                    <a:pt x="48" y="11"/>
                  </a:cubicBezTo>
                  <a:cubicBezTo>
                    <a:pt x="51" y="14"/>
                    <a:pt x="54" y="17"/>
                    <a:pt x="59" y="19"/>
                  </a:cubicBezTo>
                  <a:lnTo>
                    <a:pt x="59" y="31"/>
                  </a:lnTo>
                  <a:lnTo>
                    <a:pt x="59" y="42"/>
                  </a:lnTo>
                  <a:lnTo>
                    <a:pt x="59" y="45"/>
                  </a:lnTo>
                  <a:lnTo>
                    <a:pt x="59" y="50"/>
                  </a:lnTo>
                  <a:lnTo>
                    <a:pt x="59" y="56"/>
                  </a:lnTo>
                  <a:cubicBezTo>
                    <a:pt x="59" y="59"/>
                    <a:pt x="59" y="59"/>
                    <a:pt x="62" y="62"/>
                  </a:cubicBezTo>
                  <a:cubicBezTo>
                    <a:pt x="65" y="65"/>
                    <a:pt x="65" y="67"/>
                    <a:pt x="68" y="70"/>
                  </a:cubicBezTo>
                  <a:lnTo>
                    <a:pt x="68" y="81"/>
                  </a:lnTo>
                  <a:cubicBezTo>
                    <a:pt x="70" y="87"/>
                    <a:pt x="70" y="96"/>
                    <a:pt x="73" y="101"/>
                  </a:cubicBezTo>
                  <a:cubicBezTo>
                    <a:pt x="73" y="107"/>
                    <a:pt x="76" y="115"/>
                    <a:pt x="79" y="121"/>
                  </a:cubicBezTo>
                  <a:cubicBezTo>
                    <a:pt x="79" y="124"/>
                    <a:pt x="79" y="127"/>
                    <a:pt x="82" y="127"/>
                  </a:cubicBezTo>
                  <a:lnTo>
                    <a:pt x="82" y="135"/>
                  </a:lnTo>
                  <a:lnTo>
                    <a:pt x="82" y="144"/>
                  </a:lnTo>
                  <a:lnTo>
                    <a:pt x="82" y="152"/>
                  </a:lnTo>
                  <a:lnTo>
                    <a:pt x="82" y="155"/>
                  </a:lnTo>
                  <a:lnTo>
                    <a:pt x="82" y="160"/>
                  </a:lnTo>
                  <a:lnTo>
                    <a:pt x="82" y="163"/>
                  </a:lnTo>
                  <a:cubicBezTo>
                    <a:pt x="85" y="163"/>
                    <a:pt x="85" y="166"/>
                    <a:pt x="85" y="166"/>
                  </a:cubicBezTo>
                  <a:cubicBezTo>
                    <a:pt x="85" y="172"/>
                    <a:pt x="85" y="177"/>
                    <a:pt x="87" y="180"/>
                  </a:cubicBezTo>
                  <a:cubicBezTo>
                    <a:pt x="90" y="186"/>
                    <a:pt x="90" y="192"/>
                    <a:pt x="90" y="194"/>
                  </a:cubicBezTo>
                  <a:lnTo>
                    <a:pt x="90" y="200"/>
                  </a:lnTo>
                  <a:lnTo>
                    <a:pt x="90" y="206"/>
                  </a:lnTo>
                  <a:lnTo>
                    <a:pt x="93" y="217"/>
                  </a:lnTo>
                  <a:cubicBezTo>
                    <a:pt x="93" y="220"/>
                    <a:pt x="96" y="223"/>
                    <a:pt x="93" y="223"/>
                  </a:cubicBezTo>
                  <a:cubicBezTo>
                    <a:pt x="93" y="225"/>
                    <a:pt x="93" y="228"/>
                    <a:pt x="96" y="228"/>
                  </a:cubicBezTo>
                  <a:lnTo>
                    <a:pt x="96" y="231"/>
                  </a:lnTo>
                  <a:cubicBezTo>
                    <a:pt x="93" y="239"/>
                    <a:pt x="96" y="248"/>
                    <a:pt x="99" y="254"/>
                  </a:cubicBezTo>
                  <a:cubicBezTo>
                    <a:pt x="102" y="262"/>
                    <a:pt x="102" y="270"/>
                    <a:pt x="102" y="276"/>
                  </a:cubicBezTo>
                  <a:cubicBezTo>
                    <a:pt x="102" y="282"/>
                    <a:pt x="102" y="290"/>
                    <a:pt x="104" y="296"/>
                  </a:cubicBezTo>
                  <a:cubicBezTo>
                    <a:pt x="104" y="299"/>
                    <a:pt x="107" y="304"/>
                    <a:pt x="107" y="307"/>
                  </a:cubicBezTo>
                  <a:lnTo>
                    <a:pt x="107" y="318"/>
                  </a:lnTo>
                  <a:lnTo>
                    <a:pt x="107" y="321"/>
                  </a:lnTo>
                  <a:lnTo>
                    <a:pt x="107" y="324"/>
                  </a:lnTo>
                  <a:cubicBezTo>
                    <a:pt x="113" y="333"/>
                    <a:pt x="113" y="341"/>
                    <a:pt x="113" y="352"/>
                  </a:cubicBezTo>
                  <a:lnTo>
                    <a:pt x="113" y="355"/>
                  </a:lnTo>
                  <a:lnTo>
                    <a:pt x="116" y="361"/>
                  </a:lnTo>
                  <a:lnTo>
                    <a:pt x="116" y="364"/>
                  </a:lnTo>
                  <a:lnTo>
                    <a:pt x="116" y="375"/>
                  </a:lnTo>
                  <a:cubicBezTo>
                    <a:pt x="116" y="381"/>
                    <a:pt x="116" y="382"/>
                    <a:pt x="118" y="385"/>
                  </a:cubicBezTo>
                  <a:cubicBezTo>
                    <a:pt x="121" y="389"/>
                    <a:pt x="121" y="391"/>
                    <a:pt x="121" y="396"/>
                  </a:cubicBezTo>
                  <a:cubicBezTo>
                    <a:pt x="121" y="399"/>
                    <a:pt x="121" y="402"/>
                    <a:pt x="124" y="405"/>
                  </a:cubicBezTo>
                  <a:lnTo>
                    <a:pt x="127" y="411"/>
                  </a:lnTo>
                  <a:cubicBezTo>
                    <a:pt x="127" y="413"/>
                    <a:pt x="133" y="419"/>
                    <a:pt x="135" y="416"/>
                  </a:cubicBezTo>
                  <a:lnTo>
                    <a:pt x="138" y="416"/>
                  </a:lnTo>
                  <a:cubicBezTo>
                    <a:pt x="138" y="416"/>
                    <a:pt x="138" y="419"/>
                    <a:pt x="141" y="419"/>
                  </a:cubicBezTo>
                  <a:cubicBezTo>
                    <a:pt x="144" y="416"/>
                    <a:pt x="149" y="416"/>
                    <a:pt x="152" y="416"/>
                  </a:cubicBezTo>
                  <a:lnTo>
                    <a:pt x="155" y="413"/>
                  </a:lnTo>
                  <a:cubicBezTo>
                    <a:pt x="155" y="411"/>
                    <a:pt x="158" y="411"/>
                    <a:pt x="158" y="411"/>
                  </a:cubicBezTo>
                  <a:lnTo>
                    <a:pt x="158" y="396"/>
                  </a:lnTo>
                  <a:lnTo>
                    <a:pt x="158" y="382"/>
                  </a:lnTo>
                  <a:lnTo>
                    <a:pt x="158" y="372"/>
                  </a:lnTo>
                  <a:cubicBezTo>
                    <a:pt x="158" y="369"/>
                    <a:pt x="155" y="364"/>
                    <a:pt x="152" y="361"/>
                  </a:cubicBezTo>
                  <a:cubicBezTo>
                    <a:pt x="152" y="361"/>
                    <a:pt x="152" y="358"/>
                    <a:pt x="149" y="355"/>
                  </a:cubicBezTo>
                  <a:lnTo>
                    <a:pt x="149" y="347"/>
                  </a:lnTo>
                  <a:lnTo>
                    <a:pt x="149" y="338"/>
                  </a:lnTo>
                  <a:cubicBezTo>
                    <a:pt x="149" y="338"/>
                    <a:pt x="149" y="335"/>
                    <a:pt x="152" y="335"/>
                  </a:cubicBezTo>
                  <a:cubicBezTo>
                    <a:pt x="149" y="335"/>
                    <a:pt x="149" y="333"/>
                    <a:pt x="149" y="333"/>
                  </a:cubicBezTo>
                  <a:cubicBezTo>
                    <a:pt x="149" y="327"/>
                    <a:pt x="147" y="321"/>
                    <a:pt x="144" y="316"/>
                  </a:cubicBezTo>
                  <a:cubicBezTo>
                    <a:pt x="147" y="316"/>
                    <a:pt x="144" y="310"/>
                    <a:pt x="144" y="302"/>
                  </a:cubicBezTo>
                  <a:lnTo>
                    <a:pt x="144" y="296"/>
                  </a:lnTo>
                  <a:cubicBezTo>
                    <a:pt x="144" y="293"/>
                    <a:pt x="144" y="293"/>
                    <a:pt x="141" y="290"/>
                  </a:cubicBezTo>
                  <a:cubicBezTo>
                    <a:pt x="141" y="287"/>
                    <a:pt x="138" y="287"/>
                    <a:pt x="138" y="285"/>
                  </a:cubicBezTo>
                  <a:cubicBezTo>
                    <a:pt x="138" y="282"/>
                    <a:pt x="138" y="282"/>
                    <a:pt x="135" y="279"/>
                  </a:cubicBezTo>
                  <a:cubicBezTo>
                    <a:pt x="133" y="273"/>
                    <a:pt x="133" y="268"/>
                    <a:pt x="135" y="262"/>
                  </a:cubicBezTo>
                  <a:cubicBezTo>
                    <a:pt x="133" y="259"/>
                    <a:pt x="133" y="254"/>
                    <a:pt x="130" y="251"/>
                  </a:cubicBezTo>
                  <a:cubicBezTo>
                    <a:pt x="127" y="248"/>
                    <a:pt x="127" y="242"/>
                    <a:pt x="130" y="237"/>
                  </a:cubicBezTo>
                  <a:cubicBezTo>
                    <a:pt x="127" y="234"/>
                    <a:pt x="127" y="231"/>
                    <a:pt x="127" y="228"/>
                  </a:cubicBezTo>
                  <a:cubicBezTo>
                    <a:pt x="127" y="225"/>
                    <a:pt x="127" y="223"/>
                    <a:pt x="124" y="220"/>
                  </a:cubicBezTo>
                  <a:cubicBezTo>
                    <a:pt x="127" y="220"/>
                    <a:pt x="127" y="217"/>
                    <a:pt x="127" y="214"/>
                  </a:cubicBezTo>
                  <a:cubicBezTo>
                    <a:pt x="127" y="211"/>
                    <a:pt x="124" y="211"/>
                    <a:pt x="124" y="208"/>
                  </a:cubicBezTo>
                  <a:cubicBezTo>
                    <a:pt x="121" y="200"/>
                    <a:pt x="121" y="194"/>
                    <a:pt x="118" y="186"/>
                  </a:cubicBezTo>
                  <a:lnTo>
                    <a:pt x="113" y="163"/>
                  </a:lnTo>
                  <a:cubicBezTo>
                    <a:pt x="113" y="160"/>
                    <a:pt x="113" y="158"/>
                    <a:pt x="110" y="158"/>
                  </a:cubicBezTo>
                  <a:lnTo>
                    <a:pt x="110" y="152"/>
                  </a:lnTo>
                  <a:lnTo>
                    <a:pt x="110" y="144"/>
                  </a:lnTo>
                  <a:lnTo>
                    <a:pt x="110" y="138"/>
                  </a:lnTo>
                  <a:cubicBezTo>
                    <a:pt x="113" y="135"/>
                    <a:pt x="113" y="132"/>
                    <a:pt x="110" y="129"/>
                  </a:cubicBezTo>
                  <a:cubicBezTo>
                    <a:pt x="107" y="127"/>
                    <a:pt x="107" y="127"/>
                    <a:pt x="107" y="124"/>
                  </a:cubicBezTo>
                  <a:lnTo>
                    <a:pt x="107" y="118"/>
                  </a:lnTo>
                  <a:cubicBezTo>
                    <a:pt x="107" y="115"/>
                    <a:pt x="104" y="113"/>
                    <a:pt x="104" y="113"/>
                  </a:cubicBezTo>
                  <a:cubicBezTo>
                    <a:pt x="104" y="110"/>
                    <a:pt x="105" y="110"/>
                    <a:pt x="102" y="107"/>
                  </a:cubicBezTo>
                  <a:cubicBezTo>
                    <a:pt x="100" y="104"/>
                    <a:pt x="99" y="98"/>
                    <a:pt x="102" y="96"/>
                  </a:cubicBezTo>
                  <a:lnTo>
                    <a:pt x="102" y="84"/>
                  </a:lnTo>
                  <a:lnTo>
                    <a:pt x="102" y="79"/>
                  </a:lnTo>
                  <a:cubicBezTo>
                    <a:pt x="99" y="76"/>
                    <a:pt x="99" y="73"/>
                    <a:pt x="99" y="70"/>
                  </a:cubicBezTo>
                  <a:cubicBezTo>
                    <a:pt x="99" y="67"/>
                    <a:pt x="99" y="65"/>
                    <a:pt x="96" y="62"/>
                  </a:cubicBezTo>
                  <a:cubicBezTo>
                    <a:pt x="96" y="59"/>
                    <a:pt x="93" y="59"/>
                    <a:pt x="93" y="56"/>
                  </a:cubicBezTo>
                  <a:cubicBezTo>
                    <a:pt x="93" y="56"/>
                    <a:pt x="90" y="53"/>
                    <a:pt x="93" y="53"/>
                  </a:cubicBezTo>
                  <a:lnTo>
                    <a:pt x="93" y="39"/>
                  </a:lnTo>
                  <a:cubicBezTo>
                    <a:pt x="87" y="28"/>
                    <a:pt x="90" y="14"/>
                    <a:pt x="99" y="5"/>
                  </a:cubicBezTo>
                  <a:cubicBezTo>
                    <a:pt x="104" y="0"/>
                    <a:pt x="110" y="0"/>
                    <a:pt x="118" y="0"/>
                  </a:cubicBezTo>
                  <a:lnTo>
                    <a:pt x="121" y="0"/>
                  </a:lnTo>
                  <a:lnTo>
                    <a:pt x="124" y="3"/>
                  </a:lnTo>
                  <a:lnTo>
                    <a:pt x="127" y="5"/>
                  </a:lnTo>
                  <a:lnTo>
                    <a:pt x="133" y="42"/>
                  </a:lnTo>
                  <a:cubicBezTo>
                    <a:pt x="133" y="45"/>
                    <a:pt x="133" y="48"/>
                    <a:pt x="135" y="50"/>
                  </a:cubicBezTo>
                  <a:cubicBezTo>
                    <a:pt x="138" y="56"/>
                    <a:pt x="138" y="62"/>
                    <a:pt x="138" y="67"/>
                  </a:cubicBezTo>
                  <a:cubicBezTo>
                    <a:pt x="141" y="70"/>
                    <a:pt x="144" y="76"/>
                    <a:pt x="141" y="81"/>
                  </a:cubicBezTo>
                  <a:lnTo>
                    <a:pt x="141" y="87"/>
                  </a:lnTo>
                  <a:cubicBezTo>
                    <a:pt x="141" y="90"/>
                    <a:pt x="141" y="90"/>
                    <a:pt x="144" y="93"/>
                  </a:cubicBezTo>
                  <a:cubicBezTo>
                    <a:pt x="147" y="93"/>
                    <a:pt x="147" y="96"/>
                    <a:pt x="147" y="98"/>
                  </a:cubicBezTo>
                  <a:lnTo>
                    <a:pt x="147" y="107"/>
                  </a:lnTo>
                  <a:cubicBezTo>
                    <a:pt x="147" y="110"/>
                    <a:pt x="149" y="113"/>
                    <a:pt x="149" y="115"/>
                  </a:cubicBezTo>
                  <a:lnTo>
                    <a:pt x="149" y="124"/>
                  </a:lnTo>
                  <a:lnTo>
                    <a:pt x="152" y="138"/>
                  </a:lnTo>
                  <a:cubicBezTo>
                    <a:pt x="152" y="144"/>
                    <a:pt x="152" y="146"/>
                    <a:pt x="155" y="152"/>
                  </a:cubicBezTo>
                  <a:cubicBezTo>
                    <a:pt x="161" y="160"/>
                    <a:pt x="161" y="171"/>
                    <a:pt x="161" y="180"/>
                  </a:cubicBezTo>
                  <a:cubicBezTo>
                    <a:pt x="161" y="188"/>
                    <a:pt x="161" y="194"/>
                    <a:pt x="164" y="203"/>
                  </a:cubicBezTo>
                  <a:cubicBezTo>
                    <a:pt x="164" y="211"/>
                    <a:pt x="166" y="217"/>
                    <a:pt x="166" y="225"/>
                  </a:cubicBezTo>
                  <a:lnTo>
                    <a:pt x="166" y="231"/>
                  </a:lnTo>
                  <a:cubicBezTo>
                    <a:pt x="172" y="225"/>
                    <a:pt x="172" y="228"/>
                    <a:pt x="175" y="228"/>
                  </a:cubicBezTo>
                  <a:close/>
                  <a:moveTo>
                    <a:pt x="25" y="56"/>
                  </a:moveTo>
                  <a:cubicBezTo>
                    <a:pt x="25" y="59"/>
                    <a:pt x="28" y="59"/>
                    <a:pt x="28" y="59"/>
                  </a:cubicBezTo>
                  <a:lnTo>
                    <a:pt x="25" y="56"/>
                  </a:lnTo>
                  <a:close/>
                  <a:moveTo>
                    <a:pt x="25" y="36"/>
                  </a:moveTo>
                  <a:lnTo>
                    <a:pt x="28" y="36"/>
                  </a:lnTo>
                  <a:lnTo>
                    <a:pt x="28" y="34"/>
                  </a:lnTo>
                  <a:cubicBezTo>
                    <a:pt x="28" y="34"/>
                    <a:pt x="28" y="36"/>
                    <a:pt x="25" y="36"/>
                  </a:cubicBezTo>
                  <a:close/>
                  <a:moveTo>
                    <a:pt x="31" y="70"/>
                  </a:moveTo>
                  <a:cubicBezTo>
                    <a:pt x="34" y="70"/>
                    <a:pt x="37" y="73"/>
                    <a:pt x="37" y="76"/>
                  </a:cubicBezTo>
                  <a:cubicBezTo>
                    <a:pt x="37" y="79"/>
                    <a:pt x="39" y="79"/>
                    <a:pt x="42" y="79"/>
                  </a:cubicBezTo>
                  <a:lnTo>
                    <a:pt x="42" y="76"/>
                  </a:lnTo>
                  <a:lnTo>
                    <a:pt x="39" y="76"/>
                  </a:lnTo>
                  <a:lnTo>
                    <a:pt x="39" y="73"/>
                  </a:lnTo>
                  <a:lnTo>
                    <a:pt x="34" y="70"/>
                  </a:lnTo>
                  <a:lnTo>
                    <a:pt x="34" y="65"/>
                  </a:lnTo>
                  <a:lnTo>
                    <a:pt x="31" y="70"/>
                  </a:lnTo>
                  <a:close/>
                  <a:moveTo>
                    <a:pt x="34" y="87"/>
                  </a:moveTo>
                  <a:cubicBezTo>
                    <a:pt x="37" y="87"/>
                    <a:pt x="37" y="87"/>
                    <a:pt x="39" y="84"/>
                  </a:cubicBezTo>
                  <a:cubicBezTo>
                    <a:pt x="39" y="84"/>
                    <a:pt x="42" y="84"/>
                    <a:pt x="42" y="81"/>
                  </a:cubicBezTo>
                  <a:cubicBezTo>
                    <a:pt x="39" y="81"/>
                    <a:pt x="37" y="79"/>
                    <a:pt x="34" y="79"/>
                  </a:cubicBezTo>
                  <a:lnTo>
                    <a:pt x="34" y="87"/>
                  </a:lnTo>
                  <a:close/>
                  <a:moveTo>
                    <a:pt x="37" y="48"/>
                  </a:moveTo>
                  <a:cubicBezTo>
                    <a:pt x="31" y="50"/>
                    <a:pt x="31" y="56"/>
                    <a:pt x="34" y="59"/>
                  </a:cubicBezTo>
                  <a:cubicBezTo>
                    <a:pt x="34" y="56"/>
                    <a:pt x="34" y="53"/>
                    <a:pt x="37" y="48"/>
                  </a:cubicBezTo>
                  <a:lnTo>
                    <a:pt x="39" y="48"/>
                  </a:lnTo>
                  <a:lnTo>
                    <a:pt x="39" y="42"/>
                  </a:lnTo>
                  <a:lnTo>
                    <a:pt x="39" y="36"/>
                  </a:lnTo>
                  <a:cubicBezTo>
                    <a:pt x="37" y="36"/>
                    <a:pt x="37" y="39"/>
                    <a:pt x="34" y="39"/>
                  </a:cubicBezTo>
                  <a:lnTo>
                    <a:pt x="31" y="42"/>
                  </a:lnTo>
                  <a:cubicBezTo>
                    <a:pt x="34" y="45"/>
                    <a:pt x="34" y="48"/>
                    <a:pt x="37" y="48"/>
                  </a:cubicBezTo>
                  <a:close/>
                  <a:moveTo>
                    <a:pt x="34" y="98"/>
                  </a:moveTo>
                  <a:lnTo>
                    <a:pt x="42" y="101"/>
                  </a:lnTo>
                  <a:cubicBezTo>
                    <a:pt x="48" y="93"/>
                    <a:pt x="48" y="93"/>
                    <a:pt x="48" y="84"/>
                  </a:cubicBezTo>
                  <a:lnTo>
                    <a:pt x="42" y="84"/>
                  </a:lnTo>
                  <a:cubicBezTo>
                    <a:pt x="42" y="87"/>
                    <a:pt x="39" y="90"/>
                    <a:pt x="39" y="90"/>
                  </a:cubicBezTo>
                  <a:lnTo>
                    <a:pt x="39" y="96"/>
                  </a:lnTo>
                  <a:lnTo>
                    <a:pt x="37" y="96"/>
                  </a:lnTo>
                  <a:cubicBezTo>
                    <a:pt x="37" y="98"/>
                    <a:pt x="37" y="98"/>
                    <a:pt x="34" y="98"/>
                  </a:cubicBezTo>
                  <a:close/>
                  <a:moveTo>
                    <a:pt x="39" y="113"/>
                  </a:moveTo>
                  <a:lnTo>
                    <a:pt x="42" y="113"/>
                  </a:lnTo>
                  <a:lnTo>
                    <a:pt x="42" y="110"/>
                  </a:lnTo>
                  <a:lnTo>
                    <a:pt x="39" y="113"/>
                  </a:lnTo>
                  <a:close/>
                  <a:moveTo>
                    <a:pt x="39" y="132"/>
                  </a:moveTo>
                  <a:cubicBezTo>
                    <a:pt x="42" y="132"/>
                    <a:pt x="42" y="132"/>
                    <a:pt x="42" y="129"/>
                  </a:cubicBezTo>
                  <a:cubicBezTo>
                    <a:pt x="42" y="129"/>
                    <a:pt x="39" y="129"/>
                    <a:pt x="39" y="132"/>
                  </a:cubicBezTo>
                  <a:close/>
                  <a:moveTo>
                    <a:pt x="48" y="127"/>
                  </a:moveTo>
                  <a:cubicBezTo>
                    <a:pt x="51" y="124"/>
                    <a:pt x="51" y="124"/>
                    <a:pt x="54" y="124"/>
                  </a:cubicBezTo>
                  <a:lnTo>
                    <a:pt x="54" y="115"/>
                  </a:lnTo>
                  <a:lnTo>
                    <a:pt x="51" y="115"/>
                  </a:lnTo>
                  <a:cubicBezTo>
                    <a:pt x="51" y="115"/>
                    <a:pt x="48" y="115"/>
                    <a:pt x="48" y="118"/>
                  </a:cubicBezTo>
                  <a:lnTo>
                    <a:pt x="48" y="115"/>
                  </a:lnTo>
                  <a:lnTo>
                    <a:pt x="45" y="113"/>
                  </a:lnTo>
                  <a:cubicBezTo>
                    <a:pt x="42" y="115"/>
                    <a:pt x="42" y="118"/>
                    <a:pt x="39" y="118"/>
                  </a:cubicBezTo>
                  <a:lnTo>
                    <a:pt x="48" y="118"/>
                  </a:lnTo>
                  <a:cubicBezTo>
                    <a:pt x="48" y="121"/>
                    <a:pt x="48" y="124"/>
                    <a:pt x="45" y="124"/>
                  </a:cubicBezTo>
                  <a:lnTo>
                    <a:pt x="39" y="124"/>
                  </a:lnTo>
                  <a:lnTo>
                    <a:pt x="42" y="129"/>
                  </a:lnTo>
                  <a:cubicBezTo>
                    <a:pt x="45" y="129"/>
                    <a:pt x="48" y="129"/>
                    <a:pt x="48" y="127"/>
                  </a:cubicBezTo>
                  <a:close/>
                  <a:moveTo>
                    <a:pt x="45" y="144"/>
                  </a:moveTo>
                  <a:lnTo>
                    <a:pt x="48" y="146"/>
                  </a:lnTo>
                  <a:lnTo>
                    <a:pt x="56" y="138"/>
                  </a:lnTo>
                  <a:lnTo>
                    <a:pt x="56" y="135"/>
                  </a:lnTo>
                  <a:lnTo>
                    <a:pt x="54" y="135"/>
                  </a:lnTo>
                  <a:lnTo>
                    <a:pt x="45" y="144"/>
                  </a:lnTo>
                  <a:close/>
                  <a:moveTo>
                    <a:pt x="48" y="110"/>
                  </a:moveTo>
                  <a:cubicBezTo>
                    <a:pt x="51" y="113"/>
                    <a:pt x="51" y="113"/>
                    <a:pt x="54" y="113"/>
                  </a:cubicBezTo>
                  <a:lnTo>
                    <a:pt x="54" y="110"/>
                  </a:lnTo>
                  <a:lnTo>
                    <a:pt x="54" y="107"/>
                  </a:lnTo>
                  <a:lnTo>
                    <a:pt x="48" y="110"/>
                  </a:lnTo>
                  <a:close/>
                  <a:moveTo>
                    <a:pt x="51" y="135"/>
                  </a:moveTo>
                  <a:lnTo>
                    <a:pt x="54" y="135"/>
                  </a:lnTo>
                  <a:cubicBezTo>
                    <a:pt x="54" y="129"/>
                    <a:pt x="51" y="129"/>
                    <a:pt x="48" y="132"/>
                  </a:cubicBezTo>
                  <a:lnTo>
                    <a:pt x="51" y="135"/>
                  </a:lnTo>
                  <a:close/>
                  <a:moveTo>
                    <a:pt x="54" y="158"/>
                  </a:moveTo>
                  <a:cubicBezTo>
                    <a:pt x="54" y="158"/>
                    <a:pt x="52" y="158"/>
                    <a:pt x="52" y="157"/>
                  </a:cubicBezTo>
                  <a:cubicBezTo>
                    <a:pt x="55" y="163"/>
                    <a:pt x="59" y="163"/>
                    <a:pt x="62" y="160"/>
                  </a:cubicBezTo>
                  <a:lnTo>
                    <a:pt x="62" y="155"/>
                  </a:lnTo>
                  <a:lnTo>
                    <a:pt x="56" y="160"/>
                  </a:lnTo>
                  <a:lnTo>
                    <a:pt x="54" y="158"/>
                  </a:lnTo>
                  <a:close/>
                  <a:moveTo>
                    <a:pt x="51" y="169"/>
                  </a:moveTo>
                  <a:lnTo>
                    <a:pt x="54" y="169"/>
                  </a:lnTo>
                  <a:lnTo>
                    <a:pt x="54" y="166"/>
                  </a:lnTo>
                  <a:lnTo>
                    <a:pt x="54" y="163"/>
                  </a:lnTo>
                  <a:cubicBezTo>
                    <a:pt x="54" y="163"/>
                    <a:pt x="51" y="166"/>
                    <a:pt x="51" y="169"/>
                  </a:cubicBezTo>
                  <a:close/>
                  <a:moveTo>
                    <a:pt x="65" y="183"/>
                  </a:moveTo>
                  <a:lnTo>
                    <a:pt x="62" y="180"/>
                  </a:lnTo>
                  <a:cubicBezTo>
                    <a:pt x="62" y="177"/>
                    <a:pt x="59" y="177"/>
                    <a:pt x="56" y="175"/>
                  </a:cubicBezTo>
                  <a:lnTo>
                    <a:pt x="51" y="175"/>
                  </a:lnTo>
                  <a:cubicBezTo>
                    <a:pt x="59" y="177"/>
                    <a:pt x="62" y="180"/>
                    <a:pt x="65" y="183"/>
                  </a:cubicBezTo>
                  <a:close/>
                  <a:moveTo>
                    <a:pt x="56" y="183"/>
                  </a:moveTo>
                  <a:lnTo>
                    <a:pt x="54" y="183"/>
                  </a:lnTo>
                  <a:lnTo>
                    <a:pt x="54" y="186"/>
                  </a:lnTo>
                  <a:lnTo>
                    <a:pt x="56" y="183"/>
                  </a:lnTo>
                  <a:close/>
                  <a:moveTo>
                    <a:pt x="54" y="214"/>
                  </a:moveTo>
                  <a:cubicBezTo>
                    <a:pt x="59" y="217"/>
                    <a:pt x="59" y="217"/>
                    <a:pt x="59" y="214"/>
                  </a:cubicBezTo>
                  <a:lnTo>
                    <a:pt x="54" y="214"/>
                  </a:lnTo>
                  <a:close/>
                  <a:moveTo>
                    <a:pt x="62" y="192"/>
                  </a:moveTo>
                  <a:cubicBezTo>
                    <a:pt x="62" y="189"/>
                    <a:pt x="62" y="189"/>
                    <a:pt x="59" y="186"/>
                  </a:cubicBezTo>
                  <a:lnTo>
                    <a:pt x="59" y="189"/>
                  </a:lnTo>
                  <a:lnTo>
                    <a:pt x="62" y="192"/>
                  </a:lnTo>
                  <a:close/>
                  <a:moveTo>
                    <a:pt x="62" y="208"/>
                  </a:moveTo>
                  <a:lnTo>
                    <a:pt x="62" y="214"/>
                  </a:lnTo>
                  <a:lnTo>
                    <a:pt x="65" y="208"/>
                  </a:lnTo>
                  <a:lnTo>
                    <a:pt x="62" y="208"/>
                  </a:lnTo>
                  <a:close/>
                  <a:moveTo>
                    <a:pt x="68" y="217"/>
                  </a:moveTo>
                  <a:lnTo>
                    <a:pt x="65" y="214"/>
                  </a:lnTo>
                  <a:cubicBezTo>
                    <a:pt x="62" y="214"/>
                    <a:pt x="65" y="217"/>
                    <a:pt x="68" y="217"/>
                  </a:cubicBezTo>
                  <a:close/>
                  <a:moveTo>
                    <a:pt x="65" y="279"/>
                  </a:moveTo>
                  <a:lnTo>
                    <a:pt x="68" y="282"/>
                  </a:lnTo>
                  <a:cubicBezTo>
                    <a:pt x="70" y="279"/>
                    <a:pt x="70" y="279"/>
                    <a:pt x="65" y="279"/>
                  </a:cubicBezTo>
                  <a:close/>
                  <a:moveTo>
                    <a:pt x="70" y="248"/>
                  </a:moveTo>
                  <a:lnTo>
                    <a:pt x="65" y="248"/>
                  </a:lnTo>
                  <a:lnTo>
                    <a:pt x="65" y="251"/>
                  </a:lnTo>
                  <a:lnTo>
                    <a:pt x="65" y="254"/>
                  </a:lnTo>
                  <a:lnTo>
                    <a:pt x="68" y="254"/>
                  </a:lnTo>
                  <a:lnTo>
                    <a:pt x="70" y="254"/>
                  </a:lnTo>
                  <a:lnTo>
                    <a:pt x="70" y="248"/>
                  </a:lnTo>
                  <a:close/>
                  <a:moveTo>
                    <a:pt x="68" y="245"/>
                  </a:moveTo>
                  <a:cubicBezTo>
                    <a:pt x="68" y="245"/>
                    <a:pt x="70" y="245"/>
                    <a:pt x="70" y="242"/>
                  </a:cubicBezTo>
                  <a:lnTo>
                    <a:pt x="68" y="245"/>
                  </a:lnTo>
                  <a:close/>
                  <a:moveTo>
                    <a:pt x="79" y="279"/>
                  </a:moveTo>
                  <a:lnTo>
                    <a:pt x="76" y="276"/>
                  </a:lnTo>
                  <a:cubicBezTo>
                    <a:pt x="73" y="276"/>
                    <a:pt x="73" y="279"/>
                    <a:pt x="70" y="279"/>
                  </a:cubicBezTo>
                  <a:lnTo>
                    <a:pt x="79" y="279"/>
                  </a:lnTo>
                  <a:close/>
                  <a:moveTo>
                    <a:pt x="73" y="335"/>
                  </a:moveTo>
                  <a:lnTo>
                    <a:pt x="79" y="335"/>
                  </a:lnTo>
                  <a:lnTo>
                    <a:pt x="79" y="333"/>
                  </a:lnTo>
                  <a:lnTo>
                    <a:pt x="79" y="330"/>
                  </a:lnTo>
                  <a:cubicBezTo>
                    <a:pt x="76" y="333"/>
                    <a:pt x="73" y="333"/>
                    <a:pt x="73" y="335"/>
                  </a:cubicBezTo>
                  <a:close/>
                  <a:moveTo>
                    <a:pt x="76" y="316"/>
                  </a:moveTo>
                  <a:cubicBezTo>
                    <a:pt x="79" y="313"/>
                    <a:pt x="82" y="313"/>
                    <a:pt x="82" y="313"/>
                  </a:cubicBezTo>
                  <a:lnTo>
                    <a:pt x="85" y="313"/>
                  </a:lnTo>
                  <a:cubicBezTo>
                    <a:pt x="82" y="313"/>
                    <a:pt x="82" y="310"/>
                    <a:pt x="82" y="310"/>
                  </a:cubicBezTo>
                  <a:lnTo>
                    <a:pt x="76" y="307"/>
                  </a:lnTo>
                  <a:lnTo>
                    <a:pt x="76" y="313"/>
                  </a:lnTo>
                  <a:cubicBezTo>
                    <a:pt x="76" y="311"/>
                    <a:pt x="76" y="311"/>
                    <a:pt x="76" y="313"/>
                  </a:cubicBezTo>
                  <a:lnTo>
                    <a:pt x="76" y="316"/>
                  </a:lnTo>
                  <a:close/>
                  <a:moveTo>
                    <a:pt x="76" y="352"/>
                  </a:moveTo>
                  <a:lnTo>
                    <a:pt x="82" y="355"/>
                  </a:lnTo>
                  <a:lnTo>
                    <a:pt x="85" y="352"/>
                  </a:lnTo>
                  <a:lnTo>
                    <a:pt x="87" y="352"/>
                  </a:lnTo>
                  <a:lnTo>
                    <a:pt x="90" y="355"/>
                  </a:lnTo>
                  <a:cubicBezTo>
                    <a:pt x="90" y="355"/>
                    <a:pt x="90" y="358"/>
                    <a:pt x="93" y="358"/>
                  </a:cubicBezTo>
                  <a:lnTo>
                    <a:pt x="93" y="352"/>
                  </a:lnTo>
                  <a:lnTo>
                    <a:pt x="93" y="347"/>
                  </a:lnTo>
                  <a:lnTo>
                    <a:pt x="85" y="349"/>
                  </a:lnTo>
                  <a:lnTo>
                    <a:pt x="76" y="352"/>
                  </a:lnTo>
                  <a:close/>
                  <a:moveTo>
                    <a:pt x="79" y="341"/>
                  </a:moveTo>
                  <a:lnTo>
                    <a:pt x="87" y="341"/>
                  </a:lnTo>
                  <a:cubicBezTo>
                    <a:pt x="87" y="341"/>
                    <a:pt x="87" y="338"/>
                    <a:pt x="85" y="338"/>
                  </a:cubicBezTo>
                  <a:cubicBezTo>
                    <a:pt x="85" y="338"/>
                    <a:pt x="82" y="338"/>
                    <a:pt x="82" y="335"/>
                  </a:cubicBezTo>
                  <a:cubicBezTo>
                    <a:pt x="82" y="338"/>
                    <a:pt x="79" y="338"/>
                    <a:pt x="79" y="341"/>
                  </a:cubicBezTo>
                  <a:close/>
                  <a:moveTo>
                    <a:pt x="87" y="282"/>
                  </a:moveTo>
                  <a:cubicBezTo>
                    <a:pt x="85" y="282"/>
                    <a:pt x="85" y="279"/>
                    <a:pt x="82" y="279"/>
                  </a:cubicBezTo>
                  <a:cubicBezTo>
                    <a:pt x="82" y="285"/>
                    <a:pt x="82" y="285"/>
                    <a:pt x="87" y="282"/>
                  </a:cubicBezTo>
                  <a:close/>
                  <a:moveTo>
                    <a:pt x="87" y="316"/>
                  </a:moveTo>
                  <a:lnTo>
                    <a:pt x="85" y="321"/>
                  </a:lnTo>
                  <a:lnTo>
                    <a:pt x="85" y="330"/>
                  </a:lnTo>
                  <a:cubicBezTo>
                    <a:pt x="85" y="327"/>
                    <a:pt x="87" y="324"/>
                    <a:pt x="87" y="324"/>
                  </a:cubicBezTo>
                  <a:lnTo>
                    <a:pt x="87" y="316"/>
                  </a:lnTo>
                  <a:close/>
                  <a:moveTo>
                    <a:pt x="87" y="361"/>
                  </a:moveTo>
                  <a:cubicBezTo>
                    <a:pt x="87" y="358"/>
                    <a:pt x="87" y="358"/>
                    <a:pt x="85" y="358"/>
                  </a:cubicBezTo>
                  <a:lnTo>
                    <a:pt x="87" y="361"/>
                  </a:lnTo>
                  <a:close/>
                  <a:moveTo>
                    <a:pt x="90" y="333"/>
                  </a:moveTo>
                  <a:cubicBezTo>
                    <a:pt x="87" y="335"/>
                    <a:pt x="90" y="335"/>
                    <a:pt x="90" y="338"/>
                  </a:cubicBezTo>
                  <a:lnTo>
                    <a:pt x="90" y="333"/>
                  </a:lnTo>
                  <a:close/>
                  <a:moveTo>
                    <a:pt x="93" y="391"/>
                  </a:moveTo>
                  <a:lnTo>
                    <a:pt x="90" y="391"/>
                  </a:lnTo>
                  <a:lnTo>
                    <a:pt x="90" y="394"/>
                  </a:lnTo>
                  <a:lnTo>
                    <a:pt x="93" y="391"/>
                  </a:lnTo>
                  <a:close/>
                  <a:moveTo>
                    <a:pt x="96" y="411"/>
                  </a:moveTo>
                  <a:cubicBezTo>
                    <a:pt x="96" y="411"/>
                    <a:pt x="98" y="411"/>
                    <a:pt x="98" y="409"/>
                  </a:cubicBezTo>
                  <a:cubicBezTo>
                    <a:pt x="98" y="408"/>
                    <a:pt x="95" y="408"/>
                    <a:pt x="93" y="408"/>
                  </a:cubicBezTo>
                  <a:lnTo>
                    <a:pt x="96" y="411"/>
                  </a:lnTo>
                  <a:cubicBezTo>
                    <a:pt x="90" y="411"/>
                    <a:pt x="90" y="411"/>
                    <a:pt x="93" y="413"/>
                  </a:cubicBezTo>
                  <a:lnTo>
                    <a:pt x="96" y="411"/>
                  </a:lnTo>
                  <a:close/>
                  <a:moveTo>
                    <a:pt x="102" y="411"/>
                  </a:moveTo>
                  <a:lnTo>
                    <a:pt x="102" y="413"/>
                  </a:lnTo>
                  <a:lnTo>
                    <a:pt x="104" y="413"/>
                  </a:lnTo>
                  <a:lnTo>
                    <a:pt x="104" y="405"/>
                  </a:lnTo>
                  <a:lnTo>
                    <a:pt x="104" y="396"/>
                  </a:lnTo>
                  <a:lnTo>
                    <a:pt x="102" y="396"/>
                  </a:lnTo>
                  <a:lnTo>
                    <a:pt x="102" y="399"/>
                  </a:lnTo>
                  <a:lnTo>
                    <a:pt x="102" y="402"/>
                  </a:lnTo>
                  <a:lnTo>
                    <a:pt x="102" y="405"/>
                  </a:lnTo>
                  <a:cubicBezTo>
                    <a:pt x="102" y="407"/>
                    <a:pt x="102" y="408"/>
                    <a:pt x="99" y="410"/>
                  </a:cubicBezTo>
                  <a:cubicBezTo>
                    <a:pt x="100" y="410"/>
                    <a:pt x="101" y="411"/>
                    <a:pt x="102" y="411"/>
                  </a:cubicBezTo>
                  <a:close/>
                  <a:moveTo>
                    <a:pt x="93" y="385"/>
                  </a:moveTo>
                  <a:cubicBezTo>
                    <a:pt x="96" y="382"/>
                    <a:pt x="96" y="382"/>
                    <a:pt x="96" y="380"/>
                  </a:cubicBezTo>
                  <a:lnTo>
                    <a:pt x="96" y="378"/>
                  </a:lnTo>
                  <a:lnTo>
                    <a:pt x="93" y="375"/>
                  </a:lnTo>
                  <a:cubicBezTo>
                    <a:pt x="93" y="375"/>
                    <a:pt x="91" y="375"/>
                    <a:pt x="90" y="373"/>
                  </a:cubicBezTo>
                  <a:lnTo>
                    <a:pt x="93" y="385"/>
                  </a:lnTo>
                  <a:close/>
                  <a:moveTo>
                    <a:pt x="90" y="402"/>
                  </a:moveTo>
                  <a:lnTo>
                    <a:pt x="93" y="402"/>
                  </a:lnTo>
                  <a:lnTo>
                    <a:pt x="93" y="399"/>
                  </a:lnTo>
                  <a:cubicBezTo>
                    <a:pt x="93" y="402"/>
                    <a:pt x="93" y="402"/>
                    <a:pt x="90" y="402"/>
                  </a:cubicBezTo>
                  <a:close/>
                  <a:moveTo>
                    <a:pt x="99" y="388"/>
                  </a:moveTo>
                  <a:lnTo>
                    <a:pt x="104" y="388"/>
                  </a:lnTo>
                  <a:lnTo>
                    <a:pt x="107" y="385"/>
                  </a:lnTo>
                  <a:lnTo>
                    <a:pt x="104" y="385"/>
                  </a:lnTo>
                  <a:lnTo>
                    <a:pt x="99" y="388"/>
                  </a:lnTo>
                  <a:close/>
                  <a:moveTo>
                    <a:pt x="102" y="419"/>
                  </a:moveTo>
                  <a:cubicBezTo>
                    <a:pt x="104" y="416"/>
                    <a:pt x="102" y="416"/>
                    <a:pt x="102" y="419"/>
                  </a:cubicBezTo>
                  <a:close/>
                  <a:moveTo>
                    <a:pt x="110" y="442"/>
                  </a:moveTo>
                  <a:cubicBezTo>
                    <a:pt x="110" y="444"/>
                    <a:pt x="107" y="447"/>
                    <a:pt x="104" y="450"/>
                  </a:cubicBezTo>
                  <a:lnTo>
                    <a:pt x="107" y="450"/>
                  </a:lnTo>
                  <a:lnTo>
                    <a:pt x="110" y="450"/>
                  </a:lnTo>
                  <a:lnTo>
                    <a:pt x="110" y="442"/>
                  </a:lnTo>
                  <a:close/>
                  <a:moveTo>
                    <a:pt x="107" y="416"/>
                  </a:moveTo>
                  <a:cubicBezTo>
                    <a:pt x="107" y="419"/>
                    <a:pt x="107" y="425"/>
                    <a:pt x="104" y="427"/>
                  </a:cubicBezTo>
                  <a:lnTo>
                    <a:pt x="110" y="422"/>
                  </a:lnTo>
                  <a:lnTo>
                    <a:pt x="107" y="416"/>
                  </a:lnTo>
                  <a:close/>
                  <a:moveTo>
                    <a:pt x="124" y="444"/>
                  </a:moveTo>
                  <a:cubicBezTo>
                    <a:pt x="124" y="444"/>
                    <a:pt x="124" y="442"/>
                    <a:pt x="124" y="444"/>
                  </a:cubicBezTo>
                  <a:lnTo>
                    <a:pt x="121" y="444"/>
                  </a:lnTo>
                  <a:cubicBezTo>
                    <a:pt x="124" y="447"/>
                    <a:pt x="124" y="444"/>
                    <a:pt x="124" y="444"/>
                  </a:cubicBezTo>
                  <a:close/>
                  <a:moveTo>
                    <a:pt x="118" y="442"/>
                  </a:moveTo>
                  <a:lnTo>
                    <a:pt x="116" y="439"/>
                  </a:lnTo>
                  <a:lnTo>
                    <a:pt x="113" y="439"/>
                  </a:lnTo>
                  <a:lnTo>
                    <a:pt x="110" y="436"/>
                  </a:lnTo>
                  <a:cubicBezTo>
                    <a:pt x="110" y="433"/>
                    <a:pt x="107" y="433"/>
                    <a:pt x="104" y="433"/>
                  </a:cubicBezTo>
                  <a:lnTo>
                    <a:pt x="104" y="436"/>
                  </a:lnTo>
                  <a:lnTo>
                    <a:pt x="110" y="436"/>
                  </a:lnTo>
                  <a:lnTo>
                    <a:pt x="110" y="439"/>
                  </a:lnTo>
                  <a:lnTo>
                    <a:pt x="113" y="442"/>
                  </a:lnTo>
                  <a:lnTo>
                    <a:pt x="116" y="442"/>
                  </a:lnTo>
                  <a:lnTo>
                    <a:pt x="118" y="442"/>
                  </a:lnTo>
                  <a:cubicBezTo>
                    <a:pt x="118" y="442"/>
                    <a:pt x="118" y="444"/>
                    <a:pt x="116" y="444"/>
                  </a:cubicBezTo>
                  <a:cubicBezTo>
                    <a:pt x="116" y="447"/>
                    <a:pt x="113" y="447"/>
                    <a:pt x="113" y="450"/>
                  </a:cubicBezTo>
                  <a:cubicBezTo>
                    <a:pt x="116" y="450"/>
                    <a:pt x="116" y="450"/>
                    <a:pt x="118" y="447"/>
                  </a:cubicBezTo>
                  <a:lnTo>
                    <a:pt x="118" y="444"/>
                  </a:lnTo>
                  <a:lnTo>
                    <a:pt x="118" y="442"/>
                  </a:lnTo>
                  <a:close/>
                  <a:moveTo>
                    <a:pt x="116" y="427"/>
                  </a:moveTo>
                  <a:lnTo>
                    <a:pt x="116" y="436"/>
                  </a:lnTo>
                  <a:lnTo>
                    <a:pt x="121" y="430"/>
                  </a:lnTo>
                  <a:cubicBezTo>
                    <a:pt x="121" y="430"/>
                    <a:pt x="118" y="430"/>
                    <a:pt x="118" y="427"/>
                  </a:cubicBezTo>
                  <a:lnTo>
                    <a:pt x="116" y="427"/>
                  </a:lnTo>
                  <a:close/>
                  <a:moveTo>
                    <a:pt x="127" y="453"/>
                  </a:moveTo>
                  <a:cubicBezTo>
                    <a:pt x="127" y="450"/>
                    <a:pt x="124" y="450"/>
                    <a:pt x="121" y="453"/>
                  </a:cubicBezTo>
                  <a:lnTo>
                    <a:pt x="124" y="453"/>
                  </a:lnTo>
                  <a:lnTo>
                    <a:pt x="127" y="453"/>
                  </a:lnTo>
                  <a:close/>
                  <a:moveTo>
                    <a:pt x="130" y="442"/>
                  </a:moveTo>
                  <a:lnTo>
                    <a:pt x="130" y="439"/>
                  </a:lnTo>
                  <a:cubicBezTo>
                    <a:pt x="130" y="439"/>
                    <a:pt x="127" y="436"/>
                    <a:pt x="127" y="433"/>
                  </a:cubicBezTo>
                  <a:lnTo>
                    <a:pt x="127" y="439"/>
                  </a:lnTo>
                  <a:cubicBezTo>
                    <a:pt x="127" y="439"/>
                    <a:pt x="127" y="442"/>
                    <a:pt x="130" y="442"/>
                  </a:cubicBezTo>
                  <a:close/>
                  <a:moveTo>
                    <a:pt x="144" y="447"/>
                  </a:moveTo>
                  <a:cubicBezTo>
                    <a:pt x="141" y="447"/>
                    <a:pt x="141" y="447"/>
                    <a:pt x="138" y="450"/>
                  </a:cubicBezTo>
                  <a:cubicBezTo>
                    <a:pt x="135" y="453"/>
                    <a:pt x="133" y="453"/>
                    <a:pt x="133" y="453"/>
                  </a:cubicBezTo>
                  <a:lnTo>
                    <a:pt x="141" y="453"/>
                  </a:lnTo>
                  <a:cubicBezTo>
                    <a:pt x="144" y="453"/>
                    <a:pt x="141" y="453"/>
                    <a:pt x="144" y="447"/>
                  </a:cubicBezTo>
                  <a:close/>
                  <a:moveTo>
                    <a:pt x="149" y="444"/>
                  </a:moveTo>
                  <a:lnTo>
                    <a:pt x="144" y="436"/>
                  </a:lnTo>
                  <a:cubicBezTo>
                    <a:pt x="141" y="439"/>
                    <a:pt x="138" y="439"/>
                    <a:pt x="138" y="442"/>
                  </a:cubicBezTo>
                  <a:cubicBezTo>
                    <a:pt x="141" y="442"/>
                    <a:pt x="141" y="444"/>
                    <a:pt x="141" y="444"/>
                  </a:cubicBezTo>
                  <a:cubicBezTo>
                    <a:pt x="141" y="447"/>
                    <a:pt x="144" y="447"/>
                    <a:pt x="147" y="444"/>
                  </a:cubicBezTo>
                  <a:lnTo>
                    <a:pt x="149" y="444"/>
                  </a:lnTo>
                  <a:close/>
                  <a:moveTo>
                    <a:pt x="141" y="155"/>
                  </a:moveTo>
                  <a:cubicBezTo>
                    <a:pt x="138" y="158"/>
                    <a:pt x="138" y="158"/>
                    <a:pt x="135" y="158"/>
                  </a:cubicBezTo>
                  <a:lnTo>
                    <a:pt x="141" y="160"/>
                  </a:lnTo>
                  <a:lnTo>
                    <a:pt x="141" y="155"/>
                  </a:lnTo>
                  <a:close/>
                  <a:moveTo>
                    <a:pt x="158" y="442"/>
                  </a:moveTo>
                  <a:cubicBezTo>
                    <a:pt x="155" y="442"/>
                    <a:pt x="152" y="444"/>
                    <a:pt x="152" y="444"/>
                  </a:cubicBezTo>
                  <a:cubicBezTo>
                    <a:pt x="152" y="444"/>
                    <a:pt x="155" y="447"/>
                    <a:pt x="155" y="450"/>
                  </a:cubicBezTo>
                  <a:cubicBezTo>
                    <a:pt x="155" y="444"/>
                    <a:pt x="158" y="442"/>
                    <a:pt x="158" y="442"/>
                  </a:cubicBezTo>
                  <a:close/>
                  <a:moveTo>
                    <a:pt x="158" y="442"/>
                  </a:moveTo>
                  <a:cubicBezTo>
                    <a:pt x="159" y="442"/>
                    <a:pt x="160" y="441"/>
                    <a:pt x="161" y="440"/>
                  </a:cubicBezTo>
                  <a:lnTo>
                    <a:pt x="158" y="442"/>
                  </a:lnTo>
                  <a:close/>
                  <a:moveTo>
                    <a:pt x="178" y="427"/>
                  </a:moveTo>
                  <a:lnTo>
                    <a:pt x="175" y="427"/>
                  </a:lnTo>
                  <a:cubicBezTo>
                    <a:pt x="175" y="430"/>
                    <a:pt x="175" y="430"/>
                    <a:pt x="178" y="427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34" name="Freeform 1461"/>
            <p:cNvSpPr>
              <a:spLocks noChangeArrowheads="1"/>
            </p:cNvSpPr>
            <p:nvPr/>
          </p:nvSpPr>
          <p:spPr bwMode="auto">
            <a:xfrm>
              <a:off x="4291013" y="2427288"/>
              <a:ext cx="69850" cy="173037"/>
            </a:xfrm>
            <a:custGeom>
              <a:avLst/>
              <a:gdLst>
                <a:gd name="T0" fmla="*/ 150 w 193"/>
                <a:gd name="T1" fmla="*/ 150 h 480"/>
                <a:gd name="T2" fmla="*/ 99 w 193"/>
                <a:gd name="T3" fmla="*/ 142 h 480"/>
                <a:gd name="T4" fmla="*/ 85 w 193"/>
                <a:gd name="T5" fmla="*/ 60 h 480"/>
                <a:gd name="T6" fmla="*/ 68 w 193"/>
                <a:gd name="T7" fmla="*/ 142 h 480"/>
                <a:gd name="T8" fmla="*/ 119 w 193"/>
                <a:gd name="T9" fmla="*/ 232 h 480"/>
                <a:gd name="T10" fmla="*/ 175 w 193"/>
                <a:gd name="T11" fmla="*/ 328 h 480"/>
                <a:gd name="T12" fmla="*/ 172 w 193"/>
                <a:gd name="T13" fmla="*/ 462 h 480"/>
                <a:gd name="T14" fmla="*/ 68 w 193"/>
                <a:gd name="T15" fmla="*/ 442 h 480"/>
                <a:gd name="T16" fmla="*/ 48 w 193"/>
                <a:gd name="T17" fmla="*/ 384 h 480"/>
                <a:gd name="T18" fmla="*/ 88 w 193"/>
                <a:gd name="T19" fmla="*/ 325 h 480"/>
                <a:gd name="T20" fmla="*/ 93 w 193"/>
                <a:gd name="T21" fmla="*/ 384 h 480"/>
                <a:gd name="T22" fmla="*/ 130 w 193"/>
                <a:gd name="T23" fmla="*/ 373 h 480"/>
                <a:gd name="T24" fmla="*/ 105 w 193"/>
                <a:gd name="T25" fmla="*/ 305 h 480"/>
                <a:gd name="T26" fmla="*/ 43 w 193"/>
                <a:gd name="T27" fmla="*/ 209 h 480"/>
                <a:gd name="T28" fmla="*/ 14 w 193"/>
                <a:gd name="T29" fmla="*/ 139 h 480"/>
                <a:gd name="T30" fmla="*/ 3 w 193"/>
                <a:gd name="T31" fmla="*/ 91 h 480"/>
                <a:gd name="T32" fmla="*/ 37 w 193"/>
                <a:gd name="T33" fmla="*/ 12 h 480"/>
                <a:gd name="T34" fmla="*/ 122 w 193"/>
                <a:gd name="T35" fmla="*/ 23 h 480"/>
                <a:gd name="T36" fmla="*/ 147 w 193"/>
                <a:gd name="T37" fmla="*/ 74 h 480"/>
                <a:gd name="T38" fmla="*/ 34 w 193"/>
                <a:gd name="T39" fmla="*/ 79 h 480"/>
                <a:gd name="T40" fmla="*/ 26 w 193"/>
                <a:gd name="T41" fmla="*/ 65 h 480"/>
                <a:gd name="T42" fmla="*/ 31 w 193"/>
                <a:gd name="T43" fmla="*/ 48 h 480"/>
                <a:gd name="T44" fmla="*/ 37 w 193"/>
                <a:gd name="T45" fmla="*/ 116 h 480"/>
                <a:gd name="T46" fmla="*/ 37 w 193"/>
                <a:gd name="T47" fmla="*/ 58 h 480"/>
                <a:gd name="T48" fmla="*/ 37 w 193"/>
                <a:gd name="T49" fmla="*/ 43 h 480"/>
                <a:gd name="T50" fmla="*/ 45 w 193"/>
                <a:gd name="T51" fmla="*/ 130 h 480"/>
                <a:gd name="T52" fmla="*/ 43 w 193"/>
                <a:gd name="T53" fmla="*/ 150 h 480"/>
                <a:gd name="T54" fmla="*/ 57 w 193"/>
                <a:gd name="T55" fmla="*/ 158 h 480"/>
                <a:gd name="T56" fmla="*/ 57 w 193"/>
                <a:gd name="T57" fmla="*/ 173 h 480"/>
                <a:gd name="T58" fmla="*/ 68 w 193"/>
                <a:gd name="T59" fmla="*/ 23 h 480"/>
                <a:gd name="T60" fmla="*/ 68 w 193"/>
                <a:gd name="T61" fmla="*/ 192 h 480"/>
                <a:gd name="T62" fmla="*/ 79 w 193"/>
                <a:gd name="T63" fmla="*/ 206 h 480"/>
                <a:gd name="T64" fmla="*/ 77 w 193"/>
                <a:gd name="T65" fmla="*/ 23 h 480"/>
                <a:gd name="T66" fmla="*/ 74 w 193"/>
                <a:gd name="T67" fmla="*/ 34 h 480"/>
                <a:gd name="T68" fmla="*/ 91 w 193"/>
                <a:gd name="T69" fmla="*/ 226 h 480"/>
                <a:gd name="T70" fmla="*/ 85 w 193"/>
                <a:gd name="T71" fmla="*/ 232 h 480"/>
                <a:gd name="T72" fmla="*/ 93 w 193"/>
                <a:gd name="T73" fmla="*/ 223 h 480"/>
                <a:gd name="T74" fmla="*/ 99 w 193"/>
                <a:gd name="T75" fmla="*/ 32 h 480"/>
                <a:gd name="T76" fmla="*/ 113 w 193"/>
                <a:gd name="T77" fmla="*/ 54 h 480"/>
                <a:gd name="T78" fmla="*/ 105 w 193"/>
                <a:gd name="T79" fmla="*/ 54 h 480"/>
                <a:gd name="T80" fmla="*/ 113 w 193"/>
                <a:gd name="T81" fmla="*/ 85 h 480"/>
                <a:gd name="T82" fmla="*/ 110 w 193"/>
                <a:gd name="T83" fmla="*/ 437 h 480"/>
                <a:gd name="T84" fmla="*/ 110 w 193"/>
                <a:gd name="T85" fmla="*/ 431 h 480"/>
                <a:gd name="T86" fmla="*/ 122 w 193"/>
                <a:gd name="T87" fmla="*/ 96 h 480"/>
                <a:gd name="T88" fmla="*/ 122 w 193"/>
                <a:gd name="T89" fmla="*/ 68 h 480"/>
                <a:gd name="T90" fmla="*/ 119 w 193"/>
                <a:gd name="T91" fmla="*/ 122 h 480"/>
                <a:gd name="T92" fmla="*/ 122 w 193"/>
                <a:gd name="T93" fmla="*/ 116 h 480"/>
                <a:gd name="T94" fmla="*/ 124 w 193"/>
                <a:gd name="T95" fmla="*/ 283 h 480"/>
                <a:gd name="T96" fmla="*/ 122 w 193"/>
                <a:gd name="T97" fmla="*/ 437 h 480"/>
                <a:gd name="T98" fmla="*/ 130 w 193"/>
                <a:gd name="T99" fmla="*/ 440 h 480"/>
                <a:gd name="T100" fmla="*/ 133 w 193"/>
                <a:gd name="T101" fmla="*/ 451 h 480"/>
                <a:gd name="T102" fmla="*/ 153 w 193"/>
                <a:gd name="T103" fmla="*/ 434 h 480"/>
                <a:gd name="T104" fmla="*/ 161 w 193"/>
                <a:gd name="T105" fmla="*/ 440 h 480"/>
                <a:gd name="T106" fmla="*/ 147 w 193"/>
                <a:gd name="T107" fmla="*/ 319 h 480"/>
                <a:gd name="T108" fmla="*/ 147 w 193"/>
                <a:gd name="T109" fmla="*/ 342 h 480"/>
                <a:gd name="T110" fmla="*/ 156 w 193"/>
                <a:gd name="T111" fmla="*/ 345 h 480"/>
                <a:gd name="T112" fmla="*/ 170 w 193"/>
                <a:gd name="T113" fmla="*/ 425 h 480"/>
                <a:gd name="T114" fmla="*/ 175 w 193"/>
                <a:gd name="T115" fmla="*/ 414 h 480"/>
                <a:gd name="T116" fmla="*/ 167 w 193"/>
                <a:gd name="T117" fmla="*/ 414 h 480"/>
                <a:gd name="T118" fmla="*/ 164 w 193"/>
                <a:gd name="T119" fmla="*/ 376 h 480"/>
                <a:gd name="T120" fmla="*/ 172 w 193"/>
                <a:gd name="T121" fmla="*/ 387 h 480"/>
                <a:gd name="T122" fmla="*/ 172 w 193"/>
                <a:gd name="T123" fmla="*/ 39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3" h="480">
                  <a:moveTo>
                    <a:pt x="150" y="99"/>
                  </a:moveTo>
                  <a:cubicBezTo>
                    <a:pt x="150" y="102"/>
                    <a:pt x="153" y="105"/>
                    <a:pt x="150" y="108"/>
                  </a:cubicBezTo>
                  <a:cubicBezTo>
                    <a:pt x="150" y="110"/>
                    <a:pt x="147" y="116"/>
                    <a:pt x="150" y="119"/>
                  </a:cubicBezTo>
                  <a:lnTo>
                    <a:pt x="150" y="130"/>
                  </a:lnTo>
                  <a:lnTo>
                    <a:pt x="150" y="136"/>
                  </a:lnTo>
                  <a:cubicBezTo>
                    <a:pt x="150" y="139"/>
                    <a:pt x="153" y="142"/>
                    <a:pt x="153" y="144"/>
                  </a:cubicBezTo>
                  <a:cubicBezTo>
                    <a:pt x="153" y="147"/>
                    <a:pt x="150" y="147"/>
                    <a:pt x="150" y="150"/>
                  </a:cubicBezTo>
                  <a:cubicBezTo>
                    <a:pt x="147" y="153"/>
                    <a:pt x="147" y="156"/>
                    <a:pt x="147" y="156"/>
                  </a:cubicBezTo>
                  <a:cubicBezTo>
                    <a:pt x="144" y="156"/>
                    <a:pt x="144" y="156"/>
                    <a:pt x="141" y="158"/>
                  </a:cubicBezTo>
                  <a:cubicBezTo>
                    <a:pt x="139" y="158"/>
                    <a:pt x="139" y="158"/>
                    <a:pt x="136" y="161"/>
                  </a:cubicBezTo>
                  <a:lnTo>
                    <a:pt x="127" y="161"/>
                  </a:lnTo>
                  <a:cubicBezTo>
                    <a:pt x="124" y="161"/>
                    <a:pt x="122" y="164"/>
                    <a:pt x="116" y="164"/>
                  </a:cubicBezTo>
                  <a:cubicBezTo>
                    <a:pt x="110" y="161"/>
                    <a:pt x="105" y="156"/>
                    <a:pt x="102" y="150"/>
                  </a:cubicBezTo>
                  <a:cubicBezTo>
                    <a:pt x="102" y="147"/>
                    <a:pt x="99" y="144"/>
                    <a:pt x="99" y="142"/>
                  </a:cubicBezTo>
                  <a:cubicBezTo>
                    <a:pt x="99" y="133"/>
                    <a:pt x="96" y="125"/>
                    <a:pt x="96" y="119"/>
                  </a:cubicBezTo>
                  <a:cubicBezTo>
                    <a:pt x="93" y="113"/>
                    <a:pt x="93" y="113"/>
                    <a:pt x="93" y="108"/>
                  </a:cubicBezTo>
                  <a:lnTo>
                    <a:pt x="93" y="105"/>
                  </a:lnTo>
                  <a:lnTo>
                    <a:pt x="93" y="102"/>
                  </a:lnTo>
                  <a:lnTo>
                    <a:pt x="93" y="96"/>
                  </a:lnTo>
                  <a:lnTo>
                    <a:pt x="91" y="77"/>
                  </a:lnTo>
                  <a:cubicBezTo>
                    <a:pt x="88" y="71"/>
                    <a:pt x="88" y="65"/>
                    <a:pt x="85" y="60"/>
                  </a:cubicBezTo>
                  <a:lnTo>
                    <a:pt x="68" y="51"/>
                  </a:lnTo>
                  <a:cubicBezTo>
                    <a:pt x="62" y="54"/>
                    <a:pt x="57" y="60"/>
                    <a:pt x="54" y="68"/>
                  </a:cubicBezTo>
                  <a:lnTo>
                    <a:pt x="54" y="79"/>
                  </a:lnTo>
                  <a:lnTo>
                    <a:pt x="54" y="91"/>
                  </a:lnTo>
                  <a:lnTo>
                    <a:pt x="60" y="116"/>
                  </a:lnTo>
                  <a:cubicBezTo>
                    <a:pt x="60" y="119"/>
                    <a:pt x="62" y="125"/>
                    <a:pt x="62" y="127"/>
                  </a:cubicBezTo>
                  <a:cubicBezTo>
                    <a:pt x="65" y="130"/>
                    <a:pt x="68" y="136"/>
                    <a:pt x="68" y="142"/>
                  </a:cubicBezTo>
                  <a:cubicBezTo>
                    <a:pt x="68" y="144"/>
                    <a:pt x="68" y="150"/>
                    <a:pt x="71" y="153"/>
                  </a:cubicBezTo>
                  <a:cubicBezTo>
                    <a:pt x="74" y="156"/>
                    <a:pt x="74" y="158"/>
                    <a:pt x="77" y="164"/>
                  </a:cubicBezTo>
                  <a:cubicBezTo>
                    <a:pt x="77" y="167"/>
                    <a:pt x="79" y="170"/>
                    <a:pt x="82" y="173"/>
                  </a:cubicBezTo>
                  <a:lnTo>
                    <a:pt x="91" y="189"/>
                  </a:lnTo>
                  <a:cubicBezTo>
                    <a:pt x="91" y="192"/>
                    <a:pt x="93" y="195"/>
                    <a:pt x="96" y="198"/>
                  </a:cubicBezTo>
                  <a:cubicBezTo>
                    <a:pt x="102" y="206"/>
                    <a:pt x="108" y="212"/>
                    <a:pt x="113" y="221"/>
                  </a:cubicBezTo>
                  <a:cubicBezTo>
                    <a:pt x="116" y="223"/>
                    <a:pt x="116" y="226"/>
                    <a:pt x="119" y="232"/>
                  </a:cubicBezTo>
                  <a:cubicBezTo>
                    <a:pt x="122" y="235"/>
                    <a:pt x="122" y="240"/>
                    <a:pt x="124" y="243"/>
                  </a:cubicBezTo>
                  <a:cubicBezTo>
                    <a:pt x="124" y="246"/>
                    <a:pt x="127" y="246"/>
                    <a:pt x="127" y="249"/>
                  </a:cubicBezTo>
                  <a:cubicBezTo>
                    <a:pt x="130" y="249"/>
                    <a:pt x="130" y="252"/>
                    <a:pt x="133" y="252"/>
                  </a:cubicBezTo>
                  <a:cubicBezTo>
                    <a:pt x="141" y="263"/>
                    <a:pt x="150" y="277"/>
                    <a:pt x="156" y="291"/>
                  </a:cubicBezTo>
                  <a:cubicBezTo>
                    <a:pt x="161" y="299"/>
                    <a:pt x="167" y="311"/>
                    <a:pt x="170" y="322"/>
                  </a:cubicBezTo>
                  <a:lnTo>
                    <a:pt x="172" y="325"/>
                  </a:lnTo>
                  <a:cubicBezTo>
                    <a:pt x="172" y="325"/>
                    <a:pt x="172" y="328"/>
                    <a:pt x="175" y="328"/>
                  </a:cubicBezTo>
                  <a:cubicBezTo>
                    <a:pt x="178" y="333"/>
                    <a:pt x="181" y="339"/>
                    <a:pt x="181" y="345"/>
                  </a:cubicBezTo>
                  <a:cubicBezTo>
                    <a:pt x="181" y="347"/>
                    <a:pt x="184" y="350"/>
                    <a:pt x="184" y="353"/>
                  </a:cubicBezTo>
                  <a:cubicBezTo>
                    <a:pt x="187" y="359"/>
                    <a:pt x="187" y="364"/>
                    <a:pt x="189" y="370"/>
                  </a:cubicBezTo>
                  <a:cubicBezTo>
                    <a:pt x="189" y="373"/>
                    <a:pt x="189" y="373"/>
                    <a:pt x="192" y="376"/>
                  </a:cubicBezTo>
                  <a:lnTo>
                    <a:pt x="192" y="404"/>
                  </a:lnTo>
                  <a:lnTo>
                    <a:pt x="192" y="434"/>
                  </a:lnTo>
                  <a:cubicBezTo>
                    <a:pt x="189" y="445"/>
                    <a:pt x="181" y="454"/>
                    <a:pt x="172" y="462"/>
                  </a:cubicBezTo>
                  <a:cubicBezTo>
                    <a:pt x="167" y="468"/>
                    <a:pt x="161" y="471"/>
                    <a:pt x="156" y="471"/>
                  </a:cubicBezTo>
                  <a:cubicBezTo>
                    <a:pt x="153" y="471"/>
                    <a:pt x="153" y="471"/>
                    <a:pt x="150" y="473"/>
                  </a:cubicBezTo>
                  <a:cubicBezTo>
                    <a:pt x="147" y="476"/>
                    <a:pt x="141" y="476"/>
                    <a:pt x="139" y="476"/>
                  </a:cubicBezTo>
                  <a:cubicBezTo>
                    <a:pt x="136" y="476"/>
                    <a:pt x="136" y="479"/>
                    <a:pt x="133" y="479"/>
                  </a:cubicBezTo>
                  <a:lnTo>
                    <a:pt x="127" y="479"/>
                  </a:lnTo>
                  <a:cubicBezTo>
                    <a:pt x="108" y="476"/>
                    <a:pt x="91" y="471"/>
                    <a:pt x="77" y="456"/>
                  </a:cubicBezTo>
                  <a:cubicBezTo>
                    <a:pt x="74" y="451"/>
                    <a:pt x="71" y="448"/>
                    <a:pt x="68" y="442"/>
                  </a:cubicBezTo>
                  <a:cubicBezTo>
                    <a:pt x="62" y="437"/>
                    <a:pt x="60" y="428"/>
                    <a:pt x="60" y="417"/>
                  </a:cubicBezTo>
                  <a:lnTo>
                    <a:pt x="60" y="411"/>
                  </a:lnTo>
                  <a:cubicBezTo>
                    <a:pt x="60" y="409"/>
                    <a:pt x="57" y="407"/>
                    <a:pt x="54" y="404"/>
                  </a:cubicBezTo>
                  <a:cubicBezTo>
                    <a:pt x="51" y="401"/>
                    <a:pt x="51" y="398"/>
                    <a:pt x="48" y="395"/>
                  </a:cubicBezTo>
                  <a:lnTo>
                    <a:pt x="48" y="390"/>
                  </a:lnTo>
                  <a:lnTo>
                    <a:pt x="48" y="387"/>
                  </a:lnTo>
                  <a:lnTo>
                    <a:pt x="48" y="384"/>
                  </a:lnTo>
                  <a:lnTo>
                    <a:pt x="45" y="356"/>
                  </a:lnTo>
                  <a:cubicBezTo>
                    <a:pt x="45" y="347"/>
                    <a:pt x="43" y="336"/>
                    <a:pt x="40" y="328"/>
                  </a:cubicBezTo>
                  <a:cubicBezTo>
                    <a:pt x="45" y="322"/>
                    <a:pt x="51" y="316"/>
                    <a:pt x="57" y="314"/>
                  </a:cubicBezTo>
                  <a:lnTo>
                    <a:pt x="65" y="314"/>
                  </a:lnTo>
                  <a:cubicBezTo>
                    <a:pt x="68" y="314"/>
                    <a:pt x="74" y="316"/>
                    <a:pt x="79" y="316"/>
                  </a:cubicBezTo>
                  <a:cubicBezTo>
                    <a:pt x="79" y="319"/>
                    <a:pt x="82" y="319"/>
                    <a:pt x="85" y="319"/>
                  </a:cubicBezTo>
                  <a:cubicBezTo>
                    <a:pt x="85" y="322"/>
                    <a:pt x="88" y="322"/>
                    <a:pt x="88" y="325"/>
                  </a:cubicBezTo>
                  <a:cubicBezTo>
                    <a:pt x="88" y="325"/>
                    <a:pt x="88" y="328"/>
                    <a:pt x="85" y="328"/>
                  </a:cubicBezTo>
                  <a:cubicBezTo>
                    <a:pt x="85" y="331"/>
                    <a:pt x="85" y="336"/>
                    <a:pt x="88" y="339"/>
                  </a:cubicBezTo>
                  <a:lnTo>
                    <a:pt x="88" y="350"/>
                  </a:lnTo>
                  <a:cubicBezTo>
                    <a:pt x="88" y="353"/>
                    <a:pt x="88" y="353"/>
                    <a:pt x="91" y="356"/>
                  </a:cubicBezTo>
                  <a:cubicBezTo>
                    <a:pt x="91" y="359"/>
                    <a:pt x="91" y="362"/>
                    <a:pt x="88" y="362"/>
                  </a:cubicBezTo>
                  <a:lnTo>
                    <a:pt x="88" y="367"/>
                  </a:lnTo>
                  <a:cubicBezTo>
                    <a:pt x="91" y="373"/>
                    <a:pt x="93" y="378"/>
                    <a:pt x="93" y="384"/>
                  </a:cubicBezTo>
                  <a:cubicBezTo>
                    <a:pt x="93" y="390"/>
                    <a:pt x="96" y="395"/>
                    <a:pt x="96" y="404"/>
                  </a:cubicBezTo>
                  <a:cubicBezTo>
                    <a:pt x="105" y="414"/>
                    <a:pt x="105" y="414"/>
                    <a:pt x="116" y="420"/>
                  </a:cubicBezTo>
                  <a:lnTo>
                    <a:pt x="127" y="417"/>
                  </a:lnTo>
                  <a:cubicBezTo>
                    <a:pt x="130" y="414"/>
                    <a:pt x="133" y="411"/>
                    <a:pt x="133" y="407"/>
                  </a:cubicBezTo>
                  <a:cubicBezTo>
                    <a:pt x="133" y="404"/>
                    <a:pt x="133" y="398"/>
                    <a:pt x="136" y="395"/>
                  </a:cubicBezTo>
                  <a:cubicBezTo>
                    <a:pt x="136" y="393"/>
                    <a:pt x="136" y="387"/>
                    <a:pt x="133" y="384"/>
                  </a:cubicBezTo>
                  <a:lnTo>
                    <a:pt x="130" y="373"/>
                  </a:lnTo>
                  <a:cubicBezTo>
                    <a:pt x="127" y="364"/>
                    <a:pt x="124" y="359"/>
                    <a:pt x="122" y="353"/>
                  </a:cubicBezTo>
                  <a:cubicBezTo>
                    <a:pt x="122" y="350"/>
                    <a:pt x="119" y="347"/>
                    <a:pt x="122" y="347"/>
                  </a:cubicBezTo>
                  <a:cubicBezTo>
                    <a:pt x="122" y="345"/>
                    <a:pt x="119" y="342"/>
                    <a:pt x="119" y="342"/>
                  </a:cubicBezTo>
                  <a:cubicBezTo>
                    <a:pt x="119" y="339"/>
                    <a:pt x="119" y="336"/>
                    <a:pt x="116" y="333"/>
                  </a:cubicBezTo>
                  <a:cubicBezTo>
                    <a:pt x="113" y="331"/>
                    <a:pt x="113" y="328"/>
                    <a:pt x="113" y="328"/>
                  </a:cubicBezTo>
                  <a:cubicBezTo>
                    <a:pt x="110" y="322"/>
                    <a:pt x="110" y="319"/>
                    <a:pt x="108" y="314"/>
                  </a:cubicBezTo>
                  <a:cubicBezTo>
                    <a:pt x="105" y="311"/>
                    <a:pt x="105" y="308"/>
                    <a:pt x="105" y="305"/>
                  </a:cubicBezTo>
                  <a:cubicBezTo>
                    <a:pt x="105" y="299"/>
                    <a:pt x="102" y="297"/>
                    <a:pt x="99" y="294"/>
                  </a:cubicBezTo>
                  <a:cubicBezTo>
                    <a:pt x="93" y="291"/>
                    <a:pt x="91" y="283"/>
                    <a:pt x="91" y="277"/>
                  </a:cubicBezTo>
                  <a:cubicBezTo>
                    <a:pt x="85" y="274"/>
                    <a:pt x="82" y="268"/>
                    <a:pt x="79" y="263"/>
                  </a:cubicBezTo>
                  <a:cubicBezTo>
                    <a:pt x="77" y="260"/>
                    <a:pt x="77" y="257"/>
                    <a:pt x="74" y="254"/>
                  </a:cubicBezTo>
                  <a:cubicBezTo>
                    <a:pt x="65" y="246"/>
                    <a:pt x="60" y="237"/>
                    <a:pt x="54" y="226"/>
                  </a:cubicBezTo>
                  <a:cubicBezTo>
                    <a:pt x="51" y="223"/>
                    <a:pt x="51" y="221"/>
                    <a:pt x="48" y="218"/>
                  </a:cubicBezTo>
                  <a:cubicBezTo>
                    <a:pt x="45" y="215"/>
                    <a:pt x="45" y="212"/>
                    <a:pt x="43" y="209"/>
                  </a:cubicBezTo>
                  <a:cubicBezTo>
                    <a:pt x="37" y="198"/>
                    <a:pt x="31" y="189"/>
                    <a:pt x="26" y="181"/>
                  </a:cubicBezTo>
                  <a:cubicBezTo>
                    <a:pt x="26" y="178"/>
                    <a:pt x="23" y="178"/>
                    <a:pt x="23" y="175"/>
                  </a:cubicBezTo>
                  <a:cubicBezTo>
                    <a:pt x="23" y="167"/>
                    <a:pt x="20" y="158"/>
                    <a:pt x="14" y="153"/>
                  </a:cubicBezTo>
                  <a:lnTo>
                    <a:pt x="14" y="150"/>
                  </a:lnTo>
                  <a:lnTo>
                    <a:pt x="14" y="147"/>
                  </a:lnTo>
                  <a:lnTo>
                    <a:pt x="14" y="142"/>
                  </a:lnTo>
                  <a:lnTo>
                    <a:pt x="14" y="139"/>
                  </a:lnTo>
                  <a:cubicBezTo>
                    <a:pt x="14" y="136"/>
                    <a:pt x="12" y="133"/>
                    <a:pt x="12" y="130"/>
                  </a:cubicBezTo>
                  <a:lnTo>
                    <a:pt x="12" y="127"/>
                  </a:lnTo>
                  <a:lnTo>
                    <a:pt x="9" y="125"/>
                  </a:lnTo>
                  <a:cubicBezTo>
                    <a:pt x="9" y="122"/>
                    <a:pt x="9" y="119"/>
                    <a:pt x="6" y="116"/>
                  </a:cubicBezTo>
                  <a:lnTo>
                    <a:pt x="6" y="108"/>
                  </a:lnTo>
                  <a:lnTo>
                    <a:pt x="6" y="102"/>
                  </a:lnTo>
                  <a:cubicBezTo>
                    <a:pt x="3" y="96"/>
                    <a:pt x="3" y="94"/>
                    <a:pt x="3" y="91"/>
                  </a:cubicBezTo>
                  <a:lnTo>
                    <a:pt x="3" y="82"/>
                  </a:lnTo>
                  <a:cubicBezTo>
                    <a:pt x="0" y="77"/>
                    <a:pt x="0" y="74"/>
                    <a:pt x="0" y="68"/>
                  </a:cubicBezTo>
                  <a:lnTo>
                    <a:pt x="0" y="54"/>
                  </a:lnTo>
                  <a:lnTo>
                    <a:pt x="9" y="37"/>
                  </a:lnTo>
                  <a:cubicBezTo>
                    <a:pt x="12" y="32"/>
                    <a:pt x="14" y="26"/>
                    <a:pt x="17" y="23"/>
                  </a:cubicBezTo>
                  <a:cubicBezTo>
                    <a:pt x="20" y="23"/>
                    <a:pt x="23" y="23"/>
                    <a:pt x="26" y="20"/>
                  </a:cubicBezTo>
                  <a:cubicBezTo>
                    <a:pt x="29" y="17"/>
                    <a:pt x="31" y="15"/>
                    <a:pt x="37" y="12"/>
                  </a:cubicBezTo>
                  <a:cubicBezTo>
                    <a:pt x="45" y="9"/>
                    <a:pt x="51" y="6"/>
                    <a:pt x="57" y="3"/>
                  </a:cubicBezTo>
                  <a:cubicBezTo>
                    <a:pt x="60" y="3"/>
                    <a:pt x="62" y="0"/>
                    <a:pt x="65" y="3"/>
                  </a:cubicBezTo>
                  <a:lnTo>
                    <a:pt x="77" y="3"/>
                  </a:lnTo>
                  <a:cubicBezTo>
                    <a:pt x="82" y="3"/>
                    <a:pt x="91" y="3"/>
                    <a:pt x="96" y="6"/>
                  </a:cubicBezTo>
                  <a:cubicBezTo>
                    <a:pt x="99" y="9"/>
                    <a:pt x="99" y="9"/>
                    <a:pt x="102" y="9"/>
                  </a:cubicBezTo>
                  <a:cubicBezTo>
                    <a:pt x="108" y="9"/>
                    <a:pt x="110" y="12"/>
                    <a:pt x="113" y="15"/>
                  </a:cubicBezTo>
                  <a:lnTo>
                    <a:pt x="122" y="23"/>
                  </a:lnTo>
                  <a:cubicBezTo>
                    <a:pt x="127" y="29"/>
                    <a:pt x="133" y="37"/>
                    <a:pt x="136" y="46"/>
                  </a:cubicBezTo>
                  <a:cubicBezTo>
                    <a:pt x="136" y="46"/>
                    <a:pt x="136" y="48"/>
                    <a:pt x="139" y="48"/>
                  </a:cubicBezTo>
                  <a:lnTo>
                    <a:pt x="139" y="54"/>
                  </a:lnTo>
                  <a:cubicBezTo>
                    <a:pt x="141" y="54"/>
                    <a:pt x="141" y="57"/>
                    <a:pt x="141" y="57"/>
                  </a:cubicBezTo>
                  <a:lnTo>
                    <a:pt x="141" y="63"/>
                  </a:lnTo>
                  <a:cubicBezTo>
                    <a:pt x="141" y="65"/>
                    <a:pt x="144" y="68"/>
                    <a:pt x="144" y="71"/>
                  </a:cubicBezTo>
                  <a:cubicBezTo>
                    <a:pt x="144" y="71"/>
                    <a:pt x="144" y="74"/>
                    <a:pt x="147" y="74"/>
                  </a:cubicBezTo>
                  <a:cubicBezTo>
                    <a:pt x="147" y="77"/>
                    <a:pt x="153" y="79"/>
                    <a:pt x="150" y="85"/>
                  </a:cubicBezTo>
                  <a:lnTo>
                    <a:pt x="150" y="96"/>
                  </a:lnTo>
                  <a:cubicBezTo>
                    <a:pt x="150" y="96"/>
                    <a:pt x="150" y="95"/>
                    <a:pt x="150" y="96"/>
                  </a:cubicBezTo>
                  <a:lnTo>
                    <a:pt x="150" y="99"/>
                  </a:lnTo>
                  <a:close/>
                  <a:moveTo>
                    <a:pt x="23" y="82"/>
                  </a:moveTo>
                  <a:lnTo>
                    <a:pt x="29" y="82"/>
                  </a:lnTo>
                  <a:cubicBezTo>
                    <a:pt x="31" y="82"/>
                    <a:pt x="31" y="82"/>
                    <a:pt x="34" y="79"/>
                  </a:cubicBezTo>
                  <a:cubicBezTo>
                    <a:pt x="31" y="79"/>
                    <a:pt x="29" y="79"/>
                    <a:pt x="29" y="77"/>
                  </a:cubicBezTo>
                  <a:cubicBezTo>
                    <a:pt x="29" y="79"/>
                    <a:pt x="26" y="82"/>
                    <a:pt x="23" y="82"/>
                  </a:cubicBezTo>
                  <a:close/>
                  <a:moveTo>
                    <a:pt x="26" y="65"/>
                  </a:moveTo>
                  <a:lnTo>
                    <a:pt x="29" y="65"/>
                  </a:lnTo>
                  <a:cubicBezTo>
                    <a:pt x="31" y="65"/>
                    <a:pt x="31" y="65"/>
                    <a:pt x="29" y="60"/>
                  </a:cubicBezTo>
                  <a:lnTo>
                    <a:pt x="23" y="60"/>
                  </a:lnTo>
                  <a:lnTo>
                    <a:pt x="26" y="65"/>
                  </a:lnTo>
                  <a:close/>
                  <a:moveTo>
                    <a:pt x="31" y="48"/>
                  </a:moveTo>
                  <a:lnTo>
                    <a:pt x="29" y="48"/>
                  </a:lnTo>
                  <a:lnTo>
                    <a:pt x="26" y="48"/>
                  </a:lnTo>
                  <a:cubicBezTo>
                    <a:pt x="26" y="51"/>
                    <a:pt x="29" y="51"/>
                    <a:pt x="29" y="51"/>
                  </a:cubicBezTo>
                  <a:cubicBezTo>
                    <a:pt x="29" y="51"/>
                    <a:pt x="29" y="54"/>
                    <a:pt x="31" y="54"/>
                  </a:cubicBezTo>
                  <a:cubicBezTo>
                    <a:pt x="34" y="57"/>
                    <a:pt x="34" y="54"/>
                    <a:pt x="40" y="54"/>
                  </a:cubicBezTo>
                  <a:cubicBezTo>
                    <a:pt x="37" y="51"/>
                    <a:pt x="34" y="51"/>
                    <a:pt x="31" y="48"/>
                  </a:cubicBezTo>
                  <a:close/>
                  <a:moveTo>
                    <a:pt x="29" y="99"/>
                  </a:moveTo>
                  <a:cubicBezTo>
                    <a:pt x="26" y="96"/>
                    <a:pt x="26" y="99"/>
                    <a:pt x="29" y="99"/>
                  </a:cubicBezTo>
                  <a:close/>
                  <a:moveTo>
                    <a:pt x="37" y="116"/>
                  </a:moveTo>
                  <a:cubicBezTo>
                    <a:pt x="37" y="110"/>
                    <a:pt x="37" y="108"/>
                    <a:pt x="34" y="108"/>
                  </a:cubicBezTo>
                  <a:lnTo>
                    <a:pt x="31" y="108"/>
                  </a:lnTo>
                  <a:cubicBezTo>
                    <a:pt x="31" y="108"/>
                    <a:pt x="29" y="108"/>
                    <a:pt x="29" y="110"/>
                  </a:cubicBezTo>
                  <a:cubicBezTo>
                    <a:pt x="31" y="110"/>
                    <a:pt x="34" y="113"/>
                    <a:pt x="37" y="116"/>
                  </a:cubicBezTo>
                  <a:close/>
                  <a:moveTo>
                    <a:pt x="34" y="68"/>
                  </a:moveTo>
                  <a:cubicBezTo>
                    <a:pt x="34" y="68"/>
                    <a:pt x="37" y="71"/>
                    <a:pt x="37" y="74"/>
                  </a:cubicBezTo>
                  <a:lnTo>
                    <a:pt x="34" y="77"/>
                  </a:lnTo>
                  <a:cubicBezTo>
                    <a:pt x="43" y="74"/>
                    <a:pt x="43" y="74"/>
                    <a:pt x="40" y="65"/>
                  </a:cubicBezTo>
                  <a:lnTo>
                    <a:pt x="34" y="68"/>
                  </a:lnTo>
                  <a:close/>
                  <a:moveTo>
                    <a:pt x="34" y="60"/>
                  </a:moveTo>
                  <a:cubicBezTo>
                    <a:pt x="36" y="60"/>
                    <a:pt x="36" y="59"/>
                    <a:pt x="37" y="58"/>
                  </a:cubicBezTo>
                  <a:lnTo>
                    <a:pt x="34" y="60"/>
                  </a:lnTo>
                  <a:close/>
                  <a:moveTo>
                    <a:pt x="37" y="102"/>
                  </a:moveTo>
                  <a:cubicBezTo>
                    <a:pt x="37" y="99"/>
                    <a:pt x="37" y="96"/>
                    <a:pt x="40" y="96"/>
                  </a:cubicBezTo>
                  <a:cubicBezTo>
                    <a:pt x="34" y="96"/>
                    <a:pt x="31" y="96"/>
                    <a:pt x="37" y="102"/>
                  </a:cubicBezTo>
                  <a:close/>
                  <a:moveTo>
                    <a:pt x="40" y="51"/>
                  </a:moveTo>
                  <a:cubicBezTo>
                    <a:pt x="43" y="48"/>
                    <a:pt x="43" y="46"/>
                    <a:pt x="43" y="43"/>
                  </a:cubicBezTo>
                  <a:lnTo>
                    <a:pt x="37" y="43"/>
                  </a:lnTo>
                  <a:cubicBezTo>
                    <a:pt x="37" y="43"/>
                    <a:pt x="37" y="46"/>
                    <a:pt x="40" y="46"/>
                  </a:cubicBezTo>
                  <a:lnTo>
                    <a:pt x="40" y="51"/>
                  </a:lnTo>
                  <a:close/>
                  <a:moveTo>
                    <a:pt x="45" y="144"/>
                  </a:moveTo>
                  <a:lnTo>
                    <a:pt x="37" y="136"/>
                  </a:lnTo>
                  <a:cubicBezTo>
                    <a:pt x="40" y="142"/>
                    <a:pt x="43" y="142"/>
                    <a:pt x="45" y="144"/>
                  </a:cubicBezTo>
                  <a:close/>
                  <a:moveTo>
                    <a:pt x="40" y="127"/>
                  </a:moveTo>
                  <a:cubicBezTo>
                    <a:pt x="43" y="127"/>
                    <a:pt x="45" y="130"/>
                    <a:pt x="45" y="130"/>
                  </a:cubicBezTo>
                  <a:lnTo>
                    <a:pt x="43" y="127"/>
                  </a:lnTo>
                  <a:cubicBezTo>
                    <a:pt x="43" y="125"/>
                    <a:pt x="43" y="125"/>
                    <a:pt x="40" y="127"/>
                  </a:cubicBezTo>
                  <a:close/>
                  <a:moveTo>
                    <a:pt x="43" y="150"/>
                  </a:moveTo>
                  <a:lnTo>
                    <a:pt x="45" y="150"/>
                  </a:lnTo>
                  <a:lnTo>
                    <a:pt x="48" y="150"/>
                  </a:lnTo>
                  <a:cubicBezTo>
                    <a:pt x="48" y="147"/>
                    <a:pt x="45" y="147"/>
                    <a:pt x="45" y="147"/>
                  </a:cubicBezTo>
                  <a:lnTo>
                    <a:pt x="43" y="150"/>
                  </a:lnTo>
                  <a:close/>
                  <a:moveTo>
                    <a:pt x="48" y="26"/>
                  </a:moveTo>
                  <a:cubicBezTo>
                    <a:pt x="45" y="26"/>
                    <a:pt x="43" y="29"/>
                    <a:pt x="45" y="32"/>
                  </a:cubicBezTo>
                  <a:lnTo>
                    <a:pt x="48" y="32"/>
                  </a:lnTo>
                  <a:lnTo>
                    <a:pt x="48" y="26"/>
                  </a:lnTo>
                  <a:close/>
                  <a:moveTo>
                    <a:pt x="51" y="158"/>
                  </a:moveTo>
                  <a:cubicBezTo>
                    <a:pt x="51" y="164"/>
                    <a:pt x="54" y="164"/>
                    <a:pt x="57" y="161"/>
                  </a:cubicBezTo>
                  <a:lnTo>
                    <a:pt x="57" y="158"/>
                  </a:lnTo>
                  <a:lnTo>
                    <a:pt x="51" y="158"/>
                  </a:lnTo>
                  <a:close/>
                  <a:moveTo>
                    <a:pt x="57" y="26"/>
                  </a:moveTo>
                  <a:cubicBezTo>
                    <a:pt x="54" y="26"/>
                    <a:pt x="54" y="29"/>
                    <a:pt x="51" y="29"/>
                  </a:cubicBezTo>
                  <a:cubicBezTo>
                    <a:pt x="54" y="32"/>
                    <a:pt x="57" y="32"/>
                    <a:pt x="57" y="26"/>
                  </a:cubicBezTo>
                  <a:close/>
                  <a:moveTo>
                    <a:pt x="57" y="173"/>
                  </a:moveTo>
                  <a:cubicBezTo>
                    <a:pt x="54" y="173"/>
                    <a:pt x="54" y="170"/>
                    <a:pt x="51" y="170"/>
                  </a:cubicBezTo>
                  <a:cubicBezTo>
                    <a:pt x="51" y="175"/>
                    <a:pt x="51" y="175"/>
                    <a:pt x="57" y="173"/>
                  </a:cubicBezTo>
                  <a:close/>
                  <a:moveTo>
                    <a:pt x="57" y="34"/>
                  </a:moveTo>
                  <a:cubicBezTo>
                    <a:pt x="54" y="37"/>
                    <a:pt x="57" y="37"/>
                    <a:pt x="57" y="34"/>
                  </a:cubicBezTo>
                  <a:close/>
                  <a:moveTo>
                    <a:pt x="68" y="34"/>
                  </a:moveTo>
                  <a:lnTo>
                    <a:pt x="68" y="32"/>
                  </a:lnTo>
                  <a:lnTo>
                    <a:pt x="65" y="32"/>
                  </a:lnTo>
                  <a:cubicBezTo>
                    <a:pt x="62" y="37"/>
                    <a:pt x="62" y="37"/>
                    <a:pt x="68" y="34"/>
                  </a:cubicBezTo>
                  <a:close/>
                  <a:moveTo>
                    <a:pt x="68" y="23"/>
                  </a:moveTo>
                  <a:lnTo>
                    <a:pt x="65" y="23"/>
                  </a:lnTo>
                  <a:lnTo>
                    <a:pt x="65" y="26"/>
                  </a:lnTo>
                  <a:cubicBezTo>
                    <a:pt x="65" y="23"/>
                    <a:pt x="65" y="23"/>
                    <a:pt x="68" y="23"/>
                  </a:cubicBezTo>
                  <a:close/>
                  <a:moveTo>
                    <a:pt x="65" y="189"/>
                  </a:moveTo>
                  <a:lnTo>
                    <a:pt x="65" y="192"/>
                  </a:lnTo>
                  <a:lnTo>
                    <a:pt x="65" y="195"/>
                  </a:lnTo>
                  <a:lnTo>
                    <a:pt x="68" y="192"/>
                  </a:lnTo>
                  <a:lnTo>
                    <a:pt x="71" y="189"/>
                  </a:lnTo>
                  <a:lnTo>
                    <a:pt x="71" y="187"/>
                  </a:lnTo>
                  <a:lnTo>
                    <a:pt x="68" y="187"/>
                  </a:lnTo>
                  <a:cubicBezTo>
                    <a:pt x="68" y="189"/>
                    <a:pt x="65" y="189"/>
                    <a:pt x="65" y="189"/>
                  </a:cubicBezTo>
                  <a:close/>
                  <a:moveTo>
                    <a:pt x="74" y="204"/>
                  </a:moveTo>
                  <a:cubicBezTo>
                    <a:pt x="74" y="206"/>
                    <a:pt x="77" y="206"/>
                    <a:pt x="74" y="204"/>
                  </a:cubicBezTo>
                  <a:cubicBezTo>
                    <a:pt x="77" y="206"/>
                    <a:pt x="79" y="206"/>
                    <a:pt x="79" y="206"/>
                  </a:cubicBezTo>
                  <a:lnTo>
                    <a:pt x="85" y="201"/>
                  </a:lnTo>
                  <a:lnTo>
                    <a:pt x="82" y="198"/>
                  </a:lnTo>
                  <a:lnTo>
                    <a:pt x="79" y="198"/>
                  </a:lnTo>
                  <a:cubicBezTo>
                    <a:pt x="77" y="198"/>
                    <a:pt x="77" y="201"/>
                    <a:pt x="74" y="204"/>
                  </a:cubicBezTo>
                  <a:close/>
                  <a:moveTo>
                    <a:pt x="74" y="26"/>
                  </a:moveTo>
                  <a:lnTo>
                    <a:pt x="79" y="26"/>
                  </a:lnTo>
                  <a:cubicBezTo>
                    <a:pt x="79" y="23"/>
                    <a:pt x="79" y="23"/>
                    <a:pt x="77" y="23"/>
                  </a:cubicBezTo>
                  <a:lnTo>
                    <a:pt x="74" y="23"/>
                  </a:lnTo>
                  <a:lnTo>
                    <a:pt x="74" y="26"/>
                  </a:lnTo>
                  <a:close/>
                  <a:moveTo>
                    <a:pt x="91" y="37"/>
                  </a:moveTo>
                  <a:lnTo>
                    <a:pt x="88" y="37"/>
                  </a:lnTo>
                  <a:cubicBezTo>
                    <a:pt x="88" y="37"/>
                    <a:pt x="85" y="34"/>
                    <a:pt x="85" y="32"/>
                  </a:cubicBezTo>
                  <a:cubicBezTo>
                    <a:pt x="85" y="32"/>
                    <a:pt x="85" y="34"/>
                    <a:pt x="82" y="34"/>
                  </a:cubicBezTo>
                  <a:lnTo>
                    <a:pt x="74" y="34"/>
                  </a:lnTo>
                  <a:lnTo>
                    <a:pt x="77" y="37"/>
                  </a:lnTo>
                  <a:lnTo>
                    <a:pt x="79" y="40"/>
                  </a:lnTo>
                  <a:cubicBezTo>
                    <a:pt x="79" y="40"/>
                    <a:pt x="79" y="43"/>
                    <a:pt x="82" y="43"/>
                  </a:cubicBezTo>
                  <a:cubicBezTo>
                    <a:pt x="88" y="40"/>
                    <a:pt x="91" y="40"/>
                    <a:pt x="91" y="37"/>
                  </a:cubicBezTo>
                  <a:close/>
                  <a:moveTo>
                    <a:pt x="85" y="232"/>
                  </a:moveTo>
                  <a:lnTo>
                    <a:pt x="88" y="226"/>
                  </a:lnTo>
                  <a:lnTo>
                    <a:pt x="91" y="226"/>
                  </a:lnTo>
                  <a:lnTo>
                    <a:pt x="91" y="221"/>
                  </a:lnTo>
                  <a:lnTo>
                    <a:pt x="88" y="218"/>
                  </a:lnTo>
                  <a:lnTo>
                    <a:pt x="82" y="212"/>
                  </a:lnTo>
                  <a:lnTo>
                    <a:pt x="82" y="218"/>
                  </a:lnTo>
                  <a:lnTo>
                    <a:pt x="82" y="221"/>
                  </a:lnTo>
                  <a:lnTo>
                    <a:pt x="85" y="223"/>
                  </a:lnTo>
                  <a:cubicBezTo>
                    <a:pt x="82" y="226"/>
                    <a:pt x="82" y="229"/>
                    <a:pt x="85" y="232"/>
                  </a:cubicBezTo>
                  <a:close/>
                  <a:moveTo>
                    <a:pt x="88" y="235"/>
                  </a:moveTo>
                  <a:lnTo>
                    <a:pt x="88" y="243"/>
                  </a:lnTo>
                  <a:cubicBezTo>
                    <a:pt x="88" y="243"/>
                    <a:pt x="88" y="240"/>
                    <a:pt x="91" y="240"/>
                  </a:cubicBezTo>
                  <a:lnTo>
                    <a:pt x="93" y="237"/>
                  </a:lnTo>
                  <a:cubicBezTo>
                    <a:pt x="91" y="232"/>
                    <a:pt x="88" y="232"/>
                    <a:pt x="88" y="235"/>
                  </a:cubicBezTo>
                  <a:close/>
                  <a:moveTo>
                    <a:pt x="91" y="229"/>
                  </a:moveTo>
                  <a:cubicBezTo>
                    <a:pt x="91" y="226"/>
                    <a:pt x="93" y="226"/>
                    <a:pt x="93" y="223"/>
                  </a:cubicBezTo>
                  <a:cubicBezTo>
                    <a:pt x="91" y="223"/>
                    <a:pt x="91" y="223"/>
                    <a:pt x="91" y="229"/>
                  </a:cubicBezTo>
                  <a:close/>
                  <a:moveTo>
                    <a:pt x="99" y="246"/>
                  </a:moveTo>
                  <a:cubicBezTo>
                    <a:pt x="96" y="246"/>
                    <a:pt x="96" y="249"/>
                    <a:pt x="96" y="249"/>
                  </a:cubicBezTo>
                  <a:lnTo>
                    <a:pt x="96" y="252"/>
                  </a:lnTo>
                  <a:lnTo>
                    <a:pt x="102" y="252"/>
                  </a:lnTo>
                  <a:cubicBezTo>
                    <a:pt x="102" y="252"/>
                    <a:pt x="99" y="249"/>
                    <a:pt x="99" y="246"/>
                  </a:cubicBezTo>
                  <a:close/>
                  <a:moveTo>
                    <a:pt x="99" y="32"/>
                  </a:moveTo>
                  <a:cubicBezTo>
                    <a:pt x="99" y="32"/>
                    <a:pt x="102" y="32"/>
                    <a:pt x="99" y="32"/>
                  </a:cubicBezTo>
                  <a:lnTo>
                    <a:pt x="99" y="26"/>
                  </a:lnTo>
                  <a:cubicBezTo>
                    <a:pt x="96" y="32"/>
                    <a:pt x="99" y="32"/>
                    <a:pt x="99" y="32"/>
                  </a:cubicBezTo>
                  <a:close/>
                  <a:moveTo>
                    <a:pt x="105" y="54"/>
                  </a:moveTo>
                  <a:lnTo>
                    <a:pt x="108" y="57"/>
                  </a:lnTo>
                  <a:lnTo>
                    <a:pt x="110" y="54"/>
                  </a:lnTo>
                  <a:lnTo>
                    <a:pt x="113" y="54"/>
                  </a:lnTo>
                  <a:lnTo>
                    <a:pt x="116" y="54"/>
                  </a:lnTo>
                  <a:lnTo>
                    <a:pt x="116" y="51"/>
                  </a:lnTo>
                  <a:lnTo>
                    <a:pt x="113" y="48"/>
                  </a:lnTo>
                  <a:lnTo>
                    <a:pt x="110" y="46"/>
                  </a:lnTo>
                  <a:lnTo>
                    <a:pt x="108" y="48"/>
                  </a:lnTo>
                  <a:cubicBezTo>
                    <a:pt x="105" y="48"/>
                    <a:pt x="105" y="46"/>
                    <a:pt x="102" y="46"/>
                  </a:cubicBezTo>
                  <a:lnTo>
                    <a:pt x="105" y="54"/>
                  </a:lnTo>
                  <a:close/>
                  <a:moveTo>
                    <a:pt x="102" y="249"/>
                  </a:moveTo>
                  <a:cubicBezTo>
                    <a:pt x="108" y="249"/>
                    <a:pt x="108" y="246"/>
                    <a:pt x="108" y="243"/>
                  </a:cubicBezTo>
                  <a:cubicBezTo>
                    <a:pt x="105" y="243"/>
                    <a:pt x="105" y="246"/>
                    <a:pt x="102" y="249"/>
                  </a:cubicBezTo>
                  <a:close/>
                  <a:moveTo>
                    <a:pt x="113" y="79"/>
                  </a:moveTo>
                  <a:lnTo>
                    <a:pt x="110" y="79"/>
                  </a:lnTo>
                  <a:cubicBezTo>
                    <a:pt x="110" y="79"/>
                    <a:pt x="110" y="79"/>
                    <a:pt x="113" y="79"/>
                  </a:cubicBezTo>
                  <a:cubicBezTo>
                    <a:pt x="110" y="82"/>
                    <a:pt x="110" y="85"/>
                    <a:pt x="113" y="85"/>
                  </a:cubicBezTo>
                  <a:lnTo>
                    <a:pt x="113" y="79"/>
                  </a:lnTo>
                  <a:close/>
                  <a:moveTo>
                    <a:pt x="127" y="448"/>
                  </a:moveTo>
                  <a:cubicBezTo>
                    <a:pt x="124" y="445"/>
                    <a:pt x="122" y="445"/>
                    <a:pt x="122" y="442"/>
                  </a:cubicBezTo>
                  <a:lnTo>
                    <a:pt x="124" y="440"/>
                  </a:lnTo>
                  <a:lnTo>
                    <a:pt x="122" y="440"/>
                  </a:lnTo>
                  <a:lnTo>
                    <a:pt x="119" y="440"/>
                  </a:lnTo>
                  <a:cubicBezTo>
                    <a:pt x="116" y="440"/>
                    <a:pt x="113" y="440"/>
                    <a:pt x="110" y="437"/>
                  </a:cubicBezTo>
                  <a:cubicBezTo>
                    <a:pt x="113" y="440"/>
                    <a:pt x="116" y="445"/>
                    <a:pt x="119" y="448"/>
                  </a:cubicBezTo>
                  <a:lnTo>
                    <a:pt x="127" y="448"/>
                  </a:lnTo>
                  <a:close/>
                  <a:moveTo>
                    <a:pt x="110" y="431"/>
                  </a:moveTo>
                  <a:cubicBezTo>
                    <a:pt x="110" y="434"/>
                    <a:pt x="110" y="434"/>
                    <a:pt x="113" y="434"/>
                  </a:cubicBezTo>
                  <a:lnTo>
                    <a:pt x="116" y="434"/>
                  </a:lnTo>
                  <a:lnTo>
                    <a:pt x="116" y="431"/>
                  </a:lnTo>
                  <a:lnTo>
                    <a:pt x="110" y="431"/>
                  </a:lnTo>
                  <a:close/>
                  <a:moveTo>
                    <a:pt x="124" y="102"/>
                  </a:moveTo>
                  <a:lnTo>
                    <a:pt x="124" y="105"/>
                  </a:lnTo>
                  <a:cubicBezTo>
                    <a:pt x="127" y="102"/>
                    <a:pt x="127" y="102"/>
                    <a:pt x="127" y="99"/>
                  </a:cubicBezTo>
                  <a:cubicBezTo>
                    <a:pt x="124" y="94"/>
                    <a:pt x="122" y="91"/>
                    <a:pt x="113" y="88"/>
                  </a:cubicBezTo>
                  <a:lnTo>
                    <a:pt x="113" y="91"/>
                  </a:lnTo>
                  <a:lnTo>
                    <a:pt x="113" y="94"/>
                  </a:lnTo>
                  <a:cubicBezTo>
                    <a:pt x="116" y="94"/>
                    <a:pt x="119" y="96"/>
                    <a:pt x="122" y="96"/>
                  </a:cubicBezTo>
                  <a:cubicBezTo>
                    <a:pt x="122" y="99"/>
                    <a:pt x="124" y="99"/>
                    <a:pt x="124" y="102"/>
                  </a:cubicBezTo>
                  <a:close/>
                  <a:moveTo>
                    <a:pt x="116" y="274"/>
                  </a:moveTo>
                  <a:cubicBezTo>
                    <a:pt x="119" y="274"/>
                    <a:pt x="119" y="277"/>
                    <a:pt x="122" y="277"/>
                  </a:cubicBezTo>
                  <a:cubicBezTo>
                    <a:pt x="122" y="271"/>
                    <a:pt x="122" y="271"/>
                    <a:pt x="116" y="274"/>
                  </a:cubicBezTo>
                  <a:close/>
                  <a:moveTo>
                    <a:pt x="122" y="68"/>
                  </a:moveTo>
                  <a:cubicBezTo>
                    <a:pt x="122" y="65"/>
                    <a:pt x="122" y="65"/>
                    <a:pt x="116" y="65"/>
                  </a:cubicBezTo>
                  <a:cubicBezTo>
                    <a:pt x="119" y="68"/>
                    <a:pt x="119" y="68"/>
                    <a:pt x="122" y="68"/>
                  </a:cubicBezTo>
                  <a:close/>
                  <a:moveTo>
                    <a:pt x="119" y="263"/>
                  </a:moveTo>
                  <a:cubicBezTo>
                    <a:pt x="119" y="260"/>
                    <a:pt x="119" y="260"/>
                    <a:pt x="116" y="257"/>
                  </a:cubicBezTo>
                  <a:cubicBezTo>
                    <a:pt x="116" y="263"/>
                    <a:pt x="116" y="263"/>
                    <a:pt x="119" y="263"/>
                  </a:cubicBezTo>
                  <a:close/>
                  <a:moveTo>
                    <a:pt x="130" y="130"/>
                  </a:moveTo>
                  <a:lnTo>
                    <a:pt x="124" y="125"/>
                  </a:lnTo>
                  <a:lnTo>
                    <a:pt x="122" y="122"/>
                  </a:lnTo>
                  <a:lnTo>
                    <a:pt x="119" y="122"/>
                  </a:lnTo>
                  <a:cubicBezTo>
                    <a:pt x="122" y="127"/>
                    <a:pt x="122" y="127"/>
                    <a:pt x="124" y="127"/>
                  </a:cubicBezTo>
                  <a:cubicBezTo>
                    <a:pt x="127" y="127"/>
                    <a:pt x="127" y="130"/>
                    <a:pt x="127" y="133"/>
                  </a:cubicBezTo>
                  <a:lnTo>
                    <a:pt x="130" y="130"/>
                  </a:lnTo>
                  <a:close/>
                  <a:moveTo>
                    <a:pt x="133" y="119"/>
                  </a:moveTo>
                  <a:cubicBezTo>
                    <a:pt x="130" y="116"/>
                    <a:pt x="127" y="116"/>
                    <a:pt x="127" y="116"/>
                  </a:cubicBezTo>
                  <a:lnTo>
                    <a:pt x="124" y="119"/>
                  </a:lnTo>
                  <a:cubicBezTo>
                    <a:pt x="124" y="119"/>
                    <a:pt x="124" y="116"/>
                    <a:pt x="122" y="116"/>
                  </a:cubicBezTo>
                  <a:lnTo>
                    <a:pt x="119" y="113"/>
                  </a:lnTo>
                  <a:lnTo>
                    <a:pt x="116" y="113"/>
                  </a:lnTo>
                  <a:cubicBezTo>
                    <a:pt x="116" y="116"/>
                    <a:pt x="119" y="119"/>
                    <a:pt x="122" y="119"/>
                  </a:cubicBezTo>
                  <a:cubicBezTo>
                    <a:pt x="124" y="119"/>
                    <a:pt x="127" y="119"/>
                    <a:pt x="127" y="122"/>
                  </a:cubicBezTo>
                  <a:lnTo>
                    <a:pt x="133" y="119"/>
                  </a:lnTo>
                  <a:close/>
                  <a:moveTo>
                    <a:pt x="127" y="283"/>
                  </a:moveTo>
                  <a:lnTo>
                    <a:pt x="124" y="283"/>
                  </a:lnTo>
                  <a:lnTo>
                    <a:pt x="122" y="283"/>
                  </a:lnTo>
                  <a:lnTo>
                    <a:pt x="122" y="285"/>
                  </a:lnTo>
                  <a:cubicBezTo>
                    <a:pt x="124" y="288"/>
                    <a:pt x="127" y="288"/>
                    <a:pt x="130" y="291"/>
                  </a:cubicBezTo>
                  <a:cubicBezTo>
                    <a:pt x="133" y="288"/>
                    <a:pt x="133" y="285"/>
                    <a:pt x="136" y="285"/>
                  </a:cubicBezTo>
                  <a:lnTo>
                    <a:pt x="136" y="283"/>
                  </a:lnTo>
                  <a:lnTo>
                    <a:pt x="127" y="283"/>
                  </a:lnTo>
                  <a:close/>
                  <a:moveTo>
                    <a:pt x="122" y="437"/>
                  </a:moveTo>
                  <a:lnTo>
                    <a:pt x="127" y="437"/>
                  </a:lnTo>
                  <a:lnTo>
                    <a:pt x="127" y="434"/>
                  </a:lnTo>
                  <a:cubicBezTo>
                    <a:pt x="124" y="434"/>
                    <a:pt x="122" y="437"/>
                    <a:pt x="122" y="437"/>
                  </a:cubicBezTo>
                  <a:close/>
                  <a:moveTo>
                    <a:pt x="133" y="442"/>
                  </a:moveTo>
                  <a:cubicBezTo>
                    <a:pt x="133" y="442"/>
                    <a:pt x="133" y="440"/>
                    <a:pt x="136" y="440"/>
                  </a:cubicBezTo>
                  <a:cubicBezTo>
                    <a:pt x="133" y="440"/>
                    <a:pt x="130" y="440"/>
                    <a:pt x="130" y="437"/>
                  </a:cubicBezTo>
                  <a:lnTo>
                    <a:pt x="130" y="440"/>
                  </a:lnTo>
                  <a:cubicBezTo>
                    <a:pt x="127" y="442"/>
                    <a:pt x="130" y="442"/>
                    <a:pt x="133" y="442"/>
                  </a:cubicBezTo>
                  <a:close/>
                  <a:moveTo>
                    <a:pt x="127" y="299"/>
                  </a:moveTo>
                  <a:cubicBezTo>
                    <a:pt x="130" y="297"/>
                    <a:pt x="127" y="297"/>
                    <a:pt x="127" y="299"/>
                  </a:cubicBezTo>
                  <a:close/>
                  <a:moveTo>
                    <a:pt x="144" y="451"/>
                  </a:moveTo>
                  <a:lnTo>
                    <a:pt x="139" y="448"/>
                  </a:lnTo>
                  <a:cubicBezTo>
                    <a:pt x="136" y="448"/>
                    <a:pt x="136" y="445"/>
                    <a:pt x="133" y="445"/>
                  </a:cubicBezTo>
                  <a:lnTo>
                    <a:pt x="133" y="451"/>
                  </a:lnTo>
                  <a:cubicBezTo>
                    <a:pt x="139" y="456"/>
                    <a:pt x="141" y="456"/>
                    <a:pt x="144" y="451"/>
                  </a:cubicBezTo>
                  <a:close/>
                  <a:moveTo>
                    <a:pt x="136" y="299"/>
                  </a:moveTo>
                  <a:cubicBezTo>
                    <a:pt x="136" y="299"/>
                    <a:pt x="139" y="299"/>
                    <a:pt x="136" y="299"/>
                  </a:cubicBezTo>
                  <a:lnTo>
                    <a:pt x="141" y="299"/>
                  </a:lnTo>
                  <a:cubicBezTo>
                    <a:pt x="139" y="297"/>
                    <a:pt x="136" y="299"/>
                    <a:pt x="136" y="299"/>
                  </a:cubicBezTo>
                  <a:close/>
                  <a:moveTo>
                    <a:pt x="161" y="440"/>
                  </a:moveTo>
                  <a:cubicBezTo>
                    <a:pt x="158" y="437"/>
                    <a:pt x="156" y="437"/>
                    <a:pt x="153" y="434"/>
                  </a:cubicBezTo>
                  <a:lnTo>
                    <a:pt x="153" y="440"/>
                  </a:lnTo>
                  <a:lnTo>
                    <a:pt x="141" y="440"/>
                  </a:lnTo>
                  <a:lnTo>
                    <a:pt x="141" y="442"/>
                  </a:lnTo>
                  <a:cubicBezTo>
                    <a:pt x="144" y="442"/>
                    <a:pt x="147" y="442"/>
                    <a:pt x="150" y="445"/>
                  </a:cubicBezTo>
                  <a:lnTo>
                    <a:pt x="153" y="442"/>
                  </a:lnTo>
                  <a:lnTo>
                    <a:pt x="156" y="442"/>
                  </a:lnTo>
                  <a:lnTo>
                    <a:pt x="161" y="440"/>
                  </a:lnTo>
                  <a:close/>
                  <a:moveTo>
                    <a:pt x="147" y="305"/>
                  </a:moveTo>
                  <a:lnTo>
                    <a:pt x="150" y="305"/>
                  </a:lnTo>
                  <a:lnTo>
                    <a:pt x="150" y="302"/>
                  </a:lnTo>
                  <a:lnTo>
                    <a:pt x="150" y="299"/>
                  </a:lnTo>
                  <a:lnTo>
                    <a:pt x="147" y="299"/>
                  </a:lnTo>
                  <a:lnTo>
                    <a:pt x="147" y="305"/>
                  </a:lnTo>
                  <a:close/>
                  <a:moveTo>
                    <a:pt x="147" y="319"/>
                  </a:moveTo>
                  <a:lnTo>
                    <a:pt x="150" y="319"/>
                  </a:lnTo>
                  <a:cubicBezTo>
                    <a:pt x="150" y="316"/>
                    <a:pt x="150" y="316"/>
                    <a:pt x="147" y="314"/>
                  </a:cubicBezTo>
                  <a:lnTo>
                    <a:pt x="147" y="319"/>
                  </a:lnTo>
                  <a:close/>
                  <a:moveTo>
                    <a:pt x="147" y="342"/>
                  </a:moveTo>
                  <a:lnTo>
                    <a:pt x="153" y="342"/>
                  </a:lnTo>
                  <a:lnTo>
                    <a:pt x="153" y="339"/>
                  </a:lnTo>
                  <a:lnTo>
                    <a:pt x="147" y="342"/>
                  </a:lnTo>
                  <a:close/>
                  <a:moveTo>
                    <a:pt x="161" y="353"/>
                  </a:moveTo>
                  <a:cubicBezTo>
                    <a:pt x="158" y="350"/>
                    <a:pt x="156" y="350"/>
                    <a:pt x="153" y="350"/>
                  </a:cubicBezTo>
                  <a:lnTo>
                    <a:pt x="156" y="353"/>
                  </a:lnTo>
                  <a:lnTo>
                    <a:pt x="161" y="353"/>
                  </a:lnTo>
                  <a:close/>
                  <a:moveTo>
                    <a:pt x="158" y="342"/>
                  </a:moveTo>
                  <a:lnTo>
                    <a:pt x="156" y="342"/>
                  </a:lnTo>
                  <a:lnTo>
                    <a:pt x="156" y="345"/>
                  </a:lnTo>
                  <a:lnTo>
                    <a:pt x="158" y="342"/>
                  </a:lnTo>
                  <a:close/>
                  <a:moveTo>
                    <a:pt x="161" y="359"/>
                  </a:moveTo>
                  <a:lnTo>
                    <a:pt x="158" y="356"/>
                  </a:lnTo>
                  <a:lnTo>
                    <a:pt x="158" y="362"/>
                  </a:lnTo>
                  <a:lnTo>
                    <a:pt x="161" y="364"/>
                  </a:lnTo>
                  <a:lnTo>
                    <a:pt x="161" y="359"/>
                  </a:lnTo>
                  <a:close/>
                  <a:moveTo>
                    <a:pt x="170" y="425"/>
                  </a:moveTo>
                  <a:cubicBezTo>
                    <a:pt x="167" y="423"/>
                    <a:pt x="164" y="423"/>
                    <a:pt x="161" y="423"/>
                  </a:cubicBezTo>
                  <a:cubicBezTo>
                    <a:pt x="158" y="423"/>
                    <a:pt x="158" y="425"/>
                    <a:pt x="156" y="428"/>
                  </a:cubicBezTo>
                  <a:cubicBezTo>
                    <a:pt x="164" y="431"/>
                    <a:pt x="164" y="431"/>
                    <a:pt x="167" y="434"/>
                  </a:cubicBezTo>
                  <a:lnTo>
                    <a:pt x="170" y="431"/>
                  </a:lnTo>
                  <a:lnTo>
                    <a:pt x="167" y="428"/>
                  </a:lnTo>
                  <a:lnTo>
                    <a:pt x="170" y="425"/>
                  </a:lnTo>
                  <a:close/>
                  <a:moveTo>
                    <a:pt x="175" y="414"/>
                  </a:moveTo>
                  <a:cubicBezTo>
                    <a:pt x="175" y="411"/>
                    <a:pt x="172" y="411"/>
                    <a:pt x="172" y="409"/>
                  </a:cubicBezTo>
                  <a:cubicBezTo>
                    <a:pt x="170" y="409"/>
                    <a:pt x="164" y="410"/>
                    <a:pt x="161" y="407"/>
                  </a:cubicBezTo>
                  <a:lnTo>
                    <a:pt x="161" y="409"/>
                  </a:lnTo>
                  <a:cubicBezTo>
                    <a:pt x="164" y="409"/>
                    <a:pt x="167" y="409"/>
                    <a:pt x="167" y="411"/>
                  </a:cubicBezTo>
                  <a:cubicBezTo>
                    <a:pt x="170" y="411"/>
                    <a:pt x="172" y="411"/>
                    <a:pt x="175" y="414"/>
                  </a:cubicBezTo>
                  <a:close/>
                  <a:moveTo>
                    <a:pt x="167" y="417"/>
                  </a:moveTo>
                  <a:lnTo>
                    <a:pt x="167" y="414"/>
                  </a:lnTo>
                  <a:lnTo>
                    <a:pt x="164" y="414"/>
                  </a:lnTo>
                  <a:lnTo>
                    <a:pt x="164" y="420"/>
                  </a:lnTo>
                  <a:cubicBezTo>
                    <a:pt x="164" y="417"/>
                    <a:pt x="167" y="417"/>
                    <a:pt x="167" y="417"/>
                  </a:cubicBezTo>
                  <a:close/>
                  <a:moveTo>
                    <a:pt x="164" y="381"/>
                  </a:moveTo>
                  <a:lnTo>
                    <a:pt x="170" y="381"/>
                  </a:lnTo>
                  <a:cubicBezTo>
                    <a:pt x="172" y="381"/>
                    <a:pt x="172" y="381"/>
                    <a:pt x="170" y="376"/>
                  </a:cubicBezTo>
                  <a:lnTo>
                    <a:pt x="164" y="376"/>
                  </a:lnTo>
                  <a:lnTo>
                    <a:pt x="164" y="381"/>
                  </a:lnTo>
                  <a:close/>
                  <a:moveTo>
                    <a:pt x="172" y="387"/>
                  </a:moveTo>
                  <a:cubicBezTo>
                    <a:pt x="170" y="387"/>
                    <a:pt x="170" y="387"/>
                    <a:pt x="167" y="390"/>
                  </a:cubicBezTo>
                  <a:lnTo>
                    <a:pt x="164" y="390"/>
                  </a:lnTo>
                  <a:lnTo>
                    <a:pt x="167" y="393"/>
                  </a:lnTo>
                  <a:cubicBezTo>
                    <a:pt x="167" y="393"/>
                    <a:pt x="167" y="390"/>
                    <a:pt x="170" y="390"/>
                  </a:cubicBezTo>
                  <a:lnTo>
                    <a:pt x="172" y="387"/>
                  </a:lnTo>
                  <a:close/>
                  <a:moveTo>
                    <a:pt x="167" y="370"/>
                  </a:moveTo>
                  <a:lnTo>
                    <a:pt x="167" y="373"/>
                  </a:lnTo>
                  <a:lnTo>
                    <a:pt x="170" y="373"/>
                  </a:lnTo>
                  <a:lnTo>
                    <a:pt x="167" y="370"/>
                  </a:lnTo>
                  <a:close/>
                  <a:moveTo>
                    <a:pt x="167" y="364"/>
                  </a:moveTo>
                  <a:cubicBezTo>
                    <a:pt x="170" y="362"/>
                    <a:pt x="167" y="362"/>
                    <a:pt x="167" y="364"/>
                  </a:cubicBezTo>
                  <a:close/>
                  <a:moveTo>
                    <a:pt x="172" y="395"/>
                  </a:moveTo>
                  <a:cubicBezTo>
                    <a:pt x="170" y="395"/>
                    <a:pt x="170" y="398"/>
                    <a:pt x="172" y="39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35" name="Freeform 1462"/>
            <p:cNvSpPr>
              <a:spLocks noChangeArrowheads="1"/>
            </p:cNvSpPr>
            <p:nvPr/>
          </p:nvSpPr>
          <p:spPr bwMode="auto">
            <a:xfrm>
              <a:off x="4356100" y="2414588"/>
              <a:ext cx="69850" cy="176212"/>
            </a:xfrm>
            <a:custGeom>
              <a:avLst/>
              <a:gdLst>
                <a:gd name="T0" fmla="*/ 133 w 196"/>
                <a:gd name="T1" fmla="*/ 481 h 491"/>
                <a:gd name="T2" fmla="*/ 79 w 196"/>
                <a:gd name="T3" fmla="*/ 467 h 491"/>
                <a:gd name="T4" fmla="*/ 59 w 196"/>
                <a:gd name="T5" fmla="*/ 372 h 491"/>
                <a:gd name="T6" fmla="*/ 45 w 196"/>
                <a:gd name="T7" fmla="*/ 304 h 491"/>
                <a:gd name="T8" fmla="*/ 31 w 196"/>
                <a:gd name="T9" fmla="*/ 209 h 491"/>
                <a:gd name="T10" fmla="*/ 6 w 196"/>
                <a:gd name="T11" fmla="*/ 79 h 491"/>
                <a:gd name="T12" fmla="*/ 31 w 196"/>
                <a:gd name="T13" fmla="*/ 14 h 491"/>
                <a:gd name="T14" fmla="*/ 93 w 196"/>
                <a:gd name="T15" fmla="*/ 0 h 491"/>
                <a:gd name="T16" fmla="*/ 121 w 196"/>
                <a:gd name="T17" fmla="*/ 42 h 491"/>
                <a:gd name="T18" fmla="*/ 68 w 196"/>
                <a:gd name="T19" fmla="*/ 68 h 491"/>
                <a:gd name="T20" fmla="*/ 73 w 196"/>
                <a:gd name="T21" fmla="*/ 155 h 491"/>
                <a:gd name="T22" fmla="*/ 85 w 196"/>
                <a:gd name="T23" fmla="*/ 206 h 491"/>
                <a:gd name="T24" fmla="*/ 116 w 196"/>
                <a:gd name="T25" fmla="*/ 273 h 491"/>
                <a:gd name="T26" fmla="*/ 107 w 196"/>
                <a:gd name="T27" fmla="*/ 381 h 491"/>
                <a:gd name="T28" fmla="*/ 127 w 196"/>
                <a:gd name="T29" fmla="*/ 426 h 491"/>
                <a:gd name="T30" fmla="*/ 175 w 196"/>
                <a:gd name="T31" fmla="*/ 417 h 491"/>
                <a:gd name="T32" fmla="*/ 28 w 196"/>
                <a:gd name="T33" fmla="*/ 51 h 491"/>
                <a:gd name="T34" fmla="*/ 28 w 196"/>
                <a:gd name="T35" fmla="*/ 56 h 491"/>
                <a:gd name="T36" fmla="*/ 45 w 196"/>
                <a:gd name="T37" fmla="*/ 73 h 491"/>
                <a:gd name="T38" fmla="*/ 28 w 196"/>
                <a:gd name="T39" fmla="*/ 73 h 491"/>
                <a:gd name="T40" fmla="*/ 31 w 196"/>
                <a:gd name="T41" fmla="*/ 107 h 491"/>
                <a:gd name="T42" fmla="*/ 59 w 196"/>
                <a:gd name="T43" fmla="*/ 53 h 491"/>
                <a:gd name="T44" fmla="*/ 45 w 196"/>
                <a:gd name="T45" fmla="*/ 39 h 491"/>
                <a:gd name="T46" fmla="*/ 42 w 196"/>
                <a:gd name="T47" fmla="*/ 118 h 491"/>
                <a:gd name="T48" fmla="*/ 45 w 196"/>
                <a:gd name="T49" fmla="*/ 132 h 491"/>
                <a:gd name="T50" fmla="*/ 42 w 196"/>
                <a:gd name="T51" fmla="*/ 73 h 491"/>
                <a:gd name="T52" fmla="*/ 42 w 196"/>
                <a:gd name="T53" fmla="*/ 101 h 491"/>
                <a:gd name="T54" fmla="*/ 51 w 196"/>
                <a:gd name="T55" fmla="*/ 192 h 491"/>
                <a:gd name="T56" fmla="*/ 54 w 196"/>
                <a:gd name="T57" fmla="*/ 172 h 491"/>
                <a:gd name="T58" fmla="*/ 45 w 196"/>
                <a:gd name="T59" fmla="*/ 166 h 491"/>
                <a:gd name="T60" fmla="*/ 51 w 196"/>
                <a:gd name="T61" fmla="*/ 214 h 491"/>
                <a:gd name="T62" fmla="*/ 68 w 196"/>
                <a:gd name="T63" fmla="*/ 42 h 491"/>
                <a:gd name="T64" fmla="*/ 62 w 196"/>
                <a:gd name="T65" fmla="*/ 36 h 491"/>
                <a:gd name="T66" fmla="*/ 59 w 196"/>
                <a:gd name="T67" fmla="*/ 225 h 491"/>
                <a:gd name="T68" fmla="*/ 65 w 196"/>
                <a:gd name="T69" fmla="*/ 251 h 491"/>
                <a:gd name="T70" fmla="*/ 65 w 196"/>
                <a:gd name="T71" fmla="*/ 254 h 491"/>
                <a:gd name="T72" fmla="*/ 65 w 196"/>
                <a:gd name="T73" fmla="*/ 259 h 491"/>
                <a:gd name="T74" fmla="*/ 65 w 196"/>
                <a:gd name="T75" fmla="*/ 211 h 491"/>
                <a:gd name="T76" fmla="*/ 76 w 196"/>
                <a:gd name="T77" fmla="*/ 304 h 491"/>
                <a:gd name="T78" fmla="*/ 76 w 196"/>
                <a:gd name="T79" fmla="*/ 313 h 491"/>
                <a:gd name="T80" fmla="*/ 68 w 196"/>
                <a:gd name="T81" fmla="*/ 302 h 491"/>
                <a:gd name="T82" fmla="*/ 73 w 196"/>
                <a:gd name="T83" fmla="*/ 338 h 491"/>
                <a:gd name="T84" fmla="*/ 70 w 196"/>
                <a:gd name="T85" fmla="*/ 276 h 491"/>
                <a:gd name="T86" fmla="*/ 70 w 196"/>
                <a:gd name="T87" fmla="*/ 285 h 491"/>
                <a:gd name="T88" fmla="*/ 85 w 196"/>
                <a:gd name="T89" fmla="*/ 36 h 491"/>
                <a:gd name="T90" fmla="*/ 73 w 196"/>
                <a:gd name="T91" fmla="*/ 28 h 491"/>
                <a:gd name="T92" fmla="*/ 76 w 196"/>
                <a:gd name="T93" fmla="*/ 245 h 491"/>
                <a:gd name="T94" fmla="*/ 96 w 196"/>
                <a:gd name="T95" fmla="*/ 237 h 491"/>
                <a:gd name="T96" fmla="*/ 85 w 196"/>
                <a:gd name="T97" fmla="*/ 347 h 491"/>
                <a:gd name="T98" fmla="*/ 87 w 196"/>
                <a:gd name="T99" fmla="*/ 431 h 491"/>
                <a:gd name="T100" fmla="*/ 93 w 196"/>
                <a:gd name="T101" fmla="*/ 381 h 491"/>
                <a:gd name="T102" fmla="*/ 87 w 196"/>
                <a:gd name="T103" fmla="*/ 257 h 491"/>
                <a:gd name="T104" fmla="*/ 93 w 196"/>
                <a:gd name="T105" fmla="*/ 400 h 491"/>
                <a:gd name="T106" fmla="*/ 99 w 196"/>
                <a:gd name="T107" fmla="*/ 250 h 491"/>
                <a:gd name="T108" fmla="*/ 96 w 196"/>
                <a:gd name="T109" fmla="*/ 445 h 491"/>
                <a:gd name="T110" fmla="*/ 100 w 196"/>
                <a:gd name="T111" fmla="*/ 438 h 491"/>
                <a:gd name="T112" fmla="*/ 110 w 196"/>
                <a:gd name="T113" fmla="*/ 446 h 491"/>
                <a:gd name="T114" fmla="*/ 116 w 196"/>
                <a:gd name="T115" fmla="*/ 459 h 491"/>
                <a:gd name="T116" fmla="*/ 118 w 196"/>
                <a:gd name="T117" fmla="*/ 447 h 491"/>
                <a:gd name="T118" fmla="*/ 138 w 196"/>
                <a:gd name="T119" fmla="*/ 445 h 491"/>
                <a:gd name="T120" fmla="*/ 155 w 196"/>
                <a:gd name="T121" fmla="*/ 453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6" h="491">
                  <a:moveTo>
                    <a:pt x="192" y="434"/>
                  </a:moveTo>
                  <a:cubicBezTo>
                    <a:pt x="189" y="437"/>
                    <a:pt x="189" y="443"/>
                    <a:pt x="192" y="445"/>
                  </a:cubicBezTo>
                  <a:cubicBezTo>
                    <a:pt x="192" y="450"/>
                    <a:pt x="195" y="453"/>
                    <a:pt x="195" y="459"/>
                  </a:cubicBezTo>
                  <a:cubicBezTo>
                    <a:pt x="192" y="464"/>
                    <a:pt x="189" y="467"/>
                    <a:pt x="186" y="473"/>
                  </a:cubicBezTo>
                  <a:cubicBezTo>
                    <a:pt x="183" y="473"/>
                    <a:pt x="178" y="473"/>
                    <a:pt x="175" y="476"/>
                  </a:cubicBezTo>
                  <a:lnTo>
                    <a:pt x="164" y="476"/>
                  </a:lnTo>
                  <a:cubicBezTo>
                    <a:pt x="158" y="476"/>
                    <a:pt x="152" y="476"/>
                    <a:pt x="147" y="478"/>
                  </a:cubicBezTo>
                  <a:cubicBezTo>
                    <a:pt x="141" y="481"/>
                    <a:pt x="139" y="481"/>
                    <a:pt x="133" y="481"/>
                  </a:cubicBezTo>
                  <a:cubicBezTo>
                    <a:pt x="128" y="481"/>
                    <a:pt x="121" y="481"/>
                    <a:pt x="118" y="484"/>
                  </a:cubicBezTo>
                  <a:lnTo>
                    <a:pt x="116" y="484"/>
                  </a:lnTo>
                  <a:lnTo>
                    <a:pt x="113" y="484"/>
                  </a:lnTo>
                  <a:cubicBezTo>
                    <a:pt x="110" y="487"/>
                    <a:pt x="107" y="487"/>
                    <a:pt x="104" y="487"/>
                  </a:cubicBezTo>
                  <a:cubicBezTo>
                    <a:pt x="102" y="487"/>
                    <a:pt x="99" y="487"/>
                    <a:pt x="93" y="490"/>
                  </a:cubicBezTo>
                  <a:cubicBezTo>
                    <a:pt x="85" y="487"/>
                    <a:pt x="85" y="487"/>
                    <a:pt x="79" y="478"/>
                  </a:cubicBezTo>
                  <a:lnTo>
                    <a:pt x="79" y="473"/>
                  </a:lnTo>
                  <a:lnTo>
                    <a:pt x="79" y="467"/>
                  </a:lnTo>
                  <a:cubicBezTo>
                    <a:pt x="76" y="464"/>
                    <a:pt x="76" y="459"/>
                    <a:pt x="73" y="456"/>
                  </a:cubicBezTo>
                  <a:cubicBezTo>
                    <a:pt x="70" y="453"/>
                    <a:pt x="70" y="447"/>
                    <a:pt x="73" y="446"/>
                  </a:cubicBezTo>
                  <a:lnTo>
                    <a:pt x="73" y="443"/>
                  </a:lnTo>
                  <a:lnTo>
                    <a:pt x="73" y="440"/>
                  </a:lnTo>
                  <a:cubicBezTo>
                    <a:pt x="73" y="437"/>
                    <a:pt x="70" y="434"/>
                    <a:pt x="70" y="431"/>
                  </a:cubicBezTo>
                  <a:cubicBezTo>
                    <a:pt x="68" y="429"/>
                    <a:pt x="68" y="426"/>
                    <a:pt x="70" y="423"/>
                  </a:cubicBezTo>
                  <a:cubicBezTo>
                    <a:pt x="65" y="412"/>
                    <a:pt x="62" y="403"/>
                    <a:pt x="62" y="395"/>
                  </a:cubicBezTo>
                  <a:cubicBezTo>
                    <a:pt x="62" y="386"/>
                    <a:pt x="62" y="378"/>
                    <a:pt x="59" y="372"/>
                  </a:cubicBezTo>
                  <a:cubicBezTo>
                    <a:pt x="59" y="369"/>
                    <a:pt x="59" y="367"/>
                    <a:pt x="56" y="367"/>
                  </a:cubicBezTo>
                  <a:cubicBezTo>
                    <a:pt x="54" y="364"/>
                    <a:pt x="54" y="358"/>
                    <a:pt x="54" y="352"/>
                  </a:cubicBezTo>
                  <a:cubicBezTo>
                    <a:pt x="54" y="350"/>
                    <a:pt x="54" y="347"/>
                    <a:pt x="51" y="347"/>
                  </a:cubicBezTo>
                  <a:cubicBezTo>
                    <a:pt x="48" y="344"/>
                    <a:pt x="48" y="341"/>
                    <a:pt x="51" y="338"/>
                  </a:cubicBezTo>
                  <a:cubicBezTo>
                    <a:pt x="54" y="335"/>
                    <a:pt x="54" y="333"/>
                    <a:pt x="51" y="330"/>
                  </a:cubicBezTo>
                  <a:cubicBezTo>
                    <a:pt x="51" y="327"/>
                    <a:pt x="48" y="324"/>
                    <a:pt x="48" y="321"/>
                  </a:cubicBezTo>
                  <a:lnTo>
                    <a:pt x="48" y="313"/>
                  </a:lnTo>
                  <a:cubicBezTo>
                    <a:pt x="48" y="310"/>
                    <a:pt x="45" y="307"/>
                    <a:pt x="45" y="304"/>
                  </a:cubicBezTo>
                  <a:lnTo>
                    <a:pt x="45" y="299"/>
                  </a:lnTo>
                  <a:lnTo>
                    <a:pt x="45" y="276"/>
                  </a:lnTo>
                  <a:cubicBezTo>
                    <a:pt x="42" y="268"/>
                    <a:pt x="42" y="262"/>
                    <a:pt x="39" y="254"/>
                  </a:cubicBezTo>
                  <a:lnTo>
                    <a:pt x="39" y="248"/>
                  </a:lnTo>
                  <a:lnTo>
                    <a:pt x="39" y="242"/>
                  </a:lnTo>
                  <a:cubicBezTo>
                    <a:pt x="42" y="242"/>
                    <a:pt x="39" y="237"/>
                    <a:pt x="39" y="237"/>
                  </a:cubicBezTo>
                  <a:cubicBezTo>
                    <a:pt x="37" y="231"/>
                    <a:pt x="34" y="225"/>
                    <a:pt x="34" y="223"/>
                  </a:cubicBezTo>
                  <a:cubicBezTo>
                    <a:pt x="34" y="217"/>
                    <a:pt x="34" y="211"/>
                    <a:pt x="31" y="209"/>
                  </a:cubicBezTo>
                  <a:lnTo>
                    <a:pt x="25" y="183"/>
                  </a:lnTo>
                  <a:cubicBezTo>
                    <a:pt x="25" y="180"/>
                    <a:pt x="26" y="180"/>
                    <a:pt x="23" y="178"/>
                  </a:cubicBezTo>
                  <a:cubicBezTo>
                    <a:pt x="21" y="175"/>
                    <a:pt x="20" y="169"/>
                    <a:pt x="23" y="166"/>
                  </a:cubicBezTo>
                  <a:lnTo>
                    <a:pt x="23" y="161"/>
                  </a:lnTo>
                  <a:cubicBezTo>
                    <a:pt x="23" y="152"/>
                    <a:pt x="20" y="144"/>
                    <a:pt x="17" y="135"/>
                  </a:cubicBezTo>
                  <a:cubicBezTo>
                    <a:pt x="14" y="127"/>
                    <a:pt x="11" y="115"/>
                    <a:pt x="11" y="104"/>
                  </a:cubicBezTo>
                  <a:cubicBezTo>
                    <a:pt x="11" y="101"/>
                    <a:pt x="11" y="99"/>
                    <a:pt x="8" y="96"/>
                  </a:cubicBezTo>
                  <a:cubicBezTo>
                    <a:pt x="6" y="90"/>
                    <a:pt x="6" y="84"/>
                    <a:pt x="6" y="79"/>
                  </a:cubicBezTo>
                  <a:cubicBezTo>
                    <a:pt x="6" y="73"/>
                    <a:pt x="6" y="65"/>
                    <a:pt x="3" y="59"/>
                  </a:cubicBezTo>
                  <a:cubicBezTo>
                    <a:pt x="3" y="56"/>
                    <a:pt x="0" y="51"/>
                    <a:pt x="0" y="48"/>
                  </a:cubicBezTo>
                  <a:lnTo>
                    <a:pt x="0" y="36"/>
                  </a:lnTo>
                  <a:lnTo>
                    <a:pt x="0" y="31"/>
                  </a:lnTo>
                  <a:lnTo>
                    <a:pt x="0" y="28"/>
                  </a:lnTo>
                  <a:cubicBezTo>
                    <a:pt x="3" y="22"/>
                    <a:pt x="8" y="20"/>
                    <a:pt x="14" y="17"/>
                  </a:cubicBezTo>
                  <a:lnTo>
                    <a:pt x="23" y="14"/>
                  </a:lnTo>
                  <a:lnTo>
                    <a:pt x="31" y="14"/>
                  </a:lnTo>
                  <a:cubicBezTo>
                    <a:pt x="34" y="14"/>
                    <a:pt x="37" y="14"/>
                    <a:pt x="37" y="11"/>
                  </a:cubicBezTo>
                  <a:lnTo>
                    <a:pt x="42" y="11"/>
                  </a:lnTo>
                  <a:lnTo>
                    <a:pt x="48" y="8"/>
                  </a:lnTo>
                  <a:cubicBezTo>
                    <a:pt x="51" y="5"/>
                    <a:pt x="54" y="5"/>
                    <a:pt x="59" y="5"/>
                  </a:cubicBezTo>
                  <a:cubicBezTo>
                    <a:pt x="62" y="8"/>
                    <a:pt x="65" y="8"/>
                    <a:pt x="68" y="5"/>
                  </a:cubicBezTo>
                  <a:lnTo>
                    <a:pt x="76" y="5"/>
                  </a:lnTo>
                  <a:cubicBezTo>
                    <a:pt x="79" y="8"/>
                    <a:pt x="82" y="5"/>
                    <a:pt x="87" y="3"/>
                  </a:cubicBezTo>
                  <a:cubicBezTo>
                    <a:pt x="87" y="0"/>
                    <a:pt x="90" y="0"/>
                    <a:pt x="93" y="0"/>
                  </a:cubicBezTo>
                  <a:lnTo>
                    <a:pt x="102" y="0"/>
                  </a:lnTo>
                  <a:lnTo>
                    <a:pt x="113" y="0"/>
                  </a:lnTo>
                  <a:lnTo>
                    <a:pt x="121" y="11"/>
                  </a:lnTo>
                  <a:lnTo>
                    <a:pt x="118" y="14"/>
                  </a:lnTo>
                  <a:lnTo>
                    <a:pt x="118" y="20"/>
                  </a:lnTo>
                  <a:lnTo>
                    <a:pt x="118" y="25"/>
                  </a:lnTo>
                  <a:lnTo>
                    <a:pt x="118" y="31"/>
                  </a:lnTo>
                  <a:cubicBezTo>
                    <a:pt x="124" y="34"/>
                    <a:pt x="124" y="39"/>
                    <a:pt x="121" y="42"/>
                  </a:cubicBezTo>
                  <a:cubicBezTo>
                    <a:pt x="118" y="45"/>
                    <a:pt x="118" y="51"/>
                    <a:pt x="118" y="53"/>
                  </a:cubicBezTo>
                  <a:lnTo>
                    <a:pt x="113" y="53"/>
                  </a:lnTo>
                  <a:lnTo>
                    <a:pt x="110" y="53"/>
                  </a:lnTo>
                  <a:cubicBezTo>
                    <a:pt x="107" y="56"/>
                    <a:pt x="105" y="56"/>
                    <a:pt x="102" y="56"/>
                  </a:cubicBezTo>
                  <a:cubicBezTo>
                    <a:pt x="100" y="56"/>
                    <a:pt x="96" y="56"/>
                    <a:pt x="93" y="59"/>
                  </a:cubicBezTo>
                  <a:cubicBezTo>
                    <a:pt x="87" y="62"/>
                    <a:pt x="85" y="65"/>
                    <a:pt x="79" y="65"/>
                  </a:cubicBezTo>
                  <a:lnTo>
                    <a:pt x="73" y="65"/>
                  </a:lnTo>
                  <a:cubicBezTo>
                    <a:pt x="73" y="68"/>
                    <a:pt x="70" y="68"/>
                    <a:pt x="68" y="68"/>
                  </a:cubicBezTo>
                  <a:cubicBezTo>
                    <a:pt x="65" y="68"/>
                    <a:pt x="65" y="70"/>
                    <a:pt x="65" y="70"/>
                  </a:cubicBezTo>
                  <a:cubicBezTo>
                    <a:pt x="65" y="73"/>
                    <a:pt x="65" y="76"/>
                    <a:pt x="62" y="79"/>
                  </a:cubicBezTo>
                  <a:lnTo>
                    <a:pt x="62" y="87"/>
                  </a:lnTo>
                  <a:cubicBezTo>
                    <a:pt x="62" y="90"/>
                    <a:pt x="65" y="93"/>
                    <a:pt x="65" y="99"/>
                  </a:cubicBezTo>
                  <a:cubicBezTo>
                    <a:pt x="65" y="101"/>
                    <a:pt x="68" y="107"/>
                    <a:pt x="68" y="110"/>
                  </a:cubicBezTo>
                  <a:cubicBezTo>
                    <a:pt x="70" y="115"/>
                    <a:pt x="70" y="121"/>
                    <a:pt x="68" y="127"/>
                  </a:cubicBezTo>
                  <a:cubicBezTo>
                    <a:pt x="68" y="132"/>
                    <a:pt x="68" y="138"/>
                    <a:pt x="70" y="141"/>
                  </a:cubicBezTo>
                  <a:cubicBezTo>
                    <a:pt x="73" y="146"/>
                    <a:pt x="73" y="152"/>
                    <a:pt x="73" y="155"/>
                  </a:cubicBezTo>
                  <a:lnTo>
                    <a:pt x="73" y="158"/>
                  </a:lnTo>
                  <a:lnTo>
                    <a:pt x="73" y="161"/>
                  </a:lnTo>
                  <a:cubicBezTo>
                    <a:pt x="76" y="163"/>
                    <a:pt x="76" y="166"/>
                    <a:pt x="76" y="169"/>
                  </a:cubicBezTo>
                  <a:cubicBezTo>
                    <a:pt x="76" y="172"/>
                    <a:pt x="76" y="175"/>
                    <a:pt x="79" y="178"/>
                  </a:cubicBezTo>
                  <a:cubicBezTo>
                    <a:pt x="82" y="180"/>
                    <a:pt x="82" y="183"/>
                    <a:pt x="82" y="186"/>
                  </a:cubicBezTo>
                  <a:lnTo>
                    <a:pt x="82" y="192"/>
                  </a:lnTo>
                  <a:cubicBezTo>
                    <a:pt x="82" y="194"/>
                    <a:pt x="85" y="197"/>
                    <a:pt x="82" y="200"/>
                  </a:cubicBezTo>
                  <a:cubicBezTo>
                    <a:pt x="85" y="200"/>
                    <a:pt x="85" y="203"/>
                    <a:pt x="85" y="206"/>
                  </a:cubicBezTo>
                  <a:lnTo>
                    <a:pt x="85" y="211"/>
                  </a:lnTo>
                  <a:cubicBezTo>
                    <a:pt x="87" y="217"/>
                    <a:pt x="96" y="223"/>
                    <a:pt x="104" y="220"/>
                  </a:cubicBezTo>
                  <a:lnTo>
                    <a:pt x="110" y="220"/>
                  </a:lnTo>
                  <a:lnTo>
                    <a:pt x="116" y="220"/>
                  </a:lnTo>
                  <a:cubicBezTo>
                    <a:pt x="118" y="220"/>
                    <a:pt x="118" y="223"/>
                    <a:pt x="121" y="223"/>
                  </a:cubicBezTo>
                  <a:lnTo>
                    <a:pt x="127" y="228"/>
                  </a:lnTo>
                  <a:lnTo>
                    <a:pt x="133" y="262"/>
                  </a:lnTo>
                  <a:cubicBezTo>
                    <a:pt x="130" y="268"/>
                    <a:pt x="124" y="273"/>
                    <a:pt x="116" y="273"/>
                  </a:cubicBezTo>
                  <a:cubicBezTo>
                    <a:pt x="110" y="273"/>
                    <a:pt x="104" y="276"/>
                    <a:pt x="99" y="279"/>
                  </a:cubicBezTo>
                  <a:cubicBezTo>
                    <a:pt x="96" y="282"/>
                    <a:pt x="96" y="288"/>
                    <a:pt x="96" y="290"/>
                  </a:cubicBezTo>
                  <a:lnTo>
                    <a:pt x="96" y="310"/>
                  </a:lnTo>
                  <a:lnTo>
                    <a:pt x="96" y="316"/>
                  </a:lnTo>
                  <a:cubicBezTo>
                    <a:pt x="99" y="319"/>
                    <a:pt x="99" y="319"/>
                    <a:pt x="99" y="321"/>
                  </a:cubicBezTo>
                  <a:lnTo>
                    <a:pt x="104" y="352"/>
                  </a:lnTo>
                  <a:lnTo>
                    <a:pt x="102" y="355"/>
                  </a:lnTo>
                  <a:cubicBezTo>
                    <a:pt x="104" y="364"/>
                    <a:pt x="107" y="372"/>
                    <a:pt x="107" y="381"/>
                  </a:cubicBezTo>
                  <a:lnTo>
                    <a:pt x="107" y="383"/>
                  </a:lnTo>
                  <a:lnTo>
                    <a:pt x="107" y="386"/>
                  </a:lnTo>
                  <a:cubicBezTo>
                    <a:pt x="107" y="389"/>
                    <a:pt x="107" y="392"/>
                    <a:pt x="110" y="392"/>
                  </a:cubicBezTo>
                  <a:cubicBezTo>
                    <a:pt x="113" y="395"/>
                    <a:pt x="113" y="398"/>
                    <a:pt x="110" y="400"/>
                  </a:cubicBezTo>
                  <a:lnTo>
                    <a:pt x="110" y="409"/>
                  </a:lnTo>
                  <a:cubicBezTo>
                    <a:pt x="110" y="414"/>
                    <a:pt x="113" y="417"/>
                    <a:pt x="113" y="423"/>
                  </a:cubicBezTo>
                  <a:lnTo>
                    <a:pt x="118" y="423"/>
                  </a:lnTo>
                  <a:cubicBezTo>
                    <a:pt x="121" y="423"/>
                    <a:pt x="124" y="423"/>
                    <a:pt x="127" y="426"/>
                  </a:cubicBezTo>
                  <a:cubicBezTo>
                    <a:pt x="130" y="429"/>
                    <a:pt x="133" y="429"/>
                    <a:pt x="138" y="429"/>
                  </a:cubicBezTo>
                  <a:lnTo>
                    <a:pt x="141" y="429"/>
                  </a:lnTo>
                  <a:lnTo>
                    <a:pt x="144" y="429"/>
                  </a:lnTo>
                  <a:cubicBezTo>
                    <a:pt x="147" y="429"/>
                    <a:pt x="147" y="429"/>
                    <a:pt x="149" y="426"/>
                  </a:cubicBezTo>
                  <a:cubicBezTo>
                    <a:pt x="152" y="426"/>
                    <a:pt x="152" y="426"/>
                    <a:pt x="155" y="423"/>
                  </a:cubicBezTo>
                  <a:cubicBezTo>
                    <a:pt x="158" y="423"/>
                    <a:pt x="158" y="423"/>
                    <a:pt x="161" y="420"/>
                  </a:cubicBezTo>
                  <a:cubicBezTo>
                    <a:pt x="164" y="420"/>
                    <a:pt x="164" y="420"/>
                    <a:pt x="166" y="417"/>
                  </a:cubicBezTo>
                  <a:cubicBezTo>
                    <a:pt x="169" y="414"/>
                    <a:pt x="172" y="414"/>
                    <a:pt x="175" y="417"/>
                  </a:cubicBezTo>
                  <a:lnTo>
                    <a:pt x="181" y="417"/>
                  </a:lnTo>
                  <a:lnTo>
                    <a:pt x="186" y="417"/>
                  </a:lnTo>
                  <a:lnTo>
                    <a:pt x="195" y="426"/>
                  </a:lnTo>
                  <a:cubicBezTo>
                    <a:pt x="192" y="431"/>
                    <a:pt x="192" y="431"/>
                    <a:pt x="192" y="434"/>
                  </a:cubicBezTo>
                  <a:close/>
                  <a:moveTo>
                    <a:pt x="20" y="42"/>
                  </a:moveTo>
                  <a:lnTo>
                    <a:pt x="23" y="48"/>
                  </a:lnTo>
                  <a:cubicBezTo>
                    <a:pt x="23" y="51"/>
                    <a:pt x="23" y="51"/>
                    <a:pt x="25" y="53"/>
                  </a:cubicBezTo>
                  <a:cubicBezTo>
                    <a:pt x="25" y="53"/>
                    <a:pt x="28" y="53"/>
                    <a:pt x="28" y="51"/>
                  </a:cubicBezTo>
                  <a:lnTo>
                    <a:pt x="31" y="48"/>
                  </a:lnTo>
                  <a:lnTo>
                    <a:pt x="31" y="39"/>
                  </a:lnTo>
                  <a:lnTo>
                    <a:pt x="31" y="31"/>
                  </a:lnTo>
                  <a:lnTo>
                    <a:pt x="25" y="36"/>
                  </a:lnTo>
                  <a:lnTo>
                    <a:pt x="20" y="42"/>
                  </a:lnTo>
                  <a:close/>
                  <a:moveTo>
                    <a:pt x="37" y="59"/>
                  </a:moveTo>
                  <a:lnTo>
                    <a:pt x="34" y="56"/>
                  </a:lnTo>
                  <a:lnTo>
                    <a:pt x="28" y="56"/>
                  </a:lnTo>
                  <a:lnTo>
                    <a:pt x="31" y="70"/>
                  </a:lnTo>
                  <a:lnTo>
                    <a:pt x="34" y="70"/>
                  </a:lnTo>
                  <a:lnTo>
                    <a:pt x="37" y="73"/>
                  </a:lnTo>
                  <a:cubicBezTo>
                    <a:pt x="38" y="75"/>
                    <a:pt x="40" y="74"/>
                    <a:pt x="42" y="74"/>
                  </a:cubicBezTo>
                  <a:lnTo>
                    <a:pt x="42" y="73"/>
                  </a:lnTo>
                  <a:lnTo>
                    <a:pt x="42" y="74"/>
                  </a:lnTo>
                  <a:lnTo>
                    <a:pt x="43" y="74"/>
                  </a:lnTo>
                  <a:cubicBezTo>
                    <a:pt x="44" y="73"/>
                    <a:pt x="44" y="73"/>
                    <a:pt x="45" y="73"/>
                  </a:cubicBezTo>
                  <a:lnTo>
                    <a:pt x="45" y="72"/>
                  </a:lnTo>
                  <a:cubicBezTo>
                    <a:pt x="45" y="72"/>
                    <a:pt x="45" y="72"/>
                    <a:pt x="45" y="70"/>
                  </a:cubicBezTo>
                  <a:lnTo>
                    <a:pt x="45" y="68"/>
                  </a:lnTo>
                  <a:lnTo>
                    <a:pt x="42" y="70"/>
                  </a:lnTo>
                  <a:cubicBezTo>
                    <a:pt x="42" y="70"/>
                    <a:pt x="39" y="70"/>
                    <a:pt x="39" y="73"/>
                  </a:cubicBezTo>
                  <a:lnTo>
                    <a:pt x="39" y="70"/>
                  </a:lnTo>
                  <a:cubicBezTo>
                    <a:pt x="37" y="65"/>
                    <a:pt x="37" y="65"/>
                    <a:pt x="37" y="59"/>
                  </a:cubicBezTo>
                  <a:close/>
                  <a:moveTo>
                    <a:pt x="28" y="73"/>
                  </a:moveTo>
                  <a:lnTo>
                    <a:pt x="28" y="76"/>
                  </a:lnTo>
                  <a:lnTo>
                    <a:pt x="31" y="76"/>
                  </a:lnTo>
                  <a:lnTo>
                    <a:pt x="34" y="76"/>
                  </a:lnTo>
                  <a:lnTo>
                    <a:pt x="28" y="73"/>
                  </a:lnTo>
                  <a:close/>
                  <a:moveTo>
                    <a:pt x="28" y="84"/>
                  </a:moveTo>
                  <a:cubicBezTo>
                    <a:pt x="34" y="84"/>
                    <a:pt x="34" y="82"/>
                    <a:pt x="31" y="79"/>
                  </a:cubicBezTo>
                  <a:lnTo>
                    <a:pt x="28" y="84"/>
                  </a:lnTo>
                  <a:close/>
                  <a:moveTo>
                    <a:pt x="31" y="107"/>
                  </a:moveTo>
                  <a:lnTo>
                    <a:pt x="34" y="107"/>
                  </a:lnTo>
                  <a:lnTo>
                    <a:pt x="34" y="104"/>
                  </a:lnTo>
                  <a:cubicBezTo>
                    <a:pt x="34" y="104"/>
                    <a:pt x="31" y="104"/>
                    <a:pt x="31" y="107"/>
                  </a:cubicBezTo>
                  <a:close/>
                  <a:moveTo>
                    <a:pt x="31" y="48"/>
                  </a:moveTo>
                  <a:lnTo>
                    <a:pt x="31" y="53"/>
                  </a:lnTo>
                  <a:lnTo>
                    <a:pt x="39" y="59"/>
                  </a:lnTo>
                  <a:lnTo>
                    <a:pt x="48" y="56"/>
                  </a:lnTo>
                  <a:cubicBezTo>
                    <a:pt x="51" y="56"/>
                    <a:pt x="54" y="53"/>
                    <a:pt x="59" y="53"/>
                  </a:cubicBezTo>
                  <a:lnTo>
                    <a:pt x="59" y="51"/>
                  </a:lnTo>
                  <a:lnTo>
                    <a:pt x="59" y="48"/>
                  </a:lnTo>
                  <a:cubicBezTo>
                    <a:pt x="56" y="45"/>
                    <a:pt x="56" y="45"/>
                    <a:pt x="56" y="48"/>
                  </a:cubicBezTo>
                  <a:cubicBezTo>
                    <a:pt x="54" y="51"/>
                    <a:pt x="54" y="51"/>
                    <a:pt x="54" y="48"/>
                  </a:cubicBezTo>
                  <a:lnTo>
                    <a:pt x="45" y="53"/>
                  </a:lnTo>
                  <a:lnTo>
                    <a:pt x="45" y="48"/>
                  </a:lnTo>
                  <a:lnTo>
                    <a:pt x="45" y="42"/>
                  </a:lnTo>
                  <a:lnTo>
                    <a:pt x="45" y="39"/>
                  </a:lnTo>
                  <a:lnTo>
                    <a:pt x="37" y="39"/>
                  </a:lnTo>
                  <a:lnTo>
                    <a:pt x="37" y="48"/>
                  </a:lnTo>
                  <a:lnTo>
                    <a:pt x="31" y="48"/>
                  </a:lnTo>
                  <a:close/>
                  <a:moveTo>
                    <a:pt x="37" y="107"/>
                  </a:moveTo>
                  <a:lnTo>
                    <a:pt x="39" y="104"/>
                  </a:lnTo>
                  <a:cubicBezTo>
                    <a:pt x="37" y="104"/>
                    <a:pt x="37" y="104"/>
                    <a:pt x="37" y="107"/>
                  </a:cubicBezTo>
                  <a:close/>
                  <a:moveTo>
                    <a:pt x="39" y="118"/>
                  </a:moveTo>
                  <a:lnTo>
                    <a:pt x="42" y="118"/>
                  </a:lnTo>
                  <a:lnTo>
                    <a:pt x="42" y="115"/>
                  </a:lnTo>
                  <a:lnTo>
                    <a:pt x="39" y="118"/>
                  </a:lnTo>
                  <a:close/>
                  <a:moveTo>
                    <a:pt x="51" y="124"/>
                  </a:moveTo>
                  <a:cubicBezTo>
                    <a:pt x="48" y="121"/>
                    <a:pt x="48" y="121"/>
                    <a:pt x="45" y="124"/>
                  </a:cubicBezTo>
                  <a:cubicBezTo>
                    <a:pt x="42" y="127"/>
                    <a:pt x="42" y="127"/>
                    <a:pt x="39" y="127"/>
                  </a:cubicBezTo>
                  <a:lnTo>
                    <a:pt x="42" y="130"/>
                  </a:lnTo>
                  <a:cubicBezTo>
                    <a:pt x="42" y="130"/>
                    <a:pt x="45" y="132"/>
                    <a:pt x="45" y="135"/>
                  </a:cubicBezTo>
                  <a:lnTo>
                    <a:pt x="45" y="132"/>
                  </a:lnTo>
                  <a:cubicBezTo>
                    <a:pt x="48" y="127"/>
                    <a:pt x="48" y="127"/>
                    <a:pt x="51" y="124"/>
                  </a:cubicBezTo>
                  <a:close/>
                  <a:moveTo>
                    <a:pt x="39" y="34"/>
                  </a:moveTo>
                  <a:lnTo>
                    <a:pt x="48" y="39"/>
                  </a:lnTo>
                  <a:cubicBezTo>
                    <a:pt x="48" y="36"/>
                    <a:pt x="51" y="36"/>
                    <a:pt x="51" y="34"/>
                  </a:cubicBezTo>
                  <a:cubicBezTo>
                    <a:pt x="51" y="31"/>
                    <a:pt x="51" y="31"/>
                    <a:pt x="54" y="28"/>
                  </a:cubicBezTo>
                  <a:lnTo>
                    <a:pt x="48" y="31"/>
                  </a:lnTo>
                  <a:lnTo>
                    <a:pt x="39" y="34"/>
                  </a:lnTo>
                  <a:close/>
                  <a:moveTo>
                    <a:pt x="42" y="73"/>
                  </a:moveTo>
                  <a:cubicBezTo>
                    <a:pt x="43" y="74"/>
                    <a:pt x="43" y="74"/>
                    <a:pt x="43" y="74"/>
                  </a:cubicBezTo>
                  <a:lnTo>
                    <a:pt x="45" y="76"/>
                  </a:lnTo>
                  <a:cubicBezTo>
                    <a:pt x="48" y="76"/>
                    <a:pt x="48" y="73"/>
                    <a:pt x="48" y="70"/>
                  </a:cubicBezTo>
                  <a:lnTo>
                    <a:pt x="45" y="72"/>
                  </a:lnTo>
                  <a:lnTo>
                    <a:pt x="42" y="73"/>
                  </a:lnTo>
                  <a:close/>
                  <a:moveTo>
                    <a:pt x="48" y="99"/>
                  </a:moveTo>
                  <a:lnTo>
                    <a:pt x="42" y="99"/>
                  </a:lnTo>
                  <a:lnTo>
                    <a:pt x="42" y="101"/>
                  </a:lnTo>
                  <a:cubicBezTo>
                    <a:pt x="45" y="101"/>
                    <a:pt x="45" y="99"/>
                    <a:pt x="48" y="99"/>
                  </a:cubicBezTo>
                  <a:close/>
                  <a:moveTo>
                    <a:pt x="45" y="65"/>
                  </a:moveTo>
                  <a:cubicBezTo>
                    <a:pt x="45" y="68"/>
                    <a:pt x="48" y="68"/>
                    <a:pt x="51" y="65"/>
                  </a:cubicBezTo>
                  <a:cubicBezTo>
                    <a:pt x="48" y="65"/>
                    <a:pt x="48" y="62"/>
                    <a:pt x="48" y="62"/>
                  </a:cubicBezTo>
                  <a:cubicBezTo>
                    <a:pt x="48" y="59"/>
                    <a:pt x="45" y="59"/>
                    <a:pt x="42" y="62"/>
                  </a:cubicBezTo>
                  <a:lnTo>
                    <a:pt x="45" y="65"/>
                  </a:lnTo>
                  <a:close/>
                  <a:moveTo>
                    <a:pt x="45" y="189"/>
                  </a:moveTo>
                  <a:cubicBezTo>
                    <a:pt x="45" y="189"/>
                    <a:pt x="48" y="192"/>
                    <a:pt x="51" y="192"/>
                  </a:cubicBezTo>
                  <a:lnTo>
                    <a:pt x="48" y="183"/>
                  </a:lnTo>
                  <a:cubicBezTo>
                    <a:pt x="48" y="183"/>
                    <a:pt x="48" y="186"/>
                    <a:pt x="45" y="186"/>
                  </a:cubicBezTo>
                  <a:lnTo>
                    <a:pt x="45" y="189"/>
                  </a:lnTo>
                  <a:close/>
                  <a:moveTo>
                    <a:pt x="45" y="25"/>
                  </a:moveTo>
                  <a:cubicBezTo>
                    <a:pt x="45" y="28"/>
                    <a:pt x="45" y="28"/>
                    <a:pt x="48" y="28"/>
                  </a:cubicBezTo>
                  <a:lnTo>
                    <a:pt x="45" y="25"/>
                  </a:lnTo>
                  <a:close/>
                  <a:moveTo>
                    <a:pt x="59" y="175"/>
                  </a:moveTo>
                  <a:cubicBezTo>
                    <a:pt x="56" y="172"/>
                    <a:pt x="56" y="172"/>
                    <a:pt x="54" y="172"/>
                  </a:cubicBezTo>
                  <a:cubicBezTo>
                    <a:pt x="51" y="172"/>
                    <a:pt x="51" y="172"/>
                    <a:pt x="48" y="175"/>
                  </a:cubicBezTo>
                  <a:lnTo>
                    <a:pt x="48" y="180"/>
                  </a:lnTo>
                  <a:lnTo>
                    <a:pt x="51" y="178"/>
                  </a:lnTo>
                  <a:lnTo>
                    <a:pt x="59" y="175"/>
                  </a:lnTo>
                  <a:close/>
                  <a:moveTo>
                    <a:pt x="51" y="146"/>
                  </a:moveTo>
                  <a:lnTo>
                    <a:pt x="45" y="146"/>
                  </a:lnTo>
                  <a:cubicBezTo>
                    <a:pt x="51" y="149"/>
                    <a:pt x="51" y="149"/>
                    <a:pt x="51" y="146"/>
                  </a:cubicBezTo>
                  <a:close/>
                  <a:moveTo>
                    <a:pt x="45" y="166"/>
                  </a:moveTo>
                  <a:cubicBezTo>
                    <a:pt x="45" y="169"/>
                    <a:pt x="48" y="172"/>
                    <a:pt x="48" y="172"/>
                  </a:cubicBezTo>
                  <a:cubicBezTo>
                    <a:pt x="48" y="172"/>
                    <a:pt x="48" y="169"/>
                    <a:pt x="51" y="169"/>
                  </a:cubicBezTo>
                  <a:cubicBezTo>
                    <a:pt x="51" y="169"/>
                    <a:pt x="54" y="166"/>
                    <a:pt x="51" y="166"/>
                  </a:cubicBezTo>
                  <a:cubicBezTo>
                    <a:pt x="48" y="163"/>
                    <a:pt x="48" y="166"/>
                    <a:pt x="45" y="166"/>
                  </a:cubicBezTo>
                  <a:close/>
                  <a:moveTo>
                    <a:pt x="51" y="214"/>
                  </a:moveTo>
                  <a:lnTo>
                    <a:pt x="51" y="220"/>
                  </a:lnTo>
                  <a:lnTo>
                    <a:pt x="54" y="220"/>
                  </a:lnTo>
                  <a:lnTo>
                    <a:pt x="51" y="214"/>
                  </a:lnTo>
                  <a:close/>
                  <a:moveTo>
                    <a:pt x="51" y="203"/>
                  </a:moveTo>
                  <a:lnTo>
                    <a:pt x="51" y="211"/>
                  </a:lnTo>
                  <a:cubicBezTo>
                    <a:pt x="54" y="211"/>
                    <a:pt x="54" y="211"/>
                    <a:pt x="56" y="209"/>
                  </a:cubicBezTo>
                  <a:lnTo>
                    <a:pt x="51" y="203"/>
                  </a:lnTo>
                  <a:close/>
                  <a:moveTo>
                    <a:pt x="56" y="42"/>
                  </a:moveTo>
                  <a:cubicBezTo>
                    <a:pt x="59" y="39"/>
                    <a:pt x="59" y="39"/>
                    <a:pt x="62" y="39"/>
                  </a:cubicBezTo>
                  <a:lnTo>
                    <a:pt x="65" y="42"/>
                  </a:lnTo>
                  <a:lnTo>
                    <a:pt x="68" y="42"/>
                  </a:lnTo>
                  <a:cubicBezTo>
                    <a:pt x="68" y="42"/>
                    <a:pt x="70" y="42"/>
                    <a:pt x="70" y="39"/>
                  </a:cubicBezTo>
                  <a:lnTo>
                    <a:pt x="70" y="48"/>
                  </a:lnTo>
                  <a:lnTo>
                    <a:pt x="76" y="48"/>
                  </a:lnTo>
                  <a:lnTo>
                    <a:pt x="76" y="42"/>
                  </a:lnTo>
                  <a:cubicBezTo>
                    <a:pt x="76" y="39"/>
                    <a:pt x="73" y="39"/>
                    <a:pt x="70" y="39"/>
                  </a:cubicBezTo>
                  <a:lnTo>
                    <a:pt x="68" y="39"/>
                  </a:lnTo>
                  <a:lnTo>
                    <a:pt x="65" y="39"/>
                  </a:lnTo>
                  <a:cubicBezTo>
                    <a:pt x="62" y="39"/>
                    <a:pt x="62" y="36"/>
                    <a:pt x="62" y="36"/>
                  </a:cubicBezTo>
                  <a:lnTo>
                    <a:pt x="59" y="34"/>
                  </a:lnTo>
                  <a:cubicBezTo>
                    <a:pt x="56" y="36"/>
                    <a:pt x="56" y="39"/>
                    <a:pt x="56" y="42"/>
                  </a:cubicBezTo>
                  <a:close/>
                  <a:moveTo>
                    <a:pt x="62" y="209"/>
                  </a:moveTo>
                  <a:cubicBezTo>
                    <a:pt x="62" y="209"/>
                    <a:pt x="62" y="211"/>
                    <a:pt x="59" y="211"/>
                  </a:cubicBezTo>
                  <a:lnTo>
                    <a:pt x="56" y="214"/>
                  </a:lnTo>
                  <a:cubicBezTo>
                    <a:pt x="56" y="214"/>
                    <a:pt x="59" y="217"/>
                    <a:pt x="62" y="217"/>
                  </a:cubicBezTo>
                  <a:lnTo>
                    <a:pt x="62" y="209"/>
                  </a:lnTo>
                  <a:close/>
                  <a:moveTo>
                    <a:pt x="59" y="225"/>
                  </a:moveTo>
                  <a:cubicBezTo>
                    <a:pt x="62" y="228"/>
                    <a:pt x="62" y="228"/>
                    <a:pt x="65" y="228"/>
                  </a:cubicBezTo>
                  <a:cubicBezTo>
                    <a:pt x="65" y="223"/>
                    <a:pt x="65" y="223"/>
                    <a:pt x="59" y="225"/>
                  </a:cubicBezTo>
                  <a:close/>
                  <a:moveTo>
                    <a:pt x="76" y="240"/>
                  </a:moveTo>
                  <a:lnTo>
                    <a:pt x="68" y="240"/>
                  </a:lnTo>
                  <a:cubicBezTo>
                    <a:pt x="65" y="237"/>
                    <a:pt x="62" y="240"/>
                    <a:pt x="59" y="242"/>
                  </a:cubicBezTo>
                  <a:lnTo>
                    <a:pt x="59" y="251"/>
                  </a:lnTo>
                  <a:lnTo>
                    <a:pt x="62" y="251"/>
                  </a:lnTo>
                  <a:lnTo>
                    <a:pt x="65" y="251"/>
                  </a:lnTo>
                  <a:lnTo>
                    <a:pt x="62" y="248"/>
                  </a:lnTo>
                  <a:lnTo>
                    <a:pt x="68" y="248"/>
                  </a:lnTo>
                  <a:lnTo>
                    <a:pt x="70" y="248"/>
                  </a:lnTo>
                  <a:cubicBezTo>
                    <a:pt x="73" y="248"/>
                    <a:pt x="73" y="248"/>
                    <a:pt x="76" y="245"/>
                  </a:cubicBezTo>
                  <a:cubicBezTo>
                    <a:pt x="73" y="242"/>
                    <a:pt x="76" y="240"/>
                    <a:pt x="76" y="240"/>
                  </a:cubicBezTo>
                  <a:close/>
                  <a:moveTo>
                    <a:pt x="65" y="257"/>
                  </a:moveTo>
                  <a:cubicBezTo>
                    <a:pt x="65" y="257"/>
                    <a:pt x="65" y="254"/>
                    <a:pt x="68" y="254"/>
                  </a:cubicBezTo>
                  <a:lnTo>
                    <a:pt x="65" y="254"/>
                  </a:lnTo>
                  <a:lnTo>
                    <a:pt x="62" y="254"/>
                  </a:lnTo>
                  <a:lnTo>
                    <a:pt x="62" y="262"/>
                  </a:lnTo>
                  <a:cubicBezTo>
                    <a:pt x="65" y="259"/>
                    <a:pt x="65" y="257"/>
                    <a:pt x="65" y="257"/>
                  </a:cubicBezTo>
                  <a:close/>
                  <a:moveTo>
                    <a:pt x="76" y="262"/>
                  </a:moveTo>
                  <a:lnTo>
                    <a:pt x="73" y="262"/>
                  </a:lnTo>
                  <a:lnTo>
                    <a:pt x="70" y="259"/>
                  </a:lnTo>
                  <a:lnTo>
                    <a:pt x="68" y="257"/>
                  </a:lnTo>
                  <a:cubicBezTo>
                    <a:pt x="68" y="257"/>
                    <a:pt x="68" y="259"/>
                    <a:pt x="65" y="259"/>
                  </a:cubicBezTo>
                  <a:lnTo>
                    <a:pt x="62" y="262"/>
                  </a:lnTo>
                  <a:lnTo>
                    <a:pt x="59" y="265"/>
                  </a:lnTo>
                  <a:cubicBezTo>
                    <a:pt x="59" y="265"/>
                    <a:pt x="62" y="265"/>
                    <a:pt x="62" y="268"/>
                  </a:cubicBezTo>
                  <a:cubicBezTo>
                    <a:pt x="65" y="268"/>
                    <a:pt x="65" y="271"/>
                    <a:pt x="68" y="273"/>
                  </a:cubicBezTo>
                  <a:cubicBezTo>
                    <a:pt x="73" y="268"/>
                    <a:pt x="73" y="265"/>
                    <a:pt x="76" y="262"/>
                  </a:cubicBezTo>
                  <a:close/>
                  <a:moveTo>
                    <a:pt x="65" y="211"/>
                  </a:moveTo>
                  <a:cubicBezTo>
                    <a:pt x="70" y="214"/>
                    <a:pt x="70" y="211"/>
                    <a:pt x="68" y="209"/>
                  </a:cubicBezTo>
                  <a:cubicBezTo>
                    <a:pt x="68" y="209"/>
                    <a:pt x="68" y="211"/>
                    <a:pt x="65" y="211"/>
                  </a:cubicBezTo>
                  <a:close/>
                  <a:moveTo>
                    <a:pt x="73" y="234"/>
                  </a:moveTo>
                  <a:cubicBezTo>
                    <a:pt x="70" y="231"/>
                    <a:pt x="70" y="231"/>
                    <a:pt x="68" y="231"/>
                  </a:cubicBezTo>
                  <a:lnTo>
                    <a:pt x="68" y="234"/>
                  </a:lnTo>
                  <a:lnTo>
                    <a:pt x="68" y="237"/>
                  </a:lnTo>
                  <a:cubicBezTo>
                    <a:pt x="70" y="237"/>
                    <a:pt x="70" y="234"/>
                    <a:pt x="73" y="234"/>
                  </a:cubicBezTo>
                  <a:close/>
                  <a:moveTo>
                    <a:pt x="76" y="313"/>
                  </a:moveTo>
                  <a:cubicBezTo>
                    <a:pt x="79" y="313"/>
                    <a:pt x="79" y="310"/>
                    <a:pt x="82" y="310"/>
                  </a:cubicBezTo>
                  <a:cubicBezTo>
                    <a:pt x="79" y="307"/>
                    <a:pt x="79" y="304"/>
                    <a:pt x="76" y="304"/>
                  </a:cubicBezTo>
                  <a:cubicBezTo>
                    <a:pt x="76" y="304"/>
                    <a:pt x="76" y="307"/>
                    <a:pt x="73" y="307"/>
                  </a:cubicBezTo>
                  <a:lnTo>
                    <a:pt x="70" y="313"/>
                  </a:lnTo>
                  <a:cubicBezTo>
                    <a:pt x="68" y="313"/>
                    <a:pt x="68" y="310"/>
                    <a:pt x="65" y="310"/>
                  </a:cubicBezTo>
                  <a:lnTo>
                    <a:pt x="65" y="313"/>
                  </a:lnTo>
                  <a:cubicBezTo>
                    <a:pt x="68" y="313"/>
                    <a:pt x="68" y="316"/>
                    <a:pt x="70" y="316"/>
                  </a:cubicBezTo>
                  <a:lnTo>
                    <a:pt x="73" y="316"/>
                  </a:lnTo>
                  <a:lnTo>
                    <a:pt x="79" y="316"/>
                  </a:lnTo>
                  <a:lnTo>
                    <a:pt x="76" y="313"/>
                  </a:lnTo>
                  <a:close/>
                  <a:moveTo>
                    <a:pt x="73" y="290"/>
                  </a:moveTo>
                  <a:lnTo>
                    <a:pt x="70" y="290"/>
                  </a:lnTo>
                  <a:lnTo>
                    <a:pt x="70" y="293"/>
                  </a:lnTo>
                  <a:cubicBezTo>
                    <a:pt x="73" y="293"/>
                    <a:pt x="73" y="290"/>
                    <a:pt x="73" y="290"/>
                  </a:cubicBezTo>
                  <a:close/>
                  <a:moveTo>
                    <a:pt x="68" y="302"/>
                  </a:moveTo>
                  <a:lnTo>
                    <a:pt x="70" y="302"/>
                  </a:lnTo>
                  <a:lnTo>
                    <a:pt x="70" y="296"/>
                  </a:lnTo>
                  <a:cubicBezTo>
                    <a:pt x="70" y="299"/>
                    <a:pt x="70" y="302"/>
                    <a:pt x="68" y="302"/>
                  </a:cubicBezTo>
                  <a:close/>
                  <a:moveTo>
                    <a:pt x="82" y="225"/>
                  </a:moveTo>
                  <a:lnTo>
                    <a:pt x="79" y="225"/>
                  </a:lnTo>
                  <a:cubicBezTo>
                    <a:pt x="76" y="225"/>
                    <a:pt x="73" y="223"/>
                    <a:pt x="70" y="223"/>
                  </a:cubicBezTo>
                  <a:lnTo>
                    <a:pt x="70" y="225"/>
                  </a:lnTo>
                  <a:lnTo>
                    <a:pt x="76" y="228"/>
                  </a:lnTo>
                  <a:cubicBezTo>
                    <a:pt x="79" y="225"/>
                    <a:pt x="79" y="225"/>
                    <a:pt x="82" y="225"/>
                  </a:cubicBezTo>
                  <a:close/>
                  <a:moveTo>
                    <a:pt x="70" y="338"/>
                  </a:moveTo>
                  <a:lnTo>
                    <a:pt x="73" y="338"/>
                  </a:lnTo>
                  <a:lnTo>
                    <a:pt x="73" y="333"/>
                  </a:lnTo>
                  <a:lnTo>
                    <a:pt x="73" y="330"/>
                  </a:lnTo>
                  <a:lnTo>
                    <a:pt x="73" y="327"/>
                  </a:lnTo>
                  <a:cubicBezTo>
                    <a:pt x="70" y="327"/>
                    <a:pt x="70" y="330"/>
                    <a:pt x="70" y="330"/>
                  </a:cubicBezTo>
                  <a:lnTo>
                    <a:pt x="68" y="330"/>
                  </a:lnTo>
                  <a:lnTo>
                    <a:pt x="70" y="338"/>
                  </a:lnTo>
                  <a:close/>
                  <a:moveTo>
                    <a:pt x="70" y="273"/>
                  </a:moveTo>
                  <a:lnTo>
                    <a:pt x="70" y="276"/>
                  </a:lnTo>
                  <a:cubicBezTo>
                    <a:pt x="73" y="276"/>
                    <a:pt x="73" y="276"/>
                    <a:pt x="73" y="273"/>
                  </a:cubicBezTo>
                  <a:cubicBezTo>
                    <a:pt x="73" y="273"/>
                    <a:pt x="70" y="271"/>
                    <a:pt x="70" y="273"/>
                  </a:cubicBezTo>
                  <a:close/>
                  <a:moveTo>
                    <a:pt x="82" y="288"/>
                  </a:moveTo>
                  <a:cubicBezTo>
                    <a:pt x="79" y="288"/>
                    <a:pt x="79" y="288"/>
                    <a:pt x="79" y="285"/>
                  </a:cubicBezTo>
                  <a:lnTo>
                    <a:pt x="76" y="285"/>
                  </a:lnTo>
                  <a:cubicBezTo>
                    <a:pt x="79" y="282"/>
                    <a:pt x="76" y="282"/>
                    <a:pt x="73" y="282"/>
                  </a:cubicBezTo>
                  <a:lnTo>
                    <a:pt x="70" y="282"/>
                  </a:lnTo>
                  <a:lnTo>
                    <a:pt x="70" y="285"/>
                  </a:lnTo>
                  <a:lnTo>
                    <a:pt x="73" y="285"/>
                  </a:lnTo>
                  <a:lnTo>
                    <a:pt x="73" y="288"/>
                  </a:lnTo>
                  <a:lnTo>
                    <a:pt x="82" y="288"/>
                  </a:lnTo>
                  <a:close/>
                  <a:moveTo>
                    <a:pt x="73" y="28"/>
                  </a:moveTo>
                  <a:cubicBezTo>
                    <a:pt x="76" y="34"/>
                    <a:pt x="79" y="36"/>
                    <a:pt x="79" y="39"/>
                  </a:cubicBezTo>
                  <a:lnTo>
                    <a:pt x="82" y="39"/>
                  </a:lnTo>
                  <a:lnTo>
                    <a:pt x="85" y="42"/>
                  </a:lnTo>
                  <a:lnTo>
                    <a:pt x="85" y="36"/>
                  </a:lnTo>
                  <a:lnTo>
                    <a:pt x="85" y="31"/>
                  </a:lnTo>
                  <a:lnTo>
                    <a:pt x="82" y="28"/>
                  </a:lnTo>
                  <a:lnTo>
                    <a:pt x="79" y="25"/>
                  </a:lnTo>
                  <a:cubicBezTo>
                    <a:pt x="79" y="22"/>
                    <a:pt x="82" y="22"/>
                    <a:pt x="82" y="20"/>
                  </a:cubicBezTo>
                  <a:lnTo>
                    <a:pt x="79" y="22"/>
                  </a:lnTo>
                  <a:cubicBezTo>
                    <a:pt x="79" y="22"/>
                    <a:pt x="76" y="22"/>
                    <a:pt x="76" y="25"/>
                  </a:cubicBezTo>
                  <a:lnTo>
                    <a:pt x="73" y="25"/>
                  </a:lnTo>
                  <a:lnTo>
                    <a:pt x="73" y="28"/>
                  </a:lnTo>
                  <a:close/>
                  <a:moveTo>
                    <a:pt x="76" y="327"/>
                  </a:moveTo>
                  <a:cubicBezTo>
                    <a:pt x="76" y="330"/>
                    <a:pt x="79" y="330"/>
                    <a:pt x="82" y="327"/>
                  </a:cubicBezTo>
                  <a:cubicBezTo>
                    <a:pt x="79" y="327"/>
                    <a:pt x="79" y="324"/>
                    <a:pt x="79" y="324"/>
                  </a:cubicBezTo>
                  <a:cubicBezTo>
                    <a:pt x="79" y="321"/>
                    <a:pt x="76" y="321"/>
                    <a:pt x="73" y="324"/>
                  </a:cubicBezTo>
                  <a:cubicBezTo>
                    <a:pt x="76" y="324"/>
                    <a:pt x="76" y="324"/>
                    <a:pt x="76" y="327"/>
                  </a:cubicBezTo>
                  <a:close/>
                  <a:moveTo>
                    <a:pt x="85" y="248"/>
                  </a:moveTo>
                  <a:lnTo>
                    <a:pt x="85" y="245"/>
                  </a:lnTo>
                  <a:lnTo>
                    <a:pt x="76" y="245"/>
                  </a:lnTo>
                  <a:cubicBezTo>
                    <a:pt x="76" y="248"/>
                    <a:pt x="79" y="251"/>
                    <a:pt x="79" y="251"/>
                  </a:cubicBezTo>
                  <a:cubicBezTo>
                    <a:pt x="82" y="251"/>
                    <a:pt x="85" y="251"/>
                    <a:pt x="85" y="254"/>
                  </a:cubicBezTo>
                  <a:lnTo>
                    <a:pt x="85" y="248"/>
                  </a:lnTo>
                  <a:close/>
                  <a:moveTo>
                    <a:pt x="79" y="237"/>
                  </a:moveTo>
                  <a:lnTo>
                    <a:pt x="79" y="240"/>
                  </a:lnTo>
                  <a:cubicBezTo>
                    <a:pt x="79" y="240"/>
                    <a:pt x="79" y="242"/>
                    <a:pt x="82" y="242"/>
                  </a:cubicBezTo>
                  <a:cubicBezTo>
                    <a:pt x="85" y="240"/>
                    <a:pt x="87" y="240"/>
                    <a:pt x="90" y="240"/>
                  </a:cubicBezTo>
                  <a:cubicBezTo>
                    <a:pt x="93" y="240"/>
                    <a:pt x="93" y="240"/>
                    <a:pt x="96" y="237"/>
                  </a:cubicBezTo>
                  <a:lnTo>
                    <a:pt x="87" y="234"/>
                  </a:lnTo>
                  <a:cubicBezTo>
                    <a:pt x="85" y="234"/>
                    <a:pt x="82" y="237"/>
                    <a:pt x="79" y="237"/>
                  </a:cubicBezTo>
                  <a:close/>
                  <a:moveTo>
                    <a:pt x="82" y="352"/>
                  </a:moveTo>
                  <a:cubicBezTo>
                    <a:pt x="82" y="352"/>
                    <a:pt x="85" y="355"/>
                    <a:pt x="85" y="358"/>
                  </a:cubicBezTo>
                  <a:lnTo>
                    <a:pt x="87" y="355"/>
                  </a:lnTo>
                  <a:lnTo>
                    <a:pt x="85" y="352"/>
                  </a:lnTo>
                  <a:lnTo>
                    <a:pt x="82" y="350"/>
                  </a:lnTo>
                  <a:lnTo>
                    <a:pt x="85" y="347"/>
                  </a:lnTo>
                  <a:lnTo>
                    <a:pt x="82" y="347"/>
                  </a:lnTo>
                  <a:cubicBezTo>
                    <a:pt x="82" y="347"/>
                    <a:pt x="82" y="349"/>
                    <a:pt x="80" y="349"/>
                  </a:cubicBezTo>
                  <a:cubicBezTo>
                    <a:pt x="81" y="350"/>
                    <a:pt x="82" y="351"/>
                    <a:pt x="82" y="352"/>
                  </a:cubicBezTo>
                  <a:close/>
                  <a:moveTo>
                    <a:pt x="82" y="420"/>
                  </a:moveTo>
                  <a:lnTo>
                    <a:pt x="87" y="426"/>
                  </a:lnTo>
                  <a:lnTo>
                    <a:pt x="87" y="420"/>
                  </a:lnTo>
                  <a:lnTo>
                    <a:pt x="82" y="420"/>
                  </a:lnTo>
                  <a:close/>
                  <a:moveTo>
                    <a:pt x="87" y="431"/>
                  </a:moveTo>
                  <a:lnTo>
                    <a:pt x="90" y="431"/>
                  </a:lnTo>
                  <a:lnTo>
                    <a:pt x="90" y="429"/>
                  </a:lnTo>
                  <a:lnTo>
                    <a:pt x="82" y="429"/>
                  </a:lnTo>
                  <a:lnTo>
                    <a:pt x="87" y="431"/>
                  </a:lnTo>
                  <a:close/>
                  <a:moveTo>
                    <a:pt x="93" y="381"/>
                  </a:moveTo>
                  <a:cubicBezTo>
                    <a:pt x="93" y="378"/>
                    <a:pt x="90" y="378"/>
                    <a:pt x="90" y="378"/>
                  </a:cubicBezTo>
                  <a:lnTo>
                    <a:pt x="85" y="381"/>
                  </a:lnTo>
                  <a:lnTo>
                    <a:pt x="93" y="381"/>
                  </a:lnTo>
                  <a:close/>
                  <a:moveTo>
                    <a:pt x="90" y="245"/>
                  </a:moveTo>
                  <a:cubicBezTo>
                    <a:pt x="87" y="248"/>
                    <a:pt x="90" y="251"/>
                    <a:pt x="90" y="251"/>
                  </a:cubicBezTo>
                  <a:lnTo>
                    <a:pt x="90" y="245"/>
                  </a:lnTo>
                  <a:close/>
                  <a:moveTo>
                    <a:pt x="87" y="31"/>
                  </a:moveTo>
                  <a:cubicBezTo>
                    <a:pt x="90" y="31"/>
                    <a:pt x="90" y="31"/>
                    <a:pt x="90" y="28"/>
                  </a:cubicBezTo>
                  <a:lnTo>
                    <a:pt x="87" y="31"/>
                  </a:lnTo>
                  <a:close/>
                  <a:moveTo>
                    <a:pt x="90" y="254"/>
                  </a:moveTo>
                  <a:cubicBezTo>
                    <a:pt x="87" y="254"/>
                    <a:pt x="87" y="257"/>
                    <a:pt x="87" y="257"/>
                  </a:cubicBezTo>
                  <a:cubicBezTo>
                    <a:pt x="90" y="257"/>
                    <a:pt x="90" y="257"/>
                    <a:pt x="90" y="254"/>
                  </a:cubicBezTo>
                  <a:close/>
                  <a:moveTo>
                    <a:pt x="90" y="447"/>
                  </a:moveTo>
                  <a:lnTo>
                    <a:pt x="90" y="450"/>
                  </a:lnTo>
                  <a:lnTo>
                    <a:pt x="93" y="450"/>
                  </a:lnTo>
                  <a:lnTo>
                    <a:pt x="93" y="447"/>
                  </a:lnTo>
                  <a:lnTo>
                    <a:pt x="90" y="447"/>
                  </a:lnTo>
                  <a:close/>
                  <a:moveTo>
                    <a:pt x="93" y="406"/>
                  </a:moveTo>
                  <a:lnTo>
                    <a:pt x="93" y="400"/>
                  </a:lnTo>
                  <a:lnTo>
                    <a:pt x="90" y="400"/>
                  </a:lnTo>
                  <a:cubicBezTo>
                    <a:pt x="93" y="403"/>
                    <a:pt x="93" y="406"/>
                    <a:pt x="93" y="406"/>
                  </a:cubicBezTo>
                  <a:close/>
                  <a:moveTo>
                    <a:pt x="102" y="254"/>
                  </a:moveTo>
                  <a:cubicBezTo>
                    <a:pt x="102" y="251"/>
                    <a:pt x="102" y="251"/>
                    <a:pt x="100" y="251"/>
                  </a:cubicBezTo>
                  <a:cubicBezTo>
                    <a:pt x="99" y="254"/>
                    <a:pt x="99" y="254"/>
                    <a:pt x="102" y="254"/>
                  </a:cubicBezTo>
                  <a:close/>
                  <a:moveTo>
                    <a:pt x="99" y="245"/>
                  </a:moveTo>
                  <a:lnTo>
                    <a:pt x="96" y="245"/>
                  </a:lnTo>
                  <a:cubicBezTo>
                    <a:pt x="93" y="248"/>
                    <a:pt x="93" y="252"/>
                    <a:pt x="99" y="250"/>
                  </a:cubicBezTo>
                  <a:lnTo>
                    <a:pt x="99" y="245"/>
                  </a:lnTo>
                  <a:close/>
                  <a:moveTo>
                    <a:pt x="99" y="456"/>
                  </a:moveTo>
                  <a:cubicBezTo>
                    <a:pt x="96" y="456"/>
                    <a:pt x="93" y="459"/>
                    <a:pt x="93" y="459"/>
                  </a:cubicBezTo>
                  <a:lnTo>
                    <a:pt x="99" y="459"/>
                  </a:lnTo>
                  <a:lnTo>
                    <a:pt x="99" y="456"/>
                  </a:lnTo>
                  <a:close/>
                  <a:moveTo>
                    <a:pt x="99" y="445"/>
                  </a:moveTo>
                  <a:cubicBezTo>
                    <a:pt x="99" y="445"/>
                    <a:pt x="96" y="446"/>
                    <a:pt x="96" y="443"/>
                  </a:cubicBezTo>
                  <a:lnTo>
                    <a:pt x="96" y="445"/>
                  </a:lnTo>
                  <a:cubicBezTo>
                    <a:pt x="96" y="447"/>
                    <a:pt x="99" y="447"/>
                    <a:pt x="99" y="445"/>
                  </a:cubicBezTo>
                  <a:close/>
                  <a:moveTo>
                    <a:pt x="102" y="440"/>
                  </a:moveTo>
                  <a:lnTo>
                    <a:pt x="99" y="443"/>
                  </a:lnTo>
                  <a:lnTo>
                    <a:pt x="102" y="446"/>
                  </a:lnTo>
                  <a:cubicBezTo>
                    <a:pt x="102" y="443"/>
                    <a:pt x="104" y="443"/>
                    <a:pt x="104" y="440"/>
                  </a:cubicBezTo>
                  <a:cubicBezTo>
                    <a:pt x="104" y="437"/>
                    <a:pt x="107" y="437"/>
                    <a:pt x="107" y="434"/>
                  </a:cubicBezTo>
                  <a:lnTo>
                    <a:pt x="99" y="434"/>
                  </a:lnTo>
                  <a:lnTo>
                    <a:pt x="100" y="438"/>
                  </a:lnTo>
                  <a:cubicBezTo>
                    <a:pt x="101" y="438"/>
                    <a:pt x="102" y="438"/>
                    <a:pt x="102" y="440"/>
                  </a:cubicBezTo>
                  <a:close/>
                  <a:moveTo>
                    <a:pt x="107" y="447"/>
                  </a:moveTo>
                  <a:lnTo>
                    <a:pt x="102" y="447"/>
                  </a:lnTo>
                  <a:lnTo>
                    <a:pt x="102" y="450"/>
                  </a:lnTo>
                  <a:lnTo>
                    <a:pt x="107" y="447"/>
                  </a:lnTo>
                  <a:close/>
                  <a:moveTo>
                    <a:pt x="104" y="443"/>
                  </a:moveTo>
                  <a:lnTo>
                    <a:pt x="110" y="447"/>
                  </a:lnTo>
                  <a:lnTo>
                    <a:pt x="110" y="446"/>
                  </a:lnTo>
                  <a:lnTo>
                    <a:pt x="110" y="443"/>
                  </a:lnTo>
                  <a:cubicBezTo>
                    <a:pt x="107" y="440"/>
                    <a:pt x="107" y="443"/>
                    <a:pt x="104" y="443"/>
                  </a:cubicBezTo>
                  <a:close/>
                  <a:moveTo>
                    <a:pt x="121" y="456"/>
                  </a:moveTo>
                  <a:lnTo>
                    <a:pt x="121" y="459"/>
                  </a:lnTo>
                  <a:cubicBezTo>
                    <a:pt x="118" y="456"/>
                    <a:pt x="113" y="453"/>
                    <a:pt x="110" y="450"/>
                  </a:cubicBezTo>
                  <a:cubicBezTo>
                    <a:pt x="110" y="450"/>
                    <a:pt x="110" y="453"/>
                    <a:pt x="113" y="453"/>
                  </a:cubicBezTo>
                  <a:lnTo>
                    <a:pt x="113" y="461"/>
                  </a:lnTo>
                  <a:cubicBezTo>
                    <a:pt x="113" y="459"/>
                    <a:pt x="116" y="459"/>
                    <a:pt x="116" y="459"/>
                  </a:cubicBezTo>
                  <a:lnTo>
                    <a:pt x="116" y="456"/>
                  </a:lnTo>
                  <a:cubicBezTo>
                    <a:pt x="116" y="456"/>
                    <a:pt x="118" y="456"/>
                    <a:pt x="121" y="459"/>
                  </a:cubicBezTo>
                  <a:cubicBezTo>
                    <a:pt x="124" y="461"/>
                    <a:pt x="127" y="459"/>
                    <a:pt x="127" y="456"/>
                  </a:cubicBezTo>
                  <a:lnTo>
                    <a:pt x="121" y="456"/>
                  </a:lnTo>
                  <a:close/>
                  <a:moveTo>
                    <a:pt x="118" y="443"/>
                  </a:moveTo>
                  <a:lnTo>
                    <a:pt x="116" y="443"/>
                  </a:lnTo>
                  <a:cubicBezTo>
                    <a:pt x="116" y="445"/>
                    <a:pt x="116" y="445"/>
                    <a:pt x="118" y="443"/>
                  </a:cubicBezTo>
                  <a:cubicBezTo>
                    <a:pt x="116" y="446"/>
                    <a:pt x="118" y="445"/>
                    <a:pt x="118" y="447"/>
                  </a:cubicBezTo>
                  <a:lnTo>
                    <a:pt x="116" y="447"/>
                  </a:lnTo>
                  <a:lnTo>
                    <a:pt x="113" y="447"/>
                  </a:lnTo>
                  <a:lnTo>
                    <a:pt x="116" y="450"/>
                  </a:lnTo>
                  <a:cubicBezTo>
                    <a:pt x="121" y="450"/>
                    <a:pt x="121" y="445"/>
                    <a:pt x="118" y="443"/>
                  </a:cubicBezTo>
                  <a:close/>
                  <a:moveTo>
                    <a:pt x="138" y="445"/>
                  </a:moveTo>
                  <a:cubicBezTo>
                    <a:pt x="138" y="445"/>
                    <a:pt x="135" y="445"/>
                    <a:pt x="138" y="445"/>
                  </a:cubicBezTo>
                  <a:lnTo>
                    <a:pt x="135" y="450"/>
                  </a:lnTo>
                  <a:cubicBezTo>
                    <a:pt x="141" y="450"/>
                    <a:pt x="138" y="447"/>
                    <a:pt x="138" y="445"/>
                  </a:cubicBezTo>
                  <a:close/>
                  <a:moveTo>
                    <a:pt x="144" y="445"/>
                  </a:moveTo>
                  <a:cubicBezTo>
                    <a:pt x="144" y="450"/>
                    <a:pt x="147" y="453"/>
                    <a:pt x="149" y="456"/>
                  </a:cubicBezTo>
                  <a:cubicBezTo>
                    <a:pt x="152" y="450"/>
                    <a:pt x="149" y="447"/>
                    <a:pt x="144" y="445"/>
                  </a:cubicBezTo>
                  <a:close/>
                  <a:moveTo>
                    <a:pt x="164" y="445"/>
                  </a:moveTo>
                  <a:lnTo>
                    <a:pt x="158" y="445"/>
                  </a:lnTo>
                  <a:lnTo>
                    <a:pt x="158" y="447"/>
                  </a:lnTo>
                  <a:lnTo>
                    <a:pt x="158" y="450"/>
                  </a:lnTo>
                  <a:lnTo>
                    <a:pt x="155" y="453"/>
                  </a:lnTo>
                  <a:cubicBezTo>
                    <a:pt x="158" y="453"/>
                    <a:pt x="158" y="456"/>
                    <a:pt x="161" y="456"/>
                  </a:cubicBezTo>
                  <a:cubicBezTo>
                    <a:pt x="161" y="450"/>
                    <a:pt x="161" y="447"/>
                    <a:pt x="164" y="44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172000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5"/>
          <a:stretch/>
        </p:blipFill>
        <p:spPr>
          <a:xfrm>
            <a:off x="354" y="0"/>
            <a:ext cx="12194823" cy="6859588"/>
          </a:xfrm>
          <a:prstGeom prst="rect">
            <a:avLst/>
          </a:prstGeom>
        </p:spPr>
      </p:pic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1444489" y="2418741"/>
            <a:ext cx="2132282" cy="2122848"/>
            <a:chOff x="3587750" y="2038350"/>
            <a:chExt cx="1076325" cy="1071563"/>
          </a:xfrm>
        </p:grpSpPr>
        <p:sp>
          <p:nvSpPr>
            <p:cNvPr id="10" name="Freeform 1"/>
            <p:cNvSpPr>
              <a:spLocks noChangeArrowheads="1"/>
            </p:cNvSpPr>
            <p:nvPr/>
          </p:nvSpPr>
          <p:spPr bwMode="auto">
            <a:xfrm>
              <a:off x="4298950" y="2070100"/>
              <a:ext cx="3175" cy="4763"/>
            </a:xfrm>
            <a:custGeom>
              <a:avLst/>
              <a:gdLst>
                <a:gd name="T0" fmla="*/ 9 w 10"/>
                <a:gd name="T1" fmla="*/ 12 h 15"/>
                <a:gd name="T2" fmla="*/ 9 w 10"/>
                <a:gd name="T3" fmla="*/ 6 h 15"/>
                <a:gd name="T4" fmla="*/ 0 w 10"/>
                <a:gd name="T5" fmla="*/ 0 h 15"/>
                <a:gd name="T6" fmla="*/ 9 w 10"/>
                <a:gd name="T7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5">
                  <a:moveTo>
                    <a:pt x="9" y="12"/>
                  </a:moveTo>
                  <a:cubicBezTo>
                    <a:pt x="9" y="9"/>
                    <a:pt x="9" y="9"/>
                    <a:pt x="9" y="6"/>
                  </a:cubicBezTo>
                  <a:cubicBezTo>
                    <a:pt x="6" y="3"/>
                    <a:pt x="3" y="0"/>
                    <a:pt x="0" y="0"/>
                  </a:cubicBezTo>
                  <a:cubicBezTo>
                    <a:pt x="3" y="9"/>
                    <a:pt x="3" y="14"/>
                    <a:pt x="9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" name="Freeform 2"/>
            <p:cNvSpPr>
              <a:spLocks noChangeArrowheads="1"/>
            </p:cNvSpPr>
            <p:nvPr/>
          </p:nvSpPr>
          <p:spPr bwMode="auto">
            <a:xfrm>
              <a:off x="3590925" y="2038350"/>
              <a:ext cx="1073150" cy="1071563"/>
            </a:xfrm>
            <a:custGeom>
              <a:avLst/>
              <a:gdLst>
                <a:gd name="T0" fmla="*/ 2858 w 2983"/>
                <a:gd name="T1" fmla="*/ 985 h 2976"/>
                <a:gd name="T2" fmla="*/ 2787 w 2983"/>
                <a:gd name="T3" fmla="*/ 815 h 2976"/>
                <a:gd name="T4" fmla="*/ 2612 w 2983"/>
                <a:gd name="T5" fmla="*/ 561 h 2976"/>
                <a:gd name="T6" fmla="*/ 2423 w 2983"/>
                <a:gd name="T7" fmla="*/ 367 h 2976"/>
                <a:gd name="T8" fmla="*/ 2118 w 2983"/>
                <a:gd name="T9" fmla="*/ 167 h 2976"/>
                <a:gd name="T10" fmla="*/ 1867 w 2983"/>
                <a:gd name="T11" fmla="*/ 82 h 2976"/>
                <a:gd name="T12" fmla="*/ 1625 w 2983"/>
                <a:gd name="T13" fmla="*/ 17 h 2976"/>
                <a:gd name="T14" fmla="*/ 1321 w 2983"/>
                <a:gd name="T15" fmla="*/ 11 h 2976"/>
                <a:gd name="T16" fmla="*/ 934 w 2983"/>
                <a:gd name="T17" fmla="*/ 150 h 2976"/>
                <a:gd name="T18" fmla="*/ 737 w 2983"/>
                <a:gd name="T19" fmla="*/ 246 h 2976"/>
                <a:gd name="T20" fmla="*/ 464 w 2983"/>
                <a:gd name="T21" fmla="*/ 462 h 2976"/>
                <a:gd name="T22" fmla="*/ 378 w 2983"/>
                <a:gd name="T23" fmla="*/ 553 h 2976"/>
                <a:gd name="T24" fmla="*/ 204 w 2983"/>
                <a:gd name="T25" fmla="*/ 796 h 2976"/>
                <a:gd name="T26" fmla="*/ 127 w 2983"/>
                <a:gd name="T27" fmla="*/ 965 h 2976"/>
                <a:gd name="T28" fmla="*/ 40 w 2983"/>
                <a:gd name="T29" fmla="*/ 1298 h 2976"/>
                <a:gd name="T30" fmla="*/ 29 w 2983"/>
                <a:gd name="T31" fmla="*/ 1547 h 2976"/>
                <a:gd name="T32" fmla="*/ 29 w 2983"/>
                <a:gd name="T33" fmla="*/ 1796 h 2976"/>
                <a:gd name="T34" fmla="*/ 119 w 2983"/>
                <a:gd name="T35" fmla="*/ 2002 h 2976"/>
                <a:gd name="T36" fmla="*/ 195 w 2983"/>
                <a:gd name="T37" fmla="*/ 2180 h 2976"/>
                <a:gd name="T38" fmla="*/ 266 w 2983"/>
                <a:gd name="T39" fmla="*/ 2284 h 2976"/>
                <a:gd name="T40" fmla="*/ 336 w 2983"/>
                <a:gd name="T41" fmla="*/ 2405 h 2976"/>
                <a:gd name="T42" fmla="*/ 460 w 2983"/>
                <a:gd name="T43" fmla="*/ 2543 h 2976"/>
                <a:gd name="T44" fmla="*/ 700 w 2983"/>
                <a:gd name="T45" fmla="*/ 2718 h 2976"/>
                <a:gd name="T46" fmla="*/ 884 w 2983"/>
                <a:gd name="T47" fmla="*/ 2848 h 2976"/>
                <a:gd name="T48" fmla="*/ 1109 w 2983"/>
                <a:gd name="T49" fmla="*/ 2907 h 2976"/>
                <a:gd name="T50" fmla="*/ 1462 w 2983"/>
                <a:gd name="T51" fmla="*/ 2964 h 2976"/>
                <a:gd name="T52" fmla="*/ 1673 w 2983"/>
                <a:gd name="T53" fmla="*/ 2953 h 2976"/>
                <a:gd name="T54" fmla="*/ 2008 w 2983"/>
                <a:gd name="T55" fmla="*/ 2868 h 2976"/>
                <a:gd name="T56" fmla="*/ 2324 w 2983"/>
                <a:gd name="T57" fmla="*/ 2704 h 2976"/>
                <a:gd name="T58" fmla="*/ 2513 w 2983"/>
                <a:gd name="T59" fmla="*/ 2543 h 2976"/>
                <a:gd name="T60" fmla="*/ 2632 w 2983"/>
                <a:gd name="T61" fmla="*/ 2405 h 2976"/>
                <a:gd name="T62" fmla="*/ 2846 w 2983"/>
                <a:gd name="T63" fmla="*/ 2072 h 2976"/>
                <a:gd name="T64" fmla="*/ 2897 w 2983"/>
                <a:gd name="T65" fmla="*/ 1923 h 2976"/>
                <a:gd name="T66" fmla="*/ 2920 w 2983"/>
                <a:gd name="T67" fmla="*/ 1816 h 2976"/>
                <a:gd name="T68" fmla="*/ 2934 w 2983"/>
                <a:gd name="T69" fmla="*/ 1607 h 2976"/>
                <a:gd name="T70" fmla="*/ 2859 w 2983"/>
                <a:gd name="T71" fmla="*/ 971 h 2976"/>
                <a:gd name="T72" fmla="*/ 464 w 2983"/>
                <a:gd name="T73" fmla="*/ 462 h 2976"/>
                <a:gd name="T74" fmla="*/ 184 w 2983"/>
                <a:gd name="T75" fmla="*/ 832 h 2976"/>
                <a:gd name="T76" fmla="*/ 23 w 2983"/>
                <a:gd name="T77" fmla="*/ 1542 h 2976"/>
                <a:gd name="T78" fmla="*/ 6 w 2983"/>
                <a:gd name="T79" fmla="*/ 1627 h 2976"/>
                <a:gd name="T80" fmla="*/ 283 w 2983"/>
                <a:gd name="T81" fmla="*/ 2354 h 2976"/>
                <a:gd name="T82" fmla="*/ 1687 w 2983"/>
                <a:gd name="T83" fmla="*/ 2953 h 2976"/>
                <a:gd name="T84" fmla="*/ 2930 w 2983"/>
                <a:gd name="T85" fmla="*/ 1823 h 2976"/>
                <a:gd name="T86" fmla="*/ 85 w 2983"/>
                <a:gd name="T87" fmla="*/ 1824 h 2976"/>
                <a:gd name="T88" fmla="*/ 297 w 2983"/>
                <a:gd name="T89" fmla="*/ 649 h 2976"/>
                <a:gd name="T90" fmla="*/ 57 w 2983"/>
                <a:gd name="T91" fmla="*/ 1576 h 2976"/>
                <a:gd name="T92" fmla="*/ 277 w 2983"/>
                <a:gd name="T93" fmla="*/ 2222 h 2976"/>
                <a:gd name="T94" fmla="*/ 915 w 2983"/>
                <a:gd name="T95" fmla="*/ 2828 h 2976"/>
                <a:gd name="T96" fmla="*/ 2869 w 2983"/>
                <a:gd name="T97" fmla="*/ 1979 h 2976"/>
                <a:gd name="T98" fmla="*/ 2561 w 2983"/>
                <a:gd name="T99" fmla="*/ 494 h 2976"/>
                <a:gd name="T100" fmla="*/ 2550 w 2983"/>
                <a:gd name="T101" fmla="*/ 488 h 2976"/>
                <a:gd name="T102" fmla="*/ 1817 w 2983"/>
                <a:gd name="T103" fmla="*/ 59 h 2976"/>
                <a:gd name="T104" fmla="*/ 1372 w 2983"/>
                <a:gd name="T105" fmla="*/ 34 h 2976"/>
                <a:gd name="T106" fmla="*/ 537 w 2983"/>
                <a:gd name="T107" fmla="*/ 381 h 2976"/>
                <a:gd name="T108" fmla="*/ 283 w 2983"/>
                <a:gd name="T109" fmla="*/ 638 h 2976"/>
                <a:gd name="T110" fmla="*/ 62 w 2983"/>
                <a:gd name="T111" fmla="*/ 1151 h 2976"/>
                <a:gd name="T112" fmla="*/ 99 w 2983"/>
                <a:gd name="T113" fmla="*/ 1968 h 2976"/>
                <a:gd name="T114" fmla="*/ 305 w 2983"/>
                <a:gd name="T115" fmla="*/ 2366 h 2976"/>
                <a:gd name="T116" fmla="*/ 573 w 2983"/>
                <a:gd name="T117" fmla="*/ 2656 h 2976"/>
                <a:gd name="T118" fmla="*/ 855 w 2983"/>
                <a:gd name="T119" fmla="*/ 2823 h 2976"/>
                <a:gd name="T120" fmla="*/ 2488 w 2983"/>
                <a:gd name="T121" fmla="*/ 2575 h 2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83" h="2976">
                  <a:moveTo>
                    <a:pt x="2982" y="1467"/>
                  </a:moveTo>
                  <a:cubicBezTo>
                    <a:pt x="2979" y="1456"/>
                    <a:pt x="2976" y="1444"/>
                    <a:pt x="2971" y="1436"/>
                  </a:cubicBezTo>
                  <a:cubicBezTo>
                    <a:pt x="2968" y="1427"/>
                    <a:pt x="2962" y="1422"/>
                    <a:pt x="2956" y="1416"/>
                  </a:cubicBezTo>
                  <a:lnTo>
                    <a:pt x="2956" y="1408"/>
                  </a:lnTo>
                  <a:cubicBezTo>
                    <a:pt x="2959" y="1399"/>
                    <a:pt x="2965" y="1391"/>
                    <a:pt x="2965" y="1382"/>
                  </a:cubicBezTo>
                  <a:cubicBezTo>
                    <a:pt x="2976" y="1354"/>
                    <a:pt x="2973" y="1320"/>
                    <a:pt x="2956" y="1295"/>
                  </a:cubicBezTo>
                  <a:cubicBezTo>
                    <a:pt x="2948" y="1286"/>
                    <a:pt x="2940" y="1278"/>
                    <a:pt x="2928" y="1269"/>
                  </a:cubicBezTo>
                  <a:cubicBezTo>
                    <a:pt x="2931" y="1269"/>
                    <a:pt x="2934" y="1264"/>
                    <a:pt x="2934" y="1261"/>
                  </a:cubicBezTo>
                  <a:cubicBezTo>
                    <a:pt x="2934" y="1258"/>
                    <a:pt x="2931" y="1255"/>
                    <a:pt x="2931" y="1253"/>
                  </a:cubicBezTo>
                  <a:cubicBezTo>
                    <a:pt x="2928" y="1247"/>
                    <a:pt x="2925" y="1241"/>
                    <a:pt x="2925" y="1236"/>
                  </a:cubicBezTo>
                  <a:cubicBezTo>
                    <a:pt x="2923" y="1227"/>
                    <a:pt x="2925" y="1219"/>
                    <a:pt x="2925" y="1210"/>
                  </a:cubicBezTo>
                  <a:cubicBezTo>
                    <a:pt x="2925" y="1205"/>
                    <a:pt x="2925" y="1199"/>
                    <a:pt x="2923" y="1193"/>
                  </a:cubicBezTo>
                  <a:cubicBezTo>
                    <a:pt x="2923" y="1185"/>
                    <a:pt x="2917" y="1174"/>
                    <a:pt x="2911" y="1168"/>
                  </a:cubicBezTo>
                  <a:cubicBezTo>
                    <a:pt x="2909" y="1159"/>
                    <a:pt x="2911" y="1151"/>
                    <a:pt x="2909" y="1143"/>
                  </a:cubicBezTo>
                  <a:cubicBezTo>
                    <a:pt x="2906" y="1131"/>
                    <a:pt x="2900" y="1120"/>
                    <a:pt x="2894" y="1109"/>
                  </a:cubicBezTo>
                  <a:cubicBezTo>
                    <a:pt x="2892" y="1103"/>
                    <a:pt x="2894" y="1095"/>
                    <a:pt x="2892" y="1089"/>
                  </a:cubicBezTo>
                  <a:cubicBezTo>
                    <a:pt x="2897" y="1075"/>
                    <a:pt x="2897" y="1064"/>
                    <a:pt x="2897" y="1049"/>
                  </a:cubicBezTo>
                  <a:cubicBezTo>
                    <a:pt x="2894" y="1035"/>
                    <a:pt x="2892" y="1021"/>
                    <a:pt x="2883" y="1010"/>
                  </a:cubicBezTo>
                  <a:cubicBezTo>
                    <a:pt x="2877" y="999"/>
                    <a:pt x="2866" y="990"/>
                    <a:pt x="2858" y="985"/>
                  </a:cubicBezTo>
                  <a:cubicBezTo>
                    <a:pt x="2858" y="982"/>
                    <a:pt x="2852" y="979"/>
                    <a:pt x="2852" y="976"/>
                  </a:cubicBezTo>
                  <a:lnTo>
                    <a:pt x="2852" y="968"/>
                  </a:lnTo>
                  <a:cubicBezTo>
                    <a:pt x="2855" y="969"/>
                    <a:pt x="2857" y="970"/>
                    <a:pt x="2859" y="971"/>
                  </a:cubicBezTo>
                  <a:cubicBezTo>
                    <a:pt x="2856" y="969"/>
                    <a:pt x="2853" y="967"/>
                    <a:pt x="2849" y="965"/>
                  </a:cubicBezTo>
                  <a:cubicBezTo>
                    <a:pt x="2846" y="956"/>
                    <a:pt x="2844" y="951"/>
                    <a:pt x="2841" y="942"/>
                  </a:cubicBezTo>
                  <a:cubicBezTo>
                    <a:pt x="2835" y="931"/>
                    <a:pt x="2835" y="920"/>
                    <a:pt x="2832" y="911"/>
                  </a:cubicBezTo>
                  <a:cubicBezTo>
                    <a:pt x="2832" y="897"/>
                    <a:pt x="2824" y="883"/>
                    <a:pt x="2815" y="875"/>
                  </a:cubicBezTo>
                  <a:lnTo>
                    <a:pt x="2807" y="858"/>
                  </a:lnTo>
                  <a:cubicBezTo>
                    <a:pt x="2804" y="858"/>
                    <a:pt x="2801" y="863"/>
                    <a:pt x="2796" y="866"/>
                  </a:cubicBezTo>
                  <a:lnTo>
                    <a:pt x="2793" y="860"/>
                  </a:lnTo>
                  <a:lnTo>
                    <a:pt x="2790" y="863"/>
                  </a:lnTo>
                  <a:lnTo>
                    <a:pt x="2787" y="863"/>
                  </a:lnTo>
                  <a:lnTo>
                    <a:pt x="2787" y="860"/>
                  </a:lnTo>
                  <a:cubicBezTo>
                    <a:pt x="2787" y="855"/>
                    <a:pt x="2793" y="846"/>
                    <a:pt x="2798" y="846"/>
                  </a:cubicBezTo>
                  <a:lnTo>
                    <a:pt x="2798" y="844"/>
                  </a:lnTo>
                  <a:cubicBezTo>
                    <a:pt x="2798" y="844"/>
                    <a:pt x="2796" y="844"/>
                    <a:pt x="2796" y="846"/>
                  </a:cubicBezTo>
                  <a:cubicBezTo>
                    <a:pt x="2793" y="844"/>
                    <a:pt x="2793" y="844"/>
                    <a:pt x="2796" y="841"/>
                  </a:cubicBezTo>
                  <a:cubicBezTo>
                    <a:pt x="2793" y="832"/>
                    <a:pt x="2787" y="824"/>
                    <a:pt x="2784" y="815"/>
                  </a:cubicBezTo>
                  <a:lnTo>
                    <a:pt x="2787" y="815"/>
                  </a:lnTo>
                  <a:cubicBezTo>
                    <a:pt x="2790" y="798"/>
                    <a:pt x="2787" y="781"/>
                    <a:pt x="2782" y="767"/>
                  </a:cubicBezTo>
                  <a:cubicBezTo>
                    <a:pt x="2779" y="753"/>
                    <a:pt x="2773" y="739"/>
                    <a:pt x="2762" y="728"/>
                  </a:cubicBezTo>
                  <a:cubicBezTo>
                    <a:pt x="2751" y="719"/>
                    <a:pt x="2739" y="711"/>
                    <a:pt x="2728" y="708"/>
                  </a:cubicBezTo>
                  <a:cubicBezTo>
                    <a:pt x="2725" y="705"/>
                    <a:pt x="2722" y="702"/>
                    <a:pt x="2719" y="702"/>
                  </a:cubicBezTo>
                  <a:cubicBezTo>
                    <a:pt x="2719" y="700"/>
                    <a:pt x="2717" y="700"/>
                    <a:pt x="2717" y="697"/>
                  </a:cubicBezTo>
                  <a:lnTo>
                    <a:pt x="2714" y="697"/>
                  </a:lnTo>
                  <a:cubicBezTo>
                    <a:pt x="2708" y="694"/>
                    <a:pt x="2708" y="694"/>
                    <a:pt x="2711" y="691"/>
                  </a:cubicBezTo>
                  <a:cubicBezTo>
                    <a:pt x="2705" y="683"/>
                    <a:pt x="2700" y="674"/>
                    <a:pt x="2691" y="666"/>
                  </a:cubicBezTo>
                  <a:cubicBezTo>
                    <a:pt x="2688" y="663"/>
                    <a:pt x="2688" y="657"/>
                    <a:pt x="2686" y="655"/>
                  </a:cubicBezTo>
                  <a:lnTo>
                    <a:pt x="2683" y="657"/>
                  </a:lnTo>
                  <a:cubicBezTo>
                    <a:pt x="2680" y="640"/>
                    <a:pt x="2669" y="624"/>
                    <a:pt x="2655" y="615"/>
                  </a:cubicBezTo>
                  <a:cubicBezTo>
                    <a:pt x="2652" y="612"/>
                    <a:pt x="2652" y="609"/>
                    <a:pt x="2649" y="609"/>
                  </a:cubicBezTo>
                  <a:cubicBezTo>
                    <a:pt x="2640" y="601"/>
                    <a:pt x="2635" y="590"/>
                    <a:pt x="2629" y="578"/>
                  </a:cubicBezTo>
                  <a:cubicBezTo>
                    <a:pt x="2626" y="576"/>
                    <a:pt x="2624" y="576"/>
                    <a:pt x="2621" y="573"/>
                  </a:cubicBezTo>
                  <a:cubicBezTo>
                    <a:pt x="2621" y="578"/>
                    <a:pt x="2621" y="584"/>
                    <a:pt x="2618" y="590"/>
                  </a:cubicBezTo>
                  <a:cubicBezTo>
                    <a:pt x="2615" y="584"/>
                    <a:pt x="2609" y="578"/>
                    <a:pt x="2609" y="573"/>
                  </a:cubicBezTo>
                  <a:cubicBezTo>
                    <a:pt x="2609" y="570"/>
                    <a:pt x="2612" y="567"/>
                    <a:pt x="2612" y="564"/>
                  </a:cubicBezTo>
                  <a:lnTo>
                    <a:pt x="2615" y="561"/>
                  </a:lnTo>
                  <a:lnTo>
                    <a:pt x="2612" y="561"/>
                  </a:lnTo>
                  <a:cubicBezTo>
                    <a:pt x="2612" y="553"/>
                    <a:pt x="2612" y="545"/>
                    <a:pt x="2609" y="539"/>
                  </a:cubicBezTo>
                  <a:cubicBezTo>
                    <a:pt x="2607" y="525"/>
                    <a:pt x="2604" y="510"/>
                    <a:pt x="2595" y="499"/>
                  </a:cubicBezTo>
                  <a:cubicBezTo>
                    <a:pt x="2587" y="487"/>
                    <a:pt x="2573" y="480"/>
                    <a:pt x="2561" y="474"/>
                  </a:cubicBezTo>
                  <a:cubicBezTo>
                    <a:pt x="2555" y="471"/>
                    <a:pt x="2547" y="468"/>
                    <a:pt x="2540" y="467"/>
                  </a:cubicBezTo>
                  <a:cubicBezTo>
                    <a:pt x="2541" y="469"/>
                    <a:pt x="2542" y="472"/>
                    <a:pt x="2542" y="474"/>
                  </a:cubicBezTo>
                  <a:cubicBezTo>
                    <a:pt x="2545" y="477"/>
                    <a:pt x="2542" y="480"/>
                    <a:pt x="2542" y="480"/>
                  </a:cubicBezTo>
                  <a:cubicBezTo>
                    <a:pt x="2539" y="474"/>
                    <a:pt x="2533" y="471"/>
                    <a:pt x="2528" y="466"/>
                  </a:cubicBezTo>
                  <a:cubicBezTo>
                    <a:pt x="2527" y="466"/>
                    <a:pt x="2526" y="466"/>
                    <a:pt x="2525" y="466"/>
                  </a:cubicBezTo>
                  <a:cubicBezTo>
                    <a:pt x="2519" y="460"/>
                    <a:pt x="2511" y="451"/>
                    <a:pt x="2505" y="443"/>
                  </a:cubicBezTo>
                  <a:cubicBezTo>
                    <a:pt x="2499" y="437"/>
                    <a:pt x="2494" y="435"/>
                    <a:pt x="2488" y="429"/>
                  </a:cubicBezTo>
                  <a:lnTo>
                    <a:pt x="2488" y="420"/>
                  </a:lnTo>
                  <a:cubicBezTo>
                    <a:pt x="2487" y="419"/>
                    <a:pt x="2487" y="417"/>
                    <a:pt x="2486" y="416"/>
                  </a:cubicBezTo>
                  <a:cubicBezTo>
                    <a:pt x="2486" y="415"/>
                    <a:pt x="2486" y="415"/>
                    <a:pt x="2485" y="415"/>
                  </a:cubicBezTo>
                  <a:cubicBezTo>
                    <a:pt x="2485" y="415"/>
                    <a:pt x="2485" y="415"/>
                    <a:pt x="2486" y="415"/>
                  </a:cubicBezTo>
                  <a:cubicBezTo>
                    <a:pt x="2480" y="404"/>
                    <a:pt x="2472" y="397"/>
                    <a:pt x="2463" y="389"/>
                  </a:cubicBezTo>
                  <a:cubicBezTo>
                    <a:pt x="2474" y="395"/>
                    <a:pt x="2482" y="403"/>
                    <a:pt x="2488" y="415"/>
                  </a:cubicBezTo>
                  <a:lnTo>
                    <a:pt x="2491" y="418"/>
                  </a:lnTo>
                  <a:cubicBezTo>
                    <a:pt x="2482" y="401"/>
                    <a:pt x="2468" y="387"/>
                    <a:pt x="2449" y="384"/>
                  </a:cubicBezTo>
                  <a:lnTo>
                    <a:pt x="2423" y="367"/>
                  </a:lnTo>
                  <a:cubicBezTo>
                    <a:pt x="2415" y="358"/>
                    <a:pt x="2406" y="350"/>
                    <a:pt x="2395" y="341"/>
                  </a:cubicBezTo>
                  <a:cubicBezTo>
                    <a:pt x="2392" y="330"/>
                    <a:pt x="2387" y="319"/>
                    <a:pt x="2381" y="308"/>
                  </a:cubicBezTo>
                  <a:cubicBezTo>
                    <a:pt x="2375" y="296"/>
                    <a:pt x="2364" y="285"/>
                    <a:pt x="2353" y="277"/>
                  </a:cubicBezTo>
                  <a:cubicBezTo>
                    <a:pt x="2333" y="265"/>
                    <a:pt x="2310" y="262"/>
                    <a:pt x="2288" y="265"/>
                  </a:cubicBezTo>
                  <a:cubicBezTo>
                    <a:pt x="2282" y="262"/>
                    <a:pt x="2276" y="262"/>
                    <a:pt x="2271" y="260"/>
                  </a:cubicBezTo>
                  <a:cubicBezTo>
                    <a:pt x="2265" y="257"/>
                    <a:pt x="2260" y="248"/>
                    <a:pt x="2254" y="243"/>
                  </a:cubicBezTo>
                  <a:cubicBezTo>
                    <a:pt x="2248" y="229"/>
                    <a:pt x="2237" y="220"/>
                    <a:pt x="2226" y="212"/>
                  </a:cubicBezTo>
                  <a:cubicBezTo>
                    <a:pt x="2220" y="209"/>
                    <a:pt x="2217" y="206"/>
                    <a:pt x="2212" y="203"/>
                  </a:cubicBezTo>
                  <a:cubicBezTo>
                    <a:pt x="2212" y="209"/>
                    <a:pt x="2214" y="214"/>
                    <a:pt x="2214" y="220"/>
                  </a:cubicBezTo>
                  <a:cubicBezTo>
                    <a:pt x="2214" y="220"/>
                    <a:pt x="2209" y="220"/>
                    <a:pt x="2209" y="217"/>
                  </a:cubicBezTo>
                  <a:cubicBezTo>
                    <a:pt x="2203" y="214"/>
                    <a:pt x="2203" y="212"/>
                    <a:pt x="2197" y="209"/>
                  </a:cubicBezTo>
                  <a:lnTo>
                    <a:pt x="2197" y="206"/>
                  </a:lnTo>
                  <a:cubicBezTo>
                    <a:pt x="2195" y="206"/>
                    <a:pt x="2192" y="203"/>
                    <a:pt x="2189" y="203"/>
                  </a:cubicBezTo>
                  <a:cubicBezTo>
                    <a:pt x="2186" y="203"/>
                    <a:pt x="2186" y="206"/>
                    <a:pt x="2183" y="206"/>
                  </a:cubicBezTo>
                  <a:cubicBezTo>
                    <a:pt x="2181" y="203"/>
                    <a:pt x="2178" y="200"/>
                    <a:pt x="2175" y="200"/>
                  </a:cubicBezTo>
                  <a:lnTo>
                    <a:pt x="2141" y="183"/>
                  </a:lnTo>
                  <a:cubicBezTo>
                    <a:pt x="2138" y="183"/>
                    <a:pt x="2138" y="181"/>
                    <a:pt x="2135" y="181"/>
                  </a:cubicBezTo>
                  <a:lnTo>
                    <a:pt x="2127" y="164"/>
                  </a:lnTo>
                  <a:cubicBezTo>
                    <a:pt x="2124" y="167"/>
                    <a:pt x="2121" y="164"/>
                    <a:pt x="2118" y="167"/>
                  </a:cubicBezTo>
                  <a:cubicBezTo>
                    <a:pt x="2116" y="167"/>
                    <a:pt x="2116" y="164"/>
                    <a:pt x="2113" y="164"/>
                  </a:cubicBezTo>
                  <a:cubicBezTo>
                    <a:pt x="2113" y="158"/>
                    <a:pt x="2116" y="152"/>
                    <a:pt x="2118" y="150"/>
                  </a:cubicBezTo>
                  <a:cubicBezTo>
                    <a:pt x="2116" y="144"/>
                    <a:pt x="2110" y="141"/>
                    <a:pt x="2104" y="136"/>
                  </a:cubicBezTo>
                  <a:cubicBezTo>
                    <a:pt x="2093" y="127"/>
                    <a:pt x="2079" y="124"/>
                    <a:pt x="2065" y="121"/>
                  </a:cubicBezTo>
                  <a:cubicBezTo>
                    <a:pt x="2059" y="121"/>
                    <a:pt x="2056" y="124"/>
                    <a:pt x="2051" y="124"/>
                  </a:cubicBezTo>
                  <a:cubicBezTo>
                    <a:pt x="2048" y="130"/>
                    <a:pt x="2039" y="130"/>
                    <a:pt x="2042" y="138"/>
                  </a:cubicBezTo>
                  <a:cubicBezTo>
                    <a:pt x="2037" y="138"/>
                    <a:pt x="2031" y="136"/>
                    <a:pt x="2025" y="136"/>
                  </a:cubicBezTo>
                  <a:cubicBezTo>
                    <a:pt x="2025" y="133"/>
                    <a:pt x="2028" y="130"/>
                    <a:pt x="2028" y="127"/>
                  </a:cubicBezTo>
                  <a:cubicBezTo>
                    <a:pt x="2025" y="127"/>
                    <a:pt x="2025" y="124"/>
                    <a:pt x="2025" y="124"/>
                  </a:cubicBezTo>
                  <a:cubicBezTo>
                    <a:pt x="2020" y="124"/>
                    <a:pt x="2017" y="130"/>
                    <a:pt x="2011" y="133"/>
                  </a:cubicBezTo>
                  <a:cubicBezTo>
                    <a:pt x="2008" y="133"/>
                    <a:pt x="2006" y="133"/>
                    <a:pt x="2006" y="130"/>
                  </a:cubicBezTo>
                  <a:cubicBezTo>
                    <a:pt x="2003" y="130"/>
                    <a:pt x="2003" y="127"/>
                    <a:pt x="2000" y="127"/>
                  </a:cubicBezTo>
                  <a:lnTo>
                    <a:pt x="2000" y="136"/>
                  </a:lnTo>
                  <a:cubicBezTo>
                    <a:pt x="1994" y="133"/>
                    <a:pt x="1989" y="136"/>
                    <a:pt x="1986" y="138"/>
                  </a:cubicBezTo>
                  <a:cubicBezTo>
                    <a:pt x="1980" y="133"/>
                    <a:pt x="1991" y="130"/>
                    <a:pt x="1994" y="127"/>
                  </a:cubicBezTo>
                  <a:cubicBezTo>
                    <a:pt x="1986" y="124"/>
                    <a:pt x="1980" y="119"/>
                    <a:pt x="1972" y="116"/>
                  </a:cubicBezTo>
                  <a:cubicBezTo>
                    <a:pt x="1960" y="113"/>
                    <a:pt x="1949" y="106"/>
                    <a:pt x="1938" y="104"/>
                  </a:cubicBezTo>
                  <a:cubicBezTo>
                    <a:pt x="1927" y="101"/>
                    <a:pt x="1915" y="96"/>
                    <a:pt x="1904" y="93"/>
                  </a:cubicBezTo>
                  <a:cubicBezTo>
                    <a:pt x="1893" y="90"/>
                    <a:pt x="1879" y="85"/>
                    <a:pt x="1867" y="82"/>
                  </a:cubicBezTo>
                  <a:cubicBezTo>
                    <a:pt x="1859" y="79"/>
                    <a:pt x="1848" y="76"/>
                    <a:pt x="1839" y="73"/>
                  </a:cubicBezTo>
                  <a:cubicBezTo>
                    <a:pt x="1839" y="71"/>
                    <a:pt x="1836" y="68"/>
                    <a:pt x="1836" y="65"/>
                  </a:cubicBezTo>
                  <a:cubicBezTo>
                    <a:pt x="1833" y="59"/>
                    <a:pt x="1828" y="57"/>
                    <a:pt x="1825" y="51"/>
                  </a:cubicBezTo>
                  <a:cubicBezTo>
                    <a:pt x="1814" y="42"/>
                    <a:pt x="1802" y="37"/>
                    <a:pt x="1788" y="37"/>
                  </a:cubicBezTo>
                  <a:cubicBezTo>
                    <a:pt x="1777" y="34"/>
                    <a:pt x="1763" y="31"/>
                    <a:pt x="1749" y="34"/>
                  </a:cubicBezTo>
                  <a:lnTo>
                    <a:pt x="1749" y="37"/>
                  </a:lnTo>
                  <a:lnTo>
                    <a:pt x="1746" y="37"/>
                  </a:lnTo>
                  <a:cubicBezTo>
                    <a:pt x="1746" y="37"/>
                    <a:pt x="1743" y="37"/>
                    <a:pt x="1743" y="34"/>
                  </a:cubicBezTo>
                  <a:cubicBezTo>
                    <a:pt x="1732" y="37"/>
                    <a:pt x="1721" y="42"/>
                    <a:pt x="1712" y="48"/>
                  </a:cubicBezTo>
                  <a:lnTo>
                    <a:pt x="1695" y="48"/>
                  </a:lnTo>
                  <a:lnTo>
                    <a:pt x="1694" y="47"/>
                  </a:lnTo>
                  <a:cubicBezTo>
                    <a:pt x="1694" y="47"/>
                    <a:pt x="1695" y="47"/>
                    <a:pt x="1695" y="48"/>
                  </a:cubicBezTo>
                  <a:lnTo>
                    <a:pt x="1692" y="48"/>
                  </a:lnTo>
                  <a:cubicBezTo>
                    <a:pt x="1692" y="48"/>
                    <a:pt x="1693" y="47"/>
                    <a:pt x="1694" y="47"/>
                  </a:cubicBezTo>
                  <a:cubicBezTo>
                    <a:pt x="1689" y="44"/>
                    <a:pt x="1686" y="39"/>
                    <a:pt x="1681" y="37"/>
                  </a:cubicBezTo>
                  <a:cubicBezTo>
                    <a:pt x="1670" y="28"/>
                    <a:pt x="1656" y="23"/>
                    <a:pt x="1642" y="20"/>
                  </a:cubicBezTo>
                  <a:cubicBezTo>
                    <a:pt x="1630" y="20"/>
                    <a:pt x="1618" y="24"/>
                    <a:pt x="1606" y="30"/>
                  </a:cubicBezTo>
                  <a:cubicBezTo>
                    <a:pt x="1606" y="30"/>
                    <a:pt x="1607" y="29"/>
                    <a:pt x="1608" y="28"/>
                  </a:cubicBezTo>
                  <a:cubicBezTo>
                    <a:pt x="1611" y="23"/>
                    <a:pt x="1619" y="20"/>
                    <a:pt x="1625" y="17"/>
                  </a:cubicBezTo>
                  <a:cubicBezTo>
                    <a:pt x="1608" y="20"/>
                    <a:pt x="1594" y="28"/>
                    <a:pt x="1582" y="37"/>
                  </a:cubicBezTo>
                  <a:lnTo>
                    <a:pt x="1548" y="37"/>
                  </a:lnTo>
                  <a:cubicBezTo>
                    <a:pt x="1543" y="37"/>
                    <a:pt x="1540" y="34"/>
                    <a:pt x="1534" y="34"/>
                  </a:cubicBezTo>
                  <a:cubicBezTo>
                    <a:pt x="1534" y="37"/>
                    <a:pt x="1532" y="37"/>
                    <a:pt x="1532" y="34"/>
                  </a:cubicBezTo>
                  <a:cubicBezTo>
                    <a:pt x="1526" y="34"/>
                    <a:pt x="1520" y="37"/>
                    <a:pt x="1515" y="37"/>
                  </a:cubicBezTo>
                  <a:cubicBezTo>
                    <a:pt x="1503" y="37"/>
                    <a:pt x="1492" y="40"/>
                    <a:pt x="1479" y="40"/>
                  </a:cubicBezTo>
                  <a:cubicBezTo>
                    <a:pt x="1473" y="40"/>
                    <a:pt x="1468" y="37"/>
                    <a:pt x="1462" y="37"/>
                  </a:cubicBezTo>
                  <a:lnTo>
                    <a:pt x="1462" y="34"/>
                  </a:lnTo>
                  <a:cubicBezTo>
                    <a:pt x="1459" y="34"/>
                    <a:pt x="1459" y="31"/>
                    <a:pt x="1456" y="34"/>
                  </a:cubicBezTo>
                  <a:cubicBezTo>
                    <a:pt x="1454" y="34"/>
                    <a:pt x="1448" y="37"/>
                    <a:pt x="1445" y="37"/>
                  </a:cubicBezTo>
                  <a:lnTo>
                    <a:pt x="1414" y="37"/>
                  </a:lnTo>
                  <a:cubicBezTo>
                    <a:pt x="1428" y="23"/>
                    <a:pt x="1442" y="14"/>
                    <a:pt x="1462" y="9"/>
                  </a:cubicBezTo>
                  <a:cubicBezTo>
                    <a:pt x="1468" y="3"/>
                    <a:pt x="1465" y="0"/>
                    <a:pt x="1456" y="0"/>
                  </a:cubicBezTo>
                  <a:cubicBezTo>
                    <a:pt x="1445" y="3"/>
                    <a:pt x="1434" y="9"/>
                    <a:pt x="1425" y="14"/>
                  </a:cubicBezTo>
                  <a:cubicBezTo>
                    <a:pt x="1417" y="20"/>
                    <a:pt x="1408" y="28"/>
                    <a:pt x="1403" y="37"/>
                  </a:cubicBezTo>
                  <a:lnTo>
                    <a:pt x="1403" y="34"/>
                  </a:lnTo>
                  <a:cubicBezTo>
                    <a:pt x="1400" y="31"/>
                    <a:pt x="1397" y="28"/>
                    <a:pt x="1391" y="25"/>
                  </a:cubicBezTo>
                  <a:cubicBezTo>
                    <a:pt x="1380" y="20"/>
                    <a:pt x="1369" y="17"/>
                    <a:pt x="1358" y="14"/>
                  </a:cubicBezTo>
                  <a:cubicBezTo>
                    <a:pt x="1346" y="11"/>
                    <a:pt x="1332" y="11"/>
                    <a:pt x="1321" y="11"/>
                  </a:cubicBezTo>
                  <a:cubicBezTo>
                    <a:pt x="1301" y="17"/>
                    <a:pt x="1287" y="28"/>
                    <a:pt x="1276" y="45"/>
                  </a:cubicBezTo>
                  <a:lnTo>
                    <a:pt x="1270" y="45"/>
                  </a:lnTo>
                  <a:cubicBezTo>
                    <a:pt x="1259" y="51"/>
                    <a:pt x="1248" y="54"/>
                    <a:pt x="1236" y="57"/>
                  </a:cubicBezTo>
                  <a:lnTo>
                    <a:pt x="1202" y="65"/>
                  </a:lnTo>
                  <a:lnTo>
                    <a:pt x="1200" y="62"/>
                  </a:lnTo>
                  <a:cubicBezTo>
                    <a:pt x="1185" y="57"/>
                    <a:pt x="1169" y="59"/>
                    <a:pt x="1154" y="68"/>
                  </a:cubicBezTo>
                  <a:lnTo>
                    <a:pt x="1154" y="73"/>
                  </a:lnTo>
                  <a:lnTo>
                    <a:pt x="1157" y="76"/>
                  </a:lnTo>
                  <a:cubicBezTo>
                    <a:pt x="1149" y="79"/>
                    <a:pt x="1143" y="79"/>
                    <a:pt x="1135" y="79"/>
                  </a:cubicBezTo>
                  <a:cubicBezTo>
                    <a:pt x="1126" y="82"/>
                    <a:pt x="1115" y="82"/>
                    <a:pt x="1106" y="85"/>
                  </a:cubicBezTo>
                  <a:cubicBezTo>
                    <a:pt x="1104" y="82"/>
                    <a:pt x="1098" y="82"/>
                    <a:pt x="1095" y="79"/>
                  </a:cubicBezTo>
                  <a:cubicBezTo>
                    <a:pt x="1084" y="73"/>
                    <a:pt x="1073" y="73"/>
                    <a:pt x="1061" y="73"/>
                  </a:cubicBezTo>
                  <a:lnTo>
                    <a:pt x="1047" y="73"/>
                  </a:lnTo>
                  <a:lnTo>
                    <a:pt x="1047" y="76"/>
                  </a:lnTo>
                  <a:lnTo>
                    <a:pt x="1044" y="76"/>
                  </a:lnTo>
                  <a:cubicBezTo>
                    <a:pt x="1036" y="76"/>
                    <a:pt x="1030" y="79"/>
                    <a:pt x="1022" y="79"/>
                  </a:cubicBezTo>
                  <a:cubicBezTo>
                    <a:pt x="1002" y="90"/>
                    <a:pt x="988" y="110"/>
                    <a:pt x="982" y="130"/>
                  </a:cubicBezTo>
                  <a:cubicBezTo>
                    <a:pt x="977" y="133"/>
                    <a:pt x="971" y="133"/>
                    <a:pt x="965" y="136"/>
                  </a:cubicBezTo>
                  <a:cubicBezTo>
                    <a:pt x="954" y="138"/>
                    <a:pt x="946" y="147"/>
                    <a:pt x="934" y="150"/>
                  </a:cubicBezTo>
                  <a:cubicBezTo>
                    <a:pt x="932" y="152"/>
                    <a:pt x="926" y="150"/>
                    <a:pt x="923" y="150"/>
                  </a:cubicBezTo>
                  <a:cubicBezTo>
                    <a:pt x="923" y="152"/>
                    <a:pt x="920" y="155"/>
                    <a:pt x="917" y="152"/>
                  </a:cubicBezTo>
                  <a:cubicBezTo>
                    <a:pt x="917" y="152"/>
                    <a:pt x="915" y="155"/>
                    <a:pt x="912" y="155"/>
                  </a:cubicBezTo>
                  <a:cubicBezTo>
                    <a:pt x="892" y="152"/>
                    <a:pt x="869" y="161"/>
                    <a:pt x="855" y="178"/>
                  </a:cubicBezTo>
                  <a:lnTo>
                    <a:pt x="855" y="181"/>
                  </a:lnTo>
                  <a:cubicBezTo>
                    <a:pt x="847" y="183"/>
                    <a:pt x="841" y="186"/>
                    <a:pt x="833" y="189"/>
                  </a:cubicBezTo>
                  <a:cubicBezTo>
                    <a:pt x="827" y="192"/>
                    <a:pt x="824" y="198"/>
                    <a:pt x="819" y="198"/>
                  </a:cubicBezTo>
                  <a:lnTo>
                    <a:pt x="807" y="198"/>
                  </a:lnTo>
                  <a:cubicBezTo>
                    <a:pt x="796" y="195"/>
                    <a:pt x="785" y="192"/>
                    <a:pt x="774" y="195"/>
                  </a:cubicBezTo>
                  <a:cubicBezTo>
                    <a:pt x="771" y="195"/>
                    <a:pt x="771" y="198"/>
                    <a:pt x="768" y="198"/>
                  </a:cubicBezTo>
                  <a:cubicBezTo>
                    <a:pt x="768" y="199"/>
                    <a:pt x="769" y="204"/>
                    <a:pt x="769" y="208"/>
                  </a:cubicBezTo>
                  <a:cubicBezTo>
                    <a:pt x="777" y="205"/>
                    <a:pt x="786" y="203"/>
                    <a:pt x="793" y="203"/>
                  </a:cubicBezTo>
                  <a:cubicBezTo>
                    <a:pt x="799" y="203"/>
                    <a:pt x="802" y="203"/>
                    <a:pt x="807" y="206"/>
                  </a:cubicBezTo>
                  <a:lnTo>
                    <a:pt x="805" y="206"/>
                  </a:lnTo>
                  <a:cubicBezTo>
                    <a:pt x="799" y="209"/>
                    <a:pt x="796" y="214"/>
                    <a:pt x="790" y="217"/>
                  </a:cubicBezTo>
                  <a:cubicBezTo>
                    <a:pt x="785" y="217"/>
                    <a:pt x="776" y="217"/>
                    <a:pt x="771" y="220"/>
                  </a:cubicBezTo>
                  <a:cubicBezTo>
                    <a:pt x="771" y="223"/>
                    <a:pt x="771" y="223"/>
                    <a:pt x="774" y="223"/>
                  </a:cubicBezTo>
                  <a:cubicBezTo>
                    <a:pt x="762" y="229"/>
                    <a:pt x="754" y="237"/>
                    <a:pt x="745" y="243"/>
                  </a:cubicBezTo>
                  <a:cubicBezTo>
                    <a:pt x="742" y="246"/>
                    <a:pt x="740" y="243"/>
                    <a:pt x="737" y="246"/>
                  </a:cubicBezTo>
                  <a:cubicBezTo>
                    <a:pt x="737" y="240"/>
                    <a:pt x="740" y="237"/>
                    <a:pt x="742" y="231"/>
                  </a:cubicBezTo>
                  <a:lnTo>
                    <a:pt x="740" y="231"/>
                  </a:lnTo>
                  <a:lnTo>
                    <a:pt x="740" y="223"/>
                  </a:lnTo>
                  <a:cubicBezTo>
                    <a:pt x="731" y="231"/>
                    <a:pt x="728" y="243"/>
                    <a:pt x="723" y="254"/>
                  </a:cubicBezTo>
                  <a:lnTo>
                    <a:pt x="720" y="254"/>
                  </a:lnTo>
                  <a:cubicBezTo>
                    <a:pt x="717" y="254"/>
                    <a:pt x="717" y="260"/>
                    <a:pt x="717" y="260"/>
                  </a:cubicBezTo>
                  <a:cubicBezTo>
                    <a:pt x="706" y="265"/>
                    <a:pt x="697" y="270"/>
                    <a:pt x="686" y="279"/>
                  </a:cubicBezTo>
                  <a:cubicBezTo>
                    <a:pt x="675" y="287"/>
                    <a:pt x="666" y="293"/>
                    <a:pt x="655" y="299"/>
                  </a:cubicBezTo>
                  <a:lnTo>
                    <a:pt x="652" y="302"/>
                  </a:lnTo>
                  <a:cubicBezTo>
                    <a:pt x="630" y="302"/>
                    <a:pt x="607" y="316"/>
                    <a:pt x="601" y="339"/>
                  </a:cubicBezTo>
                  <a:lnTo>
                    <a:pt x="596" y="339"/>
                  </a:lnTo>
                  <a:cubicBezTo>
                    <a:pt x="587" y="344"/>
                    <a:pt x="582" y="353"/>
                    <a:pt x="576" y="358"/>
                  </a:cubicBezTo>
                  <a:cubicBezTo>
                    <a:pt x="568" y="356"/>
                    <a:pt x="559" y="356"/>
                    <a:pt x="551" y="356"/>
                  </a:cubicBezTo>
                  <a:cubicBezTo>
                    <a:pt x="531" y="356"/>
                    <a:pt x="514" y="364"/>
                    <a:pt x="500" y="375"/>
                  </a:cubicBezTo>
                  <a:cubicBezTo>
                    <a:pt x="491" y="384"/>
                    <a:pt x="494" y="387"/>
                    <a:pt x="505" y="381"/>
                  </a:cubicBezTo>
                  <a:cubicBezTo>
                    <a:pt x="494" y="387"/>
                    <a:pt x="486" y="398"/>
                    <a:pt x="480" y="409"/>
                  </a:cubicBezTo>
                  <a:cubicBezTo>
                    <a:pt x="474" y="418"/>
                    <a:pt x="469" y="429"/>
                    <a:pt x="466" y="440"/>
                  </a:cubicBezTo>
                  <a:cubicBezTo>
                    <a:pt x="466" y="443"/>
                    <a:pt x="469" y="449"/>
                    <a:pt x="472" y="451"/>
                  </a:cubicBezTo>
                  <a:cubicBezTo>
                    <a:pt x="469" y="454"/>
                    <a:pt x="466" y="457"/>
                    <a:pt x="464" y="462"/>
                  </a:cubicBezTo>
                  <a:cubicBezTo>
                    <a:pt x="466" y="462"/>
                    <a:pt x="470" y="464"/>
                    <a:pt x="472" y="466"/>
                  </a:cubicBezTo>
                  <a:lnTo>
                    <a:pt x="472" y="477"/>
                  </a:lnTo>
                  <a:lnTo>
                    <a:pt x="446" y="485"/>
                  </a:lnTo>
                  <a:cubicBezTo>
                    <a:pt x="446" y="482"/>
                    <a:pt x="446" y="477"/>
                    <a:pt x="449" y="474"/>
                  </a:cubicBezTo>
                  <a:cubicBezTo>
                    <a:pt x="443" y="480"/>
                    <a:pt x="441" y="485"/>
                    <a:pt x="435" y="491"/>
                  </a:cubicBezTo>
                  <a:cubicBezTo>
                    <a:pt x="432" y="494"/>
                    <a:pt x="432" y="497"/>
                    <a:pt x="429" y="499"/>
                  </a:cubicBezTo>
                  <a:cubicBezTo>
                    <a:pt x="427" y="499"/>
                    <a:pt x="424" y="500"/>
                    <a:pt x="422" y="501"/>
                  </a:cubicBezTo>
                  <a:lnTo>
                    <a:pt x="421" y="499"/>
                  </a:lnTo>
                  <a:lnTo>
                    <a:pt x="422" y="501"/>
                  </a:lnTo>
                  <a:lnTo>
                    <a:pt x="421" y="501"/>
                  </a:lnTo>
                  <a:lnTo>
                    <a:pt x="421" y="502"/>
                  </a:lnTo>
                  <a:cubicBezTo>
                    <a:pt x="418" y="505"/>
                    <a:pt x="418" y="508"/>
                    <a:pt x="418" y="508"/>
                  </a:cubicBezTo>
                  <a:cubicBezTo>
                    <a:pt x="418" y="511"/>
                    <a:pt x="415" y="513"/>
                    <a:pt x="410" y="513"/>
                  </a:cubicBezTo>
                  <a:lnTo>
                    <a:pt x="407" y="516"/>
                  </a:lnTo>
                  <a:cubicBezTo>
                    <a:pt x="405" y="512"/>
                    <a:pt x="406" y="508"/>
                    <a:pt x="408" y="505"/>
                  </a:cubicBezTo>
                  <a:cubicBezTo>
                    <a:pt x="398" y="510"/>
                    <a:pt x="389" y="518"/>
                    <a:pt x="384" y="528"/>
                  </a:cubicBezTo>
                  <a:cubicBezTo>
                    <a:pt x="390" y="516"/>
                    <a:pt x="398" y="508"/>
                    <a:pt x="407" y="505"/>
                  </a:cubicBezTo>
                  <a:lnTo>
                    <a:pt x="410" y="502"/>
                  </a:lnTo>
                  <a:cubicBezTo>
                    <a:pt x="390" y="511"/>
                    <a:pt x="378" y="530"/>
                    <a:pt x="378" y="553"/>
                  </a:cubicBezTo>
                  <a:cubicBezTo>
                    <a:pt x="373" y="559"/>
                    <a:pt x="364" y="564"/>
                    <a:pt x="359" y="573"/>
                  </a:cubicBezTo>
                  <a:lnTo>
                    <a:pt x="353" y="578"/>
                  </a:lnTo>
                  <a:cubicBezTo>
                    <a:pt x="353" y="578"/>
                    <a:pt x="353" y="581"/>
                    <a:pt x="350" y="581"/>
                  </a:cubicBezTo>
                  <a:cubicBezTo>
                    <a:pt x="345" y="581"/>
                    <a:pt x="339" y="578"/>
                    <a:pt x="333" y="581"/>
                  </a:cubicBezTo>
                  <a:cubicBezTo>
                    <a:pt x="314" y="587"/>
                    <a:pt x="294" y="595"/>
                    <a:pt x="283" y="612"/>
                  </a:cubicBezTo>
                  <a:cubicBezTo>
                    <a:pt x="271" y="629"/>
                    <a:pt x="266" y="649"/>
                    <a:pt x="268" y="671"/>
                  </a:cubicBezTo>
                  <a:cubicBezTo>
                    <a:pt x="268" y="680"/>
                    <a:pt x="268" y="686"/>
                    <a:pt x="271" y="694"/>
                  </a:cubicBezTo>
                  <a:cubicBezTo>
                    <a:pt x="271" y="694"/>
                    <a:pt x="271" y="697"/>
                    <a:pt x="268" y="697"/>
                  </a:cubicBezTo>
                  <a:cubicBezTo>
                    <a:pt x="263" y="705"/>
                    <a:pt x="260" y="714"/>
                    <a:pt x="257" y="722"/>
                  </a:cubicBezTo>
                  <a:lnTo>
                    <a:pt x="254" y="722"/>
                  </a:lnTo>
                  <a:cubicBezTo>
                    <a:pt x="254" y="725"/>
                    <a:pt x="254" y="725"/>
                    <a:pt x="252" y="725"/>
                  </a:cubicBezTo>
                  <a:cubicBezTo>
                    <a:pt x="252" y="728"/>
                    <a:pt x="249" y="728"/>
                    <a:pt x="249" y="731"/>
                  </a:cubicBezTo>
                  <a:cubicBezTo>
                    <a:pt x="246" y="734"/>
                    <a:pt x="240" y="736"/>
                    <a:pt x="237" y="739"/>
                  </a:cubicBezTo>
                  <a:cubicBezTo>
                    <a:pt x="235" y="739"/>
                    <a:pt x="235" y="745"/>
                    <a:pt x="232" y="745"/>
                  </a:cubicBezTo>
                  <a:cubicBezTo>
                    <a:pt x="218" y="748"/>
                    <a:pt x="206" y="756"/>
                    <a:pt x="198" y="770"/>
                  </a:cubicBezTo>
                  <a:cubicBezTo>
                    <a:pt x="197" y="772"/>
                    <a:pt x="196" y="774"/>
                    <a:pt x="195" y="776"/>
                  </a:cubicBezTo>
                  <a:lnTo>
                    <a:pt x="212" y="776"/>
                  </a:lnTo>
                  <a:cubicBezTo>
                    <a:pt x="209" y="779"/>
                    <a:pt x="212" y="781"/>
                    <a:pt x="209" y="784"/>
                  </a:cubicBezTo>
                  <a:cubicBezTo>
                    <a:pt x="206" y="787"/>
                    <a:pt x="204" y="790"/>
                    <a:pt x="204" y="796"/>
                  </a:cubicBezTo>
                  <a:cubicBezTo>
                    <a:pt x="201" y="796"/>
                    <a:pt x="198" y="793"/>
                    <a:pt x="195" y="787"/>
                  </a:cubicBezTo>
                  <a:lnTo>
                    <a:pt x="192" y="787"/>
                  </a:lnTo>
                  <a:cubicBezTo>
                    <a:pt x="192" y="786"/>
                    <a:pt x="192" y="786"/>
                    <a:pt x="192" y="785"/>
                  </a:cubicBezTo>
                  <a:cubicBezTo>
                    <a:pt x="190" y="792"/>
                    <a:pt x="189" y="800"/>
                    <a:pt x="189" y="807"/>
                  </a:cubicBezTo>
                  <a:cubicBezTo>
                    <a:pt x="189" y="813"/>
                    <a:pt x="192" y="815"/>
                    <a:pt x="192" y="821"/>
                  </a:cubicBezTo>
                  <a:cubicBezTo>
                    <a:pt x="192" y="824"/>
                    <a:pt x="189" y="824"/>
                    <a:pt x="187" y="827"/>
                  </a:cubicBezTo>
                  <a:cubicBezTo>
                    <a:pt x="187" y="829"/>
                    <a:pt x="187" y="829"/>
                    <a:pt x="185" y="831"/>
                  </a:cubicBezTo>
                  <a:cubicBezTo>
                    <a:pt x="186" y="832"/>
                    <a:pt x="187" y="834"/>
                    <a:pt x="187" y="835"/>
                  </a:cubicBezTo>
                  <a:cubicBezTo>
                    <a:pt x="177" y="837"/>
                    <a:pt x="169" y="840"/>
                    <a:pt x="161" y="844"/>
                  </a:cubicBezTo>
                  <a:cubicBezTo>
                    <a:pt x="155" y="849"/>
                    <a:pt x="150" y="854"/>
                    <a:pt x="144" y="860"/>
                  </a:cubicBezTo>
                  <a:cubicBezTo>
                    <a:pt x="148" y="856"/>
                    <a:pt x="152" y="852"/>
                    <a:pt x="156" y="848"/>
                  </a:cubicBezTo>
                  <a:cubicBezTo>
                    <a:pt x="152" y="851"/>
                    <a:pt x="148" y="854"/>
                    <a:pt x="144" y="858"/>
                  </a:cubicBezTo>
                  <a:cubicBezTo>
                    <a:pt x="133" y="869"/>
                    <a:pt x="125" y="880"/>
                    <a:pt x="122" y="894"/>
                  </a:cubicBezTo>
                  <a:lnTo>
                    <a:pt x="122" y="911"/>
                  </a:lnTo>
                  <a:cubicBezTo>
                    <a:pt x="122" y="908"/>
                    <a:pt x="125" y="906"/>
                    <a:pt x="125" y="903"/>
                  </a:cubicBezTo>
                  <a:cubicBezTo>
                    <a:pt x="130" y="903"/>
                    <a:pt x="127" y="914"/>
                    <a:pt x="125" y="917"/>
                  </a:cubicBezTo>
                  <a:cubicBezTo>
                    <a:pt x="122" y="917"/>
                    <a:pt x="122" y="914"/>
                    <a:pt x="122" y="911"/>
                  </a:cubicBezTo>
                  <a:cubicBezTo>
                    <a:pt x="119" y="920"/>
                    <a:pt x="119" y="928"/>
                    <a:pt x="119" y="937"/>
                  </a:cubicBezTo>
                  <a:cubicBezTo>
                    <a:pt x="122" y="945"/>
                    <a:pt x="125" y="956"/>
                    <a:pt x="127" y="965"/>
                  </a:cubicBezTo>
                  <a:cubicBezTo>
                    <a:pt x="122" y="976"/>
                    <a:pt x="122" y="987"/>
                    <a:pt x="116" y="996"/>
                  </a:cubicBezTo>
                  <a:cubicBezTo>
                    <a:pt x="110" y="1007"/>
                    <a:pt x="108" y="1018"/>
                    <a:pt x="102" y="1030"/>
                  </a:cubicBezTo>
                  <a:lnTo>
                    <a:pt x="96" y="1041"/>
                  </a:lnTo>
                  <a:cubicBezTo>
                    <a:pt x="94" y="1038"/>
                    <a:pt x="96" y="1035"/>
                    <a:pt x="96" y="1033"/>
                  </a:cubicBezTo>
                  <a:cubicBezTo>
                    <a:pt x="96" y="1033"/>
                    <a:pt x="94" y="1030"/>
                    <a:pt x="94" y="1027"/>
                  </a:cubicBezTo>
                  <a:cubicBezTo>
                    <a:pt x="88" y="1033"/>
                    <a:pt x="85" y="1041"/>
                    <a:pt x="82" y="1049"/>
                  </a:cubicBezTo>
                  <a:cubicBezTo>
                    <a:pt x="88" y="1047"/>
                    <a:pt x="94" y="1044"/>
                    <a:pt x="102" y="1044"/>
                  </a:cubicBezTo>
                  <a:cubicBezTo>
                    <a:pt x="99" y="1049"/>
                    <a:pt x="94" y="1058"/>
                    <a:pt x="91" y="1064"/>
                  </a:cubicBezTo>
                  <a:cubicBezTo>
                    <a:pt x="88" y="1075"/>
                    <a:pt x="88" y="1089"/>
                    <a:pt x="85" y="1100"/>
                  </a:cubicBezTo>
                  <a:cubicBezTo>
                    <a:pt x="82" y="1109"/>
                    <a:pt x="77" y="1114"/>
                    <a:pt x="74" y="1123"/>
                  </a:cubicBezTo>
                  <a:cubicBezTo>
                    <a:pt x="65" y="1128"/>
                    <a:pt x="60" y="1137"/>
                    <a:pt x="60" y="1148"/>
                  </a:cubicBezTo>
                  <a:cubicBezTo>
                    <a:pt x="46" y="1145"/>
                    <a:pt x="37" y="1157"/>
                    <a:pt x="34" y="1171"/>
                  </a:cubicBezTo>
                  <a:cubicBezTo>
                    <a:pt x="29" y="1181"/>
                    <a:pt x="27" y="1193"/>
                    <a:pt x="28" y="1204"/>
                  </a:cubicBezTo>
                  <a:cubicBezTo>
                    <a:pt x="30" y="1204"/>
                    <a:pt x="31" y="1202"/>
                    <a:pt x="31" y="1202"/>
                  </a:cubicBezTo>
                  <a:cubicBezTo>
                    <a:pt x="40" y="1210"/>
                    <a:pt x="35" y="1213"/>
                    <a:pt x="29" y="1218"/>
                  </a:cubicBezTo>
                  <a:cubicBezTo>
                    <a:pt x="30" y="1221"/>
                    <a:pt x="30" y="1224"/>
                    <a:pt x="31" y="1227"/>
                  </a:cubicBezTo>
                  <a:cubicBezTo>
                    <a:pt x="37" y="1236"/>
                    <a:pt x="43" y="1241"/>
                    <a:pt x="48" y="1250"/>
                  </a:cubicBezTo>
                  <a:cubicBezTo>
                    <a:pt x="48" y="1253"/>
                    <a:pt x="46" y="1258"/>
                    <a:pt x="46" y="1264"/>
                  </a:cubicBezTo>
                  <a:cubicBezTo>
                    <a:pt x="43" y="1275"/>
                    <a:pt x="43" y="1286"/>
                    <a:pt x="40" y="1298"/>
                  </a:cubicBezTo>
                  <a:lnTo>
                    <a:pt x="40" y="1306"/>
                  </a:lnTo>
                  <a:cubicBezTo>
                    <a:pt x="34" y="1309"/>
                    <a:pt x="31" y="1315"/>
                    <a:pt x="26" y="1320"/>
                  </a:cubicBezTo>
                  <a:cubicBezTo>
                    <a:pt x="29" y="1312"/>
                    <a:pt x="34" y="1303"/>
                    <a:pt x="40" y="1298"/>
                  </a:cubicBezTo>
                  <a:cubicBezTo>
                    <a:pt x="37" y="1295"/>
                    <a:pt x="37" y="1292"/>
                    <a:pt x="34" y="1289"/>
                  </a:cubicBezTo>
                  <a:cubicBezTo>
                    <a:pt x="29" y="1292"/>
                    <a:pt x="26" y="1298"/>
                    <a:pt x="23" y="1301"/>
                  </a:cubicBezTo>
                  <a:cubicBezTo>
                    <a:pt x="15" y="1312"/>
                    <a:pt x="9" y="1326"/>
                    <a:pt x="9" y="1340"/>
                  </a:cubicBezTo>
                  <a:cubicBezTo>
                    <a:pt x="9" y="1353"/>
                    <a:pt x="11" y="1365"/>
                    <a:pt x="18" y="1376"/>
                  </a:cubicBezTo>
                  <a:cubicBezTo>
                    <a:pt x="16" y="1374"/>
                    <a:pt x="14" y="1374"/>
                    <a:pt x="12" y="1374"/>
                  </a:cubicBezTo>
                  <a:cubicBezTo>
                    <a:pt x="11" y="1373"/>
                    <a:pt x="10" y="1372"/>
                    <a:pt x="9" y="1370"/>
                  </a:cubicBezTo>
                  <a:cubicBezTo>
                    <a:pt x="14" y="1381"/>
                    <a:pt x="20" y="1391"/>
                    <a:pt x="29" y="1399"/>
                  </a:cubicBezTo>
                  <a:lnTo>
                    <a:pt x="29" y="1405"/>
                  </a:lnTo>
                  <a:cubicBezTo>
                    <a:pt x="29" y="1411"/>
                    <a:pt x="26" y="1416"/>
                    <a:pt x="26" y="1422"/>
                  </a:cubicBezTo>
                  <a:cubicBezTo>
                    <a:pt x="20" y="1427"/>
                    <a:pt x="15" y="1436"/>
                    <a:pt x="12" y="1444"/>
                  </a:cubicBezTo>
                  <a:cubicBezTo>
                    <a:pt x="20" y="1439"/>
                    <a:pt x="15" y="1442"/>
                    <a:pt x="12" y="1456"/>
                  </a:cubicBezTo>
                  <a:cubicBezTo>
                    <a:pt x="9" y="1464"/>
                    <a:pt x="9" y="1473"/>
                    <a:pt x="9" y="1484"/>
                  </a:cubicBezTo>
                  <a:cubicBezTo>
                    <a:pt x="9" y="1494"/>
                    <a:pt x="12" y="1505"/>
                    <a:pt x="17" y="1517"/>
                  </a:cubicBezTo>
                  <a:cubicBezTo>
                    <a:pt x="20" y="1525"/>
                    <a:pt x="26" y="1534"/>
                    <a:pt x="34" y="1539"/>
                  </a:cubicBezTo>
                  <a:lnTo>
                    <a:pt x="29" y="1539"/>
                  </a:lnTo>
                  <a:lnTo>
                    <a:pt x="29" y="1547"/>
                  </a:lnTo>
                  <a:cubicBezTo>
                    <a:pt x="30" y="1548"/>
                    <a:pt x="32" y="1549"/>
                    <a:pt x="34" y="1551"/>
                  </a:cubicBezTo>
                  <a:cubicBezTo>
                    <a:pt x="34" y="1555"/>
                    <a:pt x="33" y="1561"/>
                    <a:pt x="32" y="1566"/>
                  </a:cubicBezTo>
                  <a:cubicBezTo>
                    <a:pt x="32" y="1565"/>
                    <a:pt x="33" y="1563"/>
                    <a:pt x="34" y="1562"/>
                  </a:cubicBezTo>
                  <a:cubicBezTo>
                    <a:pt x="40" y="1562"/>
                    <a:pt x="43" y="1562"/>
                    <a:pt x="48" y="1565"/>
                  </a:cubicBezTo>
                  <a:cubicBezTo>
                    <a:pt x="48" y="1565"/>
                    <a:pt x="46" y="1565"/>
                    <a:pt x="46" y="1567"/>
                  </a:cubicBezTo>
                  <a:lnTo>
                    <a:pt x="51" y="1573"/>
                  </a:lnTo>
                  <a:cubicBezTo>
                    <a:pt x="34" y="1584"/>
                    <a:pt x="20" y="1604"/>
                    <a:pt x="15" y="1624"/>
                  </a:cubicBezTo>
                  <a:cubicBezTo>
                    <a:pt x="18" y="1618"/>
                    <a:pt x="22" y="1613"/>
                    <a:pt x="27" y="1607"/>
                  </a:cubicBezTo>
                  <a:cubicBezTo>
                    <a:pt x="12" y="1628"/>
                    <a:pt x="14" y="1658"/>
                    <a:pt x="31" y="1675"/>
                  </a:cubicBezTo>
                  <a:cubicBezTo>
                    <a:pt x="31" y="1677"/>
                    <a:pt x="34" y="1680"/>
                    <a:pt x="34" y="1683"/>
                  </a:cubicBezTo>
                  <a:cubicBezTo>
                    <a:pt x="34" y="1685"/>
                    <a:pt x="33" y="1687"/>
                    <a:pt x="32" y="1688"/>
                  </a:cubicBezTo>
                  <a:cubicBezTo>
                    <a:pt x="38" y="1695"/>
                    <a:pt x="44" y="1701"/>
                    <a:pt x="51" y="1706"/>
                  </a:cubicBezTo>
                  <a:cubicBezTo>
                    <a:pt x="51" y="1708"/>
                    <a:pt x="53" y="1710"/>
                    <a:pt x="53" y="1712"/>
                  </a:cubicBezTo>
                  <a:cubicBezTo>
                    <a:pt x="52" y="1712"/>
                    <a:pt x="51" y="1712"/>
                    <a:pt x="50" y="1712"/>
                  </a:cubicBezTo>
                  <a:cubicBezTo>
                    <a:pt x="50" y="1712"/>
                    <a:pt x="49" y="1711"/>
                    <a:pt x="48" y="1711"/>
                  </a:cubicBezTo>
                  <a:cubicBezTo>
                    <a:pt x="49" y="1712"/>
                    <a:pt x="49" y="1712"/>
                    <a:pt x="49" y="1712"/>
                  </a:cubicBezTo>
                  <a:cubicBezTo>
                    <a:pt x="45" y="1713"/>
                    <a:pt x="45" y="1715"/>
                    <a:pt x="43" y="1717"/>
                  </a:cubicBezTo>
                  <a:cubicBezTo>
                    <a:pt x="34" y="1728"/>
                    <a:pt x="29" y="1742"/>
                    <a:pt x="26" y="1754"/>
                  </a:cubicBezTo>
                  <a:cubicBezTo>
                    <a:pt x="23" y="1768"/>
                    <a:pt x="23" y="1782"/>
                    <a:pt x="29" y="1796"/>
                  </a:cubicBezTo>
                  <a:cubicBezTo>
                    <a:pt x="34" y="1816"/>
                    <a:pt x="48" y="1833"/>
                    <a:pt x="65" y="1844"/>
                  </a:cubicBezTo>
                  <a:cubicBezTo>
                    <a:pt x="65" y="1847"/>
                    <a:pt x="68" y="1850"/>
                    <a:pt x="71" y="1852"/>
                  </a:cubicBezTo>
                  <a:lnTo>
                    <a:pt x="71" y="1850"/>
                  </a:lnTo>
                  <a:lnTo>
                    <a:pt x="85" y="1857"/>
                  </a:lnTo>
                  <a:cubicBezTo>
                    <a:pt x="85" y="1857"/>
                    <a:pt x="85" y="1857"/>
                    <a:pt x="85" y="1858"/>
                  </a:cubicBezTo>
                  <a:lnTo>
                    <a:pt x="82" y="1858"/>
                  </a:lnTo>
                  <a:lnTo>
                    <a:pt x="88" y="1861"/>
                  </a:lnTo>
                  <a:lnTo>
                    <a:pt x="82" y="1864"/>
                  </a:lnTo>
                  <a:cubicBezTo>
                    <a:pt x="80" y="1861"/>
                    <a:pt x="77" y="1856"/>
                    <a:pt x="72" y="1855"/>
                  </a:cubicBezTo>
                  <a:cubicBezTo>
                    <a:pt x="75" y="1861"/>
                    <a:pt x="77" y="1867"/>
                    <a:pt x="77" y="1872"/>
                  </a:cubicBezTo>
                  <a:cubicBezTo>
                    <a:pt x="74" y="1881"/>
                    <a:pt x="65" y="1883"/>
                    <a:pt x="65" y="1889"/>
                  </a:cubicBezTo>
                  <a:cubicBezTo>
                    <a:pt x="62" y="1900"/>
                    <a:pt x="60" y="1912"/>
                    <a:pt x="60" y="1923"/>
                  </a:cubicBezTo>
                  <a:lnTo>
                    <a:pt x="60" y="1934"/>
                  </a:lnTo>
                  <a:lnTo>
                    <a:pt x="60" y="1937"/>
                  </a:lnTo>
                  <a:cubicBezTo>
                    <a:pt x="62" y="1945"/>
                    <a:pt x="65" y="1951"/>
                    <a:pt x="68" y="1957"/>
                  </a:cubicBezTo>
                  <a:cubicBezTo>
                    <a:pt x="77" y="1977"/>
                    <a:pt x="94" y="1991"/>
                    <a:pt x="113" y="2002"/>
                  </a:cubicBezTo>
                  <a:lnTo>
                    <a:pt x="113" y="2005"/>
                  </a:lnTo>
                  <a:lnTo>
                    <a:pt x="116" y="2005"/>
                  </a:lnTo>
                  <a:lnTo>
                    <a:pt x="119" y="2002"/>
                  </a:lnTo>
                  <a:cubicBezTo>
                    <a:pt x="119" y="2005"/>
                    <a:pt x="113" y="2008"/>
                    <a:pt x="113" y="2008"/>
                  </a:cubicBezTo>
                  <a:cubicBezTo>
                    <a:pt x="116" y="2013"/>
                    <a:pt x="122" y="2016"/>
                    <a:pt x="125" y="2022"/>
                  </a:cubicBezTo>
                  <a:cubicBezTo>
                    <a:pt x="125" y="2024"/>
                    <a:pt x="122" y="2024"/>
                    <a:pt x="122" y="2027"/>
                  </a:cubicBezTo>
                  <a:cubicBezTo>
                    <a:pt x="119" y="2047"/>
                    <a:pt x="122" y="2067"/>
                    <a:pt x="130" y="2084"/>
                  </a:cubicBezTo>
                  <a:cubicBezTo>
                    <a:pt x="136" y="2101"/>
                    <a:pt x="150" y="2115"/>
                    <a:pt x="167" y="2126"/>
                  </a:cubicBezTo>
                  <a:cubicBezTo>
                    <a:pt x="173" y="2134"/>
                    <a:pt x="175" y="2146"/>
                    <a:pt x="181" y="2154"/>
                  </a:cubicBezTo>
                  <a:cubicBezTo>
                    <a:pt x="181" y="2157"/>
                    <a:pt x="184" y="2160"/>
                    <a:pt x="187" y="2163"/>
                  </a:cubicBezTo>
                  <a:lnTo>
                    <a:pt x="192" y="2160"/>
                  </a:lnTo>
                  <a:cubicBezTo>
                    <a:pt x="195" y="2160"/>
                    <a:pt x="198" y="2163"/>
                    <a:pt x="198" y="2171"/>
                  </a:cubicBezTo>
                  <a:cubicBezTo>
                    <a:pt x="195" y="2168"/>
                    <a:pt x="192" y="2171"/>
                    <a:pt x="189" y="2171"/>
                  </a:cubicBezTo>
                  <a:cubicBezTo>
                    <a:pt x="189" y="2168"/>
                    <a:pt x="192" y="2163"/>
                    <a:pt x="192" y="2160"/>
                  </a:cubicBezTo>
                  <a:cubicBezTo>
                    <a:pt x="192" y="2163"/>
                    <a:pt x="187" y="2168"/>
                    <a:pt x="184" y="2171"/>
                  </a:cubicBezTo>
                  <a:cubicBezTo>
                    <a:pt x="181" y="2182"/>
                    <a:pt x="181" y="2194"/>
                    <a:pt x="184" y="2205"/>
                  </a:cubicBezTo>
                  <a:cubicBezTo>
                    <a:pt x="184" y="2208"/>
                    <a:pt x="187" y="2208"/>
                    <a:pt x="187" y="2211"/>
                  </a:cubicBezTo>
                  <a:cubicBezTo>
                    <a:pt x="189" y="2211"/>
                    <a:pt x="195" y="2213"/>
                    <a:pt x="198" y="2213"/>
                  </a:cubicBezTo>
                  <a:lnTo>
                    <a:pt x="201" y="2213"/>
                  </a:lnTo>
                  <a:cubicBezTo>
                    <a:pt x="195" y="2205"/>
                    <a:pt x="192" y="2197"/>
                    <a:pt x="192" y="2185"/>
                  </a:cubicBezTo>
                  <a:lnTo>
                    <a:pt x="192" y="2177"/>
                  </a:lnTo>
                  <a:cubicBezTo>
                    <a:pt x="192" y="2177"/>
                    <a:pt x="192" y="2180"/>
                    <a:pt x="195" y="2180"/>
                  </a:cubicBezTo>
                  <a:lnTo>
                    <a:pt x="204" y="2171"/>
                  </a:lnTo>
                  <a:cubicBezTo>
                    <a:pt x="204" y="2177"/>
                    <a:pt x="204" y="2180"/>
                    <a:pt x="201" y="2185"/>
                  </a:cubicBezTo>
                  <a:cubicBezTo>
                    <a:pt x="198" y="2185"/>
                    <a:pt x="201" y="2185"/>
                    <a:pt x="201" y="2188"/>
                  </a:cubicBezTo>
                  <a:cubicBezTo>
                    <a:pt x="201" y="2191"/>
                    <a:pt x="201" y="2191"/>
                    <a:pt x="204" y="2194"/>
                  </a:cubicBezTo>
                  <a:lnTo>
                    <a:pt x="204" y="2211"/>
                  </a:lnTo>
                  <a:cubicBezTo>
                    <a:pt x="204" y="2211"/>
                    <a:pt x="206" y="2211"/>
                    <a:pt x="206" y="2208"/>
                  </a:cubicBezTo>
                  <a:cubicBezTo>
                    <a:pt x="206" y="2211"/>
                    <a:pt x="212" y="2211"/>
                    <a:pt x="212" y="2213"/>
                  </a:cubicBezTo>
                  <a:cubicBezTo>
                    <a:pt x="218" y="2222"/>
                    <a:pt x="218" y="2236"/>
                    <a:pt x="223" y="2244"/>
                  </a:cubicBezTo>
                  <a:cubicBezTo>
                    <a:pt x="220" y="2242"/>
                    <a:pt x="218" y="2242"/>
                    <a:pt x="218" y="2239"/>
                  </a:cubicBezTo>
                  <a:lnTo>
                    <a:pt x="218" y="2236"/>
                  </a:lnTo>
                  <a:cubicBezTo>
                    <a:pt x="215" y="2236"/>
                    <a:pt x="212" y="2242"/>
                    <a:pt x="209" y="2244"/>
                  </a:cubicBezTo>
                  <a:cubicBezTo>
                    <a:pt x="218" y="2250"/>
                    <a:pt x="229" y="2256"/>
                    <a:pt x="237" y="2259"/>
                  </a:cubicBezTo>
                  <a:lnTo>
                    <a:pt x="235" y="2261"/>
                  </a:lnTo>
                  <a:lnTo>
                    <a:pt x="237" y="2261"/>
                  </a:lnTo>
                  <a:cubicBezTo>
                    <a:pt x="237" y="2261"/>
                    <a:pt x="240" y="2261"/>
                    <a:pt x="240" y="2259"/>
                  </a:cubicBezTo>
                  <a:cubicBezTo>
                    <a:pt x="257" y="2264"/>
                    <a:pt x="271" y="2264"/>
                    <a:pt x="266" y="2267"/>
                  </a:cubicBezTo>
                  <a:cubicBezTo>
                    <a:pt x="263" y="2267"/>
                    <a:pt x="257" y="2273"/>
                    <a:pt x="254" y="2273"/>
                  </a:cubicBezTo>
                  <a:cubicBezTo>
                    <a:pt x="260" y="2273"/>
                    <a:pt x="268" y="2270"/>
                    <a:pt x="271" y="2270"/>
                  </a:cubicBezTo>
                  <a:cubicBezTo>
                    <a:pt x="266" y="2273"/>
                    <a:pt x="263" y="2278"/>
                    <a:pt x="266" y="2284"/>
                  </a:cubicBezTo>
                  <a:cubicBezTo>
                    <a:pt x="257" y="2284"/>
                    <a:pt x="252" y="2278"/>
                    <a:pt x="246" y="2278"/>
                  </a:cubicBezTo>
                  <a:lnTo>
                    <a:pt x="254" y="2295"/>
                  </a:lnTo>
                  <a:lnTo>
                    <a:pt x="257" y="2295"/>
                  </a:lnTo>
                  <a:cubicBezTo>
                    <a:pt x="271" y="2292"/>
                    <a:pt x="257" y="2304"/>
                    <a:pt x="266" y="2307"/>
                  </a:cubicBezTo>
                  <a:lnTo>
                    <a:pt x="271" y="2307"/>
                  </a:lnTo>
                  <a:lnTo>
                    <a:pt x="271" y="2309"/>
                  </a:lnTo>
                  <a:cubicBezTo>
                    <a:pt x="274" y="2309"/>
                    <a:pt x="277" y="2312"/>
                    <a:pt x="277" y="2312"/>
                  </a:cubicBezTo>
                  <a:lnTo>
                    <a:pt x="277" y="2309"/>
                  </a:lnTo>
                  <a:lnTo>
                    <a:pt x="280" y="2309"/>
                  </a:lnTo>
                  <a:cubicBezTo>
                    <a:pt x="280" y="2312"/>
                    <a:pt x="283" y="2315"/>
                    <a:pt x="285" y="2318"/>
                  </a:cubicBezTo>
                  <a:cubicBezTo>
                    <a:pt x="283" y="2321"/>
                    <a:pt x="280" y="2321"/>
                    <a:pt x="277" y="2323"/>
                  </a:cubicBezTo>
                  <a:lnTo>
                    <a:pt x="277" y="2318"/>
                  </a:lnTo>
                  <a:cubicBezTo>
                    <a:pt x="277" y="2321"/>
                    <a:pt x="274" y="2323"/>
                    <a:pt x="274" y="2326"/>
                  </a:cubicBezTo>
                  <a:cubicBezTo>
                    <a:pt x="274" y="2329"/>
                    <a:pt x="271" y="2329"/>
                    <a:pt x="274" y="2332"/>
                  </a:cubicBezTo>
                  <a:cubicBezTo>
                    <a:pt x="280" y="2346"/>
                    <a:pt x="288" y="2360"/>
                    <a:pt x="302" y="2371"/>
                  </a:cubicBezTo>
                  <a:cubicBezTo>
                    <a:pt x="308" y="2377"/>
                    <a:pt x="314" y="2380"/>
                    <a:pt x="322" y="2383"/>
                  </a:cubicBezTo>
                  <a:cubicBezTo>
                    <a:pt x="324" y="2385"/>
                    <a:pt x="325" y="2389"/>
                    <a:pt x="325" y="2391"/>
                  </a:cubicBezTo>
                  <a:cubicBezTo>
                    <a:pt x="326" y="2391"/>
                    <a:pt x="327" y="2391"/>
                    <a:pt x="328" y="2391"/>
                  </a:cubicBezTo>
                  <a:cubicBezTo>
                    <a:pt x="331" y="2394"/>
                    <a:pt x="331" y="2402"/>
                    <a:pt x="336" y="2405"/>
                  </a:cubicBezTo>
                  <a:cubicBezTo>
                    <a:pt x="336" y="2405"/>
                    <a:pt x="339" y="2405"/>
                    <a:pt x="342" y="2402"/>
                  </a:cubicBezTo>
                  <a:cubicBezTo>
                    <a:pt x="345" y="2402"/>
                    <a:pt x="342" y="2402"/>
                    <a:pt x="342" y="2402"/>
                  </a:cubicBezTo>
                  <a:cubicBezTo>
                    <a:pt x="342" y="2405"/>
                    <a:pt x="345" y="2405"/>
                    <a:pt x="345" y="2408"/>
                  </a:cubicBezTo>
                  <a:lnTo>
                    <a:pt x="336" y="2408"/>
                  </a:lnTo>
                  <a:lnTo>
                    <a:pt x="342" y="2411"/>
                  </a:lnTo>
                  <a:cubicBezTo>
                    <a:pt x="342" y="2417"/>
                    <a:pt x="339" y="2425"/>
                    <a:pt x="339" y="2431"/>
                  </a:cubicBezTo>
                  <a:cubicBezTo>
                    <a:pt x="339" y="2450"/>
                    <a:pt x="347" y="2467"/>
                    <a:pt x="359" y="2481"/>
                  </a:cubicBezTo>
                  <a:cubicBezTo>
                    <a:pt x="367" y="2490"/>
                    <a:pt x="373" y="2490"/>
                    <a:pt x="367" y="2479"/>
                  </a:cubicBezTo>
                  <a:cubicBezTo>
                    <a:pt x="373" y="2487"/>
                    <a:pt x="384" y="2496"/>
                    <a:pt x="393" y="2498"/>
                  </a:cubicBezTo>
                  <a:cubicBezTo>
                    <a:pt x="401" y="2504"/>
                    <a:pt x="412" y="2510"/>
                    <a:pt x="424" y="2515"/>
                  </a:cubicBezTo>
                  <a:lnTo>
                    <a:pt x="429" y="2515"/>
                  </a:lnTo>
                  <a:cubicBezTo>
                    <a:pt x="432" y="2518"/>
                    <a:pt x="435" y="2524"/>
                    <a:pt x="438" y="2527"/>
                  </a:cubicBezTo>
                  <a:cubicBezTo>
                    <a:pt x="443" y="2529"/>
                    <a:pt x="443" y="2527"/>
                    <a:pt x="443" y="2529"/>
                  </a:cubicBezTo>
                  <a:cubicBezTo>
                    <a:pt x="443" y="2529"/>
                    <a:pt x="443" y="2532"/>
                    <a:pt x="446" y="2532"/>
                  </a:cubicBezTo>
                  <a:lnTo>
                    <a:pt x="446" y="2535"/>
                  </a:lnTo>
                  <a:lnTo>
                    <a:pt x="449" y="2535"/>
                  </a:lnTo>
                  <a:lnTo>
                    <a:pt x="455" y="2535"/>
                  </a:lnTo>
                  <a:cubicBezTo>
                    <a:pt x="455" y="2537"/>
                    <a:pt x="456" y="2539"/>
                    <a:pt x="458" y="2541"/>
                  </a:cubicBezTo>
                  <a:lnTo>
                    <a:pt x="460" y="2543"/>
                  </a:lnTo>
                  <a:lnTo>
                    <a:pt x="463" y="2543"/>
                  </a:lnTo>
                  <a:cubicBezTo>
                    <a:pt x="466" y="2560"/>
                    <a:pt x="472" y="2575"/>
                    <a:pt x="480" y="2589"/>
                  </a:cubicBezTo>
                  <a:cubicBezTo>
                    <a:pt x="491" y="2597"/>
                    <a:pt x="503" y="2606"/>
                    <a:pt x="517" y="2608"/>
                  </a:cubicBezTo>
                  <a:cubicBezTo>
                    <a:pt x="522" y="2608"/>
                    <a:pt x="528" y="2606"/>
                    <a:pt x="534" y="2606"/>
                  </a:cubicBezTo>
                  <a:lnTo>
                    <a:pt x="534" y="2611"/>
                  </a:lnTo>
                  <a:cubicBezTo>
                    <a:pt x="542" y="2617"/>
                    <a:pt x="548" y="2625"/>
                    <a:pt x="556" y="2634"/>
                  </a:cubicBezTo>
                  <a:lnTo>
                    <a:pt x="562" y="2634"/>
                  </a:lnTo>
                  <a:cubicBezTo>
                    <a:pt x="562" y="2637"/>
                    <a:pt x="565" y="2639"/>
                    <a:pt x="565" y="2645"/>
                  </a:cubicBezTo>
                  <a:cubicBezTo>
                    <a:pt x="568" y="2665"/>
                    <a:pt x="579" y="2682"/>
                    <a:pt x="593" y="2696"/>
                  </a:cubicBezTo>
                  <a:cubicBezTo>
                    <a:pt x="610" y="2707"/>
                    <a:pt x="630" y="2713"/>
                    <a:pt x="649" y="2710"/>
                  </a:cubicBezTo>
                  <a:lnTo>
                    <a:pt x="666" y="2710"/>
                  </a:lnTo>
                  <a:lnTo>
                    <a:pt x="666" y="2713"/>
                  </a:lnTo>
                  <a:cubicBezTo>
                    <a:pt x="669" y="2713"/>
                    <a:pt x="672" y="2716"/>
                    <a:pt x="675" y="2716"/>
                  </a:cubicBezTo>
                  <a:cubicBezTo>
                    <a:pt x="675" y="2713"/>
                    <a:pt x="675" y="2707"/>
                    <a:pt x="678" y="2704"/>
                  </a:cubicBezTo>
                  <a:cubicBezTo>
                    <a:pt x="683" y="2704"/>
                    <a:pt x="686" y="2704"/>
                    <a:pt x="692" y="2701"/>
                  </a:cubicBezTo>
                  <a:cubicBezTo>
                    <a:pt x="692" y="2704"/>
                    <a:pt x="695" y="2704"/>
                    <a:pt x="695" y="2704"/>
                  </a:cubicBezTo>
                  <a:cubicBezTo>
                    <a:pt x="692" y="2707"/>
                    <a:pt x="689" y="2710"/>
                    <a:pt x="683" y="2713"/>
                  </a:cubicBezTo>
                  <a:cubicBezTo>
                    <a:pt x="686" y="2713"/>
                    <a:pt x="689" y="2716"/>
                    <a:pt x="695" y="2716"/>
                  </a:cubicBezTo>
                  <a:cubicBezTo>
                    <a:pt x="695" y="2718"/>
                    <a:pt x="700" y="2718"/>
                    <a:pt x="700" y="2718"/>
                  </a:cubicBezTo>
                  <a:cubicBezTo>
                    <a:pt x="700" y="2721"/>
                    <a:pt x="695" y="2724"/>
                    <a:pt x="692" y="2724"/>
                  </a:cubicBezTo>
                  <a:lnTo>
                    <a:pt x="695" y="2724"/>
                  </a:lnTo>
                  <a:lnTo>
                    <a:pt x="697" y="2724"/>
                  </a:lnTo>
                  <a:cubicBezTo>
                    <a:pt x="697" y="2727"/>
                    <a:pt x="697" y="2727"/>
                    <a:pt x="700" y="2730"/>
                  </a:cubicBezTo>
                  <a:cubicBezTo>
                    <a:pt x="709" y="2747"/>
                    <a:pt x="723" y="2761"/>
                    <a:pt x="742" y="2769"/>
                  </a:cubicBezTo>
                  <a:cubicBezTo>
                    <a:pt x="745" y="2772"/>
                    <a:pt x="745" y="2775"/>
                    <a:pt x="742" y="2772"/>
                  </a:cubicBezTo>
                  <a:lnTo>
                    <a:pt x="740" y="2772"/>
                  </a:lnTo>
                  <a:cubicBezTo>
                    <a:pt x="751" y="2780"/>
                    <a:pt x="762" y="2786"/>
                    <a:pt x="774" y="2789"/>
                  </a:cubicBezTo>
                  <a:lnTo>
                    <a:pt x="802" y="2789"/>
                  </a:lnTo>
                  <a:cubicBezTo>
                    <a:pt x="805" y="2789"/>
                    <a:pt x="805" y="2792"/>
                    <a:pt x="807" y="2795"/>
                  </a:cubicBezTo>
                  <a:cubicBezTo>
                    <a:pt x="810" y="2797"/>
                    <a:pt x="816" y="2797"/>
                    <a:pt x="819" y="2797"/>
                  </a:cubicBezTo>
                  <a:cubicBezTo>
                    <a:pt x="820" y="2800"/>
                    <a:pt x="822" y="2803"/>
                    <a:pt x="823" y="2806"/>
                  </a:cubicBezTo>
                  <a:cubicBezTo>
                    <a:pt x="824" y="2806"/>
                    <a:pt x="825" y="2806"/>
                    <a:pt x="827" y="2809"/>
                  </a:cubicBezTo>
                  <a:cubicBezTo>
                    <a:pt x="832" y="2816"/>
                    <a:pt x="838" y="2824"/>
                    <a:pt x="845" y="2831"/>
                  </a:cubicBezTo>
                  <a:cubicBezTo>
                    <a:pt x="838" y="2825"/>
                    <a:pt x="832" y="2819"/>
                    <a:pt x="826" y="2812"/>
                  </a:cubicBezTo>
                  <a:cubicBezTo>
                    <a:pt x="830" y="2818"/>
                    <a:pt x="834" y="2824"/>
                    <a:pt x="838" y="2828"/>
                  </a:cubicBezTo>
                  <a:cubicBezTo>
                    <a:pt x="850" y="2840"/>
                    <a:pt x="861" y="2848"/>
                    <a:pt x="875" y="2854"/>
                  </a:cubicBezTo>
                  <a:lnTo>
                    <a:pt x="892" y="2854"/>
                  </a:lnTo>
                  <a:cubicBezTo>
                    <a:pt x="889" y="2854"/>
                    <a:pt x="886" y="2851"/>
                    <a:pt x="884" y="2848"/>
                  </a:cubicBezTo>
                  <a:cubicBezTo>
                    <a:pt x="884" y="2842"/>
                    <a:pt x="901" y="2845"/>
                    <a:pt x="901" y="2848"/>
                  </a:cubicBezTo>
                  <a:cubicBezTo>
                    <a:pt x="901" y="2851"/>
                    <a:pt x="895" y="2854"/>
                    <a:pt x="892" y="2854"/>
                  </a:cubicBezTo>
                  <a:cubicBezTo>
                    <a:pt x="901" y="2854"/>
                    <a:pt x="909" y="2851"/>
                    <a:pt x="915" y="2851"/>
                  </a:cubicBezTo>
                  <a:cubicBezTo>
                    <a:pt x="920" y="2851"/>
                    <a:pt x="926" y="2848"/>
                    <a:pt x="929" y="2848"/>
                  </a:cubicBezTo>
                  <a:lnTo>
                    <a:pt x="932" y="2851"/>
                  </a:lnTo>
                  <a:cubicBezTo>
                    <a:pt x="932" y="2851"/>
                    <a:pt x="929" y="2848"/>
                    <a:pt x="929" y="2845"/>
                  </a:cubicBezTo>
                  <a:lnTo>
                    <a:pt x="937" y="2845"/>
                  </a:lnTo>
                  <a:cubicBezTo>
                    <a:pt x="937" y="2848"/>
                    <a:pt x="934" y="2851"/>
                    <a:pt x="934" y="2854"/>
                  </a:cubicBezTo>
                  <a:lnTo>
                    <a:pt x="937" y="2854"/>
                  </a:lnTo>
                  <a:cubicBezTo>
                    <a:pt x="948" y="2857"/>
                    <a:pt x="957" y="2862"/>
                    <a:pt x="968" y="2865"/>
                  </a:cubicBezTo>
                  <a:cubicBezTo>
                    <a:pt x="974" y="2874"/>
                    <a:pt x="982" y="2882"/>
                    <a:pt x="988" y="2890"/>
                  </a:cubicBezTo>
                  <a:cubicBezTo>
                    <a:pt x="991" y="2893"/>
                    <a:pt x="994" y="2893"/>
                    <a:pt x="996" y="2896"/>
                  </a:cubicBezTo>
                  <a:cubicBezTo>
                    <a:pt x="996" y="2893"/>
                    <a:pt x="994" y="2890"/>
                    <a:pt x="994" y="2885"/>
                  </a:cubicBezTo>
                  <a:cubicBezTo>
                    <a:pt x="996" y="2882"/>
                    <a:pt x="999" y="2882"/>
                    <a:pt x="999" y="2882"/>
                  </a:cubicBezTo>
                  <a:cubicBezTo>
                    <a:pt x="1002" y="2885"/>
                    <a:pt x="1002" y="2893"/>
                    <a:pt x="996" y="2893"/>
                  </a:cubicBezTo>
                  <a:cubicBezTo>
                    <a:pt x="1013" y="2905"/>
                    <a:pt x="1033" y="2910"/>
                    <a:pt x="1050" y="2910"/>
                  </a:cubicBezTo>
                  <a:cubicBezTo>
                    <a:pt x="1061" y="2910"/>
                    <a:pt x="1070" y="2907"/>
                    <a:pt x="1081" y="2905"/>
                  </a:cubicBezTo>
                  <a:cubicBezTo>
                    <a:pt x="1090" y="2907"/>
                    <a:pt x="1098" y="2905"/>
                    <a:pt x="1106" y="2907"/>
                  </a:cubicBezTo>
                  <a:lnTo>
                    <a:pt x="1109" y="2907"/>
                  </a:lnTo>
                  <a:cubicBezTo>
                    <a:pt x="1112" y="2910"/>
                    <a:pt x="1118" y="2913"/>
                    <a:pt x="1118" y="2913"/>
                  </a:cubicBezTo>
                  <a:cubicBezTo>
                    <a:pt x="1126" y="2927"/>
                    <a:pt x="1138" y="2936"/>
                    <a:pt x="1152" y="2941"/>
                  </a:cubicBezTo>
                  <a:cubicBezTo>
                    <a:pt x="1164" y="2945"/>
                    <a:pt x="1177" y="2945"/>
                    <a:pt x="1190" y="2943"/>
                  </a:cubicBezTo>
                  <a:cubicBezTo>
                    <a:pt x="1192" y="2942"/>
                    <a:pt x="1193" y="2942"/>
                    <a:pt x="1195" y="2942"/>
                  </a:cubicBezTo>
                  <a:cubicBezTo>
                    <a:pt x="1200" y="2941"/>
                    <a:pt x="1206" y="2940"/>
                    <a:pt x="1211" y="2938"/>
                  </a:cubicBezTo>
                  <a:cubicBezTo>
                    <a:pt x="1214" y="2938"/>
                    <a:pt x="1217" y="2933"/>
                    <a:pt x="1219" y="2933"/>
                  </a:cubicBezTo>
                  <a:cubicBezTo>
                    <a:pt x="1228" y="2936"/>
                    <a:pt x="1236" y="2938"/>
                    <a:pt x="1245" y="2938"/>
                  </a:cubicBezTo>
                  <a:cubicBezTo>
                    <a:pt x="1256" y="2941"/>
                    <a:pt x="1267" y="2941"/>
                    <a:pt x="1279" y="2944"/>
                  </a:cubicBezTo>
                  <a:cubicBezTo>
                    <a:pt x="1290" y="2947"/>
                    <a:pt x="1301" y="2947"/>
                    <a:pt x="1315" y="2947"/>
                  </a:cubicBezTo>
                  <a:cubicBezTo>
                    <a:pt x="1315" y="2947"/>
                    <a:pt x="1315" y="2950"/>
                    <a:pt x="1318" y="2950"/>
                  </a:cubicBezTo>
                  <a:cubicBezTo>
                    <a:pt x="1321" y="2950"/>
                    <a:pt x="1327" y="2953"/>
                    <a:pt x="1329" y="2953"/>
                  </a:cubicBezTo>
                  <a:lnTo>
                    <a:pt x="1352" y="2953"/>
                  </a:lnTo>
                  <a:cubicBezTo>
                    <a:pt x="1363" y="2953"/>
                    <a:pt x="1375" y="2955"/>
                    <a:pt x="1386" y="2955"/>
                  </a:cubicBezTo>
                  <a:cubicBezTo>
                    <a:pt x="1397" y="2955"/>
                    <a:pt x="1408" y="2958"/>
                    <a:pt x="1417" y="2958"/>
                  </a:cubicBezTo>
                  <a:cubicBezTo>
                    <a:pt x="1420" y="2958"/>
                    <a:pt x="1423" y="2964"/>
                    <a:pt x="1423" y="2964"/>
                  </a:cubicBezTo>
                  <a:cubicBezTo>
                    <a:pt x="1423" y="2961"/>
                    <a:pt x="1420" y="2961"/>
                    <a:pt x="1420" y="2958"/>
                  </a:cubicBezTo>
                  <a:lnTo>
                    <a:pt x="1425" y="2958"/>
                  </a:lnTo>
                  <a:cubicBezTo>
                    <a:pt x="1428" y="2958"/>
                    <a:pt x="1431" y="2961"/>
                    <a:pt x="1434" y="2964"/>
                  </a:cubicBezTo>
                  <a:lnTo>
                    <a:pt x="1462" y="2964"/>
                  </a:lnTo>
                  <a:cubicBezTo>
                    <a:pt x="1473" y="2964"/>
                    <a:pt x="1485" y="2964"/>
                    <a:pt x="1495" y="2958"/>
                  </a:cubicBezTo>
                  <a:lnTo>
                    <a:pt x="1498" y="2955"/>
                  </a:lnTo>
                  <a:lnTo>
                    <a:pt x="1517" y="2955"/>
                  </a:lnTo>
                  <a:lnTo>
                    <a:pt x="1517" y="2955"/>
                  </a:lnTo>
                  <a:lnTo>
                    <a:pt x="1520" y="2955"/>
                  </a:lnTo>
                  <a:lnTo>
                    <a:pt x="1520" y="2956"/>
                  </a:lnTo>
                  <a:cubicBezTo>
                    <a:pt x="1521" y="2957"/>
                    <a:pt x="1521" y="2958"/>
                    <a:pt x="1523" y="2958"/>
                  </a:cubicBezTo>
                  <a:lnTo>
                    <a:pt x="1526" y="2958"/>
                  </a:lnTo>
                  <a:lnTo>
                    <a:pt x="1526" y="2955"/>
                  </a:lnTo>
                  <a:lnTo>
                    <a:pt x="1563" y="2955"/>
                  </a:lnTo>
                  <a:cubicBezTo>
                    <a:pt x="1565" y="2955"/>
                    <a:pt x="1571" y="2953"/>
                    <a:pt x="1574" y="2953"/>
                  </a:cubicBezTo>
                  <a:cubicBezTo>
                    <a:pt x="1580" y="2955"/>
                    <a:pt x="1585" y="2961"/>
                    <a:pt x="1594" y="2964"/>
                  </a:cubicBezTo>
                  <a:cubicBezTo>
                    <a:pt x="1598" y="2965"/>
                    <a:pt x="1602" y="2967"/>
                    <a:pt x="1607" y="2968"/>
                  </a:cubicBezTo>
                  <a:cubicBezTo>
                    <a:pt x="1601" y="2965"/>
                    <a:pt x="1596" y="2962"/>
                    <a:pt x="1591" y="2958"/>
                  </a:cubicBezTo>
                  <a:cubicBezTo>
                    <a:pt x="1596" y="2958"/>
                    <a:pt x="1599" y="2961"/>
                    <a:pt x="1605" y="2961"/>
                  </a:cubicBezTo>
                  <a:cubicBezTo>
                    <a:pt x="1605" y="2958"/>
                    <a:pt x="1605" y="2955"/>
                    <a:pt x="1599" y="2955"/>
                  </a:cubicBezTo>
                  <a:cubicBezTo>
                    <a:pt x="1602" y="2953"/>
                    <a:pt x="1608" y="2953"/>
                    <a:pt x="1608" y="2958"/>
                  </a:cubicBezTo>
                  <a:lnTo>
                    <a:pt x="1639" y="2958"/>
                  </a:lnTo>
                  <a:cubicBezTo>
                    <a:pt x="1650" y="2958"/>
                    <a:pt x="1661" y="2953"/>
                    <a:pt x="1673" y="2953"/>
                  </a:cubicBezTo>
                  <a:cubicBezTo>
                    <a:pt x="1676" y="2953"/>
                    <a:pt x="1679" y="2954"/>
                    <a:pt x="1682" y="2954"/>
                  </a:cubicBezTo>
                  <a:cubicBezTo>
                    <a:pt x="1683" y="2953"/>
                    <a:pt x="1683" y="2953"/>
                    <a:pt x="1684" y="2953"/>
                  </a:cubicBezTo>
                  <a:cubicBezTo>
                    <a:pt x="1690" y="2950"/>
                    <a:pt x="1698" y="2947"/>
                    <a:pt x="1701" y="2944"/>
                  </a:cubicBezTo>
                  <a:lnTo>
                    <a:pt x="1704" y="2944"/>
                  </a:lnTo>
                  <a:cubicBezTo>
                    <a:pt x="1709" y="2944"/>
                    <a:pt x="1715" y="2938"/>
                    <a:pt x="1723" y="2938"/>
                  </a:cubicBezTo>
                  <a:cubicBezTo>
                    <a:pt x="1729" y="2941"/>
                    <a:pt x="1738" y="2944"/>
                    <a:pt x="1743" y="2947"/>
                  </a:cubicBezTo>
                  <a:cubicBezTo>
                    <a:pt x="1757" y="2950"/>
                    <a:pt x="1771" y="2950"/>
                    <a:pt x="1786" y="2944"/>
                  </a:cubicBezTo>
                  <a:cubicBezTo>
                    <a:pt x="1800" y="2941"/>
                    <a:pt x="1814" y="2933"/>
                    <a:pt x="1825" y="2919"/>
                  </a:cubicBezTo>
                  <a:cubicBezTo>
                    <a:pt x="1831" y="2919"/>
                    <a:pt x="1836" y="2916"/>
                    <a:pt x="1842" y="2916"/>
                  </a:cubicBezTo>
                  <a:lnTo>
                    <a:pt x="1876" y="2907"/>
                  </a:lnTo>
                  <a:cubicBezTo>
                    <a:pt x="1884" y="2905"/>
                    <a:pt x="1890" y="2902"/>
                    <a:pt x="1898" y="2902"/>
                  </a:cubicBezTo>
                  <a:cubicBezTo>
                    <a:pt x="1907" y="2905"/>
                    <a:pt x="1918" y="2907"/>
                    <a:pt x="1927" y="2907"/>
                  </a:cubicBezTo>
                  <a:cubicBezTo>
                    <a:pt x="1941" y="2905"/>
                    <a:pt x="1955" y="2899"/>
                    <a:pt x="1966" y="2890"/>
                  </a:cubicBezTo>
                  <a:cubicBezTo>
                    <a:pt x="1975" y="2888"/>
                    <a:pt x="1980" y="2882"/>
                    <a:pt x="1989" y="2876"/>
                  </a:cubicBezTo>
                  <a:cubicBezTo>
                    <a:pt x="1994" y="2874"/>
                    <a:pt x="2000" y="2868"/>
                    <a:pt x="2006" y="2868"/>
                  </a:cubicBezTo>
                  <a:cubicBezTo>
                    <a:pt x="2003" y="2874"/>
                    <a:pt x="2000" y="2876"/>
                    <a:pt x="1997" y="2882"/>
                  </a:cubicBezTo>
                  <a:cubicBezTo>
                    <a:pt x="1977" y="2902"/>
                    <a:pt x="1952" y="2916"/>
                    <a:pt x="1921" y="2919"/>
                  </a:cubicBezTo>
                  <a:cubicBezTo>
                    <a:pt x="1946" y="2919"/>
                    <a:pt x="1972" y="2907"/>
                    <a:pt x="1991" y="2890"/>
                  </a:cubicBezTo>
                  <a:cubicBezTo>
                    <a:pt x="1997" y="2885"/>
                    <a:pt x="2003" y="2876"/>
                    <a:pt x="2008" y="2868"/>
                  </a:cubicBezTo>
                  <a:lnTo>
                    <a:pt x="2011" y="2868"/>
                  </a:lnTo>
                  <a:cubicBezTo>
                    <a:pt x="2020" y="2865"/>
                    <a:pt x="2025" y="2862"/>
                    <a:pt x="2034" y="2859"/>
                  </a:cubicBezTo>
                  <a:cubicBezTo>
                    <a:pt x="2048" y="2859"/>
                    <a:pt x="2059" y="2857"/>
                    <a:pt x="2073" y="2851"/>
                  </a:cubicBezTo>
                  <a:cubicBezTo>
                    <a:pt x="2087" y="2845"/>
                    <a:pt x="2099" y="2840"/>
                    <a:pt x="2107" y="2828"/>
                  </a:cubicBezTo>
                  <a:lnTo>
                    <a:pt x="2110" y="2828"/>
                  </a:lnTo>
                  <a:cubicBezTo>
                    <a:pt x="2121" y="2823"/>
                    <a:pt x="2130" y="2815"/>
                    <a:pt x="2141" y="2809"/>
                  </a:cubicBezTo>
                  <a:cubicBezTo>
                    <a:pt x="2152" y="2804"/>
                    <a:pt x="2164" y="2800"/>
                    <a:pt x="2172" y="2795"/>
                  </a:cubicBezTo>
                  <a:lnTo>
                    <a:pt x="2178" y="2795"/>
                  </a:lnTo>
                  <a:cubicBezTo>
                    <a:pt x="2192" y="2797"/>
                    <a:pt x="2206" y="2797"/>
                    <a:pt x="2217" y="2795"/>
                  </a:cubicBezTo>
                  <a:cubicBezTo>
                    <a:pt x="2231" y="2789"/>
                    <a:pt x="2245" y="2780"/>
                    <a:pt x="2254" y="2772"/>
                  </a:cubicBezTo>
                  <a:cubicBezTo>
                    <a:pt x="2265" y="2764"/>
                    <a:pt x="2274" y="2752"/>
                    <a:pt x="2279" y="2738"/>
                  </a:cubicBezTo>
                  <a:lnTo>
                    <a:pt x="2276" y="2735"/>
                  </a:lnTo>
                  <a:cubicBezTo>
                    <a:pt x="2282" y="2732"/>
                    <a:pt x="2291" y="2730"/>
                    <a:pt x="2296" y="2724"/>
                  </a:cubicBezTo>
                  <a:lnTo>
                    <a:pt x="2299" y="2721"/>
                  </a:lnTo>
                  <a:cubicBezTo>
                    <a:pt x="2293" y="2721"/>
                    <a:pt x="2291" y="2713"/>
                    <a:pt x="2291" y="2707"/>
                  </a:cubicBezTo>
                  <a:lnTo>
                    <a:pt x="2299" y="2707"/>
                  </a:lnTo>
                  <a:lnTo>
                    <a:pt x="2299" y="2721"/>
                  </a:lnTo>
                  <a:cubicBezTo>
                    <a:pt x="2308" y="2716"/>
                    <a:pt x="2313" y="2707"/>
                    <a:pt x="2322" y="2701"/>
                  </a:cubicBezTo>
                  <a:lnTo>
                    <a:pt x="2324" y="2704"/>
                  </a:lnTo>
                  <a:cubicBezTo>
                    <a:pt x="2339" y="2699"/>
                    <a:pt x="2347" y="2690"/>
                    <a:pt x="2355" y="2679"/>
                  </a:cubicBezTo>
                  <a:cubicBezTo>
                    <a:pt x="2361" y="2676"/>
                    <a:pt x="2364" y="2670"/>
                    <a:pt x="2370" y="2668"/>
                  </a:cubicBezTo>
                  <a:lnTo>
                    <a:pt x="2370" y="2670"/>
                  </a:lnTo>
                  <a:cubicBezTo>
                    <a:pt x="2364" y="2682"/>
                    <a:pt x="2355" y="2693"/>
                    <a:pt x="2344" y="2699"/>
                  </a:cubicBezTo>
                  <a:cubicBezTo>
                    <a:pt x="2358" y="2693"/>
                    <a:pt x="2370" y="2682"/>
                    <a:pt x="2375" y="2668"/>
                  </a:cubicBezTo>
                  <a:lnTo>
                    <a:pt x="2378" y="2665"/>
                  </a:lnTo>
                  <a:lnTo>
                    <a:pt x="2381" y="2665"/>
                  </a:lnTo>
                  <a:cubicBezTo>
                    <a:pt x="2384" y="2665"/>
                    <a:pt x="2387" y="2662"/>
                    <a:pt x="2387" y="2662"/>
                  </a:cubicBezTo>
                  <a:cubicBezTo>
                    <a:pt x="2395" y="2656"/>
                    <a:pt x="2401" y="2648"/>
                    <a:pt x="2409" y="2642"/>
                  </a:cubicBezTo>
                  <a:cubicBezTo>
                    <a:pt x="2415" y="2637"/>
                    <a:pt x="2418" y="2631"/>
                    <a:pt x="2426" y="2625"/>
                  </a:cubicBezTo>
                  <a:cubicBezTo>
                    <a:pt x="2426" y="2625"/>
                    <a:pt x="2429" y="2628"/>
                    <a:pt x="2429" y="2625"/>
                  </a:cubicBezTo>
                  <a:cubicBezTo>
                    <a:pt x="2434" y="2625"/>
                    <a:pt x="2440" y="2622"/>
                    <a:pt x="2446" y="2622"/>
                  </a:cubicBezTo>
                  <a:cubicBezTo>
                    <a:pt x="2460" y="2620"/>
                    <a:pt x="2471" y="2614"/>
                    <a:pt x="2482" y="2606"/>
                  </a:cubicBezTo>
                  <a:cubicBezTo>
                    <a:pt x="2494" y="2597"/>
                    <a:pt x="2502" y="2586"/>
                    <a:pt x="2505" y="2572"/>
                  </a:cubicBezTo>
                  <a:cubicBezTo>
                    <a:pt x="2507" y="2565"/>
                    <a:pt x="2511" y="2558"/>
                    <a:pt x="2513" y="2552"/>
                  </a:cubicBezTo>
                  <a:cubicBezTo>
                    <a:pt x="2512" y="2552"/>
                    <a:pt x="2511" y="2552"/>
                    <a:pt x="2511" y="2552"/>
                  </a:cubicBezTo>
                  <a:cubicBezTo>
                    <a:pt x="2511" y="2551"/>
                    <a:pt x="2512" y="2551"/>
                    <a:pt x="2513" y="2550"/>
                  </a:cubicBezTo>
                  <a:cubicBezTo>
                    <a:pt x="2513" y="2549"/>
                    <a:pt x="2513" y="2547"/>
                    <a:pt x="2513" y="2546"/>
                  </a:cubicBezTo>
                  <a:lnTo>
                    <a:pt x="2513" y="2543"/>
                  </a:lnTo>
                  <a:cubicBezTo>
                    <a:pt x="2516" y="2541"/>
                    <a:pt x="2519" y="2541"/>
                    <a:pt x="2522" y="2538"/>
                  </a:cubicBezTo>
                  <a:lnTo>
                    <a:pt x="2519" y="2538"/>
                  </a:lnTo>
                  <a:cubicBezTo>
                    <a:pt x="2519" y="2535"/>
                    <a:pt x="2522" y="2535"/>
                    <a:pt x="2522" y="2538"/>
                  </a:cubicBezTo>
                  <a:cubicBezTo>
                    <a:pt x="2528" y="2532"/>
                    <a:pt x="2533" y="2527"/>
                    <a:pt x="2536" y="2521"/>
                  </a:cubicBezTo>
                  <a:cubicBezTo>
                    <a:pt x="2547" y="2518"/>
                    <a:pt x="2559" y="2510"/>
                    <a:pt x="2570" y="2501"/>
                  </a:cubicBezTo>
                  <a:cubicBezTo>
                    <a:pt x="2578" y="2490"/>
                    <a:pt x="2587" y="2479"/>
                    <a:pt x="2590" y="2467"/>
                  </a:cubicBezTo>
                  <a:cubicBezTo>
                    <a:pt x="2590" y="2465"/>
                    <a:pt x="2593" y="2465"/>
                    <a:pt x="2593" y="2462"/>
                  </a:cubicBezTo>
                  <a:lnTo>
                    <a:pt x="2593" y="2459"/>
                  </a:lnTo>
                  <a:lnTo>
                    <a:pt x="2587" y="2456"/>
                  </a:lnTo>
                  <a:cubicBezTo>
                    <a:pt x="2590" y="2448"/>
                    <a:pt x="2590" y="2439"/>
                    <a:pt x="2590" y="2431"/>
                  </a:cubicBezTo>
                  <a:cubicBezTo>
                    <a:pt x="2590" y="2422"/>
                    <a:pt x="2587" y="2414"/>
                    <a:pt x="2584" y="2405"/>
                  </a:cubicBezTo>
                  <a:cubicBezTo>
                    <a:pt x="2587" y="2405"/>
                    <a:pt x="2595" y="2408"/>
                    <a:pt x="2598" y="2408"/>
                  </a:cubicBezTo>
                  <a:lnTo>
                    <a:pt x="2601" y="2408"/>
                  </a:lnTo>
                  <a:cubicBezTo>
                    <a:pt x="2601" y="2411"/>
                    <a:pt x="2598" y="2414"/>
                    <a:pt x="2598" y="2417"/>
                  </a:cubicBezTo>
                  <a:lnTo>
                    <a:pt x="2604" y="2417"/>
                  </a:lnTo>
                  <a:cubicBezTo>
                    <a:pt x="2604" y="2419"/>
                    <a:pt x="2601" y="2419"/>
                    <a:pt x="2598" y="2422"/>
                  </a:cubicBezTo>
                  <a:lnTo>
                    <a:pt x="2598" y="2450"/>
                  </a:lnTo>
                  <a:cubicBezTo>
                    <a:pt x="2601" y="2445"/>
                    <a:pt x="2609" y="2442"/>
                    <a:pt x="2612" y="2436"/>
                  </a:cubicBezTo>
                  <a:cubicBezTo>
                    <a:pt x="2621" y="2428"/>
                    <a:pt x="2624" y="2414"/>
                    <a:pt x="2632" y="2405"/>
                  </a:cubicBezTo>
                  <a:lnTo>
                    <a:pt x="2638" y="2405"/>
                  </a:lnTo>
                  <a:cubicBezTo>
                    <a:pt x="2646" y="2402"/>
                    <a:pt x="2657" y="2397"/>
                    <a:pt x="2663" y="2391"/>
                  </a:cubicBezTo>
                  <a:cubicBezTo>
                    <a:pt x="2674" y="2386"/>
                    <a:pt x="2686" y="2374"/>
                    <a:pt x="2694" y="2363"/>
                  </a:cubicBezTo>
                  <a:cubicBezTo>
                    <a:pt x="2703" y="2346"/>
                    <a:pt x="2708" y="2326"/>
                    <a:pt x="2705" y="2307"/>
                  </a:cubicBezTo>
                  <a:cubicBezTo>
                    <a:pt x="2711" y="2298"/>
                    <a:pt x="2711" y="2290"/>
                    <a:pt x="2717" y="2284"/>
                  </a:cubicBezTo>
                  <a:lnTo>
                    <a:pt x="2719" y="2287"/>
                  </a:lnTo>
                  <a:cubicBezTo>
                    <a:pt x="2736" y="2278"/>
                    <a:pt x="2748" y="2264"/>
                    <a:pt x="2756" y="2247"/>
                  </a:cubicBezTo>
                  <a:cubicBezTo>
                    <a:pt x="2758" y="2245"/>
                    <a:pt x="2763" y="2245"/>
                    <a:pt x="2763" y="2248"/>
                  </a:cubicBezTo>
                  <a:cubicBezTo>
                    <a:pt x="2768" y="2238"/>
                    <a:pt x="2771" y="2228"/>
                    <a:pt x="2773" y="2216"/>
                  </a:cubicBezTo>
                  <a:cubicBezTo>
                    <a:pt x="2776" y="2208"/>
                    <a:pt x="2776" y="2199"/>
                    <a:pt x="2776" y="2188"/>
                  </a:cubicBezTo>
                  <a:lnTo>
                    <a:pt x="2793" y="2154"/>
                  </a:lnTo>
                  <a:cubicBezTo>
                    <a:pt x="2796" y="2151"/>
                    <a:pt x="2793" y="2143"/>
                    <a:pt x="2796" y="2140"/>
                  </a:cubicBezTo>
                  <a:cubicBezTo>
                    <a:pt x="2798" y="2140"/>
                    <a:pt x="2804" y="2137"/>
                    <a:pt x="2807" y="2134"/>
                  </a:cubicBezTo>
                  <a:cubicBezTo>
                    <a:pt x="2804" y="2134"/>
                    <a:pt x="2804" y="2132"/>
                    <a:pt x="2801" y="2129"/>
                  </a:cubicBezTo>
                  <a:cubicBezTo>
                    <a:pt x="2801" y="2126"/>
                    <a:pt x="2807" y="2123"/>
                    <a:pt x="2807" y="2120"/>
                  </a:cubicBezTo>
                  <a:lnTo>
                    <a:pt x="2804" y="2118"/>
                  </a:lnTo>
                  <a:cubicBezTo>
                    <a:pt x="2813" y="2115"/>
                    <a:pt x="2818" y="2118"/>
                    <a:pt x="2824" y="2126"/>
                  </a:cubicBezTo>
                  <a:cubicBezTo>
                    <a:pt x="2830" y="2120"/>
                    <a:pt x="2832" y="2118"/>
                    <a:pt x="2835" y="2112"/>
                  </a:cubicBezTo>
                  <a:cubicBezTo>
                    <a:pt x="2844" y="2101"/>
                    <a:pt x="2846" y="2087"/>
                    <a:pt x="2846" y="2072"/>
                  </a:cubicBezTo>
                  <a:cubicBezTo>
                    <a:pt x="2848" y="2069"/>
                    <a:pt x="2849" y="2066"/>
                    <a:pt x="2849" y="2063"/>
                  </a:cubicBezTo>
                  <a:cubicBezTo>
                    <a:pt x="2848" y="2064"/>
                    <a:pt x="2846" y="2064"/>
                    <a:pt x="2844" y="2064"/>
                  </a:cubicBezTo>
                  <a:cubicBezTo>
                    <a:pt x="2844" y="2061"/>
                    <a:pt x="2846" y="2058"/>
                    <a:pt x="2846" y="2056"/>
                  </a:cubicBezTo>
                  <a:cubicBezTo>
                    <a:pt x="2843" y="2053"/>
                    <a:pt x="2839" y="2051"/>
                    <a:pt x="2835" y="2053"/>
                  </a:cubicBezTo>
                  <a:cubicBezTo>
                    <a:pt x="2838" y="2047"/>
                    <a:pt x="2838" y="2041"/>
                    <a:pt x="2838" y="2039"/>
                  </a:cubicBezTo>
                  <a:cubicBezTo>
                    <a:pt x="2841" y="2039"/>
                    <a:pt x="2844" y="2041"/>
                    <a:pt x="2846" y="2041"/>
                  </a:cubicBezTo>
                  <a:cubicBezTo>
                    <a:pt x="2846" y="2039"/>
                    <a:pt x="2846" y="2039"/>
                    <a:pt x="2844" y="2036"/>
                  </a:cubicBezTo>
                  <a:lnTo>
                    <a:pt x="2844" y="2030"/>
                  </a:lnTo>
                  <a:cubicBezTo>
                    <a:pt x="2844" y="2027"/>
                    <a:pt x="2844" y="2022"/>
                    <a:pt x="2846" y="2019"/>
                  </a:cubicBezTo>
                  <a:cubicBezTo>
                    <a:pt x="2846" y="2016"/>
                    <a:pt x="2849" y="2016"/>
                    <a:pt x="2849" y="2013"/>
                  </a:cubicBezTo>
                  <a:cubicBezTo>
                    <a:pt x="2858" y="2008"/>
                    <a:pt x="2866" y="1999"/>
                    <a:pt x="2875" y="1991"/>
                  </a:cubicBezTo>
                  <a:cubicBezTo>
                    <a:pt x="2877" y="1988"/>
                    <a:pt x="2875" y="1985"/>
                    <a:pt x="2877" y="1982"/>
                  </a:cubicBezTo>
                  <a:lnTo>
                    <a:pt x="2869" y="1982"/>
                  </a:lnTo>
                  <a:cubicBezTo>
                    <a:pt x="2866" y="1979"/>
                    <a:pt x="2866" y="1977"/>
                    <a:pt x="2866" y="1974"/>
                  </a:cubicBezTo>
                  <a:cubicBezTo>
                    <a:pt x="2868" y="1972"/>
                    <a:pt x="2874" y="1971"/>
                    <a:pt x="2877" y="1973"/>
                  </a:cubicBezTo>
                  <a:lnTo>
                    <a:pt x="2877" y="1974"/>
                  </a:lnTo>
                  <a:lnTo>
                    <a:pt x="2877" y="1973"/>
                  </a:lnTo>
                  <a:cubicBezTo>
                    <a:pt x="2879" y="1973"/>
                    <a:pt x="2880" y="1975"/>
                    <a:pt x="2880" y="1977"/>
                  </a:cubicBezTo>
                  <a:cubicBezTo>
                    <a:pt x="2892" y="1960"/>
                    <a:pt x="2897" y="1943"/>
                    <a:pt x="2897" y="1923"/>
                  </a:cubicBezTo>
                  <a:cubicBezTo>
                    <a:pt x="2897" y="1912"/>
                    <a:pt x="2892" y="1900"/>
                    <a:pt x="2889" y="1892"/>
                  </a:cubicBezTo>
                  <a:cubicBezTo>
                    <a:pt x="2889" y="1886"/>
                    <a:pt x="2892" y="1883"/>
                    <a:pt x="2894" y="1878"/>
                  </a:cubicBezTo>
                  <a:lnTo>
                    <a:pt x="2894" y="1875"/>
                  </a:lnTo>
                  <a:lnTo>
                    <a:pt x="2886" y="1883"/>
                  </a:lnTo>
                  <a:cubicBezTo>
                    <a:pt x="2883" y="1883"/>
                    <a:pt x="2880" y="1883"/>
                    <a:pt x="2880" y="1886"/>
                  </a:cubicBezTo>
                  <a:cubicBezTo>
                    <a:pt x="2880" y="1884"/>
                    <a:pt x="2882" y="1884"/>
                    <a:pt x="2884" y="1882"/>
                  </a:cubicBezTo>
                  <a:lnTo>
                    <a:pt x="2886" y="1883"/>
                  </a:lnTo>
                  <a:lnTo>
                    <a:pt x="2884" y="1882"/>
                  </a:lnTo>
                  <a:cubicBezTo>
                    <a:pt x="2885" y="1882"/>
                    <a:pt x="2885" y="1881"/>
                    <a:pt x="2886" y="1881"/>
                  </a:cubicBezTo>
                  <a:cubicBezTo>
                    <a:pt x="2886" y="1878"/>
                    <a:pt x="2880" y="1875"/>
                    <a:pt x="2880" y="1872"/>
                  </a:cubicBezTo>
                  <a:cubicBezTo>
                    <a:pt x="2886" y="1869"/>
                    <a:pt x="2894" y="1864"/>
                    <a:pt x="2894" y="1861"/>
                  </a:cubicBezTo>
                  <a:cubicBezTo>
                    <a:pt x="2894" y="1861"/>
                    <a:pt x="2897" y="1864"/>
                    <a:pt x="2897" y="1866"/>
                  </a:cubicBezTo>
                  <a:cubicBezTo>
                    <a:pt x="2900" y="1861"/>
                    <a:pt x="2897" y="1852"/>
                    <a:pt x="2900" y="1847"/>
                  </a:cubicBezTo>
                  <a:lnTo>
                    <a:pt x="2909" y="1847"/>
                  </a:lnTo>
                  <a:cubicBezTo>
                    <a:pt x="2914" y="1844"/>
                    <a:pt x="2917" y="1841"/>
                    <a:pt x="2923" y="1835"/>
                  </a:cubicBezTo>
                  <a:cubicBezTo>
                    <a:pt x="2924" y="1833"/>
                    <a:pt x="2926" y="1831"/>
                    <a:pt x="2927" y="1829"/>
                  </a:cubicBezTo>
                  <a:cubicBezTo>
                    <a:pt x="2923" y="1830"/>
                    <a:pt x="2919" y="1830"/>
                    <a:pt x="2917" y="1833"/>
                  </a:cubicBezTo>
                  <a:cubicBezTo>
                    <a:pt x="2917" y="1827"/>
                    <a:pt x="2920" y="1821"/>
                    <a:pt x="2923" y="1816"/>
                  </a:cubicBezTo>
                  <a:cubicBezTo>
                    <a:pt x="2920" y="1819"/>
                    <a:pt x="2920" y="1816"/>
                    <a:pt x="2920" y="1816"/>
                  </a:cubicBezTo>
                  <a:cubicBezTo>
                    <a:pt x="2914" y="1813"/>
                    <a:pt x="2920" y="1813"/>
                    <a:pt x="2923" y="1813"/>
                  </a:cubicBezTo>
                  <a:cubicBezTo>
                    <a:pt x="2920" y="1804"/>
                    <a:pt x="2909" y="1796"/>
                    <a:pt x="2923" y="1790"/>
                  </a:cubicBezTo>
                  <a:lnTo>
                    <a:pt x="2925" y="1793"/>
                  </a:lnTo>
                  <a:lnTo>
                    <a:pt x="2923" y="1793"/>
                  </a:lnTo>
                  <a:lnTo>
                    <a:pt x="2930" y="1823"/>
                  </a:lnTo>
                  <a:cubicBezTo>
                    <a:pt x="2933" y="1815"/>
                    <a:pt x="2935" y="1808"/>
                    <a:pt x="2937" y="1799"/>
                  </a:cubicBezTo>
                  <a:cubicBezTo>
                    <a:pt x="2942" y="1788"/>
                    <a:pt x="2942" y="1773"/>
                    <a:pt x="2940" y="1759"/>
                  </a:cubicBezTo>
                  <a:lnTo>
                    <a:pt x="2934" y="1759"/>
                  </a:lnTo>
                  <a:cubicBezTo>
                    <a:pt x="2934" y="1759"/>
                    <a:pt x="2937" y="1756"/>
                    <a:pt x="2934" y="1756"/>
                  </a:cubicBezTo>
                  <a:lnTo>
                    <a:pt x="2934" y="1754"/>
                  </a:lnTo>
                  <a:cubicBezTo>
                    <a:pt x="2931" y="1745"/>
                    <a:pt x="2925" y="1737"/>
                    <a:pt x="2920" y="1728"/>
                  </a:cubicBezTo>
                  <a:cubicBezTo>
                    <a:pt x="2920" y="1720"/>
                    <a:pt x="2923" y="1711"/>
                    <a:pt x="2923" y="1703"/>
                  </a:cubicBezTo>
                  <a:cubicBezTo>
                    <a:pt x="2923" y="1697"/>
                    <a:pt x="2928" y="1692"/>
                    <a:pt x="2928" y="1683"/>
                  </a:cubicBezTo>
                  <a:lnTo>
                    <a:pt x="2928" y="1680"/>
                  </a:lnTo>
                  <a:lnTo>
                    <a:pt x="2928" y="1675"/>
                  </a:lnTo>
                  <a:cubicBezTo>
                    <a:pt x="2934" y="1661"/>
                    <a:pt x="2934" y="1646"/>
                    <a:pt x="2931" y="1632"/>
                  </a:cubicBezTo>
                  <a:lnTo>
                    <a:pt x="2928" y="1632"/>
                  </a:lnTo>
                  <a:cubicBezTo>
                    <a:pt x="2928" y="1627"/>
                    <a:pt x="2931" y="1618"/>
                    <a:pt x="2931" y="1613"/>
                  </a:cubicBezTo>
                  <a:cubicBezTo>
                    <a:pt x="2931" y="1610"/>
                    <a:pt x="2934" y="1610"/>
                    <a:pt x="2934" y="1607"/>
                  </a:cubicBezTo>
                  <a:lnTo>
                    <a:pt x="2934" y="1599"/>
                  </a:lnTo>
                  <a:lnTo>
                    <a:pt x="2934" y="1573"/>
                  </a:lnTo>
                  <a:cubicBezTo>
                    <a:pt x="2931" y="1576"/>
                    <a:pt x="2928" y="1576"/>
                    <a:pt x="2925" y="1573"/>
                  </a:cubicBezTo>
                  <a:cubicBezTo>
                    <a:pt x="2928" y="1565"/>
                    <a:pt x="2931" y="1567"/>
                    <a:pt x="2934" y="1562"/>
                  </a:cubicBezTo>
                  <a:lnTo>
                    <a:pt x="2931" y="1562"/>
                  </a:lnTo>
                  <a:lnTo>
                    <a:pt x="2931" y="1531"/>
                  </a:lnTo>
                  <a:lnTo>
                    <a:pt x="2931" y="1500"/>
                  </a:lnTo>
                  <a:cubicBezTo>
                    <a:pt x="2931" y="1497"/>
                    <a:pt x="2931" y="1494"/>
                    <a:pt x="2934" y="1494"/>
                  </a:cubicBezTo>
                  <a:lnTo>
                    <a:pt x="2934" y="1461"/>
                  </a:lnTo>
                  <a:cubicBezTo>
                    <a:pt x="2934" y="1453"/>
                    <a:pt x="2937" y="1447"/>
                    <a:pt x="2934" y="1439"/>
                  </a:cubicBezTo>
                  <a:cubicBezTo>
                    <a:pt x="2928" y="1442"/>
                    <a:pt x="2925" y="1442"/>
                    <a:pt x="2920" y="1442"/>
                  </a:cubicBezTo>
                  <a:cubicBezTo>
                    <a:pt x="2920" y="1433"/>
                    <a:pt x="2925" y="1433"/>
                    <a:pt x="2928" y="1433"/>
                  </a:cubicBezTo>
                  <a:cubicBezTo>
                    <a:pt x="2962" y="1439"/>
                    <a:pt x="2973" y="1453"/>
                    <a:pt x="2982" y="1467"/>
                  </a:cubicBezTo>
                  <a:close/>
                  <a:moveTo>
                    <a:pt x="2875" y="982"/>
                  </a:moveTo>
                  <a:cubicBezTo>
                    <a:pt x="2886" y="993"/>
                    <a:pt x="2897" y="1007"/>
                    <a:pt x="2903" y="1021"/>
                  </a:cubicBezTo>
                  <a:cubicBezTo>
                    <a:pt x="2906" y="1033"/>
                    <a:pt x="2909" y="1044"/>
                    <a:pt x="2909" y="1055"/>
                  </a:cubicBezTo>
                  <a:cubicBezTo>
                    <a:pt x="2909" y="1044"/>
                    <a:pt x="2906" y="1033"/>
                    <a:pt x="2900" y="1021"/>
                  </a:cubicBezTo>
                  <a:cubicBezTo>
                    <a:pt x="2894" y="1007"/>
                    <a:pt x="2886" y="996"/>
                    <a:pt x="2877" y="987"/>
                  </a:cubicBezTo>
                  <a:cubicBezTo>
                    <a:pt x="2872" y="982"/>
                    <a:pt x="2866" y="976"/>
                    <a:pt x="2859" y="971"/>
                  </a:cubicBezTo>
                  <a:cubicBezTo>
                    <a:pt x="2864" y="974"/>
                    <a:pt x="2869" y="978"/>
                    <a:pt x="2875" y="982"/>
                  </a:cubicBezTo>
                  <a:close/>
                  <a:moveTo>
                    <a:pt x="2528" y="466"/>
                  </a:moveTo>
                  <a:lnTo>
                    <a:pt x="2528" y="466"/>
                  </a:lnTo>
                  <a:cubicBezTo>
                    <a:pt x="2530" y="466"/>
                    <a:pt x="2530" y="466"/>
                    <a:pt x="2533" y="463"/>
                  </a:cubicBezTo>
                  <a:cubicBezTo>
                    <a:pt x="2536" y="463"/>
                    <a:pt x="2539" y="464"/>
                    <a:pt x="2540" y="467"/>
                  </a:cubicBezTo>
                  <a:cubicBezTo>
                    <a:pt x="2536" y="466"/>
                    <a:pt x="2532" y="466"/>
                    <a:pt x="2528" y="466"/>
                  </a:cubicBezTo>
                  <a:close/>
                  <a:moveTo>
                    <a:pt x="2486" y="415"/>
                  </a:moveTo>
                  <a:cubicBezTo>
                    <a:pt x="2488" y="415"/>
                    <a:pt x="2488" y="418"/>
                    <a:pt x="2491" y="418"/>
                  </a:cubicBezTo>
                  <a:lnTo>
                    <a:pt x="2491" y="426"/>
                  </a:lnTo>
                  <a:cubicBezTo>
                    <a:pt x="2490" y="425"/>
                    <a:pt x="2489" y="423"/>
                    <a:pt x="2488" y="420"/>
                  </a:cubicBezTo>
                  <a:cubicBezTo>
                    <a:pt x="2488" y="419"/>
                    <a:pt x="2487" y="417"/>
                    <a:pt x="2486" y="416"/>
                  </a:cubicBezTo>
                  <a:cubicBezTo>
                    <a:pt x="2486" y="415"/>
                    <a:pt x="2486" y="415"/>
                    <a:pt x="2486" y="415"/>
                  </a:cubicBezTo>
                  <a:close/>
                  <a:moveTo>
                    <a:pt x="768" y="212"/>
                  </a:moveTo>
                  <a:lnTo>
                    <a:pt x="765" y="209"/>
                  </a:lnTo>
                  <a:cubicBezTo>
                    <a:pt x="766" y="208"/>
                    <a:pt x="768" y="208"/>
                    <a:pt x="769" y="208"/>
                  </a:cubicBezTo>
                  <a:cubicBezTo>
                    <a:pt x="769" y="209"/>
                    <a:pt x="769" y="211"/>
                    <a:pt x="768" y="212"/>
                  </a:cubicBezTo>
                  <a:close/>
                  <a:moveTo>
                    <a:pt x="463" y="463"/>
                  </a:moveTo>
                  <a:lnTo>
                    <a:pt x="460" y="463"/>
                  </a:lnTo>
                  <a:cubicBezTo>
                    <a:pt x="461" y="462"/>
                    <a:pt x="462" y="461"/>
                    <a:pt x="464" y="462"/>
                  </a:cubicBezTo>
                  <a:cubicBezTo>
                    <a:pt x="464" y="462"/>
                    <a:pt x="463" y="462"/>
                    <a:pt x="463" y="463"/>
                  </a:cubicBezTo>
                  <a:close/>
                  <a:moveTo>
                    <a:pt x="412" y="502"/>
                  </a:moveTo>
                  <a:cubicBezTo>
                    <a:pt x="411" y="503"/>
                    <a:pt x="409" y="504"/>
                    <a:pt x="408" y="505"/>
                  </a:cubicBezTo>
                  <a:cubicBezTo>
                    <a:pt x="408" y="504"/>
                    <a:pt x="409" y="503"/>
                    <a:pt x="410" y="502"/>
                  </a:cubicBezTo>
                  <a:cubicBezTo>
                    <a:pt x="412" y="499"/>
                    <a:pt x="415" y="499"/>
                    <a:pt x="421" y="499"/>
                  </a:cubicBezTo>
                  <a:lnTo>
                    <a:pt x="421" y="501"/>
                  </a:lnTo>
                  <a:cubicBezTo>
                    <a:pt x="418" y="502"/>
                    <a:pt x="415" y="502"/>
                    <a:pt x="412" y="502"/>
                  </a:cubicBezTo>
                  <a:close/>
                  <a:moveTo>
                    <a:pt x="195" y="777"/>
                  </a:moveTo>
                  <a:cubicBezTo>
                    <a:pt x="195" y="776"/>
                    <a:pt x="195" y="776"/>
                    <a:pt x="195" y="776"/>
                  </a:cubicBezTo>
                  <a:lnTo>
                    <a:pt x="195" y="776"/>
                  </a:lnTo>
                  <a:cubicBezTo>
                    <a:pt x="195" y="776"/>
                    <a:pt x="195" y="776"/>
                    <a:pt x="195" y="777"/>
                  </a:cubicBezTo>
                  <a:close/>
                  <a:moveTo>
                    <a:pt x="193" y="783"/>
                  </a:moveTo>
                  <a:cubicBezTo>
                    <a:pt x="194" y="781"/>
                    <a:pt x="195" y="780"/>
                    <a:pt x="195" y="777"/>
                  </a:cubicBezTo>
                  <a:cubicBezTo>
                    <a:pt x="194" y="779"/>
                    <a:pt x="194" y="781"/>
                    <a:pt x="193" y="783"/>
                  </a:cubicBezTo>
                  <a:close/>
                  <a:moveTo>
                    <a:pt x="192" y="785"/>
                  </a:moveTo>
                  <a:cubicBezTo>
                    <a:pt x="193" y="784"/>
                    <a:pt x="193" y="784"/>
                    <a:pt x="193" y="783"/>
                  </a:cubicBezTo>
                  <a:cubicBezTo>
                    <a:pt x="193" y="784"/>
                    <a:pt x="193" y="784"/>
                    <a:pt x="192" y="785"/>
                  </a:cubicBezTo>
                  <a:close/>
                  <a:moveTo>
                    <a:pt x="185" y="831"/>
                  </a:moveTo>
                  <a:cubicBezTo>
                    <a:pt x="185" y="831"/>
                    <a:pt x="185" y="832"/>
                    <a:pt x="184" y="832"/>
                  </a:cubicBezTo>
                  <a:cubicBezTo>
                    <a:pt x="176" y="835"/>
                    <a:pt x="169" y="839"/>
                    <a:pt x="161" y="844"/>
                  </a:cubicBezTo>
                  <a:cubicBezTo>
                    <a:pt x="160" y="845"/>
                    <a:pt x="158" y="846"/>
                    <a:pt x="156" y="848"/>
                  </a:cubicBezTo>
                  <a:cubicBezTo>
                    <a:pt x="165" y="839"/>
                    <a:pt x="175" y="832"/>
                    <a:pt x="187" y="827"/>
                  </a:cubicBezTo>
                  <a:cubicBezTo>
                    <a:pt x="185" y="828"/>
                    <a:pt x="185" y="829"/>
                    <a:pt x="185" y="831"/>
                  </a:cubicBezTo>
                  <a:close/>
                  <a:moveTo>
                    <a:pt x="29" y="1218"/>
                  </a:moveTo>
                  <a:lnTo>
                    <a:pt x="29" y="1219"/>
                  </a:lnTo>
                  <a:cubicBezTo>
                    <a:pt x="26" y="1213"/>
                    <a:pt x="26" y="1207"/>
                    <a:pt x="26" y="1205"/>
                  </a:cubicBezTo>
                  <a:cubicBezTo>
                    <a:pt x="26" y="1205"/>
                    <a:pt x="27" y="1204"/>
                    <a:pt x="28" y="1204"/>
                  </a:cubicBezTo>
                  <a:cubicBezTo>
                    <a:pt x="28" y="1209"/>
                    <a:pt x="28" y="1214"/>
                    <a:pt x="29" y="1218"/>
                  </a:cubicBezTo>
                  <a:close/>
                  <a:moveTo>
                    <a:pt x="3" y="1357"/>
                  </a:moveTo>
                  <a:cubicBezTo>
                    <a:pt x="5" y="1362"/>
                    <a:pt x="7" y="1366"/>
                    <a:pt x="9" y="1370"/>
                  </a:cubicBezTo>
                  <a:cubicBezTo>
                    <a:pt x="5" y="1366"/>
                    <a:pt x="3" y="1361"/>
                    <a:pt x="3" y="1357"/>
                  </a:cubicBezTo>
                  <a:close/>
                  <a:moveTo>
                    <a:pt x="29" y="1548"/>
                  </a:moveTo>
                  <a:lnTo>
                    <a:pt x="31" y="1551"/>
                  </a:lnTo>
                  <a:lnTo>
                    <a:pt x="24" y="1543"/>
                  </a:lnTo>
                  <a:lnTo>
                    <a:pt x="24" y="1543"/>
                  </a:lnTo>
                  <a:cubicBezTo>
                    <a:pt x="25" y="1544"/>
                    <a:pt x="27" y="1546"/>
                    <a:pt x="29" y="1547"/>
                  </a:cubicBezTo>
                  <a:lnTo>
                    <a:pt x="29" y="1548"/>
                  </a:lnTo>
                  <a:close/>
                  <a:moveTo>
                    <a:pt x="23" y="1542"/>
                  </a:moveTo>
                  <a:lnTo>
                    <a:pt x="20" y="1545"/>
                  </a:lnTo>
                  <a:cubicBezTo>
                    <a:pt x="20" y="1545"/>
                    <a:pt x="22" y="1544"/>
                    <a:pt x="24" y="1543"/>
                  </a:cubicBezTo>
                  <a:lnTo>
                    <a:pt x="23" y="1542"/>
                  </a:lnTo>
                  <a:close/>
                  <a:moveTo>
                    <a:pt x="26" y="1539"/>
                  </a:moveTo>
                  <a:lnTo>
                    <a:pt x="20" y="1534"/>
                  </a:lnTo>
                  <a:lnTo>
                    <a:pt x="20" y="1539"/>
                  </a:lnTo>
                  <a:cubicBezTo>
                    <a:pt x="21" y="1541"/>
                    <a:pt x="23" y="1542"/>
                    <a:pt x="24" y="1543"/>
                  </a:cubicBezTo>
                  <a:cubicBezTo>
                    <a:pt x="25" y="1542"/>
                    <a:pt x="26" y="1540"/>
                    <a:pt x="26" y="1539"/>
                  </a:cubicBezTo>
                  <a:close/>
                  <a:moveTo>
                    <a:pt x="31" y="1570"/>
                  </a:moveTo>
                  <a:cubicBezTo>
                    <a:pt x="31" y="1569"/>
                    <a:pt x="31" y="1567"/>
                    <a:pt x="32" y="1566"/>
                  </a:cubicBezTo>
                  <a:cubicBezTo>
                    <a:pt x="32" y="1567"/>
                    <a:pt x="31" y="1569"/>
                    <a:pt x="31" y="1570"/>
                  </a:cubicBezTo>
                  <a:close/>
                  <a:moveTo>
                    <a:pt x="26" y="1593"/>
                  </a:moveTo>
                  <a:cubicBezTo>
                    <a:pt x="20" y="1601"/>
                    <a:pt x="15" y="1613"/>
                    <a:pt x="15" y="1624"/>
                  </a:cubicBezTo>
                  <a:cubicBezTo>
                    <a:pt x="12" y="1635"/>
                    <a:pt x="12" y="1646"/>
                    <a:pt x="17" y="1658"/>
                  </a:cubicBezTo>
                  <a:cubicBezTo>
                    <a:pt x="21" y="1669"/>
                    <a:pt x="26" y="1679"/>
                    <a:pt x="32" y="1688"/>
                  </a:cubicBezTo>
                  <a:cubicBezTo>
                    <a:pt x="32" y="1689"/>
                    <a:pt x="31" y="1690"/>
                    <a:pt x="31" y="1692"/>
                  </a:cubicBezTo>
                  <a:cubicBezTo>
                    <a:pt x="26" y="1686"/>
                    <a:pt x="23" y="1675"/>
                    <a:pt x="17" y="1666"/>
                  </a:cubicBezTo>
                  <a:cubicBezTo>
                    <a:pt x="12" y="1666"/>
                    <a:pt x="9" y="1663"/>
                    <a:pt x="3" y="1661"/>
                  </a:cubicBezTo>
                  <a:cubicBezTo>
                    <a:pt x="0" y="1649"/>
                    <a:pt x="3" y="1638"/>
                    <a:pt x="6" y="1627"/>
                  </a:cubicBezTo>
                  <a:cubicBezTo>
                    <a:pt x="9" y="1615"/>
                    <a:pt x="15" y="1604"/>
                    <a:pt x="20" y="1596"/>
                  </a:cubicBezTo>
                  <a:cubicBezTo>
                    <a:pt x="29" y="1584"/>
                    <a:pt x="37" y="1576"/>
                    <a:pt x="46" y="1567"/>
                  </a:cubicBezTo>
                  <a:cubicBezTo>
                    <a:pt x="37" y="1576"/>
                    <a:pt x="31" y="1582"/>
                    <a:pt x="26" y="1593"/>
                  </a:cubicBezTo>
                  <a:close/>
                  <a:moveTo>
                    <a:pt x="72" y="1855"/>
                  </a:moveTo>
                  <a:lnTo>
                    <a:pt x="71" y="1855"/>
                  </a:lnTo>
                  <a:lnTo>
                    <a:pt x="71" y="1852"/>
                  </a:lnTo>
                  <a:cubicBezTo>
                    <a:pt x="71" y="1853"/>
                    <a:pt x="72" y="1854"/>
                    <a:pt x="72" y="1855"/>
                  </a:cubicBezTo>
                  <a:close/>
                  <a:moveTo>
                    <a:pt x="325" y="2391"/>
                  </a:moveTo>
                  <a:cubicBezTo>
                    <a:pt x="323" y="2390"/>
                    <a:pt x="321" y="2389"/>
                    <a:pt x="319" y="2388"/>
                  </a:cubicBezTo>
                  <a:cubicBezTo>
                    <a:pt x="321" y="2389"/>
                    <a:pt x="323" y="2390"/>
                    <a:pt x="325" y="2391"/>
                  </a:cubicBezTo>
                  <a:close/>
                  <a:moveTo>
                    <a:pt x="311" y="2383"/>
                  </a:moveTo>
                  <a:cubicBezTo>
                    <a:pt x="310" y="2382"/>
                    <a:pt x="308" y="2381"/>
                    <a:pt x="307" y="2381"/>
                  </a:cubicBezTo>
                  <a:cubicBezTo>
                    <a:pt x="309" y="2382"/>
                    <a:pt x="311" y="2384"/>
                    <a:pt x="314" y="2386"/>
                  </a:cubicBezTo>
                  <a:cubicBezTo>
                    <a:pt x="316" y="2386"/>
                    <a:pt x="317" y="2387"/>
                    <a:pt x="319" y="2388"/>
                  </a:cubicBezTo>
                  <a:cubicBezTo>
                    <a:pt x="316" y="2386"/>
                    <a:pt x="313" y="2385"/>
                    <a:pt x="311" y="2383"/>
                  </a:cubicBezTo>
                  <a:close/>
                  <a:moveTo>
                    <a:pt x="296" y="2371"/>
                  </a:moveTo>
                  <a:cubicBezTo>
                    <a:pt x="300" y="2375"/>
                    <a:pt x="303" y="2378"/>
                    <a:pt x="307" y="2381"/>
                  </a:cubicBezTo>
                  <a:cubicBezTo>
                    <a:pt x="303" y="2378"/>
                    <a:pt x="300" y="2375"/>
                    <a:pt x="296" y="2371"/>
                  </a:cubicBezTo>
                  <a:close/>
                  <a:moveTo>
                    <a:pt x="283" y="2354"/>
                  </a:moveTo>
                  <a:cubicBezTo>
                    <a:pt x="287" y="2361"/>
                    <a:pt x="291" y="2367"/>
                    <a:pt x="296" y="2371"/>
                  </a:cubicBezTo>
                  <a:cubicBezTo>
                    <a:pt x="291" y="2366"/>
                    <a:pt x="287" y="2360"/>
                    <a:pt x="283" y="2354"/>
                  </a:cubicBezTo>
                  <a:close/>
                  <a:moveTo>
                    <a:pt x="826" y="2812"/>
                  </a:moveTo>
                  <a:cubicBezTo>
                    <a:pt x="825" y="2810"/>
                    <a:pt x="823" y="2808"/>
                    <a:pt x="821" y="2806"/>
                  </a:cubicBezTo>
                  <a:cubicBezTo>
                    <a:pt x="822" y="2806"/>
                    <a:pt x="823" y="2806"/>
                    <a:pt x="823" y="2806"/>
                  </a:cubicBezTo>
                  <a:cubicBezTo>
                    <a:pt x="824" y="2808"/>
                    <a:pt x="825" y="2810"/>
                    <a:pt x="826" y="2812"/>
                  </a:cubicBezTo>
                  <a:close/>
                  <a:moveTo>
                    <a:pt x="1195" y="2942"/>
                  </a:moveTo>
                  <a:cubicBezTo>
                    <a:pt x="1199" y="2943"/>
                    <a:pt x="1201" y="2948"/>
                    <a:pt x="1205" y="2950"/>
                  </a:cubicBezTo>
                  <a:cubicBezTo>
                    <a:pt x="1202" y="2950"/>
                    <a:pt x="1200" y="2950"/>
                    <a:pt x="1194" y="2953"/>
                  </a:cubicBezTo>
                  <a:cubicBezTo>
                    <a:pt x="1191" y="2950"/>
                    <a:pt x="1191" y="2947"/>
                    <a:pt x="1188" y="2944"/>
                  </a:cubicBezTo>
                  <a:cubicBezTo>
                    <a:pt x="1189" y="2944"/>
                    <a:pt x="1189" y="2943"/>
                    <a:pt x="1190" y="2943"/>
                  </a:cubicBezTo>
                  <a:cubicBezTo>
                    <a:pt x="1192" y="2943"/>
                    <a:pt x="1193" y="2943"/>
                    <a:pt x="1195" y="2942"/>
                  </a:cubicBezTo>
                  <a:close/>
                  <a:moveTo>
                    <a:pt x="1517" y="2958"/>
                  </a:moveTo>
                  <a:lnTo>
                    <a:pt x="1517" y="2955"/>
                  </a:lnTo>
                  <a:cubicBezTo>
                    <a:pt x="1518" y="2955"/>
                    <a:pt x="1519" y="2956"/>
                    <a:pt x="1520" y="2956"/>
                  </a:cubicBezTo>
                  <a:lnTo>
                    <a:pt x="1517" y="2958"/>
                  </a:lnTo>
                  <a:close/>
                  <a:moveTo>
                    <a:pt x="1642" y="2969"/>
                  </a:moveTo>
                  <a:cubicBezTo>
                    <a:pt x="1655" y="2967"/>
                    <a:pt x="1668" y="2962"/>
                    <a:pt x="1682" y="2954"/>
                  </a:cubicBezTo>
                  <a:cubicBezTo>
                    <a:pt x="1683" y="2954"/>
                    <a:pt x="1685" y="2953"/>
                    <a:pt x="1687" y="2953"/>
                  </a:cubicBezTo>
                  <a:cubicBezTo>
                    <a:pt x="1692" y="2953"/>
                    <a:pt x="1692" y="2953"/>
                    <a:pt x="1684" y="2961"/>
                  </a:cubicBezTo>
                  <a:cubicBezTo>
                    <a:pt x="1673" y="2969"/>
                    <a:pt x="1659" y="2975"/>
                    <a:pt x="1642" y="2975"/>
                  </a:cubicBezTo>
                  <a:cubicBezTo>
                    <a:pt x="1629" y="2975"/>
                    <a:pt x="1617" y="2973"/>
                    <a:pt x="1607" y="2968"/>
                  </a:cubicBezTo>
                  <a:cubicBezTo>
                    <a:pt x="1618" y="2971"/>
                    <a:pt x="1630" y="2971"/>
                    <a:pt x="1642" y="2969"/>
                  </a:cubicBezTo>
                  <a:close/>
                  <a:moveTo>
                    <a:pt x="2513" y="2550"/>
                  </a:moveTo>
                  <a:cubicBezTo>
                    <a:pt x="2516" y="2548"/>
                    <a:pt x="2520" y="2546"/>
                    <a:pt x="2522" y="2543"/>
                  </a:cubicBezTo>
                  <a:cubicBezTo>
                    <a:pt x="2520" y="2548"/>
                    <a:pt x="2517" y="2551"/>
                    <a:pt x="2513" y="2552"/>
                  </a:cubicBezTo>
                  <a:cubicBezTo>
                    <a:pt x="2513" y="2551"/>
                    <a:pt x="2513" y="2551"/>
                    <a:pt x="2513" y="2550"/>
                  </a:cubicBezTo>
                  <a:close/>
                  <a:moveTo>
                    <a:pt x="2762" y="2250"/>
                  </a:moveTo>
                  <a:lnTo>
                    <a:pt x="2759" y="2253"/>
                  </a:lnTo>
                  <a:cubicBezTo>
                    <a:pt x="2760" y="2251"/>
                    <a:pt x="2761" y="2249"/>
                    <a:pt x="2763" y="2248"/>
                  </a:cubicBezTo>
                  <a:cubicBezTo>
                    <a:pt x="2763" y="2248"/>
                    <a:pt x="2762" y="2249"/>
                    <a:pt x="2762" y="2250"/>
                  </a:cubicBezTo>
                  <a:close/>
                  <a:moveTo>
                    <a:pt x="2849" y="2058"/>
                  </a:moveTo>
                  <a:cubicBezTo>
                    <a:pt x="2849" y="2058"/>
                    <a:pt x="2848" y="2057"/>
                    <a:pt x="2846" y="2056"/>
                  </a:cubicBezTo>
                  <a:cubicBezTo>
                    <a:pt x="2846" y="2056"/>
                    <a:pt x="2846" y="2056"/>
                    <a:pt x="2846" y="2055"/>
                  </a:cubicBezTo>
                  <a:lnTo>
                    <a:pt x="2852" y="2055"/>
                  </a:lnTo>
                  <a:cubicBezTo>
                    <a:pt x="2852" y="2061"/>
                    <a:pt x="2851" y="2063"/>
                    <a:pt x="2849" y="2063"/>
                  </a:cubicBezTo>
                  <a:cubicBezTo>
                    <a:pt x="2849" y="2061"/>
                    <a:pt x="2849" y="2060"/>
                    <a:pt x="2849" y="2058"/>
                  </a:cubicBezTo>
                  <a:close/>
                  <a:moveTo>
                    <a:pt x="2930" y="1823"/>
                  </a:moveTo>
                  <a:lnTo>
                    <a:pt x="2931" y="1827"/>
                  </a:lnTo>
                  <a:cubicBezTo>
                    <a:pt x="2930" y="1828"/>
                    <a:pt x="2928" y="1828"/>
                    <a:pt x="2927" y="1829"/>
                  </a:cubicBezTo>
                  <a:cubicBezTo>
                    <a:pt x="2928" y="1827"/>
                    <a:pt x="2929" y="1825"/>
                    <a:pt x="2930" y="1823"/>
                  </a:cubicBezTo>
                  <a:close/>
                  <a:moveTo>
                    <a:pt x="316" y="2371"/>
                  </a:moveTo>
                  <a:cubicBezTo>
                    <a:pt x="319" y="2369"/>
                    <a:pt x="322" y="2369"/>
                    <a:pt x="325" y="2369"/>
                  </a:cubicBezTo>
                  <a:cubicBezTo>
                    <a:pt x="325" y="2371"/>
                    <a:pt x="325" y="2369"/>
                    <a:pt x="322" y="2374"/>
                  </a:cubicBezTo>
                  <a:lnTo>
                    <a:pt x="325" y="2374"/>
                  </a:lnTo>
                  <a:lnTo>
                    <a:pt x="322" y="2377"/>
                  </a:lnTo>
                  <a:cubicBezTo>
                    <a:pt x="319" y="2377"/>
                    <a:pt x="319" y="2374"/>
                    <a:pt x="316" y="2371"/>
                  </a:cubicBezTo>
                  <a:close/>
                  <a:moveTo>
                    <a:pt x="74" y="1830"/>
                  </a:moveTo>
                  <a:lnTo>
                    <a:pt x="77" y="1830"/>
                  </a:lnTo>
                  <a:lnTo>
                    <a:pt x="77" y="1824"/>
                  </a:lnTo>
                  <a:cubicBezTo>
                    <a:pt x="77" y="1824"/>
                    <a:pt x="74" y="1827"/>
                    <a:pt x="74" y="1830"/>
                  </a:cubicBezTo>
                  <a:cubicBezTo>
                    <a:pt x="74" y="1827"/>
                    <a:pt x="71" y="1830"/>
                    <a:pt x="71" y="1827"/>
                  </a:cubicBezTo>
                  <a:lnTo>
                    <a:pt x="71" y="1824"/>
                  </a:lnTo>
                  <a:cubicBezTo>
                    <a:pt x="68" y="1824"/>
                    <a:pt x="68" y="1821"/>
                    <a:pt x="68" y="1821"/>
                  </a:cubicBezTo>
                  <a:lnTo>
                    <a:pt x="62" y="1816"/>
                  </a:lnTo>
                  <a:cubicBezTo>
                    <a:pt x="65" y="1813"/>
                    <a:pt x="65" y="1816"/>
                    <a:pt x="68" y="1816"/>
                  </a:cubicBezTo>
                  <a:lnTo>
                    <a:pt x="85" y="1824"/>
                  </a:lnTo>
                  <a:lnTo>
                    <a:pt x="88" y="1824"/>
                  </a:lnTo>
                  <a:cubicBezTo>
                    <a:pt x="91" y="1827"/>
                    <a:pt x="88" y="1833"/>
                    <a:pt x="88" y="1838"/>
                  </a:cubicBezTo>
                  <a:cubicBezTo>
                    <a:pt x="85" y="1838"/>
                    <a:pt x="85" y="1835"/>
                    <a:pt x="82" y="1835"/>
                  </a:cubicBezTo>
                  <a:cubicBezTo>
                    <a:pt x="79" y="1838"/>
                    <a:pt x="77" y="1838"/>
                    <a:pt x="71" y="1841"/>
                  </a:cubicBezTo>
                  <a:cubicBezTo>
                    <a:pt x="71" y="1838"/>
                    <a:pt x="74" y="1835"/>
                    <a:pt x="74" y="1833"/>
                  </a:cubicBezTo>
                  <a:cubicBezTo>
                    <a:pt x="77" y="1830"/>
                    <a:pt x="74" y="1830"/>
                    <a:pt x="74" y="1830"/>
                  </a:cubicBezTo>
                  <a:close/>
                  <a:moveTo>
                    <a:pt x="74" y="1841"/>
                  </a:moveTo>
                  <a:cubicBezTo>
                    <a:pt x="74" y="1844"/>
                    <a:pt x="74" y="1847"/>
                    <a:pt x="71" y="1850"/>
                  </a:cubicBezTo>
                  <a:cubicBezTo>
                    <a:pt x="71" y="1844"/>
                    <a:pt x="71" y="1841"/>
                    <a:pt x="74" y="1841"/>
                  </a:cubicBezTo>
                  <a:close/>
                  <a:moveTo>
                    <a:pt x="299" y="638"/>
                  </a:moveTo>
                  <a:cubicBezTo>
                    <a:pt x="299" y="636"/>
                    <a:pt x="300" y="636"/>
                    <a:pt x="301" y="636"/>
                  </a:cubicBezTo>
                  <a:cubicBezTo>
                    <a:pt x="300" y="637"/>
                    <a:pt x="300" y="637"/>
                    <a:pt x="300" y="638"/>
                  </a:cubicBezTo>
                  <a:cubicBezTo>
                    <a:pt x="300" y="638"/>
                    <a:pt x="300" y="638"/>
                    <a:pt x="299" y="638"/>
                  </a:cubicBezTo>
                  <a:close/>
                  <a:moveTo>
                    <a:pt x="302" y="638"/>
                  </a:moveTo>
                  <a:lnTo>
                    <a:pt x="305" y="638"/>
                  </a:lnTo>
                  <a:lnTo>
                    <a:pt x="308" y="638"/>
                  </a:lnTo>
                  <a:lnTo>
                    <a:pt x="305" y="640"/>
                  </a:lnTo>
                  <a:cubicBezTo>
                    <a:pt x="303" y="638"/>
                    <a:pt x="302" y="638"/>
                    <a:pt x="300" y="638"/>
                  </a:cubicBezTo>
                  <a:cubicBezTo>
                    <a:pt x="299" y="641"/>
                    <a:pt x="297" y="645"/>
                    <a:pt x="297" y="649"/>
                  </a:cubicBezTo>
                  <a:cubicBezTo>
                    <a:pt x="294" y="655"/>
                    <a:pt x="291" y="657"/>
                    <a:pt x="288" y="663"/>
                  </a:cubicBezTo>
                  <a:lnTo>
                    <a:pt x="285" y="663"/>
                  </a:lnTo>
                  <a:cubicBezTo>
                    <a:pt x="288" y="655"/>
                    <a:pt x="288" y="652"/>
                    <a:pt x="288" y="646"/>
                  </a:cubicBezTo>
                  <a:cubicBezTo>
                    <a:pt x="294" y="629"/>
                    <a:pt x="302" y="618"/>
                    <a:pt x="319" y="612"/>
                  </a:cubicBezTo>
                  <a:cubicBezTo>
                    <a:pt x="322" y="612"/>
                    <a:pt x="322" y="615"/>
                    <a:pt x="322" y="615"/>
                  </a:cubicBezTo>
                  <a:lnTo>
                    <a:pt x="319" y="612"/>
                  </a:lnTo>
                  <a:cubicBezTo>
                    <a:pt x="311" y="618"/>
                    <a:pt x="305" y="627"/>
                    <a:pt x="301" y="636"/>
                  </a:cubicBezTo>
                  <a:cubicBezTo>
                    <a:pt x="301" y="637"/>
                    <a:pt x="302" y="638"/>
                    <a:pt x="302" y="638"/>
                  </a:cubicBezTo>
                  <a:close/>
                  <a:moveTo>
                    <a:pt x="384" y="542"/>
                  </a:moveTo>
                  <a:lnTo>
                    <a:pt x="384" y="539"/>
                  </a:lnTo>
                  <a:lnTo>
                    <a:pt x="387" y="539"/>
                  </a:lnTo>
                  <a:cubicBezTo>
                    <a:pt x="387" y="539"/>
                    <a:pt x="387" y="542"/>
                    <a:pt x="384" y="542"/>
                  </a:cubicBezTo>
                  <a:close/>
                  <a:moveTo>
                    <a:pt x="71" y="1703"/>
                  </a:moveTo>
                  <a:lnTo>
                    <a:pt x="68" y="1703"/>
                  </a:lnTo>
                  <a:cubicBezTo>
                    <a:pt x="71" y="1703"/>
                    <a:pt x="71" y="1700"/>
                    <a:pt x="71" y="1703"/>
                  </a:cubicBezTo>
                  <a:close/>
                  <a:moveTo>
                    <a:pt x="57" y="1703"/>
                  </a:moveTo>
                  <a:lnTo>
                    <a:pt x="57" y="1706"/>
                  </a:lnTo>
                  <a:cubicBezTo>
                    <a:pt x="54" y="1706"/>
                    <a:pt x="57" y="1706"/>
                    <a:pt x="57" y="1703"/>
                  </a:cubicBezTo>
                  <a:close/>
                  <a:moveTo>
                    <a:pt x="57" y="1576"/>
                  </a:moveTo>
                  <a:cubicBezTo>
                    <a:pt x="53" y="1580"/>
                    <a:pt x="49" y="1584"/>
                    <a:pt x="44" y="1587"/>
                  </a:cubicBezTo>
                  <a:cubicBezTo>
                    <a:pt x="48" y="1581"/>
                    <a:pt x="50" y="1577"/>
                    <a:pt x="54" y="1573"/>
                  </a:cubicBezTo>
                  <a:cubicBezTo>
                    <a:pt x="54" y="1573"/>
                    <a:pt x="57" y="1573"/>
                    <a:pt x="57" y="1576"/>
                  </a:cubicBezTo>
                  <a:close/>
                  <a:moveTo>
                    <a:pt x="96" y="1875"/>
                  </a:moveTo>
                  <a:cubicBezTo>
                    <a:pt x="96" y="1875"/>
                    <a:pt x="99" y="1872"/>
                    <a:pt x="99" y="1869"/>
                  </a:cubicBezTo>
                  <a:cubicBezTo>
                    <a:pt x="99" y="1869"/>
                    <a:pt x="102" y="1872"/>
                    <a:pt x="99" y="1872"/>
                  </a:cubicBezTo>
                  <a:cubicBezTo>
                    <a:pt x="102" y="1875"/>
                    <a:pt x="99" y="1875"/>
                    <a:pt x="96" y="1875"/>
                  </a:cubicBezTo>
                  <a:close/>
                  <a:moveTo>
                    <a:pt x="277" y="2253"/>
                  </a:moveTo>
                  <a:lnTo>
                    <a:pt x="283" y="2253"/>
                  </a:lnTo>
                  <a:cubicBezTo>
                    <a:pt x="283" y="2253"/>
                    <a:pt x="285" y="2253"/>
                    <a:pt x="283" y="2253"/>
                  </a:cubicBezTo>
                  <a:cubicBezTo>
                    <a:pt x="280" y="2253"/>
                    <a:pt x="277" y="2256"/>
                    <a:pt x="274" y="2256"/>
                  </a:cubicBezTo>
                  <a:cubicBezTo>
                    <a:pt x="277" y="2256"/>
                    <a:pt x="277" y="2253"/>
                    <a:pt x="277" y="2253"/>
                  </a:cubicBezTo>
                  <a:close/>
                  <a:moveTo>
                    <a:pt x="277" y="2222"/>
                  </a:moveTo>
                  <a:lnTo>
                    <a:pt x="277" y="2213"/>
                  </a:lnTo>
                  <a:lnTo>
                    <a:pt x="288" y="2213"/>
                  </a:lnTo>
                  <a:lnTo>
                    <a:pt x="288" y="2242"/>
                  </a:lnTo>
                  <a:lnTo>
                    <a:pt x="299" y="2242"/>
                  </a:lnTo>
                  <a:cubicBezTo>
                    <a:pt x="299" y="2247"/>
                    <a:pt x="299" y="2250"/>
                    <a:pt x="297" y="2256"/>
                  </a:cubicBezTo>
                  <a:cubicBezTo>
                    <a:pt x="288" y="2247"/>
                    <a:pt x="283" y="2233"/>
                    <a:pt x="277" y="2222"/>
                  </a:cubicBezTo>
                  <a:close/>
                  <a:moveTo>
                    <a:pt x="367" y="2439"/>
                  </a:moveTo>
                  <a:cubicBezTo>
                    <a:pt x="367" y="2436"/>
                    <a:pt x="364" y="2433"/>
                    <a:pt x="364" y="2433"/>
                  </a:cubicBezTo>
                  <a:cubicBezTo>
                    <a:pt x="367" y="2433"/>
                    <a:pt x="367" y="2436"/>
                    <a:pt x="367" y="2439"/>
                  </a:cubicBezTo>
                  <a:close/>
                  <a:moveTo>
                    <a:pt x="395" y="2439"/>
                  </a:moveTo>
                  <a:lnTo>
                    <a:pt x="398" y="2445"/>
                  </a:lnTo>
                  <a:cubicBezTo>
                    <a:pt x="401" y="2445"/>
                    <a:pt x="404" y="2442"/>
                    <a:pt x="407" y="2442"/>
                  </a:cubicBezTo>
                  <a:lnTo>
                    <a:pt x="410" y="2445"/>
                  </a:lnTo>
                  <a:cubicBezTo>
                    <a:pt x="407" y="2448"/>
                    <a:pt x="407" y="2450"/>
                    <a:pt x="407" y="2453"/>
                  </a:cubicBezTo>
                  <a:cubicBezTo>
                    <a:pt x="398" y="2456"/>
                    <a:pt x="393" y="2450"/>
                    <a:pt x="384" y="2448"/>
                  </a:cubicBezTo>
                  <a:cubicBezTo>
                    <a:pt x="387" y="2445"/>
                    <a:pt x="390" y="2439"/>
                    <a:pt x="395" y="2439"/>
                  </a:cubicBezTo>
                  <a:close/>
                  <a:moveTo>
                    <a:pt x="915" y="2828"/>
                  </a:moveTo>
                  <a:cubicBezTo>
                    <a:pt x="920" y="2828"/>
                    <a:pt x="926" y="2826"/>
                    <a:pt x="932" y="2823"/>
                  </a:cubicBezTo>
                  <a:cubicBezTo>
                    <a:pt x="934" y="2820"/>
                    <a:pt x="934" y="2820"/>
                    <a:pt x="937" y="2823"/>
                  </a:cubicBezTo>
                  <a:lnTo>
                    <a:pt x="940" y="2820"/>
                  </a:lnTo>
                  <a:cubicBezTo>
                    <a:pt x="940" y="2823"/>
                    <a:pt x="937" y="2826"/>
                    <a:pt x="937" y="2828"/>
                  </a:cubicBezTo>
                  <a:lnTo>
                    <a:pt x="934" y="2826"/>
                  </a:lnTo>
                  <a:lnTo>
                    <a:pt x="934" y="2828"/>
                  </a:lnTo>
                  <a:cubicBezTo>
                    <a:pt x="929" y="2831"/>
                    <a:pt x="920" y="2831"/>
                    <a:pt x="915" y="2831"/>
                  </a:cubicBezTo>
                  <a:cubicBezTo>
                    <a:pt x="915" y="2831"/>
                    <a:pt x="915" y="2831"/>
                    <a:pt x="915" y="2828"/>
                  </a:cubicBezTo>
                  <a:close/>
                  <a:moveTo>
                    <a:pt x="934" y="2834"/>
                  </a:moveTo>
                  <a:cubicBezTo>
                    <a:pt x="932" y="2834"/>
                    <a:pt x="929" y="2837"/>
                    <a:pt x="926" y="2837"/>
                  </a:cubicBezTo>
                  <a:cubicBezTo>
                    <a:pt x="921" y="2837"/>
                    <a:pt x="927" y="2837"/>
                    <a:pt x="934" y="2833"/>
                  </a:cubicBezTo>
                  <a:lnTo>
                    <a:pt x="934" y="2834"/>
                  </a:lnTo>
                  <a:close/>
                  <a:moveTo>
                    <a:pt x="2759" y="779"/>
                  </a:moveTo>
                  <a:cubicBezTo>
                    <a:pt x="2762" y="781"/>
                    <a:pt x="2759" y="784"/>
                    <a:pt x="2759" y="787"/>
                  </a:cubicBezTo>
                  <a:lnTo>
                    <a:pt x="2759" y="779"/>
                  </a:lnTo>
                  <a:close/>
                  <a:moveTo>
                    <a:pt x="2917" y="1275"/>
                  </a:moveTo>
                  <a:cubicBezTo>
                    <a:pt x="2909" y="1278"/>
                    <a:pt x="2911" y="1269"/>
                    <a:pt x="2906" y="1269"/>
                  </a:cubicBezTo>
                  <a:cubicBezTo>
                    <a:pt x="2906" y="1267"/>
                    <a:pt x="2909" y="1269"/>
                    <a:pt x="2909" y="1267"/>
                  </a:cubicBezTo>
                  <a:cubicBezTo>
                    <a:pt x="2911" y="1264"/>
                    <a:pt x="2911" y="1264"/>
                    <a:pt x="2917" y="1261"/>
                  </a:cubicBezTo>
                  <a:cubicBezTo>
                    <a:pt x="2920" y="1267"/>
                    <a:pt x="2920" y="1272"/>
                    <a:pt x="2917" y="1275"/>
                  </a:cubicBezTo>
                  <a:close/>
                  <a:moveTo>
                    <a:pt x="2900" y="1275"/>
                  </a:moveTo>
                  <a:cubicBezTo>
                    <a:pt x="2900" y="1275"/>
                    <a:pt x="2900" y="1272"/>
                    <a:pt x="2900" y="1275"/>
                  </a:cubicBezTo>
                  <a:cubicBezTo>
                    <a:pt x="2906" y="1275"/>
                    <a:pt x="2911" y="1278"/>
                    <a:pt x="2914" y="1281"/>
                  </a:cubicBezTo>
                  <a:cubicBezTo>
                    <a:pt x="2909" y="1281"/>
                    <a:pt x="2903" y="1278"/>
                    <a:pt x="2900" y="1275"/>
                  </a:cubicBezTo>
                  <a:close/>
                  <a:moveTo>
                    <a:pt x="2869" y="1979"/>
                  </a:moveTo>
                  <a:cubicBezTo>
                    <a:pt x="2869" y="1980"/>
                    <a:pt x="2870" y="1980"/>
                    <a:pt x="2870" y="1980"/>
                  </a:cubicBezTo>
                  <a:cubicBezTo>
                    <a:pt x="2870" y="1981"/>
                    <a:pt x="2869" y="1981"/>
                    <a:pt x="2869" y="1979"/>
                  </a:cubicBezTo>
                  <a:close/>
                  <a:moveTo>
                    <a:pt x="2869" y="1979"/>
                  </a:moveTo>
                  <a:cubicBezTo>
                    <a:pt x="2870" y="1979"/>
                    <a:pt x="2870" y="1980"/>
                    <a:pt x="2870" y="1980"/>
                  </a:cubicBezTo>
                  <a:cubicBezTo>
                    <a:pt x="2872" y="1981"/>
                    <a:pt x="2871" y="1979"/>
                    <a:pt x="2869" y="1979"/>
                  </a:cubicBezTo>
                  <a:close/>
                  <a:moveTo>
                    <a:pt x="2945" y="1298"/>
                  </a:moveTo>
                  <a:cubicBezTo>
                    <a:pt x="2945" y="1292"/>
                    <a:pt x="2945" y="1286"/>
                    <a:pt x="2956" y="1301"/>
                  </a:cubicBezTo>
                  <a:cubicBezTo>
                    <a:pt x="2965" y="1312"/>
                    <a:pt x="2968" y="1326"/>
                    <a:pt x="2968" y="1343"/>
                  </a:cubicBezTo>
                  <a:cubicBezTo>
                    <a:pt x="2968" y="1363"/>
                    <a:pt x="2962" y="1382"/>
                    <a:pt x="2951" y="1399"/>
                  </a:cubicBezTo>
                  <a:lnTo>
                    <a:pt x="2951" y="1388"/>
                  </a:lnTo>
                  <a:cubicBezTo>
                    <a:pt x="2951" y="1379"/>
                    <a:pt x="2948" y="1371"/>
                    <a:pt x="2948" y="1363"/>
                  </a:cubicBezTo>
                  <a:lnTo>
                    <a:pt x="2948" y="1365"/>
                  </a:lnTo>
                  <a:cubicBezTo>
                    <a:pt x="2942" y="1363"/>
                    <a:pt x="2940" y="1357"/>
                    <a:pt x="2942" y="1351"/>
                  </a:cubicBezTo>
                  <a:cubicBezTo>
                    <a:pt x="2942" y="1348"/>
                    <a:pt x="2945" y="1348"/>
                    <a:pt x="2945" y="1348"/>
                  </a:cubicBezTo>
                  <a:lnTo>
                    <a:pt x="2945" y="1320"/>
                  </a:lnTo>
                  <a:cubicBezTo>
                    <a:pt x="2945" y="1317"/>
                    <a:pt x="2942" y="1312"/>
                    <a:pt x="2942" y="1306"/>
                  </a:cubicBezTo>
                  <a:cubicBezTo>
                    <a:pt x="2945" y="1303"/>
                    <a:pt x="2945" y="1301"/>
                    <a:pt x="2945" y="1298"/>
                  </a:cubicBezTo>
                  <a:close/>
                  <a:moveTo>
                    <a:pt x="2928" y="1267"/>
                  </a:moveTo>
                  <a:cubicBezTo>
                    <a:pt x="2926" y="1265"/>
                    <a:pt x="2924" y="1264"/>
                    <a:pt x="2923" y="1263"/>
                  </a:cubicBezTo>
                  <a:cubicBezTo>
                    <a:pt x="2928" y="1262"/>
                    <a:pt x="2928" y="1264"/>
                    <a:pt x="2928" y="1267"/>
                  </a:cubicBezTo>
                  <a:close/>
                  <a:moveTo>
                    <a:pt x="2561" y="494"/>
                  </a:moveTo>
                  <a:cubicBezTo>
                    <a:pt x="2573" y="499"/>
                    <a:pt x="2581" y="508"/>
                    <a:pt x="2587" y="519"/>
                  </a:cubicBezTo>
                  <a:cubicBezTo>
                    <a:pt x="2590" y="519"/>
                    <a:pt x="2590" y="525"/>
                    <a:pt x="2593" y="525"/>
                  </a:cubicBezTo>
                  <a:cubicBezTo>
                    <a:pt x="2593" y="528"/>
                    <a:pt x="2593" y="525"/>
                    <a:pt x="2590" y="525"/>
                  </a:cubicBezTo>
                  <a:lnTo>
                    <a:pt x="2593" y="528"/>
                  </a:lnTo>
                  <a:cubicBezTo>
                    <a:pt x="2595" y="533"/>
                    <a:pt x="2598" y="542"/>
                    <a:pt x="2598" y="547"/>
                  </a:cubicBezTo>
                  <a:cubicBezTo>
                    <a:pt x="2595" y="542"/>
                    <a:pt x="2590" y="536"/>
                    <a:pt x="2584" y="533"/>
                  </a:cubicBezTo>
                  <a:cubicBezTo>
                    <a:pt x="2584" y="539"/>
                    <a:pt x="2581" y="550"/>
                    <a:pt x="2581" y="556"/>
                  </a:cubicBezTo>
                  <a:cubicBezTo>
                    <a:pt x="2573" y="550"/>
                    <a:pt x="2573" y="536"/>
                    <a:pt x="2576" y="522"/>
                  </a:cubicBezTo>
                  <a:lnTo>
                    <a:pt x="2573" y="525"/>
                  </a:lnTo>
                  <a:lnTo>
                    <a:pt x="2556" y="499"/>
                  </a:lnTo>
                  <a:cubicBezTo>
                    <a:pt x="2556" y="505"/>
                    <a:pt x="2553" y="505"/>
                    <a:pt x="2550" y="508"/>
                  </a:cubicBezTo>
                  <a:cubicBezTo>
                    <a:pt x="2547" y="505"/>
                    <a:pt x="2542" y="508"/>
                    <a:pt x="2539" y="508"/>
                  </a:cubicBezTo>
                  <a:cubicBezTo>
                    <a:pt x="2536" y="505"/>
                    <a:pt x="2539" y="499"/>
                    <a:pt x="2547" y="499"/>
                  </a:cubicBezTo>
                  <a:cubicBezTo>
                    <a:pt x="2550" y="499"/>
                    <a:pt x="2553" y="497"/>
                    <a:pt x="2556" y="497"/>
                  </a:cubicBezTo>
                  <a:lnTo>
                    <a:pt x="2553" y="494"/>
                  </a:lnTo>
                  <a:cubicBezTo>
                    <a:pt x="2553" y="494"/>
                    <a:pt x="2550" y="494"/>
                    <a:pt x="2547" y="491"/>
                  </a:cubicBezTo>
                  <a:cubicBezTo>
                    <a:pt x="2556" y="491"/>
                    <a:pt x="2559" y="491"/>
                    <a:pt x="2561" y="494"/>
                  </a:cubicBezTo>
                  <a:close/>
                  <a:moveTo>
                    <a:pt x="2548" y="487"/>
                  </a:moveTo>
                  <a:cubicBezTo>
                    <a:pt x="2548" y="487"/>
                    <a:pt x="2549" y="487"/>
                    <a:pt x="2550" y="488"/>
                  </a:cubicBezTo>
                  <a:cubicBezTo>
                    <a:pt x="2549" y="487"/>
                    <a:pt x="2549" y="487"/>
                    <a:pt x="2548" y="487"/>
                  </a:cubicBezTo>
                  <a:close/>
                  <a:moveTo>
                    <a:pt x="2347" y="310"/>
                  </a:moveTo>
                  <a:cubicBezTo>
                    <a:pt x="2344" y="308"/>
                    <a:pt x="2339" y="305"/>
                    <a:pt x="2336" y="302"/>
                  </a:cubicBezTo>
                  <a:cubicBezTo>
                    <a:pt x="2344" y="302"/>
                    <a:pt x="2344" y="305"/>
                    <a:pt x="2347" y="310"/>
                  </a:cubicBezTo>
                  <a:close/>
                  <a:moveTo>
                    <a:pt x="2079" y="158"/>
                  </a:moveTo>
                  <a:cubicBezTo>
                    <a:pt x="2076" y="158"/>
                    <a:pt x="2076" y="155"/>
                    <a:pt x="2076" y="155"/>
                  </a:cubicBezTo>
                  <a:lnTo>
                    <a:pt x="2073" y="158"/>
                  </a:lnTo>
                  <a:cubicBezTo>
                    <a:pt x="2073" y="158"/>
                    <a:pt x="2070" y="155"/>
                    <a:pt x="2068" y="155"/>
                  </a:cubicBezTo>
                  <a:cubicBezTo>
                    <a:pt x="2068" y="152"/>
                    <a:pt x="2065" y="150"/>
                    <a:pt x="2065" y="147"/>
                  </a:cubicBezTo>
                  <a:cubicBezTo>
                    <a:pt x="2068" y="150"/>
                    <a:pt x="2079" y="147"/>
                    <a:pt x="2079" y="158"/>
                  </a:cubicBezTo>
                  <a:close/>
                  <a:moveTo>
                    <a:pt x="2056" y="144"/>
                  </a:moveTo>
                  <a:cubicBezTo>
                    <a:pt x="2048" y="144"/>
                    <a:pt x="2048" y="138"/>
                    <a:pt x="2048" y="133"/>
                  </a:cubicBezTo>
                  <a:cubicBezTo>
                    <a:pt x="2054" y="130"/>
                    <a:pt x="2056" y="138"/>
                    <a:pt x="2056" y="144"/>
                  </a:cubicBezTo>
                  <a:close/>
                  <a:moveTo>
                    <a:pt x="1817" y="59"/>
                  </a:moveTo>
                  <a:cubicBezTo>
                    <a:pt x="1822" y="62"/>
                    <a:pt x="1822" y="68"/>
                    <a:pt x="1828" y="71"/>
                  </a:cubicBezTo>
                  <a:lnTo>
                    <a:pt x="1825" y="71"/>
                  </a:lnTo>
                  <a:cubicBezTo>
                    <a:pt x="1817" y="68"/>
                    <a:pt x="1808" y="68"/>
                    <a:pt x="1797" y="65"/>
                  </a:cubicBezTo>
                  <a:cubicBezTo>
                    <a:pt x="1794" y="65"/>
                    <a:pt x="1788" y="65"/>
                    <a:pt x="1786" y="62"/>
                  </a:cubicBezTo>
                  <a:cubicBezTo>
                    <a:pt x="1797" y="59"/>
                    <a:pt x="1805" y="59"/>
                    <a:pt x="1817" y="59"/>
                  </a:cubicBezTo>
                  <a:close/>
                  <a:moveTo>
                    <a:pt x="1783" y="65"/>
                  </a:moveTo>
                  <a:cubicBezTo>
                    <a:pt x="1777" y="65"/>
                    <a:pt x="1769" y="62"/>
                    <a:pt x="1763" y="59"/>
                  </a:cubicBezTo>
                  <a:cubicBezTo>
                    <a:pt x="1771" y="57"/>
                    <a:pt x="1780" y="54"/>
                    <a:pt x="1783" y="65"/>
                  </a:cubicBezTo>
                  <a:close/>
                  <a:moveTo>
                    <a:pt x="1681" y="45"/>
                  </a:moveTo>
                  <a:lnTo>
                    <a:pt x="1673" y="45"/>
                  </a:lnTo>
                  <a:cubicBezTo>
                    <a:pt x="1670" y="42"/>
                    <a:pt x="1664" y="40"/>
                    <a:pt x="1661" y="40"/>
                  </a:cubicBezTo>
                  <a:cubicBezTo>
                    <a:pt x="1667" y="40"/>
                    <a:pt x="1675" y="42"/>
                    <a:pt x="1681" y="45"/>
                  </a:cubicBezTo>
                  <a:close/>
                  <a:moveTo>
                    <a:pt x="1611" y="40"/>
                  </a:moveTo>
                  <a:cubicBezTo>
                    <a:pt x="1611" y="40"/>
                    <a:pt x="1611" y="42"/>
                    <a:pt x="1608" y="42"/>
                  </a:cubicBezTo>
                  <a:cubicBezTo>
                    <a:pt x="1609" y="40"/>
                    <a:pt x="1611" y="38"/>
                    <a:pt x="1614" y="37"/>
                  </a:cubicBezTo>
                  <a:cubicBezTo>
                    <a:pt x="1612" y="38"/>
                    <a:pt x="1611" y="39"/>
                    <a:pt x="1611" y="40"/>
                  </a:cubicBezTo>
                  <a:close/>
                  <a:moveTo>
                    <a:pt x="1315" y="31"/>
                  </a:moveTo>
                  <a:cubicBezTo>
                    <a:pt x="1315" y="25"/>
                    <a:pt x="1318" y="23"/>
                    <a:pt x="1321" y="17"/>
                  </a:cubicBezTo>
                  <a:cubicBezTo>
                    <a:pt x="1332" y="14"/>
                    <a:pt x="1344" y="17"/>
                    <a:pt x="1355" y="20"/>
                  </a:cubicBezTo>
                  <a:cubicBezTo>
                    <a:pt x="1366" y="23"/>
                    <a:pt x="1377" y="28"/>
                    <a:pt x="1386" y="34"/>
                  </a:cubicBezTo>
                  <a:cubicBezTo>
                    <a:pt x="1389" y="34"/>
                    <a:pt x="1391" y="37"/>
                    <a:pt x="1391" y="37"/>
                  </a:cubicBezTo>
                  <a:lnTo>
                    <a:pt x="1377" y="37"/>
                  </a:lnTo>
                  <a:cubicBezTo>
                    <a:pt x="1376" y="35"/>
                    <a:pt x="1374" y="34"/>
                    <a:pt x="1373" y="33"/>
                  </a:cubicBezTo>
                  <a:lnTo>
                    <a:pt x="1372" y="34"/>
                  </a:lnTo>
                  <a:cubicBezTo>
                    <a:pt x="1352" y="23"/>
                    <a:pt x="1327" y="25"/>
                    <a:pt x="1307" y="42"/>
                  </a:cubicBezTo>
                  <a:lnTo>
                    <a:pt x="1304" y="45"/>
                  </a:lnTo>
                  <a:cubicBezTo>
                    <a:pt x="1298" y="45"/>
                    <a:pt x="1296" y="42"/>
                    <a:pt x="1290" y="45"/>
                  </a:cubicBezTo>
                  <a:cubicBezTo>
                    <a:pt x="1298" y="40"/>
                    <a:pt x="1307" y="34"/>
                    <a:pt x="1315" y="31"/>
                  </a:cubicBezTo>
                  <a:close/>
                  <a:moveTo>
                    <a:pt x="1358" y="25"/>
                  </a:moveTo>
                  <a:cubicBezTo>
                    <a:pt x="1363" y="28"/>
                    <a:pt x="1369" y="28"/>
                    <a:pt x="1375" y="31"/>
                  </a:cubicBezTo>
                  <a:lnTo>
                    <a:pt x="1373" y="33"/>
                  </a:lnTo>
                  <a:cubicBezTo>
                    <a:pt x="1368" y="30"/>
                    <a:pt x="1362" y="28"/>
                    <a:pt x="1358" y="25"/>
                  </a:cubicBezTo>
                  <a:close/>
                  <a:moveTo>
                    <a:pt x="1033" y="93"/>
                  </a:moveTo>
                  <a:cubicBezTo>
                    <a:pt x="1047" y="88"/>
                    <a:pt x="1061" y="90"/>
                    <a:pt x="1075" y="93"/>
                  </a:cubicBezTo>
                  <a:lnTo>
                    <a:pt x="1070" y="93"/>
                  </a:lnTo>
                  <a:cubicBezTo>
                    <a:pt x="1047" y="88"/>
                    <a:pt x="1022" y="96"/>
                    <a:pt x="1008" y="113"/>
                  </a:cubicBezTo>
                  <a:cubicBezTo>
                    <a:pt x="1005" y="113"/>
                    <a:pt x="1002" y="116"/>
                    <a:pt x="999" y="116"/>
                  </a:cubicBezTo>
                  <a:cubicBezTo>
                    <a:pt x="1008" y="104"/>
                    <a:pt x="1019" y="96"/>
                    <a:pt x="1033" y="93"/>
                  </a:cubicBezTo>
                  <a:close/>
                  <a:moveTo>
                    <a:pt x="545" y="378"/>
                  </a:moveTo>
                  <a:cubicBezTo>
                    <a:pt x="542" y="381"/>
                    <a:pt x="542" y="381"/>
                    <a:pt x="539" y="381"/>
                  </a:cubicBezTo>
                  <a:cubicBezTo>
                    <a:pt x="542" y="381"/>
                    <a:pt x="542" y="378"/>
                    <a:pt x="545" y="378"/>
                  </a:cubicBezTo>
                  <a:close/>
                  <a:moveTo>
                    <a:pt x="508" y="395"/>
                  </a:moveTo>
                  <a:cubicBezTo>
                    <a:pt x="516" y="387"/>
                    <a:pt x="526" y="382"/>
                    <a:pt x="537" y="381"/>
                  </a:cubicBezTo>
                  <a:cubicBezTo>
                    <a:pt x="535" y="381"/>
                    <a:pt x="534" y="382"/>
                    <a:pt x="534" y="384"/>
                  </a:cubicBezTo>
                  <a:lnTo>
                    <a:pt x="534" y="387"/>
                  </a:lnTo>
                  <a:cubicBezTo>
                    <a:pt x="517" y="392"/>
                    <a:pt x="505" y="406"/>
                    <a:pt x="500" y="420"/>
                  </a:cubicBezTo>
                  <a:lnTo>
                    <a:pt x="494" y="420"/>
                  </a:lnTo>
                  <a:cubicBezTo>
                    <a:pt x="497" y="412"/>
                    <a:pt x="503" y="403"/>
                    <a:pt x="508" y="395"/>
                  </a:cubicBezTo>
                  <a:close/>
                  <a:moveTo>
                    <a:pt x="390" y="530"/>
                  </a:moveTo>
                  <a:lnTo>
                    <a:pt x="384" y="536"/>
                  </a:lnTo>
                  <a:lnTo>
                    <a:pt x="384" y="533"/>
                  </a:lnTo>
                  <a:cubicBezTo>
                    <a:pt x="387" y="533"/>
                    <a:pt x="387" y="530"/>
                    <a:pt x="390" y="530"/>
                  </a:cubicBezTo>
                  <a:close/>
                  <a:moveTo>
                    <a:pt x="325" y="584"/>
                  </a:moveTo>
                  <a:cubicBezTo>
                    <a:pt x="331" y="584"/>
                    <a:pt x="336" y="590"/>
                    <a:pt x="336" y="595"/>
                  </a:cubicBezTo>
                  <a:cubicBezTo>
                    <a:pt x="336" y="595"/>
                    <a:pt x="333" y="595"/>
                    <a:pt x="331" y="598"/>
                  </a:cubicBezTo>
                  <a:cubicBezTo>
                    <a:pt x="331" y="601"/>
                    <a:pt x="331" y="601"/>
                    <a:pt x="328" y="604"/>
                  </a:cubicBezTo>
                  <a:cubicBezTo>
                    <a:pt x="322" y="601"/>
                    <a:pt x="319" y="595"/>
                    <a:pt x="319" y="590"/>
                  </a:cubicBezTo>
                  <a:cubicBezTo>
                    <a:pt x="322" y="587"/>
                    <a:pt x="322" y="584"/>
                    <a:pt x="325" y="584"/>
                  </a:cubicBezTo>
                  <a:close/>
                  <a:moveTo>
                    <a:pt x="280" y="632"/>
                  </a:moveTo>
                  <a:lnTo>
                    <a:pt x="285" y="632"/>
                  </a:lnTo>
                  <a:cubicBezTo>
                    <a:pt x="285" y="635"/>
                    <a:pt x="283" y="638"/>
                    <a:pt x="283" y="638"/>
                  </a:cubicBezTo>
                  <a:cubicBezTo>
                    <a:pt x="280" y="638"/>
                    <a:pt x="283" y="638"/>
                    <a:pt x="283" y="638"/>
                  </a:cubicBezTo>
                  <a:cubicBezTo>
                    <a:pt x="283" y="635"/>
                    <a:pt x="280" y="635"/>
                    <a:pt x="280" y="632"/>
                  </a:cubicBezTo>
                  <a:close/>
                  <a:moveTo>
                    <a:pt x="150" y="875"/>
                  </a:moveTo>
                  <a:cubicBezTo>
                    <a:pt x="153" y="872"/>
                    <a:pt x="156" y="866"/>
                    <a:pt x="161" y="863"/>
                  </a:cubicBezTo>
                  <a:cubicBezTo>
                    <a:pt x="161" y="863"/>
                    <a:pt x="161" y="860"/>
                    <a:pt x="158" y="860"/>
                  </a:cubicBezTo>
                  <a:cubicBezTo>
                    <a:pt x="158" y="855"/>
                    <a:pt x="158" y="849"/>
                    <a:pt x="164" y="849"/>
                  </a:cubicBezTo>
                  <a:cubicBezTo>
                    <a:pt x="164" y="852"/>
                    <a:pt x="170" y="855"/>
                    <a:pt x="170" y="858"/>
                  </a:cubicBezTo>
                  <a:lnTo>
                    <a:pt x="161" y="883"/>
                  </a:lnTo>
                  <a:cubicBezTo>
                    <a:pt x="156" y="889"/>
                    <a:pt x="150" y="897"/>
                    <a:pt x="147" y="906"/>
                  </a:cubicBezTo>
                  <a:cubicBezTo>
                    <a:pt x="144" y="908"/>
                    <a:pt x="144" y="914"/>
                    <a:pt x="141" y="917"/>
                  </a:cubicBezTo>
                  <a:cubicBezTo>
                    <a:pt x="139" y="911"/>
                    <a:pt x="139" y="906"/>
                    <a:pt x="136" y="903"/>
                  </a:cubicBezTo>
                  <a:cubicBezTo>
                    <a:pt x="141" y="891"/>
                    <a:pt x="144" y="880"/>
                    <a:pt x="150" y="875"/>
                  </a:cubicBezTo>
                  <a:close/>
                  <a:moveTo>
                    <a:pt x="62" y="1151"/>
                  </a:moveTo>
                  <a:lnTo>
                    <a:pt x="62" y="1157"/>
                  </a:lnTo>
                  <a:cubicBezTo>
                    <a:pt x="60" y="1168"/>
                    <a:pt x="60" y="1182"/>
                    <a:pt x="60" y="1193"/>
                  </a:cubicBezTo>
                  <a:cubicBezTo>
                    <a:pt x="60" y="1199"/>
                    <a:pt x="54" y="1207"/>
                    <a:pt x="54" y="1213"/>
                  </a:cubicBezTo>
                  <a:cubicBezTo>
                    <a:pt x="51" y="1207"/>
                    <a:pt x="51" y="1198"/>
                    <a:pt x="51" y="1190"/>
                  </a:cubicBezTo>
                  <a:cubicBezTo>
                    <a:pt x="51" y="1181"/>
                    <a:pt x="51" y="1174"/>
                    <a:pt x="54" y="1165"/>
                  </a:cubicBezTo>
                  <a:cubicBezTo>
                    <a:pt x="54" y="1165"/>
                    <a:pt x="54" y="1162"/>
                    <a:pt x="51" y="1162"/>
                  </a:cubicBezTo>
                  <a:cubicBezTo>
                    <a:pt x="51" y="1157"/>
                    <a:pt x="51" y="1148"/>
                    <a:pt x="62" y="1151"/>
                  </a:cubicBezTo>
                  <a:close/>
                  <a:moveTo>
                    <a:pt x="29" y="1382"/>
                  </a:moveTo>
                  <a:cubicBezTo>
                    <a:pt x="28" y="1382"/>
                    <a:pt x="28" y="1381"/>
                    <a:pt x="28" y="1380"/>
                  </a:cubicBezTo>
                  <a:cubicBezTo>
                    <a:pt x="28" y="1381"/>
                    <a:pt x="29" y="1381"/>
                    <a:pt x="29" y="1382"/>
                  </a:cubicBezTo>
                  <a:close/>
                  <a:moveTo>
                    <a:pt x="20" y="1494"/>
                  </a:moveTo>
                  <a:cubicBezTo>
                    <a:pt x="20" y="1497"/>
                    <a:pt x="17" y="1497"/>
                    <a:pt x="17" y="1500"/>
                  </a:cubicBezTo>
                  <a:cubicBezTo>
                    <a:pt x="15" y="1500"/>
                    <a:pt x="12" y="1487"/>
                    <a:pt x="17" y="1490"/>
                  </a:cubicBezTo>
                  <a:lnTo>
                    <a:pt x="20" y="1487"/>
                  </a:lnTo>
                  <a:cubicBezTo>
                    <a:pt x="17" y="1481"/>
                    <a:pt x="17" y="1473"/>
                    <a:pt x="20" y="1467"/>
                  </a:cubicBezTo>
                  <a:cubicBezTo>
                    <a:pt x="20" y="1464"/>
                    <a:pt x="26" y="1461"/>
                    <a:pt x="26" y="1458"/>
                  </a:cubicBezTo>
                  <a:cubicBezTo>
                    <a:pt x="26" y="1464"/>
                    <a:pt x="23" y="1470"/>
                    <a:pt x="23" y="1473"/>
                  </a:cubicBezTo>
                  <a:cubicBezTo>
                    <a:pt x="23" y="1484"/>
                    <a:pt x="26" y="1494"/>
                    <a:pt x="26" y="1505"/>
                  </a:cubicBezTo>
                  <a:cubicBezTo>
                    <a:pt x="23" y="1503"/>
                    <a:pt x="23" y="1500"/>
                    <a:pt x="20" y="1494"/>
                  </a:cubicBezTo>
                  <a:close/>
                  <a:moveTo>
                    <a:pt x="77" y="1866"/>
                  </a:moveTo>
                  <a:cubicBezTo>
                    <a:pt x="79" y="1864"/>
                    <a:pt x="79" y="1864"/>
                    <a:pt x="82" y="1864"/>
                  </a:cubicBezTo>
                  <a:cubicBezTo>
                    <a:pt x="82" y="1864"/>
                    <a:pt x="79" y="1864"/>
                    <a:pt x="77" y="1866"/>
                  </a:cubicBezTo>
                  <a:close/>
                  <a:moveTo>
                    <a:pt x="79" y="1945"/>
                  </a:moveTo>
                  <a:cubicBezTo>
                    <a:pt x="73" y="1931"/>
                    <a:pt x="74" y="1917"/>
                    <a:pt x="79" y="1903"/>
                  </a:cubicBezTo>
                  <a:lnTo>
                    <a:pt x="79" y="1909"/>
                  </a:lnTo>
                  <a:cubicBezTo>
                    <a:pt x="74" y="1931"/>
                    <a:pt x="82" y="1954"/>
                    <a:pt x="99" y="1968"/>
                  </a:cubicBezTo>
                  <a:cubicBezTo>
                    <a:pt x="99" y="1971"/>
                    <a:pt x="102" y="1974"/>
                    <a:pt x="102" y="1977"/>
                  </a:cubicBezTo>
                  <a:cubicBezTo>
                    <a:pt x="91" y="1971"/>
                    <a:pt x="84" y="1960"/>
                    <a:pt x="79" y="1945"/>
                  </a:cubicBezTo>
                  <a:close/>
                  <a:moveTo>
                    <a:pt x="141" y="2081"/>
                  </a:moveTo>
                  <a:lnTo>
                    <a:pt x="141" y="2075"/>
                  </a:lnTo>
                  <a:cubicBezTo>
                    <a:pt x="144" y="2078"/>
                    <a:pt x="141" y="2084"/>
                    <a:pt x="144" y="2087"/>
                  </a:cubicBezTo>
                  <a:cubicBezTo>
                    <a:pt x="141" y="2084"/>
                    <a:pt x="141" y="2084"/>
                    <a:pt x="141" y="2081"/>
                  </a:cubicBezTo>
                  <a:close/>
                  <a:moveTo>
                    <a:pt x="229" y="2244"/>
                  </a:moveTo>
                  <a:cubicBezTo>
                    <a:pt x="235" y="2242"/>
                    <a:pt x="237" y="2244"/>
                    <a:pt x="240" y="2250"/>
                  </a:cubicBezTo>
                  <a:cubicBezTo>
                    <a:pt x="238" y="2250"/>
                    <a:pt x="235" y="2248"/>
                    <a:pt x="230" y="2245"/>
                  </a:cubicBezTo>
                  <a:cubicBezTo>
                    <a:pt x="230" y="2246"/>
                    <a:pt x="229" y="2246"/>
                    <a:pt x="229" y="2244"/>
                  </a:cubicBezTo>
                  <a:close/>
                  <a:moveTo>
                    <a:pt x="229" y="2244"/>
                  </a:moveTo>
                  <a:cubicBezTo>
                    <a:pt x="230" y="2244"/>
                    <a:pt x="230" y="2245"/>
                    <a:pt x="230" y="2245"/>
                  </a:cubicBezTo>
                  <a:cubicBezTo>
                    <a:pt x="230" y="2245"/>
                    <a:pt x="229" y="2245"/>
                    <a:pt x="229" y="2244"/>
                  </a:cubicBezTo>
                  <a:close/>
                  <a:moveTo>
                    <a:pt x="294" y="2354"/>
                  </a:moveTo>
                  <a:cubicBezTo>
                    <a:pt x="290" y="2351"/>
                    <a:pt x="288" y="2347"/>
                    <a:pt x="286" y="2342"/>
                  </a:cubicBezTo>
                  <a:cubicBezTo>
                    <a:pt x="289" y="2346"/>
                    <a:pt x="291" y="2349"/>
                    <a:pt x="294" y="2354"/>
                  </a:cubicBezTo>
                  <a:cubicBezTo>
                    <a:pt x="297" y="2354"/>
                    <a:pt x="299" y="2352"/>
                    <a:pt x="302" y="2352"/>
                  </a:cubicBezTo>
                  <a:lnTo>
                    <a:pt x="302" y="2357"/>
                  </a:lnTo>
                  <a:cubicBezTo>
                    <a:pt x="305" y="2360"/>
                    <a:pt x="305" y="2363"/>
                    <a:pt x="305" y="2366"/>
                  </a:cubicBezTo>
                  <a:cubicBezTo>
                    <a:pt x="299" y="2363"/>
                    <a:pt x="297" y="2357"/>
                    <a:pt x="294" y="2354"/>
                  </a:cubicBezTo>
                  <a:close/>
                  <a:moveTo>
                    <a:pt x="283" y="2332"/>
                  </a:moveTo>
                  <a:cubicBezTo>
                    <a:pt x="284" y="2333"/>
                    <a:pt x="284" y="2335"/>
                    <a:pt x="284" y="2336"/>
                  </a:cubicBezTo>
                  <a:cubicBezTo>
                    <a:pt x="283" y="2335"/>
                    <a:pt x="283" y="2333"/>
                    <a:pt x="283" y="2332"/>
                  </a:cubicBezTo>
                  <a:close/>
                  <a:moveTo>
                    <a:pt x="384" y="2470"/>
                  </a:moveTo>
                  <a:cubicBezTo>
                    <a:pt x="380" y="2466"/>
                    <a:pt x="377" y="2461"/>
                    <a:pt x="374" y="2455"/>
                  </a:cubicBezTo>
                  <a:lnTo>
                    <a:pt x="376" y="2456"/>
                  </a:lnTo>
                  <a:lnTo>
                    <a:pt x="378" y="2453"/>
                  </a:lnTo>
                  <a:cubicBezTo>
                    <a:pt x="381" y="2462"/>
                    <a:pt x="387" y="2467"/>
                    <a:pt x="395" y="2473"/>
                  </a:cubicBezTo>
                  <a:cubicBezTo>
                    <a:pt x="395" y="2473"/>
                    <a:pt x="395" y="2476"/>
                    <a:pt x="398" y="2476"/>
                  </a:cubicBezTo>
                  <a:lnTo>
                    <a:pt x="401" y="2476"/>
                  </a:lnTo>
                  <a:cubicBezTo>
                    <a:pt x="401" y="2476"/>
                    <a:pt x="398" y="2479"/>
                    <a:pt x="398" y="2481"/>
                  </a:cubicBezTo>
                  <a:cubicBezTo>
                    <a:pt x="393" y="2479"/>
                    <a:pt x="390" y="2476"/>
                    <a:pt x="384" y="2470"/>
                  </a:cubicBezTo>
                  <a:close/>
                  <a:moveTo>
                    <a:pt x="404" y="2510"/>
                  </a:moveTo>
                  <a:cubicBezTo>
                    <a:pt x="407" y="2510"/>
                    <a:pt x="407" y="2507"/>
                    <a:pt x="404" y="2510"/>
                  </a:cubicBezTo>
                  <a:close/>
                  <a:moveTo>
                    <a:pt x="573" y="2656"/>
                  </a:moveTo>
                  <a:cubicBezTo>
                    <a:pt x="573" y="2654"/>
                    <a:pt x="576" y="2651"/>
                    <a:pt x="579" y="2648"/>
                  </a:cubicBezTo>
                  <a:cubicBezTo>
                    <a:pt x="582" y="2651"/>
                    <a:pt x="582" y="2654"/>
                    <a:pt x="587" y="2656"/>
                  </a:cubicBezTo>
                  <a:cubicBezTo>
                    <a:pt x="582" y="2659"/>
                    <a:pt x="576" y="2659"/>
                    <a:pt x="573" y="2656"/>
                  </a:cubicBezTo>
                  <a:close/>
                  <a:moveTo>
                    <a:pt x="607" y="2670"/>
                  </a:moveTo>
                  <a:cubicBezTo>
                    <a:pt x="610" y="2673"/>
                    <a:pt x="616" y="2676"/>
                    <a:pt x="618" y="2679"/>
                  </a:cubicBezTo>
                  <a:cubicBezTo>
                    <a:pt x="621" y="2682"/>
                    <a:pt x="627" y="2682"/>
                    <a:pt x="630" y="2685"/>
                  </a:cubicBezTo>
                  <a:cubicBezTo>
                    <a:pt x="621" y="2682"/>
                    <a:pt x="613" y="2676"/>
                    <a:pt x="607" y="2670"/>
                  </a:cubicBezTo>
                  <a:close/>
                  <a:moveTo>
                    <a:pt x="627" y="2699"/>
                  </a:moveTo>
                  <a:lnTo>
                    <a:pt x="618" y="2699"/>
                  </a:lnTo>
                  <a:lnTo>
                    <a:pt x="618" y="2696"/>
                  </a:lnTo>
                  <a:lnTo>
                    <a:pt x="624" y="2696"/>
                  </a:lnTo>
                  <a:cubicBezTo>
                    <a:pt x="627" y="2696"/>
                    <a:pt x="627" y="2696"/>
                    <a:pt x="627" y="2699"/>
                  </a:cubicBezTo>
                  <a:close/>
                  <a:moveTo>
                    <a:pt x="649" y="2693"/>
                  </a:moveTo>
                  <a:lnTo>
                    <a:pt x="649" y="2690"/>
                  </a:lnTo>
                  <a:cubicBezTo>
                    <a:pt x="651" y="2689"/>
                    <a:pt x="653" y="2690"/>
                    <a:pt x="656" y="2691"/>
                  </a:cubicBezTo>
                  <a:cubicBezTo>
                    <a:pt x="654" y="2691"/>
                    <a:pt x="652" y="2692"/>
                    <a:pt x="649" y="2693"/>
                  </a:cubicBezTo>
                  <a:close/>
                  <a:moveTo>
                    <a:pt x="836" y="2811"/>
                  </a:moveTo>
                  <a:cubicBezTo>
                    <a:pt x="838" y="2811"/>
                    <a:pt x="838" y="2814"/>
                    <a:pt x="841" y="2814"/>
                  </a:cubicBezTo>
                  <a:cubicBezTo>
                    <a:pt x="842" y="2815"/>
                    <a:pt x="843" y="2817"/>
                    <a:pt x="845" y="2817"/>
                  </a:cubicBezTo>
                  <a:cubicBezTo>
                    <a:pt x="840" y="2818"/>
                    <a:pt x="836" y="2818"/>
                    <a:pt x="836" y="2811"/>
                  </a:cubicBezTo>
                  <a:close/>
                  <a:moveTo>
                    <a:pt x="861" y="2828"/>
                  </a:moveTo>
                  <a:lnTo>
                    <a:pt x="855" y="2823"/>
                  </a:lnTo>
                  <a:cubicBezTo>
                    <a:pt x="858" y="2824"/>
                    <a:pt x="861" y="2827"/>
                    <a:pt x="863" y="2829"/>
                  </a:cubicBezTo>
                  <a:cubicBezTo>
                    <a:pt x="862" y="2829"/>
                    <a:pt x="862" y="2829"/>
                    <a:pt x="861" y="2828"/>
                  </a:cubicBezTo>
                  <a:close/>
                  <a:moveTo>
                    <a:pt x="1140" y="2924"/>
                  </a:moveTo>
                  <a:cubicBezTo>
                    <a:pt x="1146" y="2921"/>
                    <a:pt x="1149" y="2921"/>
                    <a:pt x="1152" y="2924"/>
                  </a:cubicBezTo>
                  <a:cubicBezTo>
                    <a:pt x="1152" y="2927"/>
                    <a:pt x="1152" y="2927"/>
                    <a:pt x="1149" y="2927"/>
                  </a:cubicBezTo>
                  <a:lnTo>
                    <a:pt x="1154" y="2927"/>
                  </a:lnTo>
                  <a:cubicBezTo>
                    <a:pt x="1154" y="2930"/>
                    <a:pt x="1152" y="2930"/>
                    <a:pt x="1152" y="2933"/>
                  </a:cubicBezTo>
                  <a:cubicBezTo>
                    <a:pt x="1149" y="2930"/>
                    <a:pt x="1143" y="2927"/>
                    <a:pt x="1140" y="2924"/>
                  </a:cubicBezTo>
                  <a:close/>
                  <a:moveTo>
                    <a:pt x="2296" y="2701"/>
                  </a:moveTo>
                  <a:cubicBezTo>
                    <a:pt x="2296" y="2699"/>
                    <a:pt x="2299" y="2696"/>
                    <a:pt x="2305" y="2696"/>
                  </a:cubicBezTo>
                  <a:cubicBezTo>
                    <a:pt x="2305" y="2699"/>
                    <a:pt x="2302" y="2699"/>
                    <a:pt x="2302" y="2699"/>
                  </a:cubicBezTo>
                  <a:cubicBezTo>
                    <a:pt x="2299" y="2699"/>
                    <a:pt x="2299" y="2701"/>
                    <a:pt x="2296" y="2701"/>
                  </a:cubicBezTo>
                  <a:close/>
                  <a:moveTo>
                    <a:pt x="2468" y="2597"/>
                  </a:moveTo>
                  <a:cubicBezTo>
                    <a:pt x="2468" y="2600"/>
                    <a:pt x="2466" y="2600"/>
                    <a:pt x="2466" y="2606"/>
                  </a:cubicBezTo>
                  <a:cubicBezTo>
                    <a:pt x="2463" y="2606"/>
                    <a:pt x="2466" y="2603"/>
                    <a:pt x="2466" y="2600"/>
                  </a:cubicBezTo>
                  <a:lnTo>
                    <a:pt x="2460" y="2600"/>
                  </a:lnTo>
                  <a:lnTo>
                    <a:pt x="2466" y="2594"/>
                  </a:lnTo>
                  <a:cubicBezTo>
                    <a:pt x="2468" y="2591"/>
                    <a:pt x="2468" y="2589"/>
                    <a:pt x="2471" y="2589"/>
                  </a:cubicBezTo>
                  <a:cubicBezTo>
                    <a:pt x="2477" y="2583"/>
                    <a:pt x="2482" y="2580"/>
                    <a:pt x="2488" y="2575"/>
                  </a:cubicBezTo>
                  <a:cubicBezTo>
                    <a:pt x="2482" y="2583"/>
                    <a:pt x="2477" y="2589"/>
                    <a:pt x="2468" y="2597"/>
                  </a:cubicBezTo>
                  <a:close/>
                  <a:moveTo>
                    <a:pt x="2584" y="2380"/>
                  </a:moveTo>
                  <a:cubicBezTo>
                    <a:pt x="2584" y="2366"/>
                    <a:pt x="2584" y="2352"/>
                    <a:pt x="2578" y="2340"/>
                  </a:cubicBezTo>
                  <a:cubicBezTo>
                    <a:pt x="2570" y="2329"/>
                    <a:pt x="2539" y="2329"/>
                    <a:pt x="2556" y="2307"/>
                  </a:cubicBezTo>
                  <a:cubicBezTo>
                    <a:pt x="2576" y="2318"/>
                    <a:pt x="2593" y="2335"/>
                    <a:pt x="2598" y="2357"/>
                  </a:cubicBezTo>
                  <a:cubicBezTo>
                    <a:pt x="2595" y="2366"/>
                    <a:pt x="2590" y="2371"/>
                    <a:pt x="2584" y="2380"/>
                  </a:cubicBezTo>
                  <a:close/>
                  <a:moveTo>
                    <a:pt x="2925" y="1788"/>
                  </a:moveTo>
                  <a:cubicBezTo>
                    <a:pt x="2925" y="1785"/>
                    <a:pt x="2925" y="1782"/>
                    <a:pt x="2928" y="1779"/>
                  </a:cubicBezTo>
                  <a:cubicBezTo>
                    <a:pt x="2928" y="1785"/>
                    <a:pt x="2928" y="1788"/>
                    <a:pt x="2925" y="178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" name="Freeform 3"/>
            <p:cNvSpPr>
              <a:spLocks noChangeArrowheads="1"/>
            </p:cNvSpPr>
            <p:nvPr/>
          </p:nvSpPr>
          <p:spPr bwMode="auto">
            <a:xfrm>
              <a:off x="4621213" y="2771775"/>
              <a:ext cx="1587" cy="1588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0 h 6"/>
                <a:gd name="T4" fmla="*/ 0 w 3"/>
                <a:gd name="T5" fmla="*/ 5 h 6"/>
                <a:gd name="T6" fmla="*/ 0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0"/>
                  </a:moveTo>
                  <a:lnTo>
                    <a:pt x="0" y="0"/>
                  </a:lnTo>
                  <a:cubicBezTo>
                    <a:pt x="0" y="3"/>
                    <a:pt x="0" y="3"/>
                    <a:pt x="0" y="5"/>
                  </a:cubicBezTo>
                  <a:cubicBezTo>
                    <a:pt x="2" y="3"/>
                    <a:pt x="2" y="3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" name="Freeform 4"/>
            <p:cNvSpPr>
              <a:spLocks noChangeArrowheads="1"/>
            </p:cNvSpPr>
            <p:nvPr/>
          </p:nvSpPr>
          <p:spPr bwMode="auto">
            <a:xfrm>
              <a:off x="3600450" y="2051050"/>
              <a:ext cx="1057275" cy="1055688"/>
            </a:xfrm>
            <a:custGeom>
              <a:avLst/>
              <a:gdLst>
                <a:gd name="T0" fmla="*/ 1768 w 2937"/>
                <a:gd name="T1" fmla="*/ 82 h 2931"/>
                <a:gd name="T2" fmla="*/ 1703 w 2937"/>
                <a:gd name="T3" fmla="*/ 56 h 2931"/>
                <a:gd name="T4" fmla="*/ 1582 w 2937"/>
                <a:gd name="T5" fmla="*/ 87 h 2931"/>
                <a:gd name="T6" fmla="*/ 1460 w 2937"/>
                <a:gd name="T7" fmla="*/ 180 h 2931"/>
                <a:gd name="T8" fmla="*/ 1374 w 2937"/>
                <a:gd name="T9" fmla="*/ 2603 h 2931"/>
                <a:gd name="T10" fmla="*/ 1246 w 2937"/>
                <a:gd name="T11" fmla="*/ 198 h 2931"/>
                <a:gd name="T12" fmla="*/ 1202 w 2937"/>
                <a:gd name="T13" fmla="*/ 107 h 2931"/>
                <a:gd name="T14" fmla="*/ 1078 w 2937"/>
                <a:gd name="T15" fmla="*/ 2732 h 2931"/>
                <a:gd name="T16" fmla="*/ 1078 w 2937"/>
                <a:gd name="T17" fmla="*/ 1145 h 2931"/>
                <a:gd name="T18" fmla="*/ 1038 w 2937"/>
                <a:gd name="T19" fmla="*/ 767 h 2931"/>
                <a:gd name="T20" fmla="*/ 948 w 2937"/>
                <a:gd name="T21" fmla="*/ 2713 h 2931"/>
                <a:gd name="T22" fmla="*/ 920 w 2937"/>
                <a:gd name="T23" fmla="*/ 144 h 2931"/>
                <a:gd name="T24" fmla="*/ 846 w 2937"/>
                <a:gd name="T25" fmla="*/ 2526 h 2931"/>
                <a:gd name="T26" fmla="*/ 731 w 2937"/>
                <a:gd name="T27" fmla="*/ 2524 h 2931"/>
                <a:gd name="T28" fmla="*/ 680 w 2937"/>
                <a:gd name="T29" fmla="*/ 2512 h 2931"/>
                <a:gd name="T30" fmla="*/ 440 w 2937"/>
                <a:gd name="T31" fmla="*/ 2431 h 2931"/>
                <a:gd name="T32" fmla="*/ 463 w 2937"/>
                <a:gd name="T33" fmla="*/ 2213 h 2931"/>
                <a:gd name="T34" fmla="*/ 400 w 2937"/>
                <a:gd name="T35" fmla="*/ 688 h 2931"/>
                <a:gd name="T36" fmla="*/ 530 w 2937"/>
                <a:gd name="T37" fmla="*/ 2442 h 2931"/>
                <a:gd name="T38" fmla="*/ 609 w 2937"/>
                <a:gd name="T39" fmla="*/ 2411 h 2931"/>
                <a:gd name="T40" fmla="*/ 451 w 2937"/>
                <a:gd name="T41" fmla="*/ 773 h 2931"/>
                <a:gd name="T42" fmla="*/ 347 w 2937"/>
                <a:gd name="T43" fmla="*/ 2284 h 2931"/>
                <a:gd name="T44" fmla="*/ 179 w 2937"/>
                <a:gd name="T45" fmla="*/ 1680 h 2931"/>
                <a:gd name="T46" fmla="*/ 282 w 2937"/>
                <a:gd name="T47" fmla="*/ 1962 h 2931"/>
                <a:gd name="T48" fmla="*/ 228 w 2937"/>
                <a:gd name="T49" fmla="*/ 2072 h 2931"/>
                <a:gd name="T50" fmla="*/ 183 w 2937"/>
                <a:gd name="T51" fmla="*/ 1466 h 2931"/>
                <a:gd name="T52" fmla="*/ 121 w 2937"/>
                <a:gd name="T53" fmla="*/ 1441 h 2931"/>
                <a:gd name="T54" fmla="*/ 130 w 2937"/>
                <a:gd name="T55" fmla="*/ 1689 h 2931"/>
                <a:gd name="T56" fmla="*/ 68 w 2937"/>
                <a:gd name="T57" fmla="*/ 1424 h 2931"/>
                <a:gd name="T58" fmla="*/ 130 w 2937"/>
                <a:gd name="T59" fmla="*/ 2013 h 2931"/>
                <a:gd name="T60" fmla="*/ 285 w 2937"/>
                <a:gd name="T61" fmla="*/ 2292 h 2931"/>
                <a:gd name="T62" fmla="*/ 403 w 2937"/>
                <a:gd name="T63" fmla="*/ 2408 h 2931"/>
                <a:gd name="T64" fmla="*/ 629 w 2937"/>
                <a:gd name="T65" fmla="*/ 2566 h 2931"/>
                <a:gd name="T66" fmla="*/ 855 w 2937"/>
                <a:gd name="T67" fmla="*/ 2659 h 2931"/>
                <a:gd name="T68" fmla="*/ 996 w 2937"/>
                <a:gd name="T69" fmla="*/ 2673 h 2931"/>
                <a:gd name="T70" fmla="*/ 1210 w 2937"/>
                <a:gd name="T71" fmla="*/ 2467 h 2931"/>
                <a:gd name="T72" fmla="*/ 1428 w 2937"/>
                <a:gd name="T73" fmla="*/ 2462 h 2931"/>
                <a:gd name="T74" fmla="*/ 1675 w 2937"/>
                <a:gd name="T75" fmla="*/ 2780 h 2931"/>
                <a:gd name="T76" fmla="*/ 2555 w 2937"/>
                <a:gd name="T77" fmla="*/ 2431 h 2931"/>
                <a:gd name="T78" fmla="*/ 2569 w 2937"/>
                <a:gd name="T79" fmla="*/ 2191 h 2931"/>
                <a:gd name="T80" fmla="*/ 2637 w 2937"/>
                <a:gd name="T81" fmla="*/ 1204 h 2931"/>
                <a:gd name="T82" fmla="*/ 2705 w 2937"/>
                <a:gd name="T83" fmla="*/ 1669 h 2931"/>
                <a:gd name="T84" fmla="*/ 2617 w 2937"/>
                <a:gd name="T85" fmla="*/ 1514 h 2931"/>
                <a:gd name="T86" fmla="*/ 2586 w 2937"/>
                <a:gd name="T87" fmla="*/ 1134 h 2931"/>
                <a:gd name="T88" fmla="*/ 2507 w 2937"/>
                <a:gd name="T89" fmla="*/ 2126 h 2931"/>
                <a:gd name="T90" fmla="*/ 2730 w 2937"/>
                <a:gd name="T91" fmla="*/ 2041 h 2931"/>
                <a:gd name="T92" fmla="*/ 2835 w 2937"/>
                <a:gd name="T93" fmla="*/ 1641 h 2931"/>
                <a:gd name="T94" fmla="*/ 2871 w 2937"/>
                <a:gd name="T95" fmla="*/ 1340 h 2931"/>
                <a:gd name="T96" fmla="*/ 2719 w 2937"/>
                <a:gd name="T97" fmla="*/ 781 h 2931"/>
                <a:gd name="T98" fmla="*/ 2423 w 2937"/>
                <a:gd name="T99" fmla="*/ 1379 h 2931"/>
                <a:gd name="T100" fmla="*/ 2383 w 2937"/>
                <a:gd name="T101" fmla="*/ 1210 h 2931"/>
                <a:gd name="T102" fmla="*/ 2363 w 2937"/>
                <a:gd name="T103" fmla="*/ 807 h 2931"/>
                <a:gd name="T104" fmla="*/ 2262 w 2937"/>
                <a:gd name="T105" fmla="*/ 2549 h 2931"/>
                <a:gd name="T106" fmla="*/ 2135 w 2937"/>
                <a:gd name="T107" fmla="*/ 307 h 2931"/>
                <a:gd name="T108" fmla="*/ 2044 w 2937"/>
                <a:gd name="T109" fmla="*/ 2422 h 2931"/>
                <a:gd name="T110" fmla="*/ 1997 w 2937"/>
                <a:gd name="T111" fmla="*/ 274 h 2931"/>
                <a:gd name="T112" fmla="*/ 1853 w 2937"/>
                <a:gd name="T113" fmla="*/ 118 h 2931"/>
                <a:gd name="T114" fmla="*/ 2016 w 2937"/>
                <a:gd name="T115" fmla="*/ 2605 h 2931"/>
                <a:gd name="T116" fmla="*/ 2129 w 2937"/>
                <a:gd name="T117" fmla="*/ 2433 h 2931"/>
                <a:gd name="T118" fmla="*/ 2349 w 2937"/>
                <a:gd name="T119" fmla="*/ 2622 h 2931"/>
                <a:gd name="T120" fmla="*/ 2513 w 2937"/>
                <a:gd name="T121" fmla="*/ 2354 h 2931"/>
                <a:gd name="T122" fmla="*/ 2710 w 2937"/>
                <a:gd name="T123" fmla="*/ 2233 h 2931"/>
                <a:gd name="T124" fmla="*/ 2851 w 2937"/>
                <a:gd name="T125" fmla="*/ 1878 h 29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37" h="2931">
                  <a:moveTo>
                    <a:pt x="8" y="1658"/>
                  </a:moveTo>
                  <a:cubicBezTo>
                    <a:pt x="14" y="1658"/>
                    <a:pt x="20" y="1652"/>
                    <a:pt x="25" y="1652"/>
                  </a:cubicBezTo>
                  <a:cubicBezTo>
                    <a:pt x="28" y="1655"/>
                    <a:pt x="28" y="1660"/>
                    <a:pt x="31" y="1663"/>
                  </a:cubicBezTo>
                  <a:cubicBezTo>
                    <a:pt x="22" y="1666"/>
                    <a:pt x="14" y="1666"/>
                    <a:pt x="8" y="1658"/>
                  </a:cubicBezTo>
                  <a:close/>
                  <a:moveTo>
                    <a:pt x="28" y="1703"/>
                  </a:moveTo>
                  <a:cubicBezTo>
                    <a:pt x="22" y="1700"/>
                    <a:pt x="31" y="1703"/>
                    <a:pt x="28" y="1703"/>
                  </a:cubicBezTo>
                  <a:close/>
                  <a:moveTo>
                    <a:pt x="39" y="1801"/>
                  </a:moveTo>
                  <a:cubicBezTo>
                    <a:pt x="36" y="1799"/>
                    <a:pt x="45" y="1801"/>
                    <a:pt x="39" y="1801"/>
                  </a:cubicBezTo>
                  <a:close/>
                  <a:moveTo>
                    <a:pt x="59" y="1872"/>
                  </a:moveTo>
                  <a:cubicBezTo>
                    <a:pt x="59" y="1872"/>
                    <a:pt x="59" y="1869"/>
                    <a:pt x="59" y="1872"/>
                  </a:cubicBezTo>
                  <a:cubicBezTo>
                    <a:pt x="59" y="1869"/>
                    <a:pt x="62" y="1869"/>
                    <a:pt x="62" y="1869"/>
                  </a:cubicBezTo>
                  <a:cubicBezTo>
                    <a:pt x="76" y="1866"/>
                    <a:pt x="59" y="1889"/>
                    <a:pt x="59" y="1872"/>
                  </a:cubicBezTo>
                  <a:close/>
                  <a:moveTo>
                    <a:pt x="262" y="2253"/>
                  </a:moveTo>
                  <a:cubicBezTo>
                    <a:pt x="262" y="2264"/>
                    <a:pt x="251" y="2239"/>
                    <a:pt x="262" y="2253"/>
                  </a:cubicBezTo>
                  <a:close/>
                  <a:moveTo>
                    <a:pt x="378" y="2442"/>
                  </a:moveTo>
                  <a:cubicBezTo>
                    <a:pt x="375" y="2439"/>
                    <a:pt x="381" y="2442"/>
                    <a:pt x="378" y="2442"/>
                  </a:cubicBezTo>
                  <a:close/>
                  <a:moveTo>
                    <a:pt x="685" y="2690"/>
                  </a:moveTo>
                  <a:lnTo>
                    <a:pt x="683" y="2687"/>
                  </a:lnTo>
                  <a:cubicBezTo>
                    <a:pt x="683" y="2687"/>
                    <a:pt x="685" y="2687"/>
                    <a:pt x="685" y="2684"/>
                  </a:cubicBezTo>
                  <a:cubicBezTo>
                    <a:pt x="685" y="2687"/>
                    <a:pt x="688" y="2690"/>
                    <a:pt x="685" y="2690"/>
                  </a:cubicBezTo>
                  <a:close/>
                  <a:moveTo>
                    <a:pt x="1841" y="62"/>
                  </a:moveTo>
                  <a:cubicBezTo>
                    <a:pt x="1847" y="56"/>
                    <a:pt x="1839" y="70"/>
                    <a:pt x="1841" y="62"/>
                  </a:cubicBezTo>
                  <a:close/>
                  <a:moveTo>
                    <a:pt x="1850" y="79"/>
                  </a:moveTo>
                  <a:cubicBezTo>
                    <a:pt x="1850" y="85"/>
                    <a:pt x="1858" y="93"/>
                    <a:pt x="1855" y="99"/>
                  </a:cubicBezTo>
                  <a:cubicBezTo>
                    <a:pt x="1844" y="99"/>
                    <a:pt x="1841" y="102"/>
                    <a:pt x="1836" y="90"/>
                  </a:cubicBezTo>
                  <a:cubicBezTo>
                    <a:pt x="1839" y="87"/>
                    <a:pt x="1841" y="82"/>
                    <a:pt x="1850" y="79"/>
                  </a:cubicBezTo>
                  <a:close/>
                  <a:moveTo>
                    <a:pt x="1853" y="2397"/>
                  </a:moveTo>
                  <a:cubicBezTo>
                    <a:pt x="1853" y="2399"/>
                    <a:pt x="1844" y="2402"/>
                    <a:pt x="1841" y="2402"/>
                  </a:cubicBezTo>
                  <a:cubicBezTo>
                    <a:pt x="1839" y="2397"/>
                    <a:pt x="1850" y="2394"/>
                    <a:pt x="1853" y="2397"/>
                  </a:cubicBezTo>
                  <a:close/>
                  <a:moveTo>
                    <a:pt x="1833" y="141"/>
                  </a:moveTo>
                  <a:cubicBezTo>
                    <a:pt x="1833" y="135"/>
                    <a:pt x="1839" y="135"/>
                    <a:pt x="1839" y="133"/>
                  </a:cubicBezTo>
                  <a:cubicBezTo>
                    <a:pt x="1841" y="135"/>
                    <a:pt x="1841" y="138"/>
                    <a:pt x="1841" y="141"/>
                  </a:cubicBezTo>
                  <a:cubicBezTo>
                    <a:pt x="1839" y="141"/>
                    <a:pt x="1836" y="144"/>
                    <a:pt x="1833" y="141"/>
                  </a:cubicBezTo>
                  <a:close/>
                  <a:moveTo>
                    <a:pt x="1830" y="87"/>
                  </a:moveTo>
                  <a:cubicBezTo>
                    <a:pt x="1836" y="79"/>
                    <a:pt x="1830" y="96"/>
                    <a:pt x="1830" y="87"/>
                  </a:cubicBezTo>
                  <a:close/>
                  <a:moveTo>
                    <a:pt x="1839" y="169"/>
                  </a:moveTo>
                  <a:cubicBezTo>
                    <a:pt x="1836" y="172"/>
                    <a:pt x="1833" y="175"/>
                    <a:pt x="1830" y="175"/>
                  </a:cubicBezTo>
                  <a:cubicBezTo>
                    <a:pt x="1830" y="172"/>
                    <a:pt x="1836" y="169"/>
                    <a:pt x="1839" y="169"/>
                  </a:cubicBezTo>
                  <a:close/>
                  <a:moveTo>
                    <a:pt x="1827" y="90"/>
                  </a:moveTo>
                  <a:cubicBezTo>
                    <a:pt x="1830" y="96"/>
                    <a:pt x="1822" y="96"/>
                    <a:pt x="1819" y="99"/>
                  </a:cubicBezTo>
                  <a:cubicBezTo>
                    <a:pt x="1819" y="96"/>
                    <a:pt x="1824" y="93"/>
                    <a:pt x="1827" y="90"/>
                  </a:cubicBezTo>
                  <a:close/>
                  <a:moveTo>
                    <a:pt x="1827" y="133"/>
                  </a:moveTo>
                  <a:cubicBezTo>
                    <a:pt x="1819" y="138"/>
                    <a:pt x="1810" y="127"/>
                    <a:pt x="1807" y="121"/>
                  </a:cubicBezTo>
                  <a:cubicBezTo>
                    <a:pt x="1816" y="118"/>
                    <a:pt x="1824" y="121"/>
                    <a:pt x="1827" y="130"/>
                  </a:cubicBezTo>
                  <a:lnTo>
                    <a:pt x="1827" y="133"/>
                  </a:lnTo>
                  <a:close/>
                  <a:moveTo>
                    <a:pt x="1813" y="2165"/>
                  </a:moveTo>
                  <a:cubicBezTo>
                    <a:pt x="1813" y="2163"/>
                    <a:pt x="1819" y="2160"/>
                    <a:pt x="1822" y="2160"/>
                  </a:cubicBezTo>
                  <a:cubicBezTo>
                    <a:pt x="1822" y="2163"/>
                    <a:pt x="1816" y="2165"/>
                    <a:pt x="1813" y="2165"/>
                  </a:cubicBezTo>
                  <a:close/>
                  <a:moveTo>
                    <a:pt x="1816" y="2301"/>
                  </a:moveTo>
                  <a:cubicBezTo>
                    <a:pt x="1816" y="2295"/>
                    <a:pt x="1824" y="2304"/>
                    <a:pt x="1816" y="2301"/>
                  </a:cubicBezTo>
                  <a:close/>
                  <a:moveTo>
                    <a:pt x="1813" y="149"/>
                  </a:moveTo>
                  <a:cubicBezTo>
                    <a:pt x="1810" y="149"/>
                    <a:pt x="1807" y="147"/>
                    <a:pt x="1805" y="144"/>
                  </a:cubicBezTo>
                  <a:cubicBezTo>
                    <a:pt x="1810" y="141"/>
                    <a:pt x="1813" y="147"/>
                    <a:pt x="1813" y="149"/>
                  </a:cubicBezTo>
                  <a:close/>
                  <a:moveTo>
                    <a:pt x="1816" y="68"/>
                  </a:moveTo>
                  <a:cubicBezTo>
                    <a:pt x="1816" y="70"/>
                    <a:pt x="1816" y="76"/>
                    <a:pt x="1819" y="79"/>
                  </a:cubicBezTo>
                  <a:cubicBezTo>
                    <a:pt x="1813" y="79"/>
                    <a:pt x="1810" y="73"/>
                    <a:pt x="1810" y="68"/>
                  </a:cubicBezTo>
                  <a:lnTo>
                    <a:pt x="1816" y="68"/>
                  </a:lnTo>
                  <a:close/>
                  <a:moveTo>
                    <a:pt x="1810" y="99"/>
                  </a:moveTo>
                  <a:lnTo>
                    <a:pt x="1819" y="99"/>
                  </a:lnTo>
                  <a:cubicBezTo>
                    <a:pt x="1822" y="104"/>
                    <a:pt x="1816" y="104"/>
                    <a:pt x="1819" y="110"/>
                  </a:cubicBezTo>
                  <a:cubicBezTo>
                    <a:pt x="1810" y="110"/>
                    <a:pt x="1813" y="116"/>
                    <a:pt x="1805" y="116"/>
                  </a:cubicBezTo>
                  <a:cubicBezTo>
                    <a:pt x="1805" y="110"/>
                    <a:pt x="1807" y="104"/>
                    <a:pt x="1810" y="99"/>
                  </a:cubicBezTo>
                  <a:close/>
                  <a:moveTo>
                    <a:pt x="1819" y="203"/>
                  </a:moveTo>
                  <a:cubicBezTo>
                    <a:pt x="1827" y="220"/>
                    <a:pt x="1799" y="231"/>
                    <a:pt x="1791" y="214"/>
                  </a:cubicBezTo>
                  <a:cubicBezTo>
                    <a:pt x="1793" y="217"/>
                    <a:pt x="1802" y="212"/>
                    <a:pt x="1807" y="212"/>
                  </a:cubicBezTo>
                  <a:cubicBezTo>
                    <a:pt x="1807" y="209"/>
                    <a:pt x="1805" y="206"/>
                    <a:pt x="1799" y="206"/>
                  </a:cubicBezTo>
                  <a:cubicBezTo>
                    <a:pt x="1802" y="200"/>
                    <a:pt x="1816" y="203"/>
                    <a:pt x="1819" y="203"/>
                  </a:cubicBezTo>
                  <a:close/>
                  <a:moveTo>
                    <a:pt x="1816" y="2439"/>
                  </a:moveTo>
                  <a:cubicBezTo>
                    <a:pt x="1813" y="2445"/>
                    <a:pt x="1810" y="2447"/>
                    <a:pt x="1805" y="2447"/>
                  </a:cubicBezTo>
                  <a:cubicBezTo>
                    <a:pt x="1807" y="2445"/>
                    <a:pt x="1810" y="2439"/>
                    <a:pt x="1816" y="2439"/>
                  </a:cubicBezTo>
                  <a:close/>
                  <a:moveTo>
                    <a:pt x="1807" y="2399"/>
                  </a:moveTo>
                  <a:cubicBezTo>
                    <a:pt x="1807" y="2394"/>
                    <a:pt x="1816" y="2402"/>
                    <a:pt x="1807" y="2399"/>
                  </a:cubicBezTo>
                  <a:close/>
                  <a:moveTo>
                    <a:pt x="1802" y="2684"/>
                  </a:moveTo>
                  <a:cubicBezTo>
                    <a:pt x="1802" y="2679"/>
                    <a:pt x="1810" y="2690"/>
                    <a:pt x="1802" y="2684"/>
                  </a:cubicBezTo>
                  <a:close/>
                  <a:moveTo>
                    <a:pt x="1796" y="2368"/>
                  </a:moveTo>
                  <a:cubicBezTo>
                    <a:pt x="1796" y="2363"/>
                    <a:pt x="1805" y="2371"/>
                    <a:pt x="1796" y="2368"/>
                  </a:cubicBezTo>
                  <a:close/>
                  <a:moveTo>
                    <a:pt x="1782" y="2862"/>
                  </a:moveTo>
                  <a:cubicBezTo>
                    <a:pt x="1782" y="2856"/>
                    <a:pt x="1791" y="2865"/>
                    <a:pt x="1782" y="2862"/>
                  </a:cubicBezTo>
                  <a:close/>
                  <a:moveTo>
                    <a:pt x="1782" y="2352"/>
                  </a:moveTo>
                  <a:cubicBezTo>
                    <a:pt x="1785" y="2343"/>
                    <a:pt x="1785" y="2360"/>
                    <a:pt x="1782" y="2352"/>
                  </a:cubicBezTo>
                  <a:close/>
                  <a:moveTo>
                    <a:pt x="1785" y="189"/>
                  </a:moveTo>
                  <a:cubicBezTo>
                    <a:pt x="1788" y="189"/>
                    <a:pt x="1791" y="186"/>
                    <a:pt x="1793" y="186"/>
                  </a:cubicBezTo>
                  <a:cubicBezTo>
                    <a:pt x="1793" y="189"/>
                    <a:pt x="1796" y="192"/>
                    <a:pt x="1796" y="197"/>
                  </a:cubicBezTo>
                  <a:cubicBezTo>
                    <a:pt x="1791" y="200"/>
                    <a:pt x="1785" y="195"/>
                    <a:pt x="1785" y="189"/>
                  </a:cubicBezTo>
                  <a:close/>
                  <a:moveTo>
                    <a:pt x="1796" y="209"/>
                  </a:moveTo>
                  <a:cubicBezTo>
                    <a:pt x="1793" y="203"/>
                    <a:pt x="1805" y="209"/>
                    <a:pt x="1796" y="209"/>
                  </a:cubicBezTo>
                  <a:close/>
                  <a:moveTo>
                    <a:pt x="1793" y="166"/>
                  </a:moveTo>
                  <a:cubicBezTo>
                    <a:pt x="1796" y="169"/>
                    <a:pt x="1796" y="172"/>
                    <a:pt x="1799" y="172"/>
                  </a:cubicBezTo>
                  <a:cubicBezTo>
                    <a:pt x="1796" y="175"/>
                    <a:pt x="1793" y="175"/>
                    <a:pt x="1793" y="178"/>
                  </a:cubicBezTo>
                  <a:cubicBezTo>
                    <a:pt x="1791" y="175"/>
                    <a:pt x="1788" y="175"/>
                    <a:pt x="1788" y="172"/>
                  </a:cubicBezTo>
                  <a:cubicBezTo>
                    <a:pt x="1788" y="169"/>
                    <a:pt x="1793" y="166"/>
                    <a:pt x="1793" y="166"/>
                  </a:cubicBezTo>
                  <a:close/>
                  <a:moveTo>
                    <a:pt x="1782" y="121"/>
                  </a:moveTo>
                  <a:cubicBezTo>
                    <a:pt x="1788" y="116"/>
                    <a:pt x="1779" y="130"/>
                    <a:pt x="1782" y="121"/>
                  </a:cubicBezTo>
                  <a:close/>
                  <a:moveTo>
                    <a:pt x="1785" y="169"/>
                  </a:moveTo>
                  <a:cubicBezTo>
                    <a:pt x="1785" y="183"/>
                    <a:pt x="1771" y="164"/>
                    <a:pt x="1785" y="169"/>
                  </a:cubicBezTo>
                  <a:close/>
                  <a:moveTo>
                    <a:pt x="1776" y="178"/>
                  </a:moveTo>
                  <a:cubicBezTo>
                    <a:pt x="1776" y="172"/>
                    <a:pt x="1788" y="178"/>
                    <a:pt x="1776" y="178"/>
                  </a:cubicBezTo>
                  <a:close/>
                  <a:moveTo>
                    <a:pt x="1788" y="2185"/>
                  </a:moveTo>
                  <a:cubicBezTo>
                    <a:pt x="1788" y="2191"/>
                    <a:pt x="1776" y="2188"/>
                    <a:pt x="1774" y="2188"/>
                  </a:cubicBezTo>
                  <a:cubicBezTo>
                    <a:pt x="1774" y="2185"/>
                    <a:pt x="1776" y="2179"/>
                    <a:pt x="1782" y="2179"/>
                  </a:cubicBezTo>
                  <a:cubicBezTo>
                    <a:pt x="1785" y="2182"/>
                    <a:pt x="1788" y="2182"/>
                    <a:pt x="1788" y="2185"/>
                  </a:cubicBezTo>
                  <a:close/>
                  <a:moveTo>
                    <a:pt x="1768" y="76"/>
                  </a:moveTo>
                  <a:cubicBezTo>
                    <a:pt x="1771" y="68"/>
                    <a:pt x="1779" y="82"/>
                    <a:pt x="1768" y="76"/>
                  </a:cubicBezTo>
                  <a:close/>
                  <a:moveTo>
                    <a:pt x="1768" y="82"/>
                  </a:moveTo>
                  <a:cubicBezTo>
                    <a:pt x="1774" y="82"/>
                    <a:pt x="1771" y="93"/>
                    <a:pt x="1774" y="96"/>
                  </a:cubicBezTo>
                  <a:cubicBezTo>
                    <a:pt x="1768" y="99"/>
                    <a:pt x="1768" y="85"/>
                    <a:pt x="1768" y="82"/>
                  </a:cubicBezTo>
                  <a:close/>
                  <a:moveTo>
                    <a:pt x="1751" y="65"/>
                  </a:moveTo>
                  <a:cubicBezTo>
                    <a:pt x="1754" y="70"/>
                    <a:pt x="1760" y="76"/>
                    <a:pt x="1762" y="79"/>
                  </a:cubicBezTo>
                  <a:cubicBezTo>
                    <a:pt x="1760" y="90"/>
                    <a:pt x="1740" y="68"/>
                    <a:pt x="1751" y="65"/>
                  </a:cubicBezTo>
                  <a:close/>
                  <a:moveTo>
                    <a:pt x="1748" y="2275"/>
                  </a:moveTo>
                  <a:cubicBezTo>
                    <a:pt x="1748" y="2270"/>
                    <a:pt x="1751" y="2270"/>
                    <a:pt x="1745" y="2267"/>
                  </a:cubicBezTo>
                  <a:cubicBezTo>
                    <a:pt x="1748" y="2264"/>
                    <a:pt x="1754" y="2264"/>
                    <a:pt x="1757" y="2261"/>
                  </a:cubicBezTo>
                  <a:cubicBezTo>
                    <a:pt x="1757" y="2267"/>
                    <a:pt x="1757" y="2278"/>
                    <a:pt x="1748" y="2275"/>
                  </a:cubicBezTo>
                  <a:close/>
                  <a:moveTo>
                    <a:pt x="1751" y="2433"/>
                  </a:moveTo>
                  <a:cubicBezTo>
                    <a:pt x="1754" y="2425"/>
                    <a:pt x="1757" y="2439"/>
                    <a:pt x="1751" y="2433"/>
                  </a:cubicBezTo>
                  <a:close/>
                  <a:moveTo>
                    <a:pt x="1748" y="166"/>
                  </a:moveTo>
                  <a:cubicBezTo>
                    <a:pt x="1751" y="164"/>
                    <a:pt x="1757" y="161"/>
                    <a:pt x="1760" y="164"/>
                  </a:cubicBezTo>
                  <a:cubicBezTo>
                    <a:pt x="1760" y="166"/>
                    <a:pt x="1751" y="164"/>
                    <a:pt x="1748" y="166"/>
                  </a:cubicBezTo>
                  <a:close/>
                  <a:moveTo>
                    <a:pt x="1757" y="175"/>
                  </a:moveTo>
                  <a:cubicBezTo>
                    <a:pt x="1754" y="169"/>
                    <a:pt x="1765" y="175"/>
                    <a:pt x="1757" y="175"/>
                  </a:cubicBezTo>
                  <a:close/>
                  <a:moveTo>
                    <a:pt x="1745" y="180"/>
                  </a:moveTo>
                  <a:cubicBezTo>
                    <a:pt x="1751" y="178"/>
                    <a:pt x="1740" y="189"/>
                    <a:pt x="1745" y="180"/>
                  </a:cubicBezTo>
                  <a:close/>
                  <a:moveTo>
                    <a:pt x="1748" y="2645"/>
                  </a:moveTo>
                  <a:cubicBezTo>
                    <a:pt x="1743" y="2651"/>
                    <a:pt x="1740" y="2636"/>
                    <a:pt x="1748" y="2645"/>
                  </a:cubicBezTo>
                  <a:close/>
                  <a:moveTo>
                    <a:pt x="1714" y="56"/>
                  </a:moveTo>
                  <a:cubicBezTo>
                    <a:pt x="1717" y="51"/>
                    <a:pt x="1723" y="65"/>
                    <a:pt x="1714" y="56"/>
                  </a:cubicBezTo>
                  <a:close/>
                  <a:moveTo>
                    <a:pt x="1712" y="102"/>
                  </a:moveTo>
                  <a:cubicBezTo>
                    <a:pt x="1709" y="82"/>
                    <a:pt x="1740" y="99"/>
                    <a:pt x="1712" y="102"/>
                  </a:cubicBezTo>
                  <a:close/>
                  <a:moveTo>
                    <a:pt x="1669" y="209"/>
                  </a:moveTo>
                  <a:cubicBezTo>
                    <a:pt x="1666" y="200"/>
                    <a:pt x="1658" y="192"/>
                    <a:pt x="1664" y="186"/>
                  </a:cubicBezTo>
                  <a:cubicBezTo>
                    <a:pt x="1658" y="178"/>
                    <a:pt x="1652" y="200"/>
                    <a:pt x="1647" y="186"/>
                  </a:cubicBezTo>
                  <a:cubicBezTo>
                    <a:pt x="1681" y="161"/>
                    <a:pt x="1709" y="186"/>
                    <a:pt x="1731" y="220"/>
                  </a:cubicBezTo>
                  <a:cubicBezTo>
                    <a:pt x="1712" y="226"/>
                    <a:pt x="1689" y="220"/>
                    <a:pt x="1669" y="209"/>
                  </a:cubicBezTo>
                  <a:close/>
                  <a:moveTo>
                    <a:pt x="1728" y="2478"/>
                  </a:moveTo>
                  <a:cubicBezTo>
                    <a:pt x="1743" y="2484"/>
                    <a:pt x="1720" y="2490"/>
                    <a:pt x="1728" y="2478"/>
                  </a:cubicBezTo>
                  <a:close/>
                  <a:moveTo>
                    <a:pt x="1717" y="2383"/>
                  </a:moveTo>
                  <a:cubicBezTo>
                    <a:pt x="1717" y="2380"/>
                    <a:pt x="1728" y="2380"/>
                    <a:pt x="1726" y="2385"/>
                  </a:cubicBezTo>
                  <a:lnTo>
                    <a:pt x="1720" y="2385"/>
                  </a:lnTo>
                  <a:cubicBezTo>
                    <a:pt x="1720" y="2383"/>
                    <a:pt x="1717" y="2383"/>
                    <a:pt x="1717" y="2383"/>
                  </a:cubicBezTo>
                  <a:close/>
                  <a:moveTo>
                    <a:pt x="1720" y="2682"/>
                  </a:moveTo>
                  <a:lnTo>
                    <a:pt x="1720" y="2687"/>
                  </a:lnTo>
                  <a:lnTo>
                    <a:pt x="1714" y="2687"/>
                  </a:lnTo>
                  <a:lnTo>
                    <a:pt x="1714" y="2682"/>
                  </a:lnTo>
                  <a:lnTo>
                    <a:pt x="1720" y="2682"/>
                  </a:lnTo>
                  <a:close/>
                  <a:moveTo>
                    <a:pt x="1703" y="228"/>
                  </a:moveTo>
                  <a:cubicBezTo>
                    <a:pt x="1703" y="223"/>
                    <a:pt x="1714" y="228"/>
                    <a:pt x="1703" y="228"/>
                  </a:cubicBezTo>
                  <a:close/>
                  <a:moveTo>
                    <a:pt x="1697" y="2682"/>
                  </a:moveTo>
                  <a:cubicBezTo>
                    <a:pt x="1697" y="2684"/>
                    <a:pt x="1692" y="2684"/>
                    <a:pt x="1692" y="2687"/>
                  </a:cubicBezTo>
                  <a:cubicBezTo>
                    <a:pt x="1689" y="2687"/>
                    <a:pt x="1689" y="2682"/>
                    <a:pt x="1689" y="2679"/>
                  </a:cubicBezTo>
                  <a:cubicBezTo>
                    <a:pt x="1692" y="2679"/>
                    <a:pt x="1695" y="2679"/>
                    <a:pt x="1697" y="2682"/>
                  </a:cubicBezTo>
                  <a:close/>
                  <a:moveTo>
                    <a:pt x="1692" y="2459"/>
                  </a:moveTo>
                  <a:cubicBezTo>
                    <a:pt x="1686" y="2467"/>
                    <a:pt x="1683" y="2450"/>
                    <a:pt x="1692" y="2459"/>
                  </a:cubicBezTo>
                  <a:close/>
                  <a:moveTo>
                    <a:pt x="1669" y="2676"/>
                  </a:moveTo>
                  <a:cubicBezTo>
                    <a:pt x="1669" y="2670"/>
                    <a:pt x="1678" y="2679"/>
                    <a:pt x="1669" y="2676"/>
                  </a:cubicBezTo>
                  <a:close/>
                  <a:moveTo>
                    <a:pt x="1658" y="226"/>
                  </a:moveTo>
                  <a:cubicBezTo>
                    <a:pt x="1658" y="226"/>
                    <a:pt x="1661" y="223"/>
                    <a:pt x="1658" y="226"/>
                  </a:cubicBezTo>
                  <a:cubicBezTo>
                    <a:pt x="1661" y="223"/>
                    <a:pt x="1664" y="226"/>
                    <a:pt x="1666" y="226"/>
                  </a:cubicBezTo>
                  <a:cubicBezTo>
                    <a:pt x="1664" y="226"/>
                    <a:pt x="1658" y="228"/>
                    <a:pt x="1658" y="226"/>
                  </a:cubicBezTo>
                  <a:close/>
                  <a:moveTo>
                    <a:pt x="1664" y="2329"/>
                  </a:moveTo>
                  <a:lnTo>
                    <a:pt x="1664" y="2335"/>
                  </a:lnTo>
                  <a:lnTo>
                    <a:pt x="1658" y="2335"/>
                  </a:lnTo>
                  <a:lnTo>
                    <a:pt x="1658" y="2329"/>
                  </a:lnTo>
                  <a:lnTo>
                    <a:pt x="1664" y="2329"/>
                  </a:lnTo>
                  <a:close/>
                  <a:moveTo>
                    <a:pt x="1678" y="121"/>
                  </a:moveTo>
                  <a:cubicBezTo>
                    <a:pt x="1678" y="124"/>
                    <a:pt x="1675" y="124"/>
                    <a:pt x="1672" y="127"/>
                  </a:cubicBezTo>
                  <a:cubicBezTo>
                    <a:pt x="1672" y="130"/>
                    <a:pt x="1672" y="127"/>
                    <a:pt x="1675" y="130"/>
                  </a:cubicBezTo>
                  <a:cubicBezTo>
                    <a:pt x="1678" y="127"/>
                    <a:pt x="1678" y="130"/>
                    <a:pt x="1681" y="127"/>
                  </a:cubicBezTo>
                  <a:cubicBezTo>
                    <a:pt x="1682" y="132"/>
                    <a:pt x="1688" y="135"/>
                    <a:pt x="1692" y="139"/>
                  </a:cubicBezTo>
                  <a:cubicBezTo>
                    <a:pt x="1693" y="133"/>
                    <a:pt x="1695" y="128"/>
                    <a:pt x="1697" y="121"/>
                  </a:cubicBezTo>
                  <a:cubicBezTo>
                    <a:pt x="1703" y="126"/>
                    <a:pt x="1701" y="138"/>
                    <a:pt x="1694" y="143"/>
                  </a:cubicBezTo>
                  <a:cubicBezTo>
                    <a:pt x="1695" y="144"/>
                    <a:pt x="1695" y="145"/>
                    <a:pt x="1695" y="147"/>
                  </a:cubicBezTo>
                  <a:cubicBezTo>
                    <a:pt x="1697" y="147"/>
                    <a:pt x="1698" y="149"/>
                    <a:pt x="1695" y="149"/>
                  </a:cubicBezTo>
                  <a:lnTo>
                    <a:pt x="1695" y="149"/>
                  </a:lnTo>
                  <a:cubicBezTo>
                    <a:pt x="1700" y="149"/>
                    <a:pt x="1706" y="155"/>
                    <a:pt x="1714" y="152"/>
                  </a:cubicBezTo>
                  <a:cubicBezTo>
                    <a:pt x="1709" y="164"/>
                    <a:pt x="1692" y="169"/>
                    <a:pt x="1681" y="164"/>
                  </a:cubicBezTo>
                  <a:cubicBezTo>
                    <a:pt x="1675" y="161"/>
                    <a:pt x="1669" y="155"/>
                    <a:pt x="1666" y="147"/>
                  </a:cubicBezTo>
                  <a:lnTo>
                    <a:pt x="1664" y="147"/>
                  </a:lnTo>
                  <a:cubicBezTo>
                    <a:pt x="1664" y="144"/>
                    <a:pt x="1669" y="144"/>
                    <a:pt x="1669" y="144"/>
                  </a:cubicBezTo>
                  <a:cubicBezTo>
                    <a:pt x="1669" y="138"/>
                    <a:pt x="1669" y="133"/>
                    <a:pt x="1672" y="130"/>
                  </a:cubicBezTo>
                  <a:cubicBezTo>
                    <a:pt x="1672" y="127"/>
                    <a:pt x="1669" y="124"/>
                    <a:pt x="1667" y="119"/>
                  </a:cubicBezTo>
                  <a:cubicBezTo>
                    <a:pt x="1665" y="119"/>
                    <a:pt x="1663" y="119"/>
                    <a:pt x="1661" y="118"/>
                  </a:cubicBezTo>
                  <a:cubicBezTo>
                    <a:pt x="1669" y="113"/>
                    <a:pt x="1681" y="99"/>
                    <a:pt x="1695" y="102"/>
                  </a:cubicBezTo>
                  <a:cubicBezTo>
                    <a:pt x="1697" y="104"/>
                    <a:pt x="1695" y="110"/>
                    <a:pt x="1695" y="113"/>
                  </a:cubicBezTo>
                  <a:cubicBezTo>
                    <a:pt x="1689" y="116"/>
                    <a:pt x="1683" y="110"/>
                    <a:pt x="1678" y="113"/>
                  </a:cubicBezTo>
                  <a:lnTo>
                    <a:pt x="1686" y="113"/>
                  </a:lnTo>
                  <a:lnTo>
                    <a:pt x="1686" y="118"/>
                  </a:lnTo>
                  <a:lnTo>
                    <a:pt x="1681" y="121"/>
                  </a:lnTo>
                  <a:cubicBezTo>
                    <a:pt x="1678" y="118"/>
                    <a:pt x="1678" y="116"/>
                    <a:pt x="1678" y="113"/>
                  </a:cubicBezTo>
                  <a:cubicBezTo>
                    <a:pt x="1678" y="114"/>
                    <a:pt x="1676" y="117"/>
                    <a:pt x="1672" y="118"/>
                  </a:cubicBezTo>
                  <a:cubicBezTo>
                    <a:pt x="1674" y="119"/>
                    <a:pt x="1676" y="121"/>
                    <a:pt x="1678" y="121"/>
                  </a:cubicBezTo>
                  <a:close/>
                  <a:moveTo>
                    <a:pt x="1706" y="107"/>
                  </a:moveTo>
                  <a:lnTo>
                    <a:pt x="1714" y="107"/>
                  </a:lnTo>
                  <a:cubicBezTo>
                    <a:pt x="1714" y="110"/>
                    <a:pt x="1709" y="113"/>
                    <a:pt x="1709" y="116"/>
                  </a:cubicBezTo>
                  <a:cubicBezTo>
                    <a:pt x="1703" y="116"/>
                    <a:pt x="1709" y="113"/>
                    <a:pt x="1706" y="107"/>
                  </a:cubicBezTo>
                  <a:close/>
                  <a:moveTo>
                    <a:pt x="1712" y="149"/>
                  </a:moveTo>
                  <a:cubicBezTo>
                    <a:pt x="1706" y="152"/>
                    <a:pt x="1706" y="144"/>
                    <a:pt x="1703" y="147"/>
                  </a:cubicBezTo>
                  <a:cubicBezTo>
                    <a:pt x="1700" y="144"/>
                    <a:pt x="1712" y="144"/>
                    <a:pt x="1712" y="149"/>
                  </a:cubicBezTo>
                  <a:close/>
                  <a:moveTo>
                    <a:pt x="1712" y="118"/>
                  </a:moveTo>
                  <a:cubicBezTo>
                    <a:pt x="1712" y="113"/>
                    <a:pt x="1717" y="110"/>
                    <a:pt x="1717" y="104"/>
                  </a:cubicBezTo>
                  <a:lnTo>
                    <a:pt x="1726" y="104"/>
                  </a:lnTo>
                  <a:cubicBezTo>
                    <a:pt x="1726" y="116"/>
                    <a:pt x="1717" y="118"/>
                    <a:pt x="1712" y="118"/>
                  </a:cubicBezTo>
                  <a:close/>
                  <a:moveTo>
                    <a:pt x="1712" y="70"/>
                  </a:moveTo>
                  <a:cubicBezTo>
                    <a:pt x="1714" y="65"/>
                    <a:pt x="1714" y="79"/>
                    <a:pt x="1712" y="70"/>
                  </a:cubicBezTo>
                  <a:close/>
                  <a:moveTo>
                    <a:pt x="1712" y="104"/>
                  </a:moveTo>
                  <a:cubicBezTo>
                    <a:pt x="1706" y="110"/>
                    <a:pt x="1703" y="96"/>
                    <a:pt x="1712" y="104"/>
                  </a:cubicBezTo>
                  <a:close/>
                  <a:moveTo>
                    <a:pt x="1703" y="56"/>
                  </a:moveTo>
                  <a:cubicBezTo>
                    <a:pt x="1697" y="59"/>
                    <a:pt x="1697" y="48"/>
                    <a:pt x="1697" y="45"/>
                  </a:cubicBezTo>
                  <a:cubicBezTo>
                    <a:pt x="1703" y="39"/>
                    <a:pt x="1706" y="54"/>
                    <a:pt x="1703" y="56"/>
                  </a:cubicBezTo>
                  <a:close/>
                  <a:moveTo>
                    <a:pt x="1692" y="31"/>
                  </a:moveTo>
                  <a:lnTo>
                    <a:pt x="1700" y="31"/>
                  </a:lnTo>
                  <a:cubicBezTo>
                    <a:pt x="1700" y="34"/>
                    <a:pt x="1697" y="37"/>
                    <a:pt x="1695" y="37"/>
                  </a:cubicBezTo>
                  <a:lnTo>
                    <a:pt x="1692" y="37"/>
                  </a:lnTo>
                  <a:cubicBezTo>
                    <a:pt x="1695" y="37"/>
                    <a:pt x="1692" y="34"/>
                    <a:pt x="1692" y="31"/>
                  </a:cubicBezTo>
                  <a:close/>
                  <a:moveTo>
                    <a:pt x="1695" y="68"/>
                  </a:moveTo>
                  <a:cubicBezTo>
                    <a:pt x="1695" y="65"/>
                    <a:pt x="1697" y="62"/>
                    <a:pt x="1697" y="59"/>
                  </a:cubicBezTo>
                  <a:cubicBezTo>
                    <a:pt x="1700" y="59"/>
                    <a:pt x="1703" y="68"/>
                    <a:pt x="1703" y="70"/>
                  </a:cubicBezTo>
                  <a:lnTo>
                    <a:pt x="1706" y="70"/>
                  </a:lnTo>
                  <a:cubicBezTo>
                    <a:pt x="1706" y="73"/>
                    <a:pt x="1700" y="73"/>
                    <a:pt x="1697" y="73"/>
                  </a:cubicBezTo>
                  <a:lnTo>
                    <a:pt x="1695" y="68"/>
                  </a:lnTo>
                  <a:close/>
                  <a:moveTo>
                    <a:pt x="1689" y="82"/>
                  </a:moveTo>
                  <a:lnTo>
                    <a:pt x="1686" y="85"/>
                  </a:lnTo>
                  <a:cubicBezTo>
                    <a:pt x="1686" y="82"/>
                    <a:pt x="1686" y="76"/>
                    <a:pt x="1689" y="82"/>
                  </a:cubicBezTo>
                  <a:close/>
                  <a:moveTo>
                    <a:pt x="1672" y="31"/>
                  </a:moveTo>
                  <a:cubicBezTo>
                    <a:pt x="1678" y="25"/>
                    <a:pt x="1678" y="39"/>
                    <a:pt x="1672" y="31"/>
                  </a:cubicBezTo>
                  <a:close/>
                  <a:moveTo>
                    <a:pt x="1669" y="65"/>
                  </a:moveTo>
                  <a:cubicBezTo>
                    <a:pt x="1669" y="68"/>
                    <a:pt x="1672" y="68"/>
                    <a:pt x="1675" y="65"/>
                  </a:cubicBezTo>
                  <a:cubicBezTo>
                    <a:pt x="1681" y="68"/>
                    <a:pt x="1666" y="79"/>
                    <a:pt x="1664" y="70"/>
                  </a:cubicBezTo>
                  <a:lnTo>
                    <a:pt x="1669" y="65"/>
                  </a:lnTo>
                  <a:close/>
                  <a:moveTo>
                    <a:pt x="1652" y="102"/>
                  </a:moveTo>
                  <a:cubicBezTo>
                    <a:pt x="1661" y="87"/>
                    <a:pt x="1652" y="113"/>
                    <a:pt x="1652" y="102"/>
                  </a:cubicBezTo>
                  <a:close/>
                  <a:moveTo>
                    <a:pt x="1649" y="42"/>
                  </a:moveTo>
                  <a:cubicBezTo>
                    <a:pt x="1648" y="43"/>
                    <a:pt x="1646" y="43"/>
                    <a:pt x="1645" y="42"/>
                  </a:cubicBezTo>
                  <a:cubicBezTo>
                    <a:pt x="1643" y="43"/>
                    <a:pt x="1640" y="44"/>
                    <a:pt x="1638" y="42"/>
                  </a:cubicBezTo>
                  <a:cubicBezTo>
                    <a:pt x="1638" y="45"/>
                    <a:pt x="1638" y="42"/>
                    <a:pt x="1635" y="45"/>
                  </a:cubicBezTo>
                  <a:cubicBezTo>
                    <a:pt x="1624" y="48"/>
                    <a:pt x="1621" y="31"/>
                    <a:pt x="1627" y="28"/>
                  </a:cubicBezTo>
                  <a:cubicBezTo>
                    <a:pt x="1630" y="28"/>
                    <a:pt x="1635" y="31"/>
                    <a:pt x="1638" y="37"/>
                  </a:cubicBezTo>
                  <a:cubicBezTo>
                    <a:pt x="1640" y="37"/>
                    <a:pt x="1641" y="37"/>
                    <a:pt x="1643" y="37"/>
                  </a:cubicBezTo>
                  <a:cubicBezTo>
                    <a:pt x="1642" y="36"/>
                    <a:pt x="1642" y="35"/>
                    <a:pt x="1641" y="34"/>
                  </a:cubicBezTo>
                  <a:cubicBezTo>
                    <a:pt x="1649" y="31"/>
                    <a:pt x="1649" y="39"/>
                    <a:pt x="1649" y="42"/>
                  </a:cubicBezTo>
                  <a:close/>
                  <a:moveTo>
                    <a:pt x="1647" y="155"/>
                  </a:moveTo>
                  <a:cubicBezTo>
                    <a:pt x="1638" y="164"/>
                    <a:pt x="1635" y="149"/>
                    <a:pt x="1647" y="155"/>
                  </a:cubicBezTo>
                  <a:close/>
                  <a:moveTo>
                    <a:pt x="1633" y="73"/>
                  </a:moveTo>
                  <a:cubicBezTo>
                    <a:pt x="1633" y="70"/>
                    <a:pt x="1638" y="68"/>
                    <a:pt x="1641" y="68"/>
                  </a:cubicBezTo>
                  <a:cubicBezTo>
                    <a:pt x="1641" y="70"/>
                    <a:pt x="1635" y="73"/>
                    <a:pt x="1633" y="73"/>
                  </a:cubicBezTo>
                  <a:close/>
                  <a:moveTo>
                    <a:pt x="1638" y="65"/>
                  </a:moveTo>
                  <a:cubicBezTo>
                    <a:pt x="1638" y="59"/>
                    <a:pt x="1647" y="70"/>
                    <a:pt x="1638" y="65"/>
                  </a:cubicBezTo>
                  <a:close/>
                  <a:moveTo>
                    <a:pt x="1635" y="54"/>
                  </a:moveTo>
                  <a:cubicBezTo>
                    <a:pt x="1633" y="56"/>
                    <a:pt x="1635" y="62"/>
                    <a:pt x="1630" y="62"/>
                  </a:cubicBezTo>
                  <a:cubicBezTo>
                    <a:pt x="1630" y="59"/>
                    <a:pt x="1630" y="56"/>
                    <a:pt x="1627" y="56"/>
                  </a:cubicBezTo>
                  <a:cubicBezTo>
                    <a:pt x="1630" y="56"/>
                    <a:pt x="1633" y="56"/>
                    <a:pt x="1635" y="54"/>
                  </a:cubicBezTo>
                  <a:close/>
                  <a:moveTo>
                    <a:pt x="1604" y="20"/>
                  </a:moveTo>
                  <a:cubicBezTo>
                    <a:pt x="1610" y="17"/>
                    <a:pt x="1610" y="31"/>
                    <a:pt x="1618" y="28"/>
                  </a:cubicBezTo>
                  <a:cubicBezTo>
                    <a:pt x="1618" y="34"/>
                    <a:pt x="1616" y="37"/>
                    <a:pt x="1610" y="37"/>
                  </a:cubicBezTo>
                  <a:lnTo>
                    <a:pt x="1607" y="37"/>
                  </a:lnTo>
                  <a:cubicBezTo>
                    <a:pt x="1601" y="34"/>
                    <a:pt x="1601" y="23"/>
                    <a:pt x="1604" y="20"/>
                  </a:cubicBezTo>
                  <a:close/>
                  <a:moveTo>
                    <a:pt x="1607" y="144"/>
                  </a:moveTo>
                  <a:cubicBezTo>
                    <a:pt x="1610" y="152"/>
                    <a:pt x="1624" y="149"/>
                    <a:pt x="1630" y="144"/>
                  </a:cubicBezTo>
                  <a:cubicBezTo>
                    <a:pt x="1635" y="149"/>
                    <a:pt x="1618" y="155"/>
                    <a:pt x="1613" y="161"/>
                  </a:cubicBezTo>
                  <a:cubicBezTo>
                    <a:pt x="1613" y="152"/>
                    <a:pt x="1599" y="158"/>
                    <a:pt x="1599" y="149"/>
                  </a:cubicBezTo>
                  <a:cubicBezTo>
                    <a:pt x="1604" y="147"/>
                    <a:pt x="1607" y="147"/>
                    <a:pt x="1607" y="144"/>
                  </a:cubicBezTo>
                  <a:close/>
                  <a:moveTo>
                    <a:pt x="1621" y="220"/>
                  </a:moveTo>
                  <a:cubicBezTo>
                    <a:pt x="1624" y="215"/>
                    <a:pt x="1632" y="222"/>
                    <a:pt x="1623" y="220"/>
                  </a:cubicBezTo>
                  <a:cubicBezTo>
                    <a:pt x="1622" y="220"/>
                    <a:pt x="1622" y="220"/>
                    <a:pt x="1621" y="220"/>
                  </a:cubicBezTo>
                  <a:close/>
                  <a:moveTo>
                    <a:pt x="1621" y="220"/>
                  </a:moveTo>
                  <a:cubicBezTo>
                    <a:pt x="1623" y="222"/>
                    <a:pt x="1624" y="221"/>
                    <a:pt x="1623" y="220"/>
                  </a:cubicBezTo>
                  <a:cubicBezTo>
                    <a:pt x="1622" y="220"/>
                    <a:pt x="1622" y="220"/>
                    <a:pt x="1621" y="220"/>
                  </a:cubicBezTo>
                  <a:close/>
                  <a:moveTo>
                    <a:pt x="1624" y="155"/>
                  </a:moveTo>
                  <a:cubicBezTo>
                    <a:pt x="1627" y="149"/>
                    <a:pt x="1621" y="164"/>
                    <a:pt x="1624" y="155"/>
                  </a:cubicBezTo>
                  <a:close/>
                  <a:moveTo>
                    <a:pt x="1618" y="226"/>
                  </a:moveTo>
                  <a:cubicBezTo>
                    <a:pt x="1618" y="220"/>
                    <a:pt x="1627" y="228"/>
                    <a:pt x="1618" y="226"/>
                  </a:cubicBezTo>
                  <a:close/>
                  <a:moveTo>
                    <a:pt x="1607" y="2653"/>
                  </a:moveTo>
                  <a:cubicBezTo>
                    <a:pt x="1601" y="2659"/>
                    <a:pt x="1593" y="2651"/>
                    <a:pt x="1607" y="2653"/>
                  </a:cubicBezTo>
                  <a:close/>
                  <a:moveTo>
                    <a:pt x="1596" y="2761"/>
                  </a:moveTo>
                  <a:cubicBezTo>
                    <a:pt x="1596" y="2755"/>
                    <a:pt x="1607" y="2763"/>
                    <a:pt x="1596" y="2761"/>
                  </a:cubicBezTo>
                  <a:close/>
                  <a:moveTo>
                    <a:pt x="1601" y="209"/>
                  </a:moveTo>
                  <a:cubicBezTo>
                    <a:pt x="1601" y="203"/>
                    <a:pt x="1613" y="212"/>
                    <a:pt x="1601" y="209"/>
                  </a:cubicBezTo>
                  <a:close/>
                  <a:moveTo>
                    <a:pt x="1607" y="2735"/>
                  </a:moveTo>
                  <a:cubicBezTo>
                    <a:pt x="1613" y="2738"/>
                    <a:pt x="1604" y="2746"/>
                    <a:pt x="1601" y="2746"/>
                  </a:cubicBezTo>
                  <a:cubicBezTo>
                    <a:pt x="1599" y="2741"/>
                    <a:pt x="1607" y="2741"/>
                    <a:pt x="1607" y="2735"/>
                  </a:cubicBezTo>
                  <a:close/>
                  <a:moveTo>
                    <a:pt x="1599" y="147"/>
                  </a:moveTo>
                  <a:cubicBezTo>
                    <a:pt x="1596" y="141"/>
                    <a:pt x="1607" y="147"/>
                    <a:pt x="1599" y="147"/>
                  </a:cubicBezTo>
                  <a:close/>
                  <a:moveTo>
                    <a:pt x="1604" y="155"/>
                  </a:moveTo>
                  <a:cubicBezTo>
                    <a:pt x="1601" y="158"/>
                    <a:pt x="1601" y="164"/>
                    <a:pt x="1599" y="164"/>
                  </a:cubicBezTo>
                  <a:cubicBezTo>
                    <a:pt x="1599" y="161"/>
                    <a:pt x="1599" y="158"/>
                    <a:pt x="1596" y="155"/>
                  </a:cubicBezTo>
                  <a:lnTo>
                    <a:pt x="1604" y="155"/>
                  </a:lnTo>
                  <a:close/>
                  <a:moveTo>
                    <a:pt x="1590" y="217"/>
                  </a:moveTo>
                  <a:cubicBezTo>
                    <a:pt x="1593" y="209"/>
                    <a:pt x="1596" y="223"/>
                    <a:pt x="1590" y="217"/>
                  </a:cubicBezTo>
                  <a:close/>
                  <a:moveTo>
                    <a:pt x="1590" y="189"/>
                  </a:moveTo>
                  <a:cubicBezTo>
                    <a:pt x="1585" y="192"/>
                    <a:pt x="1573" y="192"/>
                    <a:pt x="1573" y="183"/>
                  </a:cubicBezTo>
                  <a:cubicBezTo>
                    <a:pt x="1576" y="189"/>
                    <a:pt x="1590" y="183"/>
                    <a:pt x="1590" y="189"/>
                  </a:cubicBezTo>
                  <a:close/>
                  <a:moveTo>
                    <a:pt x="1582" y="2583"/>
                  </a:moveTo>
                  <a:cubicBezTo>
                    <a:pt x="1582" y="2577"/>
                    <a:pt x="1590" y="2586"/>
                    <a:pt x="1582" y="2583"/>
                  </a:cubicBezTo>
                  <a:close/>
                  <a:moveTo>
                    <a:pt x="1579" y="217"/>
                  </a:moveTo>
                  <a:cubicBezTo>
                    <a:pt x="1579" y="212"/>
                    <a:pt x="1587" y="220"/>
                    <a:pt x="1579" y="217"/>
                  </a:cubicBezTo>
                  <a:close/>
                  <a:moveTo>
                    <a:pt x="1579" y="155"/>
                  </a:moveTo>
                  <a:cubicBezTo>
                    <a:pt x="1587" y="158"/>
                    <a:pt x="1587" y="175"/>
                    <a:pt x="1587" y="183"/>
                  </a:cubicBezTo>
                  <a:cubicBezTo>
                    <a:pt x="1573" y="186"/>
                    <a:pt x="1556" y="161"/>
                    <a:pt x="1579" y="155"/>
                  </a:cubicBezTo>
                  <a:close/>
                  <a:moveTo>
                    <a:pt x="1562" y="178"/>
                  </a:moveTo>
                  <a:cubicBezTo>
                    <a:pt x="1565" y="169"/>
                    <a:pt x="1570" y="183"/>
                    <a:pt x="1562" y="178"/>
                  </a:cubicBezTo>
                  <a:close/>
                  <a:moveTo>
                    <a:pt x="1565" y="99"/>
                  </a:moveTo>
                  <a:cubicBezTo>
                    <a:pt x="1565" y="96"/>
                    <a:pt x="1573" y="102"/>
                    <a:pt x="1565" y="99"/>
                  </a:cubicBezTo>
                  <a:close/>
                  <a:moveTo>
                    <a:pt x="1579" y="11"/>
                  </a:moveTo>
                  <a:cubicBezTo>
                    <a:pt x="1582" y="11"/>
                    <a:pt x="1585" y="14"/>
                    <a:pt x="1585" y="17"/>
                  </a:cubicBezTo>
                  <a:cubicBezTo>
                    <a:pt x="1579" y="20"/>
                    <a:pt x="1576" y="14"/>
                    <a:pt x="1579" y="11"/>
                  </a:cubicBezTo>
                  <a:close/>
                  <a:moveTo>
                    <a:pt x="1576" y="28"/>
                  </a:moveTo>
                  <a:cubicBezTo>
                    <a:pt x="1579" y="31"/>
                    <a:pt x="1585" y="31"/>
                    <a:pt x="1585" y="39"/>
                  </a:cubicBezTo>
                  <a:cubicBezTo>
                    <a:pt x="1576" y="51"/>
                    <a:pt x="1568" y="37"/>
                    <a:pt x="1565" y="39"/>
                  </a:cubicBezTo>
                  <a:cubicBezTo>
                    <a:pt x="1562" y="34"/>
                    <a:pt x="1570" y="34"/>
                    <a:pt x="1576" y="28"/>
                  </a:cubicBezTo>
                  <a:close/>
                  <a:moveTo>
                    <a:pt x="1573" y="51"/>
                  </a:moveTo>
                  <a:cubicBezTo>
                    <a:pt x="1579" y="54"/>
                    <a:pt x="1562" y="54"/>
                    <a:pt x="1573" y="51"/>
                  </a:cubicBezTo>
                  <a:close/>
                  <a:moveTo>
                    <a:pt x="1562" y="56"/>
                  </a:moveTo>
                  <a:cubicBezTo>
                    <a:pt x="1579" y="56"/>
                    <a:pt x="1576" y="79"/>
                    <a:pt x="1582" y="87"/>
                  </a:cubicBezTo>
                  <a:cubicBezTo>
                    <a:pt x="1576" y="96"/>
                    <a:pt x="1568" y="96"/>
                    <a:pt x="1562" y="96"/>
                  </a:cubicBezTo>
                  <a:cubicBezTo>
                    <a:pt x="1562" y="99"/>
                    <a:pt x="1565" y="104"/>
                    <a:pt x="1568" y="104"/>
                  </a:cubicBezTo>
                  <a:cubicBezTo>
                    <a:pt x="1562" y="107"/>
                    <a:pt x="1562" y="96"/>
                    <a:pt x="1556" y="96"/>
                  </a:cubicBezTo>
                  <a:cubicBezTo>
                    <a:pt x="1551" y="96"/>
                    <a:pt x="1554" y="104"/>
                    <a:pt x="1548" y="107"/>
                  </a:cubicBezTo>
                  <a:cubicBezTo>
                    <a:pt x="1548" y="104"/>
                    <a:pt x="1548" y="104"/>
                    <a:pt x="1545" y="102"/>
                  </a:cubicBezTo>
                  <a:cubicBezTo>
                    <a:pt x="1537" y="110"/>
                    <a:pt x="1520" y="102"/>
                    <a:pt x="1517" y="85"/>
                  </a:cubicBezTo>
                  <a:cubicBezTo>
                    <a:pt x="1522" y="85"/>
                    <a:pt x="1528" y="82"/>
                    <a:pt x="1534" y="79"/>
                  </a:cubicBezTo>
                  <a:cubicBezTo>
                    <a:pt x="1537" y="93"/>
                    <a:pt x="1542" y="90"/>
                    <a:pt x="1551" y="96"/>
                  </a:cubicBezTo>
                  <a:cubicBezTo>
                    <a:pt x="1556" y="93"/>
                    <a:pt x="1548" y="90"/>
                    <a:pt x="1551" y="87"/>
                  </a:cubicBezTo>
                  <a:cubicBezTo>
                    <a:pt x="1553" y="87"/>
                    <a:pt x="1553" y="87"/>
                    <a:pt x="1554" y="89"/>
                  </a:cubicBezTo>
                  <a:cubicBezTo>
                    <a:pt x="1553" y="79"/>
                    <a:pt x="1550" y="76"/>
                    <a:pt x="1542" y="79"/>
                  </a:cubicBezTo>
                  <a:cubicBezTo>
                    <a:pt x="1551" y="56"/>
                    <a:pt x="1559" y="70"/>
                    <a:pt x="1562" y="56"/>
                  </a:cubicBezTo>
                  <a:close/>
                  <a:moveTo>
                    <a:pt x="1525" y="2777"/>
                  </a:moveTo>
                  <a:cubicBezTo>
                    <a:pt x="1525" y="2783"/>
                    <a:pt x="1520" y="2783"/>
                    <a:pt x="1517" y="2786"/>
                  </a:cubicBezTo>
                  <a:cubicBezTo>
                    <a:pt x="1517" y="2780"/>
                    <a:pt x="1522" y="2777"/>
                    <a:pt x="1525" y="2777"/>
                  </a:cubicBezTo>
                  <a:close/>
                  <a:moveTo>
                    <a:pt x="1517" y="180"/>
                  </a:moveTo>
                  <a:cubicBezTo>
                    <a:pt x="1525" y="178"/>
                    <a:pt x="1517" y="192"/>
                    <a:pt x="1517" y="180"/>
                  </a:cubicBezTo>
                  <a:close/>
                  <a:moveTo>
                    <a:pt x="1539" y="82"/>
                  </a:moveTo>
                  <a:cubicBezTo>
                    <a:pt x="1542" y="76"/>
                    <a:pt x="1551" y="87"/>
                    <a:pt x="1539" y="82"/>
                  </a:cubicBezTo>
                  <a:close/>
                  <a:moveTo>
                    <a:pt x="1554" y="62"/>
                  </a:moveTo>
                  <a:cubicBezTo>
                    <a:pt x="1554" y="68"/>
                    <a:pt x="1542" y="62"/>
                    <a:pt x="1542" y="59"/>
                  </a:cubicBezTo>
                  <a:cubicBezTo>
                    <a:pt x="1539" y="65"/>
                    <a:pt x="1528" y="68"/>
                    <a:pt x="1528" y="76"/>
                  </a:cubicBezTo>
                  <a:cubicBezTo>
                    <a:pt x="1520" y="73"/>
                    <a:pt x="1520" y="68"/>
                    <a:pt x="1508" y="76"/>
                  </a:cubicBezTo>
                  <a:cubicBezTo>
                    <a:pt x="1511" y="70"/>
                    <a:pt x="1511" y="62"/>
                    <a:pt x="1520" y="62"/>
                  </a:cubicBezTo>
                  <a:cubicBezTo>
                    <a:pt x="1520" y="63"/>
                    <a:pt x="1520" y="63"/>
                    <a:pt x="1521" y="64"/>
                  </a:cubicBezTo>
                  <a:cubicBezTo>
                    <a:pt x="1522" y="60"/>
                    <a:pt x="1525" y="58"/>
                    <a:pt x="1522" y="54"/>
                  </a:cubicBezTo>
                  <a:cubicBezTo>
                    <a:pt x="1528" y="45"/>
                    <a:pt x="1542" y="45"/>
                    <a:pt x="1548" y="54"/>
                  </a:cubicBezTo>
                  <a:cubicBezTo>
                    <a:pt x="1551" y="56"/>
                    <a:pt x="1551" y="59"/>
                    <a:pt x="1554" y="62"/>
                  </a:cubicBezTo>
                  <a:close/>
                  <a:moveTo>
                    <a:pt x="1517" y="68"/>
                  </a:moveTo>
                  <a:cubicBezTo>
                    <a:pt x="1517" y="70"/>
                    <a:pt x="1517" y="70"/>
                    <a:pt x="1520" y="68"/>
                  </a:cubicBezTo>
                  <a:cubicBezTo>
                    <a:pt x="1520" y="67"/>
                    <a:pt x="1520" y="67"/>
                    <a:pt x="1520" y="66"/>
                  </a:cubicBezTo>
                  <a:cubicBezTo>
                    <a:pt x="1519" y="66"/>
                    <a:pt x="1518" y="67"/>
                    <a:pt x="1517" y="68"/>
                  </a:cubicBezTo>
                  <a:close/>
                  <a:moveTo>
                    <a:pt x="1508" y="223"/>
                  </a:moveTo>
                  <a:cubicBezTo>
                    <a:pt x="1508" y="220"/>
                    <a:pt x="1514" y="217"/>
                    <a:pt x="1517" y="220"/>
                  </a:cubicBezTo>
                  <a:cubicBezTo>
                    <a:pt x="1517" y="223"/>
                    <a:pt x="1517" y="226"/>
                    <a:pt x="1514" y="226"/>
                  </a:cubicBezTo>
                  <a:lnTo>
                    <a:pt x="1514" y="228"/>
                  </a:lnTo>
                  <a:cubicBezTo>
                    <a:pt x="1512" y="228"/>
                    <a:pt x="1511" y="225"/>
                    <a:pt x="1510" y="223"/>
                  </a:cubicBezTo>
                  <a:cubicBezTo>
                    <a:pt x="1510" y="224"/>
                    <a:pt x="1508" y="225"/>
                    <a:pt x="1508" y="223"/>
                  </a:cubicBezTo>
                  <a:close/>
                  <a:moveTo>
                    <a:pt x="1508" y="2391"/>
                  </a:moveTo>
                  <a:lnTo>
                    <a:pt x="1508" y="2390"/>
                  </a:lnTo>
                  <a:cubicBezTo>
                    <a:pt x="1510" y="2391"/>
                    <a:pt x="1511" y="2392"/>
                    <a:pt x="1508" y="2391"/>
                  </a:cubicBezTo>
                  <a:cubicBezTo>
                    <a:pt x="1506" y="2388"/>
                    <a:pt x="1507" y="2389"/>
                    <a:pt x="1508" y="2390"/>
                  </a:cubicBezTo>
                  <a:lnTo>
                    <a:pt x="1508" y="2391"/>
                  </a:lnTo>
                  <a:close/>
                  <a:moveTo>
                    <a:pt x="1531" y="14"/>
                  </a:moveTo>
                  <a:cubicBezTo>
                    <a:pt x="1528" y="8"/>
                    <a:pt x="1522" y="8"/>
                    <a:pt x="1517" y="6"/>
                  </a:cubicBezTo>
                  <a:cubicBezTo>
                    <a:pt x="1520" y="0"/>
                    <a:pt x="1537" y="11"/>
                    <a:pt x="1531" y="14"/>
                  </a:cubicBezTo>
                  <a:close/>
                  <a:moveTo>
                    <a:pt x="1520" y="56"/>
                  </a:moveTo>
                  <a:lnTo>
                    <a:pt x="1506" y="56"/>
                  </a:lnTo>
                  <a:cubicBezTo>
                    <a:pt x="1506" y="54"/>
                    <a:pt x="1520" y="51"/>
                    <a:pt x="1520" y="56"/>
                  </a:cubicBezTo>
                  <a:close/>
                  <a:moveTo>
                    <a:pt x="1497" y="65"/>
                  </a:moveTo>
                  <a:cubicBezTo>
                    <a:pt x="1500" y="65"/>
                    <a:pt x="1503" y="68"/>
                    <a:pt x="1506" y="73"/>
                  </a:cubicBezTo>
                  <a:cubicBezTo>
                    <a:pt x="1500" y="76"/>
                    <a:pt x="1497" y="70"/>
                    <a:pt x="1497" y="65"/>
                  </a:cubicBezTo>
                  <a:close/>
                  <a:moveTo>
                    <a:pt x="1494" y="2402"/>
                  </a:moveTo>
                  <a:cubicBezTo>
                    <a:pt x="1494" y="2397"/>
                    <a:pt x="1506" y="2405"/>
                    <a:pt x="1494" y="2402"/>
                  </a:cubicBezTo>
                  <a:close/>
                  <a:moveTo>
                    <a:pt x="1494" y="8"/>
                  </a:moveTo>
                  <a:cubicBezTo>
                    <a:pt x="1494" y="11"/>
                    <a:pt x="1486" y="14"/>
                    <a:pt x="1483" y="14"/>
                  </a:cubicBezTo>
                  <a:cubicBezTo>
                    <a:pt x="1483" y="11"/>
                    <a:pt x="1491" y="11"/>
                    <a:pt x="1494" y="8"/>
                  </a:cubicBezTo>
                  <a:close/>
                  <a:moveTo>
                    <a:pt x="1472" y="11"/>
                  </a:moveTo>
                  <a:cubicBezTo>
                    <a:pt x="1477" y="11"/>
                    <a:pt x="1483" y="14"/>
                    <a:pt x="1486" y="20"/>
                  </a:cubicBezTo>
                  <a:cubicBezTo>
                    <a:pt x="1480" y="20"/>
                    <a:pt x="1480" y="25"/>
                    <a:pt x="1475" y="25"/>
                  </a:cubicBezTo>
                  <a:cubicBezTo>
                    <a:pt x="1469" y="17"/>
                    <a:pt x="1475" y="23"/>
                    <a:pt x="1472" y="11"/>
                  </a:cubicBezTo>
                  <a:close/>
                  <a:moveTo>
                    <a:pt x="1486" y="2459"/>
                  </a:moveTo>
                  <a:cubicBezTo>
                    <a:pt x="1483" y="2467"/>
                    <a:pt x="1477" y="2450"/>
                    <a:pt x="1486" y="2453"/>
                  </a:cubicBezTo>
                  <a:cubicBezTo>
                    <a:pt x="1486" y="2453"/>
                    <a:pt x="1483" y="2459"/>
                    <a:pt x="1486" y="2459"/>
                  </a:cubicBezTo>
                  <a:close/>
                  <a:moveTo>
                    <a:pt x="1475" y="2651"/>
                  </a:moveTo>
                  <a:cubicBezTo>
                    <a:pt x="1466" y="2648"/>
                    <a:pt x="1477" y="2636"/>
                    <a:pt x="1483" y="2634"/>
                  </a:cubicBezTo>
                  <a:cubicBezTo>
                    <a:pt x="1483" y="2642"/>
                    <a:pt x="1475" y="2645"/>
                    <a:pt x="1475" y="2651"/>
                  </a:cubicBezTo>
                  <a:close/>
                  <a:moveTo>
                    <a:pt x="1480" y="2786"/>
                  </a:moveTo>
                  <a:cubicBezTo>
                    <a:pt x="1480" y="2789"/>
                    <a:pt x="1475" y="2792"/>
                    <a:pt x="1472" y="2792"/>
                  </a:cubicBezTo>
                  <a:cubicBezTo>
                    <a:pt x="1472" y="2789"/>
                    <a:pt x="1477" y="2786"/>
                    <a:pt x="1480" y="2786"/>
                  </a:cubicBezTo>
                  <a:close/>
                  <a:moveTo>
                    <a:pt x="1480" y="226"/>
                  </a:moveTo>
                  <a:cubicBezTo>
                    <a:pt x="1489" y="231"/>
                    <a:pt x="1469" y="231"/>
                    <a:pt x="1480" y="226"/>
                  </a:cubicBezTo>
                  <a:close/>
                  <a:moveTo>
                    <a:pt x="1480" y="82"/>
                  </a:moveTo>
                  <a:cubicBezTo>
                    <a:pt x="1480" y="82"/>
                    <a:pt x="1477" y="79"/>
                    <a:pt x="1477" y="76"/>
                  </a:cubicBezTo>
                  <a:lnTo>
                    <a:pt x="1480" y="76"/>
                  </a:lnTo>
                  <a:lnTo>
                    <a:pt x="1480" y="82"/>
                  </a:lnTo>
                  <a:close/>
                  <a:moveTo>
                    <a:pt x="1469" y="203"/>
                  </a:moveTo>
                  <a:cubicBezTo>
                    <a:pt x="1469" y="200"/>
                    <a:pt x="1466" y="195"/>
                    <a:pt x="1463" y="195"/>
                  </a:cubicBezTo>
                  <a:cubicBezTo>
                    <a:pt x="1466" y="189"/>
                    <a:pt x="1480" y="203"/>
                    <a:pt x="1469" y="203"/>
                  </a:cubicBezTo>
                  <a:close/>
                  <a:moveTo>
                    <a:pt x="1459" y="2329"/>
                  </a:moveTo>
                  <a:lnTo>
                    <a:pt x="1459" y="2320"/>
                  </a:lnTo>
                  <a:cubicBezTo>
                    <a:pt x="1463" y="2318"/>
                    <a:pt x="1463" y="2332"/>
                    <a:pt x="1459" y="2329"/>
                  </a:cubicBezTo>
                  <a:close/>
                  <a:moveTo>
                    <a:pt x="1459" y="2244"/>
                  </a:moveTo>
                  <a:cubicBezTo>
                    <a:pt x="1459" y="2239"/>
                    <a:pt x="1469" y="2247"/>
                    <a:pt x="1459" y="2244"/>
                  </a:cubicBezTo>
                  <a:close/>
                  <a:moveTo>
                    <a:pt x="1466" y="2538"/>
                  </a:moveTo>
                  <a:cubicBezTo>
                    <a:pt x="1460" y="2543"/>
                    <a:pt x="1459" y="2529"/>
                    <a:pt x="1466" y="2538"/>
                  </a:cubicBezTo>
                  <a:close/>
                  <a:moveTo>
                    <a:pt x="1456" y="226"/>
                  </a:moveTo>
                  <a:cubicBezTo>
                    <a:pt x="1460" y="226"/>
                    <a:pt x="1463" y="231"/>
                    <a:pt x="1469" y="231"/>
                  </a:cubicBezTo>
                  <a:cubicBezTo>
                    <a:pt x="1466" y="237"/>
                    <a:pt x="1456" y="231"/>
                    <a:pt x="1456" y="226"/>
                  </a:cubicBezTo>
                  <a:close/>
                  <a:moveTo>
                    <a:pt x="1469" y="186"/>
                  </a:moveTo>
                  <a:cubicBezTo>
                    <a:pt x="1466" y="186"/>
                    <a:pt x="1463" y="180"/>
                    <a:pt x="1463" y="180"/>
                  </a:cubicBezTo>
                  <a:cubicBezTo>
                    <a:pt x="1477" y="180"/>
                    <a:pt x="1469" y="183"/>
                    <a:pt x="1469" y="186"/>
                  </a:cubicBezTo>
                  <a:close/>
                  <a:moveTo>
                    <a:pt x="1460" y="59"/>
                  </a:moveTo>
                  <a:cubicBezTo>
                    <a:pt x="1460" y="54"/>
                    <a:pt x="1469" y="62"/>
                    <a:pt x="1460" y="59"/>
                  </a:cubicBezTo>
                  <a:close/>
                  <a:moveTo>
                    <a:pt x="1463" y="54"/>
                  </a:moveTo>
                  <a:lnTo>
                    <a:pt x="1456" y="54"/>
                  </a:lnTo>
                  <a:cubicBezTo>
                    <a:pt x="1453" y="45"/>
                    <a:pt x="1459" y="42"/>
                    <a:pt x="1463" y="42"/>
                  </a:cubicBezTo>
                  <a:lnTo>
                    <a:pt x="1463" y="54"/>
                  </a:lnTo>
                  <a:close/>
                  <a:moveTo>
                    <a:pt x="1456" y="14"/>
                  </a:moveTo>
                  <a:cubicBezTo>
                    <a:pt x="1459" y="14"/>
                    <a:pt x="1460" y="17"/>
                    <a:pt x="1463" y="17"/>
                  </a:cubicBezTo>
                  <a:cubicBezTo>
                    <a:pt x="1460" y="23"/>
                    <a:pt x="1459" y="25"/>
                    <a:pt x="1453" y="31"/>
                  </a:cubicBezTo>
                  <a:cubicBezTo>
                    <a:pt x="1453" y="25"/>
                    <a:pt x="1453" y="20"/>
                    <a:pt x="1456" y="14"/>
                  </a:cubicBezTo>
                  <a:close/>
                  <a:moveTo>
                    <a:pt x="1456" y="155"/>
                  </a:moveTo>
                  <a:cubicBezTo>
                    <a:pt x="1463" y="158"/>
                    <a:pt x="1459" y="172"/>
                    <a:pt x="1460" y="180"/>
                  </a:cubicBezTo>
                  <a:cubicBezTo>
                    <a:pt x="1459" y="178"/>
                    <a:pt x="1453" y="172"/>
                    <a:pt x="1450" y="166"/>
                  </a:cubicBezTo>
                  <a:cubicBezTo>
                    <a:pt x="1456" y="166"/>
                    <a:pt x="1456" y="161"/>
                    <a:pt x="1456" y="155"/>
                  </a:cubicBezTo>
                  <a:close/>
                  <a:moveTo>
                    <a:pt x="1456" y="1990"/>
                  </a:moveTo>
                  <a:cubicBezTo>
                    <a:pt x="1453" y="1990"/>
                    <a:pt x="1450" y="1988"/>
                    <a:pt x="1447" y="1985"/>
                  </a:cubicBezTo>
                  <a:cubicBezTo>
                    <a:pt x="1447" y="1982"/>
                    <a:pt x="1456" y="1985"/>
                    <a:pt x="1456" y="1990"/>
                  </a:cubicBezTo>
                  <a:close/>
                  <a:moveTo>
                    <a:pt x="1450" y="93"/>
                  </a:moveTo>
                  <a:cubicBezTo>
                    <a:pt x="1453" y="99"/>
                    <a:pt x="1447" y="102"/>
                    <a:pt x="1442" y="104"/>
                  </a:cubicBezTo>
                  <a:cubicBezTo>
                    <a:pt x="1442" y="96"/>
                    <a:pt x="1444" y="93"/>
                    <a:pt x="1450" y="93"/>
                  </a:cubicBezTo>
                  <a:close/>
                  <a:moveTo>
                    <a:pt x="1439" y="2529"/>
                  </a:moveTo>
                  <a:cubicBezTo>
                    <a:pt x="1444" y="2521"/>
                    <a:pt x="1442" y="2538"/>
                    <a:pt x="1439" y="2529"/>
                  </a:cubicBezTo>
                  <a:close/>
                  <a:moveTo>
                    <a:pt x="1439" y="192"/>
                  </a:moveTo>
                  <a:cubicBezTo>
                    <a:pt x="1433" y="186"/>
                    <a:pt x="1450" y="186"/>
                    <a:pt x="1439" y="192"/>
                  </a:cubicBezTo>
                  <a:close/>
                  <a:moveTo>
                    <a:pt x="1436" y="144"/>
                  </a:moveTo>
                  <a:cubicBezTo>
                    <a:pt x="1442" y="141"/>
                    <a:pt x="1442" y="149"/>
                    <a:pt x="1444" y="152"/>
                  </a:cubicBezTo>
                  <a:cubicBezTo>
                    <a:pt x="1442" y="152"/>
                    <a:pt x="1436" y="149"/>
                    <a:pt x="1436" y="144"/>
                  </a:cubicBezTo>
                  <a:close/>
                  <a:moveTo>
                    <a:pt x="1436" y="65"/>
                  </a:moveTo>
                  <a:lnTo>
                    <a:pt x="1436" y="59"/>
                  </a:lnTo>
                  <a:cubicBezTo>
                    <a:pt x="1439" y="59"/>
                    <a:pt x="1442" y="62"/>
                    <a:pt x="1442" y="65"/>
                  </a:cubicBezTo>
                  <a:lnTo>
                    <a:pt x="1436" y="65"/>
                  </a:lnTo>
                  <a:close/>
                  <a:moveTo>
                    <a:pt x="1433" y="28"/>
                  </a:moveTo>
                  <a:cubicBezTo>
                    <a:pt x="1436" y="28"/>
                    <a:pt x="1436" y="28"/>
                    <a:pt x="1439" y="31"/>
                  </a:cubicBezTo>
                  <a:cubicBezTo>
                    <a:pt x="1439" y="31"/>
                    <a:pt x="1442" y="31"/>
                    <a:pt x="1442" y="34"/>
                  </a:cubicBezTo>
                  <a:cubicBezTo>
                    <a:pt x="1444" y="37"/>
                    <a:pt x="1444" y="42"/>
                    <a:pt x="1436" y="45"/>
                  </a:cubicBezTo>
                  <a:cubicBezTo>
                    <a:pt x="1433" y="39"/>
                    <a:pt x="1433" y="34"/>
                    <a:pt x="1433" y="28"/>
                  </a:cubicBezTo>
                  <a:close/>
                  <a:moveTo>
                    <a:pt x="1428" y="2013"/>
                  </a:moveTo>
                  <a:cubicBezTo>
                    <a:pt x="1428" y="2005"/>
                    <a:pt x="1439" y="2016"/>
                    <a:pt x="1428" y="2013"/>
                  </a:cubicBezTo>
                  <a:close/>
                  <a:moveTo>
                    <a:pt x="1416" y="231"/>
                  </a:moveTo>
                  <a:cubicBezTo>
                    <a:pt x="1428" y="231"/>
                    <a:pt x="1411" y="245"/>
                    <a:pt x="1416" y="231"/>
                  </a:cubicBezTo>
                  <a:close/>
                  <a:moveTo>
                    <a:pt x="1413" y="85"/>
                  </a:moveTo>
                  <a:cubicBezTo>
                    <a:pt x="1416" y="85"/>
                    <a:pt x="1422" y="87"/>
                    <a:pt x="1422" y="93"/>
                  </a:cubicBezTo>
                  <a:cubicBezTo>
                    <a:pt x="1419" y="93"/>
                    <a:pt x="1416" y="93"/>
                    <a:pt x="1416" y="96"/>
                  </a:cubicBezTo>
                  <a:cubicBezTo>
                    <a:pt x="1416" y="93"/>
                    <a:pt x="1413" y="87"/>
                    <a:pt x="1413" y="85"/>
                  </a:cubicBezTo>
                  <a:close/>
                  <a:moveTo>
                    <a:pt x="1430" y="2597"/>
                  </a:moveTo>
                  <a:cubicBezTo>
                    <a:pt x="1428" y="2600"/>
                    <a:pt x="1425" y="2603"/>
                    <a:pt x="1422" y="2603"/>
                  </a:cubicBezTo>
                  <a:cubicBezTo>
                    <a:pt x="1419" y="2597"/>
                    <a:pt x="1428" y="2597"/>
                    <a:pt x="1430" y="2597"/>
                  </a:cubicBezTo>
                  <a:close/>
                  <a:moveTo>
                    <a:pt x="1422" y="228"/>
                  </a:moveTo>
                  <a:cubicBezTo>
                    <a:pt x="1428" y="220"/>
                    <a:pt x="1428" y="234"/>
                    <a:pt x="1422" y="228"/>
                  </a:cubicBezTo>
                  <a:close/>
                  <a:moveTo>
                    <a:pt x="1425" y="2148"/>
                  </a:moveTo>
                  <a:cubicBezTo>
                    <a:pt x="1425" y="2143"/>
                    <a:pt x="1433" y="2151"/>
                    <a:pt x="1425" y="2148"/>
                  </a:cubicBezTo>
                  <a:close/>
                  <a:moveTo>
                    <a:pt x="1433" y="6"/>
                  </a:moveTo>
                  <a:cubicBezTo>
                    <a:pt x="1433" y="20"/>
                    <a:pt x="1428" y="17"/>
                    <a:pt x="1422" y="8"/>
                  </a:cubicBezTo>
                  <a:cubicBezTo>
                    <a:pt x="1425" y="8"/>
                    <a:pt x="1430" y="8"/>
                    <a:pt x="1433" y="6"/>
                  </a:cubicBezTo>
                  <a:close/>
                  <a:moveTo>
                    <a:pt x="1425" y="48"/>
                  </a:moveTo>
                  <a:cubicBezTo>
                    <a:pt x="1433" y="42"/>
                    <a:pt x="1422" y="56"/>
                    <a:pt x="1425" y="48"/>
                  </a:cubicBezTo>
                  <a:close/>
                  <a:moveTo>
                    <a:pt x="1433" y="23"/>
                  </a:moveTo>
                  <a:cubicBezTo>
                    <a:pt x="1428" y="28"/>
                    <a:pt x="1419" y="20"/>
                    <a:pt x="1433" y="23"/>
                  </a:cubicBezTo>
                  <a:close/>
                  <a:moveTo>
                    <a:pt x="1425" y="68"/>
                  </a:moveTo>
                  <a:lnTo>
                    <a:pt x="1426" y="69"/>
                  </a:lnTo>
                  <a:cubicBezTo>
                    <a:pt x="1430" y="75"/>
                    <a:pt x="1428" y="82"/>
                    <a:pt x="1433" y="85"/>
                  </a:cubicBezTo>
                  <a:cubicBezTo>
                    <a:pt x="1425" y="87"/>
                    <a:pt x="1413" y="85"/>
                    <a:pt x="1408" y="79"/>
                  </a:cubicBezTo>
                  <a:cubicBezTo>
                    <a:pt x="1411" y="76"/>
                    <a:pt x="1422" y="73"/>
                    <a:pt x="1425" y="68"/>
                  </a:cubicBezTo>
                  <a:close/>
                  <a:moveTo>
                    <a:pt x="1397" y="2509"/>
                  </a:moveTo>
                  <a:cubicBezTo>
                    <a:pt x="1397" y="2501"/>
                    <a:pt x="1405" y="2512"/>
                    <a:pt x="1397" y="2509"/>
                  </a:cubicBezTo>
                  <a:close/>
                  <a:moveTo>
                    <a:pt x="1397" y="2594"/>
                  </a:moveTo>
                  <a:cubicBezTo>
                    <a:pt x="1397" y="2588"/>
                    <a:pt x="1405" y="2597"/>
                    <a:pt x="1397" y="2594"/>
                  </a:cubicBezTo>
                  <a:close/>
                  <a:moveTo>
                    <a:pt x="1397" y="209"/>
                  </a:moveTo>
                  <a:cubicBezTo>
                    <a:pt x="1397" y="203"/>
                    <a:pt x="1408" y="209"/>
                    <a:pt x="1397" y="209"/>
                  </a:cubicBezTo>
                  <a:close/>
                  <a:moveTo>
                    <a:pt x="1411" y="214"/>
                  </a:moveTo>
                  <a:cubicBezTo>
                    <a:pt x="1411" y="217"/>
                    <a:pt x="1405" y="223"/>
                    <a:pt x="1405" y="226"/>
                  </a:cubicBezTo>
                  <a:cubicBezTo>
                    <a:pt x="1399" y="223"/>
                    <a:pt x="1408" y="214"/>
                    <a:pt x="1411" y="214"/>
                  </a:cubicBezTo>
                  <a:close/>
                  <a:moveTo>
                    <a:pt x="1397" y="147"/>
                  </a:moveTo>
                  <a:cubicBezTo>
                    <a:pt x="1397" y="144"/>
                    <a:pt x="1399" y="141"/>
                    <a:pt x="1402" y="138"/>
                  </a:cubicBezTo>
                  <a:cubicBezTo>
                    <a:pt x="1405" y="144"/>
                    <a:pt x="1399" y="147"/>
                    <a:pt x="1397" y="147"/>
                  </a:cubicBezTo>
                  <a:close/>
                  <a:moveTo>
                    <a:pt x="1402" y="45"/>
                  </a:moveTo>
                  <a:cubicBezTo>
                    <a:pt x="1399" y="45"/>
                    <a:pt x="1397" y="39"/>
                    <a:pt x="1397" y="37"/>
                  </a:cubicBezTo>
                  <a:cubicBezTo>
                    <a:pt x="1399" y="37"/>
                    <a:pt x="1402" y="42"/>
                    <a:pt x="1402" y="45"/>
                  </a:cubicBezTo>
                  <a:close/>
                  <a:moveTo>
                    <a:pt x="1394" y="99"/>
                  </a:moveTo>
                  <a:cubicBezTo>
                    <a:pt x="1398" y="99"/>
                    <a:pt x="1401" y="104"/>
                    <a:pt x="1400" y="107"/>
                  </a:cubicBezTo>
                  <a:lnTo>
                    <a:pt x="1402" y="107"/>
                  </a:lnTo>
                  <a:cubicBezTo>
                    <a:pt x="1402" y="113"/>
                    <a:pt x="1394" y="116"/>
                    <a:pt x="1391" y="107"/>
                  </a:cubicBezTo>
                  <a:lnTo>
                    <a:pt x="1396" y="107"/>
                  </a:lnTo>
                  <a:cubicBezTo>
                    <a:pt x="1395" y="105"/>
                    <a:pt x="1394" y="102"/>
                    <a:pt x="1394" y="99"/>
                  </a:cubicBezTo>
                  <a:close/>
                  <a:moveTo>
                    <a:pt x="1391" y="2137"/>
                  </a:moveTo>
                  <a:cubicBezTo>
                    <a:pt x="1391" y="2129"/>
                    <a:pt x="1399" y="2140"/>
                    <a:pt x="1391" y="2137"/>
                  </a:cubicBezTo>
                  <a:close/>
                  <a:moveTo>
                    <a:pt x="1388" y="183"/>
                  </a:moveTo>
                  <a:cubicBezTo>
                    <a:pt x="1388" y="178"/>
                    <a:pt x="1397" y="186"/>
                    <a:pt x="1388" y="183"/>
                  </a:cubicBezTo>
                  <a:close/>
                  <a:moveTo>
                    <a:pt x="1388" y="104"/>
                  </a:moveTo>
                  <a:lnTo>
                    <a:pt x="1388" y="110"/>
                  </a:lnTo>
                  <a:lnTo>
                    <a:pt x="1383" y="110"/>
                  </a:lnTo>
                  <a:cubicBezTo>
                    <a:pt x="1382" y="113"/>
                    <a:pt x="1378" y="117"/>
                    <a:pt x="1380" y="107"/>
                  </a:cubicBezTo>
                  <a:lnTo>
                    <a:pt x="1380" y="107"/>
                  </a:lnTo>
                  <a:cubicBezTo>
                    <a:pt x="1380" y="106"/>
                    <a:pt x="1380" y="105"/>
                    <a:pt x="1380" y="104"/>
                  </a:cubicBezTo>
                  <a:lnTo>
                    <a:pt x="1388" y="104"/>
                  </a:lnTo>
                  <a:close/>
                  <a:moveTo>
                    <a:pt x="1388" y="2817"/>
                  </a:moveTo>
                  <a:cubicBezTo>
                    <a:pt x="1385" y="2814"/>
                    <a:pt x="1377" y="2814"/>
                    <a:pt x="1371" y="2814"/>
                  </a:cubicBezTo>
                  <a:cubicBezTo>
                    <a:pt x="1374" y="2808"/>
                    <a:pt x="1391" y="2808"/>
                    <a:pt x="1388" y="2817"/>
                  </a:cubicBezTo>
                  <a:close/>
                  <a:moveTo>
                    <a:pt x="1374" y="2777"/>
                  </a:moveTo>
                  <a:cubicBezTo>
                    <a:pt x="1373" y="2777"/>
                    <a:pt x="1372" y="2776"/>
                    <a:pt x="1371" y="2775"/>
                  </a:cubicBezTo>
                  <a:cubicBezTo>
                    <a:pt x="1371" y="2780"/>
                    <a:pt x="1363" y="2778"/>
                    <a:pt x="1360" y="2783"/>
                  </a:cubicBezTo>
                  <a:cubicBezTo>
                    <a:pt x="1354" y="2780"/>
                    <a:pt x="1367" y="2775"/>
                    <a:pt x="1371" y="2775"/>
                  </a:cubicBezTo>
                  <a:cubicBezTo>
                    <a:pt x="1362" y="2766"/>
                    <a:pt x="1357" y="2754"/>
                    <a:pt x="1360" y="2744"/>
                  </a:cubicBezTo>
                  <a:cubicBezTo>
                    <a:pt x="1374" y="2741"/>
                    <a:pt x="1377" y="2761"/>
                    <a:pt x="1374" y="2777"/>
                  </a:cubicBezTo>
                  <a:close/>
                  <a:moveTo>
                    <a:pt x="1380" y="290"/>
                  </a:moveTo>
                  <a:lnTo>
                    <a:pt x="1380" y="296"/>
                  </a:lnTo>
                  <a:lnTo>
                    <a:pt x="1374" y="296"/>
                  </a:lnTo>
                  <a:cubicBezTo>
                    <a:pt x="1374" y="296"/>
                    <a:pt x="1371" y="293"/>
                    <a:pt x="1371" y="290"/>
                  </a:cubicBezTo>
                  <a:cubicBezTo>
                    <a:pt x="1374" y="293"/>
                    <a:pt x="1377" y="293"/>
                    <a:pt x="1380" y="290"/>
                  </a:cubicBezTo>
                  <a:close/>
                  <a:moveTo>
                    <a:pt x="1374" y="226"/>
                  </a:moveTo>
                  <a:cubicBezTo>
                    <a:pt x="1377" y="226"/>
                    <a:pt x="1377" y="231"/>
                    <a:pt x="1377" y="234"/>
                  </a:cubicBezTo>
                  <a:cubicBezTo>
                    <a:pt x="1374" y="234"/>
                    <a:pt x="1374" y="228"/>
                    <a:pt x="1374" y="226"/>
                  </a:cubicBezTo>
                  <a:close/>
                  <a:moveTo>
                    <a:pt x="1385" y="2752"/>
                  </a:moveTo>
                  <a:cubicBezTo>
                    <a:pt x="1385" y="2755"/>
                    <a:pt x="1382" y="2758"/>
                    <a:pt x="1382" y="2763"/>
                  </a:cubicBezTo>
                  <a:cubicBezTo>
                    <a:pt x="1377" y="2761"/>
                    <a:pt x="1380" y="2749"/>
                    <a:pt x="1385" y="2752"/>
                  </a:cubicBezTo>
                  <a:close/>
                  <a:moveTo>
                    <a:pt x="1374" y="2603"/>
                  </a:moveTo>
                  <a:lnTo>
                    <a:pt x="1375" y="2603"/>
                  </a:lnTo>
                  <a:cubicBezTo>
                    <a:pt x="1374" y="2604"/>
                    <a:pt x="1373" y="2605"/>
                    <a:pt x="1374" y="2603"/>
                  </a:cubicBezTo>
                  <a:cubicBezTo>
                    <a:pt x="1377" y="2600"/>
                    <a:pt x="1376" y="2601"/>
                    <a:pt x="1375" y="2603"/>
                  </a:cubicBezTo>
                  <a:lnTo>
                    <a:pt x="1374" y="2603"/>
                  </a:lnTo>
                  <a:close/>
                  <a:moveTo>
                    <a:pt x="1377" y="14"/>
                  </a:moveTo>
                  <a:cubicBezTo>
                    <a:pt x="1380" y="14"/>
                    <a:pt x="1382" y="17"/>
                    <a:pt x="1385" y="20"/>
                  </a:cubicBezTo>
                  <a:lnTo>
                    <a:pt x="1380" y="20"/>
                  </a:lnTo>
                  <a:cubicBezTo>
                    <a:pt x="1377" y="20"/>
                    <a:pt x="1377" y="17"/>
                    <a:pt x="1377" y="14"/>
                  </a:cubicBezTo>
                  <a:close/>
                  <a:moveTo>
                    <a:pt x="1368" y="39"/>
                  </a:moveTo>
                  <a:lnTo>
                    <a:pt x="1380" y="39"/>
                  </a:lnTo>
                  <a:cubicBezTo>
                    <a:pt x="1377" y="42"/>
                    <a:pt x="1374" y="51"/>
                    <a:pt x="1368" y="48"/>
                  </a:cubicBezTo>
                  <a:lnTo>
                    <a:pt x="1368" y="39"/>
                  </a:lnTo>
                  <a:close/>
                  <a:moveTo>
                    <a:pt x="1365" y="31"/>
                  </a:moveTo>
                  <a:cubicBezTo>
                    <a:pt x="1374" y="34"/>
                    <a:pt x="1360" y="39"/>
                    <a:pt x="1365" y="31"/>
                  </a:cubicBezTo>
                  <a:close/>
                  <a:moveTo>
                    <a:pt x="1374" y="99"/>
                  </a:moveTo>
                  <a:cubicBezTo>
                    <a:pt x="1374" y="107"/>
                    <a:pt x="1363" y="110"/>
                    <a:pt x="1365" y="118"/>
                  </a:cubicBezTo>
                  <a:cubicBezTo>
                    <a:pt x="1357" y="116"/>
                    <a:pt x="1363" y="104"/>
                    <a:pt x="1357" y="96"/>
                  </a:cubicBezTo>
                  <a:cubicBezTo>
                    <a:pt x="1363" y="96"/>
                    <a:pt x="1365" y="99"/>
                    <a:pt x="1374" y="99"/>
                  </a:cubicBezTo>
                  <a:close/>
                  <a:moveTo>
                    <a:pt x="1365" y="2061"/>
                  </a:moveTo>
                  <a:cubicBezTo>
                    <a:pt x="1365" y="2055"/>
                    <a:pt x="1374" y="2064"/>
                    <a:pt x="1365" y="2061"/>
                  </a:cubicBezTo>
                  <a:close/>
                  <a:moveTo>
                    <a:pt x="1354" y="172"/>
                  </a:moveTo>
                  <a:lnTo>
                    <a:pt x="1360" y="172"/>
                  </a:lnTo>
                  <a:lnTo>
                    <a:pt x="1360" y="178"/>
                  </a:lnTo>
                  <a:cubicBezTo>
                    <a:pt x="1358" y="178"/>
                    <a:pt x="1356" y="179"/>
                    <a:pt x="1354" y="180"/>
                  </a:cubicBezTo>
                  <a:cubicBezTo>
                    <a:pt x="1358" y="196"/>
                    <a:pt x="1353" y="193"/>
                    <a:pt x="1343" y="200"/>
                  </a:cubicBezTo>
                  <a:cubicBezTo>
                    <a:pt x="1329" y="200"/>
                    <a:pt x="1332" y="183"/>
                    <a:pt x="1334" y="172"/>
                  </a:cubicBezTo>
                  <a:cubicBezTo>
                    <a:pt x="1343" y="172"/>
                    <a:pt x="1346" y="175"/>
                    <a:pt x="1351" y="172"/>
                  </a:cubicBezTo>
                  <a:cubicBezTo>
                    <a:pt x="1352" y="174"/>
                    <a:pt x="1352" y="175"/>
                    <a:pt x="1353" y="176"/>
                  </a:cubicBezTo>
                  <a:cubicBezTo>
                    <a:pt x="1353" y="175"/>
                    <a:pt x="1354" y="173"/>
                    <a:pt x="1354" y="172"/>
                  </a:cubicBezTo>
                  <a:close/>
                  <a:moveTo>
                    <a:pt x="1351" y="144"/>
                  </a:moveTo>
                  <a:cubicBezTo>
                    <a:pt x="1360" y="149"/>
                    <a:pt x="1349" y="144"/>
                    <a:pt x="1351" y="144"/>
                  </a:cubicBezTo>
                  <a:close/>
                  <a:moveTo>
                    <a:pt x="1357" y="2033"/>
                  </a:moveTo>
                  <a:cubicBezTo>
                    <a:pt x="1357" y="2027"/>
                    <a:pt x="1365" y="2036"/>
                    <a:pt x="1357" y="2033"/>
                  </a:cubicBezTo>
                  <a:close/>
                  <a:moveTo>
                    <a:pt x="1365" y="2055"/>
                  </a:moveTo>
                  <a:cubicBezTo>
                    <a:pt x="1365" y="2061"/>
                    <a:pt x="1357" y="2061"/>
                    <a:pt x="1354" y="2058"/>
                  </a:cubicBezTo>
                  <a:cubicBezTo>
                    <a:pt x="1357" y="2055"/>
                    <a:pt x="1363" y="2055"/>
                    <a:pt x="1365" y="2055"/>
                  </a:cubicBezTo>
                  <a:close/>
                  <a:moveTo>
                    <a:pt x="1360" y="28"/>
                  </a:moveTo>
                  <a:cubicBezTo>
                    <a:pt x="1357" y="28"/>
                    <a:pt x="1354" y="28"/>
                    <a:pt x="1351" y="31"/>
                  </a:cubicBezTo>
                  <a:lnTo>
                    <a:pt x="1351" y="25"/>
                  </a:lnTo>
                  <a:cubicBezTo>
                    <a:pt x="1354" y="23"/>
                    <a:pt x="1357" y="23"/>
                    <a:pt x="1360" y="28"/>
                  </a:cubicBezTo>
                  <a:close/>
                  <a:moveTo>
                    <a:pt x="1349" y="65"/>
                  </a:moveTo>
                  <a:cubicBezTo>
                    <a:pt x="1349" y="59"/>
                    <a:pt x="1357" y="68"/>
                    <a:pt x="1349" y="65"/>
                  </a:cubicBezTo>
                  <a:close/>
                  <a:moveTo>
                    <a:pt x="1346" y="59"/>
                  </a:moveTo>
                  <a:lnTo>
                    <a:pt x="1346" y="65"/>
                  </a:lnTo>
                  <a:lnTo>
                    <a:pt x="1340" y="65"/>
                  </a:lnTo>
                  <a:cubicBezTo>
                    <a:pt x="1340" y="65"/>
                    <a:pt x="1337" y="62"/>
                    <a:pt x="1337" y="59"/>
                  </a:cubicBezTo>
                  <a:cubicBezTo>
                    <a:pt x="1340" y="62"/>
                    <a:pt x="1346" y="59"/>
                    <a:pt x="1346" y="59"/>
                  </a:cubicBezTo>
                  <a:close/>
                  <a:moveTo>
                    <a:pt x="1337" y="37"/>
                  </a:moveTo>
                  <a:cubicBezTo>
                    <a:pt x="1343" y="39"/>
                    <a:pt x="1332" y="54"/>
                    <a:pt x="1332" y="42"/>
                  </a:cubicBezTo>
                  <a:cubicBezTo>
                    <a:pt x="1334" y="39"/>
                    <a:pt x="1337" y="39"/>
                    <a:pt x="1337" y="37"/>
                  </a:cubicBezTo>
                  <a:close/>
                  <a:moveTo>
                    <a:pt x="1343" y="113"/>
                  </a:moveTo>
                  <a:cubicBezTo>
                    <a:pt x="1337" y="118"/>
                    <a:pt x="1329" y="107"/>
                    <a:pt x="1343" y="113"/>
                  </a:cubicBezTo>
                  <a:close/>
                  <a:moveTo>
                    <a:pt x="1326" y="54"/>
                  </a:moveTo>
                  <a:cubicBezTo>
                    <a:pt x="1326" y="48"/>
                    <a:pt x="1337" y="56"/>
                    <a:pt x="1326" y="54"/>
                  </a:cubicBezTo>
                  <a:close/>
                  <a:moveTo>
                    <a:pt x="1323" y="8"/>
                  </a:moveTo>
                  <a:cubicBezTo>
                    <a:pt x="1323" y="3"/>
                    <a:pt x="1332" y="11"/>
                    <a:pt x="1323" y="8"/>
                  </a:cubicBezTo>
                  <a:close/>
                  <a:moveTo>
                    <a:pt x="1318" y="51"/>
                  </a:moveTo>
                  <a:cubicBezTo>
                    <a:pt x="1315" y="45"/>
                    <a:pt x="1326" y="51"/>
                    <a:pt x="1318" y="51"/>
                  </a:cubicBezTo>
                  <a:close/>
                  <a:moveTo>
                    <a:pt x="1303" y="8"/>
                  </a:moveTo>
                  <a:cubicBezTo>
                    <a:pt x="1303" y="11"/>
                    <a:pt x="1298" y="14"/>
                    <a:pt x="1295" y="14"/>
                  </a:cubicBezTo>
                  <a:cubicBezTo>
                    <a:pt x="1298" y="14"/>
                    <a:pt x="1303" y="17"/>
                    <a:pt x="1303" y="20"/>
                  </a:cubicBezTo>
                  <a:cubicBezTo>
                    <a:pt x="1301" y="23"/>
                    <a:pt x="1298" y="20"/>
                    <a:pt x="1295" y="17"/>
                  </a:cubicBezTo>
                  <a:lnTo>
                    <a:pt x="1295" y="14"/>
                  </a:lnTo>
                  <a:cubicBezTo>
                    <a:pt x="1298" y="11"/>
                    <a:pt x="1301" y="11"/>
                    <a:pt x="1303" y="8"/>
                  </a:cubicBezTo>
                  <a:close/>
                  <a:moveTo>
                    <a:pt x="1303" y="23"/>
                  </a:moveTo>
                  <a:cubicBezTo>
                    <a:pt x="1303" y="25"/>
                    <a:pt x="1301" y="31"/>
                    <a:pt x="1295" y="31"/>
                  </a:cubicBezTo>
                  <a:cubicBezTo>
                    <a:pt x="1295" y="28"/>
                    <a:pt x="1295" y="25"/>
                    <a:pt x="1292" y="25"/>
                  </a:cubicBezTo>
                  <a:cubicBezTo>
                    <a:pt x="1298" y="23"/>
                    <a:pt x="1301" y="23"/>
                    <a:pt x="1303" y="23"/>
                  </a:cubicBezTo>
                  <a:close/>
                  <a:moveTo>
                    <a:pt x="1284" y="28"/>
                  </a:moveTo>
                  <a:cubicBezTo>
                    <a:pt x="1286" y="20"/>
                    <a:pt x="1292" y="37"/>
                    <a:pt x="1284" y="28"/>
                  </a:cubicBezTo>
                  <a:close/>
                  <a:moveTo>
                    <a:pt x="1281" y="189"/>
                  </a:moveTo>
                  <a:cubicBezTo>
                    <a:pt x="1278" y="189"/>
                    <a:pt x="1278" y="186"/>
                    <a:pt x="1278" y="186"/>
                  </a:cubicBezTo>
                  <a:lnTo>
                    <a:pt x="1282" y="186"/>
                  </a:lnTo>
                  <a:cubicBezTo>
                    <a:pt x="1281" y="184"/>
                    <a:pt x="1280" y="182"/>
                    <a:pt x="1281" y="180"/>
                  </a:cubicBezTo>
                  <a:cubicBezTo>
                    <a:pt x="1284" y="183"/>
                    <a:pt x="1292" y="183"/>
                    <a:pt x="1295" y="192"/>
                  </a:cubicBezTo>
                  <a:cubicBezTo>
                    <a:pt x="1291" y="192"/>
                    <a:pt x="1285" y="189"/>
                    <a:pt x="1282" y="186"/>
                  </a:cubicBezTo>
                  <a:cubicBezTo>
                    <a:pt x="1281" y="187"/>
                    <a:pt x="1281" y="189"/>
                    <a:pt x="1281" y="189"/>
                  </a:cubicBezTo>
                  <a:close/>
                  <a:moveTo>
                    <a:pt x="1278" y="2154"/>
                  </a:moveTo>
                  <a:cubicBezTo>
                    <a:pt x="1278" y="2148"/>
                    <a:pt x="1289" y="2157"/>
                    <a:pt x="1278" y="2154"/>
                  </a:cubicBezTo>
                  <a:close/>
                  <a:moveTo>
                    <a:pt x="1281" y="28"/>
                  </a:moveTo>
                  <a:cubicBezTo>
                    <a:pt x="1284" y="31"/>
                    <a:pt x="1272" y="34"/>
                    <a:pt x="1272" y="28"/>
                  </a:cubicBezTo>
                  <a:lnTo>
                    <a:pt x="1281" y="28"/>
                  </a:lnTo>
                  <a:close/>
                  <a:moveTo>
                    <a:pt x="1275" y="302"/>
                  </a:moveTo>
                  <a:lnTo>
                    <a:pt x="1275" y="307"/>
                  </a:lnTo>
                  <a:lnTo>
                    <a:pt x="1270" y="307"/>
                  </a:lnTo>
                  <a:cubicBezTo>
                    <a:pt x="1270" y="307"/>
                    <a:pt x="1267" y="305"/>
                    <a:pt x="1267" y="302"/>
                  </a:cubicBezTo>
                  <a:lnTo>
                    <a:pt x="1275" y="302"/>
                  </a:lnTo>
                  <a:close/>
                  <a:moveTo>
                    <a:pt x="1270" y="2160"/>
                  </a:moveTo>
                  <a:cubicBezTo>
                    <a:pt x="1270" y="2154"/>
                    <a:pt x="1278" y="2163"/>
                    <a:pt x="1270" y="2160"/>
                  </a:cubicBezTo>
                  <a:close/>
                  <a:moveTo>
                    <a:pt x="1267" y="2662"/>
                  </a:moveTo>
                  <a:cubicBezTo>
                    <a:pt x="1275" y="2656"/>
                    <a:pt x="1264" y="2667"/>
                    <a:pt x="1267" y="2662"/>
                  </a:cubicBezTo>
                  <a:close/>
                  <a:moveTo>
                    <a:pt x="1261" y="2698"/>
                  </a:moveTo>
                  <a:cubicBezTo>
                    <a:pt x="1272" y="2698"/>
                    <a:pt x="1264" y="2713"/>
                    <a:pt x="1258" y="2713"/>
                  </a:cubicBezTo>
                  <a:cubicBezTo>
                    <a:pt x="1258" y="2707"/>
                    <a:pt x="1264" y="2704"/>
                    <a:pt x="1261" y="2698"/>
                  </a:cubicBezTo>
                  <a:close/>
                  <a:moveTo>
                    <a:pt x="1270" y="17"/>
                  </a:moveTo>
                  <a:cubicBezTo>
                    <a:pt x="1270" y="23"/>
                    <a:pt x="1261" y="20"/>
                    <a:pt x="1261" y="20"/>
                  </a:cubicBezTo>
                  <a:cubicBezTo>
                    <a:pt x="1261" y="14"/>
                    <a:pt x="1270" y="17"/>
                    <a:pt x="1270" y="17"/>
                  </a:cubicBezTo>
                  <a:close/>
                  <a:moveTo>
                    <a:pt x="1264" y="265"/>
                  </a:moveTo>
                  <a:cubicBezTo>
                    <a:pt x="1261" y="265"/>
                    <a:pt x="1258" y="262"/>
                    <a:pt x="1255" y="259"/>
                  </a:cubicBezTo>
                  <a:cubicBezTo>
                    <a:pt x="1261" y="257"/>
                    <a:pt x="1264" y="262"/>
                    <a:pt x="1264" y="265"/>
                  </a:cubicBezTo>
                  <a:close/>
                  <a:moveTo>
                    <a:pt x="1244" y="192"/>
                  </a:moveTo>
                  <a:lnTo>
                    <a:pt x="1250" y="192"/>
                  </a:lnTo>
                  <a:lnTo>
                    <a:pt x="1250" y="197"/>
                  </a:lnTo>
                  <a:cubicBezTo>
                    <a:pt x="1248" y="197"/>
                    <a:pt x="1247" y="197"/>
                    <a:pt x="1246" y="198"/>
                  </a:cubicBezTo>
                  <a:cubicBezTo>
                    <a:pt x="1247" y="196"/>
                    <a:pt x="1246" y="194"/>
                    <a:pt x="1244" y="192"/>
                  </a:cubicBezTo>
                  <a:close/>
                  <a:moveTo>
                    <a:pt x="1244" y="200"/>
                  </a:moveTo>
                  <a:cubicBezTo>
                    <a:pt x="1245" y="199"/>
                    <a:pt x="1246" y="199"/>
                    <a:pt x="1246" y="198"/>
                  </a:cubicBezTo>
                  <a:cubicBezTo>
                    <a:pt x="1245" y="198"/>
                    <a:pt x="1244" y="199"/>
                    <a:pt x="1244" y="200"/>
                  </a:cubicBezTo>
                  <a:close/>
                  <a:moveTo>
                    <a:pt x="1244" y="130"/>
                  </a:moveTo>
                  <a:lnTo>
                    <a:pt x="1233" y="130"/>
                  </a:lnTo>
                  <a:cubicBezTo>
                    <a:pt x="1233" y="127"/>
                    <a:pt x="1233" y="121"/>
                    <a:pt x="1238" y="118"/>
                  </a:cubicBezTo>
                  <a:cubicBezTo>
                    <a:pt x="1241" y="124"/>
                    <a:pt x="1244" y="127"/>
                    <a:pt x="1244" y="130"/>
                  </a:cubicBezTo>
                  <a:close/>
                  <a:moveTo>
                    <a:pt x="1238" y="231"/>
                  </a:moveTo>
                  <a:cubicBezTo>
                    <a:pt x="1233" y="228"/>
                    <a:pt x="1230" y="223"/>
                    <a:pt x="1227" y="217"/>
                  </a:cubicBezTo>
                  <a:cubicBezTo>
                    <a:pt x="1233" y="220"/>
                    <a:pt x="1241" y="226"/>
                    <a:pt x="1238" y="231"/>
                  </a:cubicBezTo>
                  <a:close/>
                  <a:moveTo>
                    <a:pt x="1230" y="189"/>
                  </a:moveTo>
                  <a:cubicBezTo>
                    <a:pt x="1227" y="183"/>
                    <a:pt x="1238" y="189"/>
                    <a:pt x="1230" y="189"/>
                  </a:cubicBezTo>
                  <a:close/>
                  <a:moveTo>
                    <a:pt x="1236" y="259"/>
                  </a:moveTo>
                  <a:cubicBezTo>
                    <a:pt x="1238" y="254"/>
                    <a:pt x="1247" y="262"/>
                    <a:pt x="1236" y="259"/>
                  </a:cubicBezTo>
                  <a:close/>
                  <a:moveTo>
                    <a:pt x="1222" y="2422"/>
                  </a:moveTo>
                  <a:cubicBezTo>
                    <a:pt x="1224" y="2416"/>
                    <a:pt x="1236" y="2428"/>
                    <a:pt x="1222" y="2422"/>
                  </a:cubicBezTo>
                  <a:close/>
                  <a:moveTo>
                    <a:pt x="1230" y="2298"/>
                  </a:moveTo>
                  <a:lnTo>
                    <a:pt x="1224" y="2298"/>
                  </a:lnTo>
                  <a:cubicBezTo>
                    <a:pt x="1224" y="2295"/>
                    <a:pt x="1224" y="2295"/>
                    <a:pt x="1222" y="2295"/>
                  </a:cubicBezTo>
                  <a:cubicBezTo>
                    <a:pt x="1222" y="2289"/>
                    <a:pt x="1233" y="2292"/>
                    <a:pt x="1230" y="2298"/>
                  </a:cubicBezTo>
                  <a:close/>
                  <a:moveTo>
                    <a:pt x="1236" y="2515"/>
                  </a:moveTo>
                  <a:cubicBezTo>
                    <a:pt x="1238" y="2518"/>
                    <a:pt x="1238" y="2524"/>
                    <a:pt x="1236" y="2526"/>
                  </a:cubicBezTo>
                  <a:cubicBezTo>
                    <a:pt x="1233" y="2526"/>
                    <a:pt x="1227" y="2526"/>
                    <a:pt x="1224" y="2529"/>
                  </a:cubicBezTo>
                  <a:cubicBezTo>
                    <a:pt x="1224" y="2526"/>
                    <a:pt x="1222" y="2521"/>
                    <a:pt x="1222" y="2518"/>
                  </a:cubicBezTo>
                  <a:cubicBezTo>
                    <a:pt x="1224" y="2515"/>
                    <a:pt x="1230" y="2515"/>
                    <a:pt x="1236" y="2515"/>
                  </a:cubicBezTo>
                  <a:close/>
                  <a:moveTo>
                    <a:pt x="1233" y="2704"/>
                  </a:moveTo>
                  <a:lnTo>
                    <a:pt x="1244" y="2704"/>
                  </a:lnTo>
                  <a:cubicBezTo>
                    <a:pt x="1247" y="2710"/>
                    <a:pt x="1238" y="2707"/>
                    <a:pt x="1233" y="2710"/>
                  </a:cubicBezTo>
                  <a:lnTo>
                    <a:pt x="1233" y="2704"/>
                  </a:lnTo>
                  <a:close/>
                  <a:moveTo>
                    <a:pt x="1241" y="56"/>
                  </a:moveTo>
                  <a:cubicBezTo>
                    <a:pt x="1236" y="59"/>
                    <a:pt x="1236" y="54"/>
                    <a:pt x="1230" y="54"/>
                  </a:cubicBezTo>
                  <a:cubicBezTo>
                    <a:pt x="1230" y="51"/>
                    <a:pt x="1241" y="51"/>
                    <a:pt x="1241" y="56"/>
                  </a:cubicBezTo>
                  <a:close/>
                  <a:moveTo>
                    <a:pt x="1233" y="42"/>
                  </a:moveTo>
                  <a:lnTo>
                    <a:pt x="1233" y="48"/>
                  </a:lnTo>
                  <a:lnTo>
                    <a:pt x="1227" y="48"/>
                  </a:lnTo>
                  <a:cubicBezTo>
                    <a:pt x="1227" y="48"/>
                    <a:pt x="1224" y="45"/>
                    <a:pt x="1224" y="42"/>
                  </a:cubicBezTo>
                  <a:lnTo>
                    <a:pt x="1233" y="42"/>
                  </a:lnTo>
                  <a:close/>
                  <a:moveTo>
                    <a:pt x="1224" y="178"/>
                  </a:moveTo>
                  <a:cubicBezTo>
                    <a:pt x="1227" y="169"/>
                    <a:pt x="1230" y="186"/>
                    <a:pt x="1224" y="178"/>
                  </a:cubicBezTo>
                  <a:close/>
                  <a:moveTo>
                    <a:pt x="1224" y="169"/>
                  </a:moveTo>
                  <a:lnTo>
                    <a:pt x="1219" y="169"/>
                  </a:lnTo>
                  <a:lnTo>
                    <a:pt x="1219" y="164"/>
                  </a:lnTo>
                  <a:cubicBezTo>
                    <a:pt x="1219" y="164"/>
                    <a:pt x="1222" y="161"/>
                    <a:pt x="1224" y="161"/>
                  </a:cubicBezTo>
                  <a:lnTo>
                    <a:pt x="1224" y="169"/>
                  </a:lnTo>
                  <a:close/>
                  <a:moveTo>
                    <a:pt x="1210" y="195"/>
                  </a:moveTo>
                  <a:lnTo>
                    <a:pt x="1210" y="183"/>
                  </a:lnTo>
                  <a:cubicBezTo>
                    <a:pt x="1213" y="186"/>
                    <a:pt x="1219" y="183"/>
                    <a:pt x="1222" y="189"/>
                  </a:cubicBezTo>
                  <a:cubicBezTo>
                    <a:pt x="1219" y="192"/>
                    <a:pt x="1213" y="195"/>
                    <a:pt x="1210" y="195"/>
                  </a:cubicBezTo>
                  <a:close/>
                  <a:moveTo>
                    <a:pt x="1216" y="2467"/>
                  </a:moveTo>
                  <a:cubicBezTo>
                    <a:pt x="1216" y="2462"/>
                    <a:pt x="1224" y="2470"/>
                    <a:pt x="1216" y="2467"/>
                  </a:cubicBezTo>
                  <a:close/>
                  <a:moveTo>
                    <a:pt x="1191" y="231"/>
                  </a:moveTo>
                  <a:cubicBezTo>
                    <a:pt x="1191" y="220"/>
                    <a:pt x="1199" y="228"/>
                    <a:pt x="1202" y="217"/>
                  </a:cubicBezTo>
                  <a:cubicBezTo>
                    <a:pt x="1205" y="220"/>
                    <a:pt x="1210" y="223"/>
                    <a:pt x="1210" y="228"/>
                  </a:cubicBezTo>
                  <a:cubicBezTo>
                    <a:pt x="1202" y="228"/>
                    <a:pt x="1199" y="234"/>
                    <a:pt x="1191" y="231"/>
                  </a:cubicBezTo>
                  <a:close/>
                  <a:moveTo>
                    <a:pt x="1196" y="310"/>
                  </a:moveTo>
                  <a:lnTo>
                    <a:pt x="1196" y="316"/>
                  </a:lnTo>
                  <a:lnTo>
                    <a:pt x="1191" y="316"/>
                  </a:lnTo>
                  <a:lnTo>
                    <a:pt x="1191" y="310"/>
                  </a:lnTo>
                  <a:lnTo>
                    <a:pt x="1196" y="310"/>
                  </a:lnTo>
                  <a:close/>
                  <a:moveTo>
                    <a:pt x="1199" y="121"/>
                  </a:moveTo>
                  <a:cubicBezTo>
                    <a:pt x="1202" y="124"/>
                    <a:pt x="1210" y="124"/>
                    <a:pt x="1210" y="130"/>
                  </a:cubicBezTo>
                  <a:cubicBezTo>
                    <a:pt x="1207" y="127"/>
                    <a:pt x="1202" y="127"/>
                    <a:pt x="1199" y="121"/>
                  </a:cubicBezTo>
                  <a:close/>
                  <a:moveTo>
                    <a:pt x="1216" y="166"/>
                  </a:moveTo>
                  <a:cubicBezTo>
                    <a:pt x="1210" y="166"/>
                    <a:pt x="1205" y="164"/>
                    <a:pt x="1202" y="158"/>
                  </a:cubicBezTo>
                  <a:cubicBezTo>
                    <a:pt x="1205" y="158"/>
                    <a:pt x="1207" y="158"/>
                    <a:pt x="1207" y="155"/>
                  </a:cubicBezTo>
                  <a:cubicBezTo>
                    <a:pt x="1207" y="164"/>
                    <a:pt x="1216" y="161"/>
                    <a:pt x="1216" y="166"/>
                  </a:cubicBezTo>
                  <a:close/>
                  <a:moveTo>
                    <a:pt x="1205" y="259"/>
                  </a:moveTo>
                  <a:lnTo>
                    <a:pt x="1206" y="259"/>
                  </a:lnTo>
                  <a:cubicBezTo>
                    <a:pt x="1206" y="262"/>
                    <a:pt x="1206" y="266"/>
                    <a:pt x="1205" y="259"/>
                  </a:cubicBezTo>
                  <a:cubicBezTo>
                    <a:pt x="1205" y="256"/>
                    <a:pt x="1205" y="257"/>
                    <a:pt x="1206" y="259"/>
                  </a:cubicBezTo>
                  <a:lnTo>
                    <a:pt x="1205" y="259"/>
                  </a:lnTo>
                  <a:close/>
                  <a:moveTo>
                    <a:pt x="1207" y="296"/>
                  </a:moveTo>
                  <a:lnTo>
                    <a:pt x="1207" y="290"/>
                  </a:lnTo>
                  <a:lnTo>
                    <a:pt x="1210" y="290"/>
                  </a:lnTo>
                  <a:cubicBezTo>
                    <a:pt x="1210" y="293"/>
                    <a:pt x="1213" y="293"/>
                    <a:pt x="1213" y="293"/>
                  </a:cubicBezTo>
                  <a:cubicBezTo>
                    <a:pt x="1210" y="296"/>
                    <a:pt x="1207" y="299"/>
                    <a:pt x="1207" y="296"/>
                  </a:cubicBezTo>
                  <a:close/>
                  <a:moveTo>
                    <a:pt x="1207" y="2800"/>
                  </a:moveTo>
                  <a:cubicBezTo>
                    <a:pt x="1207" y="2806"/>
                    <a:pt x="1202" y="2806"/>
                    <a:pt x="1199" y="2808"/>
                  </a:cubicBezTo>
                  <a:cubicBezTo>
                    <a:pt x="1196" y="2803"/>
                    <a:pt x="1202" y="2800"/>
                    <a:pt x="1207" y="2800"/>
                  </a:cubicBezTo>
                  <a:close/>
                  <a:moveTo>
                    <a:pt x="1205" y="2676"/>
                  </a:moveTo>
                  <a:cubicBezTo>
                    <a:pt x="1222" y="2676"/>
                    <a:pt x="1202" y="2698"/>
                    <a:pt x="1205" y="2676"/>
                  </a:cubicBezTo>
                  <a:close/>
                  <a:moveTo>
                    <a:pt x="1207" y="2442"/>
                  </a:moveTo>
                  <a:cubicBezTo>
                    <a:pt x="1213" y="2442"/>
                    <a:pt x="1216" y="2456"/>
                    <a:pt x="1219" y="2462"/>
                  </a:cubicBezTo>
                  <a:cubicBezTo>
                    <a:pt x="1210" y="2462"/>
                    <a:pt x="1207" y="2450"/>
                    <a:pt x="1207" y="2442"/>
                  </a:cubicBezTo>
                  <a:close/>
                  <a:moveTo>
                    <a:pt x="1213" y="39"/>
                  </a:moveTo>
                  <a:lnTo>
                    <a:pt x="1219" y="39"/>
                  </a:lnTo>
                  <a:lnTo>
                    <a:pt x="1219" y="45"/>
                  </a:lnTo>
                  <a:lnTo>
                    <a:pt x="1213" y="45"/>
                  </a:lnTo>
                  <a:lnTo>
                    <a:pt x="1213" y="39"/>
                  </a:lnTo>
                  <a:close/>
                  <a:moveTo>
                    <a:pt x="1213" y="73"/>
                  </a:moveTo>
                  <a:cubicBezTo>
                    <a:pt x="1216" y="70"/>
                    <a:pt x="1219" y="70"/>
                    <a:pt x="1219" y="70"/>
                  </a:cubicBezTo>
                  <a:cubicBezTo>
                    <a:pt x="1219" y="73"/>
                    <a:pt x="1222" y="76"/>
                    <a:pt x="1222" y="79"/>
                  </a:cubicBezTo>
                  <a:lnTo>
                    <a:pt x="1219" y="79"/>
                  </a:lnTo>
                  <a:cubicBezTo>
                    <a:pt x="1219" y="82"/>
                    <a:pt x="1216" y="82"/>
                    <a:pt x="1216" y="85"/>
                  </a:cubicBezTo>
                  <a:cubicBezTo>
                    <a:pt x="1210" y="85"/>
                    <a:pt x="1207" y="76"/>
                    <a:pt x="1213" y="73"/>
                  </a:cubicBezTo>
                  <a:close/>
                  <a:moveTo>
                    <a:pt x="1213" y="73"/>
                  </a:moveTo>
                  <a:cubicBezTo>
                    <a:pt x="1213" y="70"/>
                    <a:pt x="1210" y="70"/>
                    <a:pt x="1213" y="73"/>
                  </a:cubicBezTo>
                  <a:close/>
                  <a:moveTo>
                    <a:pt x="1213" y="73"/>
                  </a:moveTo>
                  <a:cubicBezTo>
                    <a:pt x="1213" y="65"/>
                    <a:pt x="1216" y="70"/>
                    <a:pt x="1213" y="73"/>
                  </a:cubicBezTo>
                  <a:close/>
                  <a:moveTo>
                    <a:pt x="1202" y="107"/>
                  </a:moveTo>
                  <a:cubicBezTo>
                    <a:pt x="1205" y="110"/>
                    <a:pt x="1210" y="118"/>
                    <a:pt x="1213" y="121"/>
                  </a:cubicBezTo>
                  <a:cubicBezTo>
                    <a:pt x="1207" y="121"/>
                    <a:pt x="1202" y="116"/>
                    <a:pt x="1196" y="118"/>
                  </a:cubicBezTo>
                  <a:cubicBezTo>
                    <a:pt x="1191" y="113"/>
                    <a:pt x="1202" y="113"/>
                    <a:pt x="1202" y="107"/>
                  </a:cubicBezTo>
                  <a:close/>
                  <a:moveTo>
                    <a:pt x="1193" y="93"/>
                  </a:moveTo>
                  <a:cubicBezTo>
                    <a:pt x="1188" y="90"/>
                    <a:pt x="1202" y="96"/>
                    <a:pt x="1193" y="93"/>
                  </a:cubicBezTo>
                  <a:close/>
                  <a:moveTo>
                    <a:pt x="1165" y="48"/>
                  </a:moveTo>
                  <a:cubicBezTo>
                    <a:pt x="1168" y="42"/>
                    <a:pt x="1162" y="56"/>
                    <a:pt x="1165" y="48"/>
                  </a:cubicBezTo>
                  <a:close/>
                  <a:moveTo>
                    <a:pt x="1159" y="96"/>
                  </a:moveTo>
                  <a:cubicBezTo>
                    <a:pt x="1162" y="90"/>
                    <a:pt x="1165" y="82"/>
                    <a:pt x="1171" y="85"/>
                  </a:cubicBezTo>
                  <a:cubicBezTo>
                    <a:pt x="1171" y="79"/>
                    <a:pt x="1168" y="79"/>
                    <a:pt x="1171" y="73"/>
                  </a:cubicBezTo>
                  <a:cubicBezTo>
                    <a:pt x="1179" y="76"/>
                    <a:pt x="1176" y="68"/>
                    <a:pt x="1185" y="68"/>
                  </a:cubicBezTo>
                  <a:cubicBezTo>
                    <a:pt x="1182" y="70"/>
                    <a:pt x="1185" y="76"/>
                    <a:pt x="1188" y="79"/>
                  </a:cubicBezTo>
                  <a:lnTo>
                    <a:pt x="1188" y="76"/>
                  </a:lnTo>
                  <a:cubicBezTo>
                    <a:pt x="1193" y="73"/>
                    <a:pt x="1202" y="82"/>
                    <a:pt x="1199" y="87"/>
                  </a:cubicBezTo>
                  <a:lnTo>
                    <a:pt x="1196" y="87"/>
                  </a:lnTo>
                  <a:lnTo>
                    <a:pt x="1196" y="90"/>
                  </a:lnTo>
                  <a:cubicBezTo>
                    <a:pt x="1193" y="93"/>
                    <a:pt x="1188" y="76"/>
                    <a:pt x="1179" y="79"/>
                  </a:cubicBezTo>
                  <a:cubicBezTo>
                    <a:pt x="1171" y="79"/>
                    <a:pt x="1176" y="87"/>
                    <a:pt x="1176" y="90"/>
                  </a:cubicBezTo>
                  <a:cubicBezTo>
                    <a:pt x="1179" y="93"/>
                    <a:pt x="1179" y="87"/>
                    <a:pt x="1182" y="87"/>
                  </a:cubicBezTo>
                  <a:cubicBezTo>
                    <a:pt x="1185" y="93"/>
                    <a:pt x="1176" y="93"/>
                    <a:pt x="1176" y="96"/>
                  </a:cubicBezTo>
                  <a:cubicBezTo>
                    <a:pt x="1179" y="102"/>
                    <a:pt x="1182" y="102"/>
                    <a:pt x="1179" y="110"/>
                  </a:cubicBezTo>
                  <a:cubicBezTo>
                    <a:pt x="1174" y="104"/>
                    <a:pt x="1168" y="113"/>
                    <a:pt x="1162" y="107"/>
                  </a:cubicBezTo>
                  <a:cubicBezTo>
                    <a:pt x="1162" y="102"/>
                    <a:pt x="1162" y="104"/>
                    <a:pt x="1159" y="96"/>
                  </a:cubicBezTo>
                  <a:cubicBezTo>
                    <a:pt x="1162" y="96"/>
                    <a:pt x="1168" y="99"/>
                    <a:pt x="1168" y="102"/>
                  </a:cubicBezTo>
                  <a:cubicBezTo>
                    <a:pt x="1171" y="99"/>
                    <a:pt x="1165" y="99"/>
                    <a:pt x="1168" y="96"/>
                  </a:cubicBezTo>
                  <a:lnTo>
                    <a:pt x="1159" y="96"/>
                  </a:lnTo>
                  <a:close/>
                  <a:moveTo>
                    <a:pt x="1185" y="2653"/>
                  </a:moveTo>
                  <a:cubicBezTo>
                    <a:pt x="1185" y="2648"/>
                    <a:pt x="1193" y="2656"/>
                    <a:pt x="1185" y="2653"/>
                  </a:cubicBezTo>
                  <a:close/>
                  <a:moveTo>
                    <a:pt x="1165" y="118"/>
                  </a:moveTo>
                  <a:cubicBezTo>
                    <a:pt x="1162" y="116"/>
                    <a:pt x="1168" y="113"/>
                    <a:pt x="1171" y="110"/>
                  </a:cubicBezTo>
                  <a:cubicBezTo>
                    <a:pt x="1168" y="116"/>
                    <a:pt x="1168" y="118"/>
                    <a:pt x="1165" y="118"/>
                  </a:cubicBezTo>
                  <a:close/>
                  <a:moveTo>
                    <a:pt x="1168" y="226"/>
                  </a:moveTo>
                  <a:cubicBezTo>
                    <a:pt x="1165" y="226"/>
                    <a:pt x="1162" y="226"/>
                    <a:pt x="1159" y="228"/>
                  </a:cubicBezTo>
                  <a:lnTo>
                    <a:pt x="1159" y="223"/>
                  </a:lnTo>
                  <a:cubicBezTo>
                    <a:pt x="1162" y="220"/>
                    <a:pt x="1164" y="220"/>
                    <a:pt x="1167" y="224"/>
                  </a:cubicBezTo>
                  <a:cubicBezTo>
                    <a:pt x="1167" y="223"/>
                    <a:pt x="1168" y="224"/>
                    <a:pt x="1168" y="226"/>
                  </a:cubicBezTo>
                  <a:close/>
                  <a:moveTo>
                    <a:pt x="1171" y="172"/>
                  </a:moveTo>
                  <a:cubicBezTo>
                    <a:pt x="1171" y="175"/>
                    <a:pt x="1176" y="172"/>
                    <a:pt x="1176" y="172"/>
                  </a:cubicBezTo>
                  <a:cubicBezTo>
                    <a:pt x="1176" y="178"/>
                    <a:pt x="1174" y="180"/>
                    <a:pt x="1171" y="183"/>
                  </a:cubicBezTo>
                  <a:cubicBezTo>
                    <a:pt x="1171" y="180"/>
                    <a:pt x="1168" y="169"/>
                    <a:pt x="1171" y="172"/>
                  </a:cubicBezTo>
                  <a:close/>
                  <a:moveTo>
                    <a:pt x="1165" y="2557"/>
                  </a:moveTo>
                  <a:cubicBezTo>
                    <a:pt x="1168" y="2552"/>
                    <a:pt x="1176" y="2559"/>
                    <a:pt x="1167" y="2558"/>
                  </a:cubicBezTo>
                  <a:cubicBezTo>
                    <a:pt x="1166" y="2558"/>
                    <a:pt x="1166" y="2557"/>
                    <a:pt x="1165" y="2557"/>
                  </a:cubicBezTo>
                  <a:close/>
                  <a:moveTo>
                    <a:pt x="1165" y="2557"/>
                  </a:moveTo>
                  <a:cubicBezTo>
                    <a:pt x="1167" y="2560"/>
                    <a:pt x="1168" y="2558"/>
                    <a:pt x="1167" y="2558"/>
                  </a:cubicBezTo>
                  <a:cubicBezTo>
                    <a:pt x="1166" y="2558"/>
                    <a:pt x="1166" y="2558"/>
                    <a:pt x="1165" y="2557"/>
                  </a:cubicBezTo>
                  <a:close/>
                  <a:moveTo>
                    <a:pt x="1168" y="220"/>
                  </a:moveTo>
                  <a:cubicBezTo>
                    <a:pt x="1174" y="220"/>
                    <a:pt x="1176" y="237"/>
                    <a:pt x="1176" y="240"/>
                  </a:cubicBezTo>
                  <a:cubicBezTo>
                    <a:pt x="1171" y="240"/>
                    <a:pt x="1168" y="223"/>
                    <a:pt x="1168" y="220"/>
                  </a:cubicBezTo>
                  <a:close/>
                  <a:moveTo>
                    <a:pt x="1182" y="262"/>
                  </a:moveTo>
                  <a:cubicBezTo>
                    <a:pt x="1185" y="265"/>
                    <a:pt x="1182" y="271"/>
                    <a:pt x="1182" y="274"/>
                  </a:cubicBezTo>
                  <a:cubicBezTo>
                    <a:pt x="1176" y="276"/>
                    <a:pt x="1176" y="271"/>
                    <a:pt x="1171" y="271"/>
                  </a:cubicBezTo>
                  <a:cubicBezTo>
                    <a:pt x="1174" y="268"/>
                    <a:pt x="1176" y="265"/>
                    <a:pt x="1182" y="262"/>
                  </a:cubicBezTo>
                  <a:close/>
                  <a:moveTo>
                    <a:pt x="1176" y="259"/>
                  </a:moveTo>
                  <a:cubicBezTo>
                    <a:pt x="1174" y="257"/>
                    <a:pt x="1176" y="257"/>
                    <a:pt x="1176" y="259"/>
                  </a:cubicBezTo>
                  <a:cubicBezTo>
                    <a:pt x="1176" y="257"/>
                    <a:pt x="1176" y="254"/>
                    <a:pt x="1174" y="254"/>
                  </a:cubicBezTo>
                  <a:cubicBezTo>
                    <a:pt x="1179" y="251"/>
                    <a:pt x="1179" y="259"/>
                    <a:pt x="1179" y="262"/>
                  </a:cubicBezTo>
                  <a:cubicBezTo>
                    <a:pt x="1179" y="259"/>
                    <a:pt x="1176" y="259"/>
                    <a:pt x="1176" y="259"/>
                  </a:cubicBezTo>
                  <a:close/>
                  <a:moveTo>
                    <a:pt x="1176" y="259"/>
                  </a:moveTo>
                  <a:cubicBezTo>
                    <a:pt x="1174" y="259"/>
                    <a:pt x="1171" y="262"/>
                    <a:pt x="1176" y="259"/>
                  </a:cubicBezTo>
                  <a:close/>
                  <a:moveTo>
                    <a:pt x="1157" y="135"/>
                  </a:moveTo>
                  <a:cubicBezTo>
                    <a:pt x="1159" y="127"/>
                    <a:pt x="1162" y="144"/>
                    <a:pt x="1157" y="135"/>
                  </a:cubicBezTo>
                  <a:close/>
                  <a:moveTo>
                    <a:pt x="1159" y="2594"/>
                  </a:moveTo>
                  <a:cubicBezTo>
                    <a:pt x="1179" y="2605"/>
                    <a:pt x="1145" y="2614"/>
                    <a:pt x="1159" y="2594"/>
                  </a:cubicBezTo>
                  <a:close/>
                  <a:moveTo>
                    <a:pt x="1148" y="299"/>
                  </a:moveTo>
                  <a:cubicBezTo>
                    <a:pt x="1146" y="298"/>
                    <a:pt x="1144" y="298"/>
                    <a:pt x="1143" y="299"/>
                  </a:cubicBezTo>
                  <a:cubicBezTo>
                    <a:pt x="1143" y="301"/>
                    <a:pt x="1141" y="303"/>
                    <a:pt x="1140" y="300"/>
                  </a:cubicBezTo>
                  <a:cubicBezTo>
                    <a:pt x="1139" y="300"/>
                    <a:pt x="1137" y="300"/>
                    <a:pt x="1134" y="299"/>
                  </a:cubicBezTo>
                  <a:cubicBezTo>
                    <a:pt x="1134" y="293"/>
                    <a:pt x="1148" y="293"/>
                    <a:pt x="1148" y="299"/>
                  </a:cubicBezTo>
                  <a:close/>
                  <a:moveTo>
                    <a:pt x="1131" y="2526"/>
                  </a:moveTo>
                  <a:cubicBezTo>
                    <a:pt x="1131" y="2521"/>
                    <a:pt x="1143" y="2529"/>
                    <a:pt x="1131" y="2526"/>
                  </a:cubicBezTo>
                  <a:close/>
                  <a:moveTo>
                    <a:pt x="1143" y="34"/>
                  </a:moveTo>
                  <a:lnTo>
                    <a:pt x="1143" y="42"/>
                  </a:lnTo>
                  <a:cubicBezTo>
                    <a:pt x="1140" y="42"/>
                    <a:pt x="1140" y="39"/>
                    <a:pt x="1137" y="39"/>
                  </a:cubicBezTo>
                  <a:cubicBezTo>
                    <a:pt x="1134" y="39"/>
                    <a:pt x="1140" y="37"/>
                    <a:pt x="1143" y="34"/>
                  </a:cubicBezTo>
                  <a:close/>
                  <a:moveTo>
                    <a:pt x="1140" y="62"/>
                  </a:moveTo>
                  <a:cubicBezTo>
                    <a:pt x="1151" y="65"/>
                    <a:pt x="1134" y="73"/>
                    <a:pt x="1126" y="76"/>
                  </a:cubicBezTo>
                  <a:cubicBezTo>
                    <a:pt x="1123" y="68"/>
                    <a:pt x="1143" y="70"/>
                    <a:pt x="1140" y="62"/>
                  </a:cubicBezTo>
                  <a:close/>
                  <a:moveTo>
                    <a:pt x="1134" y="130"/>
                  </a:moveTo>
                  <a:cubicBezTo>
                    <a:pt x="1131" y="130"/>
                    <a:pt x="1128" y="127"/>
                    <a:pt x="1126" y="124"/>
                  </a:cubicBezTo>
                  <a:cubicBezTo>
                    <a:pt x="1131" y="124"/>
                    <a:pt x="1134" y="127"/>
                    <a:pt x="1134" y="130"/>
                  </a:cubicBezTo>
                  <a:close/>
                  <a:moveTo>
                    <a:pt x="1137" y="282"/>
                  </a:moveTo>
                  <a:cubicBezTo>
                    <a:pt x="1137" y="288"/>
                    <a:pt x="1131" y="290"/>
                    <a:pt x="1126" y="290"/>
                  </a:cubicBezTo>
                  <a:cubicBezTo>
                    <a:pt x="1128" y="288"/>
                    <a:pt x="1131" y="282"/>
                    <a:pt x="1137" y="282"/>
                  </a:cubicBezTo>
                  <a:close/>
                  <a:moveTo>
                    <a:pt x="1140" y="2639"/>
                  </a:moveTo>
                  <a:cubicBezTo>
                    <a:pt x="1132" y="2639"/>
                    <a:pt x="1127" y="2637"/>
                    <a:pt x="1125" y="2635"/>
                  </a:cubicBezTo>
                  <a:cubicBezTo>
                    <a:pt x="1124" y="2635"/>
                    <a:pt x="1122" y="2634"/>
                    <a:pt x="1120" y="2634"/>
                  </a:cubicBezTo>
                  <a:cubicBezTo>
                    <a:pt x="1114" y="2631"/>
                    <a:pt x="1112" y="2628"/>
                    <a:pt x="1112" y="2625"/>
                  </a:cubicBezTo>
                  <a:cubicBezTo>
                    <a:pt x="1114" y="2625"/>
                    <a:pt x="1117" y="2625"/>
                    <a:pt x="1120" y="2628"/>
                  </a:cubicBezTo>
                  <a:lnTo>
                    <a:pt x="1123" y="2631"/>
                  </a:lnTo>
                  <a:cubicBezTo>
                    <a:pt x="1122" y="2624"/>
                    <a:pt x="1134" y="2618"/>
                    <a:pt x="1140" y="2639"/>
                  </a:cubicBezTo>
                  <a:close/>
                  <a:moveTo>
                    <a:pt x="1140" y="2605"/>
                  </a:moveTo>
                  <a:cubicBezTo>
                    <a:pt x="1143" y="2603"/>
                    <a:pt x="1143" y="2605"/>
                    <a:pt x="1140" y="2605"/>
                  </a:cubicBezTo>
                  <a:close/>
                  <a:moveTo>
                    <a:pt x="1117" y="141"/>
                  </a:moveTo>
                  <a:cubicBezTo>
                    <a:pt x="1120" y="135"/>
                    <a:pt x="1128" y="144"/>
                    <a:pt x="1117" y="141"/>
                  </a:cubicBezTo>
                  <a:close/>
                  <a:moveTo>
                    <a:pt x="1109" y="2532"/>
                  </a:moveTo>
                  <a:cubicBezTo>
                    <a:pt x="1128" y="2532"/>
                    <a:pt x="1106" y="2574"/>
                    <a:pt x="1123" y="2574"/>
                  </a:cubicBezTo>
                  <a:cubicBezTo>
                    <a:pt x="1103" y="2594"/>
                    <a:pt x="1097" y="2543"/>
                    <a:pt x="1109" y="2532"/>
                  </a:cubicBezTo>
                  <a:close/>
                  <a:moveTo>
                    <a:pt x="1117" y="2586"/>
                  </a:moveTo>
                  <a:cubicBezTo>
                    <a:pt x="1117" y="2588"/>
                    <a:pt x="1112" y="2591"/>
                    <a:pt x="1109" y="2591"/>
                  </a:cubicBezTo>
                  <a:cubicBezTo>
                    <a:pt x="1112" y="2588"/>
                    <a:pt x="1114" y="2586"/>
                    <a:pt x="1117" y="2586"/>
                  </a:cubicBezTo>
                  <a:close/>
                  <a:moveTo>
                    <a:pt x="1083" y="1618"/>
                  </a:moveTo>
                  <a:cubicBezTo>
                    <a:pt x="1069" y="1604"/>
                    <a:pt x="1109" y="1610"/>
                    <a:pt x="1083" y="1618"/>
                  </a:cubicBezTo>
                  <a:close/>
                  <a:moveTo>
                    <a:pt x="1089" y="2541"/>
                  </a:moveTo>
                  <a:cubicBezTo>
                    <a:pt x="1086" y="2546"/>
                    <a:pt x="1092" y="2538"/>
                    <a:pt x="1089" y="2541"/>
                  </a:cubicBezTo>
                  <a:close/>
                  <a:moveTo>
                    <a:pt x="1078" y="2732"/>
                  </a:moveTo>
                  <a:cubicBezTo>
                    <a:pt x="1080" y="2727"/>
                    <a:pt x="1089" y="2735"/>
                    <a:pt x="1078" y="2732"/>
                  </a:cubicBezTo>
                  <a:close/>
                  <a:moveTo>
                    <a:pt x="1078" y="1663"/>
                  </a:moveTo>
                  <a:lnTo>
                    <a:pt x="1079" y="1663"/>
                  </a:lnTo>
                  <a:cubicBezTo>
                    <a:pt x="1078" y="1664"/>
                    <a:pt x="1076" y="1665"/>
                    <a:pt x="1078" y="1663"/>
                  </a:cubicBezTo>
                  <a:cubicBezTo>
                    <a:pt x="1080" y="1662"/>
                    <a:pt x="1080" y="1663"/>
                    <a:pt x="1079" y="1663"/>
                  </a:cubicBezTo>
                  <a:lnTo>
                    <a:pt x="1078" y="1663"/>
                  </a:lnTo>
                  <a:close/>
                  <a:moveTo>
                    <a:pt x="1092" y="1584"/>
                  </a:moveTo>
                  <a:cubicBezTo>
                    <a:pt x="1086" y="1581"/>
                    <a:pt x="1086" y="1579"/>
                    <a:pt x="1086" y="1576"/>
                  </a:cubicBezTo>
                  <a:cubicBezTo>
                    <a:pt x="1085" y="1576"/>
                    <a:pt x="1084" y="1576"/>
                    <a:pt x="1083" y="1577"/>
                  </a:cubicBezTo>
                  <a:cubicBezTo>
                    <a:pt x="1082" y="1579"/>
                    <a:pt x="1077" y="1579"/>
                    <a:pt x="1075" y="1579"/>
                  </a:cubicBezTo>
                  <a:cubicBezTo>
                    <a:pt x="1075" y="1576"/>
                    <a:pt x="1075" y="1573"/>
                    <a:pt x="1078" y="1573"/>
                  </a:cubicBezTo>
                  <a:lnTo>
                    <a:pt x="1075" y="1573"/>
                  </a:lnTo>
                  <a:cubicBezTo>
                    <a:pt x="1078" y="1567"/>
                    <a:pt x="1086" y="1567"/>
                    <a:pt x="1089" y="1562"/>
                  </a:cubicBezTo>
                  <a:cubicBezTo>
                    <a:pt x="1095" y="1565"/>
                    <a:pt x="1095" y="1570"/>
                    <a:pt x="1095" y="1573"/>
                  </a:cubicBezTo>
                  <a:cubicBezTo>
                    <a:pt x="1095" y="1573"/>
                    <a:pt x="1097" y="1576"/>
                    <a:pt x="1092" y="1584"/>
                  </a:cubicBezTo>
                  <a:close/>
                  <a:moveTo>
                    <a:pt x="1052" y="2656"/>
                  </a:moveTo>
                  <a:cubicBezTo>
                    <a:pt x="1055" y="2653"/>
                    <a:pt x="1061" y="2648"/>
                    <a:pt x="1064" y="2651"/>
                  </a:cubicBezTo>
                  <a:cubicBezTo>
                    <a:pt x="1064" y="2656"/>
                    <a:pt x="1058" y="2656"/>
                    <a:pt x="1052" y="2656"/>
                  </a:cubicBezTo>
                  <a:close/>
                  <a:moveTo>
                    <a:pt x="1052" y="2698"/>
                  </a:moveTo>
                  <a:cubicBezTo>
                    <a:pt x="1055" y="2693"/>
                    <a:pt x="1064" y="2701"/>
                    <a:pt x="1052" y="2698"/>
                  </a:cubicBezTo>
                  <a:close/>
                  <a:moveTo>
                    <a:pt x="1055" y="1691"/>
                  </a:moveTo>
                  <a:lnTo>
                    <a:pt x="1055" y="1690"/>
                  </a:lnTo>
                  <a:cubicBezTo>
                    <a:pt x="1063" y="1687"/>
                    <a:pt x="1076" y="1683"/>
                    <a:pt x="1055" y="1691"/>
                  </a:cubicBezTo>
                  <a:cubicBezTo>
                    <a:pt x="1048" y="1694"/>
                    <a:pt x="1050" y="1692"/>
                    <a:pt x="1055" y="1690"/>
                  </a:cubicBezTo>
                  <a:lnTo>
                    <a:pt x="1055" y="1691"/>
                  </a:lnTo>
                  <a:close/>
                  <a:moveTo>
                    <a:pt x="1052" y="2560"/>
                  </a:moveTo>
                  <a:cubicBezTo>
                    <a:pt x="1064" y="2563"/>
                    <a:pt x="1044" y="2572"/>
                    <a:pt x="1052" y="2560"/>
                  </a:cubicBezTo>
                  <a:close/>
                  <a:moveTo>
                    <a:pt x="1030" y="1660"/>
                  </a:moveTo>
                  <a:cubicBezTo>
                    <a:pt x="1047" y="1649"/>
                    <a:pt x="1033" y="1694"/>
                    <a:pt x="1030" y="1660"/>
                  </a:cubicBezTo>
                  <a:close/>
                  <a:moveTo>
                    <a:pt x="1033" y="1756"/>
                  </a:moveTo>
                  <a:cubicBezTo>
                    <a:pt x="1030" y="1756"/>
                    <a:pt x="1035" y="1751"/>
                    <a:pt x="1033" y="1756"/>
                  </a:cubicBezTo>
                  <a:close/>
                  <a:moveTo>
                    <a:pt x="1044" y="1463"/>
                  </a:moveTo>
                  <a:cubicBezTo>
                    <a:pt x="1030" y="1457"/>
                    <a:pt x="1058" y="1444"/>
                    <a:pt x="1044" y="1463"/>
                  </a:cubicBezTo>
                  <a:close/>
                  <a:moveTo>
                    <a:pt x="1044" y="1497"/>
                  </a:moveTo>
                  <a:cubicBezTo>
                    <a:pt x="1047" y="1497"/>
                    <a:pt x="1049" y="1502"/>
                    <a:pt x="1055" y="1502"/>
                  </a:cubicBezTo>
                  <a:lnTo>
                    <a:pt x="1055" y="1508"/>
                  </a:lnTo>
                  <a:cubicBezTo>
                    <a:pt x="1060" y="1512"/>
                    <a:pt x="1063" y="1516"/>
                    <a:pt x="1064" y="1521"/>
                  </a:cubicBezTo>
                  <a:cubicBezTo>
                    <a:pt x="1065" y="1518"/>
                    <a:pt x="1074" y="1525"/>
                    <a:pt x="1064" y="1522"/>
                  </a:cubicBezTo>
                  <a:cubicBezTo>
                    <a:pt x="1064" y="1525"/>
                    <a:pt x="1063" y="1528"/>
                    <a:pt x="1061" y="1531"/>
                  </a:cubicBezTo>
                  <a:lnTo>
                    <a:pt x="1058" y="1533"/>
                  </a:lnTo>
                  <a:cubicBezTo>
                    <a:pt x="1058" y="1533"/>
                    <a:pt x="1058" y="1531"/>
                    <a:pt x="1055" y="1531"/>
                  </a:cubicBezTo>
                  <a:cubicBezTo>
                    <a:pt x="1058" y="1536"/>
                    <a:pt x="1055" y="1542"/>
                    <a:pt x="1052" y="1545"/>
                  </a:cubicBezTo>
                  <a:cubicBezTo>
                    <a:pt x="1041" y="1545"/>
                    <a:pt x="1049" y="1531"/>
                    <a:pt x="1041" y="1528"/>
                  </a:cubicBezTo>
                  <a:cubicBezTo>
                    <a:pt x="1038" y="1525"/>
                    <a:pt x="1035" y="1525"/>
                    <a:pt x="1035" y="1522"/>
                  </a:cubicBezTo>
                  <a:cubicBezTo>
                    <a:pt x="1024" y="1525"/>
                    <a:pt x="1024" y="1517"/>
                    <a:pt x="1030" y="1517"/>
                  </a:cubicBezTo>
                  <a:cubicBezTo>
                    <a:pt x="1030" y="1511"/>
                    <a:pt x="1030" y="1508"/>
                    <a:pt x="1035" y="1502"/>
                  </a:cubicBezTo>
                  <a:cubicBezTo>
                    <a:pt x="1038" y="1502"/>
                    <a:pt x="1041" y="1502"/>
                    <a:pt x="1041" y="1505"/>
                  </a:cubicBezTo>
                  <a:cubicBezTo>
                    <a:pt x="1041" y="1504"/>
                    <a:pt x="1041" y="1502"/>
                    <a:pt x="1042" y="1500"/>
                  </a:cubicBezTo>
                  <a:cubicBezTo>
                    <a:pt x="1040" y="1501"/>
                    <a:pt x="1037" y="1502"/>
                    <a:pt x="1035" y="1502"/>
                  </a:cubicBezTo>
                  <a:cubicBezTo>
                    <a:pt x="1035" y="1497"/>
                    <a:pt x="1041" y="1497"/>
                    <a:pt x="1044" y="1497"/>
                  </a:cubicBezTo>
                  <a:close/>
                  <a:moveTo>
                    <a:pt x="1041" y="1348"/>
                  </a:moveTo>
                  <a:cubicBezTo>
                    <a:pt x="1038" y="1343"/>
                    <a:pt x="1052" y="1348"/>
                    <a:pt x="1052" y="1343"/>
                  </a:cubicBezTo>
                  <a:cubicBezTo>
                    <a:pt x="1058" y="1343"/>
                    <a:pt x="1055" y="1354"/>
                    <a:pt x="1052" y="1357"/>
                  </a:cubicBezTo>
                  <a:cubicBezTo>
                    <a:pt x="1047" y="1357"/>
                    <a:pt x="1047" y="1348"/>
                    <a:pt x="1041" y="1348"/>
                  </a:cubicBezTo>
                  <a:close/>
                  <a:moveTo>
                    <a:pt x="1041" y="1227"/>
                  </a:moveTo>
                  <a:cubicBezTo>
                    <a:pt x="1041" y="1224"/>
                    <a:pt x="1049" y="1224"/>
                    <a:pt x="1049" y="1221"/>
                  </a:cubicBezTo>
                  <a:cubicBezTo>
                    <a:pt x="1055" y="1227"/>
                    <a:pt x="1047" y="1230"/>
                    <a:pt x="1041" y="1227"/>
                  </a:cubicBezTo>
                  <a:close/>
                  <a:moveTo>
                    <a:pt x="1030" y="1408"/>
                  </a:moveTo>
                  <a:cubicBezTo>
                    <a:pt x="1033" y="1405"/>
                    <a:pt x="1038" y="1402"/>
                    <a:pt x="1041" y="1399"/>
                  </a:cubicBezTo>
                  <a:cubicBezTo>
                    <a:pt x="1052" y="1405"/>
                    <a:pt x="1033" y="1422"/>
                    <a:pt x="1030" y="1408"/>
                  </a:cubicBezTo>
                  <a:close/>
                  <a:moveTo>
                    <a:pt x="1033" y="1457"/>
                  </a:moveTo>
                  <a:cubicBezTo>
                    <a:pt x="1021" y="1457"/>
                    <a:pt x="1035" y="1444"/>
                    <a:pt x="1033" y="1457"/>
                  </a:cubicBezTo>
                  <a:close/>
                  <a:moveTo>
                    <a:pt x="1033" y="1267"/>
                  </a:moveTo>
                  <a:cubicBezTo>
                    <a:pt x="1033" y="1261"/>
                    <a:pt x="1041" y="1261"/>
                    <a:pt x="1044" y="1264"/>
                  </a:cubicBezTo>
                  <a:cubicBezTo>
                    <a:pt x="1041" y="1267"/>
                    <a:pt x="1035" y="1267"/>
                    <a:pt x="1033" y="1267"/>
                  </a:cubicBezTo>
                  <a:close/>
                  <a:moveTo>
                    <a:pt x="1041" y="1275"/>
                  </a:moveTo>
                  <a:cubicBezTo>
                    <a:pt x="1041" y="1281"/>
                    <a:pt x="1033" y="1283"/>
                    <a:pt x="1030" y="1281"/>
                  </a:cubicBezTo>
                  <a:cubicBezTo>
                    <a:pt x="1030" y="1278"/>
                    <a:pt x="1035" y="1275"/>
                    <a:pt x="1041" y="1275"/>
                  </a:cubicBezTo>
                  <a:close/>
                  <a:moveTo>
                    <a:pt x="1033" y="1207"/>
                  </a:moveTo>
                  <a:cubicBezTo>
                    <a:pt x="1033" y="1210"/>
                    <a:pt x="1030" y="1213"/>
                    <a:pt x="1030" y="1213"/>
                  </a:cubicBezTo>
                  <a:cubicBezTo>
                    <a:pt x="1027" y="1213"/>
                    <a:pt x="1027" y="1210"/>
                    <a:pt x="1024" y="1210"/>
                  </a:cubicBezTo>
                  <a:cubicBezTo>
                    <a:pt x="1021" y="1210"/>
                    <a:pt x="1018" y="1202"/>
                    <a:pt x="1021" y="1190"/>
                  </a:cubicBezTo>
                  <a:cubicBezTo>
                    <a:pt x="1033" y="1196"/>
                    <a:pt x="1035" y="1204"/>
                    <a:pt x="1033" y="1207"/>
                  </a:cubicBezTo>
                  <a:close/>
                  <a:moveTo>
                    <a:pt x="1027" y="1244"/>
                  </a:moveTo>
                  <a:cubicBezTo>
                    <a:pt x="1041" y="1250"/>
                    <a:pt x="1016" y="1264"/>
                    <a:pt x="1027" y="1244"/>
                  </a:cubicBezTo>
                  <a:close/>
                  <a:moveTo>
                    <a:pt x="1083" y="1439"/>
                  </a:moveTo>
                  <a:cubicBezTo>
                    <a:pt x="1080" y="1444"/>
                    <a:pt x="1078" y="1450"/>
                    <a:pt x="1078" y="1456"/>
                  </a:cubicBezTo>
                  <a:cubicBezTo>
                    <a:pt x="1066" y="1453"/>
                    <a:pt x="1066" y="1447"/>
                    <a:pt x="1058" y="1441"/>
                  </a:cubicBezTo>
                  <a:cubicBezTo>
                    <a:pt x="1061" y="1436"/>
                    <a:pt x="1064" y="1439"/>
                    <a:pt x="1064" y="1441"/>
                  </a:cubicBezTo>
                  <a:cubicBezTo>
                    <a:pt x="1069" y="1441"/>
                    <a:pt x="1072" y="1436"/>
                    <a:pt x="1083" y="1439"/>
                  </a:cubicBezTo>
                  <a:close/>
                  <a:moveTo>
                    <a:pt x="1072" y="1410"/>
                  </a:moveTo>
                  <a:cubicBezTo>
                    <a:pt x="1072" y="1413"/>
                    <a:pt x="1061" y="1413"/>
                    <a:pt x="1064" y="1408"/>
                  </a:cubicBezTo>
                  <a:cubicBezTo>
                    <a:pt x="1069" y="1408"/>
                    <a:pt x="1072" y="1410"/>
                    <a:pt x="1072" y="1410"/>
                  </a:cubicBezTo>
                  <a:close/>
                  <a:moveTo>
                    <a:pt x="1069" y="1241"/>
                  </a:moveTo>
                  <a:cubicBezTo>
                    <a:pt x="1066" y="1244"/>
                    <a:pt x="1075" y="1238"/>
                    <a:pt x="1069" y="1241"/>
                  </a:cubicBezTo>
                  <a:close/>
                  <a:moveTo>
                    <a:pt x="1078" y="1320"/>
                  </a:moveTo>
                  <a:cubicBezTo>
                    <a:pt x="1092" y="1326"/>
                    <a:pt x="1066" y="1340"/>
                    <a:pt x="1078" y="1320"/>
                  </a:cubicBezTo>
                  <a:close/>
                  <a:moveTo>
                    <a:pt x="1078" y="1408"/>
                  </a:moveTo>
                  <a:cubicBezTo>
                    <a:pt x="1075" y="1408"/>
                    <a:pt x="1080" y="1405"/>
                    <a:pt x="1078" y="1408"/>
                  </a:cubicBezTo>
                  <a:close/>
                  <a:moveTo>
                    <a:pt x="1078" y="1252"/>
                  </a:moveTo>
                  <a:cubicBezTo>
                    <a:pt x="1083" y="1252"/>
                    <a:pt x="1075" y="1255"/>
                    <a:pt x="1078" y="1252"/>
                  </a:cubicBezTo>
                  <a:close/>
                  <a:moveTo>
                    <a:pt x="1083" y="1457"/>
                  </a:moveTo>
                  <a:lnTo>
                    <a:pt x="1078" y="1457"/>
                  </a:lnTo>
                  <a:cubicBezTo>
                    <a:pt x="1078" y="1455"/>
                    <a:pt x="1080" y="1455"/>
                    <a:pt x="1083" y="1455"/>
                  </a:cubicBezTo>
                  <a:lnTo>
                    <a:pt x="1083" y="1457"/>
                  </a:lnTo>
                  <a:close/>
                  <a:moveTo>
                    <a:pt x="1080" y="1508"/>
                  </a:moveTo>
                  <a:cubicBezTo>
                    <a:pt x="1078" y="1508"/>
                    <a:pt x="1078" y="1500"/>
                    <a:pt x="1078" y="1494"/>
                  </a:cubicBezTo>
                  <a:cubicBezTo>
                    <a:pt x="1083" y="1494"/>
                    <a:pt x="1080" y="1508"/>
                    <a:pt x="1080" y="1508"/>
                  </a:cubicBezTo>
                  <a:close/>
                  <a:moveTo>
                    <a:pt x="1089" y="1528"/>
                  </a:moveTo>
                  <a:cubicBezTo>
                    <a:pt x="1089" y="1531"/>
                    <a:pt x="1086" y="1533"/>
                    <a:pt x="1080" y="1533"/>
                  </a:cubicBezTo>
                  <a:lnTo>
                    <a:pt x="1078" y="1533"/>
                  </a:lnTo>
                  <a:cubicBezTo>
                    <a:pt x="1078" y="1533"/>
                    <a:pt x="1078" y="1531"/>
                    <a:pt x="1075" y="1531"/>
                  </a:cubicBezTo>
                  <a:cubicBezTo>
                    <a:pt x="1078" y="1528"/>
                    <a:pt x="1083" y="1525"/>
                    <a:pt x="1089" y="1528"/>
                  </a:cubicBezTo>
                  <a:close/>
                  <a:moveTo>
                    <a:pt x="1078" y="1145"/>
                  </a:moveTo>
                  <a:cubicBezTo>
                    <a:pt x="1080" y="1140"/>
                    <a:pt x="1089" y="1148"/>
                    <a:pt x="1078" y="1145"/>
                  </a:cubicBezTo>
                  <a:close/>
                  <a:moveTo>
                    <a:pt x="1072" y="795"/>
                  </a:moveTo>
                  <a:cubicBezTo>
                    <a:pt x="1058" y="776"/>
                    <a:pt x="1095" y="793"/>
                    <a:pt x="1072" y="795"/>
                  </a:cubicBezTo>
                  <a:close/>
                  <a:moveTo>
                    <a:pt x="1058" y="1477"/>
                  </a:moveTo>
                  <a:cubicBezTo>
                    <a:pt x="1066" y="1480"/>
                    <a:pt x="1055" y="1491"/>
                    <a:pt x="1058" y="1477"/>
                  </a:cubicBezTo>
                  <a:close/>
                  <a:moveTo>
                    <a:pt x="1066" y="1627"/>
                  </a:moveTo>
                  <a:cubicBezTo>
                    <a:pt x="1066" y="1629"/>
                    <a:pt x="1061" y="1632"/>
                    <a:pt x="1055" y="1629"/>
                  </a:cubicBezTo>
                  <a:cubicBezTo>
                    <a:pt x="1055" y="1627"/>
                    <a:pt x="1055" y="1624"/>
                    <a:pt x="1058" y="1624"/>
                  </a:cubicBezTo>
                  <a:cubicBezTo>
                    <a:pt x="1061" y="1624"/>
                    <a:pt x="1064" y="1624"/>
                    <a:pt x="1066" y="1627"/>
                  </a:cubicBezTo>
                  <a:close/>
                  <a:moveTo>
                    <a:pt x="1047" y="1629"/>
                  </a:moveTo>
                  <a:cubicBezTo>
                    <a:pt x="1047" y="1624"/>
                    <a:pt x="1058" y="1632"/>
                    <a:pt x="1047" y="1629"/>
                  </a:cubicBezTo>
                  <a:close/>
                  <a:moveTo>
                    <a:pt x="1049" y="1610"/>
                  </a:moveTo>
                  <a:cubicBezTo>
                    <a:pt x="1047" y="1612"/>
                    <a:pt x="1055" y="1607"/>
                    <a:pt x="1049" y="1610"/>
                  </a:cubicBezTo>
                  <a:close/>
                  <a:moveTo>
                    <a:pt x="1035" y="1652"/>
                  </a:moveTo>
                  <a:cubicBezTo>
                    <a:pt x="1028" y="1652"/>
                    <a:pt x="1029" y="1644"/>
                    <a:pt x="1035" y="1643"/>
                  </a:cubicBezTo>
                  <a:cubicBezTo>
                    <a:pt x="1032" y="1640"/>
                    <a:pt x="1030" y="1638"/>
                    <a:pt x="1030" y="1632"/>
                  </a:cubicBezTo>
                  <a:cubicBezTo>
                    <a:pt x="1033" y="1632"/>
                    <a:pt x="1035" y="1632"/>
                    <a:pt x="1038" y="1635"/>
                  </a:cubicBezTo>
                  <a:cubicBezTo>
                    <a:pt x="1038" y="1639"/>
                    <a:pt x="1036" y="1642"/>
                    <a:pt x="1036" y="1643"/>
                  </a:cubicBezTo>
                  <a:cubicBezTo>
                    <a:pt x="1036" y="1643"/>
                    <a:pt x="1037" y="1643"/>
                    <a:pt x="1038" y="1643"/>
                  </a:cubicBezTo>
                  <a:cubicBezTo>
                    <a:pt x="1035" y="1649"/>
                    <a:pt x="1041" y="1649"/>
                    <a:pt x="1035" y="1652"/>
                  </a:cubicBezTo>
                  <a:close/>
                  <a:moveTo>
                    <a:pt x="1041" y="1615"/>
                  </a:moveTo>
                  <a:cubicBezTo>
                    <a:pt x="1052" y="1627"/>
                    <a:pt x="1027" y="1641"/>
                    <a:pt x="1041" y="1615"/>
                  </a:cubicBezTo>
                  <a:close/>
                  <a:moveTo>
                    <a:pt x="1035" y="1584"/>
                  </a:moveTo>
                  <a:cubicBezTo>
                    <a:pt x="1041" y="1584"/>
                    <a:pt x="1038" y="1601"/>
                    <a:pt x="1030" y="1598"/>
                  </a:cubicBezTo>
                  <a:cubicBezTo>
                    <a:pt x="1030" y="1590"/>
                    <a:pt x="1038" y="1593"/>
                    <a:pt x="1035" y="1584"/>
                  </a:cubicBezTo>
                  <a:close/>
                  <a:moveTo>
                    <a:pt x="1038" y="1725"/>
                  </a:moveTo>
                  <a:cubicBezTo>
                    <a:pt x="1047" y="1722"/>
                    <a:pt x="1038" y="1734"/>
                    <a:pt x="1047" y="1734"/>
                  </a:cubicBezTo>
                  <a:cubicBezTo>
                    <a:pt x="1047" y="1739"/>
                    <a:pt x="1035" y="1737"/>
                    <a:pt x="1035" y="1734"/>
                  </a:cubicBezTo>
                  <a:cubicBezTo>
                    <a:pt x="1035" y="1731"/>
                    <a:pt x="1041" y="1731"/>
                    <a:pt x="1038" y="1725"/>
                  </a:cubicBezTo>
                  <a:close/>
                  <a:moveTo>
                    <a:pt x="1038" y="1677"/>
                  </a:moveTo>
                  <a:cubicBezTo>
                    <a:pt x="1035" y="1675"/>
                    <a:pt x="1044" y="1669"/>
                    <a:pt x="1047" y="1666"/>
                  </a:cubicBezTo>
                  <a:cubicBezTo>
                    <a:pt x="1049" y="1669"/>
                    <a:pt x="1044" y="1680"/>
                    <a:pt x="1038" y="1677"/>
                  </a:cubicBezTo>
                  <a:close/>
                  <a:moveTo>
                    <a:pt x="1041" y="1649"/>
                  </a:moveTo>
                  <a:cubicBezTo>
                    <a:pt x="1041" y="1646"/>
                    <a:pt x="1038" y="1643"/>
                    <a:pt x="1041" y="1641"/>
                  </a:cubicBezTo>
                  <a:cubicBezTo>
                    <a:pt x="1044" y="1641"/>
                    <a:pt x="1047" y="1643"/>
                    <a:pt x="1047" y="1643"/>
                  </a:cubicBezTo>
                  <a:cubicBezTo>
                    <a:pt x="1049" y="1643"/>
                    <a:pt x="1049" y="1641"/>
                    <a:pt x="1049" y="1638"/>
                  </a:cubicBezTo>
                  <a:cubicBezTo>
                    <a:pt x="1052" y="1638"/>
                    <a:pt x="1052" y="1643"/>
                    <a:pt x="1058" y="1643"/>
                  </a:cubicBezTo>
                  <a:cubicBezTo>
                    <a:pt x="1055" y="1652"/>
                    <a:pt x="1047" y="1649"/>
                    <a:pt x="1041" y="1649"/>
                  </a:cubicBezTo>
                  <a:close/>
                  <a:moveTo>
                    <a:pt x="1058" y="1714"/>
                  </a:moveTo>
                  <a:cubicBezTo>
                    <a:pt x="1066" y="1708"/>
                    <a:pt x="1055" y="1722"/>
                    <a:pt x="1058" y="1714"/>
                  </a:cubicBezTo>
                  <a:close/>
                  <a:moveTo>
                    <a:pt x="1061" y="2532"/>
                  </a:moveTo>
                  <a:cubicBezTo>
                    <a:pt x="1078" y="2535"/>
                    <a:pt x="1058" y="2560"/>
                    <a:pt x="1061" y="2532"/>
                  </a:cubicBezTo>
                  <a:close/>
                  <a:moveTo>
                    <a:pt x="1066" y="1559"/>
                  </a:moveTo>
                  <a:cubicBezTo>
                    <a:pt x="1049" y="1539"/>
                    <a:pt x="1086" y="1559"/>
                    <a:pt x="1066" y="1559"/>
                  </a:cubicBezTo>
                  <a:close/>
                  <a:moveTo>
                    <a:pt x="1069" y="2555"/>
                  </a:moveTo>
                  <a:cubicBezTo>
                    <a:pt x="1069" y="2555"/>
                    <a:pt x="1072" y="2557"/>
                    <a:pt x="1069" y="2560"/>
                  </a:cubicBezTo>
                  <a:lnTo>
                    <a:pt x="1066" y="2560"/>
                  </a:lnTo>
                  <a:cubicBezTo>
                    <a:pt x="1069" y="2557"/>
                    <a:pt x="1066" y="2557"/>
                    <a:pt x="1069" y="2555"/>
                  </a:cubicBezTo>
                  <a:close/>
                  <a:moveTo>
                    <a:pt x="1075" y="2642"/>
                  </a:moveTo>
                  <a:cubicBezTo>
                    <a:pt x="1075" y="2645"/>
                    <a:pt x="1069" y="2648"/>
                    <a:pt x="1066" y="2648"/>
                  </a:cubicBezTo>
                  <a:cubicBezTo>
                    <a:pt x="1069" y="2645"/>
                    <a:pt x="1072" y="2642"/>
                    <a:pt x="1075" y="2642"/>
                  </a:cubicBezTo>
                  <a:close/>
                  <a:moveTo>
                    <a:pt x="1072" y="2665"/>
                  </a:moveTo>
                  <a:cubicBezTo>
                    <a:pt x="1072" y="2659"/>
                    <a:pt x="1080" y="2667"/>
                    <a:pt x="1072" y="2665"/>
                  </a:cubicBezTo>
                  <a:close/>
                  <a:moveTo>
                    <a:pt x="1103" y="1505"/>
                  </a:moveTo>
                  <a:cubicBezTo>
                    <a:pt x="1117" y="1517"/>
                    <a:pt x="1078" y="1514"/>
                    <a:pt x="1103" y="1505"/>
                  </a:cubicBezTo>
                  <a:close/>
                  <a:moveTo>
                    <a:pt x="1097" y="1457"/>
                  </a:moveTo>
                  <a:cubicBezTo>
                    <a:pt x="1080" y="1444"/>
                    <a:pt x="1120" y="1450"/>
                    <a:pt x="1097" y="1457"/>
                  </a:cubicBezTo>
                  <a:close/>
                  <a:moveTo>
                    <a:pt x="1100" y="1125"/>
                  </a:moveTo>
                  <a:cubicBezTo>
                    <a:pt x="1114" y="1131"/>
                    <a:pt x="1089" y="1145"/>
                    <a:pt x="1100" y="1125"/>
                  </a:cubicBezTo>
                  <a:close/>
                  <a:moveTo>
                    <a:pt x="1100" y="1474"/>
                  </a:moveTo>
                  <a:cubicBezTo>
                    <a:pt x="1103" y="1474"/>
                    <a:pt x="1097" y="1477"/>
                    <a:pt x="1095" y="1474"/>
                  </a:cubicBezTo>
                  <a:cubicBezTo>
                    <a:pt x="1092" y="1471"/>
                    <a:pt x="1097" y="1474"/>
                    <a:pt x="1100" y="1474"/>
                  </a:cubicBezTo>
                  <a:close/>
                  <a:moveTo>
                    <a:pt x="1112" y="127"/>
                  </a:moveTo>
                  <a:cubicBezTo>
                    <a:pt x="1114" y="121"/>
                    <a:pt x="1126" y="130"/>
                    <a:pt x="1112" y="127"/>
                  </a:cubicBezTo>
                  <a:close/>
                  <a:moveTo>
                    <a:pt x="1117" y="113"/>
                  </a:moveTo>
                  <a:cubicBezTo>
                    <a:pt x="1117" y="107"/>
                    <a:pt x="1126" y="116"/>
                    <a:pt x="1117" y="113"/>
                  </a:cubicBezTo>
                  <a:close/>
                  <a:moveTo>
                    <a:pt x="1112" y="104"/>
                  </a:moveTo>
                  <a:cubicBezTo>
                    <a:pt x="1114" y="96"/>
                    <a:pt x="1123" y="107"/>
                    <a:pt x="1112" y="104"/>
                  </a:cubicBezTo>
                  <a:close/>
                  <a:moveTo>
                    <a:pt x="1095" y="293"/>
                  </a:moveTo>
                  <a:cubicBezTo>
                    <a:pt x="1100" y="293"/>
                    <a:pt x="1103" y="290"/>
                    <a:pt x="1109" y="293"/>
                  </a:cubicBezTo>
                  <a:cubicBezTo>
                    <a:pt x="1112" y="299"/>
                    <a:pt x="1095" y="299"/>
                    <a:pt x="1095" y="293"/>
                  </a:cubicBezTo>
                  <a:close/>
                  <a:moveTo>
                    <a:pt x="1103" y="279"/>
                  </a:moveTo>
                  <a:cubicBezTo>
                    <a:pt x="1103" y="274"/>
                    <a:pt x="1112" y="282"/>
                    <a:pt x="1103" y="279"/>
                  </a:cubicBezTo>
                  <a:close/>
                  <a:moveTo>
                    <a:pt x="1103" y="186"/>
                  </a:moveTo>
                  <a:cubicBezTo>
                    <a:pt x="1103" y="189"/>
                    <a:pt x="1097" y="192"/>
                    <a:pt x="1092" y="192"/>
                  </a:cubicBezTo>
                  <a:cubicBezTo>
                    <a:pt x="1095" y="186"/>
                    <a:pt x="1100" y="186"/>
                    <a:pt x="1103" y="186"/>
                  </a:cubicBezTo>
                  <a:close/>
                  <a:moveTo>
                    <a:pt x="1097" y="1345"/>
                  </a:moveTo>
                  <a:cubicBezTo>
                    <a:pt x="1106" y="1365"/>
                    <a:pt x="1086" y="1331"/>
                    <a:pt x="1097" y="1345"/>
                  </a:cubicBezTo>
                  <a:close/>
                  <a:moveTo>
                    <a:pt x="1092" y="1430"/>
                  </a:moveTo>
                  <a:cubicBezTo>
                    <a:pt x="1089" y="1430"/>
                    <a:pt x="1097" y="1427"/>
                    <a:pt x="1092" y="1430"/>
                  </a:cubicBezTo>
                  <a:close/>
                  <a:moveTo>
                    <a:pt x="1092" y="1502"/>
                  </a:moveTo>
                  <a:cubicBezTo>
                    <a:pt x="1078" y="1497"/>
                    <a:pt x="1106" y="1483"/>
                    <a:pt x="1092" y="1502"/>
                  </a:cubicBezTo>
                  <a:close/>
                  <a:moveTo>
                    <a:pt x="1089" y="73"/>
                  </a:moveTo>
                  <a:cubicBezTo>
                    <a:pt x="1086" y="76"/>
                    <a:pt x="1086" y="82"/>
                    <a:pt x="1080" y="82"/>
                  </a:cubicBezTo>
                  <a:cubicBezTo>
                    <a:pt x="1083" y="76"/>
                    <a:pt x="1086" y="73"/>
                    <a:pt x="1089" y="73"/>
                  </a:cubicBezTo>
                  <a:close/>
                  <a:moveTo>
                    <a:pt x="1075" y="279"/>
                  </a:moveTo>
                  <a:cubicBezTo>
                    <a:pt x="1075" y="274"/>
                    <a:pt x="1086" y="282"/>
                    <a:pt x="1075" y="279"/>
                  </a:cubicBezTo>
                  <a:close/>
                  <a:moveTo>
                    <a:pt x="1078" y="739"/>
                  </a:moveTo>
                  <a:cubicBezTo>
                    <a:pt x="1061" y="725"/>
                    <a:pt x="1100" y="731"/>
                    <a:pt x="1078" y="739"/>
                  </a:cubicBezTo>
                  <a:close/>
                  <a:moveTo>
                    <a:pt x="1069" y="116"/>
                  </a:moveTo>
                  <a:cubicBezTo>
                    <a:pt x="1066" y="110"/>
                    <a:pt x="1078" y="116"/>
                    <a:pt x="1069" y="116"/>
                  </a:cubicBezTo>
                  <a:close/>
                  <a:moveTo>
                    <a:pt x="1064" y="62"/>
                  </a:moveTo>
                  <a:cubicBezTo>
                    <a:pt x="1066" y="56"/>
                    <a:pt x="1072" y="68"/>
                    <a:pt x="1064" y="62"/>
                  </a:cubicBezTo>
                  <a:close/>
                  <a:moveTo>
                    <a:pt x="1072" y="189"/>
                  </a:moveTo>
                  <a:cubicBezTo>
                    <a:pt x="1069" y="189"/>
                    <a:pt x="1066" y="192"/>
                    <a:pt x="1066" y="192"/>
                  </a:cubicBezTo>
                  <a:cubicBezTo>
                    <a:pt x="1061" y="192"/>
                    <a:pt x="1058" y="183"/>
                    <a:pt x="1052" y="183"/>
                  </a:cubicBezTo>
                  <a:cubicBezTo>
                    <a:pt x="1058" y="180"/>
                    <a:pt x="1072" y="183"/>
                    <a:pt x="1072" y="189"/>
                  </a:cubicBezTo>
                  <a:close/>
                  <a:moveTo>
                    <a:pt x="1052" y="62"/>
                  </a:moveTo>
                  <a:cubicBezTo>
                    <a:pt x="1055" y="62"/>
                    <a:pt x="1058" y="65"/>
                    <a:pt x="1061" y="65"/>
                  </a:cubicBezTo>
                  <a:cubicBezTo>
                    <a:pt x="1061" y="68"/>
                    <a:pt x="1049" y="65"/>
                    <a:pt x="1052" y="62"/>
                  </a:cubicBezTo>
                  <a:close/>
                  <a:moveTo>
                    <a:pt x="1058" y="773"/>
                  </a:moveTo>
                  <a:cubicBezTo>
                    <a:pt x="1064" y="767"/>
                    <a:pt x="1061" y="767"/>
                    <a:pt x="1066" y="762"/>
                  </a:cubicBezTo>
                  <a:cubicBezTo>
                    <a:pt x="1069" y="764"/>
                    <a:pt x="1072" y="762"/>
                    <a:pt x="1072" y="759"/>
                  </a:cubicBezTo>
                  <a:cubicBezTo>
                    <a:pt x="1086" y="773"/>
                    <a:pt x="1058" y="776"/>
                    <a:pt x="1058" y="790"/>
                  </a:cubicBezTo>
                  <a:cubicBezTo>
                    <a:pt x="1049" y="784"/>
                    <a:pt x="1044" y="776"/>
                    <a:pt x="1038" y="767"/>
                  </a:cubicBezTo>
                  <a:cubicBezTo>
                    <a:pt x="1049" y="750"/>
                    <a:pt x="1052" y="773"/>
                    <a:pt x="1058" y="773"/>
                  </a:cubicBezTo>
                  <a:close/>
                  <a:moveTo>
                    <a:pt x="1049" y="731"/>
                  </a:moveTo>
                  <a:lnTo>
                    <a:pt x="1049" y="730"/>
                  </a:lnTo>
                  <a:cubicBezTo>
                    <a:pt x="1049" y="728"/>
                    <a:pt x="1052" y="726"/>
                    <a:pt x="1049" y="731"/>
                  </a:cubicBezTo>
                  <a:lnTo>
                    <a:pt x="1049" y="730"/>
                  </a:lnTo>
                  <a:lnTo>
                    <a:pt x="1049" y="731"/>
                  </a:lnTo>
                  <a:close/>
                  <a:moveTo>
                    <a:pt x="1044" y="293"/>
                  </a:moveTo>
                  <a:cubicBezTo>
                    <a:pt x="1044" y="288"/>
                    <a:pt x="1052" y="296"/>
                    <a:pt x="1044" y="293"/>
                  </a:cubicBezTo>
                  <a:close/>
                  <a:moveTo>
                    <a:pt x="1049" y="133"/>
                  </a:moveTo>
                  <a:lnTo>
                    <a:pt x="1044" y="133"/>
                  </a:lnTo>
                  <a:lnTo>
                    <a:pt x="1044" y="130"/>
                  </a:lnTo>
                  <a:cubicBezTo>
                    <a:pt x="1047" y="130"/>
                    <a:pt x="1049" y="130"/>
                    <a:pt x="1049" y="133"/>
                  </a:cubicBezTo>
                  <a:close/>
                  <a:moveTo>
                    <a:pt x="1041" y="90"/>
                  </a:moveTo>
                  <a:cubicBezTo>
                    <a:pt x="1047" y="85"/>
                    <a:pt x="1035" y="99"/>
                    <a:pt x="1041" y="90"/>
                  </a:cubicBezTo>
                  <a:close/>
                  <a:moveTo>
                    <a:pt x="1041" y="728"/>
                  </a:moveTo>
                  <a:cubicBezTo>
                    <a:pt x="1047" y="736"/>
                    <a:pt x="1049" y="745"/>
                    <a:pt x="1044" y="753"/>
                  </a:cubicBezTo>
                  <a:cubicBezTo>
                    <a:pt x="1035" y="750"/>
                    <a:pt x="1035" y="739"/>
                    <a:pt x="1041" y="728"/>
                  </a:cubicBezTo>
                  <a:close/>
                  <a:moveTo>
                    <a:pt x="1033" y="214"/>
                  </a:moveTo>
                  <a:cubicBezTo>
                    <a:pt x="1033" y="212"/>
                    <a:pt x="1044" y="217"/>
                    <a:pt x="1033" y="214"/>
                  </a:cubicBezTo>
                  <a:close/>
                  <a:moveTo>
                    <a:pt x="1033" y="195"/>
                  </a:moveTo>
                  <a:cubicBezTo>
                    <a:pt x="1035" y="197"/>
                    <a:pt x="1033" y="197"/>
                    <a:pt x="1033" y="195"/>
                  </a:cubicBezTo>
                  <a:close/>
                  <a:moveTo>
                    <a:pt x="1035" y="220"/>
                  </a:moveTo>
                  <a:cubicBezTo>
                    <a:pt x="1035" y="223"/>
                    <a:pt x="1030" y="226"/>
                    <a:pt x="1027" y="226"/>
                  </a:cubicBezTo>
                  <a:cubicBezTo>
                    <a:pt x="1030" y="223"/>
                    <a:pt x="1033" y="223"/>
                    <a:pt x="1035" y="220"/>
                  </a:cubicBezTo>
                  <a:close/>
                  <a:moveTo>
                    <a:pt x="1021" y="220"/>
                  </a:moveTo>
                  <a:cubicBezTo>
                    <a:pt x="1024" y="212"/>
                    <a:pt x="1030" y="226"/>
                    <a:pt x="1021" y="220"/>
                  </a:cubicBezTo>
                  <a:close/>
                  <a:moveTo>
                    <a:pt x="1018" y="228"/>
                  </a:moveTo>
                  <a:lnTo>
                    <a:pt x="1024" y="228"/>
                  </a:lnTo>
                  <a:lnTo>
                    <a:pt x="1024" y="234"/>
                  </a:lnTo>
                  <a:lnTo>
                    <a:pt x="1018" y="234"/>
                  </a:lnTo>
                  <a:lnTo>
                    <a:pt x="1018" y="228"/>
                  </a:lnTo>
                  <a:close/>
                  <a:moveTo>
                    <a:pt x="1018" y="248"/>
                  </a:moveTo>
                  <a:cubicBezTo>
                    <a:pt x="1018" y="245"/>
                    <a:pt x="1021" y="248"/>
                    <a:pt x="1024" y="248"/>
                  </a:cubicBezTo>
                  <a:cubicBezTo>
                    <a:pt x="1021" y="248"/>
                    <a:pt x="1018" y="251"/>
                    <a:pt x="1018" y="248"/>
                  </a:cubicBezTo>
                  <a:close/>
                  <a:moveTo>
                    <a:pt x="1038" y="2552"/>
                  </a:moveTo>
                  <a:cubicBezTo>
                    <a:pt x="1033" y="2566"/>
                    <a:pt x="1004" y="2543"/>
                    <a:pt x="1010" y="2524"/>
                  </a:cubicBezTo>
                  <a:cubicBezTo>
                    <a:pt x="1024" y="2526"/>
                    <a:pt x="1024" y="2546"/>
                    <a:pt x="1038" y="2552"/>
                  </a:cubicBezTo>
                  <a:close/>
                  <a:moveTo>
                    <a:pt x="1013" y="2614"/>
                  </a:moveTo>
                  <a:cubicBezTo>
                    <a:pt x="1007" y="2614"/>
                    <a:pt x="999" y="2608"/>
                    <a:pt x="999" y="2603"/>
                  </a:cubicBezTo>
                  <a:cubicBezTo>
                    <a:pt x="1001" y="2597"/>
                    <a:pt x="1013" y="2603"/>
                    <a:pt x="1016" y="2608"/>
                  </a:cubicBezTo>
                  <a:cubicBezTo>
                    <a:pt x="1016" y="2608"/>
                    <a:pt x="1018" y="2608"/>
                    <a:pt x="1018" y="2605"/>
                  </a:cubicBezTo>
                  <a:cubicBezTo>
                    <a:pt x="1021" y="2605"/>
                    <a:pt x="1024" y="2603"/>
                    <a:pt x="1024" y="2603"/>
                  </a:cubicBezTo>
                  <a:lnTo>
                    <a:pt x="1024" y="2605"/>
                  </a:lnTo>
                  <a:cubicBezTo>
                    <a:pt x="1033" y="2608"/>
                    <a:pt x="1038" y="2617"/>
                    <a:pt x="1035" y="2628"/>
                  </a:cubicBezTo>
                  <a:cubicBezTo>
                    <a:pt x="1024" y="2628"/>
                    <a:pt x="1016" y="2622"/>
                    <a:pt x="1013" y="2614"/>
                  </a:cubicBezTo>
                  <a:close/>
                  <a:moveTo>
                    <a:pt x="1027" y="2642"/>
                  </a:moveTo>
                  <a:cubicBezTo>
                    <a:pt x="1044" y="2645"/>
                    <a:pt x="1024" y="2670"/>
                    <a:pt x="1027" y="2642"/>
                  </a:cubicBezTo>
                  <a:close/>
                  <a:moveTo>
                    <a:pt x="1018" y="2651"/>
                  </a:moveTo>
                  <a:cubicBezTo>
                    <a:pt x="1007" y="2651"/>
                    <a:pt x="1016" y="2631"/>
                    <a:pt x="1027" y="2634"/>
                  </a:cubicBezTo>
                  <a:cubicBezTo>
                    <a:pt x="1024" y="2639"/>
                    <a:pt x="1016" y="2642"/>
                    <a:pt x="1018" y="2651"/>
                  </a:cubicBezTo>
                  <a:close/>
                  <a:moveTo>
                    <a:pt x="1013" y="310"/>
                  </a:moveTo>
                  <a:cubicBezTo>
                    <a:pt x="1010" y="313"/>
                    <a:pt x="1004" y="316"/>
                    <a:pt x="1001" y="316"/>
                  </a:cubicBezTo>
                  <a:cubicBezTo>
                    <a:pt x="999" y="310"/>
                    <a:pt x="1007" y="310"/>
                    <a:pt x="1013" y="310"/>
                  </a:cubicBezTo>
                  <a:close/>
                  <a:moveTo>
                    <a:pt x="1001" y="282"/>
                  </a:moveTo>
                  <a:cubicBezTo>
                    <a:pt x="999" y="276"/>
                    <a:pt x="1010" y="282"/>
                    <a:pt x="1001" y="282"/>
                  </a:cubicBezTo>
                  <a:close/>
                  <a:moveTo>
                    <a:pt x="1001" y="350"/>
                  </a:moveTo>
                  <a:cubicBezTo>
                    <a:pt x="1004" y="344"/>
                    <a:pt x="1012" y="352"/>
                    <a:pt x="1003" y="350"/>
                  </a:cubicBezTo>
                  <a:cubicBezTo>
                    <a:pt x="1003" y="350"/>
                    <a:pt x="1002" y="350"/>
                    <a:pt x="1001" y="350"/>
                  </a:cubicBezTo>
                  <a:close/>
                  <a:moveTo>
                    <a:pt x="1001" y="350"/>
                  </a:moveTo>
                  <a:cubicBezTo>
                    <a:pt x="1004" y="352"/>
                    <a:pt x="1004" y="351"/>
                    <a:pt x="1003" y="350"/>
                  </a:cubicBezTo>
                  <a:cubicBezTo>
                    <a:pt x="1002" y="350"/>
                    <a:pt x="1002" y="350"/>
                    <a:pt x="1001" y="350"/>
                  </a:cubicBezTo>
                  <a:close/>
                  <a:moveTo>
                    <a:pt x="1001" y="2555"/>
                  </a:moveTo>
                  <a:cubicBezTo>
                    <a:pt x="1004" y="2549"/>
                    <a:pt x="1013" y="2560"/>
                    <a:pt x="1001" y="2555"/>
                  </a:cubicBezTo>
                  <a:close/>
                  <a:moveTo>
                    <a:pt x="1007" y="2667"/>
                  </a:moveTo>
                  <a:cubicBezTo>
                    <a:pt x="1004" y="2667"/>
                    <a:pt x="999" y="2665"/>
                    <a:pt x="999" y="2665"/>
                  </a:cubicBezTo>
                  <a:cubicBezTo>
                    <a:pt x="996" y="2662"/>
                    <a:pt x="1010" y="2662"/>
                    <a:pt x="1007" y="2667"/>
                  </a:cubicBezTo>
                  <a:close/>
                  <a:moveTo>
                    <a:pt x="1016" y="2583"/>
                  </a:moveTo>
                  <a:cubicBezTo>
                    <a:pt x="1016" y="2577"/>
                    <a:pt x="1027" y="2586"/>
                    <a:pt x="1016" y="2583"/>
                  </a:cubicBezTo>
                  <a:close/>
                  <a:moveTo>
                    <a:pt x="1021" y="2583"/>
                  </a:moveTo>
                  <a:cubicBezTo>
                    <a:pt x="1024" y="2580"/>
                    <a:pt x="1027" y="2577"/>
                    <a:pt x="1030" y="2577"/>
                  </a:cubicBezTo>
                  <a:cubicBezTo>
                    <a:pt x="1030" y="2580"/>
                    <a:pt x="1027" y="2583"/>
                    <a:pt x="1021" y="2583"/>
                  </a:cubicBezTo>
                  <a:close/>
                  <a:moveTo>
                    <a:pt x="1018" y="268"/>
                  </a:moveTo>
                  <a:cubicBezTo>
                    <a:pt x="1018" y="274"/>
                    <a:pt x="1010" y="271"/>
                    <a:pt x="1010" y="265"/>
                  </a:cubicBezTo>
                  <a:cubicBezTo>
                    <a:pt x="1013" y="259"/>
                    <a:pt x="1013" y="268"/>
                    <a:pt x="1018" y="268"/>
                  </a:cubicBezTo>
                  <a:close/>
                  <a:moveTo>
                    <a:pt x="1007" y="237"/>
                  </a:moveTo>
                  <a:cubicBezTo>
                    <a:pt x="1007" y="231"/>
                    <a:pt x="1016" y="240"/>
                    <a:pt x="1007" y="237"/>
                  </a:cubicBezTo>
                  <a:close/>
                  <a:moveTo>
                    <a:pt x="1004" y="200"/>
                  </a:moveTo>
                  <a:cubicBezTo>
                    <a:pt x="1010" y="195"/>
                    <a:pt x="1007" y="209"/>
                    <a:pt x="1004" y="200"/>
                  </a:cubicBezTo>
                  <a:close/>
                  <a:moveTo>
                    <a:pt x="1004" y="265"/>
                  </a:moveTo>
                  <a:cubicBezTo>
                    <a:pt x="1008" y="261"/>
                    <a:pt x="1008" y="267"/>
                    <a:pt x="1007" y="268"/>
                  </a:cubicBezTo>
                  <a:lnTo>
                    <a:pt x="1007" y="268"/>
                  </a:lnTo>
                  <a:cubicBezTo>
                    <a:pt x="1004" y="276"/>
                    <a:pt x="999" y="268"/>
                    <a:pt x="996" y="268"/>
                  </a:cubicBezTo>
                  <a:cubicBezTo>
                    <a:pt x="994" y="264"/>
                    <a:pt x="1002" y="266"/>
                    <a:pt x="1005" y="267"/>
                  </a:cubicBezTo>
                  <a:cubicBezTo>
                    <a:pt x="1005" y="267"/>
                    <a:pt x="1005" y="266"/>
                    <a:pt x="1004" y="265"/>
                  </a:cubicBezTo>
                  <a:close/>
                  <a:moveTo>
                    <a:pt x="985" y="2645"/>
                  </a:moveTo>
                  <a:cubicBezTo>
                    <a:pt x="985" y="2648"/>
                    <a:pt x="982" y="2651"/>
                    <a:pt x="979" y="2651"/>
                  </a:cubicBezTo>
                  <a:cubicBezTo>
                    <a:pt x="973" y="2659"/>
                    <a:pt x="965" y="2670"/>
                    <a:pt x="954" y="2667"/>
                  </a:cubicBezTo>
                  <a:cubicBezTo>
                    <a:pt x="954" y="2651"/>
                    <a:pt x="965" y="2653"/>
                    <a:pt x="968" y="2642"/>
                  </a:cubicBezTo>
                  <a:cubicBezTo>
                    <a:pt x="962" y="2639"/>
                    <a:pt x="962" y="2636"/>
                    <a:pt x="959" y="2628"/>
                  </a:cubicBezTo>
                  <a:cubicBezTo>
                    <a:pt x="965" y="2628"/>
                    <a:pt x="968" y="2628"/>
                    <a:pt x="970" y="2634"/>
                  </a:cubicBezTo>
                  <a:cubicBezTo>
                    <a:pt x="970" y="2631"/>
                    <a:pt x="965" y="2628"/>
                    <a:pt x="962" y="2622"/>
                  </a:cubicBezTo>
                  <a:cubicBezTo>
                    <a:pt x="968" y="2622"/>
                    <a:pt x="973" y="2620"/>
                    <a:pt x="979" y="2617"/>
                  </a:cubicBezTo>
                  <a:cubicBezTo>
                    <a:pt x="985" y="2620"/>
                    <a:pt x="987" y="2631"/>
                    <a:pt x="987" y="2636"/>
                  </a:cubicBezTo>
                  <a:cubicBezTo>
                    <a:pt x="985" y="2636"/>
                    <a:pt x="979" y="2639"/>
                    <a:pt x="979" y="2639"/>
                  </a:cubicBezTo>
                  <a:cubicBezTo>
                    <a:pt x="982" y="2645"/>
                    <a:pt x="985" y="2645"/>
                    <a:pt x="985" y="2645"/>
                  </a:cubicBezTo>
                  <a:close/>
                  <a:moveTo>
                    <a:pt x="970" y="2730"/>
                  </a:moveTo>
                  <a:lnTo>
                    <a:pt x="970" y="2744"/>
                  </a:lnTo>
                  <a:lnTo>
                    <a:pt x="956" y="2744"/>
                  </a:lnTo>
                  <a:lnTo>
                    <a:pt x="956" y="2730"/>
                  </a:lnTo>
                  <a:lnTo>
                    <a:pt x="970" y="2730"/>
                  </a:lnTo>
                  <a:close/>
                  <a:moveTo>
                    <a:pt x="959" y="2701"/>
                  </a:moveTo>
                  <a:cubicBezTo>
                    <a:pt x="976" y="2701"/>
                    <a:pt x="956" y="2724"/>
                    <a:pt x="959" y="2701"/>
                  </a:cubicBezTo>
                  <a:close/>
                  <a:moveTo>
                    <a:pt x="948" y="2713"/>
                  </a:moveTo>
                  <a:cubicBezTo>
                    <a:pt x="962" y="2713"/>
                    <a:pt x="945" y="2735"/>
                    <a:pt x="948" y="2713"/>
                  </a:cubicBezTo>
                  <a:close/>
                  <a:moveTo>
                    <a:pt x="948" y="2707"/>
                  </a:moveTo>
                  <a:cubicBezTo>
                    <a:pt x="948" y="2701"/>
                    <a:pt x="956" y="2710"/>
                    <a:pt x="948" y="2707"/>
                  </a:cubicBezTo>
                  <a:close/>
                  <a:moveTo>
                    <a:pt x="956" y="2560"/>
                  </a:moveTo>
                  <a:cubicBezTo>
                    <a:pt x="955" y="2559"/>
                    <a:pt x="956" y="2559"/>
                    <a:pt x="956" y="2559"/>
                  </a:cubicBezTo>
                  <a:cubicBezTo>
                    <a:pt x="956" y="2560"/>
                    <a:pt x="956" y="2560"/>
                    <a:pt x="956" y="2560"/>
                  </a:cubicBezTo>
                  <a:close/>
                  <a:moveTo>
                    <a:pt x="957" y="2560"/>
                  </a:moveTo>
                  <a:cubicBezTo>
                    <a:pt x="958" y="2558"/>
                    <a:pt x="957" y="2558"/>
                    <a:pt x="956" y="2559"/>
                  </a:cubicBezTo>
                  <a:cubicBezTo>
                    <a:pt x="957" y="2559"/>
                    <a:pt x="957" y="2559"/>
                    <a:pt x="957" y="2560"/>
                  </a:cubicBezTo>
                  <a:close/>
                  <a:moveTo>
                    <a:pt x="956" y="2560"/>
                  </a:moveTo>
                  <a:cubicBezTo>
                    <a:pt x="957" y="2560"/>
                    <a:pt x="957" y="2560"/>
                    <a:pt x="957" y="2560"/>
                  </a:cubicBezTo>
                  <a:cubicBezTo>
                    <a:pt x="957" y="2560"/>
                    <a:pt x="957" y="2560"/>
                    <a:pt x="956" y="2560"/>
                  </a:cubicBezTo>
                  <a:close/>
                  <a:moveTo>
                    <a:pt x="968" y="2580"/>
                  </a:moveTo>
                  <a:cubicBezTo>
                    <a:pt x="965" y="2574"/>
                    <a:pt x="976" y="2574"/>
                    <a:pt x="979" y="2574"/>
                  </a:cubicBezTo>
                  <a:cubicBezTo>
                    <a:pt x="976" y="2580"/>
                    <a:pt x="970" y="2580"/>
                    <a:pt x="968" y="2580"/>
                  </a:cubicBezTo>
                  <a:close/>
                  <a:moveTo>
                    <a:pt x="959" y="296"/>
                  </a:moveTo>
                  <a:lnTo>
                    <a:pt x="970" y="296"/>
                  </a:lnTo>
                  <a:cubicBezTo>
                    <a:pt x="973" y="302"/>
                    <a:pt x="956" y="305"/>
                    <a:pt x="959" y="296"/>
                  </a:cubicBezTo>
                  <a:close/>
                  <a:moveTo>
                    <a:pt x="962" y="1754"/>
                  </a:moveTo>
                  <a:cubicBezTo>
                    <a:pt x="965" y="1754"/>
                    <a:pt x="962" y="1756"/>
                    <a:pt x="962" y="1754"/>
                  </a:cubicBezTo>
                  <a:close/>
                  <a:moveTo>
                    <a:pt x="982" y="319"/>
                  </a:moveTo>
                  <a:cubicBezTo>
                    <a:pt x="976" y="316"/>
                    <a:pt x="984" y="308"/>
                    <a:pt x="987" y="310"/>
                  </a:cubicBezTo>
                  <a:cubicBezTo>
                    <a:pt x="987" y="309"/>
                    <a:pt x="987" y="308"/>
                    <a:pt x="987" y="307"/>
                  </a:cubicBezTo>
                  <a:cubicBezTo>
                    <a:pt x="993" y="307"/>
                    <a:pt x="993" y="322"/>
                    <a:pt x="987" y="322"/>
                  </a:cubicBezTo>
                  <a:cubicBezTo>
                    <a:pt x="986" y="318"/>
                    <a:pt x="986" y="314"/>
                    <a:pt x="987" y="312"/>
                  </a:cubicBezTo>
                  <a:cubicBezTo>
                    <a:pt x="985" y="313"/>
                    <a:pt x="979" y="314"/>
                    <a:pt x="982" y="319"/>
                  </a:cubicBezTo>
                  <a:close/>
                  <a:moveTo>
                    <a:pt x="982" y="209"/>
                  </a:moveTo>
                  <a:lnTo>
                    <a:pt x="987" y="209"/>
                  </a:lnTo>
                  <a:lnTo>
                    <a:pt x="987" y="214"/>
                  </a:lnTo>
                  <a:cubicBezTo>
                    <a:pt x="987" y="214"/>
                    <a:pt x="985" y="217"/>
                    <a:pt x="982" y="217"/>
                  </a:cubicBezTo>
                  <a:lnTo>
                    <a:pt x="982" y="209"/>
                  </a:lnTo>
                  <a:close/>
                  <a:moveTo>
                    <a:pt x="985" y="279"/>
                  </a:moveTo>
                  <a:cubicBezTo>
                    <a:pt x="985" y="276"/>
                    <a:pt x="993" y="276"/>
                    <a:pt x="996" y="276"/>
                  </a:cubicBezTo>
                  <a:cubicBezTo>
                    <a:pt x="996" y="279"/>
                    <a:pt x="987" y="279"/>
                    <a:pt x="985" y="279"/>
                  </a:cubicBezTo>
                  <a:close/>
                  <a:moveTo>
                    <a:pt x="993" y="195"/>
                  </a:moveTo>
                  <a:cubicBezTo>
                    <a:pt x="990" y="195"/>
                    <a:pt x="987" y="189"/>
                    <a:pt x="990" y="189"/>
                  </a:cubicBezTo>
                  <a:cubicBezTo>
                    <a:pt x="990" y="189"/>
                    <a:pt x="990" y="186"/>
                    <a:pt x="987" y="183"/>
                  </a:cubicBezTo>
                  <a:cubicBezTo>
                    <a:pt x="990" y="180"/>
                    <a:pt x="996" y="183"/>
                    <a:pt x="996" y="186"/>
                  </a:cubicBezTo>
                  <a:lnTo>
                    <a:pt x="996" y="189"/>
                  </a:lnTo>
                  <a:cubicBezTo>
                    <a:pt x="999" y="192"/>
                    <a:pt x="993" y="189"/>
                    <a:pt x="993" y="195"/>
                  </a:cubicBezTo>
                  <a:close/>
                  <a:moveTo>
                    <a:pt x="1004" y="257"/>
                  </a:moveTo>
                  <a:cubicBezTo>
                    <a:pt x="999" y="259"/>
                    <a:pt x="993" y="257"/>
                    <a:pt x="990" y="251"/>
                  </a:cubicBezTo>
                  <a:cubicBezTo>
                    <a:pt x="996" y="251"/>
                    <a:pt x="1004" y="248"/>
                    <a:pt x="1004" y="257"/>
                  </a:cubicBezTo>
                  <a:close/>
                  <a:moveTo>
                    <a:pt x="990" y="2617"/>
                  </a:moveTo>
                  <a:cubicBezTo>
                    <a:pt x="990" y="2611"/>
                    <a:pt x="1001" y="2620"/>
                    <a:pt x="990" y="2617"/>
                  </a:cubicBezTo>
                  <a:close/>
                  <a:moveTo>
                    <a:pt x="987" y="302"/>
                  </a:moveTo>
                  <a:cubicBezTo>
                    <a:pt x="990" y="302"/>
                    <a:pt x="993" y="302"/>
                    <a:pt x="996" y="299"/>
                  </a:cubicBezTo>
                  <a:lnTo>
                    <a:pt x="996" y="305"/>
                  </a:lnTo>
                  <a:cubicBezTo>
                    <a:pt x="993" y="307"/>
                    <a:pt x="990" y="305"/>
                    <a:pt x="987" y="305"/>
                  </a:cubicBezTo>
                  <a:lnTo>
                    <a:pt x="987" y="302"/>
                  </a:lnTo>
                  <a:close/>
                  <a:moveTo>
                    <a:pt x="993" y="220"/>
                  </a:moveTo>
                  <a:cubicBezTo>
                    <a:pt x="993" y="214"/>
                    <a:pt x="1001" y="214"/>
                    <a:pt x="1004" y="217"/>
                  </a:cubicBezTo>
                  <a:cubicBezTo>
                    <a:pt x="1004" y="220"/>
                    <a:pt x="999" y="220"/>
                    <a:pt x="993" y="220"/>
                  </a:cubicBezTo>
                  <a:close/>
                  <a:moveTo>
                    <a:pt x="1004" y="116"/>
                  </a:moveTo>
                  <a:lnTo>
                    <a:pt x="999" y="116"/>
                  </a:lnTo>
                  <a:lnTo>
                    <a:pt x="999" y="110"/>
                  </a:lnTo>
                  <a:lnTo>
                    <a:pt x="1004" y="110"/>
                  </a:lnTo>
                  <a:lnTo>
                    <a:pt x="1004" y="116"/>
                  </a:lnTo>
                  <a:close/>
                  <a:moveTo>
                    <a:pt x="1004" y="96"/>
                  </a:moveTo>
                  <a:cubicBezTo>
                    <a:pt x="1001" y="102"/>
                    <a:pt x="990" y="90"/>
                    <a:pt x="1004" y="96"/>
                  </a:cubicBezTo>
                  <a:close/>
                  <a:moveTo>
                    <a:pt x="990" y="104"/>
                  </a:moveTo>
                  <a:cubicBezTo>
                    <a:pt x="996" y="102"/>
                    <a:pt x="985" y="113"/>
                    <a:pt x="990" y="104"/>
                  </a:cubicBezTo>
                  <a:close/>
                  <a:moveTo>
                    <a:pt x="985" y="118"/>
                  </a:moveTo>
                  <a:cubicBezTo>
                    <a:pt x="987" y="116"/>
                    <a:pt x="985" y="113"/>
                    <a:pt x="990" y="110"/>
                  </a:cubicBezTo>
                  <a:cubicBezTo>
                    <a:pt x="993" y="110"/>
                    <a:pt x="993" y="116"/>
                    <a:pt x="996" y="116"/>
                  </a:cubicBezTo>
                  <a:cubicBezTo>
                    <a:pt x="996" y="121"/>
                    <a:pt x="985" y="121"/>
                    <a:pt x="987" y="127"/>
                  </a:cubicBezTo>
                  <a:cubicBezTo>
                    <a:pt x="993" y="130"/>
                    <a:pt x="996" y="135"/>
                    <a:pt x="996" y="141"/>
                  </a:cubicBezTo>
                  <a:cubicBezTo>
                    <a:pt x="993" y="147"/>
                    <a:pt x="990" y="147"/>
                    <a:pt x="990" y="149"/>
                  </a:cubicBezTo>
                  <a:cubicBezTo>
                    <a:pt x="982" y="147"/>
                    <a:pt x="982" y="130"/>
                    <a:pt x="970" y="135"/>
                  </a:cubicBezTo>
                  <a:cubicBezTo>
                    <a:pt x="970" y="127"/>
                    <a:pt x="970" y="121"/>
                    <a:pt x="973" y="113"/>
                  </a:cubicBezTo>
                  <a:cubicBezTo>
                    <a:pt x="979" y="113"/>
                    <a:pt x="985" y="116"/>
                    <a:pt x="985" y="118"/>
                  </a:cubicBezTo>
                  <a:close/>
                  <a:moveTo>
                    <a:pt x="976" y="99"/>
                  </a:moveTo>
                  <a:lnTo>
                    <a:pt x="976" y="110"/>
                  </a:lnTo>
                  <a:cubicBezTo>
                    <a:pt x="970" y="110"/>
                    <a:pt x="968" y="102"/>
                    <a:pt x="976" y="99"/>
                  </a:cubicBezTo>
                  <a:close/>
                  <a:moveTo>
                    <a:pt x="973" y="274"/>
                  </a:moveTo>
                  <a:cubicBezTo>
                    <a:pt x="973" y="276"/>
                    <a:pt x="968" y="279"/>
                    <a:pt x="965" y="279"/>
                  </a:cubicBezTo>
                  <a:cubicBezTo>
                    <a:pt x="965" y="276"/>
                    <a:pt x="970" y="274"/>
                    <a:pt x="973" y="274"/>
                  </a:cubicBezTo>
                  <a:close/>
                  <a:moveTo>
                    <a:pt x="956" y="268"/>
                  </a:moveTo>
                  <a:cubicBezTo>
                    <a:pt x="959" y="262"/>
                    <a:pt x="968" y="271"/>
                    <a:pt x="956" y="268"/>
                  </a:cubicBezTo>
                  <a:close/>
                  <a:moveTo>
                    <a:pt x="951" y="1694"/>
                  </a:moveTo>
                  <a:cubicBezTo>
                    <a:pt x="951" y="1689"/>
                    <a:pt x="954" y="1683"/>
                    <a:pt x="959" y="1686"/>
                  </a:cubicBezTo>
                  <a:cubicBezTo>
                    <a:pt x="959" y="1689"/>
                    <a:pt x="956" y="1694"/>
                    <a:pt x="951" y="1694"/>
                  </a:cubicBezTo>
                  <a:close/>
                  <a:moveTo>
                    <a:pt x="948" y="138"/>
                  </a:moveTo>
                  <a:cubicBezTo>
                    <a:pt x="951" y="138"/>
                    <a:pt x="956" y="141"/>
                    <a:pt x="959" y="141"/>
                  </a:cubicBezTo>
                  <a:cubicBezTo>
                    <a:pt x="954" y="141"/>
                    <a:pt x="948" y="149"/>
                    <a:pt x="948" y="138"/>
                  </a:cubicBezTo>
                  <a:close/>
                  <a:moveTo>
                    <a:pt x="952" y="2532"/>
                  </a:moveTo>
                  <a:cubicBezTo>
                    <a:pt x="952" y="2531"/>
                    <a:pt x="954" y="2528"/>
                    <a:pt x="954" y="2532"/>
                  </a:cubicBezTo>
                  <a:cubicBezTo>
                    <a:pt x="953" y="2533"/>
                    <a:pt x="952" y="2533"/>
                    <a:pt x="952" y="2532"/>
                  </a:cubicBezTo>
                  <a:close/>
                  <a:moveTo>
                    <a:pt x="951" y="2636"/>
                  </a:moveTo>
                  <a:cubicBezTo>
                    <a:pt x="973" y="2659"/>
                    <a:pt x="928" y="2662"/>
                    <a:pt x="951" y="2636"/>
                  </a:cubicBezTo>
                  <a:close/>
                  <a:moveTo>
                    <a:pt x="942" y="110"/>
                  </a:moveTo>
                  <a:cubicBezTo>
                    <a:pt x="942" y="107"/>
                    <a:pt x="942" y="104"/>
                    <a:pt x="939" y="102"/>
                  </a:cubicBezTo>
                  <a:cubicBezTo>
                    <a:pt x="945" y="99"/>
                    <a:pt x="948" y="110"/>
                    <a:pt x="942" y="110"/>
                  </a:cubicBezTo>
                  <a:close/>
                  <a:moveTo>
                    <a:pt x="939" y="118"/>
                  </a:moveTo>
                  <a:lnTo>
                    <a:pt x="942" y="118"/>
                  </a:lnTo>
                  <a:lnTo>
                    <a:pt x="942" y="116"/>
                  </a:lnTo>
                  <a:cubicBezTo>
                    <a:pt x="942" y="116"/>
                    <a:pt x="942" y="118"/>
                    <a:pt x="945" y="118"/>
                  </a:cubicBezTo>
                  <a:cubicBezTo>
                    <a:pt x="942" y="118"/>
                    <a:pt x="945" y="121"/>
                    <a:pt x="942" y="121"/>
                  </a:cubicBezTo>
                  <a:cubicBezTo>
                    <a:pt x="939" y="127"/>
                    <a:pt x="931" y="124"/>
                    <a:pt x="925" y="124"/>
                  </a:cubicBezTo>
                  <a:cubicBezTo>
                    <a:pt x="925" y="121"/>
                    <a:pt x="934" y="118"/>
                    <a:pt x="939" y="118"/>
                  </a:cubicBezTo>
                  <a:close/>
                  <a:moveTo>
                    <a:pt x="931" y="158"/>
                  </a:moveTo>
                  <a:cubicBezTo>
                    <a:pt x="934" y="152"/>
                    <a:pt x="939" y="166"/>
                    <a:pt x="931" y="158"/>
                  </a:cubicBezTo>
                  <a:close/>
                  <a:moveTo>
                    <a:pt x="925" y="166"/>
                  </a:moveTo>
                  <a:cubicBezTo>
                    <a:pt x="934" y="161"/>
                    <a:pt x="922" y="175"/>
                    <a:pt x="925" y="166"/>
                  </a:cubicBezTo>
                  <a:close/>
                  <a:moveTo>
                    <a:pt x="920" y="144"/>
                  </a:moveTo>
                  <a:cubicBezTo>
                    <a:pt x="922" y="138"/>
                    <a:pt x="931" y="147"/>
                    <a:pt x="920" y="144"/>
                  </a:cubicBezTo>
                  <a:close/>
                  <a:moveTo>
                    <a:pt x="906" y="113"/>
                  </a:moveTo>
                  <a:cubicBezTo>
                    <a:pt x="911" y="116"/>
                    <a:pt x="894" y="118"/>
                    <a:pt x="906" y="113"/>
                  </a:cubicBezTo>
                  <a:close/>
                  <a:moveTo>
                    <a:pt x="903" y="183"/>
                  </a:moveTo>
                  <a:cubicBezTo>
                    <a:pt x="897" y="180"/>
                    <a:pt x="911" y="186"/>
                    <a:pt x="903" y="183"/>
                  </a:cubicBezTo>
                  <a:close/>
                  <a:moveTo>
                    <a:pt x="897" y="169"/>
                  </a:moveTo>
                  <a:cubicBezTo>
                    <a:pt x="903" y="164"/>
                    <a:pt x="894" y="178"/>
                    <a:pt x="897" y="169"/>
                  </a:cubicBezTo>
                  <a:close/>
                  <a:moveTo>
                    <a:pt x="894" y="200"/>
                  </a:moveTo>
                  <a:cubicBezTo>
                    <a:pt x="894" y="195"/>
                    <a:pt x="903" y="200"/>
                    <a:pt x="894" y="200"/>
                  </a:cubicBezTo>
                  <a:close/>
                  <a:moveTo>
                    <a:pt x="897" y="141"/>
                  </a:moveTo>
                  <a:cubicBezTo>
                    <a:pt x="894" y="141"/>
                    <a:pt x="891" y="133"/>
                    <a:pt x="891" y="130"/>
                  </a:cubicBezTo>
                  <a:cubicBezTo>
                    <a:pt x="897" y="124"/>
                    <a:pt x="900" y="138"/>
                    <a:pt x="897" y="141"/>
                  </a:cubicBezTo>
                  <a:close/>
                  <a:moveTo>
                    <a:pt x="906" y="2620"/>
                  </a:moveTo>
                  <a:cubicBezTo>
                    <a:pt x="906" y="2620"/>
                    <a:pt x="903" y="2622"/>
                    <a:pt x="903" y="2620"/>
                  </a:cubicBezTo>
                  <a:lnTo>
                    <a:pt x="903" y="2622"/>
                  </a:lnTo>
                  <a:cubicBezTo>
                    <a:pt x="906" y="2622"/>
                    <a:pt x="906" y="2620"/>
                    <a:pt x="906" y="2620"/>
                  </a:cubicBezTo>
                  <a:close/>
                  <a:moveTo>
                    <a:pt x="897" y="2617"/>
                  </a:moveTo>
                  <a:lnTo>
                    <a:pt x="894" y="2617"/>
                  </a:lnTo>
                  <a:cubicBezTo>
                    <a:pt x="894" y="2620"/>
                    <a:pt x="891" y="2617"/>
                    <a:pt x="891" y="2617"/>
                  </a:cubicBezTo>
                  <a:cubicBezTo>
                    <a:pt x="886" y="2614"/>
                    <a:pt x="891" y="2605"/>
                    <a:pt x="894" y="2603"/>
                  </a:cubicBezTo>
                  <a:cubicBezTo>
                    <a:pt x="897" y="2605"/>
                    <a:pt x="900" y="2608"/>
                    <a:pt x="897" y="2614"/>
                  </a:cubicBezTo>
                  <a:lnTo>
                    <a:pt x="900" y="2614"/>
                  </a:lnTo>
                  <a:lnTo>
                    <a:pt x="903" y="2617"/>
                  </a:lnTo>
                  <a:lnTo>
                    <a:pt x="903" y="2620"/>
                  </a:lnTo>
                  <a:cubicBezTo>
                    <a:pt x="900" y="2620"/>
                    <a:pt x="900" y="2617"/>
                    <a:pt x="897" y="2617"/>
                  </a:cubicBezTo>
                  <a:close/>
                  <a:moveTo>
                    <a:pt x="911" y="2614"/>
                  </a:moveTo>
                  <a:cubicBezTo>
                    <a:pt x="903" y="2625"/>
                    <a:pt x="917" y="2603"/>
                    <a:pt x="911" y="2614"/>
                  </a:cubicBezTo>
                  <a:close/>
                  <a:moveTo>
                    <a:pt x="875" y="2636"/>
                  </a:moveTo>
                  <a:lnTo>
                    <a:pt x="876" y="2636"/>
                  </a:lnTo>
                  <a:cubicBezTo>
                    <a:pt x="875" y="2638"/>
                    <a:pt x="873" y="2639"/>
                    <a:pt x="875" y="2636"/>
                  </a:cubicBezTo>
                  <a:cubicBezTo>
                    <a:pt x="877" y="2634"/>
                    <a:pt x="877" y="2635"/>
                    <a:pt x="876" y="2636"/>
                  </a:cubicBezTo>
                  <a:lnTo>
                    <a:pt x="875" y="2636"/>
                  </a:lnTo>
                  <a:close/>
                  <a:moveTo>
                    <a:pt x="872" y="2667"/>
                  </a:moveTo>
                  <a:cubicBezTo>
                    <a:pt x="875" y="2659"/>
                    <a:pt x="875" y="2651"/>
                    <a:pt x="875" y="2642"/>
                  </a:cubicBezTo>
                  <a:cubicBezTo>
                    <a:pt x="880" y="2642"/>
                    <a:pt x="886" y="2642"/>
                    <a:pt x="889" y="2648"/>
                  </a:cubicBezTo>
                  <a:cubicBezTo>
                    <a:pt x="880" y="2651"/>
                    <a:pt x="894" y="2662"/>
                    <a:pt x="889" y="2670"/>
                  </a:cubicBezTo>
                  <a:cubicBezTo>
                    <a:pt x="883" y="2670"/>
                    <a:pt x="877" y="2670"/>
                    <a:pt x="872" y="2667"/>
                  </a:cubicBezTo>
                  <a:close/>
                  <a:moveTo>
                    <a:pt x="889" y="2704"/>
                  </a:moveTo>
                  <a:cubicBezTo>
                    <a:pt x="880" y="2701"/>
                    <a:pt x="875" y="2696"/>
                    <a:pt x="875" y="2690"/>
                  </a:cubicBezTo>
                  <a:cubicBezTo>
                    <a:pt x="880" y="2690"/>
                    <a:pt x="886" y="2696"/>
                    <a:pt x="889" y="2704"/>
                  </a:cubicBezTo>
                  <a:close/>
                  <a:moveTo>
                    <a:pt x="889" y="2715"/>
                  </a:moveTo>
                  <a:cubicBezTo>
                    <a:pt x="886" y="2715"/>
                    <a:pt x="886" y="2711"/>
                    <a:pt x="886" y="2708"/>
                  </a:cubicBezTo>
                  <a:cubicBezTo>
                    <a:pt x="887" y="2710"/>
                    <a:pt x="889" y="2712"/>
                    <a:pt x="890" y="2714"/>
                  </a:cubicBezTo>
                  <a:cubicBezTo>
                    <a:pt x="912" y="2752"/>
                    <a:pt x="821" y="2735"/>
                    <a:pt x="880" y="2701"/>
                  </a:cubicBezTo>
                  <a:cubicBezTo>
                    <a:pt x="882" y="2704"/>
                    <a:pt x="884" y="2706"/>
                    <a:pt x="886" y="2708"/>
                  </a:cubicBezTo>
                  <a:lnTo>
                    <a:pt x="886" y="2707"/>
                  </a:lnTo>
                  <a:cubicBezTo>
                    <a:pt x="891" y="2705"/>
                    <a:pt x="891" y="2710"/>
                    <a:pt x="890" y="2714"/>
                  </a:cubicBezTo>
                  <a:cubicBezTo>
                    <a:pt x="889" y="2714"/>
                    <a:pt x="889" y="2715"/>
                    <a:pt x="889" y="2715"/>
                  </a:cubicBezTo>
                  <a:close/>
                  <a:moveTo>
                    <a:pt x="900" y="257"/>
                  </a:moveTo>
                  <a:lnTo>
                    <a:pt x="900" y="251"/>
                  </a:lnTo>
                  <a:lnTo>
                    <a:pt x="906" y="251"/>
                  </a:lnTo>
                  <a:cubicBezTo>
                    <a:pt x="906" y="251"/>
                    <a:pt x="908" y="254"/>
                    <a:pt x="908" y="257"/>
                  </a:cubicBezTo>
                  <a:cubicBezTo>
                    <a:pt x="903" y="254"/>
                    <a:pt x="900" y="257"/>
                    <a:pt x="900" y="257"/>
                  </a:cubicBezTo>
                  <a:close/>
                  <a:moveTo>
                    <a:pt x="894" y="265"/>
                  </a:moveTo>
                  <a:cubicBezTo>
                    <a:pt x="897" y="257"/>
                    <a:pt x="903" y="271"/>
                    <a:pt x="894" y="265"/>
                  </a:cubicBezTo>
                  <a:close/>
                  <a:moveTo>
                    <a:pt x="891" y="2555"/>
                  </a:moveTo>
                  <a:lnTo>
                    <a:pt x="891" y="2557"/>
                  </a:lnTo>
                  <a:cubicBezTo>
                    <a:pt x="872" y="2557"/>
                    <a:pt x="880" y="2572"/>
                    <a:pt x="877" y="2580"/>
                  </a:cubicBezTo>
                  <a:cubicBezTo>
                    <a:pt x="872" y="2579"/>
                    <a:pt x="870" y="2573"/>
                    <a:pt x="869" y="2567"/>
                  </a:cubicBezTo>
                  <a:cubicBezTo>
                    <a:pt x="865" y="2572"/>
                    <a:pt x="847" y="2573"/>
                    <a:pt x="863" y="2557"/>
                  </a:cubicBezTo>
                  <a:cubicBezTo>
                    <a:pt x="866" y="2559"/>
                    <a:pt x="868" y="2560"/>
                    <a:pt x="869" y="2562"/>
                  </a:cubicBezTo>
                  <a:cubicBezTo>
                    <a:pt x="869" y="2550"/>
                    <a:pt x="876" y="2538"/>
                    <a:pt x="889" y="2538"/>
                  </a:cubicBezTo>
                  <a:lnTo>
                    <a:pt x="889" y="2549"/>
                  </a:lnTo>
                  <a:cubicBezTo>
                    <a:pt x="889" y="2546"/>
                    <a:pt x="891" y="2543"/>
                    <a:pt x="891" y="2543"/>
                  </a:cubicBezTo>
                  <a:cubicBezTo>
                    <a:pt x="906" y="2543"/>
                    <a:pt x="897" y="2555"/>
                    <a:pt x="891" y="2555"/>
                  </a:cubicBezTo>
                  <a:close/>
                  <a:moveTo>
                    <a:pt x="855" y="2645"/>
                  </a:moveTo>
                  <a:lnTo>
                    <a:pt x="863" y="2645"/>
                  </a:lnTo>
                  <a:lnTo>
                    <a:pt x="866" y="2645"/>
                  </a:lnTo>
                  <a:cubicBezTo>
                    <a:pt x="866" y="2645"/>
                    <a:pt x="869" y="2648"/>
                    <a:pt x="869" y="2651"/>
                  </a:cubicBezTo>
                  <a:lnTo>
                    <a:pt x="866" y="2651"/>
                  </a:lnTo>
                  <a:cubicBezTo>
                    <a:pt x="863" y="2656"/>
                    <a:pt x="849" y="2665"/>
                    <a:pt x="855" y="2645"/>
                  </a:cubicBezTo>
                  <a:close/>
                  <a:moveTo>
                    <a:pt x="858" y="2769"/>
                  </a:moveTo>
                  <a:cubicBezTo>
                    <a:pt x="863" y="2763"/>
                    <a:pt x="852" y="2777"/>
                    <a:pt x="858" y="2769"/>
                  </a:cubicBezTo>
                  <a:close/>
                  <a:moveTo>
                    <a:pt x="858" y="2611"/>
                  </a:moveTo>
                  <a:cubicBezTo>
                    <a:pt x="877" y="2620"/>
                    <a:pt x="829" y="2628"/>
                    <a:pt x="858" y="2611"/>
                  </a:cubicBezTo>
                  <a:close/>
                  <a:moveTo>
                    <a:pt x="855" y="2594"/>
                  </a:moveTo>
                  <a:cubicBezTo>
                    <a:pt x="860" y="2594"/>
                    <a:pt x="860" y="2600"/>
                    <a:pt x="858" y="2603"/>
                  </a:cubicBezTo>
                  <a:cubicBezTo>
                    <a:pt x="855" y="2603"/>
                    <a:pt x="855" y="2597"/>
                    <a:pt x="855" y="2594"/>
                  </a:cubicBezTo>
                  <a:close/>
                  <a:moveTo>
                    <a:pt x="860" y="2526"/>
                  </a:moveTo>
                  <a:cubicBezTo>
                    <a:pt x="863" y="2521"/>
                    <a:pt x="872" y="2529"/>
                    <a:pt x="860" y="2526"/>
                  </a:cubicBezTo>
                  <a:close/>
                  <a:moveTo>
                    <a:pt x="866" y="302"/>
                  </a:moveTo>
                  <a:cubicBezTo>
                    <a:pt x="863" y="296"/>
                    <a:pt x="875" y="302"/>
                    <a:pt x="875" y="299"/>
                  </a:cubicBezTo>
                  <a:cubicBezTo>
                    <a:pt x="869" y="288"/>
                    <a:pt x="880" y="290"/>
                    <a:pt x="877" y="276"/>
                  </a:cubicBezTo>
                  <a:lnTo>
                    <a:pt x="886" y="276"/>
                  </a:lnTo>
                  <a:cubicBezTo>
                    <a:pt x="891" y="290"/>
                    <a:pt x="877" y="305"/>
                    <a:pt x="866" y="302"/>
                  </a:cubicBezTo>
                  <a:close/>
                  <a:moveTo>
                    <a:pt x="886" y="2526"/>
                  </a:moveTo>
                  <a:cubicBezTo>
                    <a:pt x="900" y="2526"/>
                    <a:pt x="883" y="2549"/>
                    <a:pt x="886" y="2526"/>
                  </a:cubicBezTo>
                  <a:close/>
                  <a:moveTo>
                    <a:pt x="894" y="240"/>
                  </a:moveTo>
                  <a:cubicBezTo>
                    <a:pt x="900" y="243"/>
                    <a:pt x="886" y="251"/>
                    <a:pt x="894" y="240"/>
                  </a:cubicBezTo>
                  <a:close/>
                  <a:moveTo>
                    <a:pt x="889" y="234"/>
                  </a:moveTo>
                  <a:cubicBezTo>
                    <a:pt x="889" y="228"/>
                    <a:pt x="897" y="237"/>
                    <a:pt x="889" y="234"/>
                  </a:cubicBezTo>
                  <a:close/>
                  <a:moveTo>
                    <a:pt x="891" y="214"/>
                  </a:moveTo>
                  <a:cubicBezTo>
                    <a:pt x="891" y="217"/>
                    <a:pt x="889" y="223"/>
                    <a:pt x="883" y="223"/>
                  </a:cubicBezTo>
                  <a:cubicBezTo>
                    <a:pt x="883" y="220"/>
                    <a:pt x="883" y="217"/>
                    <a:pt x="880" y="217"/>
                  </a:cubicBezTo>
                  <a:cubicBezTo>
                    <a:pt x="883" y="214"/>
                    <a:pt x="889" y="214"/>
                    <a:pt x="891" y="214"/>
                  </a:cubicBezTo>
                  <a:close/>
                  <a:moveTo>
                    <a:pt x="877" y="186"/>
                  </a:moveTo>
                  <a:cubicBezTo>
                    <a:pt x="883" y="192"/>
                    <a:pt x="886" y="200"/>
                    <a:pt x="880" y="203"/>
                  </a:cubicBezTo>
                  <a:cubicBezTo>
                    <a:pt x="875" y="203"/>
                    <a:pt x="877" y="192"/>
                    <a:pt x="872" y="192"/>
                  </a:cubicBezTo>
                  <a:cubicBezTo>
                    <a:pt x="872" y="189"/>
                    <a:pt x="877" y="189"/>
                    <a:pt x="877" y="186"/>
                  </a:cubicBezTo>
                  <a:close/>
                  <a:moveTo>
                    <a:pt x="880" y="206"/>
                  </a:moveTo>
                  <a:cubicBezTo>
                    <a:pt x="877" y="231"/>
                    <a:pt x="852" y="214"/>
                    <a:pt x="846" y="200"/>
                  </a:cubicBezTo>
                  <a:cubicBezTo>
                    <a:pt x="855" y="195"/>
                    <a:pt x="858" y="200"/>
                    <a:pt x="866" y="203"/>
                  </a:cubicBezTo>
                  <a:cubicBezTo>
                    <a:pt x="869" y="206"/>
                    <a:pt x="877" y="203"/>
                    <a:pt x="880" y="206"/>
                  </a:cubicBezTo>
                  <a:close/>
                  <a:moveTo>
                    <a:pt x="846" y="2526"/>
                  </a:moveTo>
                  <a:cubicBezTo>
                    <a:pt x="846" y="2529"/>
                    <a:pt x="846" y="2529"/>
                    <a:pt x="843" y="2529"/>
                  </a:cubicBezTo>
                  <a:cubicBezTo>
                    <a:pt x="852" y="2540"/>
                    <a:pt x="818" y="2533"/>
                    <a:pt x="833" y="2525"/>
                  </a:cubicBezTo>
                  <a:cubicBezTo>
                    <a:pt x="832" y="2524"/>
                    <a:pt x="832" y="2524"/>
                    <a:pt x="835" y="2524"/>
                  </a:cubicBezTo>
                  <a:cubicBezTo>
                    <a:pt x="841" y="2524"/>
                    <a:pt x="846" y="2524"/>
                    <a:pt x="846" y="2526"/>
                  </a:cubicBezTo>
                  <a:close/>
                  <a:moveTo>
                    <a:pt x="832" y="1731"/>
                  </a:moveTo>
                  <a:cubicBezTo>
                    <a:pt x="827" y="1728"/>
                    <a:pt x="835" y="1720"/>
                    <a:pt x="838" y="1725"/>
                  </a:cubicBezTo>
                  <a:cubicBezTo>
                    <a:pt x="838" y="1728"/>
                    <a:pt x="832" y="1728"/>
                    <a:pt x="832" y="1731"/>
                  </a:cubicBezTo>
                  <a:close/>
                  <a:moveTo>
                    <a:pt x="843" y="1711"/>
                  </a:moveTo>
                  <a:cubicBezTo>
                    <a:pt x="843" y="1706"/>
                    <a:pt x="852" y="1714"/>
                    <a:pt x="843" y="1711"/>
                  </a:cubicBezTo>
                  <a:close/>
                  <a:moveTo>
                    <a:pt x="852" y="1697"/>
                  </a:moveTo>
                  <a:cubicBezTo>
                    <a:pt x="852" y="1694"/>
                    <a:pt x="841" y="1694"/>
                    <a:pt x="843" y="1689"/>
                  </a:cubicBezTo>
                  <a:cubicBezTo>
                    <a:pt x="842" y="1689"/>
                    <a:pt x="840" y="1689"/>
                    <a:pt x="838" y="1689"/>
                  </a:cubicBezTo>
                  <a:cubicBezTo>
                    <a:pt x="838" y="1680"/>
                    <a:pt x="849" y="1680"/>
                    <a:pt x="855" y="1680"/>
                  </a:cubicBezTo>
                  <a:cubicBezTo>
                    <a:pt x="853" y="1682"/>
                    <a:pt x="851" y="1687"/>
                    <a:pt x="845" y="1689"/>
                  </a:cubicBezTo>
                  <a:cubicBezTo>
                    <a:pt x="849" y="1690"/>
                    <a:pt x="854" y="1692"/>
                    <a:pt x="852" y="1697"/>
                  </a:cubicBezTo>
                  <a:close/>
                  <a:moveTo>
                    <a:pt x="846" y="1643"/>
                  </a:moveTo>
                  <a:cubicBezTo>
                    <a:pt x="855" y="1646"/>
                    <a:pt x="843" y="1658"/>
                    <a:pt x="846" y="1643"/>
                  </a:cubicBezTo>
                  <a:close/>
                  <a:moveTo>
                    <a:pt x="841" y="147"/>
                  </a:moveTo>
                  <a:cubicBezTo>
                    <a:pt x="843" y="141"/>
                    <a:pt x="852" y="152"/>
                    <a:pt x="841" y="147"/>
                  </a:cubicBezTo>
                  <a:close/>
                  <a:moveTo>
                    <a:pt x="827" y="220"/>
                  </a:moveTo>
                  <a:cubicBezTo>
                    <a:pt x="841" y="209"/>
                    <a:pt x="855" y="223"/>
                    <a:pt x="827" y="220"/>
                  </a:cubicBezTo>
                  <a:close/>
                  <a:moveTo>
                    <a:pt x="829" y="245"/>
                  </a:moveTo>
                  <a:cubicBezTo>
                    <a:pt x="829" y="248"/>
                    <a:pt x="824" y="251"/>
                    <a:pt x="821" y="251"/>
                  </a:cubicBezTo>
                  <a:cubicBezTo>
                    <a:pt x="821" y="248"/>
                    <a:pt x="824" y="245"/>
                    <a:pt x="829" y="245"/>
                  </a:cubicBezTo>
                  <a:close/>
                  <a:moveTo>
                    <a:pt x="827" y="1706"/>
                  </a:moveTo>
                  <a:cubicBezTo>
                    <a:pt x="827" y="1708"/>
                    <a:pt x="812" y="1708"/>
                    <a:pt x="815" y="1703"/>
                  </a:cubicBezTo>
                  <a:cubicBezTo>
                    <a:pt x="818" y="1703"/>
                    <a:pt x="824" y="1703"/>
                    <a:pt x="827" y="1706"/>
                  </a:cubicBezTo>
                  <a:close/>
                  <a:moveTo>
                    <a:pt x="821" y="2529"/>
                  </a:moveTo>
                  <a:cubicBezTo>
                    <a:pt x="818" y="2543"/>
                    <a:pt x="812" y="2518"/>
                    <a:pt x="821" y="2529"/>
                  </a:cubicBezTo>
                  <a:close/>
                  <a:moveTo>
                    <a:pt x="812" y="2591"/>
                  </a:moveTo>
                  <a:cubicBezTo>
                    <a:pt x="812" y="2594"/>
                    <a:pt x="807" y="2597"/>
                    <a:pt x="804" y="2597"/>
                  </a:cubicBezTo>
                  <a:cubicBezTo>
                    <a:pt x="807" y="2594"/>
                    <a:pt x="810" y="2591"/>
                    <a:pt x="812" y="2591"/>
                  </a:cubicBezTo>
                  <a:close/>
                  <a:moveTo>
                    <a:pt x="807" y="2591"/>
                  </a:moveTo>
                  <a:lnTo>
                    <a:pt x="807" y="2583"/>
                  </a:lnTo>
                  <a:lnTo>
                    <a:pt x="812" y="2583"/>
                  </a:lnTo>
                  <a:cubicBezTo>
                    <a:pt x="812" y="2584"/>
                    <a:pt x="813" y="2585"/>
                    <a:pt x="813" y="2585"/>
                  </a:cubicBezTo>
                  <a:cubicBezTo>
                    <a:pt x="815" y="2568"/>
                    <a:pt x="791" y="2557"/>
                    <a:pt x="812" y="2549"/>
                  </a:cubicBezTo>
                  <a:cubicBezTo>
                    <a:pt x="815" y="2560"/>
                    <a:pt x="818" y="2569"/>
                    <a:pt x="821" y="2577"/>
                  </a:cubicBezTo>
                  <a:cubicBezTo>
                    <a:pt x="827" y="2574"/>
                    <a:pt x="835" y="2574"/>
                    <a:pt x="829" y="2560"/>
                  </a:cubicBezTo>
                  <a:cubicBezTo>
                    <a:pt x="841" y="2563"/>
                    <a:pt x="846" y="2572"/>
                    <a:pt x="843" y="2577"/>
                  </a:cubicBezTo>
                  <a:cubicBezTo>
                    <a:pt x="849" y="2577"/>
                    <a:pt x="852" y="2574"/>
                    <a:pt x="855" y="2574"/>
                  </a:cubicBezTo>
                  <a:cubicBezTo>
                    <a:pt x="852" y="2580"/>
                    <a:pt x="843" y="2583"/>
                    <a:pt x="846" y="2591"/>
                  </a:cubicBezTo>
                  <a:cubicBezTo>
                    <a:pt x="841" y="2591"/>
                    <a:pt x="841" y="2583"/>
                    <a:pt x="838" y="2577"/>
                  </a:cubicBezTo>
                  <a:cubicBezTo>
                    <a:pt x="838" y="2580"/>
                    <a:pt x="831" y="2587"/>
                    <a:pt x="823" y="2588"/>
                  </a:cubicBezTo>
                  <a:cubicBezTo>
                    <a:pt x="830" y="2596"/>
                    <a:pt x="832" y="2607"/>
                    <a:pt x="827" y="2617"/>
                  </a:cubicBezTo>
                  <a:cubicBezTo>
                    <a:pt x="829" y="2614"/>
                    <a:pt x="829" y="2614"/>
                    <a:pt x="835" y="2617"/>
                  </a:cubicBezTo>
                  <a:cubicBezTo>
                    <a:pt x="825" y="2617"/>
                    <a:pt x="821" y="2626"/>
                    <a:pt x="814" y="2630"/>
                  </a:cubicBezTo>
                  <a:cubicBezTo>
                    <a:pt x="815" y="2629"/>
                    <a:pt x="815" y="2627"/>
                    <a:pt x="815" y="2625"/>
                  </a:cubicBezTo>
                  <a:cubicBezTo>
                    <a:pt x="812" y="2625"/>
                    <a:pt x="812" y="2622"/>
                    <a:pt x="812" y="2620"/>
                  </a:cubicBezTo>
                  <a:cubicBezTo>
                    <a:pt x="810" y="2620"/>
                    <a:pt x="804" y="2617"/>
                    <a:pt x="807" y="2605"/>
                  </a:cubicBezTo>
                  <a:cubicBezTo>
                    <a:pt x="810" y="2605"/>
                    <a:pt x="810" y="2605"/>
                    <a:pt x="812" y="2608"/>
                  </a:cubicBezTo>
                  <a:cubicBezTo>
                    <a:pt x="815" y="2600"/>
                    <a:pt x="818" y="2591"/>
                    <a:pt x="821" y="2586"/>
                  </a:cubicBezTo>
                  <a:cubicBezTo>
                    <a:pt x="819" y="2586"/>
                    <a:pt x="817" y="2587"/>
                    <a:pt x="814" y="2588"/>
                  </a:cubicBezTo>
                  <a:cubicBezTo>
                    <a:pt x="815" y="2589"/>
                    <a:pt x="815" y="2590"/>
                    <a:pt x="815" y="2591"/>
                  </a:cubicBezTo>
                  <a:lnTo>
                    <a:pt x="812" y="2591"/>
                  </a:lnTo>
                  <a:cubicBezTo>
                    <a:pt x="813" y="2591"/>
                    <a:pt x="813" y="2591"/>
                    <a:pt x="812" y="2591"/>
                  </a:cubicBezTo>
                  <a:lnTo>
                    <a:pt x="807" y="2591"/>
                  </a:lnTo>
                  <a:close/>
                  <a:moveTo>
                    <a:pt x="815" y="276"/>
                  </a:moveTo>
                  <a:cubicBezTo>
                    <a:pt x="812" y="279"/>
                    <a:pt x="810" y="282"/>
                    <a:pt x="807" y="282"/>
                  </a:cubicBezTo>
                  <a:cubicBezTo>
                    <a:pt x="801" y="276"/>
                    <a:pt x="810" y="276"/>
                    <a:pt x="815" y="276"/>
                  </a:cubicBezTo>
                  <a:close/>
                  <a:moveTo>
                    <a:pt x="818" y="2639"/>
                  </a:moveTo>
                  <a:cubicBezTo>
                    <a:pt x="821" y="2653"/>
                    <a:pt x="815" y="2662"/>
                    <a:pt x="804" y="2662"/>
                  </a:cubicBezTo>
                  <a:lnTo>
                    <a:pt x="804" y="2642"/>
                  </a:lnTo>
                  <a:cubicBezTo>
                    <a:pt x="807" y="2639"/>
                    <a:pt x="812" y="2639"/>
                    <a:pt x="818" y="2639"/>
                  </a:cubicBezTo>
                  <a:close/>
                  <a:moveTo>
                    <a:pt x="810" y="186"/>
                  </a:moveTo>
                  <a:cubicBezTo>
                    <a:pt x="795" y="189"/>
                    <a:pt x="812" y="172"/>
                    <a:pt x="810" y="186"/>
                  </a:cubicBezTo>
                  <a:close/>
                  <a:moveTo>
                    <a:pt x="798" y="2541"/>
                  </a:moveTo>
                  <a:cubicBezTo>
                    <a:pt x="798" y="2535"/>
                    <a:pt x="807" y="2543"/>
                    <a:pt x="798" y="2541"/>
                  </a:cubicBezTo>
                  <a:close/>
                  <a:moveTo>
                    <a:pt x="798" y="276"/>
                  </a:moveTo>
                  <a:cubicBezTo>
                    <a:pt x="801" y="271"/>
                    <a:pt x="804" y="288"/>
                    <a:pt x="798" y="276"/>
                  </a:cubicBezTo>
                  <a:close/>
                  <a:moveTo>
                    <a:pt x="797" y="313"/>
                  </a:moveTo>
                  <a:cubicBezTo>
                    <a:pt x="799" y="315"/>
                    <a:pt x="801" y="319"/>
                    <a:pt x="801" y="322"/>
                  </a:cubicBezTo>
                  <a:lnTo>
                    <a:pt x="793" y="322"/>
                  </a:lnTo>
                  <a:cubicBezTo>
                    <a:pt x="795" y="322"/>
                    <a:pt x="795" y="316"/>
                    <a:pt x="795" y="313"/>
                  </a:cubicBezTo>
                  <a:cubicBezTo>
                    <a:pt x="795" y="308"/>
                    <a:pt x="803" y="315"/>
                    <a:pt x="797" y="313"/>
                  </a:cubicBezTo>
                  <a:close/>
                  <a:moveTo>
                    <a:pt x="787" y="243"/>
                  </a:moveTo>
                  <a:cubicBezTo>
                    <a:pt x="790" y="243"/>
                    <a:pt x="793" y="245"/>
                    <a:pt x="795" y="248"/>
                  </a:cubicBezTo>
                  <a:lnTo>
                    <a:pt x="790" y="248"/>
                  </a:lnTo>
                  <a:cubicBezTo>
                    <a:pt x="787" y="248"/>
                    <a:pt x="787" y="245"/>
                    <a:pt x="787" y="243"/>
                  </a:cubicBezTo>
                  <a:close/>
                  <a:moveTo>
                    <a:pt x="779" y="254"/>
                  </a:moveTo>
                  <a:lnTo>
                    <a:pt x="784" y="254"/>
                  </a:lnTo>
                  <a:lnTo>
                    <a:pt x="784" y="259"/>
                  </a:lnTo>
                  <a:lnTo>
                    <a:pt x="779" y="259"/>
                  </a:lnTo>
                  <a:cubicBezTo>
                    <a:pt x="776" y="259"/>
                    <a:pt x="779" y="257"/>
                    <a:pt x="779" y="254"/>
                  </a:cubicBezTo>
                  <a:close/>
                  <a:moveTo>
                    <a:pt x="790" y="279"/>
                  </a:moveTo>
                  <a:cubicBezTo>
                    <a:pt x="787" y="285"/>
                    <a:pt x="779" y="282"/>
                    <a:pt x="776" y="282"/>
                  </a:cubicBezTo>
                  <a:cubicBezTo>
                    <a:pt x="776" y="279"/>
                    <a:pt x="787" y="282"/>
                    <a:pt x="790" y="279"/>
                  </a:cubicBezTo>
                  <a:close/>
                  <a:moveTo>
                    <a:pt x="776" y="2552"/>
                  </a:moveTo>
                  <a:cubicBezTo>
                    <a:pt x="795" y="2552"/>
                    <a:pt x="767" y="2580"/>
                    <a:pt x="776" y="2552"/>
                  </a:cubicBezTo>
                  <a:close/>
                  <a:moveTo>
                    <a:pt x="779" y="2569"/>
                  </a:moveTo>
                  <a:lnTo>
                    <a:pt x="779" y="2572"/>
                  </a:lnTo>
                  <a:cubicBezTo>
                    <a:pt x="793" y="2574"/>
                    <a:pt x="770" y="2597"/>
                    <a:pt x="776" y="2574"/>
                  </a:cubicBezTo>
                  <a:cubicBezTo>
                    <a:pt x="773" y="2574"/>
                    <a:pt x="770" y="2569"/>
                    <a:pt x="779" y="2569"/>
                  </a:cubicBezTo>
                  <a:close/>
                  <a:moveTo>
                    <a:pt x="767" y="1756"/>
                  </a:moveTo>
                  <a:cubicBezTo>
                    <a:pt x="770" y="1765"/>
                    <a:pt x="753" y="1759"/>
                    <a:pt x="756" y="1754"/>
                  </a:cubicBezTo>
                  <a:cubicBezTo>
                    <a:pt x="759" y="1754"/>
                    <a:pt x="767" y="1751"/>
                    <a:pt x="767" y="1756"/>
                  </a:cubicBezTo>
                  <a:close/>
                  <a:moveTo>
                    <a:pt x="750" y="2549"/>
                  </a:moveTo>
                  <a:cubicBezTo>
                    <a:pt x="753" y="2549"/>
                    <a:pt x="759" y="2546"/>
                    <a:pt x="762" y="2546"/>
                  </a:cubicBezTo>
                  <a:cubicBezTo>
                    <a:pt x="764" y="2555"/>
                    <a:pt x="753" y="2566"/>
                    <a:pt x="750" y="2549"/>
                  </a:cubicBezTo>
                  <a:close/>
                  <a:moveTo>
                    <a:pt x="756" y="2560"/>
                  </a:moveTo>
                  <a:cubicBezTo>
                    <a:pt x="759" y="2555"/>
                    <a:pt x="767" y="2563"/>
                    <a:pt x="756" y="2560"/>
                  </a:cubicBezTo>
                  <a:close/>
                  <a:moveTo>
                    <a:pt x="731" y="2524"/>
                  </a:moveTo>
                  <a:cubicBezTo>
                    <a:pt x="739" y="2524"/>
                    <a:pt x="753" y="2524"/>
                    <a:pt x="753" y="2538"/>
                  </a:cubicBezTo>
                  <a:cubicBezTo>
                    <a:pt x="742" y="2541"/>
                    <a:pt x="731" y="2538"/>
                    <a:pt x="731" y="2524"/>
                  </a:cubicBezTo>
                  <a:close/>
                  <a:moveTo>
                    <a:pt x="736" y="2538"/>
                  </a:moveTo>
                  <a:cubicBezTo>
                    <a:pt x="756" y="2538"/>
                    <a:pt x="728" y="2566"/>
                    <a:pt x="736" y="2538"/>
                  </a:cubicBezTo>
                  <a:close/>
                  <a:moveTo>
                    <a:pt x="743" y="2447"/>
                  </a:moveTo>
                  <a:cubicBezTo>
                    <a:pt x="743" y="2446"/>
                    <a:pt x="745" y="2446"/>
                    <a:pt x="745" y="2447"/>
                  </a:cubicBezTo>
                  <a:cubicBezTo>
                    <a:pt x="741" y="2451"/>
                    <a:pt x="741" y="2449"/>
                    <a:pt x="743" y="2447"/>
                  </a:cubicBezTo>
                  <a:close/>
                  <a:moveTo>
                    <a:pt x="739" y="2363"/>
                  </a:moveTo>
                  <a:cubicBezTo>
                    <a:pt x="753" y="2363"/>
                    <a:pt x="736" y="2385"/>
                    <a:pt x="739" y="2363"/>
                  </a:cubicBezTo>
                  <a:close/>
                  <a:moveTo>
                    <a:pt x="736" y="2388"/>
                  </a:moveTo>
                  <a:cubicBezTo>
                    <a:pt x="753" y="2388"/>
                    <a:pt x="733" y="2411"/>
                    <a:pt x="736" y="2388"/>
                  </a:cubicBezTo>
                  <a:close/>
                  <a:moveTo>
                    <a:pt x="745" y="2405"/>
                  </a:moveTo>
                  <a:cubicBezTo>
                    <a:pt x="742" y="2411"/>
                    <a:pt x="748" y="2402"/>
                    <a:pt x="745" y="2405"/>
                  </a:cubicBezTo>
                  <a:close/>
                  <a:moveTo>
                    <a:pt x="764" y="2504"/>
                  </a:moveTo>
                  <a:lnTo>
                    <a:pt x="764" y="2518"/>
                  </a:lnTo>
                  <a:lnTo>
                    <a:pt x="750" y="2518"/>
                  </a:lnTo>
                  <a:lnTo>
                    <a:pt x="750" y="2504"/>
                  </a:lnTo>
                  <a:lnTo>
                    <a:pt x="764" y="2504"/>
                  </a:lnTo>
                  <a:close/>
                  <a:moveTo>
                    <a:pt x="750" y="2388"/>
                  </a:moveTo>
                  <a:cubicBezTo>
                    <a:pt x="767" y="2385"/>
                    <a:pt x="750" y="2411"/>
                    <a:pt x="750" y="2388"/>
                  </a:cubicBezTo>
                  <a:close/>
                  <a:moveTo>
                    <a:pt x="753" y="1722"/>
                  </a:moveTo>
                  <a:cubicBezTo>
                    <a:pt x="756" y="1720"/>
                    <a:pt x="756" y="1711"/>
                    <a:pt x="762" y="1711"/>
                  </a:cubicBezTo>
                  <a:cubicBezTo>
                    <a:pt x="762" y="1714"/>
                    <a:pt x="759" y="1722"/>
                    <a:pt x="753" y="1722"/>
                  </a:cubicBezTo>
                  <a:close/>
                  <a:moveTo>
                    <a:pt x="759" y="1610"/>
                  </a:moveTo>
                  <a:cubicBezTo>
                    <a:pt x="764" y="1618"/>
                    <a:pt x="762" y="1621"/>
                    <a:pt x="762" y="1632"/>
                  </a:cubicBezTo>
                  <a:cubicBezTo>
                    <a:pt x="756" y="1632"/>
                    <a:pt x="756" y="1627"/>
                    <a:pt x="750" y="1627"/>
                  </a:cubicBezTo>
                  <a:lnTo>
                    <a:pt x="759" y="1610"/>
                  </a:lnTo>
                  <a:close/>
                  <a:moveTo>
                    <a:pt x="748" y="1739"/>
                  </a:moveTo>
                  <a:cubicBezTo>
                    <a:pt x="748" y="1734"/>
                    <a:pt x="756" y="1742"/>
                    <a:pt x="748" y="1739"/>
                  </a:cubicBezTo>
                  <a:close/>
                  <a:moveTo>
                    <a:pt x="750" y="2464"/>
                  </a:moveTo>
                  <a:cubicBezTo>
                    <a:pt x="770" y="2464"/>
                    <a:pt x="742" y="2493"/>
                    <a:pt x="750" y="2464"/>
                  </a:cubicBezTo>
                  <a:close/>
                  <a:moveTo>
                    <a:pt x="748" y="1748"/>
                  </a:moveTo>
                  <a:lnTo>
                    <a:pt x="748" y="1759"/>
                  </a:lnTo>
                  <a:cubicBezTo>
                    <a:pt x="739" y="1759"/>
                    <a:pt x="739" y="1748"/>
                    <a:pt x="748" y="1748"/>
                  </a:cubicBezTo>
                  <a:close/>
                  <a:moveTo>
                    <a:pt x="742" y="322"/>
                  </a:moveTo>
                  <a:cubicBezTo>
                    <a:pt x="748" y="319"/>
                    <a:pt x="736" y="330"/>
                    <a:pt x="742" y="322"/>
                  </a:cubicBezTo>
                  <a:close/>
                  <a:moveTo>
                    <a:pt x="739" y="209"/>
                  </a:moveTo>
                  <a:cubicBezTo>
                    <a:pt x="745" y="206"/>
                    <a:pt x="733" y="217"/>
                    <a:pt x="739" y="209"/>
                  </a:cubicBezTo>
                  <a:close/>
                  <a:moveTo>
                    <a:pt x="731" y="1734"/>
                  </a:moveTo>
                  <a:cubicBezTo>
                    <a:pt x="731" y="1731"/>
                    <a:pt x="736" y="1728"/>
                    <a:pt x="739" y="1728"/>
                  </a:cubicBezTo>
                  <a:cubicBezTo>
                    <a:pt x="739" y="1731"/>
                    <a:pt x="733" y="1734"/>
                    <a:pt x="731" y="1734"/>
                  </a:cubicBezTo>
                  <a:close/>
                  <a:moveTo>
                    <a:pt x="733" y="285"/>
                  </a:moveTo>
                  <a:cubicBezTo>
                    <a:pt x="733" y="279"/>
                    <a:pt x="742" y="288"/>
                    <a:pt x="733" y="285"/>
                  </a:cubicBezTo>
                  <a:close/>
                  <a:moveTo>
                    <a:pt x="739" y="299"/>
                  </a:moveTo>
                  <a:cubicBezTo>
                    <a:pt x="731" y="307"/>
                    <a:pt x="731" y="293"/>
                    <a:pt x="739" y="299"/>
                  </a:cubicBezTo>
                  <a:close/>
                  <a:moveTo>
                    <a:pt x="745" y="2431"/>
                  </a:moveTo>
                  <a:lnTo>
                    <a:pt x="745" y="2436"/>
                  </a:lnTo>
                  <a:cubicBezTo>
                    <a:pt x="742" y="2439"/>
                    <a:pt x="739" y="2442"/>
                    <a:pt x="736" y="2442"/>
                  </a:cubicBezTo>
                  <a:cubicBezTo>
                    <a:pt x="733" y="2442"/>
                    <a:pt x="728" y="2439"/>
                    <a:pt x="725" y="2439"/>
                  </a:cubicBezTo>
                  <a:cubicBezTo>
                    <a:pt x="716" y="2414"/>
                    <a:pt x="742" y="2419"/>
                    <a:pt x="745" y="2431"/>
                  </a:cubicBezTo>
                  <a:close/>
                  <a:moveTo>
                    <a:pt x="722" y="2518"/>
                  </a:moveTo>
                  <a:cubicBezTo>
                    <a:pt x="725" y="2524"/>
                    <a:pt x="725" y="2529"/>
                    <a:pt x="725" y="2535"/>
                  </a:cubicBezTo>
                  <a:lnTo>
                    <a:pt x="722" y="2535"/>
                  </a:lnTo>
                  <a:lnTo>
                    <a:pt x="722" y="2518"/>
                  </a:lnTo>
                  <a:close/>
                  <a:moveTo>
                    <a:pt x="716" y="463"/>
                  </a:moveTo>
                  <a:cubicBezTo>
                    <a:pt x="716" y="457"/>
                    <a:pt x="728" y="465"/>
                    <a:pt x="716" y="463"/>
                  </a:cubicBezTo>
                  <a:close/>
                  <a:moveTo>
                    <a:pt x="714" y="2433"/>
                  </a:moveTo>
                  <a:cubicBezTo>
                    <a:pt x="733" y="2439"/>
                    <a:pt x="700" y="2450"/>
                    <a:pt x="714" y="2433"/>
                  </a:cubicBezTo>
                  <a:close/>
                  <a:moveTo>
                    <a:pt x="722" y="2385"/>
                  </a:moveTo>
                  <a:cubicBezTo>
                    <a:pt x="736" y="2385"/>
                    <a:pt x="719" y="2408"/>
                    <a:pt x="722" y="2385"/>
                  </a:cubicBezTo>
                  <a:close/>
                  <a:moveTo>
                    <a:pt x="722" y="302"/>
                  </a:moveTo>
                  <a:cubicBezTo>
                    <a:pt x="728" y="293"/>
                    <a:pt x="728" y="310"/>
                    <a:pt x="722" y="302"/>
                  </a:cubicBezTo>
                  <a:close/>
                  <a:moveTo>
                    <a:pt x="716" y="234"/>
                  </a:moveTo>
                  <a:cubicBezTo>
                    <a:pt x="716" y="228"/>
                    <a:pt x="728" y="237"/>
                    <a:pt x="716" y="234"/>
                  </a:cubicBezTo>
                  <a:close/>
                  <a:moveTo>
                    <a:pt x="731" y="293"/>
                  </a:moveTo>
                  <a:cubicBezTo>
                    <a:pt x="725" y="296"/>
                    <a:pt x="719" y="296"/>
                    <a:pt x="714" y="299"/>
                  </a:cubicBezTo>
                  <a:cubicBezTo>
                    <a:pt x="714" y="296"/>
                    <a:pt x="711" y="290"/>
                    <a:pt x="711" y="288"/>
                  </a:cubicBezTo>
                  <a:cubicBezTo>
                    <a:pt x="719" y="282"/>
                    <a:pt x="728" y="282"/>
                    <a:pt x="731" y="293"/>
                  </a:cubicBezTo>
                  <a:close/>
                  <a:moveTo>
                    <a:pt x="716" y="415"/>
                  </a:moveTo>
                  <a:cubicBezTo>
                    <a:pt x="716" y="420"/>
                    <a:pt x="708" y="423"/>
                    <a:pt x="705" y="423"/>
                  </a:cubicBezTo>
                  <a:cubicBezTo>
                    <a:pt x="705" y="420"/>
                    <a:pt x="711" y="417"/>
                    <a:pt x="716" y="415"/>
                  </a:cubicBezTo>
                  <a:close/>
                  <a:moveTo>
                    <a:pt x="702" y="2445"/>
                  </a:moveTo>
                  <a:lnTo>
                    <a:pt x="725" y="2445"/>
                  </a:lnTo>
                  <a:cubicBezTo>
                    <a:pt x="728" y="2456"/>
                    <a:pt x="719" y="2456"/>
                    <a:pt x="719" y="2464"/>
                  </a:cubicBezTo>
                  <a:cubicBezTo>
                    <a:pt x="714" y="2464"/>
                    <a:pt x="711" y="2459"/>
                    <a:pt x="705" y="2459"/>
                  </a:cubicBezTo>
                  <a:cubicBezTo>
                    <a:pt x="702" y="2456"/>
                    <a:pt x="702" y="2450"/>
                    <a:pt x="702" y="2445"/>
                  </a:cubicBezTo>
                  <a:close/>
                  <a:moveTo>
                    <a:pt x="702" y="2535"/>
                  </a:moveTo>
                  <a:cubicBezTo>
                    <a:pt x="711" y="2532"/>
                    <a:pt x="714" y="2546"/>
                    <a:pt x="716" y="2555"/>
                  </a:cubicBezTo>
                  <a:cubicBezTo>
                    <a:pt x="705" y="2555"/>
                    <a:pt x="702" y="2543"/>
                    <a:pt x="702" y="2535"/>
                  </a:cubicBezTo>
                  <a:close/>
                  <a:moveTo>
                    <a:pt x="711" y="2557"/>
                  </a:moveTo>
                  <a:cubicBezTo>
                    <a:pt x="708" y="2563"/>
                    <a:pt x="708" y="2569"/>
                    <a:pt x="711" y="2574"/>
                  </a:cubicBezTo>
                  <a:cubicBezTo>
                    <a:pt x="714" y="2572"/>
                    <a:pt x="714" y="2572"/>
                    <a:pt x="716" y="2572"/>
                  </a:cubicBezTo>
                  <a:cubicBezTo>
                    <a:pt x="714" y="2574"/>
                    <a:pt x="716" y="2577"/>
                    <a:pt x="714" y="2580"/>
                  </a:cubicBezTo>
                  <a:cubicBezTo>
                    <a:pt x="719" y="2586"/>
                    <a:pt x="728" y="2580"/>
                    <a:pt x="731" y="2566"/>
                  </a:cubicBezTo>
                  <a:cubicBezTo>
                    <a:pt x="750" y="2591"/>
                    <a:pt x="705" y="2597"/>
                    <a:pt x="697" y="2600"/>
                  </a:cubicBezTo>
                  <a:cubicBezTo>
                    <a:pt x="683" y="2594"/>
                    <a:pt x="688" y="2550"/>
                    <a:pt x="710" y="2557"/>
                  </a:cubicBezTo>
                  <a:cubicBezTo>
                    <a:pt x="710" y="2558"/>
                    <a:pt x="709" y="2561"/>
                    <a:pt x="711" y="2557"/>
                  </a:cubicBezTo>
                  <a:close/>
                  <a:moveTo>
                    <a:pt x="710" y="2557"/>
                  </a:moveTo>
                  <a:lnTo>
                    <a:pt x="711" y="2557"/>
                  </a:lnTo>
                  <a:cubicBezTo>
                    <a:pt x="711" y="2557"/>
                    <a:pt x="711" y="2557"/>
                    <a:pt x="710" y="2557"/>
                  </a:cubicBezTo>
                  <a:close/>
                  <a:moveTo>
                    <a:pt x="669" y="2586"/>
                  </a:moveTo>
                  <a:cubicBezTo>
                    <a:pt x="666" y="2586"/>
                    <a:pt x="663" y="2583"/>
                    <a:pt x="660" y="2583"/>
                  </a:cubicBezTo>
                  <a:cubicBezTo>
                    <a:pt x="666" y="2583"/>
                    <a:pt x="683" y="2586"/>
                    <a:pt x="669" y="2586"/>
                  </a:cubicBezTo>
                  <a:close/>
                  <a:moveTo>
                    <a:pt x="666" y="2603"/>
                  </a:moveTo>
                  <a:cubicBezTo>
                    <a:pt x="666" y="2597"/>
                    <a:pt x="677" y="2605"/>
                    <a:pt x="666" y="2603"/>
                  </a:cubicBezTo>
                  <a:close/>
                  <a:moveTo>
                    <a:pt x="671" y="2484"/>
                  </a:moveTo>
                  <a:cubicBezTo>
                    <a:pt x="685" y="2487"/>
                    <a:pt x="669" y="2498"/>
                    <a:pt x="671" y="2484"/>
                  </a:cubicBezTo>
                  <a:close/>
                  <a:moveTo>
                    <a:pt x="683" y="2445"/>
                  </a:moveTo>
                  <a:cubicBezTo>
                    <a:pt x="705" y="2453"/>
                    <a:pt x="657" y="2462"/>
                    <a:pt x="683" y="2445"/>
                  </a:cubicBezTo>
                  <a:close/>
                  <a:moveTo>
                    <a:pt x="680" y="2512"/>
                  </a:moveTo>
                  <a:cubicBezTo>
                    <a:pt x="680" y="2513"/>
                    <a:pt x="680" y="2514"/>
                    <a:pt x="679" y="2515"/>
                  </a:cubicBezTo>
                  <a:cubicBezTo>
                    <a:pt x="680" y="2514"/>
                    <a:pt x="681" y="2513"/>
                    <a:pt x="683" y="2512"/>
                  </a:cubicBezTo>
                  <a:cubicBezTo>
                    <a:pt x="708" y="2542"/>
                    <a:pt x="660" y="2539"/>
                    <a:pt x="674" y="2520"/>
                  </a:cubicBezTo>
                  <a:cubicBezTo>
                    <a:pt x="673" y="2521"/>
                    <a:pt x="672" y="2521"/>
                    <a:pt x="671" y="2521"/>
                  </a:cubicBezTo>
                  <a:lnTo>
                    <a:pt x="671" y="2515"/>
                  </a:lnTo>
                  <a:cubicBezTo>
                    <a:pt x="674" y="2512"/>
                    <a:pt x="677" y="2512"/>
                    <a:pt x="680" y="2512"/>
                  </a:cubicBezTo>
                  <a:close/>
                  <a:moveTo>
                    <a:pt x="688" y="2507"/>
                  </a:moveTo>
                  <a:cubicBezTo>
                    <a:pt x="702" y="2504"/>
                    <a:pt x="685" y="2529"/>
                    <a:pt x="688" y="2507"/>
                  </a:cubicBezTo>
                  <a:close/>
                  <a:moveTo>
                    <a:pt x="694" y="288"/>
                  </a:moveTo>
                  <a:cubicBezTo>
                    <a:pt x="688" y="288"/>
                    <a:pt x="691" y="274"/>
                    <a:pt x="697" y="276"/>
                  </a:cubicBezTo>
                  <a:cubicBezTo>
                    <a:pt x="697" y="279"/>
                    <a:pt x="697" y="285"/>
                    <a:pt x="694" y="288"/>
                  </a:cubicBezTo>
                  <a:close/>
                  <a:moveTo>
                    <a:pt x="694" y="293"/>
                  </a:moveTo>
                  <a:cubicBezTo>
                    <a:pt x="691" y="293"/>
                    <a:pt x="700" y="296"/>
                    <a:pt x="694" y="293"/>
                  </a:cubicBezTo>
                  <a:close/>
                  <a:moveTo>
                    <a:pt x="691" y="1739"/>
                  </a:moveTo>
                  <a:cubicBezTo>
                    <a:pt x="691" y="1734"/>
                    <a:pt x="702" y="1742"/>
                    <a:pt x="691" y="1739"/>
                  </a:cubicBezTo>
                  <a:close/>
                  <a:moveTo>
                    <a:pt x="694" y="2473"/>
                  </a:moveTo>
                  <a:cubicBezTo>
                    <a:pt x="705" y="2476"/>
                    <a:pt x="711" y="2487"/>
                    <a:pt x="708" y="2501"/>
                  </a:cubicBezTo>
                  <a:cubicBezTo>
                    <a:pt x="691" y="2507"/>
                    <a:pt x="697" y="2484"/>
                    <a:pt x="694" y="2473"/>
                  </a:cubicBezTo>
                  <a:close/>
                  <a:moveTo>
                    <a:pt x="697" y="271"/>
                  </a:moveTo>
                  <a:cubicBezTo>
                    <a:pt x="697" y="265"/>
                    <a:pt x="705" y="274"/>
                    <a:pt x="697" y="271"/>
                  </a:cubicBezTo>
                  <a:close/>
                  <a:moveTo>
                    <a:pt x="700" y="217"/>
                  </a:moveTo>
                  <a:cubicBezTo>
                    <a:pt x="705" y="228"/>
                    <a:pt x="694" y="231"/>
                    <a:pt x="685" y="234"/>
                  </a:cubicBezTo>
                  <a:cubicBezTo>
                    <a:pt x="685" y="226"/>
                    <a:pt x="691" y="220"/>
                    <a:pt x="700" y="217"/>
                  </a:cubicBezTo>
                  <a:close/>
                  <a:moveTo>
                    <a:pt x="688" y="285"/>
                  </a:moveTo>
                  <a:cubicBezTo>
                    <a:pt x="685" y="293"/>
                    <a:pt x="677" y="282"/>
                    <a:pt x="688" y="285"/>
                  </a:cubicBezTo>
                  <a:close/>
                  <a:moveTo>
                    <a:pt x="683" y="2363"/>
                  </a:moveTo>
                  <a:cubicBezTo>
                    <a:pt x="700" y="2366"/>
                    <a:pt x="680" y="2391"/>
                    <a:pt x="683" y="2363"/>
                  </a:cubicBezTo>
                  <a:close/>
                  <a:moveTo>
                    <a:pt x="680" y="322"/>
                  </a:moveTo>
                  <a:lnTo>
                    <a:pt x="685" y="322"/>
                  </a:lnTo>
                  <a:lnTo>
                    <a:pt x="685" y="327"/>
                  </a:lnTo>
                  <a:lnTo>
                    <a:pt x="680" y="327"/>
                  </a:lnTo>
                  <a:lnTo>
                    <a:pt x="680" y="322"/>
                  </a:lnTo>
                  <a:close/>
                  <a:moveTo>
                    <a:pt x="691" y="2422"/>
                  </a:moveTo>
                  <a:cubicBezTo>
                    <a:pt x="671" y="2425"/>
                    <a:pt x="674" y="2399"/>
                    <a:pt x="669" y="2388"/>
                  </a:cubicBezTo>
                  <a:cubicBezTo>
                    <a:pt x="683" y="2394"/>
                    <a:pt x="691" y="2405"/>
                    <a:pt x="691" y="2422"/>
                  </a:cubicBezTo>
                  <a:close/>
                  <a:moveTo>
                    <a:pt x="669" y="2439"/>
                  </a:moveTo>
                  <a:cubicBezTo>
                    <a:pt x="669" y="2436"/>
                    <a:pt x="666" y="2445"/>
                    <a:pt x="669" y="2439"/>
                  </a:cubicBezTo>
                  <a:close/>
                  <a:moveTo>
                    <a:pt x="660" y="2366"/>
                  </a:moveTo>
                  <a:cubicBezTo>
                    <a:pt x="677" y="2380"/>
                    <a:pt x="643" y="2354"/>
                    <a:pt x="660" y="2366"/>
                  </a:cubicBezTo>
                  <a:close/>
                  <a:moveTo>
                    <a:pt x="657" y="2464"/>
                  </a:moveTo>
                  <a:cubicBezTo>
                    <a:pt x="656" y="2464"/>
                    <a:pt x="655" y="2463"/>
                    <a:pt x="655" y="2463"/>
                  </a:cubicBezTo>
                  <a:cubicBezTo>
                    <a:pt x="652" y="2461"/>
                    <a:pt x="651" y="2459"/>
                    <a:pt x="649" y="2459"/>
                  </a:cubicBezTo>
                  <a:cubicBezTo>
                    <a:pt x="649" y="2459"/>
                    <a:pt x="652" y="2456"/>
                    <a:pt x="654" y="2459"/>
                  </a:cubicBezTo>
                  <a:cubicBezTo>
                    <a:pt x="657" y="2459"/>
                    <a:pt x="660" y="2464"/>
                    <a:pt x="660" y="2464"/>
                  </a:cubicBezTo>
                  <a:lnTo>
                    <a:pt x="657" y="2464"/>
                  </a:lnTo>
                  <a:close/>
                  <a:moveTo>
                    <a:pt x="654" y="2529"/>
                  </a:moveTo>
                  <a:cubicBezTo>
                    <a:pt x="654" y="2524"/>
                    <a:pt x="663" y="2532"/>
                    <a:pt x="654" y="2529"/>
                  </a:cubicBezTo>
                  <a:close/>
                  <a:moveTo>
                    <a:pt x="654" y="2397"/>
                  </a:moveTo>
                  <a:cubicBezTo>
                    <a:pt x="669" y="2394"/>
                    <a:pt x="652" y="2419"/>
                    <a:pt x="654" y="2397"/>
                  </a:cubicBezTo>
                  <a:close/>
                  <a:moveTo>
                    <a:pt x="649" y="440"/>
                  </a:moveTo>
                  <a:cubicBezTo>
                    <a:pt x="649" y="434"/>
                    <a:pt x="660" y="443"/>
                    <a:pt x="649" y="440"/>
                  </a:cubicBezTo>
                  <a:close/>
                  <a:moveTo>
                    <a:pt x="652" y="262"/>
                  </a:moveTo>
                  <a:cubicBezTo>
                    <a:pt x="649" y="262"/>
                    <a:pt x="654" y="265"/>
                    <a:pt x="652" y="262"/>
                  </a:cubicBezTo>
                  <a:close/>
                  <a:moveTo>
                    <a:pt x="643" y="310"/>
                  </a:moveTo>
                  <a:cubicBezTo>
                    <a:pt x="640" y="307"/>
                    <a:pt x="649" y="310"/>
                    <a:pt x="643" y="310"/>
                  </a:cubicBezTo>
                  <a:close/>
                  <a:moveTo>
                    <a:pt x="646" y="1687"/>
                  </a:moveTo>
                  <a:cubicBezTo>
                    <a:pt x="645" y="1687"/>
                    <a:pt x="642" y="1686"/>
                    <a:pt x="646" y="1686"/>
                  </a:cubicBezTo>
                  <a:cubicBezTo>
                    <a:pt x="647" y="1687"/>
                    <a:pt x="647" y="1687"/>
                    <a:pt x="646" y="1687"/>
                  </a:cubicBezTo>
                  <a:close/>
                  <a:moveTo>
                    <a:pt x="640" y="1573"/>
                  </a:moveTo>
                  <a:cubicBezTo>
                    <a:pt x="643" y="1573"/>
                    <a:pt x="635" y="1570"/>
                    <a:pt x="640" y="1573"/>
                  </a:cubicBezTo>
                  <a:close/>
                  <a:moveTo>
                    <a:pt x="654" y="2416"/>
                  </a:moveTo>
                  <a:cubicBezTo>
                    <a:pt x="643" y="2436"/>
                    <a:pt x="632" y="2399"/>
                    <a:pt x="637" y="2388"/>
                  </a:cubicBezTo>
                  <a:cubicBezTo>
                    <a:pt x="650" y="2386"/>
                    <a:pt x="643" y="2410"/>
                    <a:pt x="650" y="2415"/>
                  </a:cubicBezTo>
                  <a:cubicBezTo>
                    <a:pt x="651" y="2416"/>
                    <a:pt x="652" y="2417"/>
                    <a:pt x="654" y="2416"/>
                  </a:cubicBezTo>
                  <a:close/>
                  <a:moveTo>
                    <a:pt x="601" y="2447"/>
                  </a:moveTo>
                  <a:cubicBezTo>
                    <a:pt x="604" y="2439"/>
                    <a:pt x="621" y="2442"/>
                    <a:pt x="629" y="2439"/>
                  </a:cubicBezTo>
                  <a:cubicBezTo>
                    <a:pt x="629" y="2447"/>
                    <a:pt x="629" y="2459"/>
                    <a:pt x="635" y="2459"/>
                  </a:cubicBezTo>
                  <a:cubicBezTo>
                    <a:pt x="623" y="2481"/>
                    <a:pt x="606" y="2453"/>
                    <a:pt x="601" y="2447"/>
                  </a:cubicBezTo>
                  <a:close/>
                  <a:moveTo>
                    <a:pt x="616" y="2566"/>
                  </a:moveTo>
                  <a:cubicBezTo>
                    <a:pt x="616" y="2567"/>
                    <a:pt x="615" y="2570"/>
                    <a:pt x="615" y="2566"/>
                  </a:cubicBezTo>
                  <a:cubicBezTo>
                    <a:pt x="616" y="2565"/>
                    <a:pt x="616" y="2565"/>
                    <a:pt x="616" y="2566"/>
                  </a:cubicBezTo>
                  <a:close/>
                  <a:moveTo>
                    <a:pt x="558" y="1300"/>
                  </a:moveTo>
                  <a:cubicBezTo>
                    <a:pt x="550" y="1320"/>
                    <a:pt x="561" y="1281"/>
                    <a:pt x="558" y="1300"/>
                  </a:cubicBezTo>
                  <a:close/>
                  <a:moveTo>
                    <a:pt x="539" y="801"/>
                  </a:moveTo>
                  <a:cubicBezTo>
                    <a:pt x="550" y="790"/>
                    <a:pt x="556" y="801"/>
                    <a:pt x="564" y="801"/>
                  </a:cubicBezTo>
                  <a:cubicBezTo>
                    <a:pt x="570" y="807"/>
                    <a:pt x="542" y="815"/>
                    <a:pt x="539" y="801"/>
                  </a:cubicBezTo>
                  <a:close/>
                  <a:moveTo>
                    <a:pt x="508" y="810"/>
                  </a:moveTo>
                  <a:cubicBezTo>
                    <a:pt x="502" y="832"/>
                    <a:pt x="485" y="804"/>
                    <a:pt x="508" y="810"/>
                  </a:cubicBezTo>
                  <a:close/>
                  <a:moveTo>
                    <a:pt x="499" y="2383"/>
                  </a:moveTo>
                  <a:cubicBezTo>
                    <a:pt x="498" y="2383"/>
                    <a:pt x="498" y="2382"/>
                    <a:pt x="497" y="2382"/>
                  </a:cubicBezTo>
                  <a:cubicBezTo>
                    <a:pt x="497" y="2381"/>
                    <a:pt x="497" y="2381"/>
                    <a:pt x="499" y="2383"/>
                  </a:cubicBezTo>
                  <a:cubicBezTo>
                    <a:pt x="498" y="2383"/>
                    <a:pt x="498" y="2382"/>
                    <a:pt x="497" y="2382"/>
                  </a:cubicBezTo>
                  <a:cubicBezTo>
                    <a:pt x="496" y="2381"/>
                    <a:pt x="496" y="2380"/>
                    <a:pt x="496" y="2380"/>
                  </a:cubicBezTo>
                  <a:cubicBezTo>
                    <a:pt x="496" y="2377"/>
                    <a:pt x="499" y="2380"/>
                    <a:pt x="499" y="2383"/>
                  </a:cubicBezTo>
                  <a:close/>
                  <a:moveTo>
                    <a:pt x="488" y="795"/>
                  </a:moveTo>
                  <a:cubicBezTo>
                    <a:pt x="491" y="795"/>
                    <a:pt x="494" y="798"/>
                    <a:pt x="496" y="798"/>
                  </a:cubicBezTo>
                  <a:cubicBezTo>
                    <a:pt x="496" y="801"/>
                    <a:pt x="485" y="801"/>
                    <a:pt x="488" y="795"/>
                  </a:cubicBezTo>
                  <a:close/>
                  <a:moveTo>
                    <a:pt x="494" y="1345"/>
                  </a:moveTo>
                  <a:cubicBezTo>
                    <a:pt x="496" y="1345"/>
                    <a:pt x="488" y="1343"/>
                    <a:pt x="494" y="1345"/>
                  </a:cubicBezTo>
                  <a:close/>
                  <a:moveTo>
                    <a:pt x="491" y="2326"/>
                  </a:moveTo>
                  <a:cubicBezTo>
                    <a:pt x="488" y="2332"/>
                    <a:pt x="491" y="2323"/>
                    <a:pt x="491" y="2326"/>
                  </a:cubicBezTo>
                  <a:close/>
                  <a:moveTo>
                    <a:pt x="496" y="587"/>
                  </a:moveTo>
                  <a:cubicBezTo>
                    <a:pt x="502" y="601"/>
                    <a:pt x="474" y="592"/>
                    <a:pt x="496" y="587"/>
                  </a:cubicBezTo>
                  <a:close/>
                  <a:moveTo>
                    <a:pt x="454" y="2380"/>
                  </a:moveTo>
                  <a:cubicBezTo>
                    <a:pt x="460" y="2371"/>
                    <a:pt x="463" y="2354"/>
                    <a:pt x="477" y="2357"/>
                  </a:cubicBezTo>
                  <a:cubicBezTo>
                    <a:pt x="477" y="2357"/>
                    <a:pt x="479" y="2354"/>
                    <a:pt x="477" y="2357"/>
                  </a:cubicBezTo>
                  <a:lnTo>
                    <a:pt x="477" y="2354"/>
                  </a:lnTo>
                  <a:cubicBezTo>
                    <a:pt x="479" y="2354"/>
                    <a:pt x="479" y="2357"/>
                    <a:pt x="482" y="2357"/>
                  </a:cubicBezTo>
                  <a:cubicBezTo>
                    <a:pt x="482" y="2363"/>
                    <a:pt x="485" y="2371"/>
                    <a:pt x="485" y="2380"/>
                  </a:cubicBezTo>
                  <a:cubicBezTo>
                    <a:pt x="477" y="2383"/>
                    <a:pt x="463" y="2380"/>
                    <a:pt x="454" y="2380"/>
                  </a:cubicBezTo>
                  <a:close/>
                  <a:moveTo>
                    <a:pt x="460" y="2433"/>
                  </a:moveTo>
                  <a:cubicBezTo>
                    <a:pt x="479" y="2439"/>
                    <a:pt x="446" y="2453"/>
                    <a:pt x="460" y="2433"/>
                  </a:cubicBezTo>
                  <a:close/>
                  <a:moveTo>
                    <a:pt x="446" y="2422"/>
                  </a:moveTo>
                  <a:lnTo>
                    <a:pt x="440" y="2422"/>
                  </a:lnTo>
                  <a:cubicBezTo>
                    <a:pt x="426" y="2425"/>
                    <a:pt x="432" y="2402"/>
                    <a:pt x="429" y="2391"/>
                  </a:cubicBezTo>
                  <a:cubicBezTo>
                    <a:pt x="437" y="2396"/>
                    <a:pt x="442" y="2407"/>
                    <a:pt x="445" y="2421"/>
                  </a:cubicBezTo>
                  <a:cubicBezTo>
                    <a:pt x="445" y="2421"/>
                    <a:pt x="446" y="2421"/>
                    <a:pt x="446" y="2422"/>
                  </a:cubicBezTo>
                  <a:close/>
                  <a:moveTo>
                    <a:pt x="440" y="2431"/>
                  </a:moveTo>
                  <a:lnTo>
                    <a:pt x="440" y="2429"/>
                  </a:lnTo>
                  <a:cubicBezTo>
                    <a:pt x="441" y="2428"/>
                    <a:pt x="441" y="2428"/>
                    <a:pt x="440" y="2431"/>
                  </a:cubicBezTo>
                  <a:cubicBezTo>
                    <a:pt x="439" y="2432"/>
                    <a:pt x="439" y="2431"/>
                    <a:pt x="440" y="2429"/>
                  </a:cubicBezTo>
                  <a:lnTo>
                    <a:pt x="440" y="2431"/>
                  </a:lnTo>
                  <a:close/>
                  <a:moveTo>
                    <a:pt x="457" y="2354"/>
                  </a:moveTo>
                  <a:cubicBezTo>
                    <a:pt x="423" y="2343"/>
                    <a:pt x="448" y="2320"/>
                    <a:pt x="457" y="2354"/>
                  </a:cubicBezTo>
                  <a:close/>
                  <a:moveTo>
                    <a:pt x="417" y="2185"/>
                  </a:moveTo>
                  <a:cubicBezTo>
                    <a:pt x="406" y="2177"/>
                    <a:pt x="426" y="2157"/>
                    <a:pt x="432" y="2157"/>
                  </a:cubicBezTo>
                  <a:lnTo>
                    <a:pt x="423" y="2157"/>
                  </a:lnTo>
                  <a:cubicBezTo>
                    <a:pt x="426" y="2146"/>
                    <a:pt x="420" y="2146"/>
                    <a:pt x="423" y="2137"/>
                  </a:cubicBezTo>
                  <a:cubicBezTo>
                    <a:pt x="426" y="2137"/>
                    <a:pt x="432" y="2140"/>
                    <a:pt x="432" y="2146"/>
                  </a:cubicBezTo>
                  <a:cubicBezTo>
                    <a:pt x="448" y="2143"/>
                    <a:pt x="443" y="2160"/>
                    <a:pt x="457" y="2160"/>
                  </a:cubicBezTo>
                  <a:cubicBezTo>
                    <a:pt x="455" y="2168"/>
                    <a:pt x="443" y="2167"/>
                    <a:pt x="436" y="2162"/>
                  </a:cubicBezTo>
                  <a:cubicBezTo>
                    <a:pt x="438" y="2170"/>
                    <a:pt x="422" y="2181"/>
                    <a:pt x="417" y="2185"/>
                  </a:cubicBezTo>
                  <a:close/>
                  <a:moveTo>
                    <a:pt x="406" y="2346"/>
                  </a:moveTo>
                  <a:cubicBezTo>
                    <a:pt x="398" y="2343"/>
                    <a:pt x="403" y="2326"/>
                    <a:pt x="395" y="2326"/>
                  </a:cubicBezTo>
                  <a:cubicBezTo>
                    <a:pt x="392" y="2329"/>
                    <a:pt x="386" y="2326"/>
                    <a:pt x="389" y="2312"/>
                  </a:cubicBezTo>
                  <a:cubicBezTo>
                    <a:pt x="395" y="2312"/>
                    <a:pt x="400" y="2318"/>
                    <a:pt x="398" y="2320"/>
                  </a:cubicBezTo>
                  <a:cubicBezTo>
                    <a:pt x="403" y="2315"/>
                    <a:pt x="415" y="2332"/>
                    <a:pt x="423" y="2329"/>
                  </a:cubicBezTo>
                  <a:cubicBezTo>
                    <a:pt x="420" y="2337"/>
                    <a:pt x="415" y="2343"/>
                    <a:pt x="406" y="2346"/>
                  </a:cubicBezTo>
                  <a:close/>
                  <a:moveTo>
                    <a:pt x="415" y="2346"/>
                  </a:moveTo>
                  <a:lnTo>
                    <a:pt x="415" y="2345"/>
                  </a:lnTo>
                  <a:cubicBezTo>
                    <a:pt x="415" y="2346"/>
                    <a:pt x="416" y="2346"/>
                    <a:pt x="415" y="2346"/>
                  </a:cubicBezTo>
                  <a:cubicBezTo>
                    <a:pt x="411" y="2344"/>
                    <a:pt x="413" y="2345"/>
                    <a:pt x="415" y="2345"/>
                  </a:cubicBezTo>
                  <a:lnTo>
                    <a:pt x="415" y="2346"/>
                  </a:lnTo>
                  <a:close/>
                  <a:moveTo>
                    <a:pt x="398" y="2354"/>
                  </a:moveTo>
                  <a:cubicBezTo>
                    <a:pt x="407" y="2352"/>
                    <a:pt x="415" y="2355"/>
                    <a:pt x="423" y="2360"/>
                  </a:cubicBezTo>
                  <a:cubicBezTo>
                    <a:pt x="426" y="2357"/>
                    <a:pt x="434" y="2357"/>
                    <a:pt x="429" y="2346"/>
                  </a:cubicBezTo>
                  <a:cubicBezTo>
                    <a:pt x="446" y="2340"/>
                    <a:pt x="437" y="2363"/>
                    <a:pt x="426" y="2366"/>
                  </a:cubicBezTo>
                  <a:lnTo>
                    <a:pt x="429" y="2368"/>
                  </a:lnTo>
                  <a:cubicBezTo>
                    <a:pt x="417" y="2377"/>
                    <a:pt x="415" y="2368"/>
                    <a:pt x="403" y="2380"/>
                  </a:cubicBezTo>
                  <a:cubicBezTo>
                    <a:pt x="400" y="2374"/>
                    <a:pt x="392" y="2363"/>
                    <a:pt x="398" y="2354"/>
                  </a:cubicBezTo>
                  <a:close/>
                  <a:moveTo>
                    <a:pt x="384" y="2247"/>
                  </a:moveTo>
                  <a:lnTo>
                    <a:pt x="372" y="2247"/>
                  </a:lnTo>
                  <a:lnTo>
                    <a:pt x="372" y="2236"/>
                  </a:lnTo>
                  <a:cubicBezTo>
                    <a:pt x="375" y="2236"/>
                    <a:pt x="381" y="2233"/>
                    <a:pt x="384" y="2233"/>
                  </a:cubicBezTo>
                  <a:lnTo>
                    <a:pt x="384" y="2242"/>
                  </a:lnTo>
                  <a:cubicBezTo>
                    <a:pt x="384" y="2239"/>
                    <a:pt x="386" y="2233"/>
                    <a:pt x="392" y="2236"/>
                  </a:cubicBezTo>
                  <a:cubicBezTo>
                    <a:pt x="395" y="2242"/>
                    <a:pt x="392" y="2244"/>
                    <a:pt x="392" y="2250"/>
                  </a:cubicBezTo>
                  <a:cubicBezTo>
                    <a:pt x="389" y="2250"/>
                    <a:pt x="381" y="2250"/>
                    <a:pt x="384" y="2247"/>
                  </a:cubicBezTo>
                  <a:close/>
                  <a:moveTo>
                    <a:pt x="381" y="2278"/>
                  </a:moveTo>
                  <a:lnTo>
                    <a:pt x="379" y="2278"/>
                  </a:lnTo>
                  <a:cubicBezTo>
                    <a:pt x="380" y="2285"/>
                    <a:pt x="370" y="2293"/>
                    <a:pt x="372" y="2273"/>
                  </a:cubicBezTo>
                  <a:cubicBezTo>
                    <a:pt x="377" y="2273"/>
                    <a:pt x="379" y="2276"/>
                    <a:pt x="379" y="2278"/>
                  </a:cubicBezTo>
                  <a:cubicBezTo>
                    <a:pt x="380" y="2278"/>
                    <a:pt x="382" y="2278"/>
                    <a:pt x="381" y="2278"/>
                  </a:cubicBezTo>
                  <a:close/>
                  <a:moveTo>
                    <a:pt x="364" y="2098"/>
                  </a:moveTo>
                  <a:cubicBezTo>
                    <a:pt x="378" y="2098"/>
                    <a:pt x="386" y="2106"/>
                    <a:pt x="384" y="2120"/>
                  </a:cubicBezTo>
                  <a:cubicBezTo>
                    <a:pt x="372" y="2120"/>
                    <a:pt x="364" y="2115"/>
                    <a:pt x="364" y="2106"/>
                  </a:cubicBezTo>
                  <a:lnTo>
                    <a:pt x="361" y="2109"/>
                  </a:lnTo>
                  <a:cubicBezTo>
                    <a:pt x="361" y="2106"/>
                    <a:pt x="364" y="2103"/>
                    <a:pt x="364" y="2103"/>
                  </a:cubicBezTo>
                  <a:lnTo>
                    <a:pt x="364" y="2098"/>
                  </a:lnTo>
                  <a:close/>
                  <a:moveTo>
                    <a:pt x="378" y="2084"/>
                  </a:moveTo>
                  <a:lnTo>
                    <a:pt x="377" y="2084"/>
                  </a:lnTo>
                  <a:cubicBezTo>
                    <a:pt x="378" y="2083"/>
                    <a:pt x="378" y="2083"/>
                    <a:pt x="378" y="2084"/>
                  </a:cubicBezTo>
                  <a:cubicBezTo>
                    <a:pt x="376" y="2087"/>
                    <a:pt x="377" y="2085"/>
                    <a:pt x="377" y="2084"/>
                  </a:cubicBezTo>
                  <a:lnTo>
                    <a:pt x="378" y="2084"/>
                  </a:lnTo>
                  <a:close/>
                  <a:moveTo>
                    <a:pt x="437" y="2117"/>
                  </a:moveTo>
                  <a:cubicBezTo>
                    <a:pt x="440" y="2123"/>
                    <a:pt x="434" y="2126"/>
                    <a:pt x="437" y="2129"/>
                  </a:cubicBezTo>
                  <a:cubicBezTo>
                    <a:pt x="429" y="2134"/>
                    <a:pt x="429" y="2115"/>
                    <a:pt x="437" y="2117"/>
                  </a:cubicBezTo>
                  <a:close/>
                  <a:moveTo>
                    <a:pt x="443" y="2051"/>
                  </a:moveTo>
                  <a:cubicBezTo>
                    <a:pt x="444" y="2051"/>
                    <a:pt x="447" y="2053"/>
                    <a:pt x="443" y="2053"/>
                  </a:cubicBezTo>
                  <a:cubicBezTo>
                    <a:pt x="442" y="2052"/>
                    <a:pt x="442" y="2051"/>
                    <a:pt x="443" y="2051"/>
                  </a:cubicBezTo>
                  <a:close/>
                  <a:moveTo>
                    <a:pt x="485" y="536"/>
                  </a:moveTo>
                  <a:cubicBezTo>
                    <a:pt x="482" y="536"/>
                    <a:pt x="479" y="539"/>
                    <a:pt x="474" y="536"/>
                  </a:cubicBezTo>
                  <a:cubicBezTo>
                    <a:pt x="474" y="530"/>
                    <a:pt x="477" y="525"/>
                    <a:pt x="479" y="519"/>
                  </a:cubicBezTo>
                  <a:cubicBezTo>
                    <a:pt x="488" y="522"/>
                    <a:pt x="485" y="533"/>
                    <a:pt x="485" y="536"/>
                  </a:cubicBezTo>
                  <a:close/>
                  <a:moveTo>
                    <a:pt x="482" y="728"/>
                  </a:moveTo>
                  <a:cubicBezTo>
                    <a:pt x="488" y="742"/>
                    <a:pt x="460" y="733"/>
                    <a:pt x="482" y="728"/>
                  </a:cubicBezTo>
                  <a:close/>
                  <a:moveTo>
                    <a:pt x="454" y="2275"/>
                  </a:moveTo>
                  <a:cubicBezTo>
                    <a:pt x="451" y="2289"/>
                    <a:pt x="457" y="2289"/>
                    <a:pt x="451" y="2304"/>
                  </a:cubicBezTo>
                  <a:cubicBezTo>
                    <a:pt x="443" y="2298"/>
                    <a:pt x="448" y="2287"/>
                    <a:pt x="454" y="2275"/>
                  </a:cubicBezTo>
                  <a:lnTo>
                    <a:pt x="453" y="2274"/>
                  </a:lnTo>
                  <a:cubicBezTo>
                    <a:pt x="451" y="2279"/>
                    <a:pt x="448" y="2281"/>
                    <a:pt x="443" y="2284"/>
                  </a:cubicBezTo>
                  <a:cubicBezTo>
                    <a:pt x="437" y="2273"/>
                    <a:pt x="437" y="2262"/>
                    <a:pt x="440" y="2251"/>
                  </a:cubicBezTo>
                  <a:cubicBezTo>
                    <a:pt x="438" y="2255"/>
                    <a:pt x="424" y="2250"/>
                    <a:pt x="440" y="2244"/>
                  </a:cubicBezTo>
                  <a:lnTo>
                    <a:pt x="440" y="2250"/>
                  </a:lnTo>
                  <a:cubicBezTo>
                    <a:pt x="442" y="2244"/>
                    <a:pt x="444" y="2239"/>
                    <a:pt x="445" y="2234"/>
                  </a:cubicBezTo>
                  <a:cubicBezTo>
                    <a:pt x="441" y="2238"/>
                    <a:pt x="428" y="2232"/>
                    <a:pt x="446" y="2227"/>
                  </a:cubicBezTo>
                  <a:cubicBezTo>
                    <a:pt x="454" y="2239"/>
                    <a:pt x="454" y="2253"/>
                    <a:pt x="451" y="2267"/>
                  </a:cubicBezTo>
                  <a:cubicBezTo>
                    <a:pt x="454" y="2270"/>
                    <a:pt x="457" y="2273"/>
                    <a:pt x="454" y="2275"/>
                  </a:cubicBezTo>
                  <a:close/>
                  <a:moveTo>
                    <a:pt x="454" y="2273"/>
                  </a:moveTo>
                  <a:cubicBezTo>
                    <a:pt x="454" y="2273"/>
                    <a:pt x="456" y="2273"/>
                    <a:pt x="454" y="2273"/>
                  </a:cubicBezTo>
                  <a:close/>
                  <a:moveTo>
                    <a:pt x="451" y="2332"/>
                  </a:moveTo>
                  <a:cubicBezTo>
                    <a:pt x="448" y="2337"/>
                    <a:pt x="454" y="2329"/>
                    <a:pt x="451" y="2332"/>
                  </a:cubicBezTo>
                  <a:close/>
                  <a:moveTo>
                    <a:pt x="437" y="2185"/>
                  </a:moveTo>
                  <a:cubicBezTo>
                    <a:pt x="440" y="2182"/>
                    <a:pt x="443" y="2179"/>
                    <a:pt x="443" y="2174"/>
                  </a:cubicBezTo>
                  <a:cubicBezTo>
                    <a:pt x="446" y="2175"/>
                    <a:pt x="450" y="2177"/>
                    <a:pt x="454" y="2179"/>
                  </a:cubicBezTo>
                  <a:cubicBezTo>
                    <a:pt x="454" y="2178"/>
                    <a:pt x="456" y="2176"/>
                    <a:pt x="454" y="2179"/>
                  </a:cubicBezTo>
                  <a:lnTo>
                    <a:pt x="454" y="2180"/>
                  </a:lnTo>
                  <a:cubicBezTo>
                    <a:pt x="466" y="2187"/>
                    <a:pt x="478" y="2200"/>
                    <a:pt x="463" y="2213"/>
                  </a:cubicBezTo>
                  <a:cubicBezTo>
                    <a:pt x="463" y="2213"/>
                    <a:pt x="463" y="2212"/>
                    <a:pt x="463" y="2211"/>
                  </a:cubicBezTo>
                  <a:cubicBezTo>
                    <a:pt x="464" y="2210"/>
                    <a:pt x="465" y="2209"/>
                    <a:pt x="463" y="2205"/>
                  </a:cubicBezTo>
                  <a:cubicBezTo>
                    <a:pt x="460" y="2207"/>
                    <a:pt x="458" y="2209"/>
                    <a:pt x="455" y="2211"/>
                  </a:cubicBezTo>
                  <a:cubicBezTo>
                    <a:pt x="456" y="2211"/>
                    <a:pt x="457" y="2213"/>
                    <a:pt x="457" y="2214"/>
                  </a:cubicBezTo>
                  <a:cubicBezTo>
                    <a:pt x="458" y="2213"/>
                    <a:pt x="460" y="2212"/>
                    <a:pt x="461" y="2212"/>
                  </a:cubicBezTo>
                  <a:lnTo>
                    <a:pt x="458" y="2215"/>
                  </a:lnTo>
                  <a:cubicBezTo>
                    <a:pt x="458" y="2216"/>
                    <a:pt x="459" y="2216"/>
                    <a:pt x="460" y="2216"/>
                  </a:cubicBezTo>
                  <a:cubicBezTo>
                    <a:pt x="459" y="2216"/>
                    <a:pt x="458" y="2216"/>
                    <a:pt x="457" y="2216"/>
                  </a:cubicBezTo>
                  <a:lnTo>
                    <a:pt x="457" y="2216"/>
                  </a:lnTo>
                  <a:cubicBezTo>
                    <a:pt x="457" y="2216"/>
                    <a:pt x="457" y="2216"/>
                    <a:pt x="457" y="2215"/>
                  </a:cubicBezTo>
                  <a:cubicBezTo>
                    <a:pt x="456" y="2215"/>
                    <a:pt x="455" y="2214"/>
                    <a:pt x="454" y="2213"/>
                  </a:cubicBezTo>
                  <a:lnTo>
                    <a:pt x="452" y="2212"/>
                  </a:lnTo>
                  <a:cubicBezTo>
                    <a:pt x="446" y="2214"/>
                    <a:pt x="439" y="2214"/>
                    <a:pt x="432" y="2210"/>
                  </a:cubicBezTo>
                  <a:cubicBezTo>
                    <a:pt x="429" y="2199"/>
                    <a:pt x="432" y="2191"/>
                    <a:pt x="437" y="2185"/>
                  </a:cubicBezTo>
                  <a:close/>
                  <a:moveTo>
                    <a:pt x="465" y="2213"/>
                  </a:moveTo>
                  <a:cubicBezTo>
                    <a:pt x="464" y="2215"/>
                    <a:pt x="463" y="2215"/>
                    <a:pt x="463" y="2213"/>
                  </a:cubicBezTo>
                  <a:lnTo>
                    <a:pt x="465" y="2213"/>
                  </a:lnTo>
                  <a:close/>
                  <a:moveTo>
                    <a:pt x="463" y="2210"/>
                  </a:moveTo>
                  <a:lnTo>
                    <a:pt x="461" y="2212"/>
                  </a:lnTo>
                  <a:cubicBezTo>
                    <a:pt x="462" y="2212"/>
                    <a:pt x="462" y="2211"/>
                    <a:pt x="463" y="2211"/>
                  </a:cubicBezTo>
                  <a:cubicBezTo>
                    <a:pt x="463" y="2211"/>
                    <a:pt x="463" y="2211"/>
                    <a:pt x="463" y="2210"/>
                  </a:cubicBezTo>
                  <a:close/>
                  <a:moveTo>
                    <a:pt x="457" y="2216"/>
                  </a:moveTo>
                  <a:lnTo>
                    <a:pt x="457" y="2215"/>
                  </a:lnTo>
                  <a:cubicBezTo>
                    <a:pt x="457" y="2215"/>
                    <a:pt x="457" y="2215"/>
                    <a:pt x="457" y="2214"/>
                  </a:cubicBezTo>
                  <a:cubicBezTo>
                    <a:pt x="458" y="2215"/>
                    <a:pt x="458" y="2215"/>
                    <a:pt x="458" y="2215"/>
                  </a:cubicBezTo>
                  <a:cubicBezTo>
                    <a:pt x="458" y="2215"/>
                    <a:pt x="458" y="2215"/>
                    <a:pt x="457" y="2216"/>
                  </a:cubicBezTo>
                  <a:close/>
                  <a:moveTo>
                    <a:pt x="468" y="2120"/>
                  </a:moveTo>
                  <a:cubicBezTo>
                    <a:pt x="468" y="2115"/>
                    <a:pt x="471" y="2115"/>
                    <a:pt x="474" y="2112"/>
                  </a:cubicBezTo>
                  <a:cubicBezTo>
                    <a:pt x="477" y="2109"/>
                    <a:pt x="474" y="2109"/>
                    <a:pt x="477" y="2106"/>
                  </a:cubicBezTo>
                  <a:cubicBezTo>
                    <a:pt x="477" y="2109"/>
                    <a:pt x="479" y="2112"/>
                    <a:pt x="477" y="2115"/>
                  </a:cubicBezTo>
                  <a:cubicBezTo>
                    <a:pt x="474" y="2120"/>
                    <a:pt x="468" y="2120"/>
                    <a:pt x="471" y="2126"/>
                  </a:cubicBezTo>
                  <a:cubicBezTo>
                    <a:pt x="494" y="2137"/>
                    <a:pt x="448" y="2129"/>
                    <a:pt x="468" y="2120"/>
                  </a:cubicBezTo>
                  <a:close/>
                  <a:moveTo>
                    <a:pt x="465" y="2275"/>
                  </a:moveTo>
                  <a:cubicBezTo>
                    <a:pt x="465" y="2270"/>
                    <a:pt x="477" y="2281"/>
                    <a:pt x="465" y="2275"/>
                  </a:cubicBezTo>
                  <a:close/>
                  <a:moveTo>
                    <a:pt x="465" y="770"/>
                  </a:moveTo>
                  <a:cubicBezTo>
                    <a:pt x="465" y="762"/>
                    <a:pt x="477" y="773"/>
                    <a:pt x="465" y="770"/>
                  </a:cubicBezTo>
                  <a:close/>
                  <a:moveTo>
                    <a:pt x="468" y="1928"/>
                  </a:moveTo>
                  <a:cubicBezTo>
                    <a:pt x="468" y="1931"/>
                    <a:pt x="465" y="1934"/>
                    <a:pt x="463" y="1937"/>
                  </a:cubicBezTo>
                  <a:cubicBezTo>
                    <a:pt x="460" y="1940"/>
                    <a:pt x="460" y="1943"/>
                    <a:pt x="454" y="1943"/>
                  </a:cubicBezTo>
                  <a:cubicBezTo>
                    <a:pt x="454" y="1940"/>
                    <a:pt x="457" y="1934"/>
                    <a:pt x="460" y="1934"/>
                  </a:cubicBezTo>
                  <a:cubicBezTo>
                    <a:pt x="463" y="1931"/>
                    <a:pt x="463" y="1931"/>
                    <a:pt x="468" y="1928"/>
                  </a:cubicBezTo>
                  <a:close/>
                  <a:moveTo>
                    <a:pt x="463" y="2067"/>
                  </a:moveTo>
                  <a:cubicBezTo>
                    <a:pt x="460" y="2072"/>
                    <a:pt x="465" y="2064"/>
                    <a:pt x="463" y="2067"/>
                  </a:cubicBezTo>
                  <a:close/>
                  <a:moveTo>
                    <a:pt x="457" y="2225"/>
                  </a:moveTo>
                  <a:cubicBezTo>
                    <a:pt x="454" y="2225"/>
                    <a:pt x="448" y="2227"/>
                    <a:pt x="446" y="2227"/>
                  </a:cubicBezTo>
                  <a:cubicBezTo>
                    <a:pt x="440" y="2213"/>
                    <a:pt x="451" y="2210"/>
                    <a:pt x="457" y="2225"/>
                  </a:cubicBezTo>
                  <a:close/>
                  <a:moveTo>
                    <a:pt x="454" y="2242"/>
                  </a:moveTo>
                  <a:lnTo>
                    <a:pt x="454" y="2240"/>
                  </a:lnTo>
                  <a:cubicBezTo>
                    <a:pt x="455" y="2241"/>
                    <a:pt x="455" y="2242"/>
                    <a:pt x="454" y="2242"/>
                  </a:cubicBezTo>
                  <a:cubicBezTo>
                    <a:pt x="453" y="2240"/>
                    <a:pt x="453" y="2240"/>
                    <a:pt x="454" y="2240"/>
                  </a:cubicBezTo>
                  <a:lnTo>
                    <a:pt x="454" y="2242"/>
                  </a:lnTo>
                  <a:close/>
                  <a:moveTo>
                    <a:pt x="457" y="2264"/>
                  </a:moveTo>
                  <a:cubicBezTo>
                    <a:pt x="477" y="2267"/>
                    <a:pt x="448" y="2295"/>
                    <a:pt x="457" y="2264"/>
                  </a:cubicBezTo>
                  <a:close/>
                  <a:moveTo>
                    <a:pt x="460" y="2304"/>
                  </a:moveTo>
                  <a:cubicBezTo>
                    <a:pt x="465" y="2304"/>
                    <a:pt x="471" y="2304"/>
                    <a:pt x="477" y="2301"/>
                  </a:cubicBezTo>
                  <a:cubicBezTo>
                    <a:pt x="485" y="2315"/>
                    <a:pt x="454" y="2320"/>
                    <a:pt x="460" y="2304"/>
                  </a:cubicBezTo>
                  <a:close/>
                  <a:moveTo>
                    <a:pt x="474" y="2092"/>
                  </a:moveTo>
                  <a:cubicBezTo>
                    <a:pt x="474" y="2086"/>
                    <a:pt x="482" y="2098"/>
                    <a:pt x="474" y="2092"/>
                  </a:cubicBezTo>
                  <a:close/>
                  <a:moveTo>
                    <a:pt x="478" y="2078"/>
                  </a:moveTo>
                  <a:cubicBezTo>
                    <a:pt x="478" y="2079"/>
                    <a:pt x="477" y="2082"/>
                    <a:pt x="477" y="2078"/>
                  </a:cubicBezTo>
                  <a:cubicBezTo>
                    <a:pt x="478" y="2077"/>
                    <a:pt x="478" y="2077"/>
                    <a:pt x="478" y="2078"/>
                  </a:cubicBezTo>
                  <a:close/>
                  <a:moveTo>
                    <a:pt x="479" y="742"/>
                  </a:moveTo>
                  <a:cubicBezTo>
                    <a:pt x="482" y="747"/>
                    <a:pt x="471" y="747"/>
                    <a:pt x="468" y="747"/>
                  </a:cubicBezTo>
                  <a:cubicBezTo>
                    <a:pt x="471" y="745"/>
                    <a:pt x="474" y="742"/>
                    <a:pt x="479" y="742"/>
                  </a:cubicBezTo>
                  <a:close/>
                  <a:moveTo>
                    <a:pt x="463" y="536"/>
                  </a:moveTo>
                  <a:cubicBezTo>
                    <a:pt x="457" y="533"/>
                    <a:pt x="468" y="525"/>
                    <a:pt x="474" y="527"/>
                  </a:cubicBezTo>
                  <a:cubicBezTo>
                    <a:pt x="471" y="530"/>
                    <a:pt x="463" y="530"/>
                    <a:pt x="463" y="536"/>
                  </a:cubicBezTo>
                  <a:close/>
                  <a:moveTo>
                    <a:pt x="465" y="742"/>
                  </a:moveTo>
                  <a:cubicBezTo>
                    <a:pt x="468" y="742"/>
                    <a:pt x="460" y="739"/>
                    <a:pt x="465" y="742"/>
                  </a:cubicBezTo>
                  <a:close/>
                  <a:moveTo>
                    <a:pt x="465" y="1830"/>
                  </a:moveTo>
                  <a:cubicBezTo>
                    <a:pt x="465" y="1835"/>
                    <a:pt x="463" y="1841"/>
                    <a:pt x="463" y="1847"/>
                  </a:cubicBezTo>
                  <a:cubicBezTo>
                    <a:pt x="454" y="1847"/>
                    <a:pt x="454" y="1827"/>
                    <a:pt x="465" y="1830"/>
                  </a:cubicBezTo>
                  <a:close/>
                  <a:moveTo>
                    <a:pt x="460" y="790"/>
                  </a:moveTo>
                  <a:lnTo>
                    <a:pt x="451" y="787"/>
                  </a:lnTo>
                  <a:cubicBezTo>
                    <a:pt x="451" y="784"/>
                    <a:pt x="465" y="784"/>
                    <a:pt x="460" y="790"/>
                  </a:cubicBezTo>
                  <a:close/>
                  <a:moveTo>
                    <a:pt x="429" y="2081"/>
                  </a:moveTo>
                  <a:cubicBezTo>
                    <a:pt x="423" y="2084"/>
                    <a:pt x="420" y="2078"/>
                    <a:pt x="417" y="2081"/>
                  </a:cubicBezTo>
                  <a:cubicBezTo>
                    <a:pt x="412" y="2075"/>
                    <a:pt x="432" y="2072"/>
                    <a:pt x="429" y="2081"/>
                  </a:cubicBezTo>
                  <a:close/>
                  <a:moveTo>
                    <a:pt x="403" y="2182"/>
                  </a:moveTo>
                  <a:cubicBezTo>
                    <a:pt x="437" y="2182"/>
                    <a:pt x="415" y="2216"/>
                    <a:pt x="403" y="2182"/>
                  </a:cubicBezTo>
                  <a:close/>
                  <a:moveTo>
                    <a:pt x="412" y="2250"/>
                  </a:moveTo>
                  <a:cubicBezTo>
                    <a:pt x="415" y="2250"/>
                    <a:pt x="409" y="2256"/>
                    <a:pt x="412" y="2250"/>
                  </a:cubicBezTo>
                  <a:close/>
                  <a:moveTo>
                    <a:pt x="409" y="2222"/>
                  </a:moveTo>
                  <a:cubicBezTo>
                    <a:pt x="409" y="2219"/>
                    <a:pt x="406" y="2227"/>
                    <a:pt x="409" y="2222"/>
                  </a:cubicBezTo>
                  <a:close/>
                  <a:moveTo>
                    <a:pt x="412" y="1759"/>
                  </a:moveTo>
                  <a:cubicBezTo>
                    <a:pt x="406" y="1773"/>
                    <a:pt x="403" y="1748"/>
                    <a:pt x="412" y="1759"/>
                  </a:cubicBezTo>
                  <a:close/>
                  <a:moveTo>
                    <a:pt x="409" y="702"/>
                  </a:moveTo>
                  <a:cubicBezTo>
                    <a:pt x="409" y="702"/>
                    <a:pt x="410" y="702"/>
                    <a:pt x="409" y="702"/>
                  </a:cubicBezTo>
                  <a:close/>
                  <a:moveTo>
                    <a:pt x="417" y="2157"/>
                  </a:moveTo>
                  <a:cubicBezTo>
                    <a:pt x="412" y="2171"/>
                    <a:pt x="403" y="2148"/>
                    <a:pt x="417" y="2157"/>
                  </a:cubicBezTo>
                  <a:close/>
                  <a:moveTo>
                    <a:pt x="409" y="2126"/>
                  </a:moveTo>
                  <a:cubicBezTo>
                    <a:pt x="412" y="2126"/>
                    <a:pt x="409" y="2131"/>
                    <a:pt x="409" y="2126"/>
                  </a:cubicBezTo>
                  <a:close/>
                  <a:moveTo>
                    <a:pt x="415" y="1999"/>
                  </a:moveTo>
                  <a:cubicBezTo>
                    <a:pt x="417" y="1990"/>
                    <a:pt x="420" y="2007"/>
                    <a:pt x="415" y="1999"/>
                  </a:cubicBezTo>
                  <a:close/>
                  <a:moveTo>
                    <a:pt x="423" y="1993"/>
                  </a:moveTo>
                  <a:cubicBezTo>
                    <a:pt x="420" y="1993"/>
                    <a:pt x="417" y="1993"/>
                    <a:pt x="415" y="1988"/>
                  </a:cubicBezTo>
                  <a:lnTo>
                    <a:pt x="415" y="1985"/>
                  </a:lnTo>
                  <a:lnTo>
                    <a:pt x="420" y="1985"/>
                  </a:lnTo>
                  <a:cubicBezTo>
                    <a:pt x="423" y="1988"/>
                    <a:pt x="423" y="1990"/>
                    <a:pt x="423" y="1993"/>
                  </a:cubicBezTo>
                  <a:close/>
                  <a:moveTo>
                    <a:pt x="415" y="1974"/>
                  </a:moveTo>
                  <a:cubicBezTo>
                    <a:pt x="415" y="1968"/>
                    <a:pt x="423" y="1976"/>
                    <a:pt x="415" y="1974"/>
                  </a:cubicBezTo>
                  <a:close/>
                  <a:moveTo>
                    <a:pt x="417" y="812"/>
                  </a:moveTo>
                  <a:lnTo>
                    <a:pt x="420" y="815"/>
                  </a:lnTo>
                  <a:lnTo>
                    <a:pt x="417" y="815"/>
                  </a:lnTo>
                  <a:lnTo>
                    <a:pt x="417" y="812"/>
                  </a:lnTo>
                  <a:close/>
                  <a:moveTo>
                    <a:pt x="409" y="553"/>
                  </a:moveTo>
                  <a:cubicBezTo>
                    <a:pt x="409" y="548"/>
                    <a:pt x="414" y="547"/>
                    <a:pt x="414" y="545"/>
                  </a:cubicBezTo>
                  <a:cubicBezTo>
                    <a:pt x="413" y="546"/>
                    <a:pt x="409" y="546"/>
                    <a:pt x="403" y="544"/>
                  </a:cubicBezTo>
                  <a:cubicBezTo>
                    <a:pt x="405" y="539"/>
                    <a:pt x="407" y="536"/>
                    <a:pt x="409" y="536"/>
                  </a:cubicBezTo>
                  <a:lnTo>
                    <a:pt x="409" y="536"/>
                  </a:lnTo>
                  <a:cubicBezTo>
                    <a:pt x="406" y="527"/>
                    <a:pt x="417" y="530"/>
                    <a:pt x="417" y="527"/>
                  </a:cubicBezTo>
                  <a:cubicBezTo>
                    <a:pt x="425" y="530"/>
                    <a:pt x="419" y="537"/>
                    <a:pt x="412" y="536"/>
                  </a:cubicBezTo>
                  <a:cubicBezTo>
                    <a:pt x="415" y="538"/>
                    <a:pt x="417" y="543"/>
                    <a:pt x="415" y="545"/>
                  </a:cubicBezTo>
                  <a:cubicBezTo>
                    <a:pt x="417" y="550"/>
                    <a:pt x="418" y="550"/>
                    <a:pt x="423" y="556"/>
                  </a:cubicBezTo>
                  <a:cubicBezTo>
                    <a:pt x="417" y="556"/>
                    <a:pt x="417" y="550"/>
                    <a:pt x="409" y="553"/>
                  </a:cubicBezTo>
                  <a:close/>
                  <a:moveTo>
                    <a:pt x="415" y="652"/>
                  </a:moveTo>
                  <a:cubicBezTo>
                    <a:pt x="415" y="671"/>
                    <a:pt x="395" y="640"/>
                    <a:pt x="415" y="652"/>
                  </a:cubicBezTo>
                  <a:close/>
                  <a:moveTo>
                    <a:pt x="409" y="691"/>
                  </a:moveTo>
                  <a:lnTo>
                    <a:pt x="403" y="691"/>
                  </a:lnTo>
                  <a:cubicBezTo>
                    <a:pt x="403" y="688"/>
                    <a:pt x="403" y="688"/>
                    <a:pt x="400" y="688"/>
                  </a:cubicBezTo>
                  <a:cubicBezTo>
                    <a:pt x="400" y="685"/>
                    <a:pt x="412" y="685"/>
                    <a:pt x="409" y="691"/>
                  </a:cubicBezTo>
                  <a:close/>
                  <a:moveTo>
                    <a:pt x="398" y="1878"/>
                  </a:moveTo>
                  <a:cubicBezTo>
                    <a:pt x="400" y="1869"/>
                    <a:pt x="412" y="1880"/>
                    <a:pt x="398" y="1878"/>
                  </a:cubicBezTo>
                  <a:close/>
                  <a:moveTo>
                    <a:pt x="398" y="1985"/>
                  </a:moveTo>
                  <a:cubicBezTo>
                    <a:pt x="403" y="1982"/>
                    <a:pt x="392" y="1993"/>
                    <a:pt x="398" y="1985"/>
                  </a:cubicBezTo>
                  <a:close/>
                  <a:moveTo>
                    <a:pt x="403" y="2287"/>
                  </a:moveTo>
                  <a:cubicBezTo>
                    <a:pt x="403" y="2292"/>
                    <a:pt x="403" y="2295"/>
                    <a:pt x="400" y="2301"/>
                  </a:cubicBezTo>
                  <a:lnTo>
                    <a:pt x="406" y="2301"/>
                  </a:lnTo>
                  <a:cubicBezTo>
                    <a:pt x="406" y="2304"/>
                    <a:pt x="403" y="2304"/>
                    <a:pt x="403" y="2306"/>
                  </a:cubicBezTo>
                  <a:lnTo>
                    <a:pt x="400" y="2306"/>
                  </a:lnTo>
                  <a:cubicBezTo>
                    <a:pt x="392" y="2309"/>
                    <a:pt x="386" y="2304"/>
                    <a:pt x="386" y="2298"/>
                  </a:cubicBezTo>
                  <a:lnTo>
                    <a:pt x="386" y="2289"/>
                  </a:lnTo>
                  <a:lnTo>
                    <a:pt x="395" y="2289"/>
                  </a:lnTo>
                  <a:cubicBezTo>
                    <a:pt x="398" y="2289"/>
                    <a:pt x="400" y="2287"/>
                    <a:pt x="403" y="2287"/>
                  </a:cubicBezTo>
                  <a:close/>
                  <a:moveTo>
                    <a:pt x="369" y="2140"/>
                  </a:moveTo>
                  <a:cubicBezTo>
                    <a:pt x="375" y="2120"/>
                    <a:pt x="386" y="2146"/>
                    <a:pt x="398" y="2140"/>
                  </a:cubicBezTo>
                  <a:cubicBezTo>
                    <a:pt x="398" y="2157"/>
                    <a:pt x="372" y="2143"/>
                    <a:pt x="369" y="2140"/>
                  </a:cubicBezTo>
                  <a:close/>
                  <a:moveTo>
                    <a:pt x="381" y="2160"/>
                  </a:moveTo>
                  <a:cubicBezTo>
                    <a:pt x="381" y="2160"/>
                    <a:pt x="379" y="2163"/>
                    <a:pt x="381" y="2160"/>
                  </a:cubicBezTo>
                  <a:close/>
                  <a:moveTo>
                    <a:pt x="384" y="2021"/>
                  </a:moveTo>
                  <a:cubicBezTo>
                    <a:pt x="386" y="2016"/>
                    <a:pt x="395" y="2024"/>
                    <a:pt x="384" y="2021"/>
                  </a:cubicBezTo>
                  <a:close/>
                  <a:moveTo>
                    <a:pt x="386" y="1945"/>
                  </a:moveTo>
                  <a:cubicBezTo>
                    <a:pt x="386" y="1940"/>
                    <a:pt x="398" y="1948"/>
                    <a:pt x="386" y="1945"/>
                  </a:cubicBezTo>
                  <a:close/>
                  <a:moveTo>
                    <a:pt x="386" y="2134"/>
                  </a:moveTo>
                  <a:cubicBezTo>
                    <a:pt x="372" y="2129"/>
                    <a:pt x="403" y="2120"/>
                    <a:pt x="386" y="2134"/>
                  </a:cubicBezTo>
                  <a:close/>
                  <a:moveTo>
                    <a:pt x="398" y="2163"/>
                  </a:moveTo>
                  <a:cubicBezTo>
                    <a:pt x="395" y="2165"/>
                    <a:pt x="398" y="2157"/>
                    <a:pt x="398" y="2163"/>
                  </a:cubicBezTo>
                  <a:close/>
                  <a:moveTo>
                    <a:pt x="398" y="1889"/>
                  </a:moveTo>
                  <a:cubicBezTo>
                    <a:pt x="398" y="1895"/>
                    <a:pt x="392" y="1897"/>
                    <a:pt x="386" y="1897"/>
                  </a:cubicBezTo>
                  <a:cubicBezTo>
                    <a:pt x="386" y="1892"/>
                    <a:pt x="392" y="1889"/>
                    <a:pt x="398" y="1889"/>
                  </a:cubicBezTo>
                  <a:close/>
                  <a:moveTo>
                    <a:pt x="389" y="635"/>
                  </a:moveTo>
                  <a:lnTo>
                    <a:pt x="389" y="623"/>
                  </a:lnTo>
                  <a:cubicBezTo>
                    <a:pt x="392" y="623"/>
                    <a:pt x="395" y="626"/>
                    <a:pt x="398" y="626"/>
                  </a:cubicBezTo>
                  <a:cubicBezTo>
                    <a:pt x="395" y="629"/>
                    <a:pt x="395" y="635"/>
                    <a:pt x="389" y="635"/>
                  </a:cubicBezTo>
                  <a:close/>
                  <a:moveTo>
                    <a:pt x="398" y="1920"/>
                  </a:moveTo>
                  <a:cubicBezTo>
                    <a:pt x="392" y="1926"/>
                    <a:pt x="389" y="1934"/>
                    <a:pt x="389" y="1943"/>
                  </a:cubicBezTo>
                  <a:cubicBezTo>
                    <a:pt x="384" y="1943"/>
                    <a:pt x="381" y="1937"/>
                    <a:pt x="375" y="1937"/>
                  </a:cubicBezTo>
                  <a:lnTo>
                    <a:pt x="375" y="1920"/>
                  </a:lnTo>
                  <a:lnTo>
                    <a:pt x="398" y="1920"/>
                  </a:lnTo>
                  <a:close/>
                  <a:moveTo>
                    <a:pt x="361" y="2227"/>
                  </a:moveTo>
                  <a:cubicBezTo>
                    <a:pt x="375" y="2227"/>
                    <a:pt x="358" y="2250"/>
                    <a:pt x="361" y="2227"/>
                  </a:cubicBezTo>
                  <a:close/>
                  <a:moveTo>
                    <a:pt x="367" y="2292"/>
                  </a:moveTo>
                  <a:cubicBezTo>
                    <a:pt x="352" y="2295"/>
                    <a:pt x="367" y="2273"/>
                    <a:pt x="367" y="2292"/>
                  </a:cubicBezTo>
                  <a:close/>
                  <a:moveTo>
                    <a:pt x="369" y="2264"/>
                  </a:moveTo>
                  <a:cubicBezTo>
                    <a:pt x="372" y="2270"/>
                    <a:pt x="367" y="2273"/>
                    <a:pt x="369" y="2275"/>
                  </a:cubicBezTo>
                  <a:cubicBezTo>
                    <a:pt x="361" y="2281"/>
                    <a:pt x="361" y="2261"/>
                    <a:pt x="369" y="2264"/>
                  </a:cubicBezTo>
                  <a:close/>
                  <a:moveTo>
                    <a:pt x="367" y="2202"/>
                  </a:moveTo>
                  <a:lnTo>
                    <a:pt x="375" y="2202"/>
                  </a:lnTo>
                  <a:cubicBezTo>
                    <a:pt x="372" y="2196"/>
                    <a:pt x="381" y="2182"/>
                    <a:pt x="384" y="2179"/>
                  </a:cubicBezTo>
                  <a:cubicBezTo>
                    <a:pt x="398" y="2182"/>
                    <a:pt x="381" y="2188"/>
                    <a:pt x="384" y="2202"/>
                  </a:cubicBezTo>
                  <a:cubicBezTo>
                    <a:pt x="384" y="2199"/>
                    <a:pt x="386" y="2196"/>
                    <a:pt x="386" y="2194"/>
                  </a:cubicBezTo>
                  <a:cubicBezTo>
                    <a:pt x="400" y="2185"/>
                    <a:pt x="384" y="2216"/>
                    <a:pt x="389" y="2230"/>
                  </a:cubicBezTo>
                  <a:cubicBezTo>
                    <a:pt x="381" y="2227"/>
                    <a:pt x="375" y="2222"/>
                    <a:pt x="378" y="2216"/>
                  </a:cubicBezTo>
                  <a:cubicBezTo>
                    <a:pt x="372" y="2213"/>
                    <a:pt x="369" y="2205"/>
                    <a:pt x="367" y="2202"/>
                  </a:cubicBezTo>
                  <a:close/>
                  <a:moveTo>
                    <a:pt x="412" y="2289"/>
                  </a:moveTo>
                  <a:lnTo>
                    <a:pt x="412" y="2278"/>
                  </a:lnTo>
                  <a:lnTo>
                    <a:pt x="423" y="2278"/>
                  </a:lnTo>
                  <a:cubicBezTo>
                    <a:pt x="423" y="2281"/>
                    <a:pt x="426" y="2287"/>
                    <a:pt x="426" y="2289"/>
                  </a:cubicBezTo>
                  <a:cubicBezTo>
                    <a:pt x="423" y="2287"/>
                    <a:pt x="415" y="2289"/>
                    <a:pt x="412" y="2289"/>
                  </a:cubicBezTo>
                  <a:close/>
                  <a:moveTo>
                    <a:pt x="420" y="2295"/>
                  </a:moveTo>
                  <a:cubicBezTo>
                    <a:pt x="434" y="2292"/>
                    <a:pt x="417" y="2318"/>
                    <a:pt x="420" y="2295"/>
                  </a:cubicBezTo>
                  <a:close/>
                  <a:moveTo>
                    <a:pt x="429" y="2312"/>
                  </a:moveTo>
                  <a:lnTo>
                    <a:pt x="434" y="2312"/>
                  </a:lnTo>
                  <a:cubicBezTo>
                    <a:pt x="437" y="2306"/>
                    <a:pt x="443" y="2306"/>
                    <a:pt x="446" y="2306"/>
                  </a:cubicBezTo>
                  <a:cubicBezTo>
                    <a:pt x="448" y="2315"/>
                    <a:pt x="443" y="2318"/>
                    <a:pt x="437" y="2320"/>
                  </a:cubicBezTo>
                  <a:cubicBezTo>
                    <a:pt x="440" y="2326"/>
                    <a:pt x="423" y="2332"/>
                    <a:pt x="429" y="2312"/>
                  </a:cubicBezTo>
                  <a:close/>
                  <a:moveTo>
                    <a:pt x="474" y="2397"/>
                  </a:moveTo>
                  <a:cubicBezTo>
                    <a:pt x="494" y="2402"/>
                    <a:pt x="460" y="2416"/>
                    <a:pt x="474" y="2397"/>
                  </a:cubicBezTo>
                  <a:close/>
                  <a:moveTo>
                    <a:pt x="468" y="2419"/>
                  </a:moveTo>
                  <a:cubicBezTo>
                    <a:pt x="474" y="2419"/>
                    <a:pt x="474" y="2416"/>
                    <a:pt x="477" y="2414"/>
                  </a:cubicBezTo>
                  <a:cubicBezTo>
                    <a:pt x="488" y="2411"/>
                    <a:pt x="487" y="2432"/>
                    <a:pt x="478" y="2437"/>
                  </a:cubicBezTo>
                  <a:cubicBezTo>
                    <a:pt x="487" y="2437"/>
                    <a:pt x="494" y="2451"/>
                    <a:pt x="479" y="2473"/>
                  </a:cubicBezTo>
                  <a:cubicBezTo>
                    <a:pt x="474" y="2476"/>
                    <a:pt x="468" y="2470"/>
                    <a:pt x="463" y="2473"/>
                  </a:cubicBezTo>
                  <a:cubicBezTo>
                    <a:pt x="460" y="2451"/>
                    <a:pt x="467" y="2440"/>
                    <a:pt x="474" y="2437"/>
                  </a:cubicBezTo>
                  <a:cubicBezTo>
                    <a:pt x="473" y="2437"/>
                    <a:pt x="472" y="2437"/>
                    <a:pt x="471" y="2436"/>
                  </a:cubicBezTo>
                  <a:cubicBezTo>
                    <a:pt x="468" y="2428"/>
                    <a:pt x="468" y="2422"/>
                    <a:pt x="468" y="2419"/>
                  </a:cubicBezTo>
                  <a:close/>
                  <a:moveTo>
                    <a:pt x="479" y="1835"/>
                  </a:moveTo>
                  <a:lnTo>
                    <a:pt x="479" y="1827"/>
                  </a:lnTo>
                  <a:cubicBezTo>
                    <a:pt x="485" y="1824"/>
                    <a:pt x="485" y="1838"/>
                    <a:pt x="479" y="1835"/>
                  </a:cubicBezTo>
                  <a:close/>
                  <a:moveTo>
                    <a:pt x="474" y="485"/>
                  </a:moveTo>
                  <a:cubicBezTo>
                    <a:pt x="468" y="471"/>
                    <a:pt x="491" y="468"/>
                    <a:pt x="479" y="454"/>
                  </a:cubicBezTo>
                  <a:cubicBezTo>
                    <a:pt x="482" y="451"/>
                    <a:pt x="485" y="451"/>
                    <a:pt x="485" y="454"/>
                  </a:cubicBezTo>
                  <a:lnTo>
                    <a:pt x="485" y="457"/>
                  </a:lnTo>
                  <a:cubicBezTo>
                    <a:pt x="488" y="454"/>
                    <a:pt x="494" y="454"/>
                    <a:pt x="496" y="451"/>
                  </a:cubicBezTo>
                  <a:cubicBezTo>
                    <a:pt x="499" y="465"/>
                    <a:pt x="488" y="479"/>
                    <a:pt x="474" y="485"/>
                  </a:cubicBezTo>
                  <a:close/>
                  <a:moveTo>
                    <a:pt x="499" y="750"/>
                  </a:moveTo>
                  <a:cubicBezTo>
                    <a:pt x="499" y="751"/>
                    <a:pt x="498" y="752"/>
                    <a:pt x="498" y="752"/>
                  </a:cubicBezTo>
                  <a:cubicBezTo>
                    <a:pt x="498" y="753"/>
                    <a:pt x="499" y="752"/>
                    <a:pt x="499" y="750"/>
                  </a:cubicBezTo>
                  <a:close/>
                  <a:moveTo>
                    <a:pt x="505" y="773"/>
                  </a:moveTo>
                  <a:cubicBezTo>
                    <a:pt x="496" y="764"/>
                    <a:pt x="499" y="759"/>
                    <a:pt x="499" y="750"/>
                  </a:cubicBezTo>
                  <a:cubicBezTo>
                    <a:pt x="513" y="745"/>
                    <a:pt x="522" y="767"/>
                    <a:pt x="505" y="773"/>
                  </a:cubicBezTo>
                  <a:close/>
                  <a:moveTo>
                    <a:pt x="499" y="750"/>
                  </a:moveTo>
                  <a:cubicBezTo>
                    <a:pt x="498" y="751"/>
                    <a:pt x="498" y="752"/>
                    <a:pt x="498" y="752"/>
                  </a:cubicBezTo>
                  <a:cubicBezTo>
                    <a:pt x="495" y="756"/>
                    <a:pt x="492" y="755"/>
                    <a:pt x="499" y="750"/>
                  </a:cubicBezTo>
                  <a:close/>
                  <a:moveTo>
                    <a:pt x="513" y="1357"/>
                  </a:moveTo>
                  <a:cubicBezTo>
                    <a:pt x="513" y="1362"/>
                    <a:pt x="505" y="1362"/>
                    <a:pt x="499" y="1365"/>
                  </a:cubicBezTo>
                  <a:cubicBezTo>
                    <a:pt x="499" y="1360"/>
                    <a:pt x="511" y="1351"/>
                    <a:pt x="513" y="1357"/>
                  </a:cubicBezTo>
                  <a:close/>
                  <a:moveTo>
                    <a:pt x="511" y="1745"/>
                  </a:moveTo>
                  <a:cubicBezTo>
                    <a:pt x="519" y="1745"/>
                    <a:pt x="511" y="1756"/>
                    <a:pt x="502" y="1754"/>
                  </a:cubicBezTo>
                  <a:cubicBezTo>
                    <a:pt x="502" y="1748"/>
                    <a:pt x="513" y="1751"/>
                    <a:pt x="511" y="1745"/>
                  </a:cubicBezTo>
                  <a:close/>
                  <a:moveTo>
                    <a:pt x="513" y="2419"/>
                  </a:moveTo>
                  <a:cubicBezTo>
                    <a:pt x="511" y="2422"/>
                    <a:pt x="513" y="2416"/>
                    <a:pt x="513" y="2419"/>
                  </a:cubicBezTo>
                  <a:close/>
                  <a:moveTo>
                    <a:pt x="522" y="2385"/>
                  </a:moveTo>
                  <a:cubicBezTo>
                    <a:pt x="542" y="2397"/>
                    <a:pt x="530" y="2419"/>
                    <a:pt x="530" y="2442"/>
                  </a:cubicBezTo>
                  <a:lnTo>
                    <a:pt x="508" y="2442"/>
                  </a:lnTo>
                  <a:cubicBezTo>
                    <a:pt x="525" y="2416"/>
                    <a:pt x="513" y="2405"/>
                    <a:pt x="522" y="2385"/>
                  </a:cubicBezTo>
                  <a:close/>
                  <a:moveTo>
                    <a:pt x="525" y="516"/>
                  </a:moveTo>
                  <a:cubicBezTo>
                    <a:pt x="530" y="513"/>
                    <a:pt x="533" y="542"/>
                    <a:pt x="519" y="544"/>
                  </a:cubicBezTo>
                  <a:cubicBezTo>
                    <a:pt x="513" y="533"/>
                    <a:pt x="525" y="525"/>
                    <a:pt x="525" y="516"/>
                  </a:cubicBezTo>
                  <a:close/>
                  <a:moveTo>
                    <a:pt x="536" y="1731"/>
                  </a:moveTo>
                  <a:cubicBezTo>
                    <a:pt x="536" y="1745"/>
                    <a:pt x="508" y="1737"/>
                    <a:pt x="536" y="1731"/>
                  </a:cubicBezTo>
                  <a:close/>
                  <a:moveTo>
                    <a:pt x="522" y="2385"/>
                  </a:moveTo>
                  <a:cubicBezTo>
                    <a:pt x="522" y="2383"/>
                    <a:pt x="519" y="2391"/>
                    <a:pt x="522" y="2385"/>
                  </a:cubicBezTo>
                  <a:close/>
                  <a:moveTo>
                    <a:pt x="519" y="2377"/>
                  </a:moveTo>
                  <a:cubicBezTo>
                    <a:pt x="519" y="2368"/>
                    <a:pt x="522" y="2363"/>
                    <a:pt x="530" y="2360"/>
                  </a:cubicBezTo>
                  <a:cubicBezTo>
                    <a:pt x="533" y="2360"/>
                    <a:pt x="536" y="2360"/>
                    <a:pt x="539" y="2363"/>
                  </a:cubicBezTo>
                  <a:cubicBezTo>
                    <a:pt x="536" y="2371"/>
                    <a:pt x="527" y="2377"/>
                    <a:pt x="519" y="2377"/>
                  </a:cubicBezTo>
                  <a:close/>
                  <a:moveTo>
                    <a:pt x="544" y="1329"/>
                  </a:moveTo>
                  <a:cubicBezTo>
                    <a:pt x="539" y="1329"/>
                    <a:pt x="539" y="1326"/>
                    <a:pt x="533" y="1329"/>
                  </a:cubicBezTo>
                  <a:cubicBezTo>
                    <a:pt x="533" y="1326"/>
                    <a:pt x="547" y="1323"/>
                    <a:pt x="544" y="1329"/>
                  </a:cubicBezTo>
                  <a:close/>
                  <a:moveTo>
                    <a:pt x="542" y="1312"/>
                  </a:moveTo>
                  <a:cubicBezTo>
                    <a:pt x="542" y="1314"/>
                    <a:pt x="539" y="1317"/>
                    <a:pt x="536" y="1320"/>
                  </a:cubicBezTo>
                  <a:cubicBezTo>
                    <a:pt x="533" y="1320"/>
                    <a:pt x="539" y="1309"/>
                    <a:pt x="542" y="1312"/>
                  </a:cubicBezTo>
                  <a:close/>
                  <a:moveTo>
                    <a:pt x="544" y="2385"/>
                  </a:moveTo>
                  <a:cubicBezTo>
                    <a:pt x="564" y="2397"/>
                    <a:pt x="527" y="2397"/>
                    <a:pt x="544" y="2385"/>
                  </a:cubicBezTo>
                  <a:close/>
                  <a:moveTo>
                    <a:pt x="567" y="465"/>
                  </a:moveTo>
                  <a:cubicBezTo>
                    <a:pt x="550" y="463"/>
                    <a:pt x="564" y="448"/>
                    <a:pt x="567" y="465"/>
                  </a:cubicBezTo>
                  <a:close/>
                  <a:moveTo>
                    <a:pt x="558" y="1131"/>
                  </a:moveTo>
                  <a:cubicBezTo>
                    <a:pt x="558" y="1125"/>
                    <a:pt x="567" y="1134"/>
                    <a:pt x="558" y="1131"/>
                  </a:cubicBezTo>
                  <a:close/>
                  <a:moveTo>
                    <a:pt x="564" y="1142"/>
                  </a:moveTo>
                  <a:lnTo>
                    <a:pt x="567" y="1140"/>
                  </a:lnTo>
                  <a:cubicBezTo>
                    <a:pt x="570" y="1134"/>
                    <a:pt x="570" y="1148"/>
                    <a:pt x="567" y="1148"/>
                  </a:cubicBezTo>
                  <a:lnTo>
                    <a:pt x="564" y="1145"/>
                  </a:lnTo>
                  <a:cubicBezTo>
                    <a:pt x="567" y="1156"/>
                    <a:pt x="550" y="1148"/>
                    <a:pt x="564" y="1142"/>
                  </a:cubicBezTo>
                  <a:close/>
                  <a:moveTo>
                    <a:pt x="561" y="2380"/>
                  </a:moveTo>
                  <a:cubicBezTo>
                    <a:pt x="575" y="2377"/>
                    <a:pt x="558" y="2402"/>
                    <a:pt x="561" y="2380"/>
                  </a:cubicBezTo>
                  <a:close/>
                  <a:moveTo>
                    <a:pt x="587" y="2411"/>
                  </a:moveTo>
                  <a:cubicBezTo>
                    <a:pt x="584" y="2422"/>
                    <a:pt x="561" y="2408"/>
                    <a:pt x="561" y="2394"/>
                  </a:cubicBezTo>
                  <a:cubicBezTo>
                    <a:pt x="575" y="2394"/>
                    <a:pt x="578" y="2408"/>
                    <a:pt x="587" y="2411"/>
                  </a:cubicBezTo>
                  <a:close/>
                  <a:moveTo>
                    <a:pt x="573" y="1621"/>
                  </a:moveTo>
                  <a:cubicBezTo>
                    <a:pt x="575" y="1621"/>
                    <a:pt x="567" y="1618"/>
                    <a:pt x="573" y="1621"/>
                  </a:cubicBezTo>
                  <a:close/>
                  <a:moveTo>
                    <a:pt x="595" y="1708"/>
                  </a:moveTo>
                  <a:cubicBezTo>
                    <a:pt x="601" y="1722"/>
                    <a:pt x="573" y="1714"/>
                    <a:pt x="595" y="1708"/>
                  </a:cubicBezTo>
                  <a:close/>
                  <a:moveTo>
                    <a:pt x="595" y="2385"/>
                  </a:moveTo>
                  <a:cubicBezTo>
                    <a:pt x="595" y="2384"/>
                    <a:pt x="593" y="2379"/>
                    <a:pt x="590" y="2376"/>
                  </a:cubicBezTo>
                  <a:cubicBezTo>
                    <a:pt x="592" y="2380"/>
                    <a:pt x="593" y="2383"/>
                    <a:pt x="595" y="2385"/>
                  </a:cubicBezTo>
                  <a:close/>
                  <a:moveTo>
                    <a:pt x="587" y="2371"/>
                  </a:moveTo>
                  <a:lnTo>
                    <a:pt x="587" y="2368"/>
                  </a:lnTo>
                  <a:lnTo>
                    <a:pt x="590" y="2368"/>
                  </a:lnTo>
                  <a:lnTo>
                    <a:pt x="590" y="2374"/>
                  </a:lnTo>
                  <a:cubicBezTo>
                    <a:pt x="590" y="2375"/>
                    <a:pt x="590" y="2375"/>
                    <a:pt x="590" y="2376"/>
                  </a:cubicBezTo>
                  <a:cubicBezTo>
                    <a:pt x="589" y="2374"/>
                    <a:pt x="588" y="2372"/>
                    <a:pt x="587" y="2371"/>
                  </a:cubicBezTo>
                  <a:close/>
                  <a:moveTo>
                    <a:pt x="584" y="587"/>
                  </a:moveTo>
                  <a:cubicBezTo>
                    <a:pt x="581" y="587"/>
                    <a:pt x="581" y="581"/>
                    <a:pt x="581" y="578"/>
                  </a:cubicBezTo>
                  <a:cubicBezTo>
                    <a:pt x="587" y="575"/>
                    <a:pt x="587" y="584"/>
                    <a:pt x="584" y="587"/>
                  </a:cubicBezTo>
                  <a:close/>
                  <a:moveTo>
                    <a:pt x="578" y="1567"/>
                  </a:moveTo>
                  <a:lnTo>
                    <a:pt x="578" y="1559"/>
                  </a:lnTo>
                  <a:cubicBezTo>
                    <a:pt x="581" y="1565"/>
                    <a:pt x="584" y="1579"/>
                    <a:pt x="578" y="1567"/>
                  </a:cubicBezTo>
                  <a:close/>
                  <a:moveTo>
                    <a:pt x="581" y="1711"/>
                  </a:moveTo>
                  <a:cubicBezTo>
                    <a:pt x="584" y="1711"/>
                    <a:pt x="575" y="1708"/>
                    <a:pt x="581" y="1711"/>
                  </a:cubicBezTo>
                  <a:close/>
                  <a:moveTo>
                    <a:pt x="595" y="2467"/>
                  </a:moveTo>
                  <a:cubicBezTo>
                    <a:pt x="587" y="2470"/>
                    <a:pt x="578" y="2464"/>
                    <a:pt x="578" y="2459"/>
                  </a:cubicBezTo>
                  <a:lnTo>
                    <a:pt x="578" y="2453"/>
                  </a:lnTo>
                  <a:cubicBezTo>
                    <a:pt x="587" y="2450"/>
                    <a:pt x="595" y="2456"/>
                    <a:pt x="595" y="2462"/>
                  </a:cubicBezTo>
                  <a:lnTo>
                    <a:pt x="595" y="2467"/>
                  </a:lnTo>
                  <a:close/>
                  <a:moveTo>
                    <a:pt x="590" y="2408"/>
                  </a:moveTo>
                  <a:lnTo>
                    <a:pt x="590" y="2385"/>
                  </a:lnTo>
                  <a:lnTo>
                    <a:pt x="595" y="2385"/>
                  </a:lnTo>
                  <a:lnTo>
                    <a:pt x="604" y="2385"/>
                  </a:lnTo>
                  <a:cubicBezTo>
                    <a:pt x="606" y="2399"/>
                    <a:pt x="601" y="2408"/>
                    <a:pt x="590" y="2408"/>
                  </a:cubicBezTo>
                  <a:close/>
                  <a:moveTo>
                    <a:pt x="606" y="1632"/>
                  </a:moveTo>
                  <a:cubicBezTo>
                    <a:pt x="598" y="1652"/>
                    <a:pt x="609" y="1612"/>
                    <a:pt x="606" y="1632"/>
                  </a:cubicBezTo>
                  <a:close/>
                  <a:moveTo>
                    <a:pt x="604" y="2363"/>
                  </a:moveTo>
                  <a:cubicBezTo>
                    <a:pt x="604" y="2366"/>
                    <a:pt x="598" y="2363"/>
                    <a:pt x="604" y="2363"/>
                  </a:cubicBezTo>
                  <a:close/>
                  <a:moveTo>
                    <a:pt x="606" y="1598"/>
                  </a:moveTo>
                  <a:cubicBezTo>
                    <a:pt x="595" y="1618"/>
                    <a:pt x="606" y="1579"/>
                    <a:pt x="606" y="1598"/>
                  </a:cubicBezTo>
                  <a:close/>
                  <a:moveTo>
                    <a:pt x="598" y="1754"/>
                  </a:moveTo>
                  <a:cubicBezTo>
                    <a:pt x="595" y="1751"/>
                    <a:pt x="604" y="1754"/>
                    <a:pt x="598" y="1754"/>
                  </a:cubicBezTo>
                  <a:close/>
                  <a:moveTo>
                    <a:pt x="609" y="2419"/>
                  </a:moveTo>
                  <a:cubicBezTo>
                    <a:pt x="609" y="2422"/>
                    <a:pt x="612" y="2422"/>
                    <a:pt x="612" y="2425"/>
                  </a:cubicBezTo>
                  <a:cubicBezTo>
                    <a:pt x="615" y="2425"/>
                    <a:pt x="615" y="2422"/>
                    <a:pt x="615" y="2419"/>
                  </a:cubicBezTo>
                  <a:cubicBezTo>
                    <a:pt x="623" y="2419"/>
                    <a:pt x="615" y="2442"/>
                    <a:pt x="606" y="2433"/>
                  </a:cubicBezTo>
                  <a:cubicBezTo>
                    <a:pt x="606" y="2431"/>
                    <a:pt x="609" y="2428"/>
                    <a:pt x="609" y="2428"/>
                  </a:cubicBezTo>
                  <a:cubicBezTo>
                    <a:pt x="609" y="2425"/>
                    <a:pt x="595" y="2408"/>
                    <a:pt x="609" y="2419"/>
                  </a:cubicBezTo>
                  <a:close/>
                  <a:moveTo>
                    <a:pt x="615" y="2388"/>
                  </a:moveTo>
                  <a:cubicBezTo>
                    <a:pt x="629" y="2402"/>
                    <a:pt x="595" y="2377"/>
                    <a:pt x="615" y="2388"/>
                  </a:cubicBezTo>
                  <a:close/>
                  <a:moveTo>
                    <a:pt x="606" y="578"/>
                  </a:moveTo>
                  <a:cubicBezTo>
                    <a:pt x="606" y="573"/>
                    <a:pt x="618" y="581"/>
                    <a:pt x="606" y="578"/>
                  </a:cubicBezTo>
                  <a:close/>
                  <a:moveTo>
                    <a:pt x="629" y="1643"/>
                  </a:moveTo>
                  <a:cubicBezTo>
                    <a:pt x="626" y="1649"/>
                    <a:pt x="618" y="1641"/>
                    <a:pt x="612" y="1643"/>
                  </a:cubicBezTo>
                  <a:cubicBezTo>
                    <a:pt x="609" y="1638"/>
                    <a:pt x="621" y="1641"/>
                    <a:pt x="623" y="1638"/>
                  </a:cubicBezTo>
                  <a:lnTo>
                    <a:pt x="623" y="1641"/>
                  </a:lnTo>
                  <a:cubicBezTo>
                    <a:pt x="626" y="1641"/>
                    <a:pt x="629" y="1643"/>
                    <a:pt x="629" y="1643"/>
                  </a:cubicBezTo>
                  <a:close/>
                  <a:moveTo>
                    <a:pt x="623" y="1687"/>
                  </a:moveTo>
                  <a:cubicBezTo>
                    <a:pt x="622" y="1687"/>
                    <a:pt x="620" y="1686"/>
                    <a:pt x="623" y="1686"/>
                  </a:cubicBezTo>
                  <a:cubicBezTo>
                    <a:pt x="624" y="1687"/>
                    <a:pt x="624" y="1687"/>
                    <a:pt x="623" y="1687"/>
                  </a:cubicBezTo>
                  <a:close/>
                  <a:moveTo>
                    <a:pt x="623" y="1737"/>
                  </a:moveTo>
                  <a:cubicBezTo>
                    <a:pt x="621" y="1739"/>
                    <a:pt x="618" y="1742"/>
                    <a:pt x="615" y="1742"/>
                  </a:cubicBezTo>
                  <a:cubicBezTo>
                    <a:pt x="615" y="1737"/>
                    <a:pt x="621" y="1734"/>
                    <a:pt x="623" y="1737"/>
                  </a:cubicBezTo>
                  <a:close/>
                  <a:moveTo>
                    <a:pt x="626" y="2399"/>
                  </a:moveTo>
                  <a:lnTo>
                    <a:pt x="625" y="2398"/>
                  </a:lnTo>
                  <a:cubicBezTo>
                    <a:pt x="625" y="2397"/>
                    <a:pt x="626" y="2397"/>
                    <a:pt x="626" y="2399"/>
                  </a:cubicBezTo>
                  <a:cubicBezTo>
                    <a:pt x="625" y="2401"/>
                    <a:pt x="625" y="2399"/>
                    <a:pt x="625" y="2398"/>
                  </a:cubicBezTo>
                  <a:lnTo>
                    <a:pt x="626" y="2399"/>
                  </a:lnTo>
                  <a:close/>
                  <a:moveTo>
                    <a:pt x="609" y="2411"/>
                  </a:moveTo>
                  <a:lnTo>
                    <a:pt x="612" y="2414"/>
                  </a:lnTo>
                  <a:lnTo>
                    <a:pt x="609" y="2414"/>
                  </a:lnTo>
                  <a:cubicBezTo>
                    <a:pt x="612" y="2414"/>
                    <a:pt x="609" y="2411"/>
                    <a:pt x="609" y="2411"/>
                  </a:cubicBezTo>
                  <a:close/>
                  <a:moveTo>
                    <a:pt x="635" y="2518"/>
                  </a:moveTo>
                  <a:cubicBezTo>
                    <a:pt x="637" y="2515"/>
                    <a:pt x="632" y="2524"/>
                    <a:pt x="635" y="2518"/>
                  </a:cubicBezTo>
                  <a:close/>
                  <a:moveTo>
                    <a:pt x="629" y="2368"/>
                  </a:moveTo>
                  <a:cubicBezTo>
                    <a:pt x="643" y="2368"/>
                    <a:pt x="626" y="2391"/>
                    <a:pt x="629" y="2368"/>
                  </a:cubicBezTo>
                  <a:close/>
                  <a:moveTo>
                    <a:pt x="629" y="1587"/>
                  </a:moveTo>
                  <a:cubicBezTo>
                    <a:pt x="629" y="1581"/>
                    <a:pt x="635" y="1581"/>
                    <a:pt x="635" y="1579"/>
                  </a:cubicBezTo>
                  <a:cubicBezTo>
                    <a:pt x="637" y="1581"/>
                    <a:pt x="632" y="1590"/>
                    <a:pt x="629" y="1587"/>
                  </a:cubicBezTo>
                  <a:close/>
                  <a:moveTo>
                    <a:pt x="629" y="392"/>
                  </a:moveTo>
                  <a:cubicBezTo>
                    <a:pt x="632" y="386"/>
                    <a:pt x="640" y="395"/>
                    <a:pt x="629" y="392"/>
                  </a:cubicBezTo>
                  <a:close/>
                  <a:moveTo>
                    <a:pt x="635" y="401"/>
                  </a:moveTo>
                  <a:cubicBezTo>
                    <a:pt x="635" y="406"/>
                    <a:pt x="626" y="406"/>
                    <a:pt x="621" y="406"/>
                  </a:cubicBezTo>
                  <a:cubicBezTo>
                    <a:pt x="621" y="401"/>
                    <a:pt x="629" y="398"/>
                    <a:pt x="635" y="401"/>
                  </a:cubicBezTo>
                  <a:close/>
                  <a:moveTo>
                    <a:pt x="618" y="322"/>
                  </a:moveTo>
                  <a:cubicBezTo>
                    <a:pt x="621" y="313"/>
                    <a:pt x="621" y="330"/>
                    <a:pt x="618" y="322"/>
                  </a:cubicBezTo>
                  <a:close/>
                  <a:moveTo>
                    <a:pt x="618" y="288"/>
                  </a:moveTo>
                  <a:cubicBezTo>
                    <a:pt x="621" y="290"/>
                    <a:pt x="612" y="288"/>
                    <a:pt x="618" y="288"/>
                  </a:cubicBezTo>
                  <a:close/>
                  <a:moveTo>
                    <a:pt x="609" y="502"/>
                  </a:moveTo>
                  <a:cubicBezTo>
                    <a:pt x="609" y="496"/>
                    <a:pt x="618" y="505"/>
                    <a:pt x="609" y="502"/>
                  </a:cubicBezTo>
                  <a:close/>
                  <a:moveTo>
                    <a:pt x="615" y="542"/>
                  </a:moveTo>
                  <a:cubicBezTo>
                    <a:pt x="612" y="542"/>
                    <a:pt x="606" y="542"/>
                    <a:pt x="604" y="539"/>
                  </a:cubicBezTo>
                  <a:cubicBezTo>
                    <a:pt x="601" y="536"/>
                    <a:pt x="618" y="536"/>
                    <a:pt x="615" y="542"/>
                  </a:cubicBezTo>
                  <a:close/>
                  <a:moveTo>
                    <a:pt x="609" y="313"/>
                  </a:moveTo>
                  <a:cubicBezTo>
                    <a:pt x="609" y="316"/>
                    <a:pt x="601" y="316"/>
                    <a:pt x="598" y="316"/>
                  </a:cubicBezTo>
                  <a:cubicBezTo>
                    <a:pt x="598" y="313"/>
                    <a:pt x="606" y="313"/>
                    <a:pt x="609" y="313"/>
                  </a:cubicBezTo>
                  <a:close/>
                  <a:moveTo>
                    <a:pt x="592" y="293"/>
                  </a:moveTo>
                  <a:cubicBezTo>
                    <a:pt x="600" y="288"/>
                    <a:pt x="608" y="310"/>
                    <a:pt x="597" y="313"/>
                  </a:cubicBezTo>
                  <a:cubicBezTo>
                    <a:pt x="596" y="313"/>
                    <a:pt x="594" y="313"/>
                    <a:pt x="592" y="313"/>
                  </a:cubicBezTo>
                  <a:lnTo>
                    <a:pt x="592" y="312"/>
                  </a:lnTo>
                  <a:cubicBezTo>
                    <a:pt x="594" y="312"/>
                    <a:pt x="596" y="311"/>
                    <a:pt x="598" y="310"/>
                  </a:cubicBezTo>
                  <a:cubicBezTo>
                    <a:pt x="598" y="311"/>
                    <a:pt x="598" y="312"/>
                    <a:pt x="597" y="313"/>
                  </a:cubicBezTo>
                  <a:cubicBezTo>
                    <a:pt x="594" y="316"/>
                    <a:pt x="586" y="316"/>
                    <a:pt x="581" y="319"/>
                  </a:cubicBezTo>
                  <a:cubicBezTo>
                    <a:pt x="581" y="315"/>
                    <a:pt x="587" y="314"/>
                    <a:pt x="592" y="312"/>
                  </a:cubicBezTo>
                  <a:cubicBezTo>
                    <a:pt x="590" y="304"/>
                    <a:pt x="592" y="299"/>
                    <a:pt x="592" y="293"/>
                  </a:cubicBezTo>
                  <a:close/>
                  <a:moveTo>
                    <a:pt x="587" y="375"/>
                  </a:moveTo>
                  <a:cubicBezTo>
                    <a:pt x="584" y="378"/>
                    <a:pt x="581" y="381"/>
                    <a:pt x="578" y="381"/>
                  </a:cubicBezTo>
                  <a:cubicBezTo>
                    <a:pt x="578" y="375"/>
                    <a:pt x="584" y="375"/>
                    <a:pt x="587" y="375"/>
                  </a:cubicBezTo>
                  <a:close/>
                  <a:moveTo>
                    <a:pt x="575" y="584"/>
                  </a:moveTo>
                  <a:cubicBezTo>
                    <a:pt x="575" y="578"/>
                    <a:pt x="584" y="587"/>
                    <a:pt x="575" y="584"/>
                  </a:cubicBezTo>
                  <a:close/>
                  <a:moveTo>
                    <a:pt x="575" y="1573"/>
                  </a:moveTo>
                  <a:cubicBezTo>
                    <a:pt x="581" y="1587"/>
                    <a:pt x="553" y="1579"/>
                    <a:pt x="575" y="1573"/>
                  </a:cubicBezTo>
                  <a:close/>
                  <a:moveTo>
                    <a:pt x="567" y="544"/>
                  </a:moveTo>
                  <a:cubicBezTo>
                    <a:pt x="567" y="539"/>
                    <a:pt x="575" y="547"/>
                    <a:pt x="567" y="544"/>
                  </a:cubicBezTo>
                  <a:close/>
                  <a:moveTo>
                    <a:pt x="570" y="319"/>
                  </a:moveTo>
                  <a:cubicBezTo>
                    <a:pt x="570" y="322"/>
                    <a:pt x="573" y="327"/>
                    <a:pt x="573" y="330"/>
                  </a:cubicBezTo>
                  <a:cubicBezTo>
                    <a:pt x="570" y="330"/>
                    <a:pt x="564" y="333"/>
                    <a:pt x="561" y="333"/>
                  </a:cubicBezTo>
                  <a:cubicBezTo>
                    <a:pt x="561" y="330"/>
                    <a:pt x="558" y="324"/>
                    <a:pt x="556" y="322"/>
                  </a:cubicBezTo>
                  <a:cubicBezTo>
                    <a:pt x="558" y="322"/>
                    <a:pt x="564" y="319"/>
                    <a:pt x="570" y="319"/>
                  </a:cubicBezTo>
                  <a:close/>
                  <a:moveTo>
                    <a:pt x="567" y="406"/>
                  </a:moveTo>
                  <a:cubicBezTo>
                    <a:pt x="567" y="412"/>
                    <a:pt x="561" y="417"/>
                    <a:pt x="556" y="415"/>
                  </a:cubicBezTo>
                  <a:cubicBezTo>
                    <a:pt x="553" y="412"/>
                    <a:pt x="558" y="406"/>
                    <a:pt x="567" y="406"/>
                  </a:cubicBezTo>
                  <a:close/>
                  <a:moveTo>
                    <a:pt x="561" y="477"/>
                  </a:moveTo>
                  <a:cubicBezTo>
                    <a:pt x="558" y="477"/>
                    <a:pt x="556" y="477"/>
                    <a:pt x="553" y="471"/>
                  </a:cubicBezTo>
                  <a:lnTo>
                    <a:pt x="553" y="468"/>
                  </a:lnTo>
                  <a:cubicBezTo>
                    <a:pt x="556" y="468"/>
                    <a:pt x="558" y="474"/>
                    <a:pt x="561" y="477"/>
                  </a:cubicBezTo>
                  <a:close/>
                  <a:moveTo>
                    <a:pt x="556" y="499"/>
                  </a:moveTo>
                  <a:cubicBezTo>
                    <a:pt x="564" y="499"/>
                    <a:pt x="556" y="511"/>
                    <a:pt x="550" y="505"/>
                  </a:cubicBezTo>
                  <a:cubicBezTo>
                    <a:pt x="553" y="502"/>
                    <a:pt x="556" y="502"/>
                    <a:pt x="556" y="499"/>
                  </a:cubicBezTo>
                  <a:close/>
                  <a:moveTo>
                    <a:pt x="547" y="499"/>
                  </a:moveTo>
                  <a:cubicBezTo>
                    <a:pt x="547" y="494"/>
                    <a:pt x="556" y="502"/>
                    <a:pt x="547" y="499"/>
                  </a:cubicBezTo>
                  <a:close/>
                  <a:moveTo>
                    <a:pt x="547" y="508"/>
                  </a:moveTo>
                  <a:cubicBezTo>
                    <a:pt x="547" y="502"/>
                    <a:pt x="556" y="511"/>
                    <a:pt x="547" y="508"/>
                  </a:cubicBezTo>
                  <a:close/>
                  <a:moveTo>
                    <a:pt x="558" y="601"/>
                  </a:moveTo>
                  <a:cubicBezTo>
                    <a:pt x="556" y="606"/>
                    <a:pt x="550" y="601"/>
                    <a:pt x="544" y="601"/>
                  </a:cubicBezTo>
                  <a:cubicBezTo>
                    <a:pt x="547" y="598"/>
                    <a:pt x="556" y="601"/>
                    <a:pt x="558" y="601"/>
                  </a:cubicBezTo>
                  <a:close/>
                  <a:moveTo>
                    <a:pt x="536" y="587"/>
                  </a:moveTo>
                  <a:cubicBezTo>
                    <a:pt x="539" y="581"/>
                    <a:pt x="547" y="592"/>
                    <a:pt x="536" y="587"/>
                  </a:cubicBezTo>
                  <a:close/>
                  <a:moveTo>
                    <a:pt x="536" y="575"/>
                  </a:moveTo>
                  <a:cubicBezTo>
                    <a:pt x="536" y="570"/>
                    <a:pt x="544" y="578"/>
                    <a:pt x="536" y="575"/>
                  </a:cubicBezTo>
                  <a:close/>
                  <a:moveTo>
                    <a:pt x="533" y="338"/>
                  </a:moveTo>
                  <a:cubicBezTo>
                    <a:pt x="536" y="338"/>
                    <a:pt x="539" y="341"/>
                    <a:pt x="542" y="341"/>
                  </a:cubicBezTo>
                  <a:cubicBezTo>
                    <a:pt x="542" y="344"/>
                    <a:pt x="530" y="341"/>
                    <a:pt x="533" y="338"/>
                  </a:cubicBezTo>
                  <a:close/>
                  <a:moveTo>
                    <a:pt x="536" y="471"/>
                  </a:moveTo>
                  <a:cubicBezTo>
                    <a:pt x="539" y="488"/>
                    <a:pt x="516" y="477"/>
                    <a:pt x="511" y="479"/>
                  </a:cubicBezTo>
                  <a:cubicBezTo>
                    <a:pt x="508" y="463"/>
                    <a:pt x="530" y="474"/>
                    <a:pt x="536" y="471"/>
                  </a:cubicBezTo>
                  <a:close/>
                  <a:moveTo>
                    <a:pt x="525" y="437"/>
                  </a:moveTo>
                  <a:cubicBezTo>
                    <a:pt x="522" y="440"/>
                    <a:pt x="516" y="443"/>
                    <a:pt x="511" y="443"/>
                  </a:cubicBezTo>
                  <a:cubicBezTo>
                    <a:pt x="511" y="437"/>
                    <a:pt x="519" y="437"/>
                    <a:pt x="525" y="437"/>
                  </a:cubicBezTo>
                  <a:close/>
                  <a:moveTo>
                    <a:pt x="485" y="384"/>
                  </a:moveTo>
                  <a:cubicBezTo>
                    <a:pt x="491" y="401"/>
                    <a:pt x="499" y="415"/>
                    <a:pt x="513" y="426"/>
                  </a:cubicBezTo>
                  <a:cubicBezTo>
                    <a:pt x="496" y="426"/>
                    <a:pt x="485" y="412"/>
                    <a:pt x="477" y="398"/>
                  </a:cubicBezTo>
                  <a:cubicBezTo>
                    <a:pt x="479" y="395"/>
                    <a:pt x="485" y="392"/>
                    <a:pt x="485" y="384"/>
                  </a:cubicBezTo>
                  <a:close/>
                  <a:moveTo>
                    <a:pt x="479" y="384"/>
                  </a:moveTo>
                  <a:cubicBezTo>
                    <a:pt x="485" y="392"/>
                    <a:pt x="477" y="398"/>
                    <a:pt x="471" y="401"/>
                  </a:cubicBezTo>
                  <a:cubicBezTo>
                    <a:pt x="468" y="395"/>
                    <a:pt x="471" y="386"/>
                    <a:pt x="479" y="384"/>
                  </a:cubicBezTo>
                  <a:close/>
                  <a:moveTo>
                    <a:pt x="471" y="448"/>
                  </a:moveTo>
                  <a:cubicBezTo>
                    <a:pt x="474" y="448"/>
                    <a:pt x="474" y="454"/>
                    <a:pt x="474" y="457"/>
                  </a:cubicBezTo>
                  <a:lnTo>
                    <a:pt x="468" y="457"/>
                  </a:lnTo>
                  <a:cubicBezTo>
                    <a:pt x="468" y="451"/>
                    <a:pt x="471" y="451"/>
                    <a:pt x="471" y="448"/>
                  </a:cubicBezTo>
                  <a:close/>
                  <a:moveTo>
                    <a:pt x="479" y="499"/>
                  </a:moveTo>
                  <a:cubicBezTo>
                    <a:pt x="482" y="505"/>
                    <a:pt x="477" y="505"/>
                    <a:pt x="474" y="505"/>
                  </a:cubicBezTo>
                  <a:cubicBezTo>
                    <a:pt x="471" y="513"/>
                    <a:pt x="471" y="522"/>
                    <a:pt x="457" y="519"/>
                  </a:cubicBezTo>
                  <a:cubicBezTo>
                    <a:pt x="454" y="508"/>
                    <a:pt x="471" y="496"/>
                    <a:pt x="479" y="499"/>
                  </a:cubicBezTo>
                  <a:close/>
                  <a:moveTo>
                    <a:pt x="457" y="440"/>
                  </a:moveTo>
                  <a:cubicBezTo>
                    <a:pt x="460" y="440"/>
                    <a:pt x="454" y="437"/>
                    <a:pt x="457" y="440"/>
                  </a:cubicBezTo>
                  <a:close/>
                  <a:moveTo>
                    <a:pt x="448" y="513"/>
                  </a:moveTo>
                  <a:cubicBezTo>
                    <a:pt x="451" y="508"/>
                    <a:pt x="460" y="519"/>
                    <a:pt x="448" y="513"/>
                  </a:cubicBezTo>
                  <a:close/>
                  <a:moveTo>
                    <a:pt x="451" y="573"/>
                  </a:moveTo>
                  <a:cubicBezTo>
                    <a:pt x="448" y="570"/>
                    <a:pt x="457" y="573"/>
                    <a:pt x="451" y="573"/>
                  </a:cubicBezTo>
                  <a:close/>
                  <a:moveTo>
                    <a:pt x="457" y="680"/>
                  </a:moveTo>
                  <a:cubicBezTo>
                    <a:pt x="460" y="700"/>
                    <a:pt x="437" y="668"/>
                    <a:pt x="457" y="680"/>
                  </a:cubicBezTo>
                  <a:close/>
                  <a:moveTo>
                    <a:pt x="454" y="747"/>
                  </a:moveTo>
                  <a:cubicBezTo>
                    <a:pt x="460" y="762"/>
                    <a:pt x="432" y="753"/>
                    <a:pt x="454" y="747"/>
                  </a:cubicBezTo>
                  <a:close/>
                  <a:moveTo>
                    <a:pt x="451" y="767"/>
                  </a:moveTo>
                  <a:lnTo>
                    <a:pt x="451" y="773"/>
                  </a:lnTo>
                  <a:lnTo>
                    <a:pt x="446" y="773"/>
                  </a:lnTo>
                  <a:lnTo>
                    <a:pt x="446" y="767"/>
                  </a:lnTo>
                  <a:lnTo>
                    <a:pt x="451" y="767"/>
                  </a:lnTo>
                  <a:close/>
                  <a:moveTo>
                    <a:pt x="443" y="1974"/>
                  </a:moveTo>
                  <a:cubicBezTo>
                    <a:pt x="460" y="1974"/>
                    <a:pt x="443" y="1993"/>
                    <a:pt x="440" y="1982"/>
                  </a:cubicBezTo>
                  <a:cubicBezTo>
                    <a:pt x="434" y="1979"/>
                    <a:pt x="432" y="1974"/>
                    <a:pt x="429" y="1968"/>
                  </a:cubicBezTo>
                  <a:cubicBezTo>
                    <a:pt x="437" y="1971"/>
                    <a:pt x="440" y="1971"/>
                    <a:pt x="443" y="1974"/>
                  </a:cubicBezTo>
                  <a:close/>
                  <a:moveTo>
                    <a:pt x="437" y="1799"/>
                  </a:moveTo>
                  <a:cubicBezTo>
                    <a:pt x="437" y="1810"/>
                    <a:pt x="420" y="1799"/>
                    <a:pt x="437" y="1799"/>
                  </a:cubicBezTo>
                  <a:close/>
                  <a:moveTo>
                    <a:pt x="434" y="781"/>
                  </a:moveTo>
                  <a:cubicBezTo>
                    <a:pt x="434" y="784"/>
                    <a:pt x="429" y="787"/>
                    <a:pt x="426" y="787"/>
                  </a:cubicBezTo>
                  <a:cubicBezTo>
                    <a:pt x="429" y="784"/>
                    <a:pt x="432" y="781"/>
                    <a:pt x="434" y="781"/>
                  </a:cubicBezTo>
                  <a:close/>
                  <a:moveTo>
                    <a:pt x="429" y="1864"/>
                  </a:moveTo>
                  <a:cubicBezTo>
                    <a:pt x="429" y="1866"/>
                    <a:pt x="423" y="1869"/>
                    <a:pt x="420" y="1869"/>
                  </a:cubicBezTo>
                  <a:cubicBezTo>
                    <a:pt x="423" y="1866"/>
                    <a:pt x="426" y="1864"/>
                    <a:pt x="429" y="1864"/>
                  </a:cubicBezTo>
                  <a:close/>
                  <a:moveTo>
                    <a:pt x="417" y="508"/>
                  </a:moveTo>
                  <a:cubicBezTo>
                    <a:pt x="417" y="502"/>
                    <a:pt x="429" y="511"/>
                    <a:pt x="417" y="508"/>
                  </a:cubicBezTo>
                  <a:close/>
                  <a:moveTo>
                    <a:pt x="415" y="474"/>
                  </a:moveTo>
                  <a:cubicBezTo>
                    <a:pt x="417" y="474"/>
                    <a:pt x="409" y="471"/>
                    <a:pt x="415" y="474"/>
                  </a:cubicBezTo>
                  <a:close/>
                  <a:moveTo>
                    <a:pt x="417" y="454"/>
                  </a:moveTo>
                  <a:cubicBezTo>
                    <a:pt x="420" y="460"/>
                    <a:pt x="403" y="465"/>
                    <a:pt x="403" y="457"/>
                  </a:cubicBezTo>
                  <a:cubicBezTo>
                    <a:pt x="409" y="457"/>
                    <a:pt x="412" y="454"/>
                    <a:pt x="417" y="454"/>
                  </a:cubicBezTo>
                  <a:close/>
                  <a:moveTo>
                    <a:pt x="406" y="668"/>
                  </a:moveTo>
                  <a:cubicBezTo>
                    <a:pt x="412" y="683"/>
                    <a:pt x="384" y="674"/>
                    <a:pt x="406" y="668"/>
                  </a:cubicBezTo>
                  <a:close/>
                  <a:moveTo>
                    <a:pt x="403" y="621"/>
                  </a:moveTo>
                  <a:cubicBezTo>
                    <a:pt x="395" y="640"/>
                    <a:pt x="406" y="601"/>
                    <a:pt x="403" y="621"/>
                  </a:cubicBezTo>
                  <a:close/>
                  <a:moveTo>
                    <a:pt x="403" y="502"/>
                  </a:moveTo>
                  <a:cubicBezTo>
                    <a:pt x="409" y="516"/>
                    <a:pt x="381" y="508"/>
                    <a:pt x="403" y="502"/>
                  </a:cubicBezTo>
                  <a:close/>
                  <a:moveTo>
                    <a:pt x="398" y="522"/>
                  </a:moveTo>
                  <a:cubicBezTo>
                    <a:pt x="406" y="527"/>
                    <a:pt x="392" y="533"/>
                    <a:pt x="386" y="530"/>
                  </a:cubicBezTo>
                  <a:cubicBezTo>
                    <a:pt x="384" y="525"/>
                    <a:pt x="395" y="527"/>
                    <a:pt x="398" y="522"/>
                  </a:cubicBezTo>
                  <a:close/>
                  <a:moveTo>
                    <a:pt x="392" y="1832"/>
                  </a:moveTo>
                  <a:cubicBezTo>
                    <a:pt x="406" y="1855"/>
                    <a:pt x="369" y="1818"/>
                    <a:pt x="392" y="1832"/>
                  </a:cubicBezTo>
                  <a:close/>
                  <a:moveTo>
                    <a:pt x="384" y="1869"/>
                  </a:moveTo>
                  <a:cubicBezTo>
                    <a:pt x="386" y="1869"/>
                    <a:pt x="378" y="1866"/>
                    <a:pt x="384" y="1869"/>
                  </a:cubicBezTo>
                  <a:close/>
                  <a:moveTo>
                    <a:pt x="381" y="632"/>
                  </a:moveTo>
                  <a:cubicBezTo>
                    <a:pt x="378" y="637"/>
                    <a:pt x="367" y="626"/>
                    <a:pt x="381" y="632"/>
                  </a:cubicBezTo>
                  <a:close/>
                  <a:moveTo>
                    <a:pt x="372" y="2067"/>
                  </a:moveTo>
                  <a:cubicBezTo>
                    <a:pt x="369" y="2089"/>
                    <a:pt x="355" y="2055"/>
                    <a:pt x="372" y="2067"/>
                  </a:cubicBezTo>
                  <a:close/>
                  <a:moveTo>
                    <a:pt x="364" y="2027"/>
                  </a:moveTo>
                  <a:cubicBezTo>
                    <a:pt x="361" y="2024"/>
                    <a:pt x="367" y="2027"/>
                    <a:pt x="364" y="2027"/>
                  </a:cubicBezTo>
                  <a:close/>
                  <a:moveTo>
                    <a:pt x="369" y="2005"/>
                  </a:moveTo>
                  <a:cubicBezTo>
                    <a:pt x="361" y="2002"/>
                    <a:pt x="347" y="2002"/>
                    <a:pt x="350" y="1985"/>
                  </a:cubicBezTo>
                  <a:cubicBezTo>
                    <a:pt x="358" y="1990"/>
                    <a:pt x="369" y="1993"/>
                    <a:pt x="369" y="2005"/>
                  </a:cubicBezTo>
                  <a:close/>
                  <a:moveTo>
                    <a:pt x="347" y="1801"/>
                  </a:moveTo>
                  <a:cubicBezTo>
                    <a:pt x="347" y="1813"/>
                    <a:pt x="330" y="1807"/>
                    <a:pt x="324" y="1807"/>
                  </a:cubicBezTo>
                  <a:cubicBezTo>
                    <a:pt x="327" y="1793"/>
                    <a:pt x="338" y="1807"/>
                    <a:pt x="347" y="1801"/>
                  </a:cubicBezTo>
                  <a:close/>
                  <a:moveTo>
                    <a:pt x="333" y="1773"/>
                  </a:moveTo>
                  <a:cubicBezTo>
                    <a:pt x="333" y="1768"/>
                    <a:pt x="341" y="1776"/>
                    <a:pt x="333" y="1773"/>
                  </a:cubicBezTo>
                  <a:close/>
                  <a:moveTo>
                    <a:pt x="344" y="1957"/>
                  </a:moveTo>
                  <a:cubicBezTo>
                    <a:pt x="347" y="1951"/>
                    <a:pt x="355" y="1948"/>
                    <a:pt x="361" y="1948"/>
                  </a:cubicBezTo>
                  <a:cubicBezTo>
                    <a:pt x="364" y="1957"/>
                    <a:pt x="352" y="1957"/>
                    <a:pt x="344" y="1957"/>
                  </a:cubicBezTo>
                  <a:close/>
                  <a:moveTo>
                    <a:pt x="350" y="2010"/>
                  </a:moveTo>
                  <a:cubicBezTo>
                    <a:pt x="350" y="2030"/>
                    <a:pt x="327" y="1999"/>
                    <a:pt x="350" y="2010"/>
                  </a:cubicBezTo>
                  <a:close/>
                  <a:moveTo>
                    <a:pt x="352" y="1790"/>
                  </a:moveTo>
                  <a:cubicBezTo>
                    <a:pt x="369" y="1790"/>
                    <a:pt x="352" y="1813"/>
                    <a:pt x="352" y="1790"/>
                  </a:cubicBezTo>
                  <a:close/>
                  <a:moveTo>
                    <a:pt x="364" y="1810"/>
                  </a:moveTo>
                  <a:cubicBezTo>
                    <a:pt x="364" y="1832"/>
                    <a:pt x="350" y="1796"/>
                    <a:pt x="364" y="1810"/>
                  </a:cubicBezTo>
                  <a:close/>
                  <a:moveTo>
                    <a:pt x="361" y="570"/>
                  </a:moveTo>
                  <a:cubicBezTo>
                    <a:pt x="367" y="584"/>
                    <a:pt x="338" y="575"/>
                    <a:pt x="361" y="570"/>
                  </a:cubicBezTo>
                  <a:close/>
                  <a:moveTo>
                    <a:pt x="350" y="556"/>
                  </a:moveTo>
                  <a:cubicBezTo>
                    <a:pt x="352" y="553"/>
                    <a:pt x="355" y="544"/>
                    <a:pt x="358" y="547"/>
                  </a:cubicBezTo>
                  <a:cubicBezTo>
                    <a:pt x="358" y="547"/>
                    <a:pt x="358" y="556"/>
                    <a:pt x="350" y="556"/>
                  </a:cubicBezTo>
                  <a:close/>
                  <a:moveTo>
                    <a:pt x="364" y="683"/>
                  </a:moveTo>
                  <a:cubicBezTo>
                    <a:pt x="358" y="683"/>
                    <a:pt x="358" y="677"/>
                    <a:pt x="355" y="677"/>
                  </a:cubicBezTo>
                  <a:cubicBezTo>
                    <a:pt x="355" y="674"/>
                    <a:pt x="367" y="677"/>
                    <a:pt x="364" y="683"/>
                  </a:cubicBezTo>
                  <a:close/>
                  <a:moveTo>
                    <a:pt x="364" y="711"/>
                  </a:moveTo>
                  <a:cubicBezTo>
                    <a:pt x="364" y="719"/>
                    <a:pt x="350" y="719"/>
                    <a:pt x="344" y="722"/>
                  </a:cubicBezTo>
                  <a:cubicBezTo>
                    <a:pt x="344" y="719"/>
                    <a:pt x="344" y="719"/>
                    <a:pt x="341" y="716"/>
                  </a:cubicBezTo>
                  <a:cubicBezTo>
                    <a:pt x="352" y="705"/>
                    <a:pt x="350" y="711"/>
                    <a:pt x="364" y="711"/>
                  </a:cubicBezTo>
                  <a:close/>
                  <a:moveTo>
                    <a:pt x="352" y="793"/>
                  </a:moveTo>
                  <a:cubicBezTo>
                    <a:pt x="344" y="810"/>
                    <a:pt x="355" y="770"/>
                    <a:pt x="352" y="793"/>
                  </a:cubicBezTo>
                  <a:close/>
                  <a:moveTo>
                    <a:pt x="347" y="733"/>
                  </a:moveTo>
                  <a:cubicBezTo>
                    <a:pt x="344" y="731"/>
                    <a:pt x="352" y="733"/>
                    <a:pt x="347" y="733"/>
                  </a:cubicBezTo>
                  <a:close/>
                  <a:moveTo>
                    <a:pt x="347" y="1785"/>
                  </a:moveTo>
                  <a:cubicBezTo>
                    <a:pt x="344" y="1785"/>
                    <a:pt x="341" y="1782"/>
                    <a:pt x="338" y="1782"/>
                  </a:cubicBezTo>
                  <a:cubicBezTo>
                    <a:pt x="344" y="1782"/>
                    <a:pt x="361" y="1785"/>
                    <a:pt x="347" y="1785"/>
                  </a:cubicBezTo>
                  <a:close/>
                  <a:moveTo>
                    <a:pt x="341" y="1832"/>
                  </a:moveTo>
                  <a:cubicBezTo>
                    <a:pt x="341" y="1838"/>
                    <a:pt x="338" y="1844"/>
                    <a:pt x="333" y="1841"/>
                  </a:cubicBezTo>
                  <a:cubicBezTo>
                    <a:pt x="333" y="1838"/>
                    <a:pt x="333" y="1835"/>
                    <a:pt x="330" y="1835"/>
                  </a:cubicBezTo>
                  <a:cubicBezTo>
                    <a:pt x="333" y="1832"/>
                    <a:pt x="338" y="1832"/>
                    <a:pt x="341" y="1832"/>
                  </a:cubicBezTo>
                  <a:close/>
                  <a:moveTo>
                    <a:pt x="355" y="2081"/>
                  </a:moveTo>
                  <a:cubicBezTo>
                    <a:pt x="361" y="2098"/>
                    <a:pt x="344" y="2100"/>
                    <a:pt x="341" y="2112"/>
                  </a:cubicBezTo>
                  <a:cubicBezTo>
                    <a:pt x="330" y="2109"/>
                    <a:pt x="336" y="2100"/>
                    <a:pt x="330" y="2092"/>
                  </a:cubicBezTo>
                  <a:cubicBezTo>
                    <a:pt x="336" y="2081"/>
                    <a:pt x="344" y="2078"/>
                    <a:pt x="355" y="2081"/>
                  </a:cubicBezTo>
                  <a:close/>
                  <a:moveTo>
                    <a:pt x="330" y="2112"/>
                  </a:moveTo>
                  <a:cubicBezTo>
                    <a:pt x="344" y="2112"/>
                    <a:pt x="327" y="2134"/>
                    <a:pt x="330" y="2112"/>
                  </a:cubicBezTo>
                  <a:close/>
                  <a:moveTo>
                    <a:pt x="336" y="2264"/>
                  </a:moveTo>
                  <a:cubicBezTo>
                    <a:pt x="338" y="2261"/>
                    <a:pt x="333" y="2270"/>
                    <a:pt x="336" y="2264"/>
                  </a:cubicBezTo>
                  <a:close/>
                  <a:moveTo>
                    <a:pt x="338" y="2273"/>
                  </a:moveTo>
                  <a:cubicBezTo>
                    <a:pt x="336" y="2270"/>
                    <a:pt x="341" y="2273"/>
                    <a:pt x="338" y="2273"/>
                  </a:cubicBezTo>
                  <a:close/>
                  <a:moveTo>
                    <a:pt x="330" y="2304"/>
                  </a:moveTo>
                  <a:cubicBezTo>
                    <a:pt x="330" y="2298"/>
                    <a:pt x="336" y="2292"/>
                    <a:pt x="344" y="2292"/>
                  </a:cubicBezTo>
                  <a:cubicBezTo>
                    <a:pt x="341" y="2298"/>
                    <a:pt x="338" y="2304"/>
                    <a:pt x="330" y="2304"/>
                  </a:cubicBezTo>
                  <a:close/>
                  <a:moveTo>
                    <a:pt x="341" y="2315"/>
                  </a:moveTo>
                  <a:cubicBezTo>
                    <a:pt x="347" y="2329"/>
                    <a:pt x="319" y="2320"/>
                    <a:pt x="341" y="2315"/>
                  </a:cubicBezTo>
                  <a:close/>
                  <a:moveTo>
                    <a:pt x="341" y="2278"/>
                  </a:moveTo>
                  <a:lnTo>
                    <a:pt x="341" y="2264"/>
                  </a:lnTo>
                  <a:cubicBezTo>
                    <a:pt x="344" y="2267"/>
                    <a:pt x="344" y="2273"/>
                    <a:pt x="344" y="2275"/>
                  </a:cubicBezTo>
                  <a:lnTo>
                    <a:pt x="341" y="2278"/>
                  </a:lnTo>
                  <a:lnTo>
                    <a:pt x="344" y="2278"/>
                  </a:lnTo>
                  <a:cubicBezTo>
                    <a:pt x="344" y="2280"/>
                    <a:pt x="344" y="2280"/>
                    <a:pt x="345" y="2281"/>
                  </a:cubicBezTo>
                  <a:cubicBezTo>
                    <a:pt x="343" y="2280"/>
                    <a:pt x="341" y="2280"/>
                    <a:pt x="341" y="2278"/>
                  </a:cubicBezTo>
                  <a:close/>
                  <a:moveTo>
                    <a:pt x="347" y="2284"/>
                  </a:moveTo>
                  <a:cubicBezTo>
                    <a:pt x="347" y="2283"/>
                    <a:pt x="346" y="2282"/>
                    <a:pt x="345" y="2281"/>
                  </a:cubicBezTo>
                  <a:cubicBezTo>
                    <a:pt x="345" y="2282"/>
                    <a:pt x="346" y="2283"/>
                    <a:pt x="347" y="2284"/>
                  </a:cubicBezTo>
                  <a:close/>
                  <a:moveTo>
                    <a:pt x="336" y="2256"/>
                  </a:moveTo>
                  <a:lnTo>
                    <a:pt x="336" y="2239"/>
                  </a:lnTo>
                  <a:lnTo>
                    <a:pt x="336" y="2236"/>
                  </a:lnTo>
                  <a:cubicBezTo>
                    <a:pt x="336" y="2236"/>
                    <a:pt x="333" y="2233"/>
                    <a:pt x="333" y="2230"/>
                  </a:cubicBezTo>
                  <a:lnTo>
                    <a:pt x="336" y="2230"/>
                  </a:lnTo>
                  <a:cubicBezTo>
                    <a:pt x="336" y="2227"/>
                    <a:pt x="338" y="2225"/>
                    <a:pt x="338" y="2222"/>
                  </a:cubicBezTo>
                  <a:cubicBezTo>
                    <a:pt x="344" y="2222"/>
                    <a:pt x="347" y="2225"/>
                    <a:pt x="347" y="2227"/>
                  </a:cubicBezTo>
                  <a:lnTo>
                    <a:pt x="350" y="2227"/>
                  </a:lnTo>
                  <a:cubicBezTo>
                    <a:pt x="355" y="2247"/>
                    <a:pt x="347" y="2256"/>
                    <a:pt x="336" y="2256"/>
                  </a:cubicBezTo>
                  <a:close/>
                  <a:moveTo>
                    <a:pt x="341" y="2179"/>
                  </a:moveTo>
                  <a:cubicBezTo>
                    <a:pt x="344" y="2177"/>
                    <a:pt x="352" y="2177"/>
                    <a:pt x="355" y="2182"/>
                  </a:cubicBezTo>
                  <a:cubicBezTo>
                    <a:pt x="358" y="2185"/>
                    <a:pt x="358" y="2188"/>
                    <a:pt x="358" y="2188"/>
                  </a:cubicBezTo>
                  <a:cubicBezTo>
                    <a:pt x="350" y="2191"/>
                    <a:pt x="344" y="2188"/>
                    <a:pt x="341" y="2179"/>
                  </a:cubicBezTo>
                  <a:close/>
                  <a:moveTo>
                    <a:pt x="352" y="2126"/>
                  </a:moveTo>
                  <a:cubicBezTo>
                    <a:pt x="367" y="2129"/>
                    <a:pt x="350" y="2154"/>
                    <a:pt x="352" y="2126"/>
                  </a:cubicBezTo>
                  <a:close/>
                  <a:moveTo>
                    <a:pt x="367" y="527"/>
                  </a:moveTo>
                  <a:cubicBezTo>
                    <a:pt x="367" y="547"/>
                    <a:pt x="344" y="516"/>
                    <a:pt x="367" y="527"/>
                  </a:cubicBezTo>
                  <a:close/>
                  <a:moveTo>
                    <a:pt x="355" y="522"/>
                  </a:moveTo>
                  <a:cubicBezTo>
                    <a:pt x="352" y="525"/>
                    <a:pt x="350" y="527"/>
                    <a:pt x="347" y="527"/>
                  </a:cubicBezTo>
                  <a:cubicBezTo>
                    <a:pt x="347" y="525"/>
                    <a:pt x="352" y="522"/>
                    <a:pt x="355" y="522"/>
                  </a:cubicBezTo>
                  <a:close/>
                  <a:moveTo>
                    <a:pt x="350" y="697"/>
                  </a:moveTo>
                  <a:cubicBezTo>
                    <a:pt x="352" y="714"/>
                    <a:pt x="321" y="705"/>
                    <a:pt x="350" y="697"/>
                  </a:cubicBezTo>
                  <a:close/>
                  <a:moveTo>
                    <a:pt x="333" y="1675"/>
                  </a:moveTo>
                  <a:cubicBezTo>
                    <a:pt x="330" y="1686"/>
                    <a:pt x="321" y="1663"/>
                    <a:pt x="333" y="1675"/>
                  </a:cubicBezTo>
                  <a:close/>
                  <a:moveTo>
                    <a:pt x="330" y="652"/>
                  </a:moveTo>
                  <a:cubicBezTo>
                    <a:pt x="333" y="652"/>
                    <a:pt x="324" y="649"/>
                    <a:pt x="330" y="652"/>
                  </a:cubicBezTo>
                  <a:close/>
                  <a:moveTo>
                    <a:pt x="321" y="601"/>
                  </a:moveTo>
                  <a:cubicBezTo>
                    <a:pt x="321" y="595"/>
                    <a:pt x="330" y="604"/>
                    <a:pt x="321" y="601"/>
                  </a:cubicBezTo>
                  <a:close/>
                  <a:moveTo>
                    <a:pt x="321" y="1658"/>
                  </a:moveTo>
                  <a:cubicBezTo>
                    <a:pt x="324" y="1669"/>
                    <a:pt x="307" y="1658"/>
                    <a:pt x="321" y="1658"/>
                  </a:cubicBezTo>
                  <a:close/>
                  <a:moveTo>
                    <a:pt x="305" y="2067"/>
                  </a:moveTo>
                  <a:cubicBezTo>
                    <a:pt x="310" y="2067"/>
                    <a:pt x="313" y="2072"/>
                    <a:pt x="316" y="2072"/>
                  </a:cubicBezTo>
                  <a:cubicBezTo>
                    <a:pt x="318" y="2072"/>
                    <a:pt x="312" y="2074"/>
                    <a:pt x="309" y="2077"/>
                  </a:cubicBezTo>
                  <a:cubicBezTo>
                    <a:pt x="307" y="2079"/>
                    <a:pt x="304" y="2081"/>
                    <a:pt x="302" y="2081"/>
                  </a:cubicBezTo>
                  <a:cubicBezTo>
                    <a:pt x="302" y="2079"/>
                    <a:pt x="303" y="2075"/>
                    <a:pt x="306" y="2073"/>
                  </a:cubicBezTo>
                  <a:cubicBezTo>
                    <a:pt x="305" y="2071"/>
                    <a:pt x="305" y="2068"/>
                    <a:pt x="305" y="2067"/>
                  </a:cubicBezTo>
                  <a:close/>
                  <a:moveTo>
                    <a:pt x="316" y="2188"/>
                  </a:moveTo>
                  <a:cubicBezTo>
                    <a:pt x="319" y="2191"/>
                    <a:pt x="313" y="2188"/>
                    <a:pt x="316" y="2188"/>
                  </a:cubicBezTo>
                  <a:close/>
                  <a:moveTo>
                    <a:pt x="307" y="2129"/>
                  </a:moveTo>
                  <a:cubicBezTo>
                    <a:pt x="288" y="2126"/>
                    <a:pt x="307" y="2115"/>
                    <a:pt x="302" y="2100"/>
                  </a:cubicBezTo>
                  <a:cubicBezTo>
                    <a:pt x="319" y="2106"/>
                    <a:pt x="302" y="2120"/>
                    <a:pt x="307" y="2129"/>
                  </a:cubicBezTo>
                  <a:close/>
                  <a:moveTo>
                    <a:pt x="293" y="2095"/>
                  </a:moveTo>
                  <a:cubicBezTo>
                    <a:pt x="290" y="2100"/>
                    <a:pt x="288" y="2103"/>
                    <a:pt x="282" y="2100"/>
                  </a:cubicBezTo>
                  <a:cubicBezTo>
                    <a:pt x="282" y="2100"/>
                    <a:pt x="279" y="2100"/>
                    <a:pt x="279" y="2098"/>
                  </a:cubicBezTo>
                  <a:lnTo>
                    <a:pt x="276" y="2098"/>
                  </a:lnTo>
                  <a:cubicBezTo>
                    <a:pt x="276" y="2095"/>
                    <a:pt x="273" y="2095"/>
                    <a:pt x="273" y="2095"/>
                  </a:cubicBezTo>
                  <a:cubicBezTo>
                    <a:pt x="273" y="2095"/>
                    <a:pt x="273" y="2092"/>
                    <a:pt x="271" y="2092"/>
                  </a:cubicBezTo>
                  <a:cubicBezTo>
                    <a:pt x="273" y="2086"/>
                    <a:pt x="273" y="2084"/>
                    <a:pt x="276" y="2084"/>
                  </a:cubicBezTo>
                  <a:cubicBezTo>
                    <a:pt x="279" y="2081"/>
                    <a:pt x="282" y="2081"/>
                    <a:pt x="285" y="2078"/>
                  </a:cubicBezTo>
                  <a:lnTo>
                    <a:pt x="285" y="2086"/>
                  </a:lnTo>
                  <a:cubicBezTo>
                    <a:pt x="288" y="2092"/>
                    <a:pt x="290" y="2095"/>
                    <a:pt x="293" y="2095"/>
                  </a:cubicBezTo>
                  <a:close/>
                  <a:moveTo>
                    <a:pt x="290" y="2145"/>
                  </a:moveTo>
                  <a:cubicBezTo>
                    <a:pt x="289" y="2145"/>
                    <a:pt x="289" y="2146"/>
                    <a:pt x="288" y="2146"/>
                  </a:cubicBezTo>
                  <a:cubicBezTo>
                    <a:pt x="288" y="2146"/>
                    <a:pt x="289" y="2146"/>
                    <a:pt x="290" y="2145"/>
                  </a:cubicBezTo>
                  <a:close/>
                  <a:moveTo>
                    <a:pt x="290" y="2143"/>
                  </a:moveTo>
                  <a:cubicBezTo>
                    <a:pt x="290" y="2143"/>
                    <a:pt x="290" y="2144"/>
                    <a:pt x="290" y="2145"/>
                  </a:cubicBezTo>
                  <a:cubicBezTo>
                    <a:pt x="290" y="2144"/>
                    <a:pt x="290" y="2144"/>
                    <a:pt x="290" y="2143"/>
                  </a:cubicBezTo>
                  <a:close/>
                  <a:moveTo>
                    <a:pt x="273" y="2050"/>
                  </a:moveTo>
                  <a:cubicBezTo>
                    <a:pt x="268" y="2058"/>
                    <a:pt x="268" y="2067"/>
                    <a:pt x="262" y="2072"/>
                  </a:cubicBezTo>
                  <a:cubicBezTo>
                    <a:pt x="257" y="2061"/>
                    <a:pt x="248" y="2053"/>
                    <a:pt x="240" y="2047"/>
                  </a:cubicBezTo>
                  <a:cubicBezTo>
                    <a:pt x="242" y="2033"/>
                    <a:pt x="254" y="2019"/>
                    <a:pt x="268" y="2013"/>
                  </a:cubicBezTo>
                  <a:lnTo>
                    <a:pt x="265" y="2013"/>
                  </a:lnTo>
                  <a:cubicBezTo>
                    <a:pt x="262" y="2013"/>
                    <a:pt x="259" y="2016"/>
                    <a:pt x="257" y="2016"/>
                  </a:cubicBezTo>
                  <a:cubicBezTo>
                    <a:pt x="259" y="2013"/>
                    <a:pt x="262" y="2010"/>
                    <a:pt x="268" y="2007"/>
                  </a:cubicBezTo>
                  <a:lnTo>
                    <a:pt x="268" y="2010"/>
                  </a:lnTo>
                  <a:cubicBezTo>
                    <a:pt x="268" y="2010"/>
                    <a:pt x="268" y="2013"/>
                    <a:pt x="271" y="2013"/>
                  </a:cubicBezTo>
                  <a:lnTo>
                    <a:pt x="271" y="2019"/>
                  </a:lnTo>
                  <a:cubicBezTo>
                    <a:pt x="276" y="2016"/>
                    <a:pt x="279" y="2016"/>
                    <a:pt x="285" y="2013"/>
                  </a:cubicBezTo>
                  <a:cubicBezTo>
                    <a:pt x="276" y="2033"/>
                    <a:pt x="305" y="2041"/>
                    <a:pt x="299" y="2058"/>
                  </a:cubicBezTo>
                  <a:cubicBezTo>
                    <a:pt x="290" y="2058"/>
                    <a:pt x="282" y="2055"/>
                    <a:pt x="273" y="2050"/>
                  </a:cubicBezTo>
                  <a:close/>
                  <a:moveTo>
                    <a:pt x="254" y="2103"/>
                  </a:moveTo>
                  <a:lnTo>
                    <a:pt x="254" y="2102"/>
                  </a:lnTo>
                  <a:cubicBezTo>
                    <a:pt x="254" y="2101"/>
                    <a:pt x="255" y="2100"/>
                    <a:pt x="254" y="2103"/>
                  </a:cubicBezTo>
                  <a:cubicBezTo>
                    <a:pt x="252" y="2105"/>
                    <a:pt x="253" y="2103"/>
                    <a:pt x="254" y="2102"/>
                  </a:cubicBezTo>
                  <a:lnTo>
                    <a:pt x="254" y="2103"/>
                  </a:lnTo>
                  <a:close/>
                  <a:moveTo>
                    <a:pt x="228" y="1943"/>
                  </a:moveTo>
                  <a:cubicBezTo>
                    <a:pt x="220" y="1943"/>
                    <a:pt x="217" y="1917"/>
                    <a:pt x="231" y="1920"/>
                  </a:cubicBezTo>
                  <a:cubicBezTo>
                    <a:pt x="231" y="1928"/>
                    <a:pt x="240" y="1926"/>
                    <a:pt x="237" y="1937"/>
                  </a:cubicBezTo>
                  <a:cubicBezTo>
                    <a:pt x="231" y="1934"/>
                    <a:pt x="228" y="1937"/>
                    <a:pt x="228" y="1943"/>
                  </a:cubicBezTo>
                  <a:close/>
                  <a:moveTo>
                    <a:pt x="220" y="2016"/>
                  </a:moveTo>
                  <a:cubicBezTo>
                    <a:pt x="209" y="2010"/>
                    <a:pt x="200" y="1976"/>
                    <a:pt x="223" y="1974"/>
                  </a:cubicBezTo>
                  <a:cubicBezTo>
                    <a:pt x="226" y="1988"/>
                    <a:pt x="211" y="1996"/>
                    <a:pt x="220" y="2016"/>
                  </a:cubicBezTo>
                  <a:close/>
                  <a:moveTo>
                    <a:pt x="211" y="2095"/>
                  </a:moveTo>
                  <a:cubicBezTo>
                    <a:pt x="192" y="2103"/>
                    <a:pt x="203" y="2067"/>
                    <a:pt x="211" y="2095"/>
                  </a:cubicBezTo>
                  <a:close/>
                  <a:moveTo>
                    <a:pt x="189" y="1570"/>
                  </a:moveTo>
                  <a:cubicBezTo>
                    <a:pt x="191" y="1577"/>
                    <a:pt x="186" y="1580"/>
                    <a:pt x="183" y="1580"/>
                  </a:cubicBezTo>
                  <a:lnTo>
                    <a:pt x="183" y="1581"/>
                  </a:lnTo>
                  <a:cubicBezTo>
                    <a:pt x="180" y="1581"/>
                    <a:pt x="178" y="1584"/>
                    <a:pt x="175" y="1584"/>
                  </a:cubicBezTo>
                  <a:lnTo>
                    <a:pt x="178" y="1579"/>
                  </a:lnTo>
                  <a:cubicBezTo>
                    <a:pt x="180" y="1579"/>
                    <a:pt x="178" y="1576"/>
                    <a:pt x="180" y="1579"/>
                  </a:cubicBezTo>
                  <a:cubicBezTo>
                    <a:pt x="178" y="1573"/>
                    <a:pt x="183" y="1573"/>
                    <a:pt x="189" y="1570"/>
                  </a:cubicBezTo>
                  <a:close/>
                  <a:moveTo>
                    <a:pt x="186" y="1799"/>
                  </a:moveTo>
                  <a:cubicBezTo>
                    <a:pt x="200" y="1799"/>
                    <a:pt x="183" y="1821"/>
                    <a:pt x="186" y="1799"/>
                  </a:cubicBezTo>
                  <a:close/>
                  <a:moveTo>
                    <a:pt x="186" y="1708"/>
                  </a:moveTo>
                  <a:cubicBezTo>
                    <a:pt x="200" y="1728"/>
                    <a:pt x="161" y="1691"/>
                    <a:pt x="186" y="1708"/>
                  </a:cubicBezTo>
                  <a:close/>
                  <a:moveTo>
                    <a:pt x="183" y="1847"/>
                  </a:moveTo>
                  <a:cubicBezTo>
                    <a:pt x="186" y="1847"/>
                    <a:pt x="178" y="1844"/>
                    <a:pt x="183" y="1847"/>
                  </a:cubicBezTo>
                  <a:close/>
                  <a:moveTo>
                    <a:pt x="180" y="1911"/>
                  </a:moveTo>
                  <a:cubicBezTo>
                    <a:pt x="178" y="1909"/>
                    <a:pt x="186" y="1911"/>
                    <a:pt x="180" y="1911"/>
                  </a:cubicBezTo>
                  <a:close/>
                  <a:moveTo>
                    <a:pt x="183" y="1694"/>
                  </a:moveTo>
                  <a:cubicBezTo>
                    <a:pt x="180" y="1703"/>
                    <a:pt x="163" y="1691"/>
                    <a:pt x="183" y="1694"/>
                  </a:cubicBezTo>
                  <a:close/>
                  <a:moveTo>
                    <a:pt x="179" y="1680"/>
                  </a:moveTo>
                  <a:cubicBezTo>
                    <a:pt x="175" y="1682"/>
                    <a:pt x="169" y="1682"/>
                    <a:pt x="169" y="1675"/>
                  </a:cubicBezTo>
                  <a:lnTo>
                    <a:pt x="183" y="1675"/>
                  </a:lnTo>
                  <a:cubicBezTo>
                    <a:pt x="198" y="1679"/>
                    <a:pt x="174" y="1689"/>
                    <a:pt x="179" y="1680"/>
                  </a:cubicBezTo>
                  <a:close/>
                  <a:moveTo>
                    <a:pt x="178" y="1607"/>
                  </a:moveTo>
                  <a:cubicBezTo>
                    <a:pt x="172" y="1607"/>
                    <a:pt x="178" y="1601"/>
                    <a:pt x="178" y="1596"/>
                  </a:cubicBezTo>
                  <a:cubicBezTo>
                    <a:pt x="180" y="1598"/>
                    <a:pt x="178" y="1607"/>
                    <a:pt x="178" y="1607"/>
                  </a:cubicBezTo>
                  <a:close/>
                  <a:moveTo>
                    <a:pt x="178" y="1624"/>
                  </a:moveTo>
                  <a:cubicBezTo>
                    <a:pt x="175" y="1627"/>
                    <a:pt x="180" y="1618"/>
                    <a:pt x="178" y="1624"/>
                  </a:cubicBezTo>
                  <a:close/>
                  <a:moveTo>
                    <a:pt x="178" y="1689"/>
                  </a:moveTo>
                  <a:cubicBezTo>
                    <a:pt x="175" y="1691"/>
                    <a:pt x="172" y="1694"/>
                    <a:pt x="169" y="1694"/>
                  </a:cubicBezTo>
                  <a:cubicBezTo>
                    <a:pt x="166" y="1689"/>
                    <a:pt x="175" y="1689"/>
                    <a:pt x="178" y="1689"/>
                  </a:cubicBezTo>
                  <a:close/>
                  <a:moveTo>
                    <a:pt x="172" y="1838"/>
                  </a:moveTo>
                  <a:cubicBezTo>
                    <a:pt x="175" y="1838"/>
                    <a:pt x="175" y="1844"/>
                    <a:pt x="175" y="1847"/>
                  </a:cubicBezTo>
                  <a:lnTo>
                    <a:pt x="169" y="1847"/>
                  </a:lnTo>
                  <a:cubicBezTo>
                    <a:pt x="166" y="1844"/>
                    <a:pt x="172" y="1844"/>
                    <a:pt x="172" y="1838"/>
                  </a:cubicBezTo>
                  <a:close/>
                  <a:moveTo>
                    <a:pt x="172" y="1700"/>
                  </a:moveTo>
                  <a:cubicBezTo>
                    <a:pt x="175" y="1700"/>
                    <a:pt x="178" y="1708"/>
                    <a:pt x="180" y="1711"/>
                  </a:cubicBezTo>
                  <a:cubicBezTo>
                    <a:pt x="169" y="1717"/>
                    <a:pt x="169" y="1703"/>
                    <a:pt x="172" y="1700"/>
                  </a:cubicBezTo>
                  <a:close/>
                  <a:moveTo>
                    <a:pt x="183" y="1717"/>
                  </a:moveTo>
                  <a:cubicBezTo>
                    <a:pt x="178" y="1734"/>
                    <a:pt x="175" y="1706"/>
                    <a:pt x="183" y="1717"/>
                  </a:cubicBezTo>
                  <a:close/>
                  <a:moveTo>
                    <a:pt x="186" y="2060"/>
                  </a:moveTo>
                  <a:cubicBezTo>
                    <a:pt x="189" y="2059"/>
                    <a:pt x="192" y="2058"/>
                    <a:pt x="194" y="2058"/>
                  </a:cubicBezTo>
                  <a:lnTo>
                    <a:pt x="192" y="2058"/>
                  </a:lnTo>
                  <a:cubicBezTo>
                    <a:pt x="197" y="2053"/>
                    <a:pt x="200" y="2055"/>
                    <a:pt x="197" y="2061"/>
                  </a:cubicBezTo>
                  <a:cubicBezTo>
                    <a:pt x="197" y="2067"/>
                    <a:pt x="197" y="2069"/>
                    <a:pt x="194" y="2072"/>
                  </a:cubicBezTo>
                  <a:cubicBezTo>
                    <a:pt x="194" y="2075"/>
                    <a:pt x="194" y="2081"/>
                    <a:pt x="197" y="2084"/>
                  </a:cubicBezTo>
                  <a:cubicBezTo>
                    <a:pt x="192" y="2084"/>
                    <a:pt x="189" y="2084"/>
                    <a:pt x="189" y="2089"/>
                  </a:cubicBezTo>
                  <a:cubicBezTo>
                    <a:pt x="183" y="2086"/>
                    <a:pt x="186" y="2084"/>
                    <a:pt x="189" y="2078"/>
                  </a:cubicBezTo>
                  <a:cubicBezTo>
                    <a:pt x="180" y="2081"/>
                    <a:pt x="172" y="2081"/>
                    <a:pt x="163" y="2081"/>
                  </a:cubicBezTo>
                  <a:cubicBezTo>
                    <a:pt x="166" y="2078"/>
                    <a:pt x="166" y="2072"/>
                    <a:pt x="169" y="2069"/>
                  </a:cubicBezTo>
                  <a:lnTo>
                    <a:pt x="166" y="2069"/>
                  </a:lnTo>
                  <a:lnTo>
                    <a:pt x="166" y="2064"/>
                  </a:lnTo>
                  <a:cubicBezTo>
                    <a:pt x="172" y="2061"/>
                    <a:pt x="175" y="2061"/>
                    <a:pt x="175" y="2064"/>
                  </a:cubicBezTo>
                  <a:cubicBezTo>
                    <a:pt x="177" y="2062"/>
                    <a:pt x="181" y="2061"/>
                    <a:pt x="184" y="2060"/>
                  </a:cubicBezTo>
                  <a:cubicBezTo>
                    <a:pt x="162" y="2046"/>
                    <a:pt x="183" y="2020"/>
                    <a:pt x="186" y="2060"/>
                  </a:cubicBezTo>
                  <a:close/>
                  <a:moveTo>
                    <a:pt x="179" y="1959"/>
                  </a:moveTo>
                  <a:lnTo>
                    <a:pt x="179" y="1959"/>
                  </a:lnTo>
                  <a:cubicBezTo>
                    <a:pt x="179" y="1955"/>
                    <a:pt x="179" y="1952"/>
                    <a:pt x="178" y="1951"/>
                  </a:cubicBezTo>
                  <a:cubicBezTo>
                    <a:pt x="186" y="1948"/>
                    <a:pt x="189" y="1957"/>
                    <a:pt x="192" y="1965"/>
                  </a:cubicBezTo>
                  <a:cubicBezTo>
                    <a:pt x="189" y="1965"/>
                    <a:pt x="186" y="1968"/>
                    <a:pt x="186" y="1971"/>
                  </a:cubicBezTo>
                  <a:cubicBezTo>
                    <a:pt x="181" y="1971"/>
                    <a:pt x="180" y="1965"/>
                    <a:pt x="179" y="1960"/>
                  </a:cubicBezTo>
                  <a:cubicBezTo>
                    <a:pt x="179" y="1960"/>
                    <a:pt x="179" y="1960"/>
                    <a:pt x="179" y="1959"/>
                  </a:cubicBezTo>
                  <a:close/>
                  <a:moveTo>
                    <a:pt x="197" y="1990"/>
                  </a:moveTo>
                  <a:cubicBezTo>
                    <a:pt x="192" y="1999"/>
                    <a:pt x="189" y="1982"/>
                    <a:pt x="197" y="1990"/>
                  </a:cubicBezTo>
                  <a:close/>
                  <a:moveTo>
                    <a:pt x="209" y="1770"/>
                  </a:moveTo>
                  <a:cubicBezTo>
                    <a:pt x="200" y="1773"/>
                    <a:pt x="197" y="1765"/>
                    <a:pt x="194" y="1759"/>
                  </a:cubicBezTo>
                  <a:cubicBezTo>
                    <a:pt x="197" y="1759"/>
                    <a:pt x="206" y="1762"/>
                    <a:pt x="209" y="1770"/>
                  </a:cubicBezTo>
                  <a:close/>
                  <a:moveTo>
                    <a:pt x="194" y="1737"/>
                  </a:moveTo>
                  <a:cubicBezTo>
                    <a:pt x="194" y="1731"/>
                    <a:pt x="200" y="1731"/>
                    <a:pt x="200" y="1728"/>
                  </a:cubicBezTo>
                  <a:cubicBezTo>
                    <a:pt x="206" y="1731"/>
                    <a:pt x="200" y="1739"/>
                    <a:pt x="194" y="1737"/>
                  </a:cubicBezTo>
                  <a:close/>
                  <a:moveTo>
                    <a:pt x="217" y="1768"/>
                  </a:moveTo>
                  <a:cubicBezTo>
                    <a:pt x="214" y="1759"/>
                    <a:pt x="211" y="1751"/>
                    <a:pt x="211" y="1742"/>
                  </a:cubicBezTo>
                  <a:lnTo>
                    <a:pt x="206" y="1742"/>
                  </a:lnTo>
                  <a:cubicBezTo>
                    <a:pt x="211" y="1734"/>
                    <a:pt x="240" y="1762"/>
                    <a:pt x="217" y="1768"/>
                  </a:cubicBezTo>
                  <a:close/>
                  <a:moveTo>
                    <a:pt x="206" y="1739"/>
                  </a:moveTo>
                  <a:cubicBezTo>
                    <a:pt x="206" y="1737"/>
                    <a:pt x="209" y="1739"/>
                    <a:pt x="206" y="1739"/>
                  </a:cubicBezTo>
                  <a:close/>
                  <a:moveTo>
                    <a:pt x="211" y="1731"/>
                  </a:moveTo>
                  <a:lnTo>
                    <a:pt x="211" y="1732"/>
                  </a:lnTo>
                  <a:cubicBezTo>
                    <a:pt x="211" y="1732"/>
                    <a:pt x="210" y="1731"/>
                    <a:pt x="211" y="1731"/>
                  </a:cubicBezTo>
                  <a:cubicBezTo>
                    <a:pt x="213" y="1732"/>
                    <a:pt x="212" y="1732"/>
                    <a:pt x="211" y="1732"/>
                  </a:cubicBezTo>
                  <a:lnTo>
                    <a:pt x="211" y="1731"/>
                  </a:lnTo>
                  <a:close/>
                  <a:moveTo>
                    <a:pt x="228" y="1694"/>
                  </a:moveTo>
                  <a:lnTo>
                    <a:pt x="228" y="1706"/>
                  </a:lnTo>
                  <a:lnTo>
                    <a:pt x="217" y="1706"/>
                  </a:lnTo>
                  <a:cubicBezTo>
                    <a:pt x="217" y="1703"/>
                    <a:pt x="214" y="1697"/>
                    <a:pt x="214" y="1694"/>
                  </a:cubicBezTo>
                  <a:cubicBezTo>
                    <a:pt x="217" y="1697"/>
                    <a:pt x="223" y="1694"/>
                    <a:pt x="228" y="1694"/>
                  </a:cubicBezTo>
                  <a:close/>
                  <a:moveTo>
                    <a:pt x="248" y="1598"/>
                  </a:moveTo>
                  <a:cubicBezTo>
                    <a:pt x="245" y="1598"/>
                    <a:pt x="240" y="1601"/>
                    <a:pt x="237" y="1601"/>
                  </a:cubicBezTo>
                  <a:cubicBezTo>
                    <a:pt x="237" y="1596"/>
                    <a:pt x="234" y="1593"/>
                    <a:pt x="234" y="1587"/>
                  </a:cubicBezTo>
                  <a:cubicBezTo>
                    <a:pt x="240" y="1587"/>
                    <a:pt x="251" y="1587"/>
                    <a:pt x="248" y="1598"/>
                  </a:cubicBezTo>
                  <a:close/>
                  <a:moveTo>
                    <a:pt x="240" y="787"/>
                  </a:moveTo>
                  <a:cubicBezTo>
                    <a:pt x="240" y="781"/>
                    <a:pt x="251" y="790"/>
                    <a:pt x="240" y="787"/>
                  </a:cubicBezTo>
                  <a:close/>
                  <a:moveTo>
                    <a:pt x="259" y="1686"/>
                  </a:moveTo>
                  <a:cubicBezTo>
                    <a:pt x="262" y="1700"/>
                    <a:pt x="234" y="1691"/>
                    <a:pt x="259" y="1686"/>
                  </a:cubicBezTo>
                  <a:close/>
                  <a:moveTo>
                    <a:pt x="271" y="1694"/>
                  </a:moveTo>
                  <a:cubicBezTo>
                    <a:pt x="293" y="1703"/>
                    <a:pt x="242" y="1711"/>
                    <a:pt x="271" y="1694"/>
                  </a:cubicBezTo>
                  <a:close/>
                  <a:moveTo>
                    <a:pt x="262" y="1635"/>
                  </a:moveTo>
                  <a:cubicBezTo>
                    <a:pt x="265" y="1629"/>
                    <a:pt x="273" y="1638"/>
                    <a:pt x="262" y="1635"/>
                  </a:cubicBezTo>
                  <a:close/>
                  <a:moveTo>
                    <a:pt x="285" y="1646"/>
                  </a:moveTo>
                  <a:cubicBezTo>
                    <a:pt x="296" y="1641"/>
                    <a:pt x="302" y="1652"/>
                    <a:pt x="310" y="1652"/>
                  </a:cubicBezTo>
                  <a:cubicBezTo>
                    <a:pt x="302" y="1663"/>
                    <a:pt x="290" y="1672"/>
                    <a:pt x="296" y="1691"/>
                  </a:cubicBezTo>
                  <a:cubicBezTo>
                    <a:pt x="282" y="1694"/>
                    <a:pt x="290" y="1675"/>
                    <a:pt x="276" y="1689"/>
                  </a:cubicBezTo>
                  <a:cubicBezTo>
                    <a:pt x="268" y="1666"/>
                    <a:pt x="293" y="1666"/>
                    <a:pt x="285" y="1646"/>
                  </a:cubicBezTo>
                  <a:close/>
                  <a:moveTo>
                    <a:pt x="302" y="779"/>
                  </a:moveTo>
                  <a:cubicBezTo>
                    <a:pt x="307" y="793"/>
                    <a:pt x="279" y="784"/>
                    <a:pt x="302" y="779"/>
                  </a:cubicBezTo>
                  <a:close/>
                  <a:moveTo>
                    <a:pt x="302" y="1782"/>
                  </a:moveTo>
                  <a:cubicBezTo>
                    <a:pt x="302" y="1776"/>
                    <a:pt x="310" y="1785"/>
                    <a:pt x="302" y="1782"/>
                  </a:cubicBezTo>
                  <a:close/>
                  <a:moveTo>
                    <a:pt x="307" y="1816"/>
                  </a:moveTo>
                  <a:cubicBezTo>
                    <a:pt x="305" y="1816"/>
                    <a:pt x="299" y="1813"/>
                    <a:pt x="299" y="1813"/>
                  </a:cubicBezTo>
                  <a:cubicBezTo>
                    <a:pt x="296" y="1810"/>
                    <a:pt x="310" y="1810"/>
                    <a:pt x="307" y="1816"/>
                  </a:cubicBezTo>
                  <a:close/>
                  <a:moveTo>
                    <a:pt x="299" y="1835"/>
                  </a:moveTo>
                  <a:cubicBezTo>
                    <a:pt x="293" y="1835"/>
                    <a:pt x="290" y="1827"/>
                    <a:pt x="285" y="1827"/>
                  </a:cubicBezTo>
                  <a:cubicBezTo>
                    <a:pt x="296" y="1821"/>
                    <a:pt x="299" y="1827"/>
                    <a:pt x="299" y="1835"/>
                  </a:cubicBezTo>
                  <a:close/>
                  <a:moveTo>
                    <a:pt x="288" y="1804"/>
                  </a:moveTo>
                  <a:cubicBezTo>
                    <a:pt x="285" y="1807"/>
                    <a:pt x="288" y="1801"/>
                    <a:pt x="288" y="1804"/>
                  </a:cubicBezTo>
                  <a:close/>
                  <a:moveTo>
                    <a:pt x="280" y="1877"/>
                  </a:moveTo>
                  <a:cubicBezTo>
                    <a:pt x="279" y="1877"/>
                    <a:pt x="277" y="1877"/>
                    <a:pt x="276" y="1878"/>
                  </a:cubicBezTo>
                  <a:cubicBezTo>
                    <a:pt x="273" y="1872"/>
                    <a:pt x="279" y="1869"/>
                    <a:pt x="285" y="1866"/>
                  </a:cubicBezTo>
                  <a:lnTo>
                    <a:pt x="282" y="1864"/>
                  </a:lnTo>
                  <a:cubicBezTo>
                    <a:pt x="285" y="1864"/>
                    <a:pt x="288" y="1864"/>
                    <a:pt x="285" y="1858"/>
                  </a:cubicBezTo>
                  <a:cubicBezTo>
                    <a:pt x="296" y="1861"/>
                    <a:pt x="310" y="1864"/>
                    <a:pt x="324" y="1866"/>
                  </a:cubicBezTo>
                  <a:cubicBezTo>
                    <a:pt x="317" y="1878"/>
                    <a:pt x="300" y="1874"/>
                    <a:pt x="284" y="1876"/>
                  </a:cubicBezTo>
                  <a:cubicBezTo>
                    <a:pt x="294" y="1881"/>
                    <a:pt x="266" y="1890"/>
                    <a:pt x="280" y="1877"/>
                  </a:cubicBezTo>
                  <a:close/>
                  <a:moveTo>
                    <a:pt x="282" y="1962"/>
                  </a:moveTo>
                  <a:cubicBezTo>
                    <a:pt x="273" y="1974"/>
                    <a:pt x="288" y="1948"/>
                    <a:pt x="282" y="1962"/>
                  </a:cubicBezTo>
                  <a:close/>
                  <a:moveTo>
                    <a:pt x="279" y="1796"/>
                  </a:moveTo>
                  <a:cubicBezTo>
                    <a:pt x="276" y="1799"/>
                    <a:pt x="273" y="1801"/>
                    <a:pt x="271" y="1801"/>
                  </a:cubicBezTo>
                  <a:cubicBezTo>
                    <a:pt x="271" y="1799"/>
                    <a:pt x="273" y="1799"/>
                    <a:pt x="279" y="1796"/>
                  </a:cubicBezTo>
                  <a:close/>
                  <a:moveTo>
                    <a:pt x="273" y="1770"/>
                  </a:moveTo>
                  <a:lnTo>
                    <a:pt x="272" y="1770"/>
                  </a:lnTo>
                  <a:cubicBezTo>
                    <a:pt x="273" y="1770"/>
                    <a:pt x="273" y="1769"/>
                    <a:pt x="273" y="1770"/>
                  </a:cubicBezTo>
                  <a:cubicBezTo>
                    <a:pt x="272" y="1772"/>
                    <a:pt x="272" y="1771"/>
                    <a:pt x="272" y="1770"/>
                  </a:cubicBezTo>
                  <a:lnTo>
                    <a:pt x="273" y="1770"/>
                  </a:lnTo>
                  <a:close/>
                  <a:moveTo>
                    <a:pt x="279" y="1739"/>
                  </a:moveTo>
                  <a:cubicBezTo>
                    <a:pt x="282" y="1742"/>
                    <a:pt x="273" y="1739"/>
                    <a:pt x="279" y="1739"/>
                  </a:cubicBezTo>
                  <a:close/>
                  <a:moveTo>
                    <a:pt x="276" y="1722"/>
                  </a:moveTo>
                  <a:cubicBezTo>
                    <a:pt x="296" y="1742"/>
                    <a:pt x="262" y="1745"/>
                    <a:pt x="276" y="1722"/>
                  </a:cubicBezTo>
                  <a:close/>
                  <a:moveTo>
                    <a:pt x="282" y="1717"/>
                  </a:moveTo>
                  <a:cubicBezTo>
                    <a:pt x="276" y="1731"/>
                    <a:pt x="273" y="1706"/>
                    <a:pt x="282" y="1717"/>
                  </a:cubicBezTo>
                  <a:close/>
                  <a:moveTo>
                    <a:pt x="271" y="1852"/>
                  </a:moveTo>
                  <a:cubicBezTo>
                    <a:pt x="276" y="1866"/>
                    <a:pt x="248" y="1858"/>
                    <a:pt x="271" y="1852"/>
                  </a:cubicBezTo>
                  <a:close/>
                  <a:moveTo>
                    <a:pt x="254" y="1773"/>
                  </a:moveTo>
                  <a:cubicBezTo>
                    <a:pt x="257" y="1782"/>
                    <a:pt x="248" y="1793"/>
                    <a:pt x="242" y="1787"/>
                  </a:cubicBezTo>
                  <a:cubicBezTo>
                    <a:pt x="237" y="1782"/>
                    <a:pt x="245" y="1776"/>
                    <a:pt x="254" y="1773"/>
                  </a:cubicBezTo>
                  <a:close/>
                  <a:moveTo>
                    <a:pt x="251" y="1754"/>
                  </a:moveTo>
                  <a:cubicBezTo>
                    <a:pt x="271" y="1754"/>
                    <a:pt x="242" y="1782"/>
                    <a:pt x="251" y="1754"/>
                  </a:cubicBezTo>
                  <a:close/>
                  <a:moveTo>
                    <a:pt x="254" y="1807"/>
                  </a:moveTo>
                  <a:cubicBezTo>
                    <a:pt x="242" y="1816"/>
                    <a:pt x="248" y="1793"/>
                    <a:pt x="237" y="1801"/>
                  </a:cubicBezTo>
                  <a:cubicBezTo>
                    <a:pt x="240" y="1790"/>
                    <a:pt x="257" y="1796"/>
                    <a:pt x="254" y="1807"/>
                  </a:cubicBezTo>
                  <a:close/>
                  <a:moveTo>
                    <a:pt x="240" y="1838"/>
                  </a:moveTo>
                  <a:cubicBezTo>
                    <a:pt x="240" y="1832"/>
                    <a:pt x="251" y="1832"/>
                    <a:pt x="257" y="1830"/>
                  </a:cubicBezTo>
                  <a:cubicBezTo>
                    <a:pt x="257" y="1832"/>
                    <a:pt x="259" y="1835"/>
                    <a:pt x="257" y="1838"/>
                  </a:cubicBezTo>
                  <a:lnTo>
                    <a:pt x="259" y="1841"/>
                  </a:lnTo>
                  <a:cubicBezTo>
                    <a:pt x="245" y="1858"/>
                    <a:pt x="240" y="1847"/>
                    <a:pt x="240" y="1838"/>
                  </a:cubicBezTo>
                  <a:close/>
                  <a:moveTo>
                    <a:pt x="251" y="1878"/>
                  </a:moveTo>
                  <a:cubicBezTo>
                    <a:pt x="257" y="1892"/>
                    <a:pt x="228" y="1883"/>
                    <a:pt x="251" y="1878"/>
                  </a:cubicBezTo>
                  <a:close/>
                  <a:moveTo>
                    <a:pt x="259" y="1945"/>
                  </a:moveTo>
                  <a:cubicBezTo>
                    <a:pt x="273" y="1968"/>
                    <a:pt x="234" y="1931"/>
                    <a:pt x="259" y="1945"/>
                  </a:cubicBezTo>
                  <a:close/>
                  <a:moveTo>
                    <a:pt x="257" y="1954"/>
                  </a:moveTo>
                  <a:cubicBezTo>
                    <a:pt x="273" y="1957"/>
                    <a:pt x="254" y="1982"/>
                    <a:pt x="257" y="1954"/>
                  </a:cubicBezTo>
                  <a:close/>
                  <a:moveTo>
                    <a:pt x="257" y="1799"/>
                  </a:moveTo>
                  <a:cubicBezTo>
                    <a:pt x="271" y="1799"/>
                    <a:pt x="254" y="1824"/>
                    <a:pt x="257" y="1799"/>
                  </a:cubicBezTo>
                  <a:close/>
                  <a:moveTo>
                    <a:pt x="257" y="1714"/>
                  </a:moveTo>
                  <a:cubicBezTo>
                    <a:pt x="251" y="1717"/>
                    <a:pt x="251" y="1700"/>
                    <a:pt x="259" y="1700"/>
                  </a:cubicBezTo>
                  <a:cubicBezTo>
                    <a:pt x="262" y="1708"/>
                    <a:pt x="257" y="1708"/>
                    <a:pt x="257" y="1714"/>
                  </a:cubicBezTo>
                  <a:close/>
                  <a:moveTo>
                    <a:pt x="251" y="1768"/>
                  </a:moveTo>
                  <a:cubicBezTo>
                    <a:pt x="245" y="1770"/>
                    <a:pt x="242" y="1768"/>
                    <a:pt x="234" y="1770"/>
                  </a:cubicBezTo>
                  <a:cubicBezTo>
                    <a:pt x="234" y="1759"/>
                    <a:pt x="248" y="1768"/>
                    <a:pt x="251" y="1768"/>
                  </a:cubicBezTo>
                  <a:close/>
                  <a:moveTo>
                    <a:pt x="240" y="1683"/>
                  </a:moveTo>
                  <a:cubicBezTo>
                    <a:pt x="234" y="1686"/>
                    <a:pt x="240" y="1680"/>
                    <a:pt x="240" y="1683"/>
                  </a:cubicBezTo>
                  <a:close/>
                  <a:moveTo>
                    <a:pt x="237" y="1731"/>
                  </a:moveTo>
                  <a:cubicBezTo>
                    <a:pt x="237" y="1728"/>
                    <a:pt x="242" y="1725"/>
                    <a:pt x="248" y="1725"/>
                  </a:cubicBezTo>
                  <a:cubicBezTo>
                    <a:pt x="251" y="1731"/>
                    <a:pt x="240" y="1728"/>
                    <a:pt x="237" y="1731"/>
                  </a:cubicBezTo>
                  <a:close/>
                  <a:moveTo>
                    <a:pt x="240" y="770"/>
                  </a:moveTo>
                  <a:cubicBezTo>
                    <a:pt x="237" y="770"/>
                    <a:pt x="237" y="767"/>
                    <a:pt x="234" y="767"/>
                  </a:cubicBezTo>
                  <a:cubicBezTo>
                    <a:pt x="237" y="767"/>
                    <a:pt x="242" y="770"/>
                    <a:pt x="240" y="770"/>
                  </a:cubicBezTo>
                  <a:close/>
                  <a:moveTo>
                    <a:pt x="240" y="793"/>
                  </a:moveTo>
                  <a:cubicBezTo>
                    <a:pt x="234" y="801"/>
                    <a:pt x="226" y="790"/>
                    <a:pt x="240" y="793"/>
                  </a:cubicBezTo>
                  <a:close/>
                  <a:moveTo>
                    <a:pt x="231" y="1536"/>
                  </a:moveTo>
                  <a:cubicBezTo>
                    <a:pt x="231" y="1536"/>
                    <a:pt x="234" y="1539"/>
                    <a:pt x="231" y="1542"/>
                  </a:cubicBezTo>
                  <a:lnTo>
                    <a:pt x="228" y="1542"/>
                  </a:lnTo>
                  <a:cubicBezTo>
                    <a:pt x="231" y="1542"/>
                    <a:pt x="231" y="1539"/>
                    <a:pt x="231" y="1536"/>
                  </a:cubicBezTo>
                  <a:close/>
                  <a:moveTo>
                    <a:pt x="231" y="1598"/>
                  </a:moveTo>
                  <a:cubicBezTo>
                    <a:pt x="237" y="1601"/>
                    <a:pt x="231" y="1607"/>
                    <a:pt x="231" y="1610"/>
                  </a:cubicBezTo>
                  <a:cubicBezTo>
                    <a:pt x="223" y="1610"/>
                    <a:pt x="231" y="1601"/>
                    <a:pt x="231" y="1598"/>
                  </a:cubicBezTo>
                  <a:close/>
                  <a:moveTo>
                    <a:pt x="226" y="1748"/>
                  </a:moveTo>
                  <a:cubicBezTo>
                    <a:pt x="226" y="1745"/>
                    <a:pt x="226" y="1742"/>
                    <a:pt x="223" y="1739"/>
                  </a:cubicBezTo>
                  <a:cubicBezTo>
                    <a:pt x="226" y="1739"/>
                    <a:pt x="228" y="1739"/>
                    <a:pt x="231" y="1737"/>
                  </a:cubicBezTo>
                  <a:cubicBezTo>
                    <a:pt x="231" y="1739"/>
                    <a:pt x="234" y="1742"/>
                    <a:pt x="234" y="1745"/>
                  </a:cubicBezTo>
                  <a:cubicBezTo>
                    <a:pt x="231" y="1748"/>
                    <a:pt x="226" y="1748"/>
                    <a:pt x="226" y="1748"/>
                  </a:cubicBezTo>
                  <a:close/>
                  <a:moveTo>
                    <a:pt x="231" y="1776"/>
                  </a:moveTo>
                  <a:lnTo>
                    <a:pt x="231" y="1782"/>
                  </a:lnTo>
                  <a:lnTo>
                    <a:pt x="226" y="1782"/>
                  </a:lnTo>
                  <a:lnTo>
                    <a:pt x="226" y="1776"/>
                  </a:lnTo>
                  <a:lnTo>
                    <a:pt x="231" y="1776"/>
                  </a:lnTo>
                  <a:close/>
                  <a:moveTo>
                    <a:pt x="223" y="1711"/>
                  </a:moveTo>
                  <a:cubicBezTo>
                    <a:pt x="223" y="1708"/>
                    <a:pt x="220" y="1714"/>
                    <a:pt x="223" y="1711"/>
                  </a:cubicBezTo>
                  <a:close/>
                  <a:moveTo>
                    <a:pt x="220" y="1821"/>
                  </a:moveTo>
                  <a:cubicBezTo>
                    <a:pt x="217" y="1827"/>
                    <a:pt x="214" y="1824"/>
                    <a:pt x="209" y="1824"/>
                  </a:cubicBezTo>
                  <a:cubicBezTo>
                    <a:pt x="209" y="1818"/>
                    <a:pt x="217" y="1818"/>
                    <a:pt x="220" y="1821"/>
                  </a:cubicBezTo>
                  <a:close/>
                  <a:moveTo>
                    <a:pt x="214" y="1818"/>
                  </a:moveTo>
                  <a:cubicBezTo>
                    <a:pt x="214" y="1818"/>
                    <a:pt x="211" y="1816"/>
                    <a:pt x="211" y="1813"/>
                  </a:cubicBezTo>
                  <a:lnTo>
                    <a:pt x="211" y="1810"/>
                  </a:lnTo>
                  <a:lnTo>
                    <a:pt x="214" y="1810"/>
                  </a:lnTo>
                  <a:lnTo>
                    <a:pt x="211" y="1813"/>
                  </a:lnTo>
                  <a:cubicBezTo>
                    <a:pt x="211" y="1813"/>
                    <a:pt x="214" y="1816"/>
                    <a:pt x="214" y="1818"/>
                  </a:cubicBezTo>
                  <a:close/>
                  <a:moveTo>
                    <a:pt x="203" y="1847"/>
                  </a:moveTo>
                  <a:cubicBezTo>
                    <a:pt x="203" y="1844"/>
                    <a:pt x="203" y="1841"/>
                    <a:pt x="200" y="1838"/>
                  </a:cubicBezTo>
                  <a:cubicBezTo>
                    <a:pt x="203" y="1838"/>
                    <a:pt x="206" y="1838"/>
                    <a:pt x="209" y="1835"/>
                  </a:cubicBezTo>
                  <a:cubicBezTo>
                    <a:pt x="209" y="1838"/>
                    <a:pt x="211" y="1841"/>
                    <a:pt x="211" y="1844"/>
                  </a:cubicBezTo>
                  <a:cubicBezTo>
                    <a:pt x="211" y="1847"/>
                    <a:pt x="206" y="1847"/>
                    <a:pt x="203" y="1847"/>
                  </a:cubicBezTo>
                  <a:close/>
                  <a:moveTo>
                    <a:pt x="200" y="1928"/>
                  </a:moveTo>
                  <a:cubicBezTo>
                    <a:pt x="214" y="1926"/>
                    <a:pt x="197" y="1951"/>
                    <a:pt x="200" y="1928"/>
                  </a:cubicBezTo>
                  <a:close/>
                  <a:moveTo>
                    <a:pt x="211" y="1816"/>
                  </a:moveTo>
                  <a:cubicBezTo>
                    <a:pt x="192" y="1841"/>
                    <a:pt x="189" y="1793"/>
                    <a:pt x="211" y="1816"/>
                  </a:cubicBezTo>
                  <a:close/>
                  <a:moveTo>
                    <a:pt x="206" y="1903"/>
                  </a:moveTo>
                  <a:cubicBezTo>
                    <a:pt x="223" y="1906"/>
                    <a:pt x="203" y="1931"/>
                    <a:pt x="206" y="1903"/>
                  </a:cubicBezTo>
                  <a:close/>
                  <a:moveTo>
                    <a:pt x="192" y="2019"/>
                  </a:moveTo>
                  <a:cubicBezTo>
                    <a:pt x="206" y="2016"/>
                    <a:pt x="189" y="2041"/>
                    <a:pt x="192" y="2019"/>
                  </a:cubicBezTo>
                  <a:close/>
                  <a:moveTo>
                    <a:pt x="203" y="1940"/>
                  </a:moveTo>
                  <a:cubicBezTo>
                    <a:pt x="206" y="1940"/>
                    <a:pt x="209" y="1948"/>
                    <a:pt x="214" y="1945"/>
                  </a:cubicBezTo>
                  <a:cubicBezTo>
                    <a:pt x="217" y="1957"/>
                    <a:pt x="203" y="1959"/>
                    <a:pt x="206" y="1968"/>
                  </a:cubicBezTo>
                  <a:cubicBezTo>
                    <a:pt x="189" y="1974"/>
                    <a:pt x="192" y="1943"/>
                    <a:pt x="203" y="1940"/>
                  </a:cubicBezTo>
                  <a:close/>
                  <a:moveTo>
                    <a:pt x="228" y="2072"/>
                  </a:moveTo>
                  <a:cubicBezTo>
                    <a:pt x="231" y="2075"/>
                    <a:pt x="231" y="2081"/>
                    <a:pt x="234" y="2084"/>
                  </a:cubicBezTo>
                  <a:cubicBezTo>
                    <a:pt x="231" y="2086"/>
                    <a:pt x="228" y="2086"/>
                    <a:pt x="226" y="2089"/>
                  </a:cubicBezTo>
                  <a:cubicBezTo>
                    <a:pt x="223" y="2084"/>
                    <a:pt x="220" y="2081"/>
                    <a:pt x="217" y="2078"/>
                  </a:cubicBezTo>
                  <a:cubicBezTo>
                    <a:pt x="220" y="2075"/>
                    <a:pt x="226" y="2072"/>
                    <a:pt x="228" y="2072"/>
                  </a:cubicBezTo>
                  <a:close/>
                  <a:moveTo>
                    <a:pt x="226" y="2030"/>
                  </a:moveTo>
                  <a:cubicBezTo>
                    <a:pt x="220" y="2033"/>
                    <a:pt x="228" y="2024"/>
                    <a:pt x="226" y="2030"/>
                  </a:cubicBezTo>
                  <a:close/>
                  <a:moveTo>
                    <a:pt x="228" y="1897"/>
                  </a:moveTo>
                  <a:cubicBezTo>
                    <a:pt x="245" y="1897"/>
                    <a:pt x="226" y="1920"/>
                    <a:pt x="228" y="1897"/>
                  </a:cubicBezTo>
                  <a:close/>
                  <a:moveTo>
                    <a:pt x="237" y="1804"/>
                  </a:moveTo>
                  <a:cubicBezTo>
                    <a:pt x="228" y="1813"/>
                    <a:pt x="217" y="1804"/>
                    <a:pt x="211" y="1799"/>
                  </a:cubicBezTo>
                  <a:lnTo>
                    <a:pt x="237" y="1790"/>
                  </a:lnTo>
                  <a:cubicBezTo>
                    <a:pt x="231" y="1793"/>
                    <a:pt x="231" y="1799"/>
                    <a:pt x="237" y="1804"/>
                  </a:cubicBezTo>
                  <a:close/>
                  <a:moveTo>
                    <a:pt x="240" y="1974"/>
                  </a:moveTo>
                  <a:cubicBezTo>
                    <a:pt x="245" y="1974"/>
                    <a:pt x="240" y="1982"/>
                    <a:pt x="237" y="1982"/>
                  </a:cubicBezTo>
                  <a:cubicBezTo>
                    <a:pt x="237" y="1979"/>
                    <a:pt x="240" y="1976"/>
                    <a:pt x="240" y="1974"/>
                  </a:cubicBezTo>
                  <a:close/>
                  <a:moveTo>
                    <a:pt x="296" y="1982"/>
                  </a:moveTo>
                  <a:cubicBezTo>
                    <a:pt x="296" y="1982"/>
                    <a:pt x="293" y="1979"/>
                    <a:pt x="293" y="1976"/>
                  </a:cubicBezTo>
                  <a:lnTo>
                    <a:pt x="296" y="1976"/>
                  </a:lnTo>
                  <a:cubicBezTo>
                    <a:pt x="293" y="1979"/>
                    <a:pt x="296" y="1979"/>
                    <a:pt x="296" y="1982"/>
                  </a:cubicBezTo>
                  <a:close/>
                  <a:moveTo>
                    <a:pt x="316" y="2013"/>
                  </a:moveTo>
                  <a:cubicBezTo>
                    <a:pt x="319" y="2021"/>
                    <a:pt x="319" y="2027"/>
                    <a:pt x="316" y="2036"/>
                  </a:cubicBezTo>
                  <a:cubicBezTo>
                    <a:pt x="313" y="2033"/>
                    <a:pt x="307" y="2033"/>
                    <a:pt x="305" y="2033"/>
                  </a:cubicBezTo>
                  <a:cubicBezTo>
                    <a:pt x="302" y="2024"/>
                    <a:pt x="302" y="2013"/>
                    <a:pt x="316" y="2013"/>
                  </a:cubicBezTo>
                  <a:close/>
                  <a:moveTo>
                    <a:pt x="316" y="1999"/>
                  </a:moveTo>
                  <a:cubicBezTo>
                    <a:pt x="302" y="1990"/>
                    <a:pt x="321" y="1965"/>
                    <a:pt x="316" y="1999"/>
                  </a:cubicBezTo>
                  <a:close/>
                  <a:moveTo>
                    <a:pt x="316" y="1959"/>
                  </a:moveTo>
                  <a:cubicBezTo>
                    <a:pt x="310" y="1959"/>
                    <a:pt x="316" y="1948"/>
                    <a:pt x="316" y="1943"/>
                  </a:cubicBezTo>
                  <a:cubicBezTo>
                    <a:pt x="319" y="1943"/>
                    <a:pt x="319" y="1959"/>
                    <a:pt x="316" y="1959"/>
                  </a:cubicBezTo>
                  <a:close/>
                  <a:moveTo>
                    <a:pt x="310" y="1931"/>
                  </a:moveTo>
                  <a:cubicBezTo>
                    <a:pt x="299" y="1931"/>
                    <a:pt x="305" y="1906"/>
                    <a:pt x="316" y="1909"/>
                  </a:cubicBezTo>
                  <a:cubicBezTo>
                    <a:pt x="321" y="1920"/>
                    <a:pt x="307" y="1920"/>
                    <a:pt x="310" y="1931"/>
                  </a:cubicBezTo>
                  <a:close/>
                  <a:moveTo>
                    <a:pt x="310" y="1813"/>
                  </a:moveTo>
                  <a:cubicBezTo>
                    <a:pt x="330" y="1813"/>
                    <a:pt x="302" y="1841"/>
                    <a:pt x="310" y="1813"/>
                  </a:cubicBezTo>
                  <a:close/>
                  <a:moveTo>
                    <a:pt x="307" y="1813"/>
                  </a:moveTo>
                  <a:cubicBezTo>
                    <a:pt x="305" y="1807"/>
                    <a:pt x="302" y="1801"/>
                    <a:pt x="299" y="1799"/>
                  </a:cubicBezTo>
                  <a:cubicBezTo>
                    <a:pt x="310" y="1790"/>
                    <a:pt x="313" y="1801"/>
                    <a:pt x="321" y="1799"/>
                  </a:cubicBezTo>
                  <a:cubicBezTo>
                    <a:pt x="324" y="1801"/>
                    <a:pt x="313" y="1807"/>
                    <a:pt x="307" y="1813"/>
                  </a:cubicBezTo>
                  <a:close/>
                  <a:moveTo>
                    <a:pt x="321" y="1751"/>
                  </a:moveTo>
                  <a:cubicBezTo>
                    <a:pt x="293" y="1745"/>
                    <a:pt x="316" y="1714"/>
                    <a:pt x="321" y="1751"/>
                  </a:cubicBezTo>
                  <a:close/>
                  <a:moveTo>
                    <a:pt x="316" y="677"/>
                  </a:moveTo>
                  <a:cubicBezTo>
                    <a:pt x="310" y="677"/>
                    <a:pt x="307" y="671"/>
                    <a:pt x="302" y="674"/>
                  </a:cubicBezTo>
                  <a:lnTo>
                    <a:pt x="302" y="668"/>
                  </a:lnTo>
                  <a:lnTo>
                    <a:pt x="299" y="668"/>
                  </a:lnTo>
                  <a:cubicBezTo>
                    <a:pt x="299" y="666"/>
                    <a:pt x="302" y="666"/>
                    <a:pt x="305" y="666"/>
                  </a:cubicBezTo>
                  <a:cubicBezTo>
                    <a:pt x="305" y="663"/>
                    <a:pt x="316" y="668"/>
                    <a:pt x="316" y="677"/>
                  </a:cubicBezTo>
                  <a:close/>
                  <a:moveTo>
                    <a:pt x="305" y="646"/>
                  </a:moveTo>
                  <a:cubicBezTo>
                    <a:pt x="302" y="649"/>
                    <a:pt x="293" y="646"/>
                    <a:pt x="293" y="637"/>
                  </a:cubicBezTo>
                  <a:cubicBezTo>
                    <a:pt x="302" y="640"/>
                    <a:pt x="307" y="640"/>
                    <a:pt x="305" y="646"/>
                  </a:cubicBezTo>
                  <a:close/>
                  <a:moveTo>
                    <a:pt x="302" y="750"/>
                  </a:moveTo>
                  <a:cubicBezTo>
                    <a:pt x="299" y="753"/>
                    <a:pt x="296" y="759"/>
                    <a:pt x="293" y="759"/>
                  </a:cubicBezTo>
                  <a:cubicBezTo>
                    <a:pt x="290" y="753"/>
                    <a:pt x="299" y="750"/>
                    <a:pt x="302" y="750"/>
                  </a:cubicBezTo>
                  <a:close/>
                  <a:moveTo>
                    <a:pt x="299" y="767"/>
                  </a:moveTo>
                  <a:cubicBezTo>
                    <a:pt x="299" y="773"/>
                    <a:pt x="288" y="776"/>
                    <a:pt x="282" y="776"/>
                  </a:cubicBezTo>
                  <a:cubicBezTo>
                    <a:pt x="285" y="770"/>
                    <a:pt x="288" y="764"/>
                    <a:pt x="299" y="767"/>
                  </a:cubicBezTo>
                  <a:close/>
                  <a:moveTo>
                    <a:pt x="282" y="1649"/>
                  </a:moveTo>
                  <a:cubicBezTo>
                    <a:pt x="282" y="1652"/>
                    <a:pt x="276" y="1655"/>
                    <a:pt x="273" y="1655"/>
                  </a:cubicBezTo>
                  <a:cubicBezTo>
                    <a:pt x="282" y="1655"/>
                    <a:pt x="273" y="1666"/>
                    <a:pt x="268" y="1660"/>
                  </a:cubicBezTo>
                  <a:cubicBezTo>
                    <a:pt x="268" y="1660"/>
                    <a:pt x="273" y="1658"/>
                    <a:pt x="273" y="1655"/>
                  </a:cubicBezTo>
                  <a:cubicBezTo>
                    <a:pt x="276" y="1652"/>
                    <a:pt x="279" y="1652"/>
                    <a:pt x="282" y="1649"/>
                  </a:cubicBezTo>
                  <a:close/>
                  <a:moveTo>
                    <a:pt x="273" y="733"/>
                  </a:moveTo>
                  <a:cubicBezTo>
                    <a:pt x="273" y="753"/>
                    <a:pt x="251" y="725"/>
                    <a:pt x="273" y="733"/>
                  </a:cubicBezTo>
                  <a:close/>
                  <a:moveTo>
                    <a:pt x="265" y="1660"/>
                  </a:moveTo>
                  <a:cubicBezTo>
                    <a:pt x="271" y="1675"/>
                    <a:pt x="242" y="1666"/>
                    <a:pt x="265" y="1660"/>
                  </a:cubicBezTo>
                  <a:close/>
                  <a:moveTo>
                    <a:pt x="262" y="1641"/>
                  </a:moveTo>
                  <a:cubicBezTo>
                    <a:pt x="259" y="1652"/>
                    <a:pt x="251" y="1627"/>
                    <a:pt x="262" y="1641"/>
                  </a:cubicBezTo>
                  <a:close/>
                  <a:moveTo>
                    <a:pt x="257" y="801"/>
                  </a:moveTo>
                  <a:cubicBezTo>
                    <a:pt x="248" y="798"/>
                    <a:pt x="251" y="784"/>
                    <a:pt x="262" y="787"/>
                  </a:cubicBezTo>
                  <a:cubicBezTo>
                    <a:pt x="262" y="793"/>
                    <a:pt x="254" y="795"/>
                    <a:pt x="257" y="801"/>
                  </a:cubicBezTo>
                  <a:close/>
                  <a:moveTo>
                    <a:pt x="262" y="691"/>
                  </a:moveTo>
                  <a:cubicBezTo>
                    <a:pt x="262" y="697"/>
                    <a:pt x="257" y="700"/>
                    <a:pt x="254" y="700"/>
                  </a:cubicBezTo>
                  <a:cubicBezTo>
                    <a:pt x="251" y="694"/>
                    <a:pt x="257" y="691"/>
                    <a:pt x="262" y="691"/>
                  </a:cubicBezTo>
                  <a:close/>
                  <a:moveTo>
                    <a:pt x="251" y="680"/>
                  </a:moveTo>
                  <a:cubicBezTo>
                    <a:pt x="254" y="691"/>
                    <a:pt x="242" y="700"/>
                    <a:pt x="234" y="697"/>
                  </a:cubicBezTo>
                  <a:cubicBezTo>
                    <a:pt x="234" y="691"/>
                    <a:pt x="245" y="685"/>
                    <a:pt x="251" y="680"/>
                  </a:cubicBezTo>
                  <a:close/>
                  <a:moveTo>
                    <a:pt x="228" y="739"/>
                  </a:moveTo>
                  <a:cubicBezTo>
                    <a:pt x="237" y="731"/>
                    <a:pt x="245" y="742"/>
                    <a:pt x="254" y="731"/>
                  </a:cubicBezTo>
                  <a:cubicBezTo>
                    <a:pt x="259" y="745"/>
                    <a:pt x="240" y="750"/>
                    <a:pt x="228" y="756"/>
                  </a:cubicBezTo>
                  <a:cubicBezTo>
                    <a:pt x="228" y="750"/>
                    <a:pt x="234" y="745"/>
                    <a:pt x="228" y="739"/>
                  </a:cubicBezTo>
                  <a:close/>
                  <a:moveTo>
                    <a:pt x="228" y="1573"/>
                  </a:moveTo>
                  <a:cubicBezTo>
                    <a:pt x="237" y="1587"/>
                    <a:pt x="209" y="1579"/>
                    <a:pt x="228" y="1573"/>
                  </a:cubicBezTo>
                  <a:close/>
                  <a:moveTo>
                    <a:pt x="217" y="691"/>
                  </a:moveTo>
                  <a:cubicBezTo>
                    <a:pt x="226" y="685"/>
                    <a:pt x="214" y="700"/>
                    <a:pt x="217" y="691"/>
                  </a:cubicBezTo>
                  <a:close/>
                  <a:moveTo>
                    <a:pt x="220" y="1629"/>
                  </a:moveTo>
                  <a:cubicBezTo>
                    <a:pt x="223" y="1629"/>
                    <a:pt x="223" y="1632"/>
                    <a:pt x="223" y="1632"/>
                  </a:cubicBezTo>
                  <a:cubicBezTo>
                    <a:pt x="223" y="1632"/>
                    <a:pt x="220" y="1635"/>
                    <a:pt x="217" y="1635"/>
                  </a:cubicBezTo>
                  <a:cubicBezTo>
                    <a:pt x="214" y="1635"/>
                    <a:pt x="211" y="1632"/>
                    <a:pt x="211" y="1632"/>
                  </a:cubicBezTo>
                  <a:cubicBezTo>
                    <a:pt x="214" y="1632"/>
                    <a:pt x="217" y="1629"/>
                    <a:pt x="220" y="1629"/>
                  </a:cubicBezTo>
                  <a:close/>
                  <a:moveTo>
                    <a:pt x="214" y="1643"/>
                  </a:moveTo>
                  <a:cubicBezTo>
                    <a:pt x="228" y="1658"/>
                    <a:pt x="194" y="1632"/>
                    <a:pt x="214" y="1643"/>
                  </a:cubicBezTo>
                  <a:close/>
                  <a:moveTo>
                    <a:pt x="203" y="1450"/>
                  </a:moveTo>
                  <a:cubicBezTo>
                    <a:pt x="206" y="1453"/>
                    <a:pt x="203" y="1456"/>
                    <a:pt x="203" y="1457"/>
                  </a:cubicBezTo>
                  <a:cubicBezTo>
                    <a:pt x="200" y="1457"/>
                    <a:pt x="203" y="1453"/>
                    <a:pt x="203" y="1450"/>
                  </a:cubicBezTo>
                  <a:close/>
                  <a:moveTo>
                    <a:pt x="206" y="1553"/>
                  </a:moveTo>
                  <a:cubicBezTo>
                    <a:pt x="200" y="1550"/>
                    <a:pt x="209" y="1553"/>
                    <a:pt x="206" y="1553"/>
                  </a:cubicBezTo>
                  <a:close/>
                  <a:moveTo>
                    <a:pt x="217" y="1725"/>
                  </a:moveTo>
                  <a:cubicBezTo>
                    <a:pt x="209" y="1731"/>
                    <a:pt x="194" y="1714"/>
                    <a:pt x="194" y="1722"/>
                  </a:cubicBezTo>
                  <a:cubicBezTo>
                    <a:pt x="192" y="1714"/>
                    <a:pt x="189" y="1703"/>
                    <a:pt x="186" y="1694"/>
                  </a:cubicBezTo>
                  <a:lnTo>
                    <a:pt x="183" y="1694"/>
                  </a:lnTo>
                  <a:lnTo>
                    <a:pt x="186" y="1691"/>
                  </a:lnTo>
                  <a:cubicBezTo>
                    <a:pt x="186" y="1689"/>
                    <a:pt x="183" y="1686"/>
                    <a:pt x="180" y="1686"/>
                  </a:cubicBezTo>
                  <a:cubicBezTo>
                    <a:pt x="186" y="1686"/>
                    <a:pt x="194" y="1686"/>
                    <a:pt x="194" y="1680"/>
                  </a:cubicBezTo>
                  <a:cubicBezTo>
                    <a:pt x="211" y="1680"/>
                    <a:pt x="220" y="1711"/>
                    <a:pt x="217" y="1725"/>
                  </a:cubicBezTo>
                  <a:close/>
                  <a:moveTo>
                    <a:pt x="200" y="1374"/>
                  </a:moveTo>
                  <a:cubicBezTo>
                    <a:pt x="197" y="1382"/>
                    <a:pt x="189" y="1374"/>
                    <a:pt x="200" y="1374"/>
                  </a:cubicBezTo>
                  <a:close/>
                  <a:moveTo>
                    <a:pt x="192" y="1487"/>
                  </a:moveTo>
                  <a:cubicBezTo>
                    <a:pt x="193" y="1487"/>
                    <a:pt x="195" y="1488"/>
                    <a:pt x="192" y="1488"/>
                  </a:cubicBezTo>
                  <a:cubicBezTo>
                    <a:pt x="191" y="1487"/>
                    <a:pt x="191" y="1487"/>
                    <a:pt x="192" y="1487"/>
                  </a:cubicBezTo>
                  <a:close/>
                  <a:moveTo>
                    <a:pt x="183" y="1466"/>
                  </a:moveTo>
                  <a:cubicBezTo>
                    <a:pt x="186" y="1469"/>
                    <a:pt x="183" y="1469"/>
                    <a:pt x="183" y="1466"/>
                  </a:cubicBezTo>
                  <a:close/>
                  <a:moveTo>
                    <a:pt x="189" y="1522"/>
                  </a:moveTo>
                  <a:cubicBezTo>
                    <a:pt x="189" y="1514"/>
                    <a:pt x="183" y="1505"/>
                    <a:pt x="178" y="1500"/>
                  </a:cubicBezTo>
                  <a:cubicBezTo>
                    <a:pt x="189" y="1494"/>
                    <a:pt x="211" y="1514"/>
                    <a:pt x="189" y="1522"/>
                  </a:cubicBezTo>
                  <a:close/>
                  <a:moveTo>
                    <a:pt x="172" y="1477"/>
                  </a:moveTo>
                  <a:cubicBezTo>
                    <a:pt x="180" y="1477"/>
                    <a:pt x="178" y="1486"/>
                    <a:pt x="180" y="1491"/>
                  </a:cubicBezTo>
                  <a:cubicBezTo>
                    <a:pt x="172" y="1494"/>
                    <a:pt x="175" y="1483"/>
                    <a:pt x="172" y="1477"/>
                  </a:cubicBezTo>
                  <a:close/>
                  <a:moveTo>
                    <a:pt x="183" y="1368"/>
                  </a:moveTo>
                  <a:cubicBezTo>
                    <a:pt x="180" y="1368"/>
                    <a:pt x="178" y="1368"/>
                    <a:pt x="175" y="1362"/>
                  </a:cubicBezTo>
                  <a:lnTo>
                    <a:pt x="175" y="1360"/>
                  </a:lnTo>
                  <a:lnTo>
                    <a:pt x="180" y="1360"/>
                  </a:lnTo>
                  <a:cubicBezTo>
                    <a:pt x="183" y="1360"/>
                    <a:pt x="183" y="1365"/>
                    <a:pt x="183" y="1368"/>
                  </a:cubicBezTo>
                  <a:close/>
                  <a:moveTo>
                    <a:pt x="180" y="804"/>
                  </a:moveTo>
                  <a:cubicBezTo>
                    <a:pt x="180" y="810"/>
                    <a:pt x="175" y="812"/>
                    <a:pt x="169" y="812"/>
                  </a:cubicBezTo>
                  <a:cubicBezTo>
                    <a:pt x="172" y="807"/>
                    <a:pt x="175" y="801"/>
                    <a:pt x="180" y="804"/>
                  </a:cubicBezTo>
                  <a:close/>
                  <a:moveTo>
                    <a:pt x="172" y="1320"/>
                  </a:moveTo>
                  <a:cubicBezTo>
                    <a:pt x="169" y="1312"/>
                    <a:pt x="178" y="1334"/>
                    <a:pt x="169" y="1326"/>
                  </a:cubicBezTo>
                  <a:cubicBezTo>
                    <a:pt x="169" y="1323"/>
                    <a:pt x="172" y="1323"/>
                    <a:pt x="172" y="1320"/>
                  </a:cubicBezTo>
                  <a:close/>
                  <a:moveTo>
                    <a:pt x="166" y="1559"/>
                  </a:moveTo>
                  <a:cubicBezTo>
                    <a:pt x="172" y="1553"/>
                    <a:pt x="175" y="1550"/>
                    <a:pt x="180" y="1548"/>
                  </a:cubicBezTo>
                  <a:cubicBezTo>
                    <a:pt x="180" y="1556"/>
                    <a:pt x="175" y="1565"/>
                    <a:pt x="172" y="1570"/>
                  </a:cubicBezTo>
                  <a:lnTo>
                    <a:pt x="172" y="1579"/>
                  </a:lnTo>
                  <a:cubicBezTo>
                    <a:pt x="169" y="1579"/>
                    <a:pt x="166" y="1576"/>
                    <a:pt x="166" y="1576"/>
                  </a:cubicBezTo>
                  <a:cubicBezTo>
                    <a:pt x="163" y="1579"/>
                    <a:pt x="163" y="1581"/>
                    <a:pt x="161" y="1584"/>
                  </a:cubicBezTo>
                  <a:cubicBezTo>
                    <a:pt x="159" y="1586"/>
                    <a:pt x="158" y="1585"/>
                    <a:pt x="157" y="1584"/>
                  </a:cubicBezTo>
                  <a:cubicBezTo>
                    <a:pt x="157" y="1585"/>
                    <a:pt x="156" y="1586"/>
                    <a:pt x="155" y="1587"/>
                  </a:cubicBezTo>
                  <a:cubicBezTo>
                    <a:pt x="152" y="1596"/>
                    <a:pt x="138" y="1587"/>
                    <a:pt x="155" y="1584"/>
                  </a:cubicBezTo>
                  <a:cubicBezTo>
                    <a:pt x="156" y="1584"/>
                    <a:pt x="156" y="1583"/>
                    <a:pt x="157" y="1583"/>
                  </a:cubicBezTo>
                  <a:cubicBezTo>
                    <a:pt x="157" y="1582"/>
                    <a:pt x="157" y="1581"/>
                    <a:pt x="158" y="1581"/>
                  </a:cubicBezTo>
                  <a:cubicBezTo>
                    <a:pt x="159" y="1580"/>
                    <a:pt x="161" y="1578"/>
                    <a:pt x="161" y="1576"/>
                  </a:cubicBezTo>
                  <a:lnTo>
                    <a:pt x="158" y="1576"/>
                  </a:lnTo>
                  <a:cubicBezTo>
                    <a:pt x="152" y="1570"/>
                    <a:pt x="166" y="1562"/>
                    <a:pt x="155" y="1562"/>
                  </a:cubicBezTo>
                  <a:cubicBezTo>
                    <a:pt x="155" y="1559"/>
                    <a:pt x="161" y="1556"/>
                    <a:pt x="163" y="1556"/>
                  </a:cubicBezTo>
                  <a:cubicBezTo>
                    <a:pt x="166" y="1553"/>
                    <a:pt x="166" y="1553"/>
                    <a:pt x="166" y="1556"/>
                  </a:cubicBezTo>
                  <a:lnTo>
                    <a:pt x="166" y="1559"/>
                  </a:lnTo>
                  <a:close/>
                  <a:moveTo>
                    <a:pt x="155" y="1756"/>
                  </a:moveTo>
                  <a:cubicBezTo>
                    <a:pt x="152" y="1754"/>
                    <a:pt x="152" y="1748"/>
                    <a:pt x="149" y="1745"/>
                  </a:cubicBezTo>
                  <a:cubicBezTo>
                    <a:pt x="155" y="1745"/>
                    <a:pt x="158" y="1742"/>
                    <a:pt x="161" y="1742"/>
                  </a:cubicBezTo>
                  <a:cubicBezTo>
                    <a:pt x="163" y="1745"/>
                    <a:pt x="166" y="1748"/>
                    <a:pt x="166" y="1751"/>
                  </a:cubicBezTo>
                  <a:cubicBezTo>
                    <a:pt x="163" y="1754"/>
                    <a:pt x="158" y="1756"/>
                    <a:pt x="155" y="1756"/>
                  </a:cubicBezTo>
                  <a:close/>
                  <a:moveTo>
                    <a:pt x="118" y="1940"/>
                  </a:moveTo>
                  <a:cubicBezTo>
                    <a:pt x="132" y="1934"/>
                    <a:pt x="135" y="1962"/>
                    <a:pt x="121" y="1968"/>
                  </a:cubicBezTo>
                  <a:cubicBezTo>
                    <a:pt x="124" y="1959"/>
                    <a:pt x="121" y="1948"/>
                    <a:pt x="118" y="1940"/>
                  </a:cubicBezTo>
                  <a:close/>
                  <a:moveTo>
                    <a:pt x="110" y="1864"/>
                  </a:moveTo>
                  <a:cubicBezTo>
                    <a:pt x="90" y="1849"/>
                    <a:pt x="135" y="1832"/>
                    <a:pt x="138" y="1855"/>
                  </a:cubicBezTo>
                  <a:cubicBezTo>
                    <a:pt x="138" y="1858"/>
                    <a:pt x="138" y="1861"/>
                    <a:pt x="135" y="1864"/>
                  </a:cubicBezTo>
                  <a:lnTo>
                    <a:pt x="138" y="1864"/>
                  </a:lnTo>
                  <a:lnTo>
                    <a:pt x="138" y="1864"/>
                  </a:lnTo>
                  <a:cubicBezTo>
                    <a:pt x="143" y="1860"/>
                    <a:pt x="151" y="1866"/>
                    <a:pt x="158" y="1866"/>
                  </a:cubicBezTo>
                  <a:cubicBezTo>
                    <a:pt x="155" y="1869"/>
                    <a:pt x="138" y="1869"/>
                    <a:pt x="135" y="1866"/>
                  </a:cubicBezTo>
                  <a:lnTo>
                    <a:pt x="135" y="1866"/>
                  </a:lnTo>
                  <a:cubicBezTo>
                    <a:pt x="130" y="1869"/>
                    <a:pt x="124" y="1862"/>
                    <a:pt x="121" y="1855"/>
                  </a:cubicBezTo>
                  <a:cubicBezTo>
                    <a:pt x="115" y="1852"/>
                    <a:pt x="110" y="1852"/>
                    <a:pt x="110" y="1864"/>
                  </a:cubicBezTo>
                  <a:close/>
                  <a:moveTo>
                    <a:pt x="118" y="1931"/>
                  </a:moveTo>
                  <a:cubicBezTo>
                    <a:pt x="118" y="1951"/>
                    <a:pt x="96" y="1926"/>
                    <a:pt x="118" y="1931"/>
                  </a:cubicBezTo>
                  <a:close/>
                  <a:moveTo>
                    <a:pt x="118" y="1913"/>
                  </a:moveTo>
                  <a:cubicBezTo>
                    <a:pt x="117" y="1913"/>
                    <a:pt x="115" y="1911"/>
                    <a:pt x="118" y="1911"/>
                  </a:cubicBezTo>
                  <a:cubicBezTo>
                    <a:pt x="119" y="1912"/>
                    <a:pt x="119" y="1913"/>
                    <a:pt x="118" y="1913"/>
                  </a:cubicBezTo>
                  <a:close/>
                  <a:moveTo>
                    <a:pt x="101" y="1697"/>
                  </a:moveTo>
                  <a:cubicBezTo>
                    <a:pt x="115" y="1697"/>
                    <a:pt x="99" y="1720"/>
                    <a:pt x="101" y="1697"/>
                  </a:cubicBezTo>
                  <a:close/>
                  <a:moveTo>
                    <a:pt x="104" y="1821"/>
                  </a:moveTo>
                  <a:cubicBezTo>
                    <a:pt x="101" y="1827"/>
                    <a:pt x="107" y="1818"/>
                    <a:pt x="104" y="1821"/>
                  </a:cubicBezTo>
                  <a:close/>
                  <a:moveTo>
                    <a:pt x="104" y="1672"/>
                  </a:moveTo>
                  <a:cubicBezTo>
                    <a:pt x="110" y="1686"/>
                    <a:pt x="82" y="1677"/>
                    <a:pt x="104" y="1672"/>
                  </a:cubicBezTo>
                  <a:close/>
                  <a:moveTo>
                    <a:pt x="99" y="1849"/>
                  </a:moveTo>
                  <a:cubicBezTo>
                    <a:pt x="99" y="1849"/>
                    <a:pt x="97" y="1848"/>
                    <a:pt x="99" y="1849"/>
                  </a:cubicBezTo>
                  <a:close/>
                  <a:moveTo>
                    <a:pt x="96" y="1883"/>
                  </a:moveTo>
                  <a:cubicBezTo>
                    <a:pt x="96" y="1886"/>
                    <a:pt x="90" y="1889"/>
                    <a:pt x="87" y="1889"/>
                  </a:cubicBezTo>
                  <a:cubicBezTo>
                    <a:pt x="87" y="1886"/>
                    <a:pt x="93" y="1883"/>
                    <a:pt x="96" y="1883"/>
                  </a:cubicBezTo>
                  <a:close/>
                  <a:moveTo>
                    <a:pt x="79" y="1610"/>
                  </a:moveTo>
                  <a:lnTo>
                    <a:pt x="79" y="1609"/>
                  </a:lnTo>
                  <a:cubicBezTo>
                    <a:pt x="79" y="1609"/>
                    <a:pt x="80" y="1610"/>
                    <a:pt x="79" y="1610"/>
                  </a:cubicBezTo>
                  <a:cubicBezTo>
                    <a:pt x="75" y="1608"/>
                    <a:pt x="78" y="1608"/>
                    <a:pt x="79" y="1609"/>
                  </a:cubicBezTo>
                  <a:lnTo>
                    <a:pt x="79" y="1610"/>
                  </a:lnTo>
                  <a:close/>
                  <a:moveTo>
                    <a:pt x="70" y="1567"/>
                  </a:moveTo>
                  <a:cubicBezTo>
                    <a:pt x="90" y="1567"/>
                    <a:pt x="65" y="1596"/>
                    <a:pt x="70" y="1567"/>
                  </a:cubicBezTo>
                  <a:close/>
                  <a:moveTo>
                    <a:pt x="87" y="1641"/>
                  </a:moveTo>
                  <a:cubicBezTo>
                    <a:pt x="90" y="1660"/>
                    <a:pt x="68" y="1629"/>
                    <a:pt x="87" y="1641"/>
                  </a:cubicBezTo>
                  <a:close/>
                  <a:moveTo>
                    <a:pt x="93" y="1680"/>
                  </a:moveTo>
                  <a:cubicBezTo>
                    <a:pt x="96" y="1686"/>
                    <a:pt x="87" y="1686"/>
                    <a:pt x="84" y="1686"/>
                  </a:cubicBezTo>
                  <a:lnTo>
                    <a:pt x="84" y="1680"/>
                  </a:lnTo>
                  <a:lnTo>
                    <a:pt x="93" y="1680"/>
                  </a:lnTo>
                  <a:close/>
                  <a:moveTo>
                    <a:pt x="90" y="1748"/>
                  </a:moveTo>
                  <a:cubicBezTo>
                    <a:pt x="87" y="1756"/>
                    <a:pt x="70" y="1745"/>
                    <a:pt x="90" y="1748"/>
                  </a:cubicBezTo>
                  <a:close/>
                  <a:moveTo>
                    <a:pt x="87" y="1765"/>
                  </a:moveTo>
                  <a:cubicBezTo>
                    <a:pt x="87" y="1770"/>
                    <a:pt x="82" y="1770"/>
                    <a:pt x="76" y="1773"/>
                  </a:cubicBezTo>
                  <a:cubicBezTo>
                    <a:pt x="73" y="1765"/>
                    <a:pt x="82" y="1765"/>
                    <a:pt x="87" y="1765"/>
                  </a:cubicBezTo>
                  <a:close/>
                  <a:moveTo>
                    <a:pt x="90" y="1779"/>
                  </a:moveTo>
                  <a:cubicBezTo>
                    <a:pt x="93" y="1785"/>
                    <a:pt x="87" y="1787"/>
                    <a:pt x="90" y="1790"/>
                  </a:cubicBezTo>
                  <a:lnTo>
                    <a:pt x="90" y="1790"/>
                  </a:lnTo>
                  <a:cubicBezTo>
                    <a:pt x="102" y="1792"/>
                    <a:pt x="87" y="1810"/>
                    <a:pt x="90" y="1818"/>
                  </a:cubicBezTo>
                  <a:cubicBezTo>
                    <a:pt x="82" y="1821"/>
                    <a:pt x="76" y="1816"/>
                    <a:pt x="73" y="1810"/>
                  </a:cubicBezTo>
                  <a:cubicBezTo>
                    <a:pt x="73" y="1802"/>
                    <a:pt x="89" y="1799"/>
                    <a:pt x="88" y="1791"/>
                  </a:cubicBezTo>
                  <a:cubicBezTo>
                    <a:pt x="82" y="1792"/>
                    <a:pt x="83" y="1776"/>
                    <a:pt x="90" y="1779"/>
                  </a:cubicBezTo>
                  <a:close/>
                  <a:moveTo>
                    <a:pt x="90" y="1714"/>
                  </a:moveTo>
                  <a:cubicBezTo>
                    <a:pt x="104" y="1728"/>
                    <a:pt x="70" y="1706"/>
                    <a:pt x="90" y="1714"/>
                  </a:cubicBezTo>
                  <a:close/>
                  <a:moveTo>
                    <a:pt x="84" y="1528"/>
                  </a:moveTo>
                  <a:cubicBezTo>
                    <a:pt x="93" y="1525"/>
                    <a:pt x="99" y="1531"/>
                    <a:pt x="104" y="1531"/>
                  </a:cubicBezTo>
                  <a:cubicBezTo>
                    <a:pt x="107" y="1539"/>
                    <a:pt x="107" y="1550"/>
                    <a:pt x="104" y="1559"/>
                  </a:cubicBezTo>
                  <a:cubicBezTo>
                    <a:pt x="79" y="1567"/>
                    <a:pt x="82" y="1542"/>
                    <a:pt x="84" y="1528"/>
                  </a:cubicBezTo>
                  <a:close/>
                  <a:moveTo>
                    <a:pt x="87" y="1512"/>
                  </a:moveTo>
                  <a:cubicBezTo>
                    <a:pt x="86" y="1512"/>
                    <a:pt x="83" y="1511"/>
                    <a:pt x="87" y="1511"/>
                  </a:cubicBezTo>
                  <a:cubicBezTo>
                    <a:pt x="88" y="1512"/>
                    <a:pt x="88" y="1512"/>
                    <a:pt x="87" y="1512"/>
                  </a:cubicBezTo>
                  <a:close/>
                  <a:moveTo>
                    <a:pt x="121" y="1441"/>
                  </a:moveTo>
                  <a:cubicBezTo>
                    <a:pt x="110" y="1447"/>
                    <a:pt x="110" y="1427"/>
                    <a:pt x="110" y="1422"/>
                  </a:cubicBezTo>
                  <a:cubicBezTo>
                    <a:pt x="124" y="1419"/>
                    <a:pt x="113" y="1436"/>
                    <a:pt x="121" y="1441"/>
                  </a:cubicBezTo>
                  <a:close/>
                  <a:moveTo>
                    <a:pt x="110" y="1388"/>
                  </a:moveTo>
                  <a:cubicBezTo>
                    <a:pt x="110" y="1382"/>
                    <a:pt x="118" y="1391"/>
                    <a:pt x="110" y="1388"/>
                  </a:cubicBezTo>
                  <a:close/>
                  <a:moveTo>
                    <a:pt x="104" y="1340"/>
                  </a:moveTo>
                  <a:cubicBezTo>
                    <a:pt x="113" y="1340"/>
                    <a:pt x="110" y="1348"/>
                    <a:pt x="113" y="1354"/>
                  </a:cubicBezTo>
                  <a:cubicBezTo>
                    <a:pt x="104" y="1357"/>
                    <a:pt x="107" y="1345"/>
                    <a:pt x="104" y="1340"/>
                  </a:cubicBezTo>
                  <a:close/>
                  <a:moveTo>
                    <a:pt x="113" y="1607"/>
                  </a:moveTo>
                  <a:cubicBezTo>
                    <a:pt x="121" y="1604"/>
                    <a:pt x="121" y="1601"/>
                    <a:pt x="127" y="1604"/>
                  </a:cubicBezTo>
                  <a:cubicBezTo>
                    <a:pt x="124" y="1607"/>
                    <a:pt x="118" y="1610"/>
                    <a:pt x="113" y="1607"/>
                  </a:cubicBezTo>
                  <a:cubicBezTo>
                    <a:pt x="107" y="1610"/>
                    <a:pt x="110" y="1612"/>
                    <a:pt x="104" y="1612"/>
                  </a:cubicBezTo>
                  <a:cubicBezTo>
                    <a:pt x="107" y="1610"/>
                    <a:pt x="110" y="1607"/>
                    <a:pt x="113" y="1607"/>
                  </a:cubicBezTo>
                  <a:close/>
                  <a:moveTo>
                    <a:pt x="113" y="1584"/>
                  </a:moveTo>
                  <a:cubicBezTo>
                    <a:pt x="107" y="1587"/>
                    <a:pt x="115" y="1579"/>
                    <a:pt x="113" y="1584"/>
                  </a:cubicBezTo>
                  <a:close/>
                  <a:moveTo>
                    <a:pt x="118" y="1587"/>
                  </a:moveTo>
                  <a:cubicBezTo>
                    <a:pt x="121" y="1587"/>
                    <a:pt x="115" y="1584"/>
                    <a:pt x="118" y="1587"/>
                  </a:cubicBezTo>
                  <a:close/>
                  <a:moveTo>
                    <a:pt x="149" y="1525"/>
                  </a:moveTo>
                  <a:cubicBezTo>
                    <a:pt x="155" y="1539"/>
                    <a:pt x="127" y="1531"/>
                    <a:pt x="149" y="1525"/>
                  </a:cubicBezTo>
                  <a:close/>
                  <a:moveTo>
                    <a:pt x="141" y="1500"/>
                  </a:moveTo>
                  <a:cubicBezTo>
                    <a:pt x="141" y="1494"/>
                    <a:pt x="149" y="1502"/>
                    <a:pt x="141" y="1500"/>
                  </a:cubicBezTo>
                  <a:close/>
                  <a:moveTo>
                    <a:pt x="147" y="1565"/>
                  </a:moveTo>
                  <a:cubicBezTo>
                    <a:pt x="155" y="1565"/>
                    <a:pt x="149" y="1581"/>
                    <a:pt x="141" y="1579"/>
                  </a:cubicBezTo>
                  <a:cubicBezTo>
                    <a:pt x="135" y="1573"/>
                    <a:pt x="147" y="1573"/>
                    <a:pt x="147" y="1565"/>
                  </a:cubicBezTo>
                  <a:close/>
                  <a:moveTo>
                    <a:pt x="161" y="1483"/>
                  </a:moveTo>
                  <a:cubicBezTo>
                    <a:pt x="158" y="1505"/>
                    <a:pt x="144" y="1469"/>
                    <a:pt x="161" y="1483"/>
                  </a:cubicBezTo>
                  <a:close/>
                  <a:moveTo>
                    <a:pt x="149" y="1652"/>
                  </a:moveTo>
                  <a:cubicBezTo>
                    <a:pt x="149" y="1658"/>
                    <a:pt x="144" y="1658"/>
                    <a:pt x="141" y="1658"/>
                  </a:cubicBezTo>
                  <a:cubicBezTo>
                    <a:pt x="141" y="1655"/>
                    <a:pt x="147" y="1652"/>
                    <a:pt x="149" y="1652"/>
                  </a:cubicBezTo>
                  <a:close/>
                  <a:moveTo>
                    <a:pt x="155" y="1689"/>
                  </a:moveTo>
                  <a:lnTo>
                    <a:pt x="155" y="1697"/>
                  </a:lnTo>
                  <a:cubicBezTo>
                    <a:pt x="149" y="1697"/>
                    <a:pt x="144" y="1700"/>
                    <a:pt x="138" y="1700"/>
                  </a:cubicBezTo>
                  <a:cubicBezTo>
                    <a:pt x="141" y="1697"/>
                    <a:pt x="141" y="1691"/>
                    <a:pt x="144" y="1689"/>
                  </a:cubicBezTo>
                  <a:cubicBezTo>
                    <a:pt x="141" y="1686"/>
                    <a:pt x="138" y="1683"/>
                    <a:pt x="138" y="1680"/>
                  </a:cubicBezTo>
                  <a:cubicBezTo>
                    <a:pt x="152" y="1669"/>
                    <a:pt x="158" y="1680"/>
                    <a:pt x="155" y="1689"/>
                  </a:cubicBezTo>
                  <a:close/>
                  <a:moveTo>
                    <a:pt x="155" y="1734"/>
                  </a:moveTo>
                  <a:cubicBezTo>
                    <a:pt x="149" y="1728"/>
                    <a:pt x="155" y="1711"/>
                    <a:pt x="163" y="1714"/>
                  </a:cubicBezTo>
                  <a:cubicBezTo>
                    <a:pt x="158" y="1720"/>
                    <a:pt x="155" y="1725"/>
                    <a:pt x="155" y="1734"/>
                  </a:cubicBezTo>
                  <a:close/>
                  <a:moveTo>
                    <a:pt x="166" y="1728"/>
                  </a:moveTo>
                  <a:cubicBezTo>
                    <a:pt x="172" y="1742"/>
                    <a:pt x="144" y="1734"/>
                    <a:pt x="166" y="1728"/>
                  </a:cubicBezTo>
                  <a:close/>
                  <a:moveTo>
                    <a:pt x="149" y="1711"/>
                  </a:moveTo>
                  <a:cubicBezTo>
                    <a:pt x="158" y="1728"/>
                    <a:pt x="132" y="1722"/>
                    <a:pt x="124" y="1725"/>
                  </a:cubicBezTo>
                  <a:cubicBezTo>
                    <a:pt x="127" y="1720"/>
                    <a:pt x="130" y="1717"/>
                    <a:pt x="132" y="1714"/>
                  </a:cubicBezTo>
                  <a:lnTo>
                    <a:pt x="135" y="1714"/>
                  </a:lnTo>
                  <a:cubicBezTo>
                    <a:pt x="141" y="1711"/>
                    <a:pt x="144" y="1711"/>
                    <a:pt x="149" y="1711"/>
                  </a:cubicBezTo>
                  <a:close/>
                  <a:moveTo>
                    <a:pt x="144" y="1737"/>
                  </a:moveTo>
                  <a:cubicBezTo>
                    <a:pt x="147" y="1731"/>
                    <a:pt x="152" y="1745"/>
                    <a:pt x="144" y="1737"/>
                  </a:cubicBezTo>
                  <a:close/>
                  <a:moveTo>
                    <a:pt x="147" y="1783"/>
                  </a:moveTo>
                  <a:cubicBezTo>
                    <a:pt x="148" y="1783"/>
                    <a:pt x="150" y="1785"/>
                    <a:pt x="147" y="1785"/>
                  </a:cubicBezTo>
                  <a:cubicBezTo>
                    <a:pt x="146" y="1784"/>
                    <a:pt x="146" y="1783"/>
                    <a:pt x="147" y="1783"/>
                  </a:cubicBezTo>
                  <a:close/>
                  <a:moveTo>
                    <a:pt x="132" y="1807"/>
                  </a:moveTo>
                  <a:cubicBezTo>
                    <a:pt x="132" y="1804"/>
                    <a:pt x="130" y="1801"/>
                    <a:pt x="127" y="1799"/>
                  </a:cubicBezTo>
                  <a:cubicBezTo>
                    <a:pt x="130" y="1796"/>
                    <a:pt x="132" y="1796"/>
                    <a:pt x="135" y="1793"/>
                  </a:cubicBezTo>
                  <a:cubicBezTo>
                    <a:pt x="138" y="1796"/>
                    <a:pt x="141" y="1799"/>
                    <a:pt x="141" y="1801"/>
                  </a:cubicBezTo>
                  <a:cubicBezTo>
                    <a:pt x="141" y="1804"/>
                    <a:pt x="135" y="1807"/>
                    <a:pt x="132" y="1807"/>
                  </a:cubicBezTo>
                  <a:close/>
                  <a:moveTo>
                    <a:pt x="132" y="1816"/>
                  </a:moveTo>
                  <a:cubicBezTo>
                    <a:pt x="138" y="1807"/>
                    <a:pt x="141" y="1821"/>
                    <a:pt x="132" y="1816"/>
                  </a:cubicBezTo>
                  <a:close/>
                  <a:moveTo>
                    <a:pt x="141" y="1841"/>
                  </a:moveTo>
                  <a:cubicBezTo>
                    <a:pt x="141" y="1838"/>
                    <a:pt x="138" y="1847"/>
                    <a:pt x="141" y="1841"/>
                  </a:cubicBezTo>
                  <a:close/>
                  <a:moveTo>
                    <a:pt x="138" y="1759"/>
                  </a:moveTo>
                  <a:cubicBezTo>
                    <a:pt x="158" y="1762"/>
                    <a:pt x="130" y="1787"/>
                    <a:pt x="138" y="1759"/>
                  </a:cubicBezTo>
                  <a:close/>
                  <a:moveTo>
                    <a:pt x="115" y="1728"/>
                  </a:moveTo>
                  <a:cubicBezTo>
                    <a:pt x="115" y="1728"/>
                    <a:pt x="113" y="1728"/>
                    <a:pt x="115" y="1728"/>
                  </a:cubicBezTo>
                  <a:lnTo>
                    <a:pt x="113" y="1725"/>
                  </a:lnTo>
                  <a:cubicBezTo>
                    <a:pt x="115" y="1722"/>
                    <a:pt x="121" y="1722"/>
                    <a:pt x="124" y="1720"/>
                  </a:cubicBezTo>
                  <a:lnTo>
                    <a:pt x="115" y="1728"/>
                  </a:lnTo>
                  <a:close/>
                  <a:moveTo>
                    <a:pt x="115" y="1731"/>
                  </a:moveTo>
                  <a:cubicBezTo>
                    <a:pt x="130" y="1728"/>
                    <a:pt x="113" y="1754"/>
                    <a:pt x="115" y="1731"/>
                  </a:cubicBezTo>
                  <a:close/>
                  <a:moveTo>
                    <a:pt x="118" y="1773"/>
                  </a:moveTo>
                  <a:cubicBezTo>
                    <a:pt x="118" y="1776"/>
                    <a:pt x="121" y="1779"/>
                    <a:pt x="121" y="1782"/>
                  </a:cubicBezTo>
                  <a:cubicBezTo>
                    <a:pt x="113" y="1785"/>
                    <a:pt x="104" y="1779"/>
                    <a:pt x="118" y="1773"/>
                  </a:cubicBezTo>
                  <a:close/>
                  <a:moveTo>
                    <a:pt x="107" y="1793"/>
                  </a:move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cubicBezTo>
                    <a:pt x="108" y="1792"/>
                    <a:pt x="108" y="1793"/>
                    <a:pt x="107" y="1793"/>
                  </a:cubicBezTo>
                  <a:lnTo>
                    <a:pt x="107" y="1793"/>
                  </a:lnTo>
                  <a:lnTo>
                    <a:pt x="107" y="1793"/>
                  </a:lnTo>
                  <a:lnTo>
                    <a:pt x="107" y="1793"/>
                  </a:lnTo>
                  <a:lnTo>
                    <a:pt x="107" y="1793"/>
                  </a:lnTo>
                  <a:lnTo>
                    <a:pt x="107" y="1793"/>
                  </a:lnTo>
                  <a:lnTo>
                    <a:pt x="107" y="1793"/>
                  </a:lnTo>
                  <a:cubicBezTo>
                    <a:pt x="108" y="1793"/>
                    <a:pt x="108" y="1792"/>
                    <a:pt x="108" y="1792"/>
                  </a:cubicBez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cubicBezTo>
                    <a:pt x="108" y="1792"/>
                    <a:pt x="108" y="1793"/>
                    <a:pt x="107" y="1793"/>
                  </a:cubicBezTo>
                  <a:cubicBezTo>
                    <a:pt x="107" y="1792"/>
                    <a:pt x="108" y="1792"/>
                    <a:pt x="108" y="1792"/>
                  </a:cubicBezTo>
                  <a:lnTo>
                    <a:pt x="107" y="1793"/>
                  </a:lnTo>
                  <a:close/>
                  <a:moveTo>
                    <a:pt x="113" y="1810"/>
                  </a:moveTo>
                  <a:cubicBezTo>
                    <a:pt x="113" y="1807"/>
                    <a:pt x="115" y="1807"/>
                    <a:pt x="121" y="1804"/>
                  </a:cubicBezTo>
                  <a:cubicBezTo>
                    <a:pt x="124" y="1810"/>
                    <a:pt x="121" y="1813"/>
                    <a:pt x="118" y="1813"/>
                  </a:cubicBezTo>
                  <a:cubicBezTo>
                    <a:pt x="124" y="1818"/>
                    <a:pt x="127" y="1824"/>
                    <a:pt x="124" y="1832"/>
                  </a:cubicBezTo>
                  <a:cubicBezTo>
                    <a:pt x="115" y="1832"/>
                    <a:pt x="118" y="1816"/>
                    <a:pt x="107" y="1818"/>
                  </a:cubicBezTo>
                  <a:cubicBezTo>
                    <a:pt x="110" y="1813"/>
                    <a:pt x="110" y="1810"/>
                    <a:pt x="113" y="1810"/>
                  </a:cubicBezTo>
                  <a:close/>
                  <a:moveTo>
                    <a:pt x="130" y="1754"/>
                  </a:moveTo>
                  <a:cubicBezTo>
                    <a:pt x="132" y="1770"/>
                    <a:pt x="101" y="1759"/>
                    <a:pt x="130" y="1754"/>
                  </a:cubicBezTo>
                  <a:close/>
                  <a:moveTo>
                    <a:pt x="138" y="1708"/>
                  </a:moveTo>
                  <a:cubicBezTo>
                    <a:pt x="130" y="1711"/>
                    <a:pt x="124" y="1691"/>
                    <a:pt x="130" y="1689"/>
                  </a:cubicBezTo>
                  <a:cubicBezTo>
                    <a:pt x="138" y="1691"/>
                    <a:pt x="138" y="1700"/>
                    <a:pt x="138" y="1708"/>
                  </a:cubicBezTo>
                  <a:close/>
                  <a:moveTo>
                    <a:pt x="132" y="1708"/>
                  </a:moveTo>
                  <a:cubicBezTo>
                    <a:pt x="132" y="1720"/>
                    <a:pt x="115" y="1708"/>
                    <a:pt x="132" y="1708"/>
                  </a:cubicBezTo>
                  <a:close/>
                  <a:moveTo>
                    <a:pt x="113" y="1677"/>
                  </a:moveTo>
                  <a:cubicBezTo>
                    <a:pt x="107" y="1680"/>
                    <a:pt x="115" y="1672"/>
                    <a:pt x="113" y="1677"/>
                  </a:cubicBezTo>
                  <a:close/>
                  <a:moveTo>
                    <a:pt x="101" y="1573"/>
                  </a:moveTo>
                  <a:cubicBezTo>
                    <a:pt x="104" y="1579"/>
                    <a:pt x="96" y="1581"/>
                    <a:pt x="93" y="1584"/>
                  </a:cubicBezTo>
                  <a:cubicBezTo>
                    <a:pt x="93" y="1579"/>
                    <a:pt x="96" y="1576"/>
                    <a:pt x="101" y="1573"/>
                  </a:cubicBezTo>
                  <a:close/>
                  <a:moveTo>
                    <a:pt x="104" y="1683"/>
                  </a:moveTo>
                  <a:cubicBezTo>
                    <a:pt x="127" y="1691"/>
                    <a:pt x="90" y="1691"/>
                    <a:pt x="104" y="1683"/>
                  </a:cubicBezTo>
                  <a:close/>
                  <a:moveTo>
                    <a:pt x="121" y="1835"/>
                  </a:moveTo>
                  <a:cubicBezTo>
                    <a:pt x="115" y="1844"/>
                    <a:pt x="107" y="1832"/>
                    <a:pt x="104" y="1827"/>
                  </a:cubicBezTo>
                  <a:cubicBezTo>
                    <a:pt x="113" y="1824"/>
                    <a:pt x="118" y="1830"/>
                    <a:pt x="121" y="1835"/>
                  </a:cubicBezTo>
                  <a:close/>
                  <a:moveTo>
                    <a:pt x="132" y="1875"/>
                  </a:moveTo>
                  <a:cubicBezTo>
                    <a:pt x="138" y="1889"/>
                    <a:pt x="110" y="1880"/>
                    <a:pt x="132" y="1875"/>
                  </a:cubicBezTo>
                  <a:close/>
                  <a:moveTo>
                    <a:pt x="138" y="1895"/>
                  </a:moveTo>
                  <a:cubicBezTo>
                    <a:pt x="144" y="1906"/>
                    <a:pt x="115" y="1900"/>
                    <a:pt x="138" y="1895"/>
                  </a:cubicBezTo>
                  <a:close/>
                  <a:moveTo>
                    <a:pt x="147" y="1914"/>
                  </a:moveTo>
                  <a:cubicBezTo>
                    <a:pt x="147" y="1920"/>
                    <a:pt x="141" y="1920"/>
                    <a:pt x="135" y="1920"/>
                  </a:cubicBezTo>
                  <a:cubicBezTo>
                    <a:pt x="132" y="1914"/>
                    <a:pt x="144" y="1914"/>
                    <a:pt x="147" y="1914"/>
                  </a:cubicBezTo>
                  <a:close/>
                  <a:moveTo>
                    <a:pt x="144" y="1900"/>
                  </a:moveTo>
                  <a:cubicBezTo>
                    <a:pt x="147" y="1900"/>
                    <a:pt x="141" y="1897"/>
                    <a:pt x="144" y="1900"/>
                  </a:cubicBezTo>
                  <a:close/>
                  <a:moveTo>
                    <a:pt x="155" y="1931"/>
                  </a:moveTo>
                  <a:cubicBezTo>
                    <a:pt x="152" y="1943"/>
                    <a:pt x="135" y="1931"/>
                    <a:pt x="155" y="1931"/>
                  </a:cubicBezTo>
                  <a:close/>
                  <a:moveTo>
                    <a:pt x="158" y="1954"/>
                  </a:moveTo>
                  <a:cubicBezTo>
                    <a:pt x="163" y="1968"/>
                    <a:pt x="135" y="1959"/>
                    <a:pt x="158" y="1954"/>
                  </a:cubicBezTo>
                  <a:close/>
                  <a:moveTo>
                    <a:pt x="149" y="1838"/>
                  </a:moveTo>
                  <a:cubicBezTo>
                    <a:pt x="149" y="1832"/>
                    <a:pt x="158" y="1841"/>
                    <a:pt x="149" y="1838"/>
                  </a:cubicBezTo>
                  <a:close/>
                  <a:moveTo>
                    <a:pt x="163" y="1768"/>
                  </a:moveTo>
                  <a:cubicBezTo>
                    <a:pt x="163" y="1762"/>
                    <a:pt x="172" y="1770"/>
                    <a:pt x="163" y="1768"/>
                  </a:cubicBezTo>
                  <a:close/>
                  <a:moveTo>
                    <a:pt x="158" y="1533"/>
                  </a:moveTo>
                  <a:cubicBezTo>
                    <a:pt x="161" y="1528"/>
                    <a:pt x="166" y="1542"/>
                    <a:pt x="158" y="1533"/>
                  </a:cubicBezTo>
                  <a:close/>
                  <a:moveTo>
                    <a:pt x="158" y="1422"/>
                  </a:moveTo>
                  <a:cubicBezTo>
                    <a:pt x="158" y="1424"/>
                    <a:pt x="152" y="1427"/>
                    <a:pt x="149" y="1427"/>
                  </a:cubicBezTo>
                  <a:cubicBezTo>
                    <a:pt x="152" y="1424"/>
                    <a:pt x="155" y="1422"/>
                    <a:pt x="158" y="1422"/>
                  </a:cubicBezTo>
                  <a:close/>
                  <a:moveTo>
                    <a:pt x="147" y="1289"/>
                  </a:moveTo>
                  <a:cubicBezTo>
                    <a:pt x="147" y="1292"/>
                    <a:pt x="141" y="1292"/>
                    <a:pt x="138" y="1292"/>
                  </a:cubicBezTo>
                  <a:cubicBezTo>
                    <a:pt x="138" y="1289"/>
                    <a:pt x="144" y="1286"/>
                    <a:pt x="147" y="1289"/>
                  </a:cubicBezTo>
                  <a:close/>
                  <a:moveTo>
                    <a:pt x="155" y="1351"/>
                  </a:moveTo>
                  <a:cubicBezTo>
                    <a:pt x="152" y="1357"/>
                    <a:pt x="144" y="1360"/>
                    <a:pt x="138" y="1360"/>
                  </a:cubicBezTo>
                  <a:cubicBezTo>
                    <a:pt x="138" y="1354"/>
                    <a:pt x="149" y="1354"/>
                    <a:pt x="155" y="1351"/>
                  </a:cubicBezTo>
                  <a:close/>
                  <a:moveTo>
                    <a:pt x="138" y="1669"/>
                  </a:moveTo>
                  <a:lnTo>
                    <a:pt x="127" y="1669"/>
                  </a:lnTo>
                  <a:lnTo>
                    <a:pt x="127" y="1658"/>
                  </a:lnTo>
                  <a:cubicBezTo>
                    <a:pt x="130" y="1658"/>
                    <a:pt x="135" y="1655"/>
                    <a:pt x="138" y="1655"/>
                  </a:cubicBezTo>
                  <a:lnTo>
                    <a:pt x="138" y="1669"/>
                  </a:lnTo>
                  <a:close/>
                  <a:moveTo>
                    <a:pt x="132" y="1460"/>
                  </a:moveTo>
                  <a:cubicBezTo>
                    <a:pt x="138" y="1457"/>
                    <a:pt x="130" y="1469"/>
                    <a:pt x="132" y="1460"/>
                  </a:cubicBezTo>
                  <a:close/>
                  <a:moveTo>
                    <a:pt x="135" y="1542"/>
                  </a:moveTo>
                  <a:cubicBezTo>
                    <a:pt x="144" y="1556"/>
                    <a:pt x="115" y="1548"/>
                    <a:pt x="135" y="1542"/>
                  </a:cubicBezTo>
                  <a:close/>
                  <a:moveTo>
                    <a:pt x="124" y="1450"/>
                  </a:moveTo>
                  <a:lnTo>
                    <a:pt x="130" y="1450"/>
                  </a:lnTo>
                  <a:lnTo>
                    <a:pt x="130" y="1456"/>
                  </a:lnTo>
                  <a:lnTo>
                    <a:pt x="124" y="1456"/>
                  </a:lnTo>
                  <a:lnTo>
                    <a:pt x="124" y="1450"/>
                  </a:lnTo>
                  <a:close/>
                  <a:moveTo>
                    <a:pt x="130" y="1573"/>
                  </a:moveTo>
                  <a:cubicBezTo>
                    <a:pt x="135" y="1581"/>
                    <a:pt x="127" y="1587"/>
                    <a:pt x="121" y="1590"/>
                  </a:cubicBezTo>
                  <a:cubicBezTo>
                    <a:pt x="118" y="1584"/>
                    <a:pt x="124" y="1576"/>
                    <a:pt x="130" y="1573"/>
                  </a:cubicBezTo>
                  <a:close/>
                  <a:moveTo>
                    <a:pt x="118" y="1514"/>
                  </a:moveTo>
                  <a:cubicBezTo>
                    <a:pt x="141" y="1522"/>
                    <a:pt x="90" y="1531"/>
                    <a:pt x="118" y="1514"/>
                  </a:cubicBezTo>
                  <a:close/>
                  <a:moveTo>
                    <a:pt x="115" y="1388"/>
                  </a:moveTo>
                  <a:cubicBezTo>
                    <a:pt x="118" y="1388"/>
                    <a:pt x="121" y="1391"/>
                    <a:pt x="124" y="1393"/>
                  </a:cubicBezTo>
                  <a:lnTo>
                    <a:pt x="118" y="1393"/>
                  </a:lnTo>
                  <a:cubicBezTo>
                    <a:pt x="115" y="1391"/>
                    <a:pt x="115" y="1388"/>
                    <a:pt x="115" y="1388"/>
                  </a:cubicBezTo>
                  <a:close/>
                  <a:moveTo>
                    <a:pt x="115" y="1357"/>
                  </a:moveTo>
                  <a:lnTo>
                    <a:pt x="113" y="1357"/>
                  </a:lnTo>
                  <a:cubicBezTo>
                    <a:pt x="113" y="1357"/>
                    <a:pt x="115" y="1354"/>
                    <a:pt x="115" y="1357"/>
                  </a:cubicBezTo>
                  <a:close/>
                  <a:moveTo>
                    <a:pt x="115" y="1309"/>
                  </a:moveTo>
                  <a:cubicBezTo>
                    <a:pt x="115" y="1312"/>
                    <a:pt x="110" y="1314"/>
                    <a:pt x="104" y="1314"/>
                  </a:cubicBezTo>
                  <a:cubicBezTo>
                    <a:pt x="107" y="1312"/>
                    <a:pt x="113" y="1309"/>
                    <a:pt x="115" y="1309"/>
                  </a:cubicBezTo>
                  <a:close/>
                  <a:moveTo>
                    <a:pt x="107" y="1427"/>
                  </a:moveTo>
                  <a:cubicBezTo>
                    <a:pt x="107" y="1433"/>
                    <a:pt x="96" y="1433"/>
                    <a:pt x="90" y="1433"/>
                  </a:cubicBezTo>
                  <a:cubicBezTo>
                    <a:pt x="87" y="1424"/>
                    <a:pt x="101" y="1422"/>
                    <a:pt x="107" y="1427"/>
                  </a:cubicBezTo>
                  <a:close/>
                  <a:moveTo>
                    <a:pt x="90" y="1444"/>
                  </a:moveTo>
                  <a:cubicBezTo>
                    <a:pt x="96" y="1456"/>
                    <a:pt x="79" y="1444"/>
                    <a:pt x="70" y="1455"/>
                  </a:cubicBezTo>
                  <a:cubicBezTo>
                    <a:pt x="68" y="1444"/>
                    <a:pt x="87" y="1447"/>
                    <a:pt x="90" y="1444"/>
                  </a:cubicBezTo>
                  <a:close/>
                  <a:moveTo>
                    <a:pt x="82" y="1385"/>
                  </a:moveTo>
                  <a:cubicBezTo>
                    <a:pt x="82" y="1405"/>
                    <a:pt x="59" y="1377"/>
                    <a:pt x="82" y="1385"/>
                  </a:cubicBezTo>
                  <a:close/>
                  <a:moveTo>
                    <a:pt x="76" y="1402"/>
                  </a:moveTo>
                  <a:cubicBezTo>
                    <a:pt x="79" y="1408"/>
                    <a:pt x="62" y="1413"/>
                    <a:pt x="65" y="1405"/>
                  </a:cubicBezTo>
                  <a:cubicBezTo>
                    <a:pt x="68" y="1405"/>
                    <a:pt x="70" y="1402"/>
                    <a:pt x="76" y="1402"/>
                  </a:cubicBezTo>
                  <a:close/>
                  <a:moveTo>
                    <a:pt x="59" y="1522"/>
                  </a:moveTo>
                  <a:cubicBezTo>
                    <a:pt x="65" y="1536"/>
                    <a:pt x="36" y="1528"/>
                    <a:pt x="59" y="1522"/>
                  </a:cubicBezTo>
                  <a:close/>
                  <a:moveTo>
                    <a:pt x="51" y="1483"/>
                  </a:moveTo>
                  <a:cubicBezTo>
                    <a:pt x="53" y="1474"/>
                    <a:pt x="53" y="1491"/>
                    <a:pt x="51" y="1483"/>
                  </a:cubicBezTo>
                  <a:close/>
                  <a:moveTo>
                    <a:pt x="56" y="1460"/>
                  </a:moveTo>
                  <a:cubicBezTo>
                    <a:pt x="56" y="1455"/>
                    <a:pt x="65" y="1463"/>
                    <a:pt x="56" y="1460"/>
                  </a:cubicBezTo>
                  <a:close/>
                  <a:moveTo>
                    <a:pt x="56" y="1419"/>
                  </a:moveTo>
                  <a:cubicBezTo>
                    <a:pt x="56" y="1413"/>
                    <a:pt x="65" y="1422"/>
                    <a:pt x="56" y="1419"/>
                  </a:cubicBezTo>
                  <a:close/>
                  <a:moveTo>
                    <a:pt x="45" y="1486"/>
                  </a:moveTo>
                  <a:cubicBezTo>
                    <a:pt x="48" y="1486"/>
                    <a:pt x="53" y="1488"/>
                    <a:pt x="53" y="1494"/>
                  </a:cubicBezTo>
                  <a:cubicBezTo>
                    <a:pt x="51" y="1491"/>
                    <a:pt x="42" y="1491"/>
                    <a:pt x="45" y="1486"/>
                  </a:cubicBezTo>
                  <a:close/>
                  <a:moveTo>
                    <a:pt x="53" y="1576"/>
                  </a:moveTo>
                  <a:cubicBezTo>
                    <a:pt x="51" y="1598"/>
                    <a:pt x="39" y="1565"/>
                    <a:pt x="53" y="1576"/>
                  </a:cubicBezTo>
                  <a:close/>
                  <a:moveTo>
                    <a:pt x="48" y="1556"/>
                  </a:moveTo>
                  <a:cubicBezTo>
                    <a:pt x="45" y="1556"/>
                    <a:pt x="48" y="1553"/>
                    <a:pt x="51" y="1553"/>
                  </a:cubicBezTo>
                  <a:cubicBezTo>
                    <a:pt x="53" y="1550"/>
                    <a:pt x="53" y="1550"/>
                    <a:pt x="56" y="1550"/>
                  </a:cubicBezTo>
                  <a:cubicBezTo>
                    <a:pt x="76" y="1556"/>
                    <a:pt x="45" y="1562"/>
                    <a:pt x="48" y="1556"/>
                  </a:cubicBezTo>
                  <a:close/>
                  <a:moveTo>
                    <a:pt x="62" y="1477"/>
                  </a:moveTo>
                  <a:cubicBezTo>
                    <a:pt x="62" y="1477"/>
                    <a:pt x="59" y="1477"/>
                    <a:pt x="62" y="1477"/>
                  </a:cubicBezTo>
                  <a:cubicBezTo>
                    <a:pt x="53" y="1474"/>
                    <a:pt x="65" y="1469"/>
                    <a:pt x="70" y="1471"/>
                  </a:cubicBezTo>
                  <a:cubicBezTo>
                    <a:pt x="70" y="1477"/>
                    <a:pt x="68" y="1477"/>
                    <a:pt x="62" y="1477"/>
                  </a:cubicBezTo>
                  <a:close/>
                  <a:moveTo>
                    <a:pt x="68" y="1424"/>
                  </a:moveTo>
                  <a:cubicBezTo>
                    <a:pt x="70" y="1424"/>
                    <a:pt x="62" y="1422"/>
                    <a:pt x="68" y="1424"/>
                  </a:cubicBezTo>
                  <a:close/>
                  <a:moveTo>
                    <a:pt x="56" y="1391"/>
                  </a:moveTo>
                  <a:cubicBezTo>
                    <a:pt x="56" y="1385"/>
                    <a:pt x="68" y="1396"/>
                    <a:pt x="56" y="1391"/>
                  </a:cubicBezTo>
                  <a:close/>
                  <a:moveTo>
                    <a:pt x="62" y="1377"/>
                  </a:moveTo>
                  <a:cubicBezTo>
                    <a:pt x="65" y="1385"/>
                    <a:pt x="45" y="1379"/>
                    <a:pt x="51" y="1382"/>
                  </a:cubicBezTo>
                  <a:lnTo>
                    <a:pt x="51" y="1385"/>
                  </a:lnTo>
                  <a:cubicBezTo>
                    <a:pt x="56" y="1399"/>
                    <a:pt x="31" y="1388"/>
                    <a:pt x="51" y="1382"/>
                  </a:cubicBezTo>
                  <a:lnTo>
                    <a:pt x="48" y="1382"/>
                  </a:lnTo>
                  <a:cubicBezTo>
                    <a:pt x="48" y="1377"/>
                    <a:pt x="56" y="1374"/>
                    <a:pt x="62" y="1377"/>
                  </a:cubicBezTo>
                  <a:close/>
                  <a:moveTo>
                    <a:pt x="45" y="1309"/>
                  </a:moveTo>
                  <a:cubicBezTo>
                    <a:pt x="39" y="1312"/>
                    <a:pt x="34" y="1295"/>
                    <a:pt x="28" y="1300"/>
                  </a:cubicBezTo>
                  <a:cubicBezTo>
                    <a:pt x="25" y="1283"/>
                    <a:pt x="53" y="1298"/>
                    <a:pt x="45" y="1309"/>
                  </a:cubicBezTo>
                  <a:close/>
                  <a:moveTo>
                    <a:pt x="31" y="1326"/>
                  </a:moveTo>
                  <a:cubicBezTo>
                    <a:pt x="31" y="1309"/>
                    <a:pt x="62" y="1317"/>
                    <a:pt x="31" y="1326"/>
                  </a:cubicBezTo>
                  <a:close/>
                  <a:moveTo>
                    <a:pt x="28" y="1343"/>
                  </a:moveTo>
                  <a:cubicBezTo>
                    <a:pt x="31" y="1326"/>
                    <a:pt x="59" y="1334"/>
                    <a:pt x="28" y="1343"/>
                  </a:cubicBezTo>
                  <a:close/>
                  <a:moveTo>
                    <a:pt x="25" y="1303"/>
                  </a:moveTo>
                  <a:cubicBezTo>
                    <a:pt x="28" y="1303"/>
                    <a:pt x="31" y="1306"/>
                    <a:pt x="31" y="1303"/>
                  </a:cubicBezTo>
                  <a:cubicBezTo>
                    <a:pt x="31" y="1306"/>
                    <a:pt x="28" y="1306"/>
                    <a:pt x="25" y="1306"/>
                  </a:cubicBezTo>
                  <a:cubicBezTo>
                    <a:pt x="28" y="1306"/>
                    <a:pt x="25" y="1303"/>
                    <a:pt x="25" y="1303"/>
                  </a:cubicBezTo>
                  <a:close/>
                  <a:moveTo>
                    <a:pt x="25" y="1314"/>
                  </a:moveTo>
                  <a:lnTo>
                    <a:pt x="34" y="1314"/>
                  </a:lnTo>
                  <a:cubicBezTo>
                    <a:pt x="34" y="1320"/>
                    <a:pt x="28" y="1320"/>
                    <a:pt x="25" y="1320"/>
                  </a:cubicBezTo>
                  <a:lnTo>
                    <a:pt x="25" y="1314"/>
                  </a:lnTo>
                  <a:close/>
                  <a:moveTo>
                    <a:pt x="42" y="1357"/>
                  </a:moveTo>
                  <a:cubicBezTo>
                    <a:pt x="42" y="1357"/>
                    <a:pt x="45" y="1360"/>
                    <a:pt x="45" y="1362"/>
                  </a:cubicBezTo>
                  <a:cubicBezTo>
                    <a:pt x="45" y="1360"/>
                    <a:pt x="51" y="1360"/>
                    <a:pt x="51" y="1357"/>
                  </a:cubicBezTo>
                  <a:cubicBezTo>
                    <a:pt x="56" y="1360"/>
                    <a:pt x="51" y="1365"/>
                    <a:pt x="51" y="1368"/>
                  </a:cubicBezTo>
                  <a:lnTo>
                    <a:pt x="48" y="1365"/>
                  </a:lnTo>
                  <a:lnTo>
                    <a:pt x="51" y="1371"/>
                  </a:lnTo>
                  <a:cubicBezTo>
                    <a:pt x="42" y="1374"/>
                    <a:pt x="34" y="1379"/>
                    <a:pt x="25" y="1382"/>
                  </a:cubicBezTo>
                  <a:cubicBezTo>
                    <a:pt x="11" y="1371"/>
                    <a:pt x="34" y="1365"/>
                    <a:pt x="42" y="1357"/>
                  </a:cubicBezTo>
                  <a:close/>
                  <a:moveTo>
                    <a:pt x="31" y="1408"/>
                  </a:moveTo>
                  <a:cubicBezTo>
                    <a:pt x="51" y="1410"/>
                    <a:pt x="22" y="1439"/>
                    <a:pt x="31" y="1408"/>
                  </a:cubicBezTo>
                  <a:close/>
                  <a:moveTo>
                    <a:pt x="22" y="1416"/>
                  </a:moveTo>
                  <a:cubicBezTo>
                    <a:pt x="14" y="1433"/>
                    <a:pt x="25" y="1393"/>
                    <a:pt x="22" y="1416"/>
                  </a:cubicBezTo>
                  <a:close/>
                  <a:moveTo>
                    <a:pt x="17" y="1519"/>
                  </a:moveTo>
                  <a:cubicBezTo>
                    <a:pt x="17" y="1519"/>
                    <a:pt x="17" y="1522"/>
                    <a:pt x="20" y="1522"/>
                  </a:cubicBezTo>
                  <a:lnTo>
                    <a:pt x="22" y="1522"/>
                  </a:lnTo>
                  <a:cubicBezTo>
                    <a:pt x="28" y="1528"/>
                    <a:pt x="25" y="1525"/>
                    <a:pt x="22" y="1522"/>
                  </a:cubicBezTo>
                  <a:cubicBezTo>
                    <a:pt x="22" y="1533"/>
                    <a:pt x="0" y="1525"/>
                    <a:pt x="17" y="1519"/>
                  </a:cubicBezTo>
                  <a:close/>
                  <a:moveTo>
                    <a:pt x="31" y="1469"/>
                  </a:moveTo>
                  <a:cubicBezTo>
                    <a:pt x="25" y="1474"/>
                    <a:pt x="25" y="1460"/>
                    <a:pt x="31" y="1469"/>
                  </a:cubicBezTo>
                  <a:close/>
                  <a:moveTo>
                    <a:pt x="22" y="1441"/>
                  </a:moveTo>
                  <a:cubicBezTo>
                    <a:pt x="28" y="1439"/>
                    <a:pt x="34" y="1436"/>
                    <a:pt x="36" y="1433"/>
                  </a:cubicBezTo>
                  <a:cubicBezTo>
                    <a:pt x="39" y="1436"/>
                    <a:pt x="39" y="1441"/>
                    <a:pt x="42" y="1444"/>
                  </a:cubicBezTo>
                  <a:cubicBezTo>
                    <a:pt x="34" y="1450"/>
                    <a:pt x="25" y="1450"/>
                    <a:pt x="22" y="1441"/>
                  </a:cubicBezTo>
                  <a:close/>
                  <a:moveTo>
                    <a:pt x="36" y="1600"/>
                  </a:moveTo>
                  <a:cubicBezTo>
                    <a:pt x="35" y="1600"/>
                    <a:pt x="33" y="1598"/>
                    <a:pt x="36" y="1598"/>
                  </a:cubicBezTo>
                  <a:cubicBezTo>
                    <a:pt x="37" y="1599"/>
                    <a:pt x="37" y="1600"/>
                    <a:pt x="36" y="1600"/>
                  </a:cubicBezTo>
                  <a:close/>
                  <a:moveTo>
                    <a:pt x="36" y="1463"/>
                  </a:moveTo>
                  <a:cubicBezTo>
                    <a:pt x="42" y="1453"/>
                    <a:pt x="51" y="1460"/>
                    <a:pt x="59" y="1463"/>
                  </a:cubicBezTo>
                  <a:cubicBezTo>
                    <a:pt x="53" y="1474"/>
                    <a:pt x="42" y="1463"/>
                    <a:pt x="36" y="1463"/>
                  </a:cubicBezTo>
                  <a:close/>
                  <a:moveTo>
                    <a:pt x="65" y="1601"/>
                  </a:moveTo>
                  <a:cubicBezTo>
                    <a:pt x="65" y="1610"/>
                    <a:pt x="56" y="1618"/>
                    <a:pt x="59" y="1629"/>
                  </a:cubicBezTo>
                  <a:cubicBezTo>
                    <a:pt x="36" y="1624"/>
                    <a:pt x="39" y="1601"/>
                    <a:pt x="65" y="1601"/>
                  </a:cubicBezTo>
                  <a:close/>
                  <a:moveTo>
                    <a:pt x="65" y="1643"/>
                  </a:moveTo>
                  <a:cubicBezTo>
                    <a:pt x="62" y="1646"/>
                    <a:pt x="68" y="1638"/>
                    <a:pt x="65" y="1643"/>
                  </a:cubicBezTo>
                  <a:close/>
                  <a:moveTo>
                    <a:pt x="53" y="1703"/>
                  </a:moveTo>
                  <a:cubicBezTo>
                    <a:pt x="53" y="1714"/>
                    <a:pt x="48" y="1724"/>
                    <a:pt x="38" y="1730"/>
                  </a:cubicBezTo>
                  <a:lnTo>
                    <a:pt x="39" y="1731"/>
                  </a:lnTo>
                  <a:cubicBezTo>
                    <a:pt x="52" y="1747"/>
                    <a:pt x="24" y="1726"/>
                    <a:pt x="36" y="1730"/>
                  </a:cubicBezTo>
                  <a:cubicBezTo>
                    <a:pt x="29" y="1716"/>
                    <a:pt x="48" y="1711"/>
                    <a:pt x="53" y="1703"/>
                  </a:cubicBezTo>
                  <a:close/>
                  <a:moveTo>
                    <a:pt x="36" y="1775"/>
                  </a:moveTo>
                  <a:cubicBezTo>
                    <a:pt x="38" y="1775"/>
                    <a:pt x="40" y="1776"/>
                    <a:pt x="36" y="1776"/>
                  </a:cubicBezTo>
                  <a:cubicBezTo>
                    <a:pt x="36" y="1775"/>
                    <a:pt x="36" y="1775"/>
                    <a:pt x="36" y="1775"/>
                  </a:cubicBezTo>
                  <a:close/>
                  <a:moveTo>
                    <a:pt x="42" y="1770"/>
                  </a:moveTo>
                  <a:cubicBezTo>
                    <a:pt x="39" y="1768"/>
                    <a:pt x="39" y="1771"/>
                    <a:pt x="36" y="1768"/>
                  </a:cubicBezTo>
                  <a:cubicBezTo>
                    <a:pt x="33" y="1766"/>
                    <a:pt x="36" y="1762"/>
                    <a:pt x="34" y="1759"/>
                  </a:cubicBezTo>
                  <a:cubicBezTo>
                    <a:pt x="53" y="1742"/>
                    <a:pt x="53" y="1773"/>
                    <a:pt x="42" y="1770"/>
                  </a:cubicBezTo>
                  <a:close/>
                  <a:moveTo>
                    <a:pt x="48" y="1742"/>
                  </a:moveTo>
                  <a:cubicBezTo>
                    <a:pt x="51" y="1737"/>
                    <a:pt x="59" y="1748"/>
                    <a:pt x="56" y="1751"/>
                  </a:cubicBezTo>
                  <a:cubicBezTo>
                    <a:pt x="51" y="1751"/>
                    <a:pt x="56" y="1739"/>
                    <a:pt x="48" y="1742"/>
                  </a:cubicBezTo>
                  <a:close/>
                  <a:moveTo>
                    <a:pt x="53" y="1754"/>
                  </a:moveTo>
                  <a:cubicBezTo>
                    <a:pt x="70" y="1754"/>
                    <a:pt x="53" y="1776"/>
                    <a:pt x="53" y="1754"/>
                  </a:cubicBezTo>
                  <a:close/>
                  <a:moveTo>
                    <a:pt x="56" y="1737"/>
                  </a:moveTo>
                  <a:cubicBezTo>
                    <a:pt x="56" y="1734"/>
                    <a:pt x="62" y="1731"/>
                    <a:pt x="65" y="1731"/>
                  </a:cubicBezTo>
                  <a:cubicBezTo>
                    <a:pt x="65" y="1734"/>
                    <a:pt x="59" y="1737"/>
                    <a:pt x="56" y="1737"/>
                  </a:cubicBezTo>
                  <a:close/>
                  <a:moveTo>
                    <a:pt x="68" y="1689"/>
                  </a:moveTo>
                  <a:cubicBezTo>
                    <a:pt x="76" y="1703"/>
                    <a:pt x="48" y="1694"/>
                    <a:pt x="68" y="1689"/>
                  </a:cubicBezTo>
                  <a:close/>
                  <a:moveTo>
                    <a:pt x="68" y="1553"/>
                  </a:moveTo>
                  <a:cubicBezTo>
                    <a:pt x="70" y="1553"/>
                    <a:pt x="73" y="1556"/>
                    <a:pt x="76" y="1559"/>
                  </a:cubicBezTo>
                  <a:lnTo>
                    <a:pt x="70" y="1559"/>
                  </a:lnTo>
                  <a:cubicBezTo>
                    <a:pt x="68" y="1559"/>
                    <a:pt x="68" y="1556"/>
                    <a:pt x="68" y="1553"/>
                  </a:cubicBezTo>
                  <a:close/>
                  <a:moveTo>
                    <a:pt x="70" y="1649"/>
                  </a:moveTo>
                  <a:cubicBezTo>
                    <a:pt x="68" y="1655"/>
                    <a:pt x="73" y="1646"/>
                    <a:pt x="70" y="1649"/>
                  </a:cubicBezTo>
                  <a:close/>
                  <a:moveTo>
                    <a:pt x="70" y="1652"/>
                  </a:moveTo>
                  <a:cubicBezTo>
                    <a:pt x="93" y="1660"/>
                    <a:pt x="62" y="1689"/>
                    <a:pt x="70" y="1652"/>
                  </a:cubicBezTo>
                  <a:close/>
                  <a:moveTo>
                    <a:pt x="79" y="1928"/>
                  </a:moveTo>
                  <a:cubicBezTo>
                    <a:pt x="84" y="1926"/>
                    <a:pt x="93" y="1928"/>
                    <a:pt x="99" y="1934"/>
                  </a:cubicBezTo>
                  <a:cubicBezTo>
                    <a:pt x="100" y="1935"/>
                    <a:pt x="100" y="1937"/>
                    <a:pt x="101" y="1938"/>
                  </a:cubicBezTo>
                  <a:cubicBezTo>
                    <a:pt x="102" y="1937"/>
                    <a:pt x="103" y="1935"/>
                    <a:pt x="104" y="1934"/>
                  </a:cubicBezTo>
                  <a:cubicBezTo>
                    <a:pt x="126" y="1951"/>
                    <a:pt x="93" y="1956"/>
                    <a:pt x="99" y="1942"/>
                  </a:cubicBezTo>
                  <a:cubicBezTo>
                    <a:pt x="89" y="1939"/>
                    <a:pt x="81" y="1936"/>
                    <a:pt x="79" y="1928"/>
                  </a:cubicBezTo>
                  <a:close/>
                  <a:moveTo>
                    <a:pt x="124" y="2027"/>
                  </a:moveTo>
                  <a:cubicBezTo>
                    <a:pt x="130" y="2041"/>
                    <a:pt x="101" y="2033"/>
                    <a:pt x="124" y="2027"/>
                  </a:cubicBezTo>
                  <a:close/>
                  <a:moveTo>
                    <a:pt x="118" y="1988"/>
                  </a:moveTo>
                  <a:cubicBezTo>
                    <a:pt x="118" y="1988"/>
                    <a:pt x="115" y="1988"/>
                    <a:pt x="118" y="1988"/>
                  </a:cubicBezTo>
                  <a:cubicBezTo>
                    <a:pt x="113" y="1982"/>
                    <a:pt x="101" y="1990"/>
                    <a:pt x="101" y="1979"/>
                  </a:cubicBezTo>
                  <a:cubicBezTo>
                    <a:pt x="110" y="1976"/>
                    <a:pt x="113" y="1976"/>
                    <a:pt x="115" y="1982"/>
                  </a:cubicBezTo>
                  <a:cubicBezTo>
                    <a:pt x="118" y="1971"/>
                    <a:pt x="144" y="1965"/>
                    <a:pt x="147" y="1982"/>
                  </a:cubicBezTo>
                  <a:cubicBezTo>
                    <a:pt x="145" y="1983"/>
                    <a:pt x="143" y="1984"/>
                    <a:pt x="141" y="1985"/>
                  </a:cubicBezTo>
                  <a:cubicBezTo>
                    <a:pt x="160" y="1991"/>
                    <a:pt x="127" y="2001"/>
                    <a:pt x="141" y="1985"/>
                  </a:cubicBezTo>
                  <a:cubicBezTo>
                    <a:pt x="133" y="1988"/>
                    <a:pt x="127" y="1983"/>
                    <a:pt x="118" y="1988"/>
                  </a:cubicBezTo>
                  <a:close/>
                  <a:moveTo>
                    <a:pt x="130" y="2013"/>
                  </a:moveTo>
                  <a:cubicBezTo>
                    <a:pt x="127" y="2010"/>
                    <a:pt x="130" y="2010"/>
                    <a:pt x="130" y="2013"/>
                  </a:cubicBezTo>
                  <a:close/>
                  <a:moveTo>
                    <a:pt x="132" y="2019"/>
                  </a:moveTo>
                  <a:lnTo>
                    <a:pt x="138" y="2019"/>
                  </a:lnTo>
                  <a:cubicBezTo>
                    <a:pt x="138" y="2016"/>
                    <a:pt x="138" y="2016"/>
                    <a:pt x="132" y="2019"/>
                  </a:cubicBezTo>
                  <a:lnTo>
                    <a:pt x="132" y="2010"/>
                  </a:lnTo>
                  <a:cubicBezTo>
                    <a:pt x="132" y="2010"/>
                    <a:pt x="135" y="2013"/>
                    <a:pt x="135" y="2016"/>
                  </a:cubicBezTo>
                  <a:lnTo>
                    <a:pt x="141" y="2016"/>
                  </a:lnTo>
                  <a:lnTo>
                    <a:pt x="141" y="2019"/>
                  </a:lnTo>
                  <a:cubicBezTo>
                    <a:pt x="141" y="2013"/>
                    <a:pt x="155" y="2010"/>
                    <a:pt x="152" y="2005"/>
                  </a:cubicBezTo>
                  <a:cubicBezTo>
                    <a:pt x="163" y="2002"/>
                    <a:pt x="155" y="2013"/>
                    <a:pt x="147" y="2019"/>
                  </a:cubicBezTo>
                  <a:cubicBezTo>
                    <a:pt x="149" y="2019"/>
                    <a:pt x="155" y="2021"/>
                    <a:pt x="155" y="2027"/>
                  </a:cubicBezTo>
                  <a:cubicBezTo>
                    <a:pt x="138" y="2027"/>
                    <a:pt x="141" y="2038"/>
                    <a:pt x="127" y="2041"/>
                  </a:cubicBezTo>
                  <a:cubicBezTo>
                    <a:pt x="127" y="2030"/>
                    <a:pt x="138" y="2027"/>
                    <a:pt x="132" y="2019"/>
                  </a:cubicBezTo>
                  <a:close/>
                  <a:moveTo>
                    <a:pt x="138" y="2055"/>
                  </a:moveTo>
                  <a:cubicBezTo>
                    <a:pt x="130" y="2075"/>
                    <a:pt x="141" y="2036"/>
                    <a:pt x="138" y="2055"/>
                  </a:cubicBezTo>
                  <a:close/>
                  <a:moveTo>
                    <a:pt x="147" y="2086"/>
                  </a:moveTo>
                  <a:cubicBezTo>
                    <a:pt x="141" y="2092"/>
                    <a:pt x="130" y="2087"/>
                    <a:pt x="140" y="2081"/>
                  </a:cubicBezTo>
                  <a:cubicBezTo>
                    <a:pt x="132" y="2084"/>
                    <a:pt x="130" y="2061"/>
                    <a:pt x="141" y="2064"/>
                  </a:cubicBezTo>
                  <a:cubicBezTo>
                    <a:pt x="144" y="2064"/>
                    <a:pt x="144" y="2069"/>
                    <a:pt x="144" y="2072"/>
                  </a:cubicBezTo>
                  <a:cubicBezTo>
                    <a:pt x="147" y="2069"/>
                    <a:pt x="149" y="2064"/>
                    <a:pt x="152" y="2064"/>
                  </a:cubicBezTo>
                  <a:cubicBezTo>
                    <a:pt x="161" y="2064"/>
                    <a:pt x="155" y="2084"/>
                    <a:pt x="147" y="2086"/>
                  </a:cubicBezTo>
                  <a:close/>
                  <a:moveTo>
                    <a:pt x="161" y="2115"/>
                  </a:moveTo>
                  <a:cubicBezTo>
                    <a:pt x="152" y="2126"/>
                    <a:pt x="166" y="2100"/>
                    <a:pt x="161" y="2115"/>
                  </a:cubicBezTo>
                  <a:close/>
                  <a:moveTo>
                    <a:pt x="161" y="1897"/>
                  </a:moveTo>
                  <a:cubicBezTo>
                    <a:pt x="175" y="1903"/>
                    <a:pt x="158" y="1926"/>
                    <a:pt x="161" y="1897"/>
                  </a:cubicBezTo>
                  <a:close/>
                  <a:moveTo>
                    <a:pt x="163" y="1979"/>
                  </a:moveTo>
                  <a:cubicBezTo>
                    <a:pt x="186" y="1988"/>
                    <a:pt x="155" y="2016"/>
                    <a:pt x="163" y="1979"/>
                  </a:cubicBezTo>
                  <a:close/>
                  <a:moveTo>
                    <a:pt x="163" y="2078"/>
                  </a:moveTo>
                  <a:lnTo>
                    <a:pt x="163" y="2077"/>
                  </a:lnTo>
                  <a:cubicBezTo>
                    <a:pt x="164" y="2077"/>
                    <a:pt x="165" y="2078"/>
                    <a:pt x="163" y="2078"/>
                  </a:cubicBezTo>
                  <a:cubicBezTo>
                    <a:pt x="162" y="2076"/>
                    <a:pt x="163" y="2076"/>
                    <a:pt x="163" y="2077"/>
                  </a:cubicBezTo>
                  <a:lnTo>
                    <a:pt x="163" y="2078"/>
                  </a:lnTo>
                  <a:close/>
                  <a:moveTo>
                    <a:pt x="172" y="2092"/>
                  </a:moveTo>
                  <a:cubicBezTo>
                    <a:pt x="172" y="2089"/>
                    <a:pt x="169" y="2095"/>
                    <a:pt x="172" y="2092"/>
                  </a:cubicBezTo>
                  <a:close/>
                  <a:moveTo>
                    <a:pt x="175" y="2137"/>
                  </a:moveTo>
                  <a:cubicBezTo>
                    <a:pt x="175" y="2134"/>
                    <a:pt x="175" y="2131"/>
                    <a:pt x="178" y="2131"/>
                  </a:cubicBezTo>
                  <a:cubicBezTo>
                    <a:pt x="175" y="2131"/>
                    <a:pt x="175" y="2126"/>
                    <a:pt x="183" y="2123"/>
                  </a:cubicBezTo>
                  <a:cubicBezTo>
                    <a:pt x="186" y="2129"/>
                    <a:pt x="186" y="2129"/>
                    <a:pt x="183" y="2129"/>
                  </a:cubicBezTo>
                  <a:cubicBezTo>
                    <a:pt x="186" y="2129"/>
                    <a:pt x="186" y="2131"/>
                    <a:pt x="189" y="2131"/>
                  </a:cubicBezTo>
                  <a:cubicBezTo>
                    <a:pt x="186" y="2137"/>
                    <a:pt x="180" y="2137"/>
                    <a:pt x="175" y="2137"/>
                  </a:cubicBezTo>
                  <a:close/>
                  <a:moveTo>
                    <a:pt x="183" y="2100"/>
                  </a:moveTo>
                  <a:cubicBezTo>
                    <a:pt x="183" y="2098"/>
                    <a:pt x="180" y="2103"/>
                    <a:pt x="183" y="2100"/>
                  </a:cubicBezTo>
                  <a:close/>
                  <a:moveTo>
                    <a:pt x="192" y="2098"/>
                  </a:moveTo>
                  <a:cubicBezTo>
                    <a:pt x="194" y="2098"/>
                    <a:pt x="186" y="2095"/>
                    <a:pt x="192" y="2098"/>
                  </a:cubicBezTo>
                  <a:close/>
                  <a:moveTo>
                    <a:pt x="194" y="2100"/>
                  </a:moveTo>
                  <a:cubicBezTo>
                    <a:pt x="193" y="2102"/>
                    <a:pt x="193" y="2101"/>
                    <a:pt x="194" y="2100"/>
                  </a:cubicBezTo>
                  <a:lnTo>
                    <a:pt x="194" y="2100"/>
                  </a:lnTo>
                  <a:cubicBezTo>
                    <a:pt x="197" y="2101"/>
                    <a:pt x="189" y="2107"/>
                    <a:pt x="192" y="2100"/>
                  </a:cubicBezTo>
                  <a:cubicBezTo>
                    <a:pt x="193" y="2100"/>
                    <a:pt x="193" y="2100"/>
                    <a:pt x="194" y="2100"/>
                  </a:cubicBezTo>
                  <a:close/>
                  <a:moveTo>
                    <a:pt x="220" y="2191"/>
                  </a:moveTo>
                  <a:lnTo>
                    <a:pt x="220" y="2196"/>
                  </a:lnTo>
                  <a:cubicBezTo>
                    <a:pt x="214" y="2188"/>
                    <a:pt x="209" y="2179"/>
                    <a:pt x="203" y="2174"/>
                  </a:cubicBezTo>
                  <a:lnTo>
                    <a:pt x="203" y="2177"/>
                  </a:lnTo>
                  <a:cubicBezTo>
                    <a:pt x="197" y="2171"/>
                    <a:pt x="194" y="2165"/>
                    <a:pt x="197" y="2157"/>
                  </a:cubicBezTo>
                  <a:lnTo>
                    <a:pt x="194" y="2154"/>
                  </a:lnTo>
                  <a:cubicBezTo>
                    <a:pt x="197" y="2148"/>
                    <a:pt x="206" y="2148"/>
                    <a:pt x="206" y="2160"/>
                  </a:cubicBezTo>
                  <a:cubicBezTo>
                    <a:pt x="211" y="2163"/>
                    <a:pt x="211" y="2171"/>
                    <a:pt x="214" y="2177"/>
                  </a:cubicBezTo>
                  <a:cubicBezTo>
                    <a:pt x="211" y="2165"/>
                    <a:pt x="226" y="2154"/>
                    <a:pt x="220" y="2182"/>
                  </a:cubicBezTo>
                  <a:cubicBezTo>
                    <a:pt x="226" y="2188"/>
                    <a:pt x="226" y="2191"/>
                    <a:pt x="220" y="2191"/>
                  </a:cubicBezTo>
                  <a:close/>
                  <a:moveTo>
                    <a:pt x="220" y="2154"/>
                  </a:moveTo>
                  <a:cubicBezTo>
                    <a:pt x="237" y="2151"/>
                    <a:pt x="217" y="2177"/>
                    <a:pt x="220" y="2154"/>
                  </a:cubicBezTo>
                  <a:close/>
                  <a:moveTo>
                    <a:pt x="234" y="2219"/>
                  </a:moveTo>
                  <a:cubicBezTo>
                    <a:pt x="231" y="2227"/>
                    <a:pt x="234" y="2213"/>
                    <a:pt x="234" y="2213"/>
                  </a:cubicBezTo>
                  <a:lnTo>
                    <a:pt x="234" y="2219"/>
                  </a:lnTo>
                  <a:close/>
                  <a:moveTo>
                    <a:pt x="240" y="2143"/>
                  </a:moveTo>
                  <a:cubicBezTo>
                    <a:pt x="228" y="2160"/>
                    <a:pt x="240" y="2120"/>
                    <a:pt x="240" y="2143"/>
                  </a:cubicBezTo>
                  <a:close/>
                  <a:moveTo>
                    <a:pt x="234" y="2117"/>
                  </a:moveTo>
                  <a:cubicBezTo>
                    <a:pt x="237" y="2109"/>
                    <a:pt x="240" y="2100"/>
                    <a:pt x="245" y="2092"/>
                  </a:cubicBezTo>
                  <a:cubicBezTo>
                    <a:pt x="251" y="2098"/>
                    <a:pt x="254" y="2106"/>
                    <a:pt x="248" y="2115"/>
                  </a:cubicBezTo>
                  <a:cubicBezTo>
                    <a:pt x="248" y="2117"/>
                    <a:pt x="245" y="2117"/>
                    <a:pt x="242" y="2120"/>
                  </a:cubicBezTo>
                  <a:cubicBezTo>
                    <a:pt x="248" y="2123"/>
                    <a:pt x="231" y="2137"/>
                    <a:pt x="234" y="2117"/>
                  </a:cubicBezTo>
                  <a:close/>
                  <a:moveTo>
                    <a:pt x="240" y="2208"/>
                  </a:moveTo>
                  <a:lnTo>
                    <a:pt x="240" y="2207"/>
                  </a:lnTo>
                  <a:cubicBezTo>
                    <a:pt x="240" y="2207"/>
                    <a:pt x="241" y="2208"/>
                    <a:pt x="240" y="2208"/>
                  </a:cubicBezTo>
                  <a:cubicBezTo>
                    <a:pt x="238" y="2206"/>
                    <a:pt x="239" y="2206"/>
                    <a:pt x="240" y="2207"/>
                  </a:cubicBezTo>
                  <a:lnTo>
                    <a:pt x="240" y="2208"/>
                  </a:lnTo>
                  <a:close/>
                  <a:moveTo>
                    <a:pt x="245" y="2137"/>
                  </a:moveTo>
                  <a:cubicBezTo>
                    <a:pt x="231" y="2137"/>
                    <a:pt x="242" y="2117"/>
                    <a:pt x="245" y="2137"/>
                  </a:cubicBezTo>
                  <a:close/>
                  <a:moveTo>
                    <a:pt x="240" y="2196"/>
                  </a:moveTo>
                  <a:lnTo>
                    <a:pt x="240" y="2188"/>
                  </a:lnTo>
                  <a:cubicBezTo>
                    <a:pt x="245" y="2188"/>
                    <a:pt x="248" y="2191"/>
                    <a:pt x="248" y="2194"/>
                  </a:cubicBezTo>
                  <a:cubicBezTo>
                    <a:pt x="248" y="2194"/>
                    <a:pt x="242" y="2196"/>
                    <a:pt x="240" y="2196"/>
                  </a:cubicBezTo>
                  <a:close/>
                  <a:moveTo>
                    <a:pt x="257" y="2115"/>
                  </a:moveTo>
                  <a:cubicBezTo>
                    <a:pt x="265" y="2129"/>
                    <a:pt x="237" y="2120"/>
                    <a:pt x="257" y="2115"/>
                  </a:cubicBezTo>
                  <a:close/>
                  <a:moveTo>
                    <a:pt x="254" y="2086"/>
                  </a:moveTo>
                  <a:cubicBezTo>
                    <a:pt x="257" y="2086"/>
                    <a:pt x="259" y="2086"/>
                    <a:pt x="262" y="2084"/>
                  </a:cubicBezTo>
                  <a:cubicBezTo>
                    <a:pt x="262" y="2086"/>
                    <a:pt x="262" y="2089"/>
                    <a:pt x="265" y="2092"/>
                  </a:cubicBezTo>
                  <a:cubicBezTo>
                    <a:pt x="262" y="2092"/>
                    <a:pt x="259" y="2095"/>
                    <a:pt x="257" y="2095"/>
                  </a:cubicBezTo>
                  <a:cubicBezTo>
                    <a:pt x="257" y="2095"/>
                    <a:pt x="254" y="2089"/>
                    <a:pt x="254" y="2086"/>
                  </a:cubicBezTo>
                  <a:close/>
                  <a:moveTo>
                    <a:pt x="259" y="2112"/>
                  </a:moveTo>
                  <a:cubicBezTo>
                    <a:pt x="262" y="2112"/>
                    <a:pt x="265" y="2112"/>
                    <a:pt x="268" y="2109"/>
                  </a:cubicBezTo>
                  <a:cubicBezTo>
                    <a:pt x="268" y="2112"/>
                    <a:pt x="268" y="2115"/>
                    <a:pt x="271" y="2117"/>
                  </a:cubicBezTo>
                  <a:cubicBezTo>
                    <a:pt x="268" y="2117"/>
                    <a:pt x="265" y="2120"/>
                    <a:pt x="262" y="2120"/>
                  </a:cubicBezTo>
                  <a:cubicBezTo>
                    <a:pt x="262" y="2120"/>
                    <a:pt x="262" y="2115"/>
                    <a:pt x="259" y="2112"/>
                  </a:cubicBezTo>
                  <a:close/>
                  <a:moveTo>
                    <a:pt x="276" y="2256"/>
                  </a:moveTo>
                  <a:cubicBezTo>
                    <a:pt x="282" y="2270"/>
                    <a:pt x="254" y="2261"/>
                    <a:pt x="276" y="2256"/>
                  </a:cubicBezTo>
                  <a:close/>
                  <a:moveTo>
                    <a:pt x="273" y="2230"/>
                  </a:moveTo>
                  <a:cubicBezTo>
                    <a:pt x="276" y="2230"/>
                    <a:pt x="271" y="2227"/>
                    <a:pt x="273" y="2230"/>
                  </a:cubicBezTo>
                  <a:close/>
                  <a:moveTo>
                    <a:pt x="288" y="2301"/>
                  </a:moveTo>
                  <a:cubicBezTo>
                    <a:pt x="290" y="2304"/>
                    <a:pt x="285" y="2301"/>
                    <a:pt x="288" y="2301"/>
                  </a:cubicBezTo>
                  <a:close/>
                  <a:moveTo>
                    <a:pt x="285" y="2292"/>
                  </a:moveTo>
                  <a:cubicBezTo>
                    <a:pt x="282" y="2287"/>
                    <a:pt x="279" y="2284"/>
                    <a:pt x="282" y="2278"/>
                  </a:cubicBezTo>
                  <a:cubicBezTo>
                    <a:pt x="288" y="2278"/>
                    <a:pt x="290" y="2284"/>
                    <a:pt x="296" y="2284"/>
                  </a:cubicBezTo>
                  <a:cubicBezTo>
                    <a:pt x="293" y="2287"/>
                    <a:pt x="290" y="2292"/>
                    <a:pt x="285" y="2292"/>
                  </a:cubicBezTo>
                  <a:close/>
                  <a:moveTo>
                    <a:pt x="279" y="2210"/>
                  </a:moveTo>
                  <a:cubicBezTo>
                    <a:pt x="279" y="2202"/>
                    <a:pt x="288" y="2213"/>
                    <a:pt x="279" y="2210"/>
                  </a:cubicBezTo>
                  <a:close/>
                  <a:moveTo>
                    <a:pt x="282" y="2225"/>
                  </a:moveTo>
                  <a:cubicBezTo>
                    <a:pt x="282" y="2219"/>
                    <a:pt x="290" y="2222"/>
                    <a:pt x="293" y="2216"/>
                  </a:cubicBezTo>
                  <a:cubicBezTo>
                    <a:pt x="299" y="2219"/>
                    <a:pt x="290" y="2227"/>
                    <a:pt x="282" y="2225"/>
                  </a:cubicBezTo>
                  <a:close/>
                  <a:moveTo>
                    <a:pt x="288" y="2270"/>
                  </a:moveTo>
                  <a:cubicBezTo>
                    <a:pt x="302" y="2267"/>
                    <a:pt x="285" y="2292"/>
                    <a:pt x="288" y="2270"/>
                  </a:cubicBezTo>
                  <a:close/>
                  <a:moveTo>
                    <a:pt x="293" y="2306"/>
                  </a:moveTo>
                  <a:cubicBezTo>
                    <a:pt x="307" y="2306"/>
                    <a:pt x="291" y="2328"/>
                    <a:pt x="293" y="2307"/>
                  </a:cubicBezTo>
                  <a:cubicBezTo>
                    <a:pt x="293" y="2307"/>
                    <a:pt x="293" y="2307"/>
                    <a:pt x="293" y="2306"/>
                  </a:cubicBezTo>
                  <a:close/>
                  <a:moveTo>
                    <a:pt x="293" y="2306"/>
                  </a:moveTo>
                  <a:cubicBezTo>
                    <a:pt x="291" y="2309"/>
                    <a:pt x="293" y="2309"/>
                    <a:pt x="293" y="2307"/>
                  </a:cubicBezTo>
                  <a:cubicBezTo>
                    <a:pt x="293" y="2307"/>
                    <a:pt x="293" y="2307"/>
                    <a:pt x="293" y="2306"/>
                  </a:cubicBezTo>
                  <a:close/>
                  <a:moveTo>
                    <a:pt x="301" y="2239"/>
                  </a:moveTo>
                  <a:cubicBezTo>
                    <a:pt x="300" y="2239"/>
                    <a:pt x="300" y="2239"/>
                    <a:pt x="299" y="2239"/>
                  </a:cubicBezTo>
                  <a:cubicBezTo>
                    <a:pt x="299" y="2238"/>
                    <a:pt x="299" y="2238"/>
                    <a:pt x="300" y="2238"/>
                  </a:cubicBezTo>
                  <a:cubicBezTo>
                    <a:pt x="299" y="2237"/>
                    <a:pt x="299" y="2237"/>
                    <a:pt x="299" y="2237"/>
                  </a:cubicBezTo>
                  <a:cubicBezTo>
                    <a:pt x="298" y="2237"/>
                    <a:pt x="297" y="2238"/>
                    <a:pt x="296" y="2239"/>
                  </a:cubicBezTo>
                  <a:cubicBezTo>
                    <a:pt x="293" y="2227"/>
                    <a:pt x="305" y="2222"/>
                    <a:pt x="302" y="2213"/>
                  </a:cubicBezTo>
                  <a:cubicBezTo>
                    <a:pt x="296" y="2210"/>
                    <a:pt x="290" y="2208"/>
                    <a:pt x="288" y="2205"/>
                  </a:cubicBezTo>
                  <a:cubicBezTo>
                    <a:pt x="285" y="2205"/>
                    <a:pt x="282" y="2205"/>
                    <a:pt x="282" y="2199"/>
                  </a:cubicBezTo>
                  <a:cubicBezTo>
                    <a:pt x="273" y="2188"/>
                    <a:pt x="271" y="2174"/>
                    <a:pt x="271" y="2160"/>
                  </a:cubicBezTo>
                  <a:cubicBezTo>
                    <a:pt x="285" y="2160"/>
                    <a:pt x="285" y="2157"/>
                    <a:pt x="296" y="2151"/>
                  </a:cubicBezTo>
                  <a:cubicBezTo>
                    <a:pt x="296" y="2154"/>
                    <a:pt x="299" y="2157"/>
                    <a:pt x="302" y="2160"/>
                  </a:cubicBezTo>
                  <a:cubicBezTo>
                    <a:pt x="302" y="2157"/>
                    <a:pt x="305" y="2157"/>
                    <a:pt x="305" y="2154"/>
                  </a:cubicBezTo>
                  <a:cubicBezTo>
                    <a:pt x="313" y="2160"/>
                    <a:pt x="313" y="2163"/>
                    <a:pt x="307" y="2165"/>
                  </a:cubicBezTo>
                  <a:cubicBezTo>
                    <a:pt x="313" y="2171"/>
                    <a:pt x="313" y="2179"/>
                    <a:pt x="313" y="2188"/>
                  </a:cubicBezTo>
                  <a:cubicBezTo>
                    <a:pt x="302" y="2188"/>
                    <a:pt x="299" y="2194"/>
                    <a:pt x="305" y="2205"/>
                  </a:cubicBezTo>
                  <a:cubicBezTo>
                    <a:pt x="310" y="2208"/>
                    <a:pt x="319" y="2208"/>
                    <a:pt x="321" y="2210"/>
                  </a:cubicBezTo>
                  <a:cubicBezTo>
                    <a:pt x="324" y="2216"/>
                    <a:pt x="321" y="2222"/>
                    <a:pt x="319" y="2225"/>
                  </a:cubicBezTo>
                  <a:cubicBezTo>
                    <a:pt x="324" y="2227"/>
                    <a:pt x="324" y="2236"/>
                    <a:pt x="307" y="2239"/>
                  </a:cubicBezTo>
                  <a:lnTo>
                    <a:pt x="307" y="2233"/>
                  </a:lnTo>
                  <a:cubicBezTo>
                    <a:pt x="306" y="2235"/>
                    <a:pt x="303" y="2235"/>
                    <a:pt x="301" y="2236"/>
                  </a:cubicBezTo>
                  <a:cubicBezTo>
                    <a:pt x="301" y="2236"/>
                    <a:pt x="301" y="2236"/>
                    <a:pt x="302" y="2237"/>
                  </a:cubicBezTo>
                  <a:cubicBezTo>
                    <a:pt x="303" y="2237"/>
                    <a:pt x="305" y="2238"/>
                    <a:pt x="305" y="2239"/>
                  </a:cubicBezTo>
                  <a:cubicBezTo>
                    <a:pt x="314" y="2251"/>
                    <a:pt x="306" y="2245"/>
                    <a:pt x="301" y="2239"/>
                  </a:cubicBezTo>
                  <a:close/>
                  <a:moveTo>
                    <a:pt x="313" y="2289"/>
                  </a:moveTo>
                  <a:cubicBezTo>
                    <a:pt x="305" y="2287"/>
                    <a:pt x="307" y="2289"/>
                    <a:pt x="299" y="2292"/>
                  </a:cubicBezTo>
                  <a:cubicBezTo>
                    <a:pt x="290" y="2278"/>
                    <a:pt x="313" y="2270"/>
                    <a:pt x="313" y="2289"/>
                  </a:cubicBezTo>
                  <a:close/>
                  <a:moveTo>
                    <a:pt x="299" y="2247"/>
                  </a:moveTo>
                  <a:cubicBezTo>
                    <a:pt x="313" y="2244"/>
                    <a:pt x="296" y="2270"/>
                    <a:pt x="299" y="2247"/>
                  </a:cubicBezTo>
                  <a:close/>
                  <a:moveTo>
                    <a:pt x="305" y="2298"/>
                  </a:moveTo>
                  <a:cubicBezTo>
                    <a:pt x="299" y="2312"/>
                    <a:pt x="296" y="2287"/>
                    <a:pt x="305" y="2298"/>
                  </a:cubicBezTo>
                  <a:close/>
                  <a:moveTo>
                    <a:pt x="319" y="2329"/>
                  </a:moveTo>
                  <a:lnTo>
                    <a:pt x="319" y="2335"/>
                  </a:lnTo>
                  <a:cubicBezTo>
                    <a:pt x="313" y="2337"/>
                    <a:pt x="313" y="2332"/>
                    <a:pt x="307" y="2332"/>
                  </a:cubicBezTo>
                  <a:cubicBezTo>
                    <a:pt x="313" y="2337"/>
                    <a:pt x="316" y="2343"/>
                    <a:pt x="319" y="2349"/>
                  </a:cubicBezTo>
                  <a:lnTo>
                    <a:pt x="310" y="2349"/>
                  </a:lnTo>
                  <a:cubicBezTo>
                    <a:pt x="310" y="2354"/>
                    <a:pt x="299" y="2357"/>
                    <a:pt x="296" y="2343"/>
                  </a:cubicBezTo>
                  <a:lnTo>
                    <a:pt x="302" y="2343"/>
                  </a:lnTo>
                  <a:cubicBezTo>
                    <a:pt x="302" y="2337"/>
                    <a:pt x="299" y="2332"/>
                    <a:pt x="296" y="2326"/>
                  </a:cubicBezTo>
                  <a:cubicBezTo>
                    <a:pt x="299" y="2326"/>
                    <a:pt x="305" y="2329"/>
                    <a:pt x="307" y="2329"/>
                  </a:cubicBezTo>
                  <a:lnTo>
                    <a:pt x="307" y="2323"/>
                  </a:lnTo>
                  <a:lnTo>
                    <a:pt x="302" y="2320"/>
                  </a:lnTo>
                  <a:cubicBezTo>
                    <a:pt x="305" y="2320"/>
                    <a:pt x="307" y="2318"/>
                    <a:pt x="310" y="2315"/>
                  </a:cubicBezTo>
                  <a:cubicBezTo>
                    <a:pt x="310" y="2315"/>
                    <a:pt x="313" y="2315"/>
                    <a:pt x="313" y="2312"/>
                  </a:cubicBezTo>
                  <a:cubicBezTo>
                    <a:pt x="316" y="2315"/>
                    <a:pt x="316" y="2318"/>
                    <a:pt x="319" y="2320"/>
                  </a:cubicBezTo>
                  <a:cubicBezTo>
                    <a:pt x="321" y="2326"/>
                    <a:pt x="321" y="2329"/>
                    <a:pt x="319" y="2329"/>
                  </a:cubicBezTo>
                  <a:close/>
                  <a:moveTo>
                    <a:pt x="321" y="2250"/>
                  </a:moveTo>
                  <a:cubicBezTo>
                    <a:pt x="324" y="2261"/>
                    <a:pt x="305" y="2250"/>
                    <a:pt x="321" y="2250"/>
                  </a:cubicBezTo>
                  <a:close/>
                  <a:moveTo>
                    <a:pt x="321" y="2304"/>
                  </a:moveTo>
                  <a:lnTo>
                    <a:pt x="321" y="2312"/>
                  </a:lnTo>
                  <a:lnTo>
                    <a:pt x="316" y="2312"/>
                  </a:lnTo>
                  <a:cubicBezTo>
                    <a:pt x="316" y="2309"/>
                    <a:pt x="316" y="2304"/>
                    <a:pt x="321" y="2304"/>
                  </a:cubicBezTo>
                  <a:close/>
                  <a:moveTo>
                    <a:pt x="310" y="1880"/>
                  </a:moveTo>
                  <a:cubicBezTo>
                    <a:pt x="319" y="1883"/>
                    <a:pt x="327" y="1892"/>
                    <a:pt x="324" y="1903"/>
                  </a:cubicBezTo>
                  <a:cubicBezTo>
                    <a:pt x="310" y="1906"/>
                    <a:pt x="310" y="1889"/>
                    <a:pt x="310" y="1880"/>
                  </a:cubicBezTo>
                  <a:close/>
                  <a:moveTo>
                    <a:pt x="321" y="1720"/>
                  </a:moveTo>
                  <a:cubicBezTo>
                    <a:pt x="327" y="1720"/>
                    <a:pt x="333" y="1717"/>
                    <a:pt x="336" y="1717"/>
                  </a:cubicBezTo>
                  <a:cubicBezTo>
                    <a:pt x="338" y="1725"/>
                    <a:pt x="336" y="1734"/>
                    <a:pt x="324" y="1734"/>
                  </a:cubicBezTo>
                  <a:cubicBezTo>
                    <a:pt x="324" y="1731"/>
                    <a:pt x="321" y="1725"/>
                    <a:pt x="321" y="1720"/>
                  </a:cubicBezTo>
                  <a:close/>
                  <a:moveTo>
                    <a:pt x="330" y="2326"/>
                  </a:moveTo>
                  <a:cubicBezTo>
                    <a:pt x="333" y="2323"/>
                    <a:pt x="324" y="2329"/>
                    <a:pt x="330" y="2326"/>
                  </a:cubicBezTo>
                  <a:close/>
                  <a:moveTo>
                    <a:pt x="347" y="2368"/>
                  </a:moveTo>
                  <a:cubicBezTo>
                    <a:pt x="350" y="2374"/>
                    <a:pt x="341" y="2377"/>
                    <a:pt x="344" y="2383"/>
                  </a:cubicBezTo>
                  <a:cubicBezTo>
                    <a:pt x="341" y="2383"/>
                    <a:pt x="338" y="2377"/>
                    <a:pt x="333" y="2380"/>
                  </a:cubicBezTo>
                  <a:cubicBezTo>
                    <a:pt x="333" y="2377"/>
                    <a:pt x="330" y="2371"/>
                    <a:pt x="330" y="2368"/>
                  </a:cubicBezTo>
                  <a:cubicBezTo>
                    <a:pt x="333" y="2366"/>
                    <a:pt x="341" y="2368"/>
                    <a:pt x="347" y="2368"/>
                  </a:cubicBezTo>
                  <a:cubicBezTo>
                    <a:pt x="347" y="2366"/>
                    <a:pt x="350" y="2363"/>
                    <a:pt x="352" y="2363"/>
                  </a:cubicBezTo>
                  <a:cubicBezTo>
                    <a:pt x="352" y="2366"/>
                    <a:pt x="350" y="2366"/>
                    <a:pt x="347" y="2368"/>
                  </a:cubicBezTo>
                  <a:close/>
                  <a:moveTo>
                    <a:pt x="355" y="2363"/>
                  </a:moveTo>
                  <a:lnTo>
                    <a:pt x="352" y="2363"/>
                  </a:lnTo>
                  <a:lnTo>
                    <a:pt x="344" y="2363"/>
                  </a:lnTo>
                  <a:cubicBezTo>
                    <a:pt x="336" y="2340"/>
                    <a:pt x="369" y="2352"/>
                    <a:pt x="355" y="2363"/>
                  </a:cubicBezTo>
                  <a:close/>
                  <a:moveTo>
                    <a:pt x="355" y="2383"/>
                  </a:moveTo>
                  <a:cubicBezTo>
                    <a:pt x="358" y="2380"/>
                    <a:pt x="361" y="2380"/>
                    <a:pt x="364" y="2377"/>
                  </a:cubicBezTo>
                  <a:cubicBezTo>
                    <a:pt x="369" y="2377"/>
                    <a:pt x="372" y="2377"/>
                    <a:pt x="372" y="2380"/>
                  </a:cubicBezTo>
                  <a:lnTo>
                    <a:pt x="369" y="2380"/>
                  </a:lnTo>
                  <a:cubicBezTo>
                    <a:pt x="381" y="2388"/>
                    <a:pt x="355" y="2397"/>
                    <a:pt x="355" y="2383"/>
                  </a:cubicBezTo>
                  <a:close/>
                  <a:moveTo>
                    <a:pt x="367" y="2340"/>
                  </a:moveTo>
                  <a:cubicBezTo>
                    <a:pt x="364" y="2335"/>
                    <a:pt x="369" y="2326"/>
                    <a:pt x="369" y="2320"/>
                  </a:cubicBezTo>
                  <a:cubicBezTo>
                    <a:pt x="381" y="2318"/>
                    <a:pt x="378" y="2340"/>
                    <a:pt x="367" y="2340"/>
                  </a:cubicBezTo>
                  <a:close/>
                  <a:moveTo>
                    <a:pt x="381" y="2335"/>
                  </a:moveTo>
                  <a:cubicBezTo>
                    <a:pt x="398" y="2337"/>
                    <a:pt x="378" y="2354"/>
                    <a:pt x="386" y="2366"/>
                  </a:cubicBezTo>
                  <a:cubicBezTo>
                    <a:pt x="367" y="2360"/>
                    <a:pt x="381" y="2352"/>
                    <a:pt x="381" y="2335"/>
                  </a:cubicBezTo>
                  <a:close/>
                  <a:moveTo>
                    <a:pt x="386" y="2371"/>
                  </a:moveTo>
                  <a:cubicBezTo>
                    <a:pt x="384" y="2377"/>
                    <a:pt x="389" y="2368"/>
                    <a:pt x="386" y="2371"/>
                  </a:cubicBezTo>
                  <a:close/>
                  <a:moveTo>
                    <a:pt x="384" y="2385"/>
                  </a:moveTo>
                  <a:cubicBezTo>
                    <a:pt x="409" y="2391"/>
                    <a:pt x="389" y="2419"/>
                    <a:pt x="384" y="2385"/>
                  </a:cubicBezTo>
                  <a:close/>
                  <a:moveTo>
                    <a:pt x="395" y="2436"/>
                  </a:moveTo>
                  <a:cubicBezTo>
                    <a:pt x="409" y="2436"/>
                    <a:pt x="392" y="2459"/>
                    <a:pt x="395" y="2436"/>
                  </a:cubicBezTo>
                  <a:close/>
                  <a:moveTo>
                    <a:pt x="398" y="2453"/>
                  </a:moveTo>
                  <a:cubicBezTo>
                    <a:pt x="412" y="2450"/>
                    <a:pt x="395" y="2476"/>
                    <a:pt x="398" y="2453"/>
                  </a:cubicBezTo>
                  <a:close/>
                  <a:moveTo>
                    <a:pt x="403" y="2408"/>
                  </a:moveTo>
                  <a:cubicBezTo>
                    <a:pt x="415" y="2405"/>
                    <a:pt x="409" y="2428"/>
                    <a:pt x="415" y="2433"/>
                  </a:cubicBezTo>
                  <a:cubicBezTo>
                    <a:pt x="403" y="2433"/>
                    <a:pt x="409" y="2414"/>
                    <a:pt x="403" y="2408"/>
                  </a:cubicBezTo>
                  <a:close/>
                  <a:moveTo>
                    <a:pt x="426" y="2391"/>
                  </a:moveTo>
                  <a:lnTo>
                    <a:pt x="423" y="2391"/>
                  </a:lnTo>
                  <a:cubicBezTo>
                    <a:pt x="423" y="2389"/>
                    <a:pt x="424" y="2389"/>
                    <a:pt x="425" y="2388"/>
                  </a:cubicBezTo>
                  <a:cubicBezTo>
                    <a:pt x="424" y="2389"/>
                    <a:pt x="426" y="2391"/>
                    <a:pt x="426" y="2391"/>
                  </a:cubicBezTo>
                  <a:close/>
                  <a:moveTo>
                    <a:pt x="426" y="2473"/>
                  </a:moveTo>
                  <a:cubicBezTo>
                    <a:pt x="440" y="2473"/>
                    <a:pt x="423" y="2495"/>
                    <a:pt x="426" y="2473"/>
                  </a:cubicBezTo>
                  <a:close/>
                  <a:moveTo>
                    <a:pt x="443" y="2473"/>
                  </a:moveTo>
                  <a:lnTo>
                    <a:pt x="443" y="2472"/>
                  </a:lnTo>
                  <a:cubicBezTo>
                    <a:pt x="442" y="2473"/>
                    <a:pt x="439" y="2475"/>
                    <a:pt x="443" y="2473"/>
                  </a:cubicBezTo>
                  <a:cubicBezTo>
                    <a:pt x="444" y="2472"/>
                    <a:pt x="443" y="2472"/>
                    <a:pt x="443" y="2472"/>
                  </a:cubicBezTo>
                  <a:lnTo>
                    <a:pt x="443" y="2473"/>
                  </a:lnTo>
                  <a:close/>
                  <a:moveTo>
                    <a:pt x="432" y="2462"/>
                  </a:moveTo>
                  <a:cubicBezTo>
                    <a:pt x="423" y="2447"/>
                    <a:pt x="446" y="2453"/>
                    <a:pt x="440" y="2439"/>
                  </a:cubicBezTo>
                  <a:cubicBezTo>
                    <a:pt x="457" y="2439"/>
                    <a:pt x="446" y="2459"/>
                    <a:pt x="432" y="2462"/>
                  </a:cubicBezTo>
                  <a:close/>
                  <a:moveTo>
                    <a:pt x="448" y="2385"/>
                  </a:moveTo>
                  <a:lnTo>
                    <a:pt x="463" y="2385"/>
                  </a:lnTo>
                  <a:lnTo>
                    <a:pt x="463" y="2399"/>
                  </a:lnTo>
                  <a:lnTo>
                    <a:pt x="448" y="2399"/>
                  </a:lnTo>
                  <a:lnTo>
                    <a:pt x="448" y="2385"/>
                  </a:lnTo>
                  <a:close/>
                  <a:moveTo>
                    <a:pt x="460" y="2473"/>
                  </a:moveTo>
                  <a:cubicBezTo>
                    <a:pt x="477" y="2478"/>
                    <a:pt x="443" y="2490"/>
                    <a:pt x="460" y="2473"/>
                  </a:cubicBezTo>
                  <a:close/>
                  <a:moveTo>
                    <a:pt x="463" y="2535"/>
                  </a:moveTo>
                  <a:lnTo>
                    <a:pt x="463" y="2507"/>
                  </a:lnTo>
                  <a:lnTo>
                    <a:pt x="463" y="2501"/>
                  </a:lnTo>
                  <a:cubicBezTo>
                    <a:pt x="465" y="2493"/>
                    <a:pt x="474" y="2487"/>
                    <a:pt x="482" y="2490"/>
                  </a:cubicBezTo>
                  <a:cubicBezTo>
                    <a:pt x="482" y="2509"/>
                    <a:pt x="485" y="2535"/>
                    <a:pt x="463" y="2535"/>
                  </a:cubicBezTo>
                  <a:close/>
                  <a:moveTo>
                    <a:pt x="475" y="2481"/>
                  </a:moveTo>
                  <a:cubicBezTo>
                    <a:pt x="475" y="2483"/>
                    <a:pt x="474" y="2485"/>
                    <a:pt x="474" y="2481"/>
                  </a:cubicBezTo>
                  <a:cubicBezTo>
                    <a:pt x="475" y="2480"/>
                    <a:pt x="475" y="2481"/>
                    <a:pt x="475" y="2481"/>
                  </a:cubicBezTo>
                  <a:close/>
                  <a:moveTo>
                    <a:pt x="494" y="2473"/>
                  </a:moveTo>
                  <a:cubicBezTo>
                    <a:pt x="496" y="2476"/>
                    <a:pt x="499" y="2476"/>
                    <a:pt x="499" y="2476"/>
                  </a:cubicBezTo>
                  <a:lnTo>
                    <a:pt x="491" y="2476"/>
                  </a:lnTo>
                  <a:cubicBezTo>
                    <a:pt x="490" y="2478"/>
                    <a:pt x="487" y="2480"/>
                    <a:pt x="488" y="2474"/>
                  </a:cubicBezTo>
                  <a:cubicBezTo>
                    <a:pt x="487" y="2473"/>
                    <a:pt x="486" y="2473"/>
                    <a:pt x="485" y="2473"/>
                  </a:cubicBezTo>
                  <a:cubicBezTo>
                    <a:pt x="488" y="2473"/>
                    <a:pt x="491" y="2470"/>
                    <a:pt x="494" y="2473"/>
                  </a:cubicBezTo>
                  <a:close/>
                  <a:moveTo>
                    <a:pt x="508" y="2555"/>
                  </a:moveTo>
                  <a:cubicBezTo>
                    <a:pt x="505" y="2552"/>
                    <a:pt x="511" y="2555"/>
                    <a:pt x="508" y="2555"/>
                  </a:cubicBezTo>
                  <a:close/>
                  <a:moveTo>
                    <a:pt x="519" y="2546"/>
                  </a:moveTo>
                  <a:cubicBezTo>
                    <a:pt x="511" y="2563"/>
                    <a:pt x="488" y="2526"/>
                    <a:pt x="502" y="2515"/>
                  </a:cubicBezTo>
                  <a:lnTo>
                    <a:pt x="496" y="2515"/>
                  </a:lnTo>
                  <a:cubicBezTo>
                    <a:pt x="496" y="2512"/>
                    <a:pt x="499" y="2507"/>
                    <a:pt x="499" y="2504"/>
                  </a:cubicBezTo>
                  <a:cubicBezTo>
                    <a:pt x="502" y="2504"/>
                    <a:pt x="508" y="2509"/>
                    <a:pt x="511" y="2509"/>
                  </a:cubicBezTo>
                  <a:lnTo>
                    <a:pt x="511" y="2512"/>
                  </a:lnTo>
                  <a:lnTo>
                    <a:pt x="522" y="2512"/>
                  </a:lnTo>
                  <a:cubicBezTo>
                    <a:pt x="522" y="2524"/>
                    <a:pt x="499" y="2541"/>
                    <a:pt x="519" y="2546"/>
                  </a:cubicBezTo>
                  <a:close/>
                  <a:moveTo>
                    <a:pt x="536" y="2498"/>
                  </a:moveTo>
                  <a:lnTo>
                    <a:pt x="536" y="2507"/>
                  </a:lnTo>
                  <a:cubicBezTo>
                    <a:pt x="494" y="2509"/>
                    <a:pt x="544" y="2459"/>
                    <a:pt x="496" y="2467"/>
                  </a:cubicBezTo>
                  <a:lnTo>
                    <a:pt x="496" y="2439"/>
                  </a:lnTo>
                  <a:cubicBezTo>
                    <a:pt x="499" y="2450"/>
                    <a:pt x="505" y="2456"/>
                    <a:pt x="511" y="2456"/>
                  </a:cubicBezTo>
                  <a:lnTo>
                    <a:pt x="511" y="2450"/>
                  </a:lnTo>
                  <a:cubicBezTo>
                    <a:pt x="513" y="2450"/>
                    <a:pt x="516" y="2450"/>
                    <a:pt x="516" y="2453"/>
                  </a:cubicBezTo>
                  <a:cubicBezTo>
                    <a:pt x="525" y="2453"/>
                    <a:pt x="530" y="2453"/>
                    <a:pt x="539" y="2459"/>
                  </a:cubicBezTo>
                  <a:cubicBezTo>
                    <a:pt x="547" y="2459"/>
                    <a:pt x="544" y="2447"/>
                    <a:pt x="544" y="2439"/>
                  </a:cubicBezTo>
                  <a:cubicBezTo>
                    <a:pt x="556" y="2439"/>
                    <a:pt x="564" y="2442"/>
                    <a:pt x="575" y="2442"/>
                  </a:cubicBezTo>
                  <a:cubicBezTo>
                    <a:pt x="567" y="2450"/>
                    <a:pt x="558" y="2459"/>
                    <a:pt x="547" y="2467"/>
                  </a:cubicBezTo>
                  <a:cubicBezTo>
                    <a:pt x="550" y="2467"/>
                    <a:pt x="553" y="2467"/>
                    <a:pt x="556" y="2470"/>
                  </a:cubicBezTo>
                  <a:cubicBezTo>
                    <a:pt x="553" y="2473"/>
                    <a:pt x="547" y="2473"/>
                    <a:pt x="544" y="2470"/>
                  </a:cubicBezTo>
                  <a:cubicBezTo>
                    <a:pt x="539" y="2476"/>
                    <a:pt x="536" y="2481"/>
                    <a:pt x="536" y="2487"/>
                  </a:cubicBezTo>
                  <a:cubicBezTo>
                    <a:pt x="542" y="2493"/>
                    <a:pt x="539" y="2498"/>
                    <a:pt x="536" y="2498"/>
                  </a:cubicBezTo>
                  <a:close/>
                  <a:moveTo>
                    <a:pt x="542" y="2532"/>
                  </a:moveTo>
                  <a:cubicBezTo>
                    <a:pt x="544" y="2529"/>
                    <a:pt x="539" y="2538"/>
                    <a:pt x="542" y="2532"/>
                  </a:cubicBezTo>
                  <a:close/>
                  <a:moveTo>
                    <a:pt x="542" y="2569"/>
                  </a:moveTo>
                  <a:cubicBezTo>
                    <a:pt x="550" y="2563"/>
                    <a:pt x="539" y="2543"/>
                    <a:pt x="556" y="2546"/>
                  </a:cubicBezTo>
                  <a:cubicBezTo>
                    <a:pt x="558" y="2557"/>
                    <a:pt x="558" y="2572"/>
                    <a:pt x="542" y="2569"/>
                  </a:cubicBezTo>
                  <a:close/>
                  <a:moveTo>
                    <a:pt x="561" y="2507"/>
                  </a:moveTo>
                  <a:cubicBezTo>
                    <a:pt x="564" y="2501"/>
                    <a:pt x="558" y="2487"/>
                    <a:pt x="570" y="2481"/>
                  </a:cubicBezTo>
                  <a:cubicBezTo>
                    <a:pt x="573" y="2493"/>
                    <a:pt x="575" y="2501"/>
                    <a:pt x="567" y="2504"/>
                  </a:cubicBezTo>
                  <a:cubicBezTo>
                    <a:pt x="572" y="2505"/>
                    <a:pt x="576" y="2510"/>
                    <a:pt x="578" y="2515"/>
                  </a:cubicBezTo>
                  <a:cubicBezTo>
                    <a:pt x="579" y="2511"/>
                    <a:pt x="581" y="2507"/>
                    <a:pt x="581" y="2504"/>
                  </a:cubicBezTo>
                  <a:cubicBezTo>
                    <a:pt x="575" y="2495"/>
                    <a:pt x="575" y="2484"/>
                    <a:pt x="567" y="2478"/>
                  </a:cubicBezTo>
                  <a:cubicBezTo>
                    <a:pt x="570" y="2473"/>
                    <a:pt x="606" y="2493"/>
                    <a:pt x="604" y="2512"/>
                  </a:cubicBezTo>
                  <a:cubicBezTo>
                    <a:pt x="598" y="2512"/>
                    <a:pt x="595" y="2512"/>
                    <a:pt x="590" y="2509"/>
                  </a:cubicBezTo>
                  <a:cubicBezTo>
                    <a:pt x="592" y="2517"/>
                    <a:pt x="588" y="2527"/>
                    <a:pt x="579" y="2525"/>
                  </a:cubicBezTo>
                  <a:lnTo>
                    <a:pt x="578" y="2526"/>
                  </a:lnTo>
                  <a:cubicBezTo>
                    <a:pt x="578" y="2529"/>
                    <a:pt x="575" y="2532"/>
                    <a:pt x="575" y="2532"/>
                  </a:cubicBezTo>
                  <a:cubicBezTo>
                    <a:pt x="561" y="2529"/>
                    <a:pt x="558" y="2518"/>
                    <a:pt x="561" y="2507"/>
                  </a:cubicBezTo>
                  <a:close/>
                  <a:moveTo>
                    <a:pt x="575" y="2620"/>
                  </a:moveTo>
                  <a:cubicBezTo>
                    <a:pt x="573" y="2620"/>
                    <a:pt x="567" y="2614"/>
                    <a:pt x="564" y="2617"/>
                  </a:cubicBezTo>
                  <a:cubicBezTo>
                    <a:pt x="564" y="2614"/>
                    <a:pt x="570" y="2611"/>
                    <a:pt x="567" y="2605"/>
                  </a:cubicBezTo>
                  <a:cubicBezTo>
                    <a:pt x="570" y="2605"/>
                    <a:pt x="575" y="2608"/>
                    <a:pt x="578" y="2608"/>
                  </a:cubicBezTo>
                  <a:cubicBezTo>
                    <a:pt x="578" y="2611"/>
                    <a:pt x="575" y="2614"/>
                    <a:pt x="575" y="2620"/>
                  </a:cubicBezTo>
                  <a:close/>
                  <a:moveTo>
                    <a:pt x="598" y="2521"/>
                  </a:moveTo>
                  <a:lnTo>
                    <a:pt x="595" y="2524"/>
                  </a:lnTo>
                  <a:cubicBezTo>
                    <a:pt x="595" y="2521"/>
                    <a:pt x="598" y="2518"/>
                    <a:pt x="598" y="2521"/>
                  </a:cubicBezTo>
                  <a:close/>
                  <a:moveTo>
                    <a:pt x="604" y="2622"/>
                  </a:moveTo>
                  <a:cubicBezTo>
                    <a:pt x="590" y="2620"/>
                    <a:pt x="581" y="2605"/>
                    <a:pt x="587" y="2591"/>
                  </a:cubicBezTo>
                  <a:lnTo>
                    <a:pt x="587" y="2588"/>
                  </a:lnTo>
                  <a:cubicBezTo>
                    <a:pt x="601" y="2594"/>
                    <a:pt x="615" y="2611"/>
                    <a:pt x="604" y="2622"/>
                  </a:cubicBezTo>
                  <a:close/>
                  <a:moveTo>
                    <a:pt x="606" y="2591"/>
                  </a:moveTo>
                  <a:cubicBezTo>
                    <a:pt x="598" y="2588"/>
                    <a:pt x="592" y="2580"/>
                    <a:pt x="592" y="2572"/>
                  </a:cubicBezTo>
                  <a:cubicBezTo>
                    <a:pt x="598" y="2572"/>
                    <a:pt x="601" y="2569"/>
                    <a:pt x="604" y="2566"/>
                  </a:cubicBezTo>
                  <a:cubicBezTo>
                    <a:pt x="612" y="2572"/>
                    <a:pt x="618" y="2586"/>
                    <a:pt x="606" y="2591"/>
                  </a:cubicBezTo>
                  <a:close/>
                  <a:moveTo>
                    <a:pt x="626" y="2614"/>
                  </a:moveTo>
                  <a:cubicBezTo>
                    <a:pt x="640" y="2617"/>
                    <a:pt x="621" y="2642"/>
                    <a:pt x="626" y="2614"/>
                  </a:cubicBezTo>
                  <a:close/>
                  <a:moveTo>
                    <a:pt x="618" y="2597"/>
                  </a:moveTo>
                  <a:cubicBezTo>
                    <a:pt x="615" y="2600"/>
                    <a:pt x="612" y="2603"/>
                    <a:pt x="615" y="2597"/>
                  </a:cubicBezTo>
                  <a:lnTo>
                    <a:pt x="615" y="2594"/>
                  </a:lnTo>
                  <a:lnTo>
                    <a:pt x="615" y="2586"/>
                  </a:lnTo>
                  <a:cubicBezTo>
                    <a:pt x="626" y="2583"/>
                    <a:pt x="632" y="2594"/>
                    <a:pt x="635" y="2603"/>
                  </a:cubicBezTo>
                  <a:cubicBezTo>
                    <a:pt x="629" y="2603"/>
                    <a:pt x="621" y="2603"/>
                    <a:pt x="618" y="2597"/>
                  </a:cubicBezTo>
                  <a:close/>
                  <a:moveTo>
                    <a:pt x="629" y="2566"/>
                  </a:moveTo>
                  <a:cubicBezTo>
                    <a:pt x="637" y="2566"/>
                    <a:pt x="626" y="2580"/>
                    <a:pt x="629" y="2566"/>
                  </a:cubicBezTo>
                  <a:close/>
                  <a:moveTo>
                    <a:pt x="635" y="2557"/>
                  </a:moveTo>
                  <a:cubicBezTo>
                    <a:pt x="637" y="2555"/>
                    <a:pt x="632" y="2563"/>
                    <a:pt x="635" y="2557"/>
                  </a:cubicBezTo>
                  <a:close/>
                  <a:moveTo>
                    <a:pt x="632" y="2560"/>
                  </a:moveTo>
                  <a:cubicBezTo>
                    <a:pt x="615" y="2560"/>
                    <a:pt x="629" y="2535"/>
                    <a:pt x="632" y="2532"/>
                  </a:cubicBezTo>
                  <a:cubicBezTo>
                    <a:pt x="649" y="2535"/>
                    <a:pt x="623" y="2549"/>
                    <a:pt x="632" y="2560"/>
                  </a:cubicBezTo>
                  <a:close/>
                  <a:moveTo>
                    <a:pt x="646" y="2526"/>
                  </a:moveTo>
                  <a:cubicBezTo>
                    <a:pt x="649" y="2538"/>
                    <a:pt x="629" y="2526"/>
                    <a:pt x="646" y="2526"/>
                  </a:cubicBezTo>
                  <a:close/>
                  <a:moveTo>
                    <a:pt x="643" y="2549"/>
                  </a:moveTo>
                  <a:cubicBezTo>
                    <a:pt x="643" y="2546"/>
                    <a:pt x="649" y="2543"/>
                    <a:pt x="652" y="2543"/>
                  </a:cubicBezTo>
                  <a:cubicBezTo>
                    <a:pt x="652" y="2546"/>
                    <a:pt x="649" y="2549"/>
                    <a:pt x="643" y="2549"/>
                  </a:cubicBezTo>
                  <a:close/>
                  <a:moveTo>
                    <a:pt x="649" y="2476"/>
                  </a:moveTo>
                  <a:cubicBezTo>
                    <a:pt x="666" y="2476"/>
                    <a:pt x="646" y="2498"/>
                    <a:pt x="649" y="2476"/>
                  </a:cubicBezTo>
                  <a:close/>
                  <a:moveTo>
                    <a:pt x="657" y="2577"/>
                  </a:moveTo>
                  <a:lnTo>
                    <a:pt x="652" y="2577"/>
                  </a:lnTo>
                  <a:lnTo>
                    <a:pt x="652" y="2572"/>
                  </a:lnTo>
                  <a:lnTo>
                    <a:pt x="657" y="2572"/>
                  </a:lnTo>
                  <a:lnTo>
                    <a:pt x="657" y="2577"/>
                  </a:lnTo>
                  <a:close/>
                  <a:moveTo>
                    <a:pt x="657" y="2549"/>
                  </a:moveTo>
                  <a:lnTo>
                    <a:pt x="657" y="2538"/>
                  </a:lnTo>
                  <a:lnTo>
                    <a:pt x="669" y="2538"/>
                  </a:lnTo>
                  <a:cubicBezTo>
                    <a:pt x="669" y="2541"/>
                    <a:pt x="671" y="2546"/>
                    <a:pt x="671" y="2549"/>
                  </a:cubicBezTo>
                  <a:cubicBezTo>
                    <a:pt x="669" y="2546"/>
                    <a:pt x="663" y="2546"/>
                    <a:pt x="657" y="2549"/>
                  </a:cubicBezTo>
                  <a:close/>
                  <a:moveTo>
                    <a:pt x="683" y="2648"/>
                  </a:moveTo>
                  <a:cubicBezTo>
                    <a:pt x="674" y="2653"/>
                    <a:pt x="660" y="2639"/>
                    <a:pt x="660" y="2631"/>
                  </a:cubicBezTo>
                  <a:cubicBezTo>
                    <a:pt x="674" y="2625"/>
                    <a:pt x="669" y="2645"/>
                    <a:pt x="683" y="2642"/>
                  </a:cubicBezTo>
                  <a:lnTo>
                    <a:pt x="683" y="2645"/>
                  </a:lnTo>
                  <a:lnTo>
                    <a:pt x="683" y="2648"/>
                  </a:lnTo>
                  <a:close/>
                  <a:moveTo>
                    <a:pt x="674" y="2628"/>
                  </a:moveTo>
                  <a:lnTo>
                    <a:pt x="674" y="2611"/>
                  </a:lnTo>
                  <a:cubicBezTo>
                    <a:pt x="680" y="2611"/>
                    <a:pt x="680" y="2608"/>
                    <a:pt x="680" y="2605"/>
                  </a:cubicBezTo>
                  <a:cubicBezTo>
                    <a:pt x="694" y="2603"/>
                    <a:pt x="691" y="2636"/>
                    <a:pt x="674" y="2628"/>
                  </a:cubicBezTo>
                  <a:close/>
                  <a:moveTo>
                    <a:pt x="691" y="2651"/>
                  </a:moveTo>
                  <a:lnTo>
                    <a:pt x="697" y="2651"/>
                  </a:lnTo>
                  <a:cubicBezTo>
                    <a:pt x="694" y="2648"/>
                    <a:pt x="697" y="2648"/>
                    <a:pt x="700" y="2648"/>
                  </a:cubicBezTo>
                  <a:cubicBezTo>
                    <a:pt x="705" y="2653"/>
                    <a:pt x="691" y="2670"/>
                    <a:pt x="691" y="2651"/>
                  </a:cubicBezTo>
                  <a:close/>
                  <a:moveTo>
                    <a:pt x="728" y="2698"/>
                  </a:moveTo>
                  <a:cubicBezTo>
                    <a:pt x="719" y="2701"/>
                    <a:pt x="705" y="2698"/>
                    <a:pt x="705" y="2693"/>
                  </a:cubicBezTo>
                  <a:cubicBezTo>
                    <a:pt x="700" y="2682"/>
                    <a:pt x="714" y="2679"/>
                    <a:pt x="722" y="2679"/>
                  </a:cubicBezTo>
                  <a:cubicBezTo>
                    <a:pt x="722" y="2676"/>
                    <a:pt x="722" y="2673"/>
                    <a:pt x="725" y="2673"/>
                  </a:cubicBezTo>
                  <a:cubicBezTo>
                    <a:pt x="728" y="2656"/>
                    <a:pt x="742" y="2642"/>
                    <a:pt x="753" y="2642"/>
                  </a:cubicBezTo>
                  <a:cubicBezTo>
                    <a:pt x="755" y="2659"/>
                    <a:pt x="754" y="2674"/>
                    <a:pt x="750" y="2689"/>
                  </a:cubicBezTo>
                  <a:cubicBezTo>
                    <a:pt x="751" y="2687"/>
                    <a:pt x="753" y="2686"/>
                    <a:pt x="756" y="2684"/>
                  </a:cubicBezTo>
                  <a:cubicBezTo>
                    <a:pt x="765" y="2683"/>
                    <a:pt x="770" y="2688"/>
                    <a:pt x="773" y="2694"/>
                  </a:cubicBezTo>
                  <a:cubicBezTo>
                    <a:pt x="774" y="2692"/>
                    <a:pt x="776" y="2690"/>
                    <a:pt x="779" y="2687"/>
                  </a:cubicBezTo>
                  <a:cubicBezTo>
                    <a:pt x="784" y="2684"/>
                    <a:pt x="781" y="2693"/>
                    <a:pt x="787" y="2693"/>
                  </a:cubicBezTo>
                  <a:cubicBezTo>
                    <a:pt x="784" y="2698"/>
                    <a:pt x="779" y="2698"/>
                    <a:pt x="774" y="2696"/>
                  </a:cubicBezTo>
                  <a:cubicBezTo>
                    <a:pt x="776" y="2702"/>
                    <a:pt x="777" y="2708"/>
                    <a:pt x="779" y="2713"/>
                  </a:cubicBezTo>
                  <a:cubicBezTo>
                    <a:pt x="766" y="2715"/>
                    <a:pt x="749" y="2703"/>
                    <a:pt x="749" y="2693"/>
                  </a:cubicBezTo>
                  <a:cubicBezTo>
                    <a:pt x="748" y="2697"/>
                    <a:pt x="746" y="2700"/>
                    <a:pt x="745" y="2704"/>
                  </a:cubicBezTo>
                  <a:cubicBezTo>
                    <a:pt x="736" y="2707"/>
                    <a:pt x="731" y="2704"/>
                    <a:pt x="728" y="2698"/>
                  </a:cubicBezTo>
                  <a:close/>
                  <a:moveTo>
                    <a:pt x="756" y="2679"/>
                  </a:moveTo>
                  <a:cubicBezTo>
                    <a:pt x="756" y="2673"/>
                    <a:pt x="764" y="2682"/>
                    <a:pt x="756" y="2679"/>
                  </a:cubicBezTo>
                  <a:close/>
                  <a:moveTo>
                    <a:pt x="762" y="2670"/>
                  </a:moveTo>
                  <a:cubicBezTo>
                    <a:pt x="767" y="2665"/>
                    <a:pt x="764" y="2679"/>
                    <a:pt x="762" y="2670"/>
                  </a:cubicBezTo>
                  <a:close/>
                  <a:moveTo>
                    <a:pt x="776" y="2724"/>
                  </a:moveTo>
                  <a:cubicBezTo>
                    <a:pt x="776" y="2730"/>
                    <a:pt x="770" y="2730"/>
                    <a:pt x="767" y="2730"/>
                  </a:cubicBezTo>
                  <a:cubicBezTo>
                    <a:pt x="770" y="2727"/>
                    <a:pt x="773" y="2724"/>
                    <a:pt x="776" y="2724"/>
                  </a:cubicBezTo>
                  <a:close/>
                  <a:moveTo>
                    <a:pt x="776" y="2752"/>
                  </a:moveTo>
                  <a:cubicBezTo>
                    <a:pt x="776" y="2746"/>
                    <a:pt x="781" y="2746"/>
                    <a:pt x="784" y="2744"/>
                  </a:cubicBezTo>
                  <a:cubicBezTo>
                    <a:pt x="784" y="2749"/>
                    <a:pt x="779" y="2752"/>
                    <a:pt x="776" y="2752"/>
                  </a:cubicBezTo>
                  <a:close/>
                  <a:moveTo>
                    <a:pt x="779" y="2614"/>
                  </a:moveTo>
                  <a:cubicBezTo>
                    <a:pt x="770" y="2623"/>
                    <a:pt x="762" y="2634"/>
                    <a:pt x="748" y="2634"/>
                  </a:cubicBezTo>
                  <a:cubicBezTo>
                    <a:pt x="745" y="2622"/>
                    <a:pt x="748" y="2608"/>
                    <a:pt x="756" y="2597"/>
                  </a:cubicBezTo>
                  <a:cubicBezTo>
                    <a:pt x="776" y="2605"/>
                    <a:pt x="773" y="2597"/>
                    <a:pt x="790" y="2605"/>
                  </a:cubicBezTo>
                  <a:cubicBezTo>
                    <a:pt x="787" y="2607"/>
                    <a:pt x="784" y="2610"/>
                    <a:pt x="781" y="2612"/>
                  </a:cubicBezTo>
                  <a:cubicBezTo>
                    <a:pt x="783" y="2613"/>
                    <a:pt x="783" y="2615"/>
                    <a:pt x="779" y="2614"/>
                  </a:cubicBezTo>
                  <a:close/>
                  <a:moveTo>
                    <a:pt x="781" y="302"/>
                  </a:moveTo>
                  <a:cubicBezTo>
                    <a:pt x="787" y="299"/>
                    <a:pt x="793" y="302"/>
                    <a:pt x="793" y="310"/>
                  </a:cubicBezTo>
                  <a:cubicBezTo>
                    <a:pt x="787" y="313"/>
                    <a:pt x="784" y="307"/>
                    <a:pt x="781" y="302"/>
                  </a:cubicBezTo>
                  <a:close/>
                  <a:moveTo>
                    <a:pt x="793" y="2546"/>
                  </a:moveTo>
                  <a:cubicBezTo>
                    <a:pt x="810" y="2543"/>
                    <a:pt x="793" y="2569"/>
                    <a:pt x="793" y="2546"/>
                  </a:cubicBezTo>
                  <a:close/>
                  <a:moveTo>
                    <a:pt x="804" y="2634"/>
                  </a:moveTo>
                  <a:lnTo>
                    <a:pt x="804" y="2639"/>
                  </a:lnTo>
                  <a:lnTo>
                    <a:pt x="798" y="2639"/>
                  </a:lnTo>
                  <a:lnTo>
                    <a:pt x="798" y="2634"/>
                  </a:lnTo>
                  <a:lnTo>
                    <a:pt x="804" y="2634"/>
                  </a:lnTo>
                  <a:close/>
                  <a:moveTo>
                    <a:pt x="797" y="2566"/>
                  </a:moveTo>
                  <a:cubicBezTo>
                    <a:pt x="798" y="2565"/>
                    <a:pt x="798" y="2565"/>
                    <a:pt x="798" y="2566"/>
                  </a:cubicBezTo>
                  <a:cubicBezTo>
                    <a:pt x="795" y="2570"/>
                    <a:pt x="796" y="2567"/>
                    <a:pt x="797" y="2566"/>
                  </a:cubicBezTo>
                  <a:close/>
                  <a:moveTo>
                    <a:pt x="793" y="2752"/>
                  </a:moveTo>
                  <a:cubicBezTo>
                    <a:pt x="804" y="2746"/>
                    <a:pt x="793" y="2718"/>
                    <a:pt x="815" y="2724"/>
                  </a:cubicBezTo>
                  <a:cubicBezTo>
                    <a:pt x="818" y="2741"/>
                    <a:pt x="815" y="2761"/>
                    <a:pt x="793" y="2752"/>
                  </a:cubicBezTo>
                  <a:close/>
                  <a:moveTo>
                    <a:pt x="804" y="2693"/>
                  </a:moveTo>
                  <a:cubicBezTo>
                    <a:pt x="801" y="2682"/>
                    <a:pt x="804" y="2670"/>
                    <a:pt x="818" y="2670"/>
                  </a:cubicBezTo>
                  <a:cubicBezTo>
                    <a:pt x="821" y="2682"/>
                    <a:pt x="815" y="2690"/>
                    <a:pt x="804" y="2693"/>
                  </a:cubicBezTo>
                  <a:close/>
                  <a:moveTo>
                    <a:pt x="812" y="2631"/>
                  </a:moveTo>
                  <a:cubicBezTo>
                    <a:pt x="813" y="2631"/>
                    <a:pt x="814" y="2630"/>
                    <a:pt x="814" y="2630"/>
                  </a:cubicBezTo>
                  <a:cubicBezTo>
                    <a:pt x="814" y="2630"/>
                    <a:pt x="813" y="2631"/>
                    <a:pt x="812" y="2631"/>
                  </a:cubicBezTo>
                  <a:close/>
                  <a:moveTo>
                    <a:pt x="824" y="2682"/>
                  </a:moveTo>
                  <a:cubicBezTo>
                    <a:pt x="824" y="2676"/>
                    <a:pt x="832" y="2684"/>
                    <a:pt x="824" y="2682"/>
                  </a:cubicBezTo>
                  <a:close/>
                  <a:moveTo>
                    <a:pt x="824" y="2639"/>
                  </a:moveTo>
                  <a:cubicBezTo>
                    <a:pt x="818" y="2636"/>
                    <a:pt x="824" y="2625"/>
                    <a:pt x="829" y="2628"/>
                  </a:cubicBezTo>
                  <a:cubicBezTo>
                    <a:pt x="829" y="2634"/>
                    <a:pt x="824" y="2634"/>
                    <a:pt x="824" y="2639"/>
                  </a:cubicBezTo>
                  <a:close/>
                  <a:moveTo>
                    <a:pt x="829" y="2698"/>
                  </a:moveTo>
                  <a:cubicBezTo>
                    <a:pt x="846" y="2698"/>
                    <a:pt x="829" y="2721"/>
                    <a:pt x="829" y="2698"/>
                  </a:cubicBezTo>
                  <a:close/>
                  <a:moveTo>
                    <a:pt x="843" y="2701"/>
                  </a:moveTo>
                  <a:cubicBezTo>
                    <a:pt x="841" y="2701"/>
                    <a:pt x="841" y="2690"/>
                    <a:pt x="846" y="2693"/>
                  </a:cubicBezTo>
                  <a:cubicBezTo>
                    <a:pt x="849" y="2696"/>
                    <a:pt x="843" y="2696"/>
                    <a:pt x="843" y="2701"/>
                  </a:cubicBezTo>
                  <a:close/>
                  <a:moveTo>
                    <a:pt x="846" y="2701"/>
                  </a:moveTo>
                  <a:cubicBezTo>
                    <a:pt x="860" y="2701"/>
                    <a:pt x="843" y="2724"/>
                    <a:pt x="846" y="2701"/>
                  </a:cubicBezTo>
                  <a:close/>
                  <a:moveTo>
                    <a:pt x="855" y="2673"/>
                  </a:moveTo>
                  <a:cubicBezTo>
                    <a:pt x="849" y="2670"/>
                    <a:pt x="843" y="2670"/>
                    <a:pt x="843" y="2662"/>
                  </a:cubicBezTo>
                  <a:cubicBezTo>
                    <a:pt x="849" y="2659"/>
                    <a:pt x="852" y="2665"/>
                    <a:pt x="855" y="2659"/>
                  </a:cubicBezTo>
                  <a:cubicBezTo>
                    <a:pt x="858" y="2659"/>
                    <a:pt x="860" y="2662"/>
                    <a:pt x="860" y="2665"/>
                  </a:cubicBezTo>
                  <a:cubicBezTo>
                    <a:pt x="858" y="2667"/>
                    <a:pt x="855" y="2670"/>
                    <a:pt x="855" y="2673"/>
                  </a:cubicBezTo>
                  <a:close/>
                  <a:moveTo>
                    <a:pt x="858" y="2797"/>
                  </a:moveTo>
                  <a:lnTo>
                    <a:pt x="858" y="2792"/>
                  </a:lnTo>
                  <a:lnTo>
                    <a:pt x="869" y="2792"/>
                  </a:lnTo>
                  <a:cubicBezTo>
                    <a:pt x="869" y="2797"/>
                    <a:pt x="860" y="2797"/>
                    <a:pt x="858" y="2797"/>
                  </a:cubicBezTo>
                  <a:close/>
                  <a:moveTo>
                    <a:pt x="875" y="2794"/>
                  </a:moveTo>
                  <a:cubicBezTo>
                    <a:pt x="866" y="2789"/>
                    <a:pt x="860" y="2777"/>
                    <a:pt x="860" y="2766"/>
                  </a:cubicBezTo>
                  <a:cubicBezTo>
                    <a:pt x="869" y="2766"/>
                    <a:pt x="875" y="2766"/>
                    <a:pt x="875" y="2761"/>
                  </a:cubicBezTo>
                  <a:cubicBezTo>
                    <a:pt x="889" y="2769"/>
                    <a:pt x="891" y="2789"/>
                    <a:pt x="875" y="2794"/>
                  </a:cubicBezTo>
                  <a:close/>
                  <a:moveTo>
                    <a:pt x="875" y="2741"/>
                  </a:moveTo>
                  <a:cubicBezTo>
                    <a:pt x="875" y="2735"/>
                    <a:pt x="883" y="2744"/>
                    <a:pt x="875" y="2741"/>
                  </a:cubicBezTo>
                  <a:close/>
                  <a:moveTo>
                    <a:pt x="894" y="2732"/>
                  </a:moveTo>
                  <a:cubicBezTo>
                    <a:pt x="894" y="2730"/>
                    <a:pt x="897" y="2727"/>
                    <a:pt x="897" y="2724"/>
                  </a:cubicBezTo>
                  <a:cubicBezTo>
                    <a:pt x="900" y="2724"/>
                    <a:pt x="900" y="2735"/>
                    <a:pt x="894" y="2732"/>
                  </a:cubicBezTo>
                  <a:close/>
                  <a:moveTo>
                    <a:pt x="894" y="2673"/>
                  </a:moveTo>
                  <a:cubicBezTo>
                    <a:pt x="894" y="2667"/>
                    <a:pt x="903" y="2665"/>
                    <a:pt x="903" y="2659"/>
                  </a:cubicBezTo>
                  <a:cubicBezTo>
                    <a:pt x="908" y="2659"/>
                    <a:pt x="911" y="2665"/>
                    <a:pt x="917" y="2665"/>
                  </a:cubicBezTo>
                  <a:cubicBezTo>
                    <a:pt x="917" y="2670"/>
                    <a:pt x="911" y="2673"/>
                    <a:pt x="911" y="2679"/>
                  </a:cubicBezTo>
                  <a:cubicBezTo>
                    <a:pt x="906" y="2679"/>
                    <a:pt x="900" y="2673"/>
                    <a:pt x="894" y="2673"/>
                  </a:cubicBezTo>
                  <a:close/>
                  <a:moveTo>
                    <a:pt x="906" y="2744"/>
                  </a:moveTo>
                  <a:cubicBezTo>
                    <a:pt x="903" y="2735"/>
                    <a:pt x="908" y="2727"/>
                    <a:pt x="914" y="2727"/>
                  </a:cubicBezTo>
                  <a:lnTo>
                    <a:pt x="920" y="2727"/>
                  </a:lnTo>
                  <a:cubicBezTo>
                    <a:pt x="920" y="2732"/>
                    <a:pt x="920" y="2738"/>
                    <a:pt x="922" y="2744"/>
                  </a:cubicBezTo>
                  <a:lnTo>
                    <a:pt x="906" y="2744"/>
                  </a:lnTo>
                  <a:close/>
                  <a:moveTo>
                    <a:pt x="922" y="299"/>
                  </a:moveTo>
                  <a:cubicBezTo>
                    <a:pt x="928" y="302"/>
                    <a:pt x="937" y="305"/>
                    <a:pt x="934" y="313"/>
                  </a:cubicBezTo>
                  <a:cubicBezTo>
                    <a:pt x="925" y="310"/>
                    <a:pt x="914" y="293"/>
                    <a:pt x="920" y="285"/>
                  </a:cubicBezTo>
                  <a:cubicBezTo>
                    <a:pt x="928" y="282"/>
                    <a:pt x="931" y="299"/>
                    <a:pt x="922" y="299"/>
                  </a:cubicBezTo>
                  <a:close/>
                  <a:moveTo>
                    <a:pt x="922" y="262"/>
                  </a:moveTo>
                  <a:cubicBezTo>
                    <a:pt x="928" y="262"/>
                    <a:pt x="928" y="268"/>
                    <a:pt x="925" y="271"/>
                  </a:cubicBezTo>
                  <a:cubicBezTo>
                    <a:pt x="922" y="271"/>
                    <a:pt x="922" y="265"/>
                    <a:pt x="922" y="262"/>
                  </a:cubicBezTo>
                  <a:close/>
                  <a:moveTo>
                    <a:pt x="925" y="234"/>
                  </a:moveTo>
                  <a:cubicBezTo>
                    <a:pt x="931" y="226"/>
                    <a:pt x="928" y="243"/>
                    <a:pt x="925" y="234"/>
                  </a:cubicBezTo>
                  <a:close/>
                  <a:moveTo>
                    <a:pt x="920" y="2656"/>
                  </a:moveTo>
                  <a:cubicBezTo>
                    <a:pt x="920" y="2648"/>
                    <a:pt x="928" y="2659"/>
                    <a:pt x="920" y="2656"/>
                  </a:cubicBezTo>
                  <a:close/>
                  <a:moveTo>
                    <a:pt x="917" y="2622"/>
                  </a:moveTo>
                  <a:cubicBezTo>
                    <a:pt x="917" y="2617"/>
                    <a:pt x="928" y="2625"/>
                    <a:pt x="917" y="2622"/>
                  </a:cubicBezTo>
                  <a:close/>
                  <a:moveTo>
                    <a:pt x="917" y="2543"/>
                  </a:moveTo>
                  <a:cubicBezTo>
                    <a:pt x="928" y="2543"/>
                    <a:pt x="931" y="2555"/>
                    <a:pt x="931" y="2569"/>
                  </a:cubicBezTo>
                  <a:cubicBezTo>
                    <a:pt x="922" y="2563"/>
                    <a:pt x="917" y="2555"/>
                    <a:pt x="917" y="2543"/>
                  </a:cubicBezTo>
                  <a:close/>
                  <a:moveTo>
                    <a:pt x="922" y="1683"/>
                  </a:moveTo>
                  <a:lnTo>
                    <a:pt x="922" y="1675"/>
                  </a:lnTo>
                  <a:cubicBezTo>
                    <a:pt x="928" y="1672"/>
                    <a:pt x="928" y="1686"/>
                    <a:pt x="922" y="1683"/>
                  </a:cubicBezTo>
                  <a:close/>
                  <a:moveTo>
                    <a:pt x="928" y="2541"/>
                  </a:moveTo>
                  <a:cubicBezTo>
                    <a:pt x="931" y="2532"/>
                    <a:pt x="931" y="2549"/>
                    <a:pt x="928" y="2541"/>
                  </a:cubicBezTo>
                  <a:close/>
                  <a:moveTo>
                    <a:pt x="928" y="2806"/>
                  </a:moveTo>
                  <a:lnTo>
                    <a:pt x="917" y="2806"/>
                  </a:lnTo>
                  <a:cubicBezTo>
                    <a:pt x="920" y="2800"/>
                    <a:pt x="922" y="2797"/>
                    <a:pt x="928" y="2800"/>
                  </a:cubicBezTo>
                  <a:lnTo>
                    <a:pt x="928" y="2806"/>
                  </a:lnTo>
                  <a:close/>
                  <a:moveTo>
                    <a:pt x="934" y="2783"/>
                  </a:moveTo>
                  <a:cubicBezTo>
                    <a:pt x="948" y="2780"/>
                    <a:pt x="931" y="2806"/>
                    <a:pt x="934" y="2783"/>
                  </a:cubicBezTo>
                  <a:close/>
                  <a:moveTo>
                    <a:pt x="937" y="2735"/>
                  </a:moveTo>
                  <a:lnTo>
                    <a:pt x="928" y="2727"/>
                  </a:lnTo>
                  <a:cubicBezTo>
                    <a:pt x="927" y="2727"/>
                    <a:pt x="927" y="2726"/>
                    <a:pt x="927" y="2725"/>
                  </a:cubicBezTo>
                  <a:cubicBezTo>
                    <a:pt x="927" y="2726"/>
                    <a:pt x="928" y="2726"/>
                    <a:pt x="928" y="2727"/>
                  </a:cubicBezTo>
                  <a:cubicBezTo>
                    <a:pt x="931" y="2730"/>
                    <a:pt x="937" y="2730"/>
                    <a:pt x="937" y="2732"/>
                  </a:cubicBezTo>
                  <a:cubicBezTo>
                    <a:pt x="942" y="2735"/>
                    <a:pt x="939" y="2738"/>
                    <a:pt x="937" y="2735"/>
                  </a:cubicBezTo>
                  <a:close/>
                  <a:moveTo>
                    <a:pt x="925" y="2721"/>
                  </a:moveTo>
                  <a:cubicBezTo>
                    <a:pt x="925" y="2721"/>
                    <a:pt x="925" y="2723"/>
                    <a:pt x="927" y="2725"/>
                  </a:cubicBezTo>
                  <a:cubicBezTo>
                    <a:pt x="927" y="2724"/>
                    <a:pt x="927" y="2722"/>
                    <a:pt x="925" y="2721"/>
                  </a:cubicBezTo>
                  <a:close/>
                  <a:moveTo>
                    <a:pt x="934" y="1720"/>
                  </a:moveTo>
                  <a:cubicBezTo>
                    <a:pt x="934" y="1714"/>
                    <a:pt x="942" y="1722"/>
                    <a:pt x="934" y="1720"/>
                  </a:cubicBezTo>
                  <a:close/>
                  <a:moveTo>
                    <a:pt x="937" y="206"/>
                  </a:moveTo>
                  <a:cubicBezTo>
                    <a:pt x="937" y="209"/>
                    <a:pt x="928" y="203"/>
                    <a:pt x="925" y="212"/>
                  </a:cubicBezTo>
                  <a:cubicBezTo>
                    <a:pt x="942" y="212"/>
                    <a:pt x="934" y="234"/>
                    <a:pt x="914" y="234"/>
                  </a:cubicBezTo>
                  <a:cubicBezTo>
                    <a:pt x="908" y="223"/>
                    <a:pt x="900" y="234"/>
                    <a:pt x="894" y="231"/>
                  </a:cubicBezTo>
                  <a:cubicBezTo>
                    <a:pt x="891" y="217"/>
                    <a:pt x="903" y="212"/>
                    <a:pt x="906" y="197"/>
                  </a:cubicBezTo>
                  <a:cubicBezTo>
                    <a:pt x="912" y="199"/>
                    <a:pt x="913" y="194"/>
                    <a:pt x="917" y="195"/>
                  </a:cubicBezTo>
                  <a:lnTo>
                    <a:pt x="917" y="195"/>
                  </a:lnTo>
                  <a:cubicBezTo>
                    <a:pt x="918" y="195"/>
                    <a:pt x="920" y="196"/>
                    <a:pt x="921" y="198"/>
                  </a:cubicBezTo>
                  <a:cubicBezTo>
                    <a:pt x="921" y="197"/>
                    <a:pt x="920" y="197"/>
                    <a:pt x="920" y="197"/>
                  </a:cubicBezTo>
                  <a:cubicBezTo>
                    <a:pt x="920" y="198"/>
                    <a:pt x="921" y="199"/>
                    <a:pt x="922" y="200"/>
                  </a:cubicBezTo>
                  <a:cubicBezTo>
                    <a:pt x="923" y="200"/>
                    <a:pt x="923" y="200"/>
                    <a:pt x="923" y="199"/>
                  </a:cubicBezTo>
                  <a:cubicBezTo>
                    <a:pt x="924" y="200"/>
                    <a:pt x="925" y="200"/>
                    <a:pt x="925" y="200"/>
                  </a:cubicBezTo>
                  <a:cubicBezTo>
                    <a:pt x="925" y="192"/>
                    <a:pt x="920" y="197"/>
                    <a:pt x="922" y="192"/>
                  </a:cubicBezTo>
                  <a:cubicBezTo>
                    <a:pt x="928" y="189"/>
                    <a:pt x="931" y="200"/>
                    <a:pt x="939" y="195"/>
                  </a:cubicBezTo>
                  <a:cubicBezTo>
                    <a:pt x="948" y="203"/>
                    <a:pt x="928" y="200"/>
                    <a:pt x="937" y="206"/>
                  </a:cubicBezTo>
                  <a:close/>
                  <a:moveTo>
                    <a:pt x="921" y="198"/>
                  </a:moveTo>
                  <a:cubicBezTo>
                    <a:pt x="922" y="198"/>
                    <a:pt x="922" y="199"/>
                    <a:pt x="923" y="199"/>
                  </a:cubicBezTo>
                  <a:cubicBezTo>
                    <a:pt x="923" y="199"/>
                    <a:pt x="922" y="198"/>
                    <a:pt x="921" y="198"/>
                  </a:cubicBezTo>
                  <a:close/>
                  <a:moveTo>
                    <a:pt x="951" y="2820"/>
                  </a:moveTo>
                  <a:cubicBezTo>
                    <a:pt x="945" y="2823"/>
                    <a:pt x="939" y="2811"/>
                    <a:pt x="942" y="2808"/>
                  </a:cubicBezTo>
                  <a:cubicBezTo>
                    <a:pt x="945" y="2811"/>
                    <a:pt x="954" y="2814"/>
                    <a:pt x="951" y="2820"/>
                  </a:cubicBezTo>
                  <a:close/>
                  <a:moveTo>
                    <a:pt x="954" y="2806"/>
                  </a:moveTo>
                  <a:lnTo>
                    <a:pt x="954" y="2800"/>
                  </a:lnTo>
                  <a:lnTo>
                    <a:pt x="951" y="2800"/>
                  </a:lnTo>
                  <a:cubicBezTo>
                    <a:pt x="951" y="2800"/>
                    <a:pt x="954" y="2803"/>
                    <a:pt x="954" y="2806"/>
                  </a:cubicBezTo>
                  <a:cubicBezTo>
                    <a:pt x="948" y="2806"/>
                    <a:pt x="945" y="2803"/>
                    <a:pt x="945" y="2797"/>
                  </a:cubicBezTo>
                  <a:cubicBezTo>
                    <a:pt x="948" y="2797"/>
                    <a:pt x="948" y="2794"/>
                    <a:pt x="951" y="2794"/>
                  </a:cubicBezTo>
                  <a:lnTo>
                    <a:pt x="954" y="2797"/>
                  </a:lnTo>
                  <a:cubicBezTo>
                    <a:pt x="954" y="2794"/>
                    <a:pt x="959" y="2794"/>
                    <a:pt x="962" y="2794"/>
                  </a:cubicBezTo>
                  <a:lnTo>
                    <a:pt x="962" y="2800"/>
                  </a:lnTo>
                  <a:cubicBezTo>
                    <a:pt x="962" y="2803"/>
                    <a:pt x="959" y="2806"/>
                    <a:pt x="954" y="2806"/>
                  </a:cubicBezTo>
                  <a:close/>
                  <a:moveTo>
                    <a:pt x="962" y="2803"/>
                  </a:moveTo>
                  <a:cubicBezTo>
                    <a:pt x="968" y="2803"/>
                    <a:pt x="970" y="2803"/>
                    <a:pt x="962" y="2800"/>
                  </a:cubicBezTo>
                  <a:lnTo>
                    <a:pt x="962" y="2803"/>
                  </a:lnTo>
                  <a:close/>
                  <a:moveTo>
                    <a:pt x="965" y="2763"/>
                  </a:moveTo>
                  <a:cubicBezTo>
                    <a:pt x="959" y="2761"/>
                    <a:pt x="962" y="2749"/>
                    <a:pt x="973" y="2752"/>
                  </a:cubicBezTo>
                  <a:cubicBezTo>
                    <a:pt x="970" y="2758"/>
                    <a:pt x="970" y="2763"/>
                    <a:pt x="965" y="2763"/>
                  </a:cubicBezTo>
                  <a:close/>
                  <a:moveTo>
                    <a:pt x="985" y="2653"/>
                  </a:moveTo>
                  <a:cubicBezTo>
                    <a:pt x="979" y="2662"/>
                    <a:pt x="979" y="2670"/>
                    <a:pt x="990" y="2670"/>
                  </a:cubicBezTo>
                  <a:cubicBezTo>
                    <a:pt x="990" y="2673"/>
                    <a:pt x="987" y="2673"/>
                    <a:pt x="985" y="2676"/>
                  </a:cubicBezTo>
                  <a:cubicBezTo>
                    <a:pt x="987" y="2676"/>
                    <a:pt x="990" y="2673"/>
                    <a:pt x="996" y="2673"/>
                  </a:cubicBezTo>
                  <a:lnTo>
                    <a:pt x="996" y="2684"/>
                  </a:lnTo>
                  <a:cubicBezTo>
                    <a:pt x="993" y="2684"/>
                    <a:pt x="987" y="2687"/>
                    <a:pt x="985" y="2687"/>
                  </a:cubicBezTo>
                  <a:cubicBezTo>
                    <a:pt x="985" y="2684"/>
                    <a:pt x="982" y="2682"/>
                    <a:pt x="982" y="2679"/>
                  </a:cubicBezTo>
                  <a:cubicBezTo>
                    <a:pt x="979" y="2679"/>
                    <a:pt x="979" y="2682"/>
                    <a:pt x="979" y="2682"/>
                  </a:cubicBezTo>
                  <a:cubicBezTo>
                    <a:pt x="976" y="2673"/>
                    <a:pt x="968" y="2653"/>
                    <a:pt x="985" y="2653"/>
                  </a:cubicBezTo>
                  <a:close/>
                  <a:moveTo>
                    <a:pt x="976" y="2817"/>
                  </a:moveTo>
                  <a:cubicBezTo>
                    <a:pt x="979" y="2808"/>
                    <a:pt x="985" y="2820"/>
                    <a:pt x="985" y="2825"/>
                  </a:cubicBezTo>
                  <a:cubicBezTo>
                    <a:pt x="1001" y="2831"/>
                    <a:pt x="970" y="2831"/>
                    <a:pt x="976" y="2817"/>
                  </a:cubicBezTo>
                  <a:close/>
                  <a:moveTo>
                    <a:pt x="990" y="2721"/>
                  </a:moveTo>
                  <a:cubicBezTo>
                    <a:pt x="985" y="2724"/>
                    <a:pt x="993" y="2715"/>
                    <a:pt x="990" y="2721"/>
                  </a:cubicBezTo>
                  <a:close/>
                  <a:moveTo>
                    <a:pt x="985" y="2704"/>
                  </a:moveTo>
                  <a:cubicBezTo>
                    <a:pt x="982" y="2698"/>
                    <a:pt x="987" y="2696"/>
                    <a:pt x="990" y="2693"/>
                  </a:cubicBezTo>
                  <a:cubicBezTo>
                    <a:pt x="993" y="2693"/>
                    <a:pt x="990" y="2707"/>
                    <a:pt x="985" y="2704"/>
                  </a:cubicBezTo>
                  <a:close/>
                  <a:moveTo>
                    <a:pt x="1004" y="2682"/>
                  </a:moveTo>
                  <a:cubicBezTo>
                    <a:pt x="1004" y="2687"/>
                    <a:pt x="999" y="2690"/>
                    <a:pt x="993" y="2690"/>
                  </a:cubicBezTo>
                  <a:cubicBezTo>
                    <a:pt x="996" y="2687"/>
                    <a:pt x="999" y="2682"/>
                    <a:pt x="1004" y="2682"/>
                  </a:cubicBezTo>
                  <a:close/>
                  <a:moveTo>
                    <a:pt x="993" y="2727"/>
                  </a:moveTo>
                  <a:lnTo>
                    <a:pt x="996" y="2727"/>
                  </a:lnTo>
                  <a:cubicBezTo>
                    <a:pt x="996" y="2724"/>
                    <a:pt x="999" y="2721"/>
                    <a:pt x="1001" y="2721"/>
                  </a:cubicBezTo>
                  <a:cubicBezTo>
                    <a:pt x="1013" y="2727"/>
                    <a:pt x="1010" y="2732"/>
                    <a:pt x="1001" y="2738"/>
                  </a:cubicBezTo>
                  <a:cubicBezTo>
                    <a:pt x="999" y="2738"/>
                    <a:pt x="999" y="2735"/>
                    <a:pt x="996" y="2735"/>
                  </a:cubicBezTo>
                  <a:cubicBezTo>
                    <a:pt x="996" y="2735"/>
                    <a:pt x="993" y="2735"/>
                    <a:pt x="993" y="2727"/>
                  </a:cubicBezTo>
                  <a:close/>
                  <a:moveTo>
                    <a:pt x="1001" y="2825"/>
                  </a:moveTo>
                  <a:cubicBezTo>
                    <a:pt x="1001" y="2825"/>
                    <a:pt x="1004" y="2820"/>
                    <a:pt x="1004" y="2817"/>
                  </a:cubicBezTo>
                  <a:lnTo>
                    <a:pt x="996" y="2817"/>
                  </a:lnTo>
                  <a:lnTo>
                    <a:pt x="996" y="2806"/>
                  </a:lnTo>
                  <a:lnTo>
                    <a:pt x="1013" y="2806"/>
                  </a:lnTo>
                  <a:lnTo>
                    <a:pt x="1013" y="2808"/>
                  </a:lnTo>
                  <a:cubicBezTo>
                    <a:pt x="1016" y="2817"/>
                    <a:pt x="1013" y="2834"/>
                    <a:pt x="1001" y="2825"/>
                  </a:cubicBezTo>
                  <a:close/>
                  <a:moveTo>
                    <a:pt x="1001" y="2701"/>
                  </a:moveTo>
                  <a:cubicBezTo>
                    <a:pt x="1004" y="2693"/>
                    <a:pt x="1013" y="2682"/>
                    <a:pt x="1016" y="2673"/>
                  </a:cubicBezTo>
                  <a:cubicBezTo>
                    <a:pt x="1030" y="2673"/>
                    <a:pt x="1021" y="2713"/>
                    <a:pt x="1001" y="2701"/>
                  </a:cubicBezTo>
                  <a:close/>
                  <a:moveTo>
                    <a:pt x="1024" y="2775"/>
                  </a:moveTo>
                  <a:cubicBezTo>
                    <a:pt x="1019" y="2777"/>
                    <a:pt x="1023" y="2771"/>
                    <a:pt x="1024" y="2773"/>
                  </a:cubicBezTo>
                  <a:cubicBezTo>
                    <a:pt x="1023" y="2768"/>
                    <a:pt x="1024" y="2762"/>
                    <a:pt x="1030" y="2769"/>
                  </a:cubicBezTo>
                  <a:cubicBezTo>
                    <a:pt x="1033" y="2766"/>
                    <a:pt x="1035" y="2763"/>
                    <a:pt x="1035" y="2758"/>
                  </a:cubicBezTo>
                  <a:cubicBezTo>
                    <a:pt x="1041" y="2758"/>
                    <a:pt x="1041" y="2766"/>
                    <a:pt x="1047" y="2766"/>
                  </a:cubicBezTo>
                  <a:cubicBezTo>
                    <a:pt x="1044" y="2772"/>
                    <a:pt x="1044" y="2775"/>
                    <a:pt x="1044" y="2777"/>
                  </a:cubicBezTo>
                  <a:cubicBezTo>
                    <a:pt x="1041" y="2775"/>
                    <a:pt x="1035" y="2775"/>
                    <a:pt x="1033" y="2775"/>
                  </a:cubicBezTo>
                  <a:cubicBezTo>
                    <a:pt x="1029" y="2782"/>
                    <a:pt x="1025" y="2779"/>
                    <a:pt x="1024" y="2774"/>
                  </a:cubicBezTo>
                  <a:lnTo>
                    <a:pt x="1024" y="2775"/>
                  </a:lnTo>
                  <a:close/>
                  <a:moveTo>
                    <a:pt x="1035" y="2845"/>
                  </a:moveTo>
                  <a:lnTo>
                    <a:pt x="1035" y="2842"/>
                  </a:lnTo>
                  <a:cubicBezTo>
                    <a:pt x="1033" y="2842"/>
                    <a:pt x="1030" y="2842"/>
                    <a:pt x="1027" y="2840"/>
                  </a:cubicBezTo>
                  <a:cubicBezTo>
                    <a:pt x="1027" y="2834"/>
                    <a:pt x="1030" y="2831"/>
                    <a:pt x="1035" y="2831"/>
                  </a:cubicBezTo>
                  <a:lnTo>
                    <a:pt x="1035" y="2828"/>
                  </a:lnTo>
                  <a:cubicBezTo>
                    <a:pt x="1038" y="2828"/>
                    <a:pt x="1044" y="2825"/>
                    <a:pt x="1047" y="2825"/>
                  </a:cubicBezTo>
                  <a:cubicBezTo>
                    <a:pt x="1049" y="2837"/>
                    <a:pt x="1044" y="2845"/>
                    <a:pt x="1035" y="2845"/>
                  </a:cubicBezTo>
                  <a:close/>
                  <a:moveTo>
                    <a:pt x="1041" y="2755"/>
                  </a:moveTo>
                  <a:cubicBezTo>
                    <a:pt x="1041" y="2749"/>
                    <a:pt x="1049" y="2758"/>
                    <a:pt x="1041" y="2755"/>
                  </a:cubicBezTo>
                  <a:close/>
                  <a:moveTo>
                    <a:pt x="1041" y="2611"/>
                  </a:moveTo>
                  <a:cubicBezTo>
                    <a:pt x="1058" y="2600"/>
                    <a:pt x="1049" y="2634"/>
                    <a:pt x="1061" y="2628"/>
                  </a:cubicBezTo>
                  <a:cubicBezTo>
                    <a:pt x="1058" y="2651"/>
                    <a:pt x="1038" y="2631"/>
                    <a:pt x="1041" y="2611"/>
                  </a:cubicBezTo>
                  <a:close/>
                  <a:moveTo>
                    <a:pt x="1052" y="2718"/>
                  </a:moveTo>
                  <a:cubicBezTo>
                    <a:pt x="1055" y="2718"/>
                    <a:pt x="1058" y="2721"/>
                    <a:pt x="1061" y="2724"/>
                  </a:cubicBezTo>
                  <a:lnTo>
                    <a:pt x="1055" y="2724"/>
                  </a:lnTo>
                  <a:cubicBezTo>
                    <a:pt x="1055" y="2721"/>
                    <a:pt x="1052" y="2718"/>
                    <a:pt x="1052" y="2718"/>
                  </a:cubicBezTo>
                  <a:close/>
                  <a:moveTo>
                    <a:pt x="1083" y="2752"/>
                  </a:moveTo>
                  <a:cubicBezTo>
                    <a:pt x="1066" y="2755"/>
                    <a:pt x="1052" y="2746"/>
                    <a:pt x="1055" y="2730"/>
                  </a:cubicBezTo>
                  <a:cubicBezTo>
                    <a:pt x="1066" y="2735"/>
                    <a:pt x="1086" y="2735"/>
                    <a:pt x="1083" y="2752"/>
                  </a:cubicBezTo>
                  <a:close/>
                  <a:moveTo>
                    <a:pt x="1089" y="2854"/>
                  </a:moveTo>
                  <a:cubicBezTo>
                    <a:pt x="1075" y="2854"/>
                    <a:pt x="1064" y="2848"/>
                    <a:pt x="1055" y="2834"/>
                  </a:cubicBezTo>
                  <a:cubicBezTo>
                    <a:pt x="1069" y="2840"/>
                    <a:pt x="1092" y="2834"/>
                    <a:pt x="1089" y="2854"/>
                  </a:cubicBezTo>
                  <a:close/>
                  <a:moveTo>
                    <a:pt x="1097" y="2645"/>
                  </a:moveTo>
                  <a:cubicBezTo>
                    <a:pt x="1080" y="2645"/>
                    <a:pt x="1086" y="2625"/>
                    <a:pt x="1106" y="2625"/>
                  </a:cubicBezTo>
                  <a:cubicBezTo>
                    <a:pt x="1103" y="2634"/>
                    <a:pt x="1095" y="2636"/>
                    <a:pt x="1097" y="2645"/>
                  </a:cubicBezTo>
                  <a:close/>
                  <a:moveTo>
                    <a:pt x="1106" y="2611"/>
                  </a:moveTo>
                  <a:cubicBezTo>
                    <a:pt x="1123" y="2608"/>
                    <a:pt x="1103" y="2634"/>
                    <a:pt x="1106" y="2611"/>
                  </a:cubicBezTo>
                  <a:close/>
                  <a:moveTo>
                    <a:pt x="1117" y="2876"/>
                  </a:moveTo>
                  <a:lnTo>
                    <a:pt x="1109" y="2876"/>
                  </a:lnTo>
                  <a:cubicBezTo>
                    <a:pt x="1112" y="2873"/>
                    <a:pt x="1112" y="2871"/>
                    <a:pt x="1117" y="2871"/>
                  </a:cubicBezTo>
                  <a:cubicBezTo>
                    <a:pt x="1114" y="2871"/>
                    <a:pt x="1117" y="2873"/>
                    <a:pt x="1117" y="2876"/>
                  </a:cubicBezTo>
                  <a:close/>
                  <a:moveTo>
                    <a:pt x="1109" y="2651"/>
                  </a:moveTo>
                  <a:cubicBezTo>
                    <a:pt x="1128" y="2651"/>
                    <a:pt x="1100" y="2679"/>
                    <a:pt x="1109" y="2651"/>
                  </a:cubicBezTo>
                  <a:close/>
                  <a:moveTo>
                    <a:pt x="1123" y="2693"/>
                  </a:moveTo>
                  <a:cubicBezTo>
                    <a:pt x="1137" y="2693"/>
                    <a:pt x="1120" y="2715"/>
                    <a:pt x="1123" y="2693"/>
                  </a:cubicBezTo>
                  <a:close/>
                  <a:moveTo>
                    <a:pt x="1134" y="2769"/>
                  </a:moveTo>
                  <a:cubicBezTo>
                    <a:pt x="1154" y="2772"/>
                    <a:pt x="1128" y="2800"/>
                    <a:pt x="1134" y="2769"/>
                  </a:cubicBezTo>
                  <a:close/>
                  <a:moveTo>
                    <a:pt x="1145" y="2591"/>
                  </a:moveTo>
                  <a:cubicBezTo>
                    <a:pt x="1168" y="2600"/>
                    <a:pt x="1137" y="2588"/>
                    <a:pt x="1145" y="2591"/>
                  </a:cubicBezTo>
                  <a:close/>
                  <a:moveTo>
                    <a:pt x="1154" y="2696"/>
                  </a:moveTo>
                  <a:cubicBezTo>
                    <a:pt x="1174" y="2698"/>
                    <a:pt x="1148" y="2727"/>
                    <a:pt x="1154" y="2696"/>
                  </a:cubicBezTo>
                  <a:close/>
                  <a:moveTo>
                    <a:pt x="1162" y="2710"/>
                  </a:moveTo>
                  <a:cubicBezTo>
                    <a:pt x="1165" y="2704"/>
                    <a:pt x="1174" y="2710"/>
                    <a:pt x="1165" y="2710"/>
                  </a:cubicBezTo>
                  <a:cubicBezTo>
                    <a:pt x="1179" y="2710"/>
                    <a:pt x="1162" y="2730"/>
                    <a:pt x="1162" y="2710"/>
                  </a:cubicBezTo>
                  <a:close/>
                  <a:moveTo>
                    <a:pt x="1162" y="2656"/>
                  </a:moveTo>
                  <a:lnTo>
                    <a:pt x="1162" y="2645"/>
                  </a:lnTo>
                  <a:cubicBezTo>
                    <a:pt x="1168" y="2645"/>
                    <a:pt x="1168" y="2642"/>
                    <a:pt x="1168" y="2639"/>
                  </a:cubicBezTo>
                  <a:cubicBezTo>
                    <a:pt x="1174" y="2636"/>
                    <a:pt x="1174" y="2662"/>
                    <a:pt x="1162" y="2656"/>
                  </a:cubicBezTo>
                  <a:close/>
                  <a:moveTo>
                    <a:pt x="1171" y="310"/>
                  </a:moveTo>
                  <a:cubicBezTo>
                    <a:pt x="1171" y="305"/>
                    <a:pt x="1179" y="313"/>
                    <a:pt x="1171" y="310"/>
                  </a:cubicBezTo>
                  <a:close/>
                  <a:moveTo>
                    <a:pt x="1185" y="285"/>
                  </a:moveTo>
                  <a:lnTo>
                    <a:pt x="1176" y="285"/>
                  </a:lnTo>
                  <a:cubicBezTo>
                    <a:pt x="1174" y="282"/>
                    <a:pt x="1185" y="279"/>
                    <a:pt x="1185" y="285"/>
                  </a:cubicBezTo>
                  <a:close/>
                  <a:moveTo>
                    <a:pt x="1179" y="2797"/>
                  </a:moveTo>
                  <a:cubicBezTo>
                    <a:pt x="1188" y="2794"/>
                    <a:pt x="1176" y="2806"/>
                    <a:pt x="1179" y="2797"/>
                  </a:cubicBezTo>
                  <a:close/>
                  <a:moveTo>
                    <a:pt x="1179" y="2687"/>
                  </a:moveTo>
                  <a:cubicBezTo>
                    <a:pt x="1182" y="2687"/>
                    <a:pt x="1182" y="2684"/>
                    <a:pt x="1188" y="2684"/>
                  </a:cubicBezTo>
                  <a:cubicBezTo>
                    <a:pt x="1199" y="2684"/>
                    <a:pt x="1185" y="2687"/>
                    <a:pt x="1179" y="2687"/>
                  </a:cubicBezTo>
                  <a:close/>
                  <a:moveTo>
                    <a:pt x="1202" y="2840"/>
                  </a:moveTo>
                  <a:cubicBezTo>
                    <a:pt x="1193" y="2840"/>
                    <a:pt x="1193" y="2825"/>
                    <a:pt x="1193" y="2817"/>
                  </a:cubicBezTo>
                  <a:lnTo>
                    <a:pt x="1216" y="2817"/>
                  </a:lnTo>
                  <a:cubicBezTo>
                    <a:pt x="1210" y="2825"/>
                    <a:pt x="1202" y="2825"/>
                    <a:pt x="1202" y="2840"/>
                  </a:cubicBezTo>
                  <a:close/>
                  <a:moveTo>
                    <a:pt x="1210" y="2467"/>
                  </a:moveTo>
                  <a:cubicBezTo>
                    <a:pt x="1224" y="2464"/>
                    <a:pt x="1207" y="2490"/>
                    <a:pt x="1210" y="2467"/>
                  </a:cubicBezTo>
                  <a:close/>
                  <a:moveTo>
                    <a:pt x="1216" y="2532"/>
                  </a:moveTo>
                  <a:cubicBezTo>
                    <a:pt x="1224" y="2526"/>
                    <a:pt x="1213" y="2538"/>
                    <a:pt x="1216" y="2532"/>
                  </a:cubicBezTo>
                  <a:close/>
                  <a:moveTo>
                    <a:pt x="1219" y="200"/>
                  </a:moveTo>
                  <a:cubicBezTo>
                    <a:pt x="1230" y="195"/>
                    <a:pt x="1227" y="209"/>
                    <a:pt x="1219" y="200"/>
                  </a:cubicBezTo>
                  <a:close/>
                  <a:moveTo>
                    <a:pt x="1224" y="2631"/>
                  </a:moveTo>
                  <a:lnTo>
                    <a:pt x="1224" y="2636"/>
                  </a:lnTo>
                  <a:cubicBezTo>
                    <a:pt x="1222" y="2636"/>
                    <a:pt x="1222" y="2631"/>
                    <a:pt x="1222" y="2628"/>
                  </a:cubicBezTo>
                  <a:cubicBezTo>
                    <a:pt x="1224" y="2628"/>
                    <a:pt x="1227" y="2628"/>
                    <a:pt x="1227" y="2625"/>
                  </a:cubicBezTo>
                  <a:cubicBezTo>
                    <a:pt x="1233" y="2622"/>
                    <a:pt x="1227" y="2631"/>
                    <a:pt x="1224" y="2631"/>
                  </a:cubicBezTo>
                  <a:close/>
                  <a:moveTo>
                    <a:pt x="1236" y="2744"/>
                  </a:moveTo>
                  <a:cubicBezTo>
                    <a:pt x="1255" y="2744"/>
                    <a:pt x="1227" y="2772"/>
                    <a:pt x="1236" y="2744"/>
                  </a:cubicBezTo>
                  <a:close/>
                  <a:moveTo>
                    <a:pt x="1233" y="2775"/>
                  </a:moveTo>
                  <a:cubicBezTo>
                    <a:pt x="1233" y="2772"/>
                    <a:pt x="1241" y="2772"/>
                    <a:pt x="1241" y="2766"/>
                  </a:cubicBezTo>
                  <a:cubicBezTo>
                    <a:pt x="1247" y="2772"/>
                    <a:pt x="1238" y="2777"/>
                    <a:pt x="1233" y="2775"/>
                  </a:cubicBezTo>
                  <a:close/>
                  <a:moveTo>
                    <a:pt x="1250" y="2698"/>
                  </a:moveTo>
                  <a:lnTo>
                    <a:pt x="1244" y="2698"/>
                  </a:lnTo>
                  <a:lnTo>
                    <a:pt x="1244" y="2693"/>
                  </a:lnTo>
                  <a:lnTo>
                    <a:pt x="1250" y="2693"/>
                  </a:lnTo>
                  <a:lnTo>
                    <a:pt x="1250" y="2698"/>
                  </a:lnTo>
                  <a:close/>
                  <a:moveTo>
                    <a:pt x="1241" y="240"/>
                  </a:moveTo>
                  <a:cubicBezTo>
                    <a:pt x="1244" y="240"/>
                    <a:pt x="1250" y="243"/>
                    <a:pt x="1250" y="248"/>
                  </a:cubicBezTo>
                  <a:cubicBezTo>
                    <a:pt x="1247" y="248"/>
                    <a:pt x="1241" y="245"/>
                    <a:pt x="1241" y="240"/>
                  </a:cubicBezTo>
                  <a:close/>
                  <a:moveTo>
                    <a:pt x="1247" y="2098"/>
                  </a:moveTo>
                  <a:cubicBezTo>
                    <a:pt x="1247" y="2092"/>
                    <a:pt x="1258" y="2100"/>
                    <a:pt x="1247" y="2098"/>
                  </a:cubicBezTo>
                  <a:close/>
                  <a:moveTo>
                    <a:pt x="1255" y="2808"/>
                  </a:moveTo>
                  <a:cubicBezTo>
                    <a:pt x="1255" y="2803"/>
                    <a:pt x="1264" y="2811"/>
                    <a:pt x="1255" y="2808"/>
                  </a:cubicBezTo>
                  <a:close/>
                  <a:moveTo>
                    <a:pt x="1261" y="2763"/>
                  </a:moveTo>
                  <a:cubicBezTo>
                    <a:pt x="1281" y="2766"/>
                    <a:pt x="1253" y="2792"/>
                    <a:pt x="1261" y="2763"/>
                  </a:cubicBezTo>
                  <a:close/>
                  <a:moveTo>
                    <a:pt x="1270" y="2783"/>
                  </a:moveTo>
                  <a:cubicBezTo>
                    <a:pt x="1292" y="2794"/>
                    <a:pt x="1244" y="2806"/>
                    <a:pt x="1270" y="2783"/>
                  </a:cubicBezTo>
                  <a:close/>
                  <a:moveTo>
                    <a:pt x="1272" y="2673"/>
                  </a:moveTo>
                  <a:cubicBezTo>
                    <a:pt x="1272" y="2667"/>
                    <a:pt x="1284" y="2676"/>
                    <a:pt x="1272" y="2673"/>
                  </a:cubicBezTo>
                  <a:close/>
                  <a:moveTo>
                    <a:pt x="1281" y="2684"/>
                  </a:moveTo>
                  <a:cubicBezTo>
                    <a:pt x="1306" y="2696"/>
                    <a:pt x="1258" y="2707"/>
                    <a:pt x="1281" y="2684"/>
                  </a:cubicBezTo>
                  <a:close/>
                  <a:moveTo>
                    <a:pt x="1289" y="214"/>
                  </a:moveTo>
                  <a:cubicBezTo>
                    <a:pt x="1284" y="214"/>
                    <a:pt x="1289" y="206"/>
                    <a:pt x="1292" y="206"/>
                  </a:cubicBezTo>
                  <a:cubicBezTo>
                    <a:pt x="1292" y="209"/>
                    <a:pt x="1289" y="212"/>
                    <a:pt x="1289" y="214"/>
                  </a:cubicBezTo>
                  <a:close/>
                  <a:moveTo>
                    <a:pt x="1286" y="183"/>
                  </a:moveTo>
                  <a:cubicBezTo>
                    <a:pt x="1281" y="178"/>
                    <a:pt x="1295" y="186"/>
                    <a:pt x="1286" y="183"/>
                  </a:cubicBezTo>
                  <a:close/>
                  <a:moveTo>
                    <a:pt x="1284" y="87"/>
                  </a:moveTo>
                  <a:cubicBezTo>
                    <a:pt x="1286" y="87"/>
                    <a:pt x="1289" y="85"/>
                    <a:pt x="1292" y="85"/>
                  </a:cubicBezTo>
                  <a:cubicBezTo>
                    <a:pt x="1295" y="96"/>
                    <a:pt x="1301" y="93"/>
                    <a:pt x="1298" y="102"/>
                  </a:cubicBezTo>
                  <a:cubicBezTo>
                    <a:pt x="1292" y="102"/>
                    <a:pt x="1286" y="96"/>
                    <a:pt x="1284" y="87"/>
                  </a:cubicBezTo>
                  <a:close/>
                  <a:moveTo>
                    <a:pt x="1301" y="254"/>
                  </a:moveTo>
                  <a:cubicBezTo>
                    <a:pt x="1301" y="248"/>
                    <a:pt x="1312" y="254"/>
                    <a:pt x="1301" y="254"/>
                  </a:cubicBezTo>
                  <a:close/>
                  <a:moveTo>
                    <a:pt x="1301" y="226"/>
                  </a:moveTo>
                  <a:cubicBezTo>
                    <a:pt x="1301" y="223"/>
                    <a:pt x="1309" y="223"/>
                    <a:pt x="1312" y="223"/>
                  </a:cubicBezTo>
                  <a:cubicBezTo>
                    <a:pt x="1315" y="226"/>
                    <a:pt x="1303" y="226"/>
                    <a:pt x="1301" y="226"/>
                  </a:cubicBezTo>
                  <a:close/>
                  <a:moveTo>
                    <a:pt x="1298" y="203"/>
                  </a:moveTo>
                  <a:cubicBezTo>
                    <a:pt x="1301" y="195"/>
                    <a:pt x="1312" y="203"/>
                    <a:pt x="1298" y="203"/>
                  </a:cubicBezTo>
                  <a:close/>
                  <a:moveTo>
                    <a:pt x="1306" y="189"/>
                  </a:moveTo>
                  <a:cubicBezTo>
                    <a:pt x="1315" y="186"/>
                    <a:pt x="1306" y="200"/>
                    <a:pt x="1306" y="189"/>
                  </a:cubicBezTo>
                  <a:close/>
                  <a:moveTo>
                    <a:pt x="1312" y="268"/>
                  </a:moveTo>
                  <a:cubicBezTo>
                    <a:pt x="1312" y="262"/>
                    <a:pt x="1320" y="271"/>
                    <a:pt x="1312" y="268"/>
                  </a:cubicBezTo>
                  <a:close/>
                  <a:moveTo>
                    <a:pt x="1315" y="130"/>
                  </a:moveTo>
                  <a:lnTo>
                    <a:pt x="1315" y="130"/>
                  </a:lnTo>
                  <a:cubicBezTo>
                    <a:pt x="1313" y="128"/>
                    <a:pt x="1312" y="126"/>
                    <a:pt x="1312" y="124"/>
                  </a:cubicBezTo>
                  <a:cubicBezTo>
                    <a:pt x="1318" y="121"/>
                    <a:pt x="1323" y="127"/>
                    <a:pt x="1323" y="133"/>
                  </a:cubicBezTo>
                  <a:cubicBezTo>
                    <a:pt x="1322" y="133"/>
                    <a:pt x="1321" y="132"/>
                    <a:pt x="1320" y="132"/>
                  </a:cubicBezTo>
                  <a:cubicBezTo>
                    <a:pt x="1322" y="133"/>
                    <a:pt x="1323" y="135"/>
                    <a:pt x="1323" y="138"/>
                  </a:cubicBezTo>
                  <a:cubicBezTo>
                    <a:pt x="1318" y="141"/>
                    <a:pt x="1315" y="135"/>
                    <a:pt x="1315" y="130"/>
                  </a:cubicBezTo>
                  <a:close/>
                  <a:moveTo>
                    <a:pt x="1301" y="82"/>
                  </a:moveTo>
                  <a:cubicBezTo>
                    <a:pt x="1303" y="73"/>
                    <a:pt x="1301" y="62"/>
                    <a:pt x="1289" y="68"/>
                  </a:cubicBezTo>
                  <a:cubicBezTo>
                    <a:pt x="1301" y="54"/>
                    <a:pt x="1309" y="73"/>
                    <a:pt x="1320" y="73"/>
                  </a:cubicBezTo>
                  <a:cubicBezTo>
                    <a:pt x="1318" y="76"/>
                    <a:pt x="1309" y="85"/>
                    <a:pt x="1301" y="82"/>
                  </a:cubicBezTo>
                  <a:close/>
                  <a:moveTo>
                    <a:pt x="1320" y="192"/>
                  </a:moveTo>
                  <a:cubicBezTo>
                    <a:pt x="1323" y="186"/>
                    <a:pt x="1334" y="195"/>
                    <a:pt x="1320" y="192"/>
                  </a:cubicBezTo>
                  <a:close/>
                  <a:moveTo>
                    <a:pt x="1326" y="203"/>
                  </a:moveTo>
                  <a:cubicBezTo>
                    <a:pt x="1334" y="197"/>
                    <a:pt x="1323" y="209"/>
                    <a:pt x="1326" y="203"/>
                  </a:cubicBezTo>
                  <a:close/>
                  <a:moveTo>
                    <a:pt x="1329" y="99"/>
                  </a:moveTo>
                  <a:lnTo>
                    <a:pt x="1334" y="99"/>
                  </a:lnTo>
                  <a:lnTo>
                    <a:pt x="1334" y="104"/>
                  </a:lnTo>
                  <a:cubicBezTo>
                    <a:pt x="1334" y="104"/>
                    <a:pt x="1332" y="107"/>
                    <a:pt x="1329" y="107"/>
                  </a:cubicBezTo>
                  <a:cubicBezTo>
                    <a:pt x="1332" y="104"/>
                    <a:pt x="1329" y="102"/>
                    <a:pt x="1329" y="99"/>
                  </a:cubicBezTo>
                  <a:close/>
                  <a:moveTo>
                    <a:pt x="1349" y="2591"/>
                  </a:moveTo>
                  <a:cubicBezTo>
                    <a:pt x="1346" y="2586"/>
                    <a:pt x="1357" y="2586"/>
                    <a:pt x="1363" y="2586"/>
                  </a:cubicBezTo>
                  <a:cubicBezTo>
                    <a:pt x="1363" y="2588"/>
                    <a:pt x="1354" y="2591"/>
                    <a:pt x="1349" y="2591"/>
                  </a:cubicBezTo>
                  <a:close/>
                  <a:moveTo>
                    <a:pt x="1363" y="2614"/>
                  </a:moveTo>
                  <a:cubicBezTo>
                    <a:pt x="1365" y="2617"/>
                    <a:pt x="1368" y="2617"/>
                    <a:pt x="1371" y="2617"/>
                  </a:cubicBezTo>
                  <a:cubicBezTo>
                    <a:pt x="1371" y="2620"/>
                    <a:pt x="1368" y="2622"/>
                    <a:pt x="1365" y="2622"/>
                  </a:cubicBezTo>
                  <a:cubicBezTo>
                    <a:pt x="1365" y="2625"/>
                    <a:pt x="1368" y="2628"/>
                    <a:pt x="1365" y="2628"/>
                  </a:cubicBezTo>
                  <a:lnTo>
                    <a:pt x="1363" y="2625"/>
                  </a:lnTo>
                  <a:cubicBezTo>
                    <a:pt x="1357" y="2617"/>
                    <a:pt x="1360" y="2617"/>
                    <a:pt x="1363" y="2614"/>
                  </a:cubicBezTo>
                  <a:close/>
                  <a:moveTo>
                    <a:pt x="1371" y="2831"/>
                  </a:moveTo>
                  <a:cubicBezTo>
                    <a:pt x="1380" y="2828"/>
                    <a:pt x="1391" y="2834"/>
                    <a:pt x="1397" y="2837"/>
                  </a:cubicBezTo>
                  <a:cubicBezTo>
                    <a:pt x="1388" y="2845"/>
                    <a:pt x="1371" y="2834"/>
                    <a:pt x="1371" y="2831"/>
                  </a:cubicBezTo>
                  <a:close/>
                  <a:moveTo>
                    <a:pt x="1391" y="2910"/>
                  </a:moveTo>
                  <a:cubicBezTo>
                    <a:pt x="1391" y="2907"/>
                    <a:pt x="1397" y="2907"/>
                    <a:pt x="1397" y="2904"/>
                  </a:cubicBezTo>
                  <a:cubicBezTo>
                    <a:pt x="1405" y="2907"/>
                    <a:pt x="1397" y="2916"/>
                    <a:pt x="1391" y="2910"/>
                  </a:cubicBezTo>
                  <a:close/>
                  <a:moveTo>
                    <a:pt x="1399" y="2859"/>
                  </a:moveTo>
                  <a:cubicBezTo>
                    <a:pt x="1408" y="2862"/>
                    <a:pt x="1416" y="2871"/>
                    <a:pt x="1413" y="2882"/>
                  </a:cubicBezTo>
                  <a:cubicBezTo>
                    <a:pt x="1405" y="2879"/>
                    <a:pt x="1399" y="2871"/>
                    <a:pt x="1399" y="2859"/>
                  </a:cubicBezTo>
                  <a:close/>
                  <a:moveTo>
                    <a:pt x="1419" y="2907"/>
                  </a:moveTo>
                  <a:cubicBezTo>
                    <a:pt x="1419" y="2904"/>
                    <a:pt x="1416" y="2904"/>
                    <a:pt x="1416" y="2902"/>
                  </a:cubicBezTo>
                  <a:lnTo>
                    <a:pt x="1422" y="2902"/>
                  </a:lnTo>
                  <a:cubicBezTo>
                    <a:pt x="1419" y="2904"/>
                    <a:pt x="1419" y="2907"/>
                    <a:pt x="1419" y="2907"/>
                  </a:cubicBezTo>
                  <a:close/>
                  <a:moveTo>
                    <a:pt x="1413" y="2803"/>
                  </a:moveTo>
                  <a:cubicBezTo>
                    <a:pt x="1416" y="2797"/>
                    <a:pt x="1419" y="2811"/>
                    <a:pt x="1413" y="2803"/>
                  </a:cubicBezTo>
                  <a:close/>
                  <a:moveTo>
                    <a:pt x="1428" y="2662"/>
                  </a:moveTo>
                  <a:cubicBezTo>
                    <a:pt x="1447" y="2687"/>
                    <a:pt x="1388" y="2687"/>
                    <a:pt x="1428" y="2662"/>
                  </a:cubicBezTo>
                  <a:close/>
                  <a:moveTo>
                    <a:pt x="1428" y="2462"/>
                  </a:moveTo>
                  <a:cubicBezTo>
                    <a:pt x="1428" y="2456"/>
                    <a:pt x="1433" y="2456"/>
                    <a:pt x="1439" y="2456"/>
                  </a:cubicBezTo>
                  <a:cubicBezTo>
                    <a:pt x="1439" y="2459"/>
                    <a:pt x="1433" y="2462"/>
                    <a:pt x="1428" y="2462"/>
                  </a:cubicBezTo>
                  <a:close/>
                  <a:moveTo>
                    <a:pt x="1433" y="1988"/>
                  </a:moveTo>
                  <a:cubicBezTo>
                    <a:pt x="1436" y="1982"/>
                    <a:pt x="1447" y="1990"/>
                    <a:pt x="1433" y="1988"/>
                  </a:cubicBezTo>
                  <a:close/>
                  <a:moveTo>
                    <a:pt x="1442" y="2825"/>
                  </a:moveTo>
                  <a:cubicBezTo>
                    <a:pt x="1442" y="2823"/>
                    <a:pt x="1444" y="2820"/>
                    <a:pt x="1444" y="2817"/>
                  </a:cubicBezTo>
                  <a:cubicBezTo>
                    <a:pt x="1447" y="2817"/>
                    <a:pt x="1447" y="2828"/>
                    <a:pt x="1442" y="2825"/>
                  </a:cubicBezTo>
                  <a:close/>
                  <a:moveTo>
                    <a:pt x="1439" y="2642"/>
                  </a:moveTo>
                  <a:cubicBezTo>
                    <a:pt x="1439" y="2639"/>
                    <a:pt x="1447" y="2639"/>
                    <a:pt x="1444" y="2634"/>
                  </a:cubicBezTo>
                  <a:cubicBezTo>
                    <a:pt x="1450" y="2634"/>
                    <a:pt x="1444" y="2642"/>
                    <a:pt x="1439" y="2642"/>
                  </a:cubicBezTo>
                  <a:close/>
                  <a:moveTo>
                    <a:pt x="1450" y="2309"/>
                  </a:moveTo>
                  <a:cubicBezTo>
                    <a:pt x="1450" y="2306"/>
                    <a:pt x="1456" y="2304"/>
                    <a:pt x="1459" y="2304"/>
                  </a:cubicBezTo>
                  <a:cubicBezTo>
                    <a:pt x="1459" y="2306"/>
                    <a:pt x="1453" y="2309"/>
                    <a:pt x="1450" y="2309"/>
                  </a:cubicBezTo>
                  <a:close/>
                  <a:moveTo>
                    <a:pt x="1469" y="2648"/>
                  </a:moveTo>
                  <a:cubicBezTo>
                    <a:pt x="1477" y="2653"/>
                    <a:pt x="1459" y="2653"/>
                    <a:pt x="1459" y="2656"/>
                  </a:cubicBezTo>
                  <a:cubicBezTo>
                    <a:pt x="1450" y="2651"/>
                    <a:pt x="1469" y="2651"/>
                    <a:pt x="1469" y="2648"/>
                  </a:cubicBezTo>
                  <a:close/>
                  <a:moveTo>
                    <a:pt x="1466" y="2780"/>
                  </a:moveTo>
                  <a:cubicBezTo>
                    <a:pt x="1483" y="2803"/>
                    <a:pt x="1444" y="2763"/>
                    <a:pt x="1466" y="2780"/>
                  </a:cubicBezTo>
                  <a:close/>
                  <a:moveTo>
                    <a:pt x="1472" y="2792"/>
                  </a:moveTo>
                  <a:cubicBezTo>
                    <a:pt x="1472" y="2794"/>
                    <a:pt x="1466" y="2797"/>
                    <a:pt x="1463" y="2797"/>
                  </a:cubicBezTo>
                  <a:cubicBezTo>
                    <a:pt x="1466" y="2794"/>
                    <a:pt x="1469" y="2794"/>
                    <a:pt x="1472" y="2792"/>
                  </a:cubicBezTo>
                  <a:close/>
                  <a:moveTo>
                    <a:pt x="1475" y="2902"/>
                  </a:moveTo>
                  <a:cubicBezTo>
                    <a:pt x="1459" y="2899"/>
                    <a:pt x="1475" y="2873"/>
                    <a:pt x="1489" y="2879"/>
                  </a:cubicBezTo>
                  <a:cubicBezTo>
                    <a:pt x="1483" y="2887"/>
                    <a:pt x="1472" y="2890"/>
                    <a:pt x="1475" y="2902"/>
                  </a:cubicBezTo>
                  <a:close/>
                  <a:moveTo>
                    <a:pt x="1486" y="2893"/>
                  </a:moveTo>
                  <a:cubicBezTo>
                    <a:pt x="1506" y="2902"/>
                    <a:pt x="1477" y="2930"/>
                    <a:pt x="1486" y="2893"/>
                  </a:cubicBezTo>
                  <a:close/>
                  <a:moveTo>
                    <a:pt x="1486" y="2659"/>
                  </a:moveTo>
                  <a:cubicBezTo>
                    <a:pt x="1486" y="2656"/>
                    <a:pt x="1489" y="2653"/>
                    <a:pt x="1486" y="2653"/>
                  </a:cubicBezTo>
                  <a:cubicBezTo>
                    <a:pt x="1489" y="2648"/>
                    <a:pt x="1497" y="2648"/>
                    <a:pt x="1503" y="2648"/>
                  </a:cubicBezTo>
                  <a:cubicBezTo>
                    <a:pt x="1500" y="2656"/>
                    <a:pt x="1491" y="2659"/>
                    <a:pt x="1486" y="2659"/>
                  </a:cubicBezTo>
                  <a:close/>
                  <a:moveTo>
                    <a:pt x="1500" y="2625"/>
                  </a:moveTo>
                  <a:cubicBezTo>
                    <a:pt x="1494" y="2622"/>
                    <a:pt x="1503" y="2614"/>
                    <a:pt x="1508" y="2614"/>
                  </a:cubicBezTo>
                  <a:cubicBezTo>
                    <a:pt x="1508" y="2620"/>
                    <a:pt x="1500" y="2622"/>
                    <a:pt x="1500" y="2625"/>
                  </a:cubicBezTo>
                  <a:close/>
                  <a:moveTo>
                    <a:pt x="1503" y="2428"/>
                  </a:moveTo>
                  <a:lnTo>
                    <a:pt x="1503" y="2419"/>
                  </a:lnTo>
                  <a:lnTo>
                    <a:pt x="1511" y="2419"/>
                  </a:lnTo>
                  <a:cubicBezTo>
                    <a:pt x="1508" y="2425"/>
                    <a:pt x="1506" y="2431"/>
                    <a:pt x="1503" y="2428"/>
                  </a:cubicBezTo>
                  <a:close/>
                  <a:moveTo>
                    <a:pt x="1511" y="2854"/>
                  </a:moveTo>
                  <a:cubicBezTo>
                    <a:pt x="1537" y="2842"/>
                    <a:pt x="1517" y="2885"/>
                    <a:pt x="1534" y="2882"/>
                  </a:cubicBezTo>
                  <a:cubicBezTo>
                    <a:pt x="1525" y="2910"/>
                    <a:pt x="1503" y="2879"/>
                    <a:pt x="1511" y="2854"/>
                  </a:cubicBezTo>
                  <a:close/>
                  <a:moveTo>
                    <a:pt x="1539" y="186"/>
                  </a:moveTo>
                  <a:cubicBezTo>
                    <a:pt x="1545" y="186"/>
                    <a:pt x="1539" y="197"/>
                    <a:pt x="1534" y="195"/>
                  </a:cubicBezTo>
                  <a:cubicBezTo>
                    <a:pt x="1528" y="189"/>
                    <a:pt x="1539" y="192"/>
                    <a:pt x="1539" y="186"/>
                  </a:cubicBezTo>
                  <a:close/>
                  <a:moveTo>
                    <a:pt x="1539" y="223"/>
                  </a:moveTo>
                  <a:cubicBezTo>
                    <a:pt x="1537" y="220"/>
                    <a:pt x="1539" y="214"/>
                    <a:pt x="1539" y="214"/>
                  </a:cubicBezTo>
                  <a:cubicBezTo>
                    <a:pt x="1545" y="212"/>
                    <a:pt x="1548" y="223"/>
                    <a:pt x="1539" y="223"/>
                  </a:cubicBezTo>
                  <a:close/>
                  <a:moveTo>
                    <a:pt x="1539" y="178"/>
                  </a:moveTo>
                  <a:cubicBezTo>
                    <a:pt x="1542" y="175"/>
                    <a:pt x="1545" y="180"/>
                    <a:pt x="1548" y="180"/>
                  </a:cubicBezTo>
                  <a:cubicBezTo>
                    <a:pt x="1548" y="186"/>
                    <a:pt x="1539" y="183"/>
                    <a:pt x="1539" y="178"/>
                  </a:cubicBezTo>
                  <a:close/>
                  <a:moveTo>
                    <a:pt x="1548" y="110"/>
                  </a:moveTo>
                  <a:cubicBezTo>
                    <a:pt x="1556" y="110"/>
                    <a:pt x="1554" y="121"/>
                    <a:pt x="1554" y="127"/>
                  </a:cubicBezTo>
                  <a:cubicBezTo>
                    <a:pt x="1545" y="124"/>
                    <a:pt x="1551" y="116"/>
                    <a:pt x="1548" y="110"/>
                  </a:cubicBezTo>
                  <a:close/>
                  <a:moveTo>
                    <a:pt x="1551" y="2783"/>
                  </a:moveTo>
                  <a:cubicBezTo>
                    <a:pt x="1551" y="2777"/>
                    <a:pt x="1559" y="2786"/>
                    <a:pt x="1551" y="2783"/>
                  </a:cubicBezTo>
                  <a:close/>
                  <a:moveTo>
                    <a:pt x="1554" y="189"/>
                  </a:moveTo>
                  <a:cubicBezTo>
                    <a:pt x="1551" y="186"/>
                    <a:pt x="1556" y="183"/>
                    <a:pt x="1559" y="180"/>
                  </a:cubicBezTo>
                  <a:cubicBezTo>
                    <a:pt x="1559" y="183"/>
                    <a:pt x="1556" y="186"/>
                    <a:pt x="1554" y="189"/>
                  </a:cubicBezTo>
                  <a:close/>
                  <a:moveTo>
                    <a:pt x="1559" y="186"/>
                  </a:moveTo>
                  <a:cubicBezTo>
                    <a:pt x="1565" y="183"/>
                    <a:pt x="1565" y="192"/>
                    <a:pt x="1568" y="195"/>
                  </a:cubicBezTo>
                  <a:cubicBezTo>
                    <a:pt x="1565" y="195"/>
                    <a:pt x="1562" y="195"/>
                    <a:pt x="1562" y="197"/>
                  </a:cubicBezTo>
                  <a:cubicBezTo>
                    <a:pt x="1559" y="192"/>
                    <a:pt x="1556" y="189"/>
                    <a:pt x="1559" y="186"/>
                  </a:cubicBezTo>
                  <a:close/>
                  <a:moveTo>
                    <a:pt x="1565" y="228"/>
                  </a:moveTo>
                  <a:cubicBezTo>
                    <a:pt x="1568" y="228"/>
                    <a:pt x="1568" y="234"/>
                    <a:pt x="1568" y="237"/>
                  </a:cubicBezTo>
                  <a:cubicBezTo>
                    <a:pt x="1565" y="237"/>
                    <a:pt x="1562" y="234"/>
                    <a:pt x="1559" y="234"/>
                  </a:cubicBezTo>
                  <a:cubicBezTo>
                    <a:pt x="1559" y="231"/>
                    <a:pt x="1565" y="231"/>
                    <a:pt x="1565" y="228"/>
                  </a:cubicBezTo>
                  <a:close/>
                  <a:moveTo>
                    <a:pt x="1570" y="2653"/>
                  </a:moveTo>
                  <a:cubicBezTo>
                    <a:pt x="1570" y="2656"/>
                    <a:pt x="1565" y="2659"/>
                    <a:pt x="1562" y="2659"/>
                  </a:cubicBezTo>
                  <a:cubicBezTo>
                    <a:pt x="1565" y="2656"/>
                    <a:pt x="1568" y="2653"/>
                    <a:pt x="1570" y="2653"/>
                  </a:cubicBezTo>
                  <a:close/>
                  <a:moveTo>
                    <a:pt x="1579" y="2910"/>
                  </a:moveTo>
                  <a:cubicBezTo>
                    <a:pt x="1556" y="2907"/>
                    <a:pt x="1568" y="2882"/>
                    <a:pt x="1593" y="2887"/>
                  </a:cubicBezTo>
                  <a:cubicBezTo>
                    <a:pt x="1587" y="2893"/>
                    <a:pt x="1576" y="2896"/>
                    <a:pt x="1579" y="2910"/>
                  </a:cubicBezTo>
                  <a:close/>
                  <a:moveTo>
                    <a:pt x="1590" y="2780"/>
                  </a:moveTo>
                  <a:lnTo>
                    <a:pt x="1590" y="2772"/>
                  </a:lnTo>
                  <a:lnTo>
                    <a:pt x="1596" y="2772"/>
                  </a:lnTo>
                  <a:cubicBezTo>
                    <a:pt x="1596" y="2772"/>
                    <a:pt x="1599" y="2780"/>
                    <a:pt x="1590" y="2780"/>
                  </a:cubicBezTo>
                  <a:close/>
                  <a:moveTo>
                    <a:pt x="1599" y="2865"/>
                  </a:moveTo>
                  <a:cubicBezTo>
                    <a:pt x="1618" y="2868"/>
                    <a:pt x="1590" y="2896"/>
                    <a:pt x="1599" y="2865"/>
                  </a:cubicBezTo>
                  <a:close/>
                  <a:moveTo>
                    <a:pt x="1613" y="2769"/>
                  </a:moveTo>
                  <a:lnTo>
                    <a:pt x="1607" y="2769"/>
                  </a:lnTo>
                  <a:lnTo>
                    <a:pt x="1607" y="2763"/>
                  </a:lnTo>
                  <a:lnTo>
                    <a:pt x="1613" y="2763"/>
                  </a:lnTo>
                  <a:lnTo>
                    <a:pt x="1613" y="2769"/>
                  </a:lnTo>
                  <a:close/>
                  <a:moveTo>
                    <a:pt x="1610" y="2583"/>
                  </a:moveTo>
                  <a:cubicBezTo>
                    <a:pt x="1610" y="2577"/>
                    <a:pt x="1621" y="2577"/>
                    <a:pt x="1624" y="2577"/>
                  </a:cubicBezTo>
                  <a:cubicBezTo>
                    <a:pt x="1627" y="2583"/>
                    <a:pt x="1616" y="2583"/>
                    <a:pt x="1610" y="2583"/>
                  </a:cubicBezTo>
                  <a:close/>
                  <a:moveTo>
                    <a:pt x="1638" y="2910"/>
                  </a:moveTo>
                  <a:cubicBezTo>
                    <a:pt x="1593" y="2902"/>
                    <a:pt x="1633" y="2862"/>
                    <a:pt x="1638" y="2910"/>
                  </a:cubicBezTo>
                  <a:close/>
                  <a:moveTo>
                    <a:pt x="1633" y="195"/>
                  </a:moveTo>
                  <a:cubicBezTo>
                    <a:pt x="1635" y="195"/>
                    <a:pt x="1638" y="192"/>
                    <a:pt x="1641" y="192"/>
                  </a:cubicBezTo>
                  <a:cubicBezTo>
                    <a:pt x="1641" y="189"/>
                    <a:pt x="1647" y="189"/>
                    <a:pt x="1647" y="189"/>
                  </a:cubicBezTo>
                  <a:cubicBezTo>
                    <a:pt x="1649" y="192"/>
                    <a:pt x="1647" y="197"/>
                    <a:pt x="1649" y="200"/>
                  </a:cubicBezTo>
                  <a:cubicBezTo>
                    <a:pt x="1644" y="203"/>
                    <a:pt x="1638" y="197"/>
                    <a:pt x="1633" y="195"/>
                  </a:cubicBezTo>
                  <a:close/>
                  <a:moveTo>
                    <a:pt x="1644" y="2744"/>
                  </a:moveTo>
                  <a:cubicBezTo>
                    <a:pt x="1641" y="2741"/>
                    <a:pt x="1647" y="2732"/>
                    <a:pt x="1652" y="2732"/>
                  </a:cubicBezTo>
                  <a:cubicBezTo>
                    <a:pt x="1649" y="2738"/>
                    <a:pt x="1649" y="2744"/>
                    <a:pt x="1644" y="2744"/>
                  </a:cubicBezTo>
                  <a:close/>
                  <a:moveTo>
                    <a:pt x="1652" y="2845"/>
                  </a:moveTo>
                  <a:cubicBezTo>
                    <a:pt x="1655" y="2848"/>
                    <a:pt x="1661" y="2851"/>
                    <a:pt x="1661" y="2854"/>
                  </a:cubicBezTo>
                  <a:cubicBezTo>
                    <a:pt x="1661" y="2854"/>
                    <a:pt x="1647" y="2842"/>
                    <a:pt x="1652" y="2845"/>
                  </a:cubicBezTo>
                  <a:close/>
                  <a:moveTo>
                    <a:pt x="1664" y="2690"/>
                  </a:moveTo>
                  <a:cubicBezTo>
                    <a:pt x="1661" y="2682"/>
                    <a:pt x="1678" y="2679"/>
                    <a:pt x="1675" y="2690"/>
                  </a:cubicBezTo>
                  <a:cubicBezTo>
                    <a:pt x="1672" y="2687"/>
                    <a:pt x="1666" y="2690"/>
                    <a:pt x="1664" y="2690"/>
                  </a:cubicBezTo>
                  <a:close/>
                  <a:moveTo>
                    <a:pt x="1675" y="2780"/>
                  </a:moveTo>
                  <a:lnTo>
                    <a:pt x="1676" y="2780"/>
                  </a:lnTo>
                  <a:cubicBezTo>
                    <a:pt x="1676" y="2783"/>
                    <a:pt x="1675" y="2787"/>
                    <a:pt x="1675" y="2780"/>
                  </a:cubicBezTo>
                  <a:cubicBezTo>
                    <a:pt x="1676" y="2777"/>
                    <a:pt x="1676" y="2778"/>
                    <a:pt x="1676" y="2780"/>
                  </a:cubicBezTo>
                  <a:lnTo>
                    <a:pt x="1675" y="2780"/>
                  </a:lnTo>
                  <a:close/>
                  <a:moveTo>
                    <a:pt x="1678" y="2766"/>
                  </a:moveTo>
                  <a:cubicBezTo>
                    <a:pt x="1683" y="2763"/>
                    <a:pt x="1695" y="2763"/>
                    <a:pt x="1695" y="2772"/>
                  </a:cubicBezTo>
                  <a:cubicBezTo>
                    <a:pt x="1689" y="2772"/>
                    <a:pt x="1678" y="2775"/>
                    <a:pt x="1678" y="2766"/>
                  </a:cubicBezTo>
                  <a:close/>
                  <a:moveTo>
                    <a:pt x="1689" y="2885"/>
                  </a:moveTo>
                  <a:cubicBezTo>
                    <a:pt x="1692" y="2879"/>
                    <a:pt x="1697" y="2876"/>
                    <a:pt x="1703" y="2876"/>
                  </a:cubicBezTo>
                  <a:cubicBezTo>
                    <a:pt x="1703" y="2882"/>
                    <a:pt x="1692" y="2882"/>
                    <a:pt x="1689" y="2885"/>
                  </a:cubicBezTo>
                  <a:close/>
                  <a:moveTo>
                    <a:pt x="1703" y="2676"/>
                  </a:moveTo>
                  <a:cubicBezTo>
                    <a:pt x="1709" y="2670"/>
                    <a:pt x="1706" y="2684"/>
                    <a:pt x="1703" y="2676"/>
                  </a:cubicBezTo>
                  <a:close/>
                  <a:moveTo>
                    <a:pt x="1706" y="2899"/>
                  </a:moveTo>
                  <a:cubicBezTo>
                    <a:pt x="1706" y="2893"/>
                    <a:pt x="1714" y="2893"/>
                    <a:pt x="1720" y="2890"/>
                  </a:cubicBezTo>
                  <a:cubicBezTo>
                    <a:pt x="1720" y="2899"/>
                    <a:pt x="1709" y="2899"/>
                    <a:pt x="1706" y="2899"/>
                  </a:cubicBezTo>
                  <a:close/>
                  <a:moveTo>
                    <a:pt x="1706" y="2865"/>
                  </a:moveTo>
                  <a:cubicBezTo>
                    <a:pt x="1712" y="2865"/>
                    <a:pt x="1714" y="2865"/>
                    <a:pt x="1717" y="2868"/>
                  </a:cubicBezTo>
                  <a:cubicBezTo>
                    <a:pt x="1717" y="2871"/>
                    <a:pt x="1706" y="2873"/>
                    <a:pt x="1706" y="2865"/>
                  </a:cubicBezTo>
                  <a:close/>
                  <a:moveTo>
                    <a:pt x="1726" y="2766"/>
                  </a:moveTo>
                  <a:cubicBezTo>
                    <a:pt x="1726" y="2769"/>
                    <a:pt x="1720" y="2772"/>
                    <a:pt x="1717" y="2772"/>
                  </a:cubicBezTo>
                  <a:cubicBezTo>
                    <a:pt x="1720" y="2769"/>
                    <a:pt x="1723" y="2769"/>
                    <a:pt x="1726" y="2766"/>
                  </a:cubicBezTo>
                  <a:close/>
                  <a:moveTo>
                    <a:pt x="1720" y="2766"/>
                  </a:moveTo>
                  <a:cubicBezTo>
                    <a:pt x="1720" y="2761"/>
                    <a:pt x="1728" y="2769"/>
                    <a:pt x="1720" y="2766"/>
                  </a:cubicBezTo>
                  <a:close/>
                  <a:moveTo>
                    <a:pt x="1726" y="2862"/>
                  </a:moveTo>
                  <a:lnTo>
                    <a:pt x="1720" y="2862"/>
                  </a:lnTo>
                  <a:lnTo>
                    <a:pt x="1720" y="2856"/>
                  </a:lnTo>
                  <a:lnTo>
                    <a:pt x="1726" y="2856"/>
                  </a:lnTo>
                  <a:cubicBezTo>
                    <a:pt x="1728" y="2856"/>
                    <a:pt x="1726" y="2859"/>
                    <a:pt x="1726" y="2862"/>
                  </a:cubicBezTo>
                  <a:close/>
                  <a:moveTo>
                    <a:pt x="1717" y="2752"/>
                  </a:moveTo>
                  <a:cubicBezTo>
                    <a:pt x="1714" y="2744"/>
                    <a:pt x="1728" y="2738"/>
                    <a:pt x="1734" y="2744"/>
                  </a:cubicBezTo>
                  <a:cubicBezTo>
                    <a:pt x="1728" y="2749"/>
                    <a:pt x="1723" y="2752"/>
                    <a:pt x="1717" y="2752"/>
                  </a:cubicBezTo>
                  <a:close/>
                  <a:moveTo>
                    <a:pt x="1734" y="135"/>
                  </a:moveTo>
                  <a:cubicBezTo>
                    <a:pt x="1739" y="134"/>
                    <a:pt x="1737" y="137"/>
                    <a:pt x="1735" y="138"/>
                  </a:cubicBezTo>
                  <a:cubicBezTo>
                    <a:pt x="1735" y="141"/>
                    <a:pt x="1732" y="144"/>
                    <a:pt x="1726" y="144"/>
                  </a:cubicBezTo>
                  <a:cubicBezTo>
                    <a:pt x="1726" y="141"/>
                    <a:pt x="1723" y="137"/>
                    <a:pt x="1723" y="135"/>
                  </a:cubicBezTo>
                  <a:cubicBezTo>
                    <a:pt x="1723" y="132"/>
                    <a:pt x="1728" y="130"/>
                    <a:pt x="1734" y="135"/>
                  </a:cubicBezTo>
                  <a:close/>
                  <a:moveTo>
                    <a:pt x="1731" y="37"/>
                  </a:moveTo>
                  <a:cubicBezTo>
                    <a:pt x="1734" y="31"/>
                    <a:pt x="1740" y="45"/>
                    <a:pt x="1731" y="37"/>
                  </a:cubicBezTo>
                  <a:close/>
                  <a:moveTo>
                    <a:pt x="1737" y="2741"/>
                  </a:moveTo>
                  <a:cubicBezTo>
                    <a:pt x="1737" y="2735"/>
                    <a:pt x="1748" y="2744"/>
                    <a:pt x="1737" y="2741"/>
                  </a:cubicBezTo>
                  <a:close/>
                  <a:moveTo>
                    <a:pt x="1743" y="2741"/>
                  </a:moveTo>
                  <a:cubicBezTo>
                    <a:pt x="1743" y="2735"/>
                    <a:pt x="1754" y="2744"/>
                    <a:pt x="1743" y="2741"/>
                  </a:cubicBezTo>
                  <a:close/>
                  <a:moveTo>
                    <a:pt x="1751" y="2656"/>
                  </a:moveTo>
                  <a:lnTo>
                    <a:pt x="1752" y="2656"/>
                  </a:lnTo>
                  <a:cubicBezTo>
                    <a:pt x="1751" y="2657"/>
                    <a:pt x="1751" y="2657"/>
                    <a:pt x="1751" y="2656"/>
                  </a:cubicBezTo>
                  <a:cubicBezTo>
                    <a:pt x="1755" y="2650"/>
                    <a:pt x="1753" y="2655"/>
                    <a:pt x="1752" y="2656"/>
                  </a:cubicBezTo>
                  <a:lnTo>
                    <a:pt x="1751" y="2656"/>
                  </a:lnTo>
                  <a:close/>
                  <a:moveTo>
                    <a:pt x="1748" y="2569"/>
                  </a:moveTo>
                  <a:cubicBezTo>
                    <a:pt x="1745" y="2563"/>
                    <a:pt x="1757" y="2563"/>
                    <a:pt x="1762" y="2563"/>
                  </a:cubicBezTo>
                  <a:cubicBezTo>
                    <a:pt x="1762" y="2569"/>
                    <a:pt x="1754" y="2569"/>
                    <a:pt x="1748" y="2569"/>
                  </a:cubicBezTo>
                  <a:close/>
                  <a:moveTo>
                    <a:pt x="1762" y="149"/>
                  </a:moveTo>
                  <a:cubicBezTo>
                    <a:pt x="1768" y="147"/>
                    <a:pt x="1762" y="161"/>
                    <a:pt x="1762" y="149"/>
                  </a:cubicBezTo>
                  <a:close/>
                  <a:moveTo>
                    <a:pt x="1760" y="195"/>
                  </a:moveTo>
                  <a:cubicBezTo>
                    <a:pt x="1762" y="189"/>
                    <a:pt x="1768" y="186"/>
                    <a:pt x="1774" y="189"/>
                  </a:cubicBezTo>
                  <a:cubicBezTo>
                    <a:pt x="1774" y="195"/>
                    <a:pt x="1765" y="197"/>
                    <a:pt x="1760" y="195"/>
                  </a:cubicBezTo>
                  <a:close/>
                  <a:moveTo>
                    <a:pt x="1774" y="2698"/>
                  </a:moveTo>
                  <a:cubicBezTo>
                    <a:pt x="1765" y="2698"/>
                    <a:pt x="1771" y="2684"/>
                    <a:pt x="1771" y="2679"/>
                  </a:cubicBezTo>
                  <a:cubicBezTo>
                    <a:pt x="1782" y="2682"/>
                    <a:pt x="1774" y="2696"/>
                    <a:pt x="1774" y="2698"/>
                  </a:cubicBezTo>
                  <a:close/>
                  <a:moveTo>
                    <a:pt x="1779" y="2507"/>
                  </a:moveTo>
                  <a:lnTo>
                    <a:pt x="1774" y="2507"/>
                  </a:lnTo>
                  <a:lnTo>
                    <a:pt x="1774" y="2501"/>
                  </a:lnTo>
                  <a:lnTo>
                    <a:pt x="1779" y="2501"/>
                  </a:lnTo>
                  <a:lnTo>
                    <a:pt x="1779" y="2507"/>
                  </a:lnTo>
                  <a:close/>
                  <a:moveTo>
                    <a:pt x="1779" y="2625"/>
                  </a:moveTo>
                  <a:lnTo>
                    <a:pt x="1785" y="2625"/>
                  </a:lnTo>
                  <a:lnTo>
                    <a:pt x="1785" y="2631"/>
                  </a:lnTo>
                  <a:lnTo>
                    <a:pt x="1779" y="2631"/>
                  </a:lnTo>
                  <a:lnTo>
                    <a:pt x="1779" y="2625"/>
                  </a:lnTo>
                  <a:close/>
                  <a:moveTo>
                    <a:pt x="1779" y="2873"/>
                  </a:moveTo>
                  <a:cubicBezTo>
                    <a:pt x="1779" y="2868"/>
                    <a:pt x="1785" y="2862"/>
                    <a:pt x="1791" y="2865"/>
                  </a:cubicBezTo>
                  <a:cubicBezTo>
                    <a:pt x="1791" y="2871"/>
                    <a:pt x="1788" y="2876"/>
                    <a:pt x="1779" y="2873"/>
                  </a:cubicBezTo>
                  <a:close/>
                  <a:moveTo>
                    <a:pt x="1788" y="2854"/>
                  </a:moveTo>
                  <a:cubicBezTo>
                    <a:pt x="1791" y="2848"/>
                    <a:pt x="1793" y="2865"/>
                    <a:pt x="1788" y="2854"/>
                  </a:cubicBezTo>
                  <a:close/>
                  <a:moveTo>
                    <a:pt x="1802" y="2447"/>
                  </a:moveTo>
                  <a:cubicBezTo>
                    <a:pt x="1802" y="2450"/>
                    <a:pt x="1796" y="2453"/>
                    <a:pt x="1793" y="2453"/>
                  </a:cubicBezTo>
                  <a:cubicBezTo>
                    <a:pt x="1793" y="2450"/>
                    <a:pt x="1799" y="2447"/>
                    <a:pt x="1802" y="2447"/>
                  </a:cubicBezTo>
                  <a:close/>
                  <a:moveTo>
                    <a:pt x="1805" y="2625"/>
                  </a:moveTo>
                  <a:lnTo>
                    <a:pt x="1793" y="2625"/>
                  </a:lnTo>
                  <a:cubicBezTo>
                    <a:pt x="1793" y="2620"/>
                    <a:pt x="1807" y="2617"/>
                    <a:pt x="1805" y="2625"/>
                  </a:cubicBezTo>
                  <a:close/>
                  <a:moveTo>
                    <a:pt x="1796" y="2834"/>
                  </a:moveTo>
                  <a:cubicBezTo>
                    <a:pt x="1799" y="2825"/>
                    <a:pt x="1799" y="2842"/>
                    <a:pt x="1796" y="2834"/>
                  </a:cubicBezTo>
                  <a:close/>
                  <a:moveTo>
                    <a:pt x="1802" y="2876"/>
                  </a:moveTo>
                  <a:cubicBezTo>
                    <a:pt x="1802" y="2868"/>
                    <a:pt x="1813" y="2871"/>
                    <a:pt x="1819" y="2871"/>
                  </a:cubicBezTo>
                  <a:cubicBezTo>
                    <a:pt x="1816" y="2876"/>
                    <a:pt x="1807" y="2876"/>
                    <a:pt x="1802" y="2876"/>
                  </a:cubicBezTo>
                  <a:close/>
                  <a:moveTo>
                    <a:pt x="1805" y="2834"/>
                  </a:moveTo>
                  <a:cubicBezTo>
                    <a:pt x="1805" y="2828"/>
                    <a:pt x="1816" y="2831"/>
                    <a:pt x="1822" y="2831"/>
                  </a:cubicBezTo>
                  <a:cubicBezTo>
                    <a:pt x="1822" y="2840"/>
                    <a:pt x="1805" y="2837"/>
                    <a:pt x="1805" y="2834"/>
                  </a:cubicBezTo>
                  <a:close/>
                  <a:moveTo>
                    <a:pt x="1805" y="2366"/>
                  </a:moveTo>
                  <a:cubicBezTo>
                    <a:pt x="1805" y="2360"/>
                    <a:pt x="1824" y="2349"/>
                    <a:pt x="1824" y="2360"/>
                  </a:cubicBezTo>
                  <a:cubicBezTo>
                    <a:pt x="1816" y="2360"/>
                    <a:pt x="1813" y="2366"/>
                    <a:pt x="1805" y="2366"/>
                  </a:cubicBezTo>
                  <a:close/>
                  <a:moveTo>
                    <a:pt x="1839" y="2411"/>
                  </a:moveTo>
                  <a:cubicBezTo>
                    <a:pt x="1839" y="2419"/>
                    <a:pt x="1824" y="2419"/>
                    <a:pt x="1824" y="2411"/>
                  </a:cubicBezTo>
                  <a:cubicBezTo>
                    <a:pt x="1830" y="2408"/>
                    <a:pt x="1833" y="2411"/>
                    <a:pt x="1839" y="2411"/>
                  </a:cubicBezTo>
                  <a:close/>
                  <a:moveTo>
                    <a:pt x="1824" y="2825"/>
                  </a:moveTo>
                  <a:cubicBezTo>
                    <a:pt x="1824" y="2820"/>
                    <a:pt x="1833" y="2820"/>
                    <a:pt x="1839" y="2817"/>
                  </a:cubicBezTo>
                  <a:cubicBezTo>
                    <a:pt x="1836" y="2823"/>
                    <a:pt x="1830" y="2825"/>
                    <a:pt x="1824" y="2825"/>
                  </a:cubicBezTo>
                  <a:close/>
                  <a:moveTo>
                    <a:pt x="1824" y="2696"/>
                  </a:moveTo>
                  <a:cubicBezTo>
                    <a:pt x="1824" y="2693"/>
                    <a:pt x="1841" y="2687"/>
                    <a:pt x="1839" y="2696"/>
                  </a:cubicBezTo>
                  <a:cubicBezTo>
                    <a:pt x="1836" y="2693"/>
                    <a:pt x="1833" y="2698"/>
                    <a:pt x="1824" y="2696"/>
                  </a:cubicBezTo>
                  <a:close/>
                  <a:moveTo>
                    <a:pt x="1847" y="2529"/>
                  </a:moveTo>
                  <a:cubicBezTo>
                    <a:pt x="1839" y="2535"/>
                    <a:pt x="1839" y="2521"/>
                    <a:pt x="1847" y="2529"/>
                  </a:cubicBezTo>
                  <a:close/>
                  <a:moveTo>
                    <a:pt x="1847" y="2871"/>
                  </a:moveTo>
                  <a:cubicBezTo>
                    <a:pt x="1850" y="2862"/>
                    <a:pt x="1850" y="2879"/>
                    <a:pt x="1847" y="2871"/>
                  </a:cubicBezTo>
                  <a:close/>
                  <a:moveTo>
                    <a:pt x="1844" y="2405"/>
                  </a:moveTo>
                  <a:cubicBezTo>
                    <a:pt x="1847" y="2399"/>
                    <a:pt x="1855" y="2408"/>
                    <a:pt x="1844" y="2405"/>
                  </a:cubicBezTo>
                  <a:close/>
                  <a:moveTo>
                    <a:pt x="1850" y="2715"/>
                  </a:moveTo>
                  <a:cubicBezTo>
                    <a:pt x="1850" y="2710"/>
                    <a:pt x="1858" y="2718"/>
                    <a:pt x="1850" y="2715"/>
                  </a:cubicBezTo>
                  <a:close/>
                  <a:moveTo>
                    <a:pt x="2555" y="2431"/>
                  </a:moveTo>
                  <a:cubicBezTo>
                    <a:pt x="2555" y="2425"/>
                    <a:pt x="2564" y="2433"/>
                    <a:pt x="2555" y="2431"/>
                  </a:cubicBezTo>
                  <a:close/>
                  <a:moveTo>
                    <a:pt x="2851" y="1368"/>
                  </a:moveTo>
                  <a:cubicBezTo>
                    <a:pt x="2852" y="1366"/>
                    <a:pt x="2853" y="1365"/>
                    <a:pt x="2854" y="1365"/>
                  </a:cubicBezTo>
                  <a:cubicBezTo>
                    <a:pt x="2853" y="1365"/>
                    <a:pt x="2852" y="1365"/>
                    <a:pt x="2851" y="1365"/>
                  </a:cubicBezTo>
                  <a:lnTo>
                    <a:pt x="2849" y="1365"/>
                  </a:lnTo>
                  <a:cubicBezTo>
                    <a:pt x="2849" y="1362"/>
                    <a:pt x="2851" y="1360"/>
                    <a:pt x="2857" y="1360"/>
                  </a:cubicBezTo>
                  <a:cubicBezTo>
                    <a:pt x="2857" y="1361"/>
                    <a:pt x="2856" y="1363"/>
                    <a:pt x="2855" y="1364"/>
                  </a:cubicBezTo>
                  <a:cubicBezTo>
                    <a:pt x="2862" y="1360"/>
                    <a:pt x="2869" y="1385"/>
                    <a:pt x="2874" y="1371"/>
                  </a:cubicBezTo>
                  <a:cubicBezTo>
                    <a:pt x="2888" y="1385"/>
                    <a:pt x="2846" y="1385"/>
                    <a:pt x="2851" y="1368"/>
                  </a:cubicBezTo>
                  <a:close/>
                  <a:moveTo>
                    <a:pt x="2868" y="1402"/>
                  </a:moveTo>
                  <a:cubicBezTo>
                    <a:pt x="2874" y="1399"/>
                    <a:pt x="2866" y="1402"/>
                    <a:pt x="2868" y="1402"/>
                  </a:cubicBezTo>
                  <a:close/>
                  <a:moveTo>
                    <a:pt x="2866" y="1466"/>
                  </a:moveTo>
                  <a:cubicBezTo>
                    <a:pt x="2880" y="1471"/>
                    <a:pt x="2854" y="1486"/>
                    <a:pt x="2866" y="1466"/>
                  </a:cubicBezTo>
                  <a:close/>
                  <a:moveTo>
                    <a:pt x="2863" y="1635"/>
                  </a:moveTo>
                  <a:cubicBezTo>
                    <a:pt x="2854" y="1615"/>
                    <a:pt x="2874" y="1655"/>
                    <a:pt x="2863" y="1635"/>
                  </a:cubicBezTo>
                  <a:close/>
                  <a:moveTo>
                    <a:pt x="2854" y="1610"/>
                  </a:moveTo>
                  <a:cubicBezTo>
                    <a:pt x="2857" y="1604"/>
                    <a:pt x="2866" y="1615"/>
                    <a:pt x="2854" y="1610"/>
                  </a:cubicBezTo>
                  <a:close/>
                  <a:moveTo>
                    <a:pt x="2863" y="1439"/>
                  </a:moveTo>
                  <a:cubicBezTo>
                    <a:pt x="2857" y="1439"/>
                    <a:pt x="2854" y="1436"/>
                    <a:pt x="2849" y="1436"/>
                  </a:cubicBezTo>
                  <a:cubicBezTo>
                    <a:pt x="2849" y="1436"/>
                    <a:pt x="2866" y="1433"/>
                    <a:pt x="2863" y="1439"/>
                  </a:cubicBezTo>
                  <a:close/>
                  <a:moveTo>
                    <a:pt x="2804" y="1759"/>
                  </a:moveTo>
                  <a:cubicBezTo>
                    <a:pt x="2804" y="1756"/>
                    <a:pt x="2806" y="1756"/>
                    <a:pt x="2809" y="1756"/>
                  </a:cubicBezTo>
                  <a:lnTo>
                    <a:pt x="2815" y="1756"/>
                  </a:lnTo>
                  <a:cubicBezTo>
                    <a:pt x="2815" y="1759"/>
                    <a:pt x="2815" y="1762"/>
                    <a:pt x="2812" y="1762"/>
                  </a:cubicBezTo>
                  <a:cubicBezTo>
                    <a:pt x="2814" y="1762"/>
                    <a:pt x="2812" y="1763"/>
                    <a:pt x="2810" y="1763"/>
                  </a:cubicBezTo>
                  <a:cubicBezTo>
                    <a:pt x="2809" y="1763"/>
                    <a:pt x="2806" y="1765"/>
                    <a:pt x="2804" y="1765"/>
                  </a:cubicBezTo>
                  <a:cubicBezTo>
                    <a:pt x="2801" y="1765"/>
                    <a:pt x="2805" y="1763"/>
                    <a:pt x="2808" y="1762"/>
                  </a:cubicBezTo>
                  <a:cubicBezTo>
                    <a:pt x="2807" y="1762"/>
                    <a:pt x="2805" y="1761"/>
                    <a:pt x="2804" y="1759"/>
                  </a:cubicBezTo>
                  <a:close/>
                  <a:moveTo>
                    <a:pt x="2792" y="1770"/>
                  </a:moveTo>
                  <a:cubicBezTo>
                    <a:pt x="2790" y="1766"/>
                    <a:pt x="2797" y="1767"/>
                    <a:pt x="2798" y="1770"/>
                  </a:cubicBezTo>
                  <a:cubicBezTo>
                    <a:pt x="2799" y="1770"/>
                    <a:pt x="2800" y="1770"/>
                    <a:pt x="2801" y="1770"/>
                  </a:cubicBezTo>
                  <a:cubicBezTo>
                    <a:pt x="2801" y="1768"/>
                    <a:pt x="2804" y="1770"/>
                    <a:pt x="2804" y="1773"/>
                  </a:cubicBezTo>
                  <a:cubicBezTo>
                    <a:pt x="2804" y="1771"/>
                    <a:pt x="2805" y="1772"/>
                    <a:pt x="2805" y="1773"/>
                  </a:cubicBezTo>
                  <a:cubicBezTo>
                    <a:pt x="2812" y="1771"/>
                    <a:pt x="2815" y="1773"/>
                    <a:pt x="2820" y="1776"/>
                  </a:cubicBezTo>
                  <a:cubicBezTo>
                    <a:pt x="2822" y="1775"/>
                    <a:pt x="2825" y="1775"/>
                    <a:pt x="2829" y="1776"/>
                  </a:cubicBezTo>
                  <a:cubicBezTo>
                    <a:pt x="2830" y="1777"/>
                    <a:pt x="2830" y="1778"/>
                    <a:pt x="2831" y="1779"/>
                  </a:cubicBezTo>
                  <a:lnTo>
                    <a:pt x="2832" y="1779"/>
                  </a:lnTo>
                  <a:lnTo>
                    <a:pt x="2832" y="1782"/>
                  </a:lnTo>
                  <a:cubicBezTo>
                    <a:pt x="2837" y="1787"/>
                    <a:pt x="2837" y="1799"/>
                    <a:pt x="2846" y="1804"/>
                  </a:cubicBezTo>
                  <a:cubicBezTo>
                    <a:pt x="2843" y="1812"/>
                    <a:pt x="2824" y="1799"/>
                    <a:pt x="2825" y="1786"/>
                  </a:cubicBezTo>
                  <a:cubicBezTo>
                    <a:pt x="2824" y="1785"/>
                    <a:pt x="2822" y="1785"/>
                    <a:pt x="2820" y="1785"/>
                  </a:cubicBezTo>
                  <a:cubicBezTo>
                    <a:pt x="2818" y="1787"/>
                    <a:pt x="2809" y="1785"/>
                    <a:pt x="2806" y="1782"/>
                  </a:cubicBezTo>
                  <a:cubicBezTo>
                    <a:pt x="2804" y="1785"/>
                    <a:pt x="2804" y="1785"/>
                    <a:pt x="2801" y="1785"/>
                  </a:cubicBezTo>
                  <a:cubicBezTo>
                    <a:pt x="2812" y="1801"/>
                    <a:pt x="2829" y="1804"/>
                    <a:pt x="2829" y="1824"/>
                  </a:cubicBezTo>
                  <a:cubicBezTo>
                    <a:pt x="2809" y="1827"/>
                    <a:pt x="2798" y="1804"/>
                    <a:pt x="2798" y="1785"/>
                  </a:cubicBezTo>
                  <a:cubicBezTo>
                    <a:pt x="2795" y="1785"/>
                    <a:pt x="2792" y="1782"/>
                    <a:pt x="2792" y="1776"/>
                  </a:cubicBezTo>
                  <a:cubicBezTo>
                    <a:pt x="2792" y="1774"/>
                    <a:pt x="2792" y="1773"/>
                    <a:pt x="2793" y="1772"/>
                  </a:cubicBezTo>
                  <a:cubicBezTo>
                    <a:pt x="2793" y="1772"/>
                    <a:pt x="2792" y="1771"/>
                    <a:pt x="2792" y="1770"/>
                  </a:cubicBezTo>
                  <a:close/>
                  <a:moveTo>
                    <a:pt x="2792" y="1762"/>
                  </a:moveTo>
                  <a:cubicBezTo>
                    <a:pt x="2798" y="1756"/>
                    <a:pt x="2789" y="1770"/>
                    <a:pt x="2792" y="1762"/>
                  </a:cubicBezTo>
                  <a:close/>
                  <a:moveTo>
                    <a:pt x="2789" y="1382"/>
                  </a:moveTo>
                  <a:cubicBezTo>
                    <a:pt x="2789" y="1393"/>
                    <a:pt x="2781" y="1405"/>
                    <a:pt x="2770" y="1405"/>
                  </a:cubicBezTo>
                  <a:lnTo>
                    <a:pt x="2761" y="1405"/>
                  </a:lnTo>
                  <a:cubicBezTo>
                    <a:pt x="2764" y="1399"/>
                    <a:pt x="2787" y="1391"/>
                    <a:pt x="2767" y="1385"/>
                  </a:cubicBezTo>
                  <a:cubicBezTo>
                    <a:pt x="2772" y="1379"/>
                    <a:pt x="2778" y="1371"/>
                    <a:pt x="2792" y="1374"/>
                  </a:cubicBezTo>
                  <a:cubicBezTo>
                    <a:pt x="2789" y="1374"/>
                    <a:pt x="2789" y="1377"/>
                    <a:pt x="2789" y="1382"/>
                  </a:cubicBezTo>
                  <a:close/>
                  <a:moveTo>
                    <a:pt x="2778" y="1629"/>
                  </a:moveTo>
                  <a:cubicBezTo>
                    <a:pt x="2764" y="1615"/>
                    <a:pt x="2804" y="1624"/>
                    <a:pt x="2778" y="1629"/>
                  </a:cubicBezTo>
                  <a:close/>
                  <a:moveTo>
                    <a:pt x="2787" y="1666"/>
                  </a:moveTo>
                  <a:cubicBezTo>
                    <a:pt x="2787" y="1672"/>
                    <a:pt x="2781" y="1675"/>
                    <a:pt x="2778" y="1675"/>
                  </a:cubicBezTo>
                  <a:cubicBezTo>
                    <a:pt x="2775" y="1669"/>
                    <a:pt x="2784" y="1666"/>
                    <a:pt x="2787" y="1666"/>
                  </a:cubicBezTo>
                  <a:close/>
                  <a:moveTo>
                    <a:pt x="2784" y="1855"/>
                  </a:moveTo>
                  <a:cubicBezTo>
                    <a:pt x="2784" y="1858"/>
                    <a:pt x="2781" y="1861"/>
                    <a:pt x="2781" y="1861"/>
                  </a:cubicBezTo>
                  <a:cubicBezTo>
                    <a:pt x="2781" y="1864"/>
                    <a:pt x="2778" y="1866"/>
                    <a:pt x="2775" y="1869"/>
                  </a:cubicBezTo>
                  <a:cubicBezTo>
                    <a:pt x="2736" y="1841"/>
                    <a:pt x="2798" y="1827"/>
                    <a:pt x="2784" y="1855"/>
                  </a:cubicBezTo>
                  <a:close/>
                  <a:moveTo>
                    <a:pt x="2725" y="1940"/>
                  </a:moveTo>
                  <a:cubicBezTo>
                    <a:pt x="2736" y="1937"/>
                    <a:pt x="2750" y="1962"/>
                    <a:pt x="2747" y="1968"/>
                  </a:cubicBezTo>
                  <a:lnTo>
                    <a:pt x="2739" y="1959"/>
                  </a:lnTo>
                  <a:lnTo>
                    <a:pt x="2736" y="1959"/>
                  </a:lnTo>
                  <a:cubicBezTo>
                    <a:pt x="2736" y="1959"/>
                    <a:pt x="2739" y="1959"/>
                    <a:pt x="2739" y="1957"/>
                  </a:cubicBezTo>
                  <a:cubicBezTo>
                    <a:pt x="2733" y="1954"/>
                    <a:pt x="2727" y="1948"/>
                    <a:pt x="2725" y="1940"/>
                  </a:cubicBezTo>
                  <a:close/>
                  <a:moveTo>
                    <a:pt x="2600" y="2216"/>
                  </a:moveTo>
                  <a:cubicBezTo>
                    <a:pt x="2603" y="2208"/>
                    <a:pt x="2614" y="2202"/>
                    <a:pt x="2614" y="2188"/>
                  </a:cubicBezTo>
                  <a:cubicBezTo>
                    <a:pt x="2629" y="2194"/>
                    <a:pt x="2609" y="2213"/>
                    <a:pt x="2600" y="2216"/>
                  </a:cubicBezTo>
                  <a:close/>
                  <a:moveTo>
                    <a:pt x="2620" y="2250"/>
                  </a:moveTo>
                  <a:cubicBezTo>
                    <a:pt x="2620" y="2253"/>
                    <a:pt x="2620" y="2253"/>
                    <a:pt x="2617" y="2253"/>
                  </a:cubicBezTo>
                  <a:lnTo>
                    <a:pt x="2614" y="2253"/>
                  </a:lnTo>
                  <a:cubicBezTo>
                    <a:pt x="2612" y="2253"/>
                    <a:pt x="2612" y="2256"/>
                    <a:pt x="2609" y="2253"/>
                  </a:cubicBezTo>
                  <a:lnTo>
                    <a:pt x="2609" y="2250"/>
                  </a:lnTo>
                  <a:cubicBezTo>
                    <a:pt x="2609" y="2247"/>
                    <a:pt x="2606" y="2247"/>
                    <a:pt x="2609" y="2244"/>
                  </a:cubicBezTo>
                  <a:cubicBezTo>
                    <a:pt x="2612" y="2244"/>
                    <a:pt x="2612" y="2244"/>
                    <a:pt x="2612" y="2242"/>
                  </a:cubicBezTo>
                  <a:cubicBezTo>
                    <a:pt x="2614" y="2242"/>
                    <a:pt x="2614" y="2242"/>
                    <a:pt x="2617" y="2244"/>
                  </a:cubicBezTo>
                  <a:cubicBezTo>
                    <a:pt x="2617" y="2247"/>
                    <a:pt x="2620" y="2250"/>
                    <a:pt x="2620" y="2250"/>
                  </a:cubicBezTo>
                  <a:close/>
                  <a:moveTo>
                    <a:pt x="2612" y="2134"/>
                  </a:moveTo>
                  <a:cubicBezTo>
                    <a:pt x="2623" y="2126"/>
                    <a:pt x="2637" y="2143"/>
                    <a:pt x="2646" y="2137"/>
                  </a:cubicBezTo>
                  <a:cubicBezTo>
                    <a:pt x="2648" y="2154"/>
                    <a:pt x="2620" y="2143"/>
                    <a:pt x="2612" y="2134"/>
                  </a:cubicBezTo>
                  <a:close/>
                  <a:moveTo>
                    <a:pt x="2589" y="1444"/>
                  </a:moveTo>
                  <a:cubicBezTo>
                    <a:pt x="2589" y="1441"/>
                    <a:pt x="2595" y="1439"/>
                    <a:pt x="2592" y="1433"/>
                  </a:cubicBezTo>
                  <a:lnTo>
                    <a:pt x="2603" y="1433"/>
                  </a:lnTo>
                  <a:cubicBezTo>
                    <a:pt x="2600" y="1439"/>
                    <a:pt x="2595" y="1441"/>
                    <a:pt x="2589" y="1444"/>
                  </a:cubicBezTo>
                  <a:close/>
                  <a:moveTo>
                    <a:pt x="2600" y="2050"/>
                  </a:moveTo>
                  <a:lnTo>
                    <a:pt x="2592" y="2050"/>
                  </a:lnTo>
                  <a:cubicBezTo>
                    <a:pt x="2589" y="2047"/>
                    <a:pt x="2592" y="2044"/>
                    <a:pt x="2595" y="2041"/>
                  </a:cubicBezTo>
                  <a:cubicBezTo>
                    <a:pt x="2598" y="2041"/>
                    <a:pt x="2600" y="2044"/>
                    <a:pt x="2600" y="2050"/>
                  </a:cubicBezTo>
                  <a:close/>
                  <a:moveTo>
                    <a:pt x="2575" y="2005"/>
                  </a:moveTo>
                  <a:cubicBezTo>
                    <a:pt x="2575" y="1999"/>
                    <a:pt x="2586" y="1999"/>
                    <a:pt x="2589" y="2002"/>
                  </a:cubicBezTo>
                  <a:cubicBezTo>
                    <a:pt x="2583" y="2005"/>
                    <a:pt x="2578" y="2007"/>
                    <a:pt x="2575" y="2005"/>
                  </a:cubicBezTo>
                  <a:close/>
                  <a:moveTo>
                    <a:pt x="2586" y="2098"/>
                  </a:moveTo>
                  <a:cubicBezTo>
                    <a:pt x="2589" y="2098"/>
                    <a:pt x="2584" y="2100"/>
                    <a:pt x="2581" y="2100"/>
                  </a:cubicBezTo>
                  <a:cubicBezTo>
                    <a:pt x="2579" y="2100"/>
                    <a:pt x="2583" y="2098"/>
                    <a:pt x="2586" y="2098"/>
                  </a:cubicBezTo>
                  <a:close/>
                  <a:moveTo>
                    <a:pt x="2533" y="2177"/>
                  </a:moveTo>
                  <a:cubicBezTo>
                    <a:pt x="2519" y="2168"/>
                    <a:pt x="2504" y="2174"/>
                    <a:pt x="2504" y="2157"/>
                  </a:cubicBezTo>
                  <a:cubicBezTo>
                    <a:pt x="2533" y="2134"/>
                    <a:pt x="2547" y="2174"/>
                    <a:pt x="2567" y="2191"/>
                  </a:cubicBezTo>
                  <a:lnTo>
                    <a:pt x="2569" y="2191"/>
                  </a:lnTo>
                  <a:lnTo>
                    <a:pt x="2567" y="2194"/>
                  </a:lnTo>
                  <a:lnTo>
                    <a:pt x="2569" y="2194"/>
                  </a:lnTo>
                  <a:lnTo>
                    <a:pt x="2569" y="2196"/>
                  </a:lnTo>
                  <a:cubicBezTo>
                    <a:pt x="2555" y="2208"/>
                    <a:pt x="2544" y="2182"/>
                    <a:pt x="2533" y="2177"/>
                  </a:cubicBezTo>
                  <a:close/>
                  <a:moveTo>
                    <a:pt x="2552" y="2196"/>
                  </a:moveTo>
                  <a:cubicBezTo>
                    <a:pt x="2555" y="2205"/>
                    <a:pt x="2535" y="2202"/>
                    <a:pt x="2535" y="2196"/>
                  </a:cubicBezTo>
                  <a:cubicBezTo>
                    <a:pt x="2541" y="2194"/>
                    <a:pt x="2547" y="2196"/>
                    <a:pt x="2552" y="2196"/>
                  </a:cubicBezTo>
                  <a:close/>
                  <a:moveTo>
                    <a:pt x="2524" y="2225"/>
                  </a:moveTo>
                  <a:cubicBezTo>
                    <a:pt x="2527" y="2219"/>
                    <a:pt x="2535" y="2227"/>
                    <a:pt x="2524" y="2225"/>
                  </a:cubicBezTo>
                  <a:close/>
                  <a:moveTo>
                    <a:pt x="2530" y="2233"/>
                  </a:moveTo>
                  <a:cubicBezTo>
                    <a:pt x="2527" y="2242"/>
                    <a:pt x="2519" y="2247"/>
                    <a:pt x="2510" y="2247"/>
                  </a:cubicBezTo>
                  <a:cubicBezTo>
                    <a:pt x="2513" y="2244"/>
                    <a:pt x="2516" y="2244"/>
                    <a:pt x="2516" y="2242"/>
                  </a:cubicBezTo>
                  <a:lnTo>
                    <a:pt x="2516" y="2239"/>
                  </a:lnTo>
                  <a:lnTo>
                    <a:pt x="2519" y="2242"/>
                  </a:lnTo>
                  <a:cubicBezTo>
                    <a:pt x="2521" y="2236"/>
                    <a:pt x="2527" y="2233"/>
                    <a:pt x="2530" y="2233"/>
                  </a:cubicBezTo>
                  <a:close/>
                  <a:moveTo>
                    <a:pt x="2473" y="2163"/>
                  </a:moveTo>
                  <a:cubicBezTo>
                    <a:pt x="2473" y="2157"/>
                    <a:pt x="2482" y="2165"/>
                    <a:pt x="2473" y="2163"/>
                  </a:cubicBezTo>
                  <a:close/>
                  <a:moveTo>
                    <a:pt x="2482" y="725"/>
                  </a:moveTo>
                  <a:cubicBezTo>
                    <a:pt x="2479" y="725"/>
                    <a:pt x="2476" y="719"/>
                    <a:pt x="2473" y="719"/>
                  </a:cubicBezTo>
                  <a:cubicBezTo>
                    <a:pt x="2479" y="716"/>
                    <a:pt x="2482" y="711"/>
                    <a:pt x="2485" y="705"/>
                  </a:cubicBezTo>
                  <a:cubicBezTo>
                    <a:pt x="2493" y="714"/>
                    <a:pt x="2482" y="719"/>
                    <a:pt x="2482" y="725"/>
                  </a:cubicBezTo>
                  <a:close/>
                  <a:moveTo>
                    <a:pt x="2482" y="621"/>
                  </a:moveTo>
                  <a:cubicBezTo>
                    <a:pt x="2485" y="621"/>
                    <a:pt x="2487" y="621"/>
                    <a:pt x="2490" y="626"/>
                  </a:cubicBezTo>
                  <a:lnTo>
                    <a:pt x="2490" y="629"/>
                  </a:lnTo>
                  <a:cubicBezTo>
                    <a:pt x="2487" y="626"/>
                    <a:pt x="2482" y="623"/>
                    <a:pt x="2482" y="621"/>
                  </a:cubicBezTo>
                  <a:close/>
                  <a:moveTo>
                    <a:pt x="2490" y="2084"/>
                  </a:moveTo>
                  <a:cubicBezTo>
                    <a:pt x="2485" y="2089"/>
                    <a:pt x="2482" y="2075"/>
                    <a:pt x="2490" y="2084"/>
                  </a:cubicBezTo>
                  <a:close/>
                  <a:moveTo>
                    <a:pt x="2485" y="753"/>
                  </a:moveTo>
                  <a:cubicBezTo>
                    <a:pt x="2490" y="745"/>
                    <a:pt x="2493" y="759"/>
                    <a:pt x="2502" y="756"/>
                  </a:cubicBezTo>
                  <a:cubicBezTo>
                    <a:pt x="2496" y="764"/>
                    <a:pt x="2490" y="756"/>
                    <a:pt x="2485" y="753"/>
                  </a:cubicBezTo>
                  <a:close/>
                  <a:moveTo>
                    <a:pt x="2487" y="556"/>
                  </a:moveTo>
                  <a:lnTo>
                    <a:pt x="2493" y="544"/>
                  </a:lnTo>
                  <a:lnTo>
                    <a:pt x="2490" y="544"/>
                  </a:lnTo>
                  <a:cubicBezTo>
                    <a:pt x="2490" y="542"/>
                    <a:pt x="2493" y="542"/>
                    <a:pt x="2493" y="539"/>
                  </a:cubicBezTo>
                  <a:lnTo>
                    <a:pt x="2493" y="544"/>
                  </a:lnTo>
                  <a:lnTo>
                    <a:pt x="2493" y="547"/>
                  </a:lnTo>
                  <a:cubicBezTo>
                    <a:pt x="2493" y="550"/>
                    <a:pt x="2490" y="553"/>
                    <a:pt x="2487" y="556"/>
                  </a:cubicBezTo>
                  <a:close/>
                  <a:moveTo>
                    <a:pt x="2493" y="716"/>
                  </a:moveTo>
                  <a:lnTo>
                    <a:pt x="2493" y="716"/>
                  </a:lnTo>
                  <a:cubicBezTo>
                    <a:pt x="2494" y="716"/>
                    <a:pt x="2494" y="716"/>
                    <a:pt x="2494" y="715"/>
                  </a:cubicBezTo>
                  <a:cubicBezTo>
                    <a:pt x="2493" y="715"/>
                    <a:pt x="2491" y="716"/>
                    <a:pt x="2493" y="716"/>
                  </a:cubicBezTo>
                  <a:close/>
                  <a:moveTo>
                    <a:pt x="2494" y="715"/>
                  </a:moveTo>
                  <a:cubicBezTo>
                    <a:pt x="2494" y="714"/>
                    <a:pt x="2495" y="713"/>
                    <a:pt x="2496" y="711"/>
                  </a:cubicBezTo>
                  <a:cubicBezTo>
                    <a:pt x="2509" y="716"/>
                    <a:pt x="2490" y="728"/>
                    <a:pt x="2493" y="716"/>
                  </a:cubicBezTo>
                  <a:cubicBezTo>
                    <a:pt x="2494" y="715"/>
                    <a:pt x="2494" y="715"/>
                    <a:pt x="2494" y="715"/>
                  </a:cubicBezTo>
                  <a:close/>
                  <a:moveTo>
                    <a:pt x="2504" y="1847"/>
                  </a:moveTo>
                  <a:lnTo>
                    <a:pt x="2504" y="1852"/>
                  </a:lnTo>
                  <a:lnTo>
                    <a:pt x="2499" y="1852"/>
                  </a:lnTo>
                  <a:lnTo>
                    <a:pt x="2499" y="1847"/>
                  </a:lnTo>
                  <a:lnTo>
                    <a:pt x="2504" y="1847"/>
                  </a:lnTo>
                  <a:close/>
                  <a:moveTo>
                    <a:pt x="2504" y="1999"/>
                  </a:moveTo>
                  <a:cubicBezTo>
                    <a:pt x="2504" y="2002"/>
                    <a:pt x="2502" y="2007"/>
                    <a:pt x="2496" y="2007"/>
                  </a:cubicBezTo>
                  <a:cubicBezTo>
                    <a:pt x="2499" y="2005"/>
                    <a:pt x="2502" y="1999"/>
                    <a:pt x="2504" y="1999"/>
                  </a:cubicBezTo>
                  <a:close/>
                  <a:moveTo>
                    <a:pt x="2504" y="691"/>
                  </a:moveTo>
                  <a:cubicBezTo>
                    <a:pt x="2504" y="685"/>
                    <a:pt x="2513" y="694"/>
                    <a:pt x="2504" y="691"/>
                  </a:cubicBezTo>
                  <a:close/>
                  <a:moveTo>
                    <a:pt x="2507" y="604"/>
                  </a:moveTo>
                  <a:cubicBezTo>
                    <a:pt x="2510" y="601"/>
                    <a:pt x="2502" y="606"/>
                    <a:pt x="2507" y="604"/>
                  </a:cubicBezTo>
                  <a:close/>
                  <a:moveTo>
                    <a:pt x="2544" y="795"/>
                  </a:moveTo>
                  <a:cubicBezTo>
                    <a:pt x="2555" y="810"/>
                    <a:pt x="2527" y="812"/>
                    <a:pt x="2524" y="824"/>
                  </a:cubicBezTo>
                  <a:cubicBezTo>
                    <a:pt x="2510" y="832"/>
                    <a:pt x="2533" y="812"/>
                    <a:pt x="2533" y="798"/>
                  </a:cubicBezTo>
                  <a:cubicBezTo>
                    <a:pt x="2535" y="801"/>
                    <a:pt x="2541" y="798"/>
                    <a:pt x="2544" y="795"/>
                  </a:cubicBezTo>
                  <a:close/>
                  <a:moveTo>
                    <a:pt x="2533" y="700"/>
                  </a:moveTo>
                  <a:cubicBezTo>
                    <a:pt x="2538" y="694"/>
                    <a:pt x="2530" y="705"/>
                    <a:pt x="2533" y="700"/>
                  </a:cubicBezTo>
                  <a:close/>
                  <a:moveTo>
                    <a:pt x="2558" y="787"/>
                  </a:moveTo>
                  <a:cubicBezTo>
                    <a:pt x="2558" y="787"/>
                    <a:pt x="2558" y="790"/>
                    <a:pt x="2558" y="787"/>
                  </a:cubicBezTo>
                  <a:lnTo>
                    <a:pt x="2558" y="793"/>
                  </a:lnTo>
                  <a:cubicBezTo>
                    <a:pt x="2555" y="793"/>
                    <a:pt x="2552" y="795"/>
                    <a:pt x="2550" y="795"/>
                  </a:cubicBezTo>
                  <a:cubicBezTo>
                    <a:pt x="2550" y="795"/>
                    <a:pt x="2552" y="793"/>
                    <a:pt x="2552" y="790"/>
                  </a:cubicBezTo>
                  <a:cubicBezTo>
                    <a:pt x="2555" y="790"/>
                    <a:pt x="2558" y="787"/>
                    <a:pt x="2558" y="787"/>
                  </a:cubicBezTo>
                  <a:close/>
                  <a:moveTo>
                    <a:pt x="2567" y="1581"/>
                  </a:moveTo>
                  <a:cubicBezTo>
                    <a:pt x="2567" y="1587"/>
                    <a:pt x="2561" y="1590"/>
                    <a:pt x="2555" y="1590"/>
                  </a:cubicBezTo>
                  <a:cubicBezTo>
                    <a:pt x="2555" y="1587"/>
                    <a:pt x="2564" y="1584"/>
                    <a:pt x="2567" y="1581"/>
                  </a:cubicBezTo>
                  <a:close/>
                  <a:moveTo>
                    <a:pt x="2564" y="805"/>
                  </a:moveTo>
                  <a:cubicBezTo>
                    <a:pt x="2565" y="804"/>
                    <a:pt x="2567" y="803"/>
                    <a:pt x="2564" y="807"/>
                  </a:cubicBezTo>
                  <a:cubicBezTo>
                    <a:pt x="2563" y="807"/>
                    <a:pt x="2563" y="806"/>
                    <a:pt x="2564" y="805"/>
                  </a:cubicBezTo>
                  <a:close/>
                  <a:moveTo>
                    <a:pt x="2578" y="725"/>
                  </a:moveTo>
                  <a:cubicBezTo>
                    <a:pt x="2581" y="725"/>
                    <a:pt x="2575" y="728"/>
                    <a:pt x="2578" y="725"/>
                  </a:cubicBezTo>
                  <a:close/>
                  <a:moveTo>
                    <a:pt x="2578" y="773"/>
                  </a:moveTo>
                  <a:cubicBezTo>
                    <a:pt x="2578" y="772"/>
                    <a:pt x="2578" y="771"/>
                    <a:pt x="2579" y="771"/>
                  </a:cubicBezTo>
                  <a:cubicBezTo>
                    <a:pt x="2579" y="768"/>
                    <a:pt x="2579" y="765"/>
                    <a:pt x="2581" y="762"/>
                  </a:cubicBezTo>
                  <a:cubicBezTo>
                    <a:pt x="2592" y="764"/>
                    <a:pt x="2600" y="767"/>
                    <a:pt x="2609" y="767"/>
                  </a:cubicBezTo>
                  <a:cubicBezTo>
                    <a:pt x="2606" y="773"/>
                    <a:pt x="2603" y="776"/>
                    <a:pt x="2598" y="779"/>
                  </a:cubicBezTo>
                  <a:lnTo>
                    <a:pt x="2600" y="779"/>
                  </a:lnTo>
                  <a:cubicBezTo>
                    <a:pt x="2599" y="779"/>
                    <a:pt x="2599" y="781"/>
                    <a:pt x="2598" y="782"/>
                  </a:cubicBezTo>
                  <a:cubicBezTo>
                    <a:pt x="2600" y="783"/>
                    <a:pt x="2604" y="784"/>
                    <a:pt x="2606" y="784"/>
                  </a:cubicBezTo>
                  <a:cubicBezTo>
                    <a:pt x="2603" y="795"/>
                    <a:pt x="2598" y="801"/>
                    <a:pt x="2589" y="798"/>
                  </a:cubicBezTo>
                  <a:cubicBezTo>
                    <a:pt x="2589" y="794"/>
                    <a:pt x="2590" y="790"/>
                    <a:pt x="2592" y="786"/>
                  </a:cubicBezTo>
                  <a:cubicBezTo>
                    <a:pt x="2591" y="787"/>
                    <a:pt x="2590" y="787"/>
                    <a:pt x="2589" y="787"/>
                  </a:cubicBezTo>
                  <a:cubicBezTo>
                    <a:pt x="2589" y="784"/>
                    <a:pt x="2592" y="781"/>
                    <a:pt x="2592" y="781"/>
                  </a:cubicBezTo>
                  <a:cubicBezTo>
                    <a:pt x="2586" y="781"/>
                    <a:pt x="2581" y="779"/>
                    <a:pt x="2579" y="773"/>
                  </a:cubicBezTo>
                  <a:lnTo>
                    <a:pt x="2578" y="773"/>
                  </a:lnTo>
                  <a:close/>
                  <a:moveTo>
                    <a:pt x="2589" y="784"/>
                  </a:moveTo>
                  <a:cubicBezTo>
                    <a:pt x="2586" y="798"/>
                    <a:pt x="2572" y="795"/>
                    <a:pt x="2564" y="795"/>
                  </a:cubicBezTo>
                  <a:cubicBezTo>
                    <a:pt x="2572" y="790"/>
                    <a:pt x="2578" y="781"/>
                    <a:pt x="2589" y="784"/>
                  </a:cubicBezTo>
                  <a:close/>
                  <a:moveTo>
                    <a:pt x="2603" y="716"/>
                  </a:moveTo>
                  <a:cubicBezTo>
                    <a:pt x="2609" y="719"/>
                    <a:pt x="2600" y="722"/>
                    <a:pt x="2600" y="728"/>
                  </a:cubicBezTo>
                  <a:cubicBezTo>
                    <a:pt x="2592" y="722"/>
                    <a:pt x="2603" y="719"/>
                    <a:pt x="2603" y="716"/>
                  </a:cubicBezTo>
                  <a:close/>
                  <a:moveTo>
                    <a:pt x="2634" y="1207"/>
                  </a:moveTo>
                  <a:cubicBezTo>
                    <a:pt x="2637" y="1207"/>
                    <a:pt x="2643" y="1210"/>
                    <a:pt x="2646" y="1210"/>
                  </a:cubicBezTo>
                  <a:cubicBezTo>
                    <a:pt x="2646" y="1221"/>
                    <a:pt x="2640" y="1224"/>
                    <a:pt x="2631" y="1221"/>
                  </a:cubicBezTo>
                  <a:cubicBezTo>
                    <a:pt x="2634" y="1219"/>
                    <a:pt x="2634" y="1213"/>
                    <a:pt x="2634" y="1207"/>
                  </a:cubicBezTo>
                  <a:close/>
                  <a:moveTo>
                    <a:pt x="2631" y="1204"/>
                  </a:moveTo>
                  <a:cubicBezTo>
                    <a:pt x="2631" y="1204"/>
                    <a:pt x="2634" y="1202"/>
                    <a:pt x="2637" y="1202"/>
                  </a:cubicBezTo>
                  <a:lnTo>
                    <a:pt x="2637" y="1204"/>
                  </a:lnTo>
                  <a:cubicBezTo>
                    <a:pt x="2634" y="1207"/>
                    <a:pt x="2631" y="1204"/>
                    <a:pt x="2631" y="1204"/>
                  </a:cubicBezTo>
                  <a:close/>
                  <a:moveTo>
                    <a:pt x="2646" y="1314"/>
                  </a:moveTo>
                  <a:cubicBezTo>
                    <a:pt x="2657" y="1303"/>
                    <a:pt x="2668" y="1340"/>
                    <a:pt x="2643" y="1329"/>
                  </a:cubicBezTo>
                  <a:cubicBezTo>
                    <a:pt x="2646" y="1326"/>
                    <a:pt x="2651" y="1317"/>
                    <a:pt x="2646" y="1314"/>
                  </a:cubicBezTo>
                  <a:close/>
                  <a:moveTo>
                    <a:pt x="2716" y="1365"/>
                  </a:moveTo>
                  <a:cubicBezTo>
                    <a:pt x="2719" y="1365"/>
                    <a:pt x="2725" y="1365"/>
                    <a:pt x="2727" y="1368"/>
                  </a:cubicBezTo>
                  <a:cubicBezTo>
                    <a:pt x="2727" y="1371"/>
                    <a:pt x="2710" y="1374"/>
                    <a:pt x="2716" y="1365"/>
                  </a:cubicBezTo>
                  <a:close/>
                  <a:moveTo>
                    <a:pt x="2730" y="1382"/>
                  </a:moveTo>
                  <a:cubicBezTo>
                    <a:pt x="2727" y="1385"/>
                    <a:pt x="2725" y="1388"/>
                    <a:pt x="2722" y="1388"/>
                  </a:cubicBezTo>
                  <a:cubicBezTo>
                    <a:pt x="2719" y="1382"/>
                    <a:pt x="2727" y="1385"/>
                    <a:pt x="2730" y="1382"/>
                  </a:cubicBezTo>
                  <a:close/>
                  <a:moveTo>
                    <a:pt x="2710" y="1455"/>
                  </a:moveTo>
                  <a:cubicBezTo>
                    <a:pt x="2696" y="1441"/>
                    <a:pt x="2736" y="1447"/>
                    <a:pt x="2710" y="1455"/>
                  </a:cubicBezTo>
                  <a:close/>
                  <a:moveTo>
                    <a:pt x="2750" y="1517"/>
                  </a:moveTo>
                  <a:cubicBezTo>
                    <a:pt x="2747" y="1519"/>
                    <a:pt x="2756" y="1514"/>
                    <a:pt x="2750" y="1517"/>
                  </a:cubicBezTo>
                  <a:close/>
                  <a:moveTo>
                    <a:pt x="2756" y="1528"/>
                  </a:moveTo>
                  <a:cubicBezTo>
                    <a:pt x="2741" y="1531"/>
                    <a:pt x="2758" y="1514"/>
                    <a:pt x="2756" y="1528"/>
                  </a:cubicBezTo>
                  <a:close/>
                  <a:moveTo>
                    <a:pt x="2753" y="1691"/>
                  </a:moveTo>
                  <a:cubicBezTo>
                    <a:pt x="2753" y="1689"/>
                    <a:pt x="2753" y="1683"/>
                    <a:pt x="2758" y="1672"/>
                  </a:cubicBezTo>
                  <a:cubicBezTo>
                    <a:pt x="2767" y="1686"/>
                    <a:pt x="2758" y="1700"/>
                    <a:pt x="2756" y="1694"/>
                  </a:cubicBezTo>
                  <a:cubicBezTo>
                    <a:pt x="2753" y="1697"/>
                    <a:pt x="2741" y="1694"/>
                    <a:pt x="2744" y="1689"/>
                  </a:cubicBezTo>
                  <a:cubicBezTo>
                    <a:pt x="2747" y="1691"/>
                    <a:pt x="2750" y="1691"/>
                    <a:pt x="2753" y="1691"/>
                  </a:cubicBezTo>
                  <a:close/>
                  <a:moveTo>
                    <a:pt x="2758" y="1441"/>
                  </a:moveTo>
                  <a:cubicBezTo>
                    <a:pt x="2764" y="1447"/>
                    <a:pt x="2767" y="1453"/>
                    <a:pt x="2764" y="1460"/>
                  </a:cubicBezTo>
                  <a:cubicBezTo>
                    <a:pt x="2753" y="1460"/>
                    <a:pt x="2756" y="1450"/>
                    <a:pt x="2758" y="1441"/>
                  </a:cubicBezTo>
                  <a:close/>
                  <a:moveTo>
                    <a:pt x="2761" y="1601"/>
                  </a:moveTo>
                  <a:cubicBezTo>
                    <a:pt x="2772" y="1610"/>
                    <a:pt x="2747" y="1624"/>
                    <a:pt x="2761" y="1601"/>
                  </a:cubicBezTo>
                  <a:close/>
                  <a:moveTo>
                    <a:pt x="2744" y="1683"/>
                  </a:moveTo>
                  <a:cubicBezTo>
                    <a:pt x="2741" y="1683"/>
                    <a:pt x="2741" y="1677"/>
                    <a:pt x="2741" y="1675"/>
                  </a:cubicBezTo>
                  <a:cubicBezTo>
                    <a:pt x="2750" y="1675"/>
                    <a:pt x="2750" y="1680"/>
                    <a:pt x="2744" y="1683"/>
                  </a:cubicBezTo>
                  <a:close/>
                  <a:moveTo>
                    <a:pt x="2741" y="1601"/>
                  </a:moveTo>
                  <a:cubicBezTo>
                    <a:pt x="2741" y="1598"/>
                    <a:pt x="2744" y="1593"/>
                    <a:pt x="2750" y="1593"/>
                  </a:cubicBezTo>
                  <a:lnTo>
                    <a:pt x="2750" y="1598"/>
                  </a:lnTo>
                  <a:cubicBezTo>
                    <a:pt x="2747" y="1601"/>
                    <a:pt x="2744" y="1601"/>
                    <a:pt x="2741" y="1601"/>
                  </a:cubicBezTo>
                  <a:close/>
                  <a:moveTo>
                    <a:pt x="2741" y="1517"/>
                  </a:moveTo>
                  <a:cubicBezTo>
                    <a:pt x="2750" y="1508"/>
                    <a:pt x="2750" y="1522"/>
                    <a:pt x="2741" y="1517"/>
                  </a:cubicBezTo>
                  <a:close/>
                  <a:moveTo>
                    <a:pt x="2741" y="1463"/>
                  </a:moveTo>
                  <a:cubicBezTo>
                    <a:pt x="2741" y="1457"/>
                    <a:pt x="2747" y="1457"/>
                    <a:pt x="2747" y="1456"/>
                  </a:cubicBezTo>
                  <a:cubicBezTo>
                    <a:pt x="2750" y="1457"/>
                    <a:pt x="2744" y="1466"/>
                    <a:pt x="2741" y="1463"/>
                  </a:cubicBezTo>
                  <a:close/>
                  <a:moveTo>
                    <a:pt x="2750" y="1528"/>
                  </a:moveTo>
                  <a:cubicBezTo>
                    <a:pt x="2747" y="1531"/>
                    <a:pt x="2744" y="1536"/>
                    <a:pt x="2741" y="1536"/>
                  </a:cubicBezTo>
                  <a:cubicBezTo>
                    <a:pt x="2739" y="1531"/>
                    <a:pt x="2744" y="1528"/>
                    <a:pt x="2750" y="1528"/>
                  </a:cubicBezTo>
                  <a:close/>
                  <a:moveTo>
                    <a:pt x="2739" y="1878"/>
                  </a:moveTo>
                  <a:cubicBezTo>
                    <a:pt x="2739" y="1878"/>
                    <a:pt x="2736" y="1872"/>
                    <a:pt x="2739" y="1869"/>
                  </a:cubicBezTo>
                  <a:cubicBezTo>
                    <a:pt x="2741" y="1869"/>
                    <a:pt x="2744" y="1880"/>
                    <a:pt x="2739" y="1878"/>
                  </a:cubicBezTo>
                  <a:close/>
                  <a:moveTo>
                    <a:pt x="2739" y="1553"/>
                  </a:moveTo>
                  <a:lnTo>
                    <a:pt x="2733" y="1553"/>
                  </a:lnTo>
                  <a:lnTo>
                    <a:pt x="2733" y="1548"/>
                  </a:lnTo>
                  <a:lnTo>
                    <a:pt x="2739" y="1548"/>
                  </a:lnTo>
                  <a:lnTo>
                    <a:pt x="2739" y="1553"/>
                  </a:lnTo>
                  <a:close/>
                  <a:moveTo>
                    <a:pt x="2736" y="1612"/>
                  </a:moveTo>
                  <a:lnTo>
                    <a:pt x="2736" y="1618"/>
                  </a:lnTo>
                  <a:lnTo>
                    <a:pt x="2730" y="1618"/>
                  </a:lnTo>
                  <a:lnTo>
                    <a:pt x="2730" y="1612"/>
                  </a:lnTo>
                  <a:lnTo>
                    <a:pt x="2736" y="1612"/>
                  </a:lnTo>
                  <a:close/>
                  <a:moveTo>
                    <a:pt x="2733" y="1691"/>
                  </a:moveTo>
                  <a:cubicBezTo>
                    <a:pt x="2733" y="1697"/>
                    <a:pt x="2725" y="1697"/>
                    <a:pt x="2722" y="1700"/>
                  </a:cubicBezTo>
                  <a:cubicBezTo>
                    <a:pt x="2722" y="1694"/>
                    <a:pt x="2727" y="1691"/>
                    <a:pt x="2733" y="1691"/>
                  </a:cubicBezTo>
                  <a:close/>
                  <a:moveTo>
                    <a:pt x="2713" y="1804"/>
                  </a:moveTo>
                  <a:cubicBezTo>
                    <a:pt x="2722" y="1804"/>
                    <a:pt x="2730" y="1810"/>
                    <a:pt x="2730" y="1818"/>
                  </a:cubicBezTo>
                  <a:lnTo>
                    <a:pt x="2730" y="1821"/>
                  </a:lnTo>
                  <a:cubicBezTo>
                    <a:pt x="2722" y="1821"/>
                    <a:pt x="2705" y="1813"/>
                    <a:pt x="2713" y="1804"/>
                  </a:cubicBezTo>
                  <a:close/>
                  <a:moveTo>
                    <a:pt x="2727" y="1861"/>
                  </a:moveTo>
                  <a:cubicBezTo>
                    <a:pt x="2725" y="1861"/>
                    <a:pt x="2722" y="1858"/>
                    <a:pt x="2719" y="1855"/>
                  </a:cubicBezTo>
                  <a:cubicBezTo>
                    <a:pt x="2719" y="1852"/>
                    <a:pt x="2722" y="1852"/>
                    <a:pt x="2722" y="1849"/>
                  </a:cubicBezTo>
                  <a:cubicBezTo>
                    <a:pt x="2727" y="1852"/>
                    <a:pt x="2730" y="1855"/>
                    <a:pt x="2727" y="1861"/>
                  </a:cubicBezTo>
                  <a:close/>
                  <a:moveTo>
                    <a:pt x="2699" y="1945"/>
                  </a:moveTo>
                  <a:cubicBezTo>
                    <a:pt x="2699" y="1943"/>
                    <a:pt x="2702" y="1940"/>
                    <a:pt x="2702" y="1934"/>
                  </a:cubicBezTo>
                  <a:lnTo>
                    <a:pt x="2710" y="1934"/>
                  </a:lnTo>
                  <a:cubicBezTo>
                    <a:pt x="2710" y="1940"/>
                    <a:pt x="2705" y="1945"/>
                    <a:pt x="2699" y="1945"/>
                  </a:cubicBezTo>
                  <a:close/>
                  <a:moveTo>
                    <a:pt x="2699" y="1982"/>
                  </a:moveTo>
                  <a:cubicBezTo>
                    <a:pt x="2699" y="1976"/>
                    <a:pt x="2708" y="1988"/>
                    <a:pt x="2699" y="1982"/>
                  </a:cubicBezTo>
                  <a:close/>
                  <a:moveTo>
                    <a:pt x="2710" y="1739"/>
                  </a:moveTo>
                  <a:cubicBezTo>
                    <a:pt x="2705" y="1739"/>
                    <a:pt x="2705" y="1734"/>
                    <a:pt x="2699" y="1734"/>
                  </a:cubicBezTo>
                  <a:cubicBezTo>
                    <a:pt x="2699" y="1731"/>
                    <a:pt x="2705" y="1731"/>
                    <a:pt x="2710" y="1731"/>
                  </a:cubicBezTo>
                  <a:cubicBezTo>
                    <a:pt x="2713" y="1734"/>
                    <a:pt x="2713" y="1737"/>
                    <a:pt x="2710" y="1739"/>
                  </a:cubicBezTo>
                  <a:close/>
                  <a:moveTo>
                    <a:pt x="2688" y="1312"/>
                  </a:moveTo>
                  <a:cubicBezTo>
                    <a:pt x="2691" y="1298"/>
                    <a:pt x="2702" y="1298"/>
                    <a:pt x="2708" y="1306"/>
                  </a:cubicBezTo>
                  <a:cubicBezTo>
                    <a:pt x="2702" y="1312"/>
                    <a:pt x="2693" y="1314"/>
                    <a:pt x="2688" y="1312"/>
                  </a:cubicBezTo>
                  <a:close/>
                  <a:moveTo>
                    <a:pt x="2699" y="1343"/>
                  </a:moveTo>
                  <a:cubicBezTo>
                    <a:pt x="2702" y="1343"/>
                    <a:pt x="2696" y="1345"/>
                    <a:pt x="2699" y="1343"/>
                  </a:cubicBezTo>
                  <a:close/>
                  <a:moveTo>
                    <a:pt x="2685" y="1235"/>
                  </a:moveTo>
                  <a:cubicBezTo>
                    <a:pt x="2688" y="1238"/>
                    <a:pt x="2691" y="1244"/>
                    <a:pt x="2696" y="1244"/>
                  </a:cubicBezTo>
                  <a:cubicBezTo>
                    <a:pt x="2696" y="1247"/>
                    <a:pt x="2693" y="1252"/>
                    <a:pt x="2691" y="1255"/>
                  </a:cubicBezTo>
                  <a:cubicBezTo>
                    <a:pt x="2687" y="1254"/>
                    <a:pt x="2684" y="1253"/>
                    <a:pt x="2681" y="1252"/>
                  </a:cubicBezTo>
                  <a:cubicBezTo>
                    <a:pt x="2683" y="1257"/>
                    <a:pt x="2668" y="1266"/>
                    <a:pt x="2676" y="1251"/>
                  </a:cubicBezTo>
                  <a:cubicBezTo>
                    <a:pt x="2675" y="1250"/>
                    <a:pt x="2674" y="1250"/>
                    <a:pt x="2674" y="1250"/>
                  </a:cubicBezTo>
                  <a:cubicBezTo>
                    <a:pt x="2679" y="1247"/>
                    <a:pt x="2685" y="1241"/>
                    <a:pt x="2685" y="1235"/>
                  </a:cubicBezTo>
                  <a:close/>
                  <a:moveTo>
                    <a:pt x="2674" y="1244"/>
                  </a:moveTo>
                  <a:cubicBezTo>
                    <a:pt x="2677" y="1238"/>
                    <a:pt x="2682" y="1252"/>
                    <a:pt x="2674" y="1244"/>
                  </a:cubicBezTo>
                  <a:close/>
                  <a:moveTo>
                    <a:pt x="2691" y="1264"/>
                  </a:moveTo>
                  <a:cubicBezTo>
                    <a:pt x="2691" y="1258"/>
                    <a:pt x="2702" y="1267"/>
                    <a:pt x="2691" y="1264"/>
                  </a:cubicBezTo>
                  <a:close/>
                  <a:moveTo>
                    <a:pt x="2705" y="1244"/>
                  </a:moveTo>
                  <a:cubicBezTo>
                    <a:pt x="2699" y="1247"/>
                    <a:pt x="2708" y="1241"/>
                    <a:pt x="2705" y="1244"/>
                  </a:cubicBezTo>
                  <a:close/>
                  <a:moveTo>
                    <a:pt x="2705" y="1385"/>
                  </a:moveTo>
                  <a:cubicBezTo>
                    <a:pt x="2705" y="1379"/>
                    <a:pt x="2716" y="1388"/>
                    <a:pt x="2705" y="1385"/>
                  </a:cubicBezTo>
                  <a:close/>
                  <a:moveTo>
                    <a:pt x="2710" y="1227"/>
                  </a:moveTo>
                  <a:lnTo>
                    <a:pt x="2709" y="1226"/>
                  </a:lnTo>
                  <a:cubicBezTo>
                    <a:pt x="2710" y="1226"/>
                    <a:pt x="2712" y="1226"/>
                    <a:pt x="2710" y="1227"/>
                  </a:cubicBezTo>
                  <a:cubicBezTo>
                    <a:pt x="2708" y="1227"/>
                    <a:pt x="2708" y="1226"/>
                    <a:pt x="2709" y="1226"/>
                  </a:cubicBezTo>
                  <a:lnTo>
                    <a:pt x="2710" y="1227"/>
                  </a:lnTo>
                  <a:close/>
                  <a:moveTo>
                    <a:pt x="2710" y="1396"/>
                  </a:moveTo>
                  <a:cubicBezTo>
                    <a:pt x="2716" y="1399"/>
                    <a:pt x="2710" y="1408"/>
                    <a:pt x="2710" y="1410"/>
                  </a:cubicBezTo>
                  <a:cubicBezTo>
                    <a:pt x="2702" y="1408"/>
                    <a:pt x="2713" y="1402"/>
                    <a:pt x="2710" y="1396"/>
                  </a:cubicBezTo>
                  <a:close/>
                  <a:moveTo>
                    <a:pt x="2705" y="1669"/>
                  </a:moveTo>
                  <a:cubicBezTo>
                    <a:pt x="2710" y="1660"/>
                    <a:pt x="2713" y="1675"/>
                    <a:pt x="2705" y="1669"/>
                  </a:cubicBezTo>
                  <a:close/>
                  <a:moveTo>
                    <a:pt x="2710" y="1632"/>
                  </a:moveTo>
                  <a:cubicBezTo>
                    <a:pt x="2713" y="1627"/>
                    <a:pt x="2722" y="1624"/>
                    <a:pt x="2722" y="1629"/>
                  </a:cubicBezTo>
                  <a:cubicBezTo>
                    <a:pt x="2725" y="1632"/>
                    <a:pt x="2713" y="1629"/>
                    <a:pt x="2710" y="1632"/>
                  </a:cubicBezTo>
                  <a:close/>
                  <a:moveTo>
                    <a:pt x="2713" y="1354"/>
                  </a:moveTo>
                  <a:cubicBezTo>
                    <a:pt x="2699" y="1348"/>
                    <a:pt x="2727" y="1334"/>
                    <a:pt x="2713" y="1354"/>
                  </a:cubicBezTo>
                  <a:close/>
                  <a:moveTo>
                    <a:pt x="2713" y="812"/>
                  </a:moveTo>
                  <a:cubicBezTo>
                    <a:pt x="2705" y="812"/>
                    <a:pt x="2699" y="804"/>
                    <a:pt x="2702" y="795"/>
                  </a:cubicBezTo>
                  <a:cubicBezTo>
                    <a:pt x="2702" y="793"/>
                    <a:pt x="2702" y="793"/>
                    <a:pt x="2705" y="790"/>
                  </a:cubicBezTo>
                  <a:cubicBezTo>
                    <a:pt x="2713" y="790"/>
                    <a:pt x="2719" y="798"/>
                    <a:pt x="2716" y="807"/>
                  </a:cubicBezTo>
                  <a:cubicBezTo>
                    <a:pt x="2713" y="810"/>
                    <a:pt x="2713" y="812"/>
                    <a:pt x="2713" y="812"/>
                  </a:cubicBezTo>
                  <a:close/>
                  <a:moveTo>
                    <a:pt x="2702" y="1182"/>
                  </a:moveTo>
                  <a:lnTo>
                    <a:pt x="2699" y="1182"/>
                  </a:lnTo>
                  <a:lnTo>
                    <a:pt x="2699" y="1179"/>
                  </a:lnTo>
                  <a:cubicBezTo>
                    <a:pt x="2702" y="1179"/>
                    <a:pt x="2702" y="1182"/>
                    <a:pt x="2702" y="1182"/>
                  </a:cubicBezTo>
                  <a:close/>
                  <a:moveTo>
                    <a:pt x="2699" y="1207"/>
                  </a:moveTo>
                  <a:cubicBezTo>
                    <a:pt x="2691" y="1204"/>
                    <a:pt x="2679" y="1199"/>
                    <a:pt x="2677" y="1207"/>
                  </a:cubicBezTo>
                  <a:cubicBezTo>
                    <a:pt x="2662" y="1190"/>
                    <a:pt x="2710" y="1179"/>
                    <a:pt x="2699" y="1207"/>
                  </a:cubicBezTo>
                  <a:close/>
                  <a:moveTo>
                    <a:pt x="2682" y="1385"/>
                  </a:moveTo>
                  <a:lnTo>
                    <a:pt x="2677" y="1385"/>
                  </a:lnTo>
                  <a:cubicBezTo>
                    <a:pt x="2677" y="1382"/>
                    <a:pt x="2677" y="1382"/>
                    <a:pt x="2674" y="1382"/>
                  </a:cubicBezTo>
                  <a:cubicBezTo>
                    <a:pt x="2674" y="1379"/>
                    <a:pt x="2685" y="1382"/>
                    <a:pt x="2682" y="1385"/>
                  </a:cubicBezTo>
                  <a:close/>
                  <a:moveTo>
                    <a:pt x="2657" y="1317"/>
                  </a:moveTo>
                  <a:cubicBezTo>
                    <a:pt x="2651" y="1295"/>
                    <a:pt x="2671" y="1334"/>
                    <a:pt x="2657" y="1317"/>
                  </a:cubicBezTo>
                  <a:close/>
                  <a:moveTo>
                    <a:pt x="2657" y="1275"/>
                  </a:moveTo>
                  <a:cubicBezTo>
                    <a:pt x="2657" y="1269"/>
                    <a:pt x="2665" y="1281"/>
                    <a:pt x="2657" y="1275"/>
                  </a:cubicBezTo>
                  <a:close/>
                  <a:moveTo>
                    <a:pt x="2668" y="1396"/>
                  </a:moveTo>
                  <a:lnTo>
                    <a:pt x="2662" y="1396"/>
                  </a:lnTo>
                  <a:lnTo>
                    <a:pt x="2662" y="1391"/>
                  </a:lnTo>
                  <a:lnTo>
                    <a:pt x="2668" y="1391"/>
                  </a:lnTo>
                  <a:lnTo>
                    <a:pt x="2668" y="1396"/>
                  </a:lnTo>
                  <a:close/>
                  <a:moveTo>
                    <a:pt x="2660" y="1494"/>
                  </a:moveTo>
                  <a:cubicBezTo>
                    <a:pt x="2679" y="1486"/>
                    <a:pt x="2643" y="1505"/>
                    <a:pt x="2660" y="1494"/>
                  </a:cubicBezTo>
                  <a:close/>
                  <a:moveTo>
                    <a:pt x="2677" y="1500"/>
                  </a:moveTo>
                  <a:cubicBezTo>
                    <a:pt x="2674" y="1502"/>
                    <a:pt x="2671" y="1508"/>
                    <a:pt x="2665" y="1508"/>
                  </a:cubicBezTo>
                  <a:cubicBezTo>
                    <a:pt x="2665" y="1505"/>
                    <a:pt x="2671" y="1500"/>
                    <a:pt x="2677" y="1500"/>
                  </a:cubicBezTo>
                  <a:close/>
                  <a:moveTo>
                    <a:pt x="2665" y="1154"/>
                  </a:moveTo>
                  <a:cubicBezTo>
                    <a:pt x="2665" y="1151"/>
                    <a:pt x="2668" y="1148"/>
                    <a:pt x="2671" y="1148"/>
                  </a:cubicBezTo>
                  <a:lnTo>
                    <a:pt x="2674" y="1148"/>
                  </a:lnTo>
                  <a:cubicBezTo>
                    <a:pt x="2674" y="1151"/>
                    <a:pt x="2668" y="1154"/>
                    <a:pt x="2665" y="1154"/>
                  </a:cubicBezTo>
                  <a:close/>
                  <a:moveTo>
                    <a:pt x="2662" y="1261"/>
                  </a:moveTo>
                  <a:cubicBezTo>
                    <a:pt x="2671" y="1258"/>
                    <a:pt x="2660" y="1269"/>
                    <a:pt x="2662" y="1261"/>
                  </a:cubicBezTo>
                  <a:close/>
                  <a:moveTo>
                    <a:pt x="2665" y="1171"/>
                  </a:moveTo>
                  <a:cubicBezTo>
                    <a:pt x="2671" y="1188"/>
                    <a:pt x="2651" y="1154"/>
                    <a:pt x="2665" y="1171"/>
                  </a:cubicBezTo>
                  <a:close/>
                  <a:moveTo>
                    <a:pt x="2660" y="1185"/>
                  </a:moveTo>
                  <a:cubicBezTo>
                    <a:pt x="2654" y="1188"/>
                    <a:pt x="2662" y="1182"/>
                    <a:pt x="2660" y="1185"/>
                  </a:cubicBezTo>
                  <a:close/>
                  <a:moveTo>
                    <a:pt x="2657" y="1199"/>
                  </a:moveTo>
                  <a:cubicBezTo>
                    <a:pt x="2640" y="1193"/>
                    <a:pt x="2668" y="1179"/>
                    <a:pt x="2657" y="1199"/>
                  </a:cubicBezTo>
                  <a:close/>
                  <a:moveTo>
                    <a:pt x="2598" y="1323"/>
                  </a:moveTo>
                  <a:cubicBezTo>
                    <a:pt x="2609" y="1323"/>
                    <a:pt x="2606" y="1334"/>
                    <a:pt x="2620" y="1334"/>
                  </a:cubicBezTo>
                  <a:cubicBezTo>
                    <a:pt x="2620" y="1345"/>
                    <a:pt x="2586" y="1337"/>
                    <a:pt x="2598" y="1323"/>
                  </a:cubicBezTo>
                  <a:close/>
                  <a:moveTo>
                    <a:pt x="2600" y="1348"/>
                  </a:moveTo>
                  <a:cubicBezTo>
                    <a:pt x="2595" y="1345"/>
                    <a:pt x="2603" y="1340"/>
                    <a:pt x="2600" y="1337"/>
                  </a:cubicBezTo>
                  <a:cubicBezTo>
                    <a:pt x="2606" y="1337"/>
                    <a:pt x="2598" y="1345"/>
                    <a:pt x="2600" y="1348"/>
                  </a:cubicBezTo>
                  <a:close/>
                  <a:moveTo>
                    <a:pt x="2595" y="1182"/>
                  </a:moveTo>
                  <a:cubicBezTo>
                    <a:pt x="2595" y="1185"/>
                    <a:pt x="2589" y="1188"/>
                    <a:pt x="2586" y="1185"/>
                  </a:cubicBezTo>
                  <a:cubicBezTo>
                    <a:pt x="2586" y="1182"/>
                    <a:pt x="2586" y="1179"/>
                    <a:pt x="2589" y="1176"/>
                  </a:cubicBezTo>
                  <a:cubicBezTo>
                    <a:pt x="2583" y="1165"/>
                    <a:pt x="2609" y="1171"/>
                    <a:pt x="2595" y="1182"/>
                  </a:cubicBezTo>
                  <a:close/>
                  <a:moveTo>
                    <a:pt x="2598" y="1190"/>
                  </a:moveTo>
                  <a:cubicBezTo>
                    <a:pt x="2598" y="1185"/>
                    <a:pt x="2606" y="1193"/>
                    <a:pt x="2598" y="1190"/>
                  </a:cubicBezTo>
                  <a:close/>
                  <a:moveTo>
                    <a:pt x="2598" y="1289"/>
                  </a:moveTo>
                  <a:cubicBezTo>
                    <a:pt x="2598" y="1283"/>
                    <a:pt x="2606" y="1292"/>
                    <a:pt x="2598" y="1289"/>
                  </a:cubicBezTo>
                  <a:close/>
                  <a:moveTo>
                    <a:pt x="2617" y="1162"/>
                  </a:moveTo>
                  <a:cubicBezTo>
                    <a:pt x="2614" y="1162"/>
                    <a:pt x="2603" y="1156"/>
                    <a:pt x="2614" y="1151"/>
                  </a:cubicBezTo>
                  <a:cubicBezTo>
                    <a:pt x="2617" y="1148"/>
                    <a:pt x="2620" y="1145"/>
                    <a:pt x="2623" y="1145"/>
                  </a:cubicBezTo>
                  <a:cubicBezTo>
                    <a:pt x="2637" y="1145"/>
                    <a:pt x="2629" y="1171"/>
                    <a:pt x="2617" y="1162"/>
                  </a:cubicBezTo>
                  <a:close/>
                  <a:moveTo>
                    <a:pt x="2629" y="801"/>
                  </a:moveTo>
                  <a:lnTo>
                    <a:pt x="2628" y="800"/>
                  </a:lnTo>
                  <a:cubicBezTo>
                    <a:pt x="2628" y="799"/>
                    <a:pt x="2631" y="797"/>
                    <a:pt x="2629" y="801"/>
                  </a:cubicBezTo>
                  <a:cubicBezTo>
                    <a:pt x="2628" y="801"/>
                    <a:pt x="2628" y="801"/>
                    <a:pt x="2628" y="800"/>
                  </a:cubicBezTo>
                  <a:lnTo>
                    <a:pt x="2629" y="801"/>
                  </a:lnTo>
                  <a:close/>
                  <a:moveTo>
                    <a:pt x="2623" y="1320"/>
                  </a:moveTo>
                  <a:cubicBezTo>
                    <a:pt x="2623" y="1312"/>
                    <a:pt x="2631" y="1323"/>
                    <a:pt x="2623" y="1320"/>
                  </a:cubicBezTo>
                  <a:close/>
                  <a:moveTo>
                    <a:pt x="2631" y="1340"/>
                  </a:moveTo>
                  <a:lnTo>
                    <a:pt x="2623" y="1340"/>
                  </a:lnTo>
                  <a:lnTo>
                    <a:pt x="2623" y="1334"/>
                  </a:lnTo>
                  <a:cubicBezTo>
                    <a:pt x="2629" y="1334"/>
                    <a:pt x="2631" y="1337"/>
                    <a:pt x="2631" y="1340"/>
                  </a:cubicBezTo>
                  <a:close/>
                  <a:moveTo>
                    <a:pt x="2623" y="1227"/>
                  </a:moveTo>
                  <a:lnTo>
                    <a:pt x="2623" y="1221"/>
                  </a:lnTo>
                  <a:lnTo>
                    <a:pt x="2629" y="1221"/>
                  </a:lnTo>
                  <a:lnTo>
                    <a:pt x="2629" y="1227"/>
                  </a:lnTo>
                  <a:lnTo>
                    <a:pt x="2623" y="1227"/>
                  </a:lnTo>
                  <a:close/>
                  <a:moveTo>
                    <a:pt x="2623" y="1168"/>
                  </a:moveTo>
                  <a:cubicBezTo>
                    <a:pt x="2626" y="1162"/>
                    <a:pt x="2634" y="1171"/>
                    <a:pt x="2623" y="1168"/>
                  </a:cubicBezTo>
                  <a:close/>
                  <a:moveTo>
                    <a:pt x="2631" y="1413"/>
                  </a:moveTo>
                  <a:cubicBezTo>
                    <a:pt x="2631" y="1419"/>
                    <a:pt x="2623" y="1419"/>
                    <a:pt x="2617" y="1422"/>
                  </a:cubicBezTo>
                  <a:cubicBezTo>
                    <a:pt x="2620" y="1419"/>
                    <a:pt x="2626" y="1410"/>
                    <a:pt x="2631" y="1413"/>
                  </a:cubicBezTo>
                  <a:close/>
                  <a:moveTo>
                    <a:pt x="2609" y="1173"/>
                  </a:moveTo>
                  <a:cubicBezTo>
                    <a:pt x="2612" y="1173"/>
                    <a:pt x="2606" y="1176"/>
                    <a:pt x="2609" y="1173"/>
                  </a:cubicBezTo>
                  <a:close/>
                  <a:moveTo>
                    <a:pt x="2606" y="790"/>
                  </a:moveTo>
                  <a:cubicBezTo>
                    <a:pt x="2612" y="787"/>
                    <a:pt x="2603" y="793"/>
                    <a:pt x="2606" y="790"/>
                  </a:cubicBezTo>
                  <a:close/>
                  <a:moveTo>
                    <a:pt x="2606" y="1275"/>
                  </a:moveTo>
                  <a:cubicBezTo>
                    <a:pt x="2609" y="1275"/>
                    <a:pt x="2600" y="1278"/>
                    <a:pt x="2606" y="1275"/>
                  </a:cubicBezTo>
                  <a:close/>
                  <a:moveTo>
                    <a:pt x="2612" y="1419"/>
                  </a:moveTo>
                  <a:cubicBezTo>
                    <a:pt x="2626" y="1424"/>
                    <a:pt x="2600" y="1439"/>
                    <a:pt x="2612" y="1419"/>
                  </a:cubicBezTo>
                  <a:close/>
                  <a:moveTo>
                    <a:pt x="2603" y="1517"/>
                  </a:moveTo>
                  <a:cubicBezTo>
                    <a:pt x="2612" y="1511"/>
                    <a:pt x="2614" y="1525"/>
                    <a:pt x="2603" y="1517"/>
                  </a:cubicBezTo>
                  <a:close/>
                  <a:moveTo>
                    <a:pt x="2612" y="1500"/>
                  </a:moveTo>
                  <a:cubicBezTo>
                    <a:pt x="2609" y="1500"/>
                    <a:pt x="2612" y="1488"/>
                    <a:pt x="2614" y="1491"/>
                  </a:cubicBezTo>
                  <a:cubicBezTo>
                    <a:pt x="2617" y="1495"/>
                    <a:pt x="2612" y="1494"/>
                    <a:pt x="2612" y="1500"/>
                  </a:cubicBezTo>
                  <a:close/>
                  <a:moveTo>
                    <a:pt x="2623" y="1343"/>
                  </a:moveTo>
                  <a:cubicBezTo>
                    <a:pt x="2617" y="1348"/>
                    <a:pt x="2609" y="1340"/>
                    <a:pt x="2623" y="1343"/>
                  </a:cubicBezTo>
                  <a:close/>
                  <a:moveTo>
                    <a:pt x="2629" y="1508"/>
                  </a:moveTo>
                  <a:cubicBezTo>
                    <a:pt x="2629" y="1514"/>
                    <a:pt x="2623" y="1514"/>
                    <a:pt x="2617" y="1514"/>
                  </a:cubicBezTo>
                  <a:cubicBezTo>
                    <a:pt x="2620" y="1511"/>
                    <a:pt x="2626" y="1508"/>
                    <a:pt x="2629" y="1508"/>
                  </a:cubicBezTo>
                  <a:close/>
                  <a:moveTo>
                    <a:pt x="2623" y="1618"/>
                  </a:moveTo>
                  <a:cubicBezTo>
                    <a:pt x="2626" y="1618"/>
                    <a:pt x="2623" y="1624"/>
                    <a:pt x="2623" y="1627"/>
                  </a:cubicBezTo>
                  <a:cubicBezTo>
                    <a:pt x="2620" y="1627"/>
                    <a:pt x="2620" y="1621"/>
                    <a:pt x="2623" y="1618"/>
                  </a:cubicBezTo>
                  <a:close/>
                  <a:moveTo>
                    <a:pt x="2629" y="2123"/>
                  </a:moveTo>
                  <a:cubicBezTo>
                    <a:pt x="2629" y="2126"/>
                    <a:pt x="2623" y="2129"/>
                    <a:pt x="2620" y="2129"/>
                  </a:cubicBezTo>
                  <a:cubicBezTo>
                    <a:pt x="2623" y="2126"/>
                    <a:pt x="2626" y="2123"/>
                    <a:pt x="2629" y="2123"/>
                  </a:cubicBezTo>
                  <a:close/>
                  <a:moveTo>
                    <a:pt x="2626" y="1962"/>
                  </a:moveTo>
                  <a:cubicBezTo>
                    <a:pt x="2623" y="1959"/>
                    <a:pt x="2620" y="1957"/>
                    <a:pt x="2623" y="1954"/>
                  </a:cubicBezTo>
                  <a:cubicBezTo>
                    <a:pt x="2626" y="1954"/>
                    <a:pt x="2626" y="1954"/>
                    <a:pt x="2629" y="1957"/>
                  </a:cubicBezTo>
                  <a:cubicBezTo>
                    <a:pt x="2629" y="1957"/>
                    <a:pt x="2629" y="1959"/>
                    <a:pt x="2626" y="1962"/>
                  </a:cubicBezTo>
                  <a:close/>
                  <a:moveTo>
                    <a:pt x="2626" y="1439"/>
                  </a:moveTo>
                  <a:cubicBezTo>
                    <a:pt x="2626" y="1436"/>
                    <a:pt x="2629" y="1430"/>
                    <a:pt x="2629" y="1427"/>
                  </a:cubicBezTo>
                  <a:cubicBezTo>
                    <a:pt x="2631" y="1427"/>
                    <a:pt x="2637" y="1430"/>
                    <a:pt x="2640" y="1430"/>
                  </a:cubicBezTo>
                  <a:cubicBezTo>
                    <a:pt x="2640" y="1433"/>
                    <a:pt x="2640" y="1439"/>
                    <a:pt x="2637" y="1441"/>
                  </a:cubicBezTo>
                  <a:cubicBezTo>
                    <a:pt x="2634" y="1441"/>
                    <a:pt x="2629" y="1439"/>
                    <a:pt x="2626" y="1439"/>
                  </a:cubicBezTo>
                  <a:close/>
                  <a:moveTo>
                    <a:pt x="2640" y="1377"/>
                  </a:moveTo>
                  <a:cubicBezTo>
                    <a:pt x="2654" y="1382"/>
                    <a:pt x="2629" y="1396"/>
                    <a:pt x="2640" y="1377"/>
                  </a:cubicBezTo>
                  <a:close/>
                  <a:moveTo>
                    <a:pt x="2637" y="1289"/>
                  </a:moveTo>
                  <a:cubicBezTo>
                    <a:pt x="2646" y="1286"/>
                    <a:pt x="2634" y="1298"/>
                    <a:pt x="2637" y="1289"/>
                  </a:cubicBezTo>
                  <a:close/>
                  <a:moveTo>
                    <a:pt x="2637" y="1511"/>
                  </a:moveTo>
                  <a:cubicBezTo>
                    <a:pt x="2637" y="1505"/>
                    <a:pt x="2646" y="1502"/>
                    <a:pt x="2648" y="1505"/>
                  </a:cubicBezTo>
                  <a:cubicBezTo>
                    <a:pt x="2648" y="1508"/>
                    <a:pt x="2643" y="1511"/>
                    <a:pt x="2637" y="1511"/>
                  </a:cubicBezTo>
                  <a:close/>
                  <a:moveTo>
                    <a:pt x="2637" y="1545"/>
                  </a:moveTo>
                  <a:cubicBezTo>
                    <a:pt x="2640" y="1539"/>
                    <a:pt x="2648" y="1548"/>
                    <a:pt x="2637" y="1545"/>
                  </a:cubicBezTo>
                  <a:close/>
                  <a:moveTo>
                    <a:pt x="2643" y="1497"/>
                  </a:moveTo>
                  <a:cubicBezTo>
                    <a:pt x="2637" y="1494"/>
                    <a:pt x="2640" y="1480"/>
                    <a:pt x="2648" y="1483"/>
                  </a:cubicBezTo>
                  <a:cubicBezTo>
                    <a:pt x="2648" y="1488"/>
                    <a:pt x="2643" y="1494"/>
                    <a:pt x="2643" y="1497"/>
                  </a:cubicBezTo>
                  <a:close/>
                  <a:moveTo>
                    <a:pt x="2634" y="1447"/>
                  </a:moveTo>
                  <a:cubicBezTo>
                    <a:pt x="2637" y="1447"/>
                    <a:pt x="2629" y="1450"/>
                    <a:pt x="2634" y="1447"/>
                  </a:cubicBezTo>
                  <a:close/>
                  <a:moveTo>
                    <a:pt x="2629" y="1889"/>
                  </a:moveTo>
                  <a:cubicBezTo>
                    <a:pt x="2634" y="1883"/>
                    <a:pt x="2631" y="1897"/>
                    <a:pt x="2629" y="1889"/>
                  </a:cubicBezTo>
                  <a:close/>
                  <a:moveTo>
                    <a:pt x="2646" y="2067"/>
                  </a:moveTo>
                  <a:cubicBezTo>
                    <a:pt x="2648" y="2075"/>
                    <a:pt x="2634" y="2072"/>
                    <a:pt x="2631" y="2069"/>
                  </a:cubicBezTo>
                  <a:cubicBezTo>
                    <a:pt x="2631" y="2064"/>
                    <a:pt x="2640" y="2067"/>
                    <a:pt x="2646" y="2067"/>
                  </a:cubicBezTo>
                  <a:close/>
                  <a:moveTo>
                    <a:pt x="2634" y="2055"/>
                  </a:moveTo>
                  <a:cubicBezTo>
                    <a:pt x="2634" y="2053"/>
                    <a:pt x="2634" y="2050"/>
                    <a:pt x="2637" y="2050"/>
                  </a:cubicBezTo>
                  <a:cubicBezTo>
                    <a:pt x="2643" y="2047"/>
                    <a:pt x="2654" y="2053"/>
                    <a:pt x="2651" y="2061"/>
                  </a:cubicBezTo>
                  <a:cubicBezTo>
                    <a:pt x="2643" y="2061"/>
                    <a:pt x="2637" y="2061"/>
                    <a:pt x="2634" y="2055"/>
                  </a:cubicBezTo>
                  <a:close/>
                  <a:moveTo>
                    <a:pt x="2643" y="1999"/>
                  </a:moveTo>
                  <a:cubicBezTo>
                    <a:pt x="2646" y="1996"/>
                    <a:pt x="2651" y="2010"/>
                    <a:pt x="2643" y="2007"/>
                  </a:cubicBezTo>
                  <a:cubicBezTo>
                    <a:pt x="2643" y="2005"/>
                    <a:pt x="2640" y="1999"/>
                    <a:pt x="2643" y="1999"/>
                  </a:cubicBezTo>
                  <a:close/>
                  <a:moveTo>
                    <a:pt x="2643" y="1914"/>
                  </a:moveTo>
                  <a:cubicBezTo>
                    <a:pt x="2646" y="1909"/>
                    <a:pt x="2654" y="1920"/>
                    <a:pt x="2643" y="1914"/>
                  </a:cubicBezTo>
                  <a:close/>
                  <a:moveTo>
                    <a:pt x="2637" y="1827"/>
                  </a:moveTo>
                  <a:cubicBezTo>
                    <a:pt x="2637" y="1824"/>
                    <a:pt x="2637" y="1824"/>
                    <a:pt x="2640" y="1821"/>
                  </a:cubicBezTo>
                  <a:cubicBezTo>
                    <a:pt x="2646" y="1821"/>
                    <a:pt x="2651" y="1821"/>
                    <a:pt x="2654" y="1824"/>
                  </a:cubicBezTo>
                  <a:cubicBezTo>
                    <a:pt x="2654" y="1827"/>
                    <a:pt x="2657" y="1830"/>
                    <a:pt x="2657" y="1832"/>
                  </a:cubicBezTo>
                  <a:lnTo>
                    <a:pt x="2654" y="1832"/>
                  </a:lnTo>
                  <a:cubicBezTo>
                    <a:pt x="2646" y="1832"/>
                    <a:pt x="2637" y="1830"/>
                    <a:pt x="2637" y="1827"/>
                  </a:cubicBezTo>
                  <a:close/>
                  <a:moveTo>
                    <a:pt x="2637" y="1728"/>
                  </a:moveTo>
                  <a:cubicBezTo>
                    <a:pt x="2637" y="1725"/>
                    <a:pt x="2648" y="1728"/>
                    <a:pt x="2654" y="1728"/>
                  </a:cubicBezTo>
                  <a:cubicBezTo>
                    <a:pt x="2657" y="1737"/>
                    <a:pt x="2640" y="1734"/>
                    <a:pt x="2637" y="1728"/>
                  </a:cubicBezTo>
                  <a:close/>
                  <a:moveTo>
                    <a:pt x="2648" y="1483"/>
                  </a:moveTo>
                  <a:cubicBezTo>
                    <a:pt x="2648" y="1480"/>
                    <a:pt x="2654" y="1477"/>
                    <a:pt x="2657" y="1477"/>
                  </a:cubicBezTo>
                  <a:cubicBezTo>
                    <a:pt x="2654" y="1480"/>
                    <a:pt x="2651" y="1483"/>
                    <a:pt x="2648" y="1483"/>
                  </a:cubicBezTo>
                  <a:close/>
                  <a:moveTo>
                    <a:pt x="2654" y="2024"/>
                  </a:moveTo>
                  <a:lnTo>
                    <a:pt x="2660" y="2024"/>
                  </a:lnTo>
                  <a:lnTo>
                    <a:pt x="2660" y="2030"/>
                  </a:lnTo>
                  <a:lnTo>
                    <a:pt x="2654" y="2030"/>
                  </a:lnTo>
                  <a:lnTo>
                    <a:pt x="2654" y="2024"/>
                  </a:lnTo>
                  <a:close/>
                  <a:moveTo>
                    <a:pt x="2648" y="1419"/>
                  </a:moveTo>
                  <a:cubicBezTo>
                    <a:pt x="2637" y="1413"/>
                    <a:pt x="2654" y="1393"/>
                    <a:pt x="2657" y="1408"/>
                  </a:cubicBezTo>
                  <a:cubicBezTo>
                    <a:pt x="2654" y="1413"/>
                    <a:pt x="2648" y="1413"/>
                    <a:pt x="2648" y="1419"/>
                  </a:cubicBezTo>
                  <a:close/>
                  <a:moveTo>
                    <a:pt x="2629" y="1360"/>
                  </a:moveTo>
                  <a:cubicBezTo>
                    <a:pt x="2643" y="1368"/>
                    <a:pt x="2614" y="1382"/>
                    <a:pt x="2629" y="1360"/>
                  </a:cubicBezTo>
                  <a:close/>
                  <a:moveTo>
                    <a:pt x="2626" y="1267"/>
                  </a:moveTo>
                  <a:cubicBezTo>
                    <a:pt x="2631" y="1258"/>
                    <a:pt x="2629" y="1275"/>
                    <a:pt x="2626" y="1267"/>
                  </a:cubicBezTo>
                  <a:close/>
                  <a:moveTo>
                    <a:pt x="2609" y="784"/>
                  </a:moveTo>
                  <a:cubicBezTo>
                    <a:pt x="2609" y="781"/>
                    <a:pt x="2612" y="779"/>
                    <a:pt x="2612" y="779"/>
                  </a:cubicBezTo>
                  <a:cubicBezTo>
                    <a:pt x="2614" y="776"/>
                    <a:pt x="2620" y="773"/>
                    <a:pt x="2620" y="776"/>
                  </a:cubicBezTo>
                  <a:cubicBezTo>
                    <a:pt x="2623" y="776"/>
                    <a:pt x="2626" y="779"/>
                    <a:pt x="2631" y="781"/>
                  </a:cubicBezTo>
                  <a:cubicBezTo>
                    <a:pt x="2631" y="793"/>
                    <a:pt x="2617" y="784"/>
                    <a:pt x="2609" y="784"/>
                  </a:cubicBezTo>
                  <a:close/>
                  <a:moveTo>
                    <a:pt x="2612" y="736"/>
                  </a:moveTo>
                  <a:cubicBezTo>
                    <a:pt x="2614" y="733"/>
                    <a:pt x="2617" y="736"/>
                    <a:pt x="2617" y="736"/>
                  </a:cubicBezTo>
                  <a:cubicBezTo>
                    <a:pt x="2614" y="736"/>
                    <a:pt x="2595" y="750"/>
                    <a:pt x="2612" y="736"/>
                  </a:cubicBezTo>
                  <a:close/>
                  <a:moveTo>
                    <a:pt x="2612" y="728"/>
                  </a:moveTo>
                  <a:cubicBezTo>
                    <a:pt x="2598" y="722"/>
                    <a:pt x="2626" y="708"/>
                    <a:pt x="2612" y="728"/>
                  </a:cubicBezTo>
                  <a:close/>
                  <a:moveTo>
                    <a:pt x="2567" y="1455"/>
                  </a:moveTo>
                  <a:cubicBezTo>
                    <a:pt x="2569" y="1453"/>
                    <a:pt x="2572" y="1447"/>
                    <a:pt x="2578" y="1447"/>
                  </a:cubicBezTo>
                  <a:lnTo>
                    <a:pt x="2578" y="1453"/>
                  </a:lnTo>
                  <a:cubicBezTo>
                    <a:pt x="2572" y="1455"/>
                    <a:pt x="2569" y="1455"/>
                    <a:pt x="2567" y="1455"/>
                  </a:cubicBezTo>
                  <a:close/>
                  <a:moveTo>
                    <a:pt x="2569" y="1666"/>
                  </a:moveTo>
                  <a:cubicBezTo>
                    <a:pt x="2569" y="1660"/>
                    <a:pt x="2581" y="1669"/>
                    <a:pt x="2569" y="1666"/>
                  </a:cubicBezTo>
                  <a:close/>
                  <a:moveTo>
                    <a:pt x="2572" y="1708"/>
                  </a:moveTo>
                  <a:cubicBezTo>
                    <a:pt x="2572" y="1711"/>
                    <a:pt x="2567" y="1714"/>
                    <a:pt x="2564" y="1714"/>
                  </a:cubicBezTo>
                  <a:cubicBezTo>
                    <a:pt x="2567" y="1711"/>
                    <a:pt x="2569" y="1708"/>
                    <a:pt x="2572" y="1708"/>
                  </a:cubicBezTo>
                  <a:close/>
                  <a:moveTo>
                    <a:pt x="2572" y="1329"/>
                  </a:moveTo>
                  <a:cubicBezTo>
                    <a:pt x="2569" y="1323"/>
                    <a:pt x="2581" y="1326"/>
                    <a:pt x="2578" y="1320"/>
                  </a:cubicBezTo>
                  <a:cubicBezTo>
                    <a:pt x="2583" y="1323"/>
                    <a:pt x="2578" y="1329"/>
                    <a:pt x="2572" y="1329"/>
                  </a:cubicBezTo>
                  <a:close/>
                  <a:moveTo>
                    <a:pt x="2578" y="1804"/>
                  </a:moveTo>
                  <a:cubicBezTo>
                    <a:pt x="2583" y="1804"/>
                    <a:pt x="2581" y="1813"/>
                    <a:pt x="2578" y="1816"/>
                  </a:cubicBezTo>
                  <a:cubicBezTo>
                    <a:pt x="2575" y="1813"/>
                    <a:pt x="2581" y="1807"/>
                    <a:pt x="2578" y="1804"/>
                  </a:cubicBezTo>
                  <a:close/>
                  <a:moveTo>
                    <a:pt x="2578" y="1300"/>
                  </a:moveTo>
                  <a:cubicBezTo>
                    <a:pt x="2575" y="1295"/>
                    <a:pt x="2586" y="1292"/>
                    <a:pt x="2586" y="1298"/>
                  </a:cubicBezTo>
                  <a:cubicBezTo>
                    <a:pt x="2581" y="1295"/>
                    <a:pt x="2583" y="1303"/>
                    <a:pt x="2578" y="1300"/>
                  </a:cubicBezTo>
                  <a:close/>
                  <a:moveTo>
                    <a:pt x="2575" y="1286"/>
                  </a:moveTo>
                  <a:lnTo>
                    <a:pt x="2576" y="1287"/>
                  </a:lnTo>
                  <a:cubicBezTo>
                    <a:pt x="2575" y="1288"/>
                    <a:pt x="2573" y="1290"/>
                    <a:pt x="2575" y="1286"/>
                  </a:cubicBezTo>
                  <a:cubicBezTo>
                    <a:pt x="2576" y="1286"/>
                    <a:pt x="2576" y="1287"/>
                    <a:pt x="2576" y="1287"/>
                  </a:cubicBezTo>
                  <a:lnTo>
                    <a:pt x="2575" y="1286"/>
                  </a:lnTo>
                  <a:close/>
                  <a:moveTo>
                    <a:pt x="2583" y="1283"/>
                  </a:moveTo>
                  <a:cubicBezTo>
                    <a:pt x="2589" y="1292"/>
                    <a:pt x="2575" y="1292"/>
                    <a:pt x="2583" y="1283"/>
                  </a:cubicBezTo>
                  <a:close/>
                  <a:moveTo>
                    <a:pt x="2586" y="1134"/>
                  </a:moveTo>
                  <a:cubicBezTo>
                    <a:pt x="2583" y="1134"/>
                    <a:pt x="2589" y="1131"/>
                    <a:pt x="2586" y="1134"/>
                  </a:cubicBezTo>
                  <a:close/>
                  <a:moveTo>
                    <a:pt x="2572" y="1216"/>
                  </a:moveTo>
                  <a:cubicBezTo>
                    <a:pt x="2578" y="1227"/>
                    <a:pt x="2578" y="1238"/>
                    <a:pt x="2575" y="1250"/>
                  </a:cubicBezTo>
                  <a:cubicBezTo>
                    <a:pt x="2555" y="1247"/>
                    <a:pt x="2572" y="1224"/>
                    <a:pt x="2572" y="1216"/>
                  </a:cubicBezTo>
                  <a:close/>
                  <a:moveTo>
                    <a:pt x="2555" y="1869"/>
                  </a:moveTo>
                  <a:cubicBezTo>
                    <a:pt x="2561" y="1869"/>
                    <a:pt x="2558" y="1880"/>
                    <a:pt x="2552" y="1880"/>
                  </a:cubicBezTo>
                  <a:cubicBezTo>
                    <a:pt x="2552" y="1878"/>
                    <a:pt x="2555" y="1872"/>
                    <a:pt x="2555" y="1869"/>
                  </a:cubicBezTo>
                  <a:close/>
                  <a:moveTo>
                    <a:pt x="2552" y="1852"/>
                  </a:moveTo>
                  <a:cubicBezTo>
                    <a:pt x="2552" y="1849"/>
                    <a:pt x="2558" y="1847"/>
                    <a:pt x="2561" y="1847"/>
                  </a:cubicBezTo>
                  <a:cubicBezTo>
                    <a:pt x="2561" y="1849"/>
                    <a:pt x="2555" y="1852"/>
                    <a:pt x="2552" y="1852"/>
                  </a:cubicBezTo>
                  <a:close/>
                  <a:moveTo>
                    <a:pt x="2555" y="2146"/>
                  </a:moveTo>
                  <a:cubicBezTo>
                    <a:pt x="2558" y="2146"/>
                    <a:pt x="2558" y="2146"/>
                    <a:pt x="2561" y="2148"/>
                  </a:cubicBezTo>
                  <a:cubicBezTo>
                    <a:pt x="2561" y="2148"/>
                    <a:pt x="2561" y="2151"/>
                    <a:pt x="2564" y="2151"/>
                  </a:cubicBezTo>
                  <a:cubicBezTo>
                    <a:pt x="2564" y="2154"/>
                    <a:pt x="2567" y="2154"/>
                    <a:pt x="2564" y="2157"/>
                  </a:cubicBezTo>
                  <a:cubicBezTo>
                    <a:pt x="2561" y="2157"/>
                    <a:pt x="2561" y="2154"/>
                    <a:pt x="2561" y="2157"/>
                  </a:cubicBezTo>
                  <a:cubicBezTo>
                    <a:pt x="2558" y="2157"/>
                    <a:pt x="2558" y="2160"/>
                    <a:pt x="2555" y="2157"/>
                  </a:cubicBezTo>
                  <a:lnTo>
                    <a:pt x="2552" y="2154"/>
                  </a:lnTo>
                  <a:cubicBezTo>
                    <a:pt x="2552" y="2151"/>
                    <a:pt x="2552" y="2151"/>
                    <a:pt x="2555" y="2148"/>
                  </a:cubicBezTo>
                  <a:cubicBezTo>
                    <a:pt x="2552" y="2146"/>
                    <a:pt x="2555" y="2146"/>
                    <a:pt x="2555" y="2146"/>
                  </a:cubicBezTo>
                  <a:close/>
                  <a:moveTo>
                    <a:pt x="2558" y="2033"/>
                  </a:moveTo>
                  <a:cubicBezTo>
                    <a:pt x="2561" y="2027"/>
                    <a:pt x="2567" y="2041"/>
                    <a:pt x="2558" y="2033"/>
                  </a:cubicBezTo>
                  <a:close/>
                  <a:moveTo>
                    <a:pt x="2555" y="1188"/>
                  </a:moveTo>
                  <a:cubicBezTo>
                    <a:pt x="2550" y="1188"/>
                    <a:pt x="2558" y="1176"/>
                    <a:pt x="2561" y="1182"/>
                  </a:cubicBezTo>
                  <a:cubicBezTo>
                    <a:pt x="2561" y="1185"/>
                    <a:pt x="2555" y="1185"/>
                    <a:pt x="2555" y="1188"/>
                  </a:cubicBezTo>
                  <a:close/>
                  <a:moveTo>
                    <a:pt x="2538" y="1497"/>
                  </a:moveTo>
                  <a:cubicBezTo>
                    <a:pt x="2541" y="1491"/>
                    <a:pt x="2550" y="1500"/>
                    <a:pt x="2552" y="1494"/>
                  </a:cubicBezTo>
                  <a:cubicBezTo>
                    <a:pt x="2561" y="1500"/>
                    <a:pt x="2538" y="1505"/>
                    <a:pt x="2538" y="1497"/>
                  </a:cubicBezTo>
                  <a:close/>
                  <a:moveTo>
                    <a:pt x="2547" y="1525"/>
                  </a:moveTo>
                  <a:cubicBezTo>
                    <a:pt x="2538" y="1522"/>
                    <a:pt x="2544" y="1511"/>
                    <a:pt x="2550" y="1511"/>
                  </a:cubicBezTo>
                  <a:cubicBezTo>
                    <a:pt x="2552" y="1517"/>
                    <a:pt x="2547" y="1519"/>
                    <a:pt x="2547" y="1525"/>
                  </a:cubicBezTo>
                  <a:close/>
                  <a:moveTo>
                    <a:pt x="2541" y="1711"/>
                  </a:moveTo>
                  <a:cubicBezTo>
                    <a:pt x="2541" y="1708"/>
                    <a:pt x="2544" y="1706"/>
                    <a:pt x="2544" y="1703"/>
                  </a:cubicBezTo>
                  <a:cubicBezTo>
                    <a:pt x="2547" y="1700"/>
                    <a:pt x="2547" y="1714"/>
                    <a:pt x="2541" y="1711"/>
                  </a:cubicBezTo>
                  <a:close/>
                  <a:moveTo>
                    <a:pt x="2544" y="1292"/>
                  </a:moveTo>
                  <a:lnTo>
                    <a:pt x="2535" y="1292"/>
                  </a:lnTo>
                  <a:lnTo>
                    <a:pt x="2535" y="1286"/>
                  </a:lnTo>
                  <a:cubicBezTo>
                    <a:pt x="2538" y="1286"/>
                    <a:pt x="2544" y="1289"/>
                    <a:pt x="2544" y="1292"/>
                  </a:cubicBezTo>
                  <a:close/>
                  <a:moveTo>
                    <a:pt x="2535" y="1244"/>
                  </a:moveTo>
                  <a:lnTo>
                    <a:pt x="2544" y="1244"/>
                  </a:lnTo>
                  <a:lnTo>
                    <a:pt x="2544" y="1250"/>
                  </a:lnTo>
                  <a:cubicBezTo>
                    <a:pt x="2538" y="1252"/>
                    <a:pt x="2535" y="1250"/>
                    <a:pt x="2535" y="1244"/>
                  </a:cubicBezTo>
                  <a:close/>
                  <a:moveTo>
                    <a:pt x="2535" y="2027"/>
                  </a:moveTo>
                  <a:cubicBezTo>
                    <a:pt x="2535" y="2021"/>
                    <a:pt x="2544" y="2030"/>
                    <a:pt x="2535" y="2027"/>
                  </a:cubicBezTo>
                  <a:close/>
                  <a:moveTo>
                    <a:pt x="2538" y="1683"/>
                  </a:moveTo>
                  <a:cubicBezTo>
                    <a:pt x="2538" y="1677"/>
                    <a:pt x="2547" y="1689"/>
                    <a:pt x="2538" y="1683"/>
                  </a:cubicBezTo>
                  <a:close/>
                  <a:moveTo>
                    <a:pt x="2547" y="784"/>
                  </a:moveTo>
                  <a:cubicBezTo>
                    <a:pt x="2550" y="784"/>
                    <a:pt x="2544" y="787"/>
                    <a:pt x="2547" y="784"/>
                  </a:cubicBezTo>
                  <a:close/>
                  <a:moveTo>
                    <a:pt x="2550" y="747"/>
                  </a:moveTo>
                  <a:cubicBezTo>
                    <a:pt x="2550" y="750"/>
                    <a:pt x="2552" y="750"/>
                    <a:pt x="2552" y="750"/>
                  </a:cubicBezTo>
                  <a:cubicBezTo>
                    <a:pt x="2550" y="750"/>
                    <a:pt x="2547" y="747"/>
                    <a:pt x="2550" y="747"/>
                  </a:cubicBezTo>
                  <a:close/>
                  <a:moveTo>
                    <a:pt x="2548" y="720"/>
                  </a:moveTo>
                  <a:cubicBezTo>
                    <a:pt x="2548" y="720"/>
                    <a:pt x="2547" y="721"/>
                    <a:pt x="2547" y="722"/>
                  </a:cubicBezTo>
                  <a:cubicBezTo>
                    <a:pt x="2534" y="717"/>
                    <a:pt x="2556" y="705"/>
                    <a:pt x="2550" y="717"/>
                  </a:cubicBezTo>
                  <a:cubicBezTo>
                    <a:pt x="2552" y="718"/>
                    <a:pt x="2554" y="721"/>
                    <a:pt x="2548" y="720"/>
                  </a:cubicBezTo>
                  <a:close/>
                  <a:moveTo>
                    <a:pt x="2541" y="702"/>
                  </a:moveTo>
                  <a:cubicBezTo>
                    <a:pt x="2541" y="697"/>
                    <a:pt x="2550" y="705"/>
                    <a:pt x="2541" y="702"/>
                  </a:cubicBezTo>
                  <a:close/>
                  <a:moveTo>
                    <a:pt x="2541" y="711"/>
                  </a:moveTo>
                  <a:cubicBezTo>
                    <a:pt x="2538" y="711"/>
                    <a:pt x="2538" y="705"/>
                    <a:pt x="2538" y="702"/>
                  </a:cubicBezTo>
                  <a:cubicBezTo>
                    <a:pt x="2547" y="702"/>
                    <a:pt x="2544" y="711"/>
                    <a:pt x="2541" y="711"/>
                  </a:cubicBezTo>
                  <a:close/>
                  <a:moveTo>
                    <a:pt x="2541" y="578"/>
                  </a:moveTo>
                  <a:cubicBezTo>
                    <a:pt x="2527" y="573"/>
                    <a:pt x="2555" y="558"/>
                    <a:pt x="2541" y="578"/>
                  </a:cubicBezTo>
                  <a:close/>
                  <a:moveTo>
                    <a:pt x="2513" y="2089"/>
                  </a:moveTo>
                  <a:cubicBezTo>
                    <a:pt x="2513" y="2084"/>
                    <a:pt x="2521" y="2084"/>
                    <a:pt x="2527" y="2084"/>
                  </a:cubicBezTo>
                  <a:cubicBezTo>
                    <a:pt x="2527" y="2089"/>
                    <a:pt x="2519" y="2089"/>
                    <a:pt x="2513" y="2089"/>
                  </a:cubicBezTo>
                  <a:close/>
                  <a:moveTo>
                    <a:pt x="2516" y="2117"/>
                  </a:moveTo>
                  <a:cubicBezTo>
                    <a:pt x="2524" y="2112"/>
                    <a:pt x="2513" y="2126"/>
                    <a:pt x="2516" y="2117"/>
                  </a:cubicBezTo>
                  <a:close/>
                  <a:moveTo>
                    <a:pt x="2530" y="1627"/>
                  </a:moveTo>
                  <a:cubicBezTo>
                    <a:pt x="2521" y="1632"/>
                    <a:pt x="2521" y="1618"/>
                    <a:pt x="2530" y="1627"/>
                  </a:cubicBezTo>
                  <a:close/>
                  <a:moveTo>
                    <a:pt x="2524" y="1711"/>
                  </a:moveTo>
                  <a:cubicBezTo>
                    <a:pt x="2524" y="1714"/>
                    <a:pt x="2519" y="1717"/>
                    <a:pt x="2516" y="1717"/>
                  </a:cubicBezTo>
                  <a:cubicBezTo>
                    <a:pt x="2519" y="1714"/>
                    <a:pt x="2521" y="1711"/>
                    <a:pt x="2524" y="1711"/>
                  </a:cubicBezTo>
                  <a:close/>
                  <a:moveTo>
                    <a:pt x="2521" y="1607"/>
                  </a:moveTo>
                  <a:cubicBezTo>
                    <a:pt x="2521" y="1604"/>
                    <a:pt x="2524" y="1601"/>
                    <a:pt x="2524" y="1598"/>
                  </a:cubicBezTo>
                  <a:cubicBezTo>
                    <a:pt x="2527" y="1596"/>
                    <a:pt x="2527" y="1610"/>
                    <a:pt x="2521" y="1607"/>
                  </a:cubicBezTo>
                  <a:close/>
                  <a:moveTo>
                    <a:pt x="2521" y="1556"/>
                  </a:moveTo>
                  <a:cubicBezTo>
                    <a:pt x="2521" y="1553"/>
                    <a:pt x="2527" y="1550"/>
                    <a:pt x="2527" y="1545"/>
                  </a:cubicBezTo>
                  <a:cubicBezTo>
                    <a:pt x="2533" y="1545"/>
                    <a:pt x="2524" y="1559"/>
                    <a:pt x="2521" y="1556"/>
                  </a:cubicBezTo>
                  <a:close/>
                  <a:moveTo>
                    <a:pt x="2521" y="1522"/>
                  </a:moveTo>
                  <a:cubicBezTo>
                    <a:pt x="2524" y="1522"/>
                    <a:pt x="2527" y="1525"/>
                    <a:pt x="2530" y="1525"/>
                  </a:cubicBezTo>
                  <a:cubicBezTo>
                    <a:pt x="2530" y="1528"/>
                    <a:pt x="2519" y="1525"/>
                    <a:pt x="2521" y="1522"/>
                  </a:cubicBezTo>
                  <a:close/>
                  <a:moveTo>
                    <a:pt x="2516" y="1457"/>
                  </a:moveTo>
                  <a:cubicBezTo>
                    <a:pt x="2519" y="1455"/>
                    <a:pt x="2524" y="1453"/>
                    <a:pt x="2527" y="1453"/>
                  </a:cubicBezTo>
                  <a:cubicBezTo>
                    <a:pt x="2527" y="1457"/>
                    <a:pt x="2521" y="1457"/>
                    <a:pt x="2516" y="1457"/>
                  </a:cubicBezTo>
                  <a:close/>
                  <a:moveTo>
                    <a:pt x="2521" y="1565"/>
                  </a:moveTo>
                  <a:cubicBezTo>
                    <a:pt x="2519" y="1570"/>
                    <a:pt x="2510" y="1573"/>
                    <a:pt x="2504" y="1573"/>
                  </a:cubicBezTo>
                  <a:cubicBezTo>
                    <a:pt x="2504" y="1567"/>
                    <a:pt x="2513" y="1565"/>
                    <a:pt x="2521" y="1565"/>
                  </a:cubicBezTo>
                  <a:close/>
                  <a:moveTo>
                    <a:pt x="2513" y="1937"/>
                  </a:moveTo>
                  <a:lnTo>
                    <a:pt x="2504" y="1937"/>
                  </a:lnTo>
                  <a:lnTo>
                    <a:pt x="2504" y="1931"/>
                  </a:lnTo>
                  <a:cubicBezTo>
                    <a:pt x="2510" y="1931"/>
                    <a:pt x="2513" y="1934"/>
                    <a:pt x="2513" y="1937"/>
                  </a:cubicBezTo>
                  <a:close/>
                  <a:moveTo>
                    <a:pt x="2504" y="1776"/>
                  </a:moveTo>
                  <a:cubicBezTo>
                    <a:pt x="2504" y="1770"/>
                    <a:pt x="2513" y="1779"/>
                    <a:pt x="2504" y="1776"/>
                  </a:cubicBezTo>
                  <a:close/>
                  <a:moveTo>
                    <a:pt x="2507" y="807"/>
                  </a:moveTo>
                  <a:lnTo>
                    <a:pt x="2507" y="806"/>
                  </a:lnTo>
                  <a:cubicBezTo>
                    <a:pt x="2508" y="805"/>
                    <a:pt x="2509" y="805"/>
                    <a:pt x="2507" y="807"/>
                  </a:cubicBezTo>
                  <a:cubicBezTo>
                    <a:pt x="2506" y="807"/>
                    <a:pt x="2507" y="806"/>
                    <a:pt x="2507" y="806"/>
                  </a:cubicBezTo>
                  <a:lnTo>
                    <a:pt x="2507" y="807"/>
                  </a:lnTo>
                  <a:close/>
                  <a:moveTo>
                    <a:pt x="2504" y="2092"/>
                  </a:moveTo>
                  <a:cubicBezTo>
                    <a:pt x="2510" y="2086"/>
                    <a:pt x="2507" y="2100"/>
                    <a:pt x="2504" y="2092"/>
                  </a:cubicBezTo>
                  <a:close/>
                  <a:moveTo>
                    <a:pt x="2511" y="2067"/>
                  </a:moveTo>
                  <a:cubicBezTo>
                    <a:pt x="2512" y="2065"/>
                    <a:pt x="2514" y="2062"/>
                    <a:pt x="2513" y="2067"/>
                  </a:cubicBezTo>
                  <a:cubicBezTo>
                    <a:pt x="2509" y="2071"/>
                    <a:pt x="2509" y="2069"/>
                    <a:pt x="2511" y="2067"/>
                  </a:cubicBezTo>
                  <a:close/>
                  <a:moveTo>
                    <a:pt x="2507" y="2126"/>
                  </a:moveTo>
                  <a:cubicBezTo>
                    <a:pt x="2507" y="2120"/>
                    <a:pt x="2516" y="2129"/>
                    <a:pt x="2507" y="2126"/>
                  </a:cubicBezTo>
                  <a:close/>
                  <a:moveTo>
                    <a:pt x="2516" y="2024"/>
                  </a:moveTo>
                  <a:cubicBezTo>
                    <a:pt x="2510" y="2033"/>
                    <a:pt x="2507" y="2019"/>
                    <a:pt x="2516" y="2024"/>
                  </a:cubicBezTo>
                  <a:close/>
                  <a:moveTo>
                    <a:pt x="2524" y="2072"/>
                  </a:moveTo>
                  <a:lnTo>
                    <a:pt x="2524" y="2067"/>
                  </a:lnTo>
                  <a:lnTo>
                    <a:pt x="2533" y="2067"/>
                  </a:lnTo>
                  <a:cubicBezTo>
                    <a:pt x="2533" y="2072"/>
                    <a:pt x="2527" y="2072"/>
                    <a:pt x="2524" y="2072"/>
                  </a:cubicBezTo>
                  <a:close/>
                  <a:moveTo>
                    <a:pt x="2530" y="2115"/>
                  </a:moveTo>
                  <a:lnTo>
                    <a:pt x="2535" y="2115"/>
                  </a:lnTo>
                  <a:lnTo>
                    <a:pt x="2535" y="2120"/>
                  </a:lnTo>
                  <a:lnTo>
                    <a:pt x="2530" y="2120"/>
                  </a:lnTo>
                  <a:lnTo>
                    <a:pt x="2530" y="2115"/>
                  </a:lnTo>
                  <a:close/>
                  <a:moveTo>
                    <a:pt x="2516" y="750"/>
                  </a:moveTo>
                  <a:cubicBezTo>
                    <a:pt x="2502" y="742"/>
                    <a:pt x="2530" y="728"/>
                    <a:pt x="2516" y="750"/>
                  </a:cubicBezTo>
                  <a:close/>
                  <a:moveTo>
                    <a:pt x="2507" y="708"/>
                  </a:moveTo>
                  <a:cubicBezTo>
                    <a:pt x="2510" y="705"/>
                    <a:pt x="2513" y="700"/>
                    <a:pt x="2519" y="700"/>
                  </a:cubicBezTo>
                  <a:cubicBezTo>
                    <a:pt x="2519" y="705"/>
                    <a:pt x="2513" y="708"/>
                    <a:pt x="2507" y="708"/>
                  </a:cubicBezTo>
                  <a:close/>
                  <a:moveTo>
                    <a:pt x="2504" y="1548"/>
                  </a:moveTo>
                  <a:cubicBezTo>
                    <a:pt x="2504" y="1542"/>
                    <a:pt x="2513" y="1550"/>
                    <a:pt x="2504" y="1548"/>
                  </a:cubicBezTo>
                  <a:close/>
                  <a:moveTo>
                    <a:pt x="2504" y="747"/>
                  </a:moveTo>
                  <a:cubicBezTo>
                    <a:pt x="2513" y="742"/>
                    <a:pt x="2502" y="753"/>
                    <a:pt x="2504" y="747"/>
                  </a:cubicBezTo>
                  <a:close/>
                  <a:moveTo>
                    <a:pt x="2564" y="1940"/>
                  </a:moveTo>
                  <a:cubicBezTo>
                    <a:pt x="2567" y="1937"/>
                    <a:pt x="2569" y="1934"/>
                    <a:pt x="2572" y="1934"/>
                  </a:cubicBezTo>
                  <a:cubicBezTo>
                    <a:pt x="2572" y="1937"/>
                    <a:pt x="2569" y="1940"/>
                    <a:pt x="2564" y="1940"/>
                  </a:cubicBezTo>
                  <a:close/>
                  <a:moveTo>
                    <a:pt x="2567" y="1951"/>
                  </a:moveTo>
                  <a:cubicBezTo>
                    <a:pt x="2569" y="1951"/>
                    <a:pt x="2575" y="1954"/>
                    <a:pt x="2575" y="1954"/>
                  </a:cubicBezTo>
                  <a:cubicBezTo>
                    <a:pt x="2578" y="1957"/>
                    <a:pt x="2564" y="1957"/>
                    <a:pt x="2567" y="1951"/>
                  </a:cubicBezTo>
                  <a:close/>
                  <a:moveTo>
                    <a:pt x="2569" y="2100"/>
                  </a:moveTo>
                  <a:cubicBezTo>
                    <a:pt x="2567" y="2095"/>
                    <a:pt x="2578" y="2095"/>
                    <a:pt x="2581" y="2095"/>
                  </a:cubicBezTo>
                  <a:cubicBezTo>
                    <a:pt x="2581" y="2098"/>
                    <a:pt x="2575" y="2100"/>
                    <a:pt x="2569" y="2100"/>
                  </a:cubicBezTo>
                  <a:close/>
                  <a:moveTo>
                    <a:pt x="2581" y="2126"/>
                  </a:moveTo>
                  <a:cubicBezTo>
                    <a:pt x="2581" y="2131"/>
                    <a:pt x="2572" y="2131"/>
                    <a:pt x="2569" y="2129"/>
                  </a:cubicBezTo>
                  <a:cubicBezTo>
                    <a:pt x="2572" y="2126"/>
                    <a:pt x="2578" y="2126"/>
                    <a:pt x="2581" y="2126"/>
                  </a:cubicBezTo>
                  <a:close/>
                  <a:moveTo>
                    <a:pt x="2583" y="1275"/>
                  </a:moveTo>
                  <a:cubicBezTo>
                    <a:pt x="2583" y="1269"/>
                    <a:pt x="2592" y="1281"/>
                    <a:pt x="2583" y="1275"/>
                  </a:cubicBezTo>
                  <a:close/>
                  <a:moveTo>
                    <a:pt x="2595" y="1230"/>
                  </a:moveTo>
                  <a:cubicBezTo>
                    <a:pt x="2595" y="1230"/>
                    <a:pt x="2598" y="1233"/>
                    <a:pt x="2600" y="1233"/>
                  </a:cubicBezTo>
                  <a:cubicBezTo>
                    <a:pt x="2617" y="1264"/>
                    <a:pt x="2569" y="1213"/>
                    <a:pt x="2595" y="1230"/>
                  </a:cubicBezTo>
                  <a:close/>
                  <a:moveTo>
                    <a:pt x="2600" y="2027"/>
                  </a:moveTo>
                  <a:cubicBezTo>
                    <a:pt x="2603" y="2027"/>
                    <a:pt x="2606" y="2030"/>
                    <a:pt x="2609" y="2033"/>
                  </a:cubicBezTo>
                  <a:lnTo>
                    <a:pt x="2603" y="2033"/>
                  </a:lnTo>
                  <a:cubicBezTo>
                    <a:pt x="2600" y="2030"/>
                    <a:pt x="2600" y="2027"/>
                    <a:pt x="2600" y="2027"/>
                  </a:cubicBezTo>
                  <a:close/>
                  <a:moveTo>
                    <a:pt x="2612" y="1607"/>
                  </a:moveTo>
                  <a:lnTo>
                    <a:pt x="2612" y="1615"/>
                  </a:lnTo>
                  <a:cubicBezTo>
                    <a:pt x="2600" y="1618"/>
                    <a:pt x="2603" y="1604"/>
                    <a:pt x="2612" y="1607"/>
                  </a:cubicBezTo>
                  <a:close/>
                  <a:moveTo>
                    <a:pt x="2609" y="2131"/>
                  </a:moveTo>
                  <a:cubicBezTo>
                    <a:pt x="2609" y="2126"/>
                    <a:pt x="2617" y="2134"/>
                    <a:pt x="2609" y="2131"/>
                  </a:cubicBezTo>
                  <a:close/>
                  <a:moveTo>
                    <a:pt x="2643" y="2168"/>
                  </a:moveTo>
                  <a:cubicBezTo>
                    <a:pt x="2643" y="2171"/>
                    <a:pt x="2648" y="2174"/>
                    <a:pt x="2646" y="2179"/>
                  </a:cubicBezTo>
                  <a:cubicBezTo>
                    <a:pt x="2640" y="2179"/>
                    <a:pt x="2634" y="2177"/>
                    <a:pt x="2629" y="2174"/>
                  </a:cubicBezTo>
                  <a:cubicBezTo>
                    <a:pt x="2629" y="2168"/>
                    <a:pt x="2637" y="2165"/>
                    <a:pt x="2643" y="2168"/>
                  </a:cubicBezTo>
                  <a:close/>
                  <a:moveTo>
                    <a:pt x="2646" y="2191"/>
                  </a:moveTo>
                  <a:cubicBezTo>
                    <a:pt x="2654" y="2194"/>
                    <a:pt x="2646" y="2210"/>
                    <a:pt x="2640" y="2205"/>
                  </a:cubicBezTo>
                  <a:cubicBezTo>
                    <a:pt x="2640" y="2199"/>
                    <a:pt x="2646" y="2194"/>
                    <a:pt x="2646" y="2191"/>
                  </a:cubicBezTo>
                  <a:close/>
                  <a:moveTo>
                    <a:pt x="2648" y="2143"/>
                  </a:moveTo>
                  <a:cubicBezTo>
                    <a:pt x="2662" y="2146"/>
                    <a:pt x="2671" y="2154"/>
                    <a:pt x="2668" y="2163"/>
                  </a:cubicBezTo>
                  <a:cubicBezTo>
                    <a:pt x="2657" y="2160"/>
                    <a:pt x="2646" y="2151"/>
                    <a:pt x="2648" y="2143"/>
                  </a:cubicBezTo>
                  <a:close/>
                  <a:moveTo>
                    <a:pt x="2662" y="1773"/>
                  </a:moveTo>
                  <a:cubicBezTo>
                    <a:pt x="2663" y="1773"/>
                    <a:pt x="2664" y="1772"/>
                    <a:pt x="2665" y="1772"/>
                  </a:cubicBezTo>
                  <a:cubicBezTo>
                    <a:pt x="2661" y="1771"/>
                    <a:pt x="2657" y="1769"/>
                    <a:pt x="2654" y="1768"/>
                  </a:cubicBezTo>
                  <a:cubicBezTo>
                    <a:pt x="2654" y="1765"/>
                    <a:pt x="2654" y="1765"/>
                    <a:pt x="2657" y="1762"/>
                  </a:cubicBezTo>
                  <a:cubicBezTo>
                    <a:pt x="2662" y="1762"/>
                    <a:pt x="2668" y="1762"/>
                    <a:pt x="2674" y="1765"/>
                  </a:cubicBezTo>
                  <a:cubicBezTo>
                    <a:pt x="2677" y="1768"/>
                    <a:pt x="2677" y="1770"/>
                    <a:pt x="2674" y="1773"/>
                  </a:cubicBezTo>
                  <a:cubicBezTo>
                    <a:pt x="2671" y="1773"/>
                    <a:pt x="2668" y="1773"/>
                    <a:pt x="2666" y="1772"/>
                  </a:cubicBezTo>
                  <a:cubicBezTo>
                    <a:pt x="2666" y="1774"/>
                    <a:pt x="2660" y="1779"/>
                    <a:pt x="2662" y="1773"/>
                  </a:cubicBezTo>
                  <a:close/>
                  <a:moveTo>
                    <a:pt x="2665" y="1612"/>
                  </a:moveTo>
                  <a:cubicBezTo>
                    <a:pt x="2665" y="1607"/>
                    <a:pt x="2677" y="1607"/>
                    <a:pt x="2679" y="1610"/>
                  </a:cubicBezTo>
                  <a:cubicBezTo>
                    <a:pt x="2679" y="1612"/>
                    <a:pt x="2671" y="1615"/>
                    <a:pt x="2665" y="1612"/>
                  </a:cubicBezTo>
                  <a:close/>
                  <a:moveTo>
                    <a:pt x="2679" y="1593"/>
                  </a:moveTo>
                  <a:cubicBezTo>
                    <a:pt x="2682" y="1590"/>
                    <a:pt x="2674" y="1596"/>
                    <a:pt x="2679" y="1593"/>
                  </a:cubicBezTo>
                  <a:close/>
                  <a:moveTo>
                    <a:pt x="2702" y="1360"/>
                  </a:moveTo>
                  <a:cubicBezTo>
                    <a:pt x="2705" y="1379"/>
                    <a:pt x="2682" y="1360"/>
                    <a:pt x="2682" y="1371"/>
                  </a:cubicBezTo>
                  <a:cubicBezTo>
                    <a:pt x="2671" y="1362"/>
                    <a:pt x="2693" y="1357"/>
                    <a:pt x="2702" y="1360"/>
                  </a:cubicBezTo>
                  <a:close/>
                  <a:moveTo>
                    <a:pt x="2696" y="1427"/>
                  </a:moveTo>
                  <a:cubicBezTo>
                    <a:pt x="2696" y="1422"/>
                    <a:pt x="2705" y="1430"/>
                    <a:pt x="2696" y="1427"/>
                  </a:cubicBezTo>
                  <a:close/>
                  <a:moveTo>
                    <a:pt x="2708" y="2058"/>
                  </a:moveTo>
                  <a:cubicBezTo>
                    <a:pt x="2699" y="2064"/>
                    <a:pt x="2691" y="2053"/>
                    <a:pt x="2708" y="2058"/>
                  </a:cubicBezTo>
                  <a:close/>
                  <a:moveTo>
                    <a:pt x="2705" y="2129"/>
                  </a:moveTo>
                  <a:cubicBezTo>
                    <a:pt x="2710" y="2129"/>
                    <a:pt x="2716" y="2134"/>
                    <a:pt x="2719" y="2143"/>
                  </a:cubicBezTo>
                  <a:cubicBezTo>
                    <a:pt x="2714" y="2146"/>
                    <a:pt x="2708" y="2142"/>
                    <a:pt x="2705" y="2138"/>
                  </a:cubicBezTo>
                  <a:lnTo>
                    <a:pt x="2705" y="2140"/>
                  </a:lnTo>
                  <a:cubicBezTo>
                    <a:pt x="2705" y="2143"/>
                    <a:pt x="2708" y="2143"/>
                    <a:pt x="2705" y="2146"/>
                  </a:cubicBezTo>
                  <a:cubicBezTo>
                    <a:pt x="2702" y="2146"/>
                    <a:pt x="2702" y="2146"/>
                    <a:pt x="2702" y="2148"/>
                  </a:cubicBezTo>
                  <a:cubicBezTo>
                    <a:pt x="2699" y="2148"/>
                    <a:pt x="2699" y="2148"/>
                    <a:pt x="2696" y="2146"/>
                  </a:cubicBezTo>
                  <a:cubicBezTo>
                    <a:pt x="2696" y="2143"/>
                    <a:pt x="2693" y="2140"/>
                    <a:pt x="2693" y="2140"/>
                  </a:cubicBezTo>
                  <a:cubicBezTo>
                    <a:pt x="2693" y="2137"/>
                    <a:pt x="2693" y="2137"/>
                    <a:pt x="2696" y="2137"/>
                  </a:cubicBezTo>
                  <a:lnTo>
                    <a:pt x="2699" y="2137"/>
                  </a:lnTo>
                  <a:cubicBezTo>
                    <a:pt x="2702" y="2137"/>
                    <a:pt x="2702" y="2135"/>
                    <a:pt x="2704" y="2137"/>
                  </a:cubicBezTo>
                  <a:cubicBezTo>
                    <a:pt x="2703" y="2134"/>
                    <a:pt x="2703" y="2131"/>
                    <a:pt x="2705" y="2129"/>
                  </a:cubicBezTo>
                  <a:close/>
                  <a:moveTo>
                    <a:pt x="2722" y="2109"/>
                  </a:moveTo>
                  <a:cubicBezTo>
                    <a:pt x="2727" y="2117"/>
                    <a:pt x="2708" y="2117"/>
                    <a:pt x="2722" y="2109"/>
                  </a:cubicBezTo>
                  <a:close/>
                  <a:moveTo>
                    <a:pt x="2716" y="1883"/>
                  </a:moveTo>
                  <a:cubicBezTo>
                    <a:pt x="2719" y="1883"/>
                    <a:pt x="2725" y="1889"/>
                    <a:pt x="2722" y="1889"/>
                  </a:cubicBezTo>
                  <a:cubicBezTo>
                    <a:pt x="2716" y="1883"/>
                    <a:pt x="2713" y="1883"/>
                    <a:pt x="2716" y="1883"/>
                  </a:cubicBezTo>
                  <a:close/>
                  <a:moveTo>
                    <a:pt x="2725" y="2098"/>
                  </a:moveTo>
                  <a:cubicBezTo>
                    <a:pt x="2730" y="2098"/>
                    <a:pt x="2727" y="2103"/>
                    <a:pt x="2736" y="2103"/>
                  </a:cubicBezTo>
                  <a:cubicBezTo>
                    <a:pt x="2733" y="2103"/>
                    <a:pt x="2725" y="2106"/>
                    <a:pt x="2722" y="2103"/>
                  </a:cubicBezTo>
                  <a:cubicBezTo>
                    <a:pt x="2722" y="2100"/>
                    <a:pt x="2722" y="2098"/>
                    <a:pt x="2725" y="2098"/>
                  </a:cubicBezTo>
                  <a:close/>
                  <a:moveTo>
                    <a:pt x="2725" y="2072"/>
                  </a:moveTo>
                  <a:cubicBezTo>
                    <a:pt x="2725" y="2067"/>
                    <a:pt x="2736" y="2069"/>
                    <a:pt x="2739" y="2072"/>
                  </a:cubicBezTo>
                  <a:cubicBezTo>
                    <a:pt x="2739" y="2075"/>
                    <a:pt x="2727" y="2075"/>
                    <a:pt x="2725" y="2072"/>
                  </a:cubicBezTo>
                  <a:close/>
                  <a:moveTo>
                    <a:pt x="2725" y="2044"/>
                  </a:moveTo>
                  <a:cubicBezTo>
                    <a:pt x="2727" y="2044"/>
                    <a:pt x="2730" y="2050"/>
                    <a:pt x="2727" y="2047"/>
                  </a:cubicBezTo>
                  <a:lnTo>
                    <a:pt x="2725" y="2044"/>
                  </a:lnTo>
                  <a:close/>
                  <a:moveTo>
                    <a:pt x="2730" y="2041"/>
                  </a:moveTo>
                  <a:cubicBezTo>
                    <a:pt x="2736" y="2041"/>
                    <a:pt x="2733" y="2047"/>
                    <a:pt x="2736" y="2047"/>
                  </a:cubicBezTo>
                  <a:cubicBezTo>
                    <a:pt x="2736" y="2050"/>
                    <a:pt x="2727" y="2044"/>
                    <a:pt x="2730" y="2041"/>
                  </a:cubicBezTo>
                  <a:close/>
                  <a:moveTo>
                    <a:pt x="2727" y="1976"/>
                  </a:moveTo>
                  <a:cubicBezTo>
                    <a:pt x="2727" y="1971"/>
                    <a:pt x="2733" y="1976"/>
                    <a:pt x="2739" y="1976"/>
                  </a:cubicBezTo>
                  <a:cubicBezTo>
                    <a:pt x="2736" y="1979"/>
                    <a:pt x="2727" y="1976"/>
                    <a:pt x="2727" y="1976"/>
                  </a:cubicBezTo>
                  <a:close/>
                  <a:moveTo>
                    <a:pt x="2753" y="2058"/>
                  </a:moveTo>
                  <a:cubicBezTo>
                    <a:pt x="2759" y="2064"/>
                    <a:pt x="2772" y="2069"/>
                    <a:pt x="2772" y="2075"/>
                  </a:cubicBezTo>
                  <a:cubicBezTo>
                    <a:pt x="2764" y="2075"/>
                    <a:pt x="2750" y="2067"/>
                    <a:pt x="2753" y="2058"/>
                  </a:cubicBezTo>
                  <a:cubicBezTo>
                    <a:pt x="2752" y="2059"/>
                    <a:pt x="2750" y="2059"/>
                    <a:pt x="2747" y="2058"/>
                  </a:cubicBezTo>
                  <a:cubicBezTo>
                    <a:pt x="2747" y="2056"/>
                    <a:pt x="2748" y="2054"/>
                    <a:pt x="2751" y="2053"/>
                  </a:cubicBezTo>
                  <a:cubicBezTo>
                    <a:pt x="2750" y="2052"/>
                    <a:pt x="2748" y="2051"/>
                    <a:pt x="2747" y="2050"/>
                  </a:cubicBezTo>
                  <a:cubicBezTo>
                    <a:pt x="2747" y="2047"/>
                    <a:pt x="2750" y="2044"/>
                    <a:pt x="2750" y="2044"/>
                  </a:cubicBezTo>
                  <a:cubicBezTo>
                    <a:pt x="2753" y="2044"/>
                    <a:pt x="2753" y="2047"/>
                    <a:pt x="2756" y="2047"/>
                  </a:cubicBezTo>
                  <a:cubicBezTo>
                    <a:pt x="2756" y="2047"/>
                    <a:pt x="2758" y="2050"/>
                    <a:pt x="2756" y="2053"/>
                  </a:cubicBezTo>
                  <a:cubicBezTo>
                    <a:pt x="2754" y="2054"/>
                    <a:pt x="2754" y="2057"/>
                    <a:pt x="2753" y="2058"/>
                  </a:cubicBezTo>
                  <a:close/>
                  <a:moveTo>
                    <a:pt x="2747" y="1985"/>
                  </a:moveTo>
                  <a:lnTo>
                    <a:pt x="2747" y="1979"/>
                  </a:lnTo>
                  <a:lnTo>
                    <a:pt x="2753" y="1979"/>
                  </a:lnTo>
                  <a:lnTo>
                    <a:pt x="2753" y="1985"/>
                  </a:lnTo>
                  <a:lnTo>
                    <a:pt x="2747" y="1985"/>
                  </a:lnTo>
                  <a:close/>
                  <a:moveTo>
                    <a:pt x="2750" y="2041"/>
                  </a:moveTo>
                  <a:cubicBezTo>
                    <a:pt x="2750" y="2038"/>
                    <a:pt x="2753" y="2036"/>
                    <a:pt x="2756" y="2033"/>
                  </a:cubicBezTo>
                  <a:cubicBezTo>
                    <a:pt x="2761" y="2033"/>
                    <a:pt x="2761" y="2038"/>
                    <a:pt x="2764" y="2041"/>
                  </a:cubicBezTo>
                  <a:cubicBezTo>
                    <a:pt x="2758" y="2044"/>
                    <a:pt x="2753" y="2044"/>
                    <a:pt x="2750" y="2041"/>
                  </a:cubicBezTo>
                  <a:close/>
                  <a:moveTo>
                    <a:pt x="2727" y="1889"/>
                  </a:moveTo>
                  <a:cubicBezTo>
                    <a:pt x="2736" y="1872"/>
                    <a:pt x="2772" y="1897"/>
                    <a:pt x="2781" y="1914"/>
                  </a:cubicBezTo>
                  <a:cubicBezTo>
                    <a:pt x="2764" y="1909"/>
                    <a:pt x="2741" y="1892"/>
                    <a:pt x="2727" y="1889"/>
                  </a:cubicBezTo>
                  <a:close/>
                  <a:moveTo>
                    <a:pt x="2775" y="1463"/>
                  </a:moveTo>
                  <a:cubicBezTo>
                    <a:pt x="2767" y="1463"/>
                    <a:pt x="2775" y="1433"/>
                    <a:pt x="2787" y="1444"/>
                  </a:cubicBezTo>
                  <a:cubicBezTo>
                    <a:pt x="2785" y="1452"/>
                    <a:pt x="2781" y="1456"/>
                    <a:pt x="2778" y="1459"/>
                  </a:cubicBezTo>
                  <a:cubicBezTo>
                    <a:pt x="2781" y="1461"/>
                    <a:pt x="2788" y="1478"/>
                    <a:pt x="2778" y="1466"/>
                  </a:cubicBezTo>
                  <a:cubicBezTo>
                    <a:pt x="2777" y="1463"/>
                    <a:pt x="2777" y="1461"/>
                    <a:pt x="2777" y="1460"/>
                  </a:cubicBezTo>
                  <a:cubicBezTo>
                    <a:pt x="2776" y="1461"/>
                    <a:pt x="2776" y="1462"/>
                    <a:pt x="2775" y="1463"/>
                  </a:cubicBezTo>
                  <a:close/>
                  <a:moveTo>
                    <a:pt x="2764" y="1610"/>
                  </a:moveTo>
                  <a:cubicBezTo>
                    <a:pt x="2770" y="1601"/>
                    <a:pt x="2781" y="1610"/>
                    <a:pt x="2764" y="1610"/>
                  </a:cubicBezTo>
                  <a:close/>
                  <a:moveTo>
                    <a:pt x="2784" y="1553"/>
                  </a:moveTo>
                  <a:cubicBezTo>
                    <a:pt x="2792" y="1550"/>
                    <a:pt x="2781" y="1562"/>
                    <a:pt x="2784" y="1553"/>
                  </a:cubicBezTo>
                  <a:close/>
                  <a:moveTo>
                    <a:pt x="2758" y="1345"/>
                  </a:moveTo>
                  <a:cubicBezTo>
                    <a:pt x="2781" y="1331"/>
                    <a:pt x="2770" y="1368"/>
                    <a:pt x="2758" y="1345"/>
                  </a:cubicBezTo>
                  <a:close/>
                  <a:moveTo>
                    <a:pt x="2787" y="1267"/>
                  </a:moveTo>
                  <a:cubicBezTo>
                    <a:pt x="2787" y="1267"/>
                    <a:pt x="2781" y="1267"/>
                    <a:pt x="2778" y="1264"/>
                  </a:cubicBezTo>
                  <a:cubicBezTo>
                    <a:pt x="2778" y="1261"/>
                    <a:pt x="2781" y="1255"/>
                    <a:pt x="2781" y="1252"/>
                  </a:cubicBezTo>
                  <a:cubicBezTo>
                    <a:pt x="2784" y="1255"/>
                    <a:pt x="2787" y="1255"/>
                    <a:pt x="2787" y="1252"/>
                  </a:cubicBezTo>
                  <a:cubicBezTo>
                    <a:pt x="2789" y="1252"/>
                    <a:pt x="2792" y="1258"/>
                    <a:pt x="2792" y="1261"/>
                  </a:cubicBezTo>
                  <a:lnTo>
                    <a:pt x="2792" y="1264"/>
                  </a:lnTo>
                  <a:cubicBezTo>
                    <a:pt x="2795" y="1269"/>
                    <a:pt x="2795" y="1278"/>
                    <a:pt x="2787" y="1267"/>
                  </a:cubicBezTo>
                  <a:close/>
                  <a:moveTo>
                    <a:pt x="2775" y="1371"/>
                  </a:moveTo>
                  <a:cubicBezTo>
                    <a:pt x="2775" y="1365"/>
                    <a:pt x="2784" y="1374"/>
                    <a:pt x="2775" y="1371"/>
                  </a:cubicBezTo>
                  <a:close/>
                  <a:moveTo>
                    <a:pt x="2806" y="1306"/>
                  </a:moveTo>
                  <a:cubicBezTo>
                    <a:pt x="2815" y="1306"/>
                    <a:pt x="2806" y="1337"/>
                    <a:pt x="2795" y="1326"/>
                  </a:cubicBezTo>
                  <a:cubicBezTo>
                    <a:pt x="2798" y="1317"/>
                    <a:pt x="2804" y="1312"/>
                    <a:pt x="2806" y="1306"/>
                  </a:cubicBezTo>
                  <a:close/>
                  <a:moveTo>
                    <a:pt x="2801" y="1207"/>
                  </a:moveTo>
                  <a:lnTo>
                    <a:pt x="2801" y="1199"/>
                  </a:lnTo>
                  <a:cubicBezTo>
                    <a:pt x="2806" y="1199"/>
                    <a:pt x="2806" y="1210"/>
                    <a:pt x="2801" y="1207"/>
                  </a:cubicBezTo>
                  <a:close/>
                  <a:moveTo>
                    <a:pt x="2815" y="1354"/>
                  </a:moveTo>
                  <a:lnTo>
                    <a:pt x="2809" y="1354"/>
                  </a:lnTo>
                  <a:lnTo>
                    <a:pt x="2809" y="1348"/>
                  </a:lnTo>
                  <a:lnTo>
                    <a:pt x="2815" y="1348"/>
                  </a:lnTo>
                  <a:lnTo>
                    <a:pt x="2815" y="1354"/>
                  </a:lnTo>
                  <a:close/>
                  <a:moveTo>
                    <a:pt x="2818" y="1416"/>
                  </a:moveTo>
                  <a:cubicBezTo>
                    <a:pt x="2815" y="1419"/>
                    <a:pt x="2812" y="1422"/>
                    <a:pt x="2806" y="1422"/>
                  </a:cubicBezTo>
                  <a:cubicBezTo>
                    <a:pt x="2806" y="1413"/>
                    <a:pt x="2815" y="1413"/>
                    <a:pt x="2818" y="1416"/>
                  </a:cubicBezTo>
                  <a:close/>
                  <a:moveTo>
                    <a:pt x="2806" y="1340"/>
                  </a:moveTo>
                  <a:lnTo>
                    <a:pt x="2798" y="1340"/>
                  </a:lnTo>
                  <a:cubicBezTo>
                    <a:pt x="2798" y="1337"/>
                    <a:pt x="2801" y="1337"/>
                    <a:pt x="2804" y="1334"/>
                  </a:cubicBezTo>
                  <a:lnTo>
                    <a:pt x="2806" y="1334"/>
                  </a:lnTo>
                  <a:lnTo>
                    <a:pt x="2806" y="1337"/>
                  </a:lnTo>
                  <a:lnTo>
                    <a:pt x="2806" y="1337"/>
                  </a:lnTo>
                  <a:cubicBezTo>
                    <a:pt x="2806" y="1338"/>
                    <a:pt x="2806" y="1339"/>
                    <a:pt x="2806" y="1340"/>
                  </a:cubicBezTo>
                  <a:close/>
                  <a:moveTo>
                    <a:pt x="2809" y="1337"/>
                  </a:moveTo>
                  <a:cubicBezTo>
                    <a:pt x="2807" y="1335"/>
                    <a:pt x="2807" y="1336"/>
                    <a:pt x="2806" y="1337"/>
                  </a:cubicBezTo>
                  <a:lnTo>
                    <a:pt x="2809" y="1337"/>
                  </a:lnTo>
                  <a:close/>
                  <a:moveTo>
                    <a:pt x="2798" y="1176"/>
                  </a:moveTo>
                  <a:cubicBezTo>
                    <a:pt x="2801" y="1176"/>
                    <a:pt x="2795" y="1179"/>
                    <a:pt x="2798" y="1176"/>
                  </a:cubicBezTo>
                  <a:close/>
                  <a:moveTo>
                    <a:pt x="2798" y="1360"/>
                  </a:moveTo>
                  <a:cubicBezTo>
                    <a:pt x="2801" y="1362"/>
                    <a:pt x="2804" y="1360"/>
                    <a:pt x="2804" y="1357"/>
                  </a:cubicBezTo>
                  <a:cubicBezTo>
                    <a:pt x="2812" y="1357"/>
                    <a:pt x="2804" y="1382"/>
                    <a:pt x="2795" y="1371"/>
                  </a:cubicBezTo>
                  <a:cubicBezTo>
                    <a:pt x="2795" y="1368"/>
                    <a:pt x="2795" y="1362"/>
                    <a:pt x="2798" y="1360"/>
                  </a:cubicBezTo>
                  <a:close/>
                  <a:moveTo>
                    <a:pt x="2818" y="1436"/>
                  </a:moveTo>
                  <a:cubicBezTo>
                    <a:pt x="2823" y="1441"/>
                    <a:pt x="2826" y="1450"/>
                    <a:pt x="2823" y="1456"/>
                  </a:cubicBezTo>
                  <a:cubicBezTo>
                    <a:pt x="2818" y="1453"/>
                    <a:pt x="2818" y="1447"/>
                    <a:pt x="2812" y="1444"/>
                  </a:cubicBezTo>
                  <a:lnTo>
                    <a:pt x="2812" y="1441"/>
                  </a:lnTo>
                  <a:lnTo>
                    <a:pt x="2798" y="1441"/>
                  </a:lnTo>
                  <a:cubicBezTo>
                    <a:pt x="2801" y="1439"/>
                    <a:pt x="2809" y="1436"/>
                    <a:pt x="2818" y="1436"/>
                  </a:cubicBezTo>
                  <a:close/>
                  <a:moveTo>
                    <a:pt x="2843" y="1219"/>
                  </a:moveTo>
                  <a:cubicBezTo>
                    <a:pt x="2857" y="1230"/>
                    <a:pt x="2820" y="1227"/>
                    <a:pt x="2843" y="1219"/>
                  </a:cubicBezTo>
                  <a:close/>
                  <a:moveTo>
                    <a:pt x="2843" y="1207"/>
                  </a:moveTo>
                  <a:cubicBezTo>
                    <a:pt x="2846" y="1207"/>
                    <a:pt x="2846" y="1210"/>
                    <a:pt x="2846" y="1210"/>
                  </a:cubicBezTo>
                  <a:cubicBezTo>
                    <a:pt x="2843" y="1210"/>
                    <a:pt x="2843" y="1207"/>
                    <a:pt x="2843" y="1207"/>
                  </a:cubicBezTo>
                  <a:close/>
                  <a:moveTo>
                    <a:pt x="2829" y="1441"/>
                  </a:moveTo>
                  <a:cubicBezTo>
                    <a:pt x="2815" y="1433"/>
                    <a:pt x="2843" y="1419"/>
                    <a:pt x="2829" y="1441"/>
                  </a:cubicBezTo>
                  <a:close/>
                  <a:moveTo>
                    <a:pt x="2826" y="1601"/>
                  </a:moveTo>
                  <a:cubicBezTo>
                    <a:pt x="2812" y="1596"/>
                    <a:pt x="2840" y="1581"/>
                    <a:pt x="2826" y="1601"/>
                  </a:cubicBezTo>
                  <a:close/>
                  <a:moveTo>
                    <a:pt x="2826" y="1500"/>
                  </a:moveTo>
                  <a:cubicBezTo>
                    <a:pt x="2832" y="1494"/>
                    <a:pt x="2832" y="1508"/>
                    <a:pt x="2826" y="1500"/>
                  </a:cubicBezTo>
                  <a:close/>
                  <a:moveTo>
                    <a:pt x="2829" y="1694"/>
                  </a:moveTo>
                  <a:cubicBezTo>
                    <a:pt x="2832" y="1694"/>
                    <a:pt x="2826" y="1697"/>
                    <a:pt x="2823" y="1697"/>
                  </a:cubicBezTo>
                  <a:cubicBezTo>
                    <a:pt x="2820" y="1697"/>
                    <a:pt x="2829" y="1694"/>
                    <a:pt x="2829" y="1694"/>
                  </a:cubicBezTo>
                  <a:close/>
                  <a:moveTo>
                    <a:pt x="2826" y="1739"/>
                  </a:moveTo>
                  <a:cubicBezTo>
                    <a:pt x="2826" y="1734"/>
                    <a:pt x="2837" y="1742"/>
                    <a:pt x="2826" y="1739"/>
                  </a:cubicBezTo>
                  <a:close/>
                  <a:moveTo>
                    <a:pt x="2832" y="1618"/>
                  </a:moveTo>
                  <a:cubicBezTo>
                    <a:pt x="2818" y="1607"/>
                    <a:pt x="2857" y="1612"/>
                    <a:pt x="2832" y="1618"/>
                  </a:cubicBezTo>
                  <a:close/>
                  <a:moveTo>
                    <a:pt x="2840" y="1643"/>
                  </a:moveTo>
                  <a:cubicBezTo>
                    <a:pt x="2837" y="1643"/>
                    <a:pt x="2835" y="1644"/>
                    <a:pt x="2835" y="1641"/>
                  </a:cubicBezTo>
                  <a:cubicBezTo>
                    <a:pt x="2835" y="1639"/>
                    <a:pt x="2837" y="1638"/>
                    <a:pt x="2837" y="1635"/>
                  </a:cubicBezTo>
                  <a:cubicBezTo>
                    <a:pt x="2840" y="1635"/>
                    <a:pt x="2840" y="1635"/>
                    <a:pt x="2843" y="1638"/>
                  </a:cubicBezTo>
                  <a:cubicBezTo>
                    <a:pt x="2843" y="1641"/>
                    <a:pt x="2840" y="1643"/>
                    <a:pt x="2840" y="1643"/>
                  </a:cubicBezTo>
                  <a:close/>
                  <a:moveTo>
                    <a:pt x="2840" y="1720"/>
                  </a:moveTo>
                  <a:cubicBezTo>
                    <a:pt x="2837" y="1722"/>
                    <a:pt x="2832" y="1714"/>
                    <a:pt x="2832" y="1711"/>
                  </a:cubicBezTo>
                  <a:cubicBezTo>
                    <a:pt x="2837" y="1714"/>
                    <a:pt x="2837" y="1717"/>
                    <a:pt x="2840" y="1720"/>
                  </a:cubicBezTo>
                  <a:close/>
                  <a:moveTo>
                    <a:pt x="2843" y="1711"/>
                  </a:moveTo>
                  <a:cubicBezTo>
                    <a:pt x="2846" y="1711"/>
                    <a:pt x="2840" y="1714"/>
                    <a:pt x="2837" y="1714"/>
                  </a:cubicBezTo>
                  <a:cubicBezTo>
                    <a:pt x="2835" y="1714"/>
                    <a:pt x="2840" y="1711"/>
                    <a:pt x="2843" y="1711"/>
                  </a:cubicBezTo>
                  <a:close/>
                  <a:moveTo>
                    <a:pt x="2843" y="1601"/>
                  </a:moveTo>
                  <a:cubicBezTo>
                    <a:pt x="2840" y="1601"/>
                    <a:pt x="2835" y="1598"/>
                    <a:pt x="2832" y="1598"/>
                  </a:cubicBezTo>
                  <a:cubicBezTo>
                    <a:pt x="2832" y="1596"/>
                    <a:pt x="2835" y="1590"/>
                    <a:pt x="2835" y="1587"/>
                  </a:cubicBezTo>
                  <a:cubicBezTo>
                    <a:pt x="2837" y="1587"/>
                    <a:pt x="2843" y="1587"/>
                    <a:pt x="2846" y="1590"/>
                  </a:cubicBezTo>
                  <a:cubicBezTo>
                    <a:pt x="2846" y="1593"/>
                    <a:pt x="2843" y="1598"/>
                    <a:pt x="2843" y="1601"/>
                  </a:cubicBezTo>
                  <a:close/>
                  <a:moveTo>
                    <a:pt x="2840" y="1519"/>
                  </a:moveTo>
                  <a:cubicBezTo>
                    <a:pt x="2854" y="1536"/>
                    <a:pt x="2820" y="1522"/>
                    <a:pt x="2840" y="1519"/>
                  </a:cubicBezTo>
                  <a:close/>
                  <a:moveTo>
                    <a:pt x="2837" y="1491"/>
                  </a:moveTo>
                  <a:cubicBezTo>
                    <a:pt x="2843" y="1488"/>
                    <a:pt x="2832" y="1500"/>
                    <a:pt x="2837" y="1491"/>
                  </a:cubicBezTo>
                  <a:close/>
                  <a:moveTo>
                    <a:pt x="2846" y="1306"/>
                  </a:moveTo>
                  <a:cubicBezTo>
                    <a:pt x="2857" y="1317"/>
                    <a:pt x="2820" y="1314"/>
                    <a:pt x="2846" y="1306"/>
                  </a:cubicBezTo>
                  <a:close/>
                  <a:moveTo>
                    <a:pt x="2835" y="1213"/>
                  </a:moveTo>
                  <a:lnTo>
                    <a:pt x="2835" y="1214"/>
                  </a:lnTo>
                  <a:cubicBezTo>
                    <a:pt x="2834" y="1214"/>
                    <a:pt x="2833" y="1214"/>
                    <a:pt x="2835" y="1213"/>
                  </a:cubicBezTo>
                  <a:cubicBezTo>
                    <a:pt x="2836" y="1213"/>
                    <a:pt x="2835" y="1214"/>
                    <a:pt x="2835" y="1214"/>
                  </a:cubicBezTo>
                  <a:lnTo>
                    <a:pt x="2835" y="1213"/>
                  </a:lnTo>
                  <a:close/>
                  <a:moveTo>
                    <a:pt x="2835" y="1334"/>
                  </a:moveTo>
                  <a:cubicBezTo>
                    <a:pt x="2837" y="1334"/>
                    <a:pt x="2832" y="1340"/>
                    <a:pt x="2835" y="1334"/>
                  </a:cubicBezTo>
                  <a:close/>
                  <a:moveTo>
                    <a:pt x="2837" y="1430"/>
                  </a:moveTo>
                  <a:cubicBezTo>
                    <a:pt x="2846" y="1430"/>
                    <a:pt x="2837" y="1466"/>
                    <a:pt x="2826" y="1455"/>
                  </a:cubicBezTo>
                  <a:cubicBezTo>
                    <a:pt x="2835" y="1447"/>
                    <a:pt x="2837" y="1439"/>
                    <a:pt x="2837" y="1430"/>
                  </a:cubicBezTo>
                  <a:close/>
                  <a:moveTo>
                    <a:pt x="2832" y="1337"/>
                  </a:moveTo>
                  <a:cubicBezTo>
                    <a:pt x="2829" y="1337"/>
                    <a:pt x="2823" y="1334"/>
                    <a:pt x="2820" y="1334"/>
                  </a:cubicBezTo>
                  <a:cubicBezTo>
                    <a:pt x="2820" y="1331"/>
                    <a:pt x="2823" y="1326"/>
                    <a:pt x="2823" y="1323"/>
                  </a:cubicBezTo>
                  <a:cubicBezTo>
                    <a:pt x="2826" y="1323"/>
                    <a:pt x="2832" y="1323"/>
                    <a:pt x="2835" y="1326"/>
                  </a:cubicBezTo>
                  <a:cubicBezTo>
                    <a:pt x="2835" y="1329"/>
                    <a:pt x="2832" y="1334"/>
                    <a:pt x="2832" y="1337"/>
                  </a:cubicBezTo>
                  <a:close/>
                  <a:moveTo>
                    <a:pt x="2815" y="1584"/>
                  </a:moveTo>
                  <a:cubicBezTo>
                    <a:pt x="2820" y="1590"/>
                    <a:pt x="2823" y="1601"/>
                    <a:pt x="2820" y="1610"/>
                  </a:cubicBezTo>
                  <a:cubicBezTo>
                    <a:pt x="2804" y="1610"/>
                    <a:pt x="2812" y="1593"/>
                    <a:pt x="2815" y="1584"/>
                  </a:cubicBezTo>
                  <a:close/>
                  <a:moveTo>
                    <a:pt x="2812" y="1641"/>
                  </a:moveTo>
                  <a:cubicBezTo>
                    <a:pt x="2818" y="1632"/>
                    <a:pt x="2820" y="1646"/>
                    <a:pt x="2812" y="1641"/>
                  </a:cubicBezTo>
                  <a:close/>
                  <a:moveTo>
                    <a:pt x="2812" y="1649"/>
                  </a:moveTo>
                  <a:cubicBezTo>
                    <a:pt x="2801" y="1649"/>
                    <a:pt x="2812" y="1635"/>
                    <a:pt x="2812" y="1649"/>
                  </a:cubicBezTo>
                  <a:close/>
                  <a:moveTo>
                    <a:pt x="2806" y="1669"/>
                  </a:moveTo>
                  <a:cubicBezTo>
                    <a:pt x="2812" y="1666"/>
                    <a:pt x="2804" y="1672"/>
                    <a:pt x="2806" y="1669"/>
                  </a:cubicBezTo>
                  <a:close/>
                  <a:moveTo>
                    <a:pt x="2801" y="1491"/>
                  </a:moveTo>
                  <a:cubicBezTo>
                    <a:pt x="2804" y="1486"/>
                    <a:pt x="2812" y="1488"/>
                    <a:pt x="2815" y="1483"/>
                  </a:cubicBezTo>
                  <a:cubicBezTo>
                    <a:pt x="2826" y="1491"/>
                    <a:pt x="2801" y="1502"/>
                    <a:pt x="2801" y="1491"/>
                  </a:cubicBezTo>
                  <a:close/>
                  <a:moveTo>
                    <a:pt x="2820" y="1511"/>
                  </a:moveTo>
                  <a:lnTo>
                    <a:pt x="2820" y="1517"/>
                  </a:lnTo>
                  <a:lnTo>
                    <a:pt x="2815" y="1517"/>
                  </a:lnTo>
                  <a:lnTo>
                    <a:pt x="2815" y="1511"/>
                  </a:lnTo>
                  <a:lnTo>
                    <a:pt x="2820" y="1511"/>
                  </a:lnTo>
                  <a:close/>
                  <a:moveTo>
                    <a:pt x="2801" y="1621"/>
                  </a:moveTo>
                  <a:cubicBezTo>
                    <a:pt x="2801" y="1615"/>
                    <a:pt x="2812" y="1624"/>
                    <a:pt x="2801" y="1621"/>
                  </a:cubicBezTo>
                  <a:close/>
                  <a:moveTo>
                    <a:pt x="2801" y="1579"/>
                  </a:moveTo>
                  <a:cubicBezTo>
                    <a:pt x="2804" y="1576"/>
                    <a:pt x="2798" y="1579"/>
                    <a:pt x="2801" y="1579"/>
                  </a:cubicBezTo>
                  <a:close/>
                  <a:moveTo>
                    <a:pt x="2806" y="1751"/>
                  </a:moveTo>
                  <a:cubicBezTo>
                    <a:pt x="2809" y="1751"/>
                    <a:pt x="2804" y="1754"/>
                    <a:pt x="2801" y="1754"/>
                  </a:cubicBezTo>
                  <a:cubicBezTo>
                    <a:pt x="2798" y="1754"/>
                    <a:pt x="2804" y="1751"/>
                    <a:pt x="2806" y="1751"/>
                  </a:cubicBezTo>
                  <a:close/>
                  <a:moveTo>
                    <a:pt x="2815" y="1731"/>
                  </a:moveTo>
                  <a:cubicBezTo>
                    <a:pt x="2798" y="1725"/>
                    <a:pt x="2826" y="1711"/>
                    <a:pt x="2815" y="1731"/>
                  </a:cubicBezTo>
                  <a:close/>
                  <a:moveTo>
                    <a:pt x="2806" y="1683"/>
                  </a:moveTo>
                  <a:cubicBezTo>
                    <a:pt x="2812" y="1675"/>
                    <a:pt x="2818" y="1686"/>
                    <a:pt x="2823" y="1689"/>
                  </a:cubicBezTo>
                  <a:cubicBezTo>
                    <a:pt x="2818" y="1697"/>
                    <a:pt x="2812" y="1686"/>
                    <a:pt x="2806" y="1683"/>
                  </a:cubicBezTo>
                  <a:close/>
                  <a:moveTo>
                    <a:pt x="2829" y="1748"/>
                  </a:moveTo>
                  <a:cubicBezTo>
                    <a:pt x="2829" y="1754"/>
                    <a:pt x="2823" y="1754"/>
                    <a:pt x="2820" y="1751"/>
                  </a:cubicBezTo>
                  <a:cubicBezTo>
                    <a:pt x="2823" y="1748"/>
                    <a:pt x="2826" y="1748"/>
                    <a:pt x="2829" y="1748"/>
                  </a:cubicBezTo>
                  <a:close/>
                  <a:moveTo>
                    <a:pt x="2843" y="1861"/>
                  </a:moveTo>
                  <a:cubicBezTo>
                    <a:pt x="2841" y="1861"/>
                    <a:pt x="2843" y="1858"/>
                    <a:pt x="2844" y="1858"/>
                  </a:cubicBezTo>
                  <a:cubicBezTo>
                    <a:pt x="2844" y="1857"/>
                    <a:pt x="2844" y="1855"/>
                    <a:pt x="2846" y="1855"/>
                  </a:cubicBezTo>
                  <a:cubicBezTo>
                    <a:pt x="2846" y="1849"/>
                    <a:pt x="2863" y="1858"/>
                    <a:pt x="2857" y="1864"/>
                  </a:cubicBezTo>
                  <a:cubicBezTo>
                    <a:pt x="2854" y="1864"/>
                    <a:pt x="2851" y="1861"/>
                    <a:pt x="2849" y="1861"/>
                  </a:cubicBezTo>
                  <a:lnTo>
                    <a:pt x="2846" y="1861"/>
                  </a:lnTo>
                  <a:cubicBezTo>
                    <a:pt x="2845" y="1861"/>
                    <a:pt x="2844" y="1860"/>
                    <a:pt x="2844" y="1859"/>
                  </a:cubicBezTo>
                  <a:cubicBezTo>
                    <a:pt x="2844" y="1859"/>
                    <a:pt x="2844" y="1860"/>
                    <a:pt x="2843" y="1861"/>
                  </a:cubicBezTo>
                  <a:close/>
                  <a:moveTo>
                    <a:pt x="2835" y="1748"/>
                  </a:moveTo>
                  <a:cubicBezTo>
                    <a:pt x="2835" y="1745"/>
                    <a:pt x="2835" y="1742"/>
                    <a:pt x="2837" y="1742"/>
                  </a:cubicBezTo>
                  <a:cubicBezTo>
                    <a:pt x="2846" y="1742"/>
                    <a:pt x="2849" y="1745"/>
                    <a:pt x="2849" y="1751"/>
                  </a:cubicBezTo>
                  <a:cubicBezTo>
                    <a:pt x="2846" y="1751"/>
                    <a:pt x="2840" y="1748"/>
                    <a:pt x="2835" y="1748"/>
                  </a:cubicBezTo>
                  <a:close/>
                  <a:moveTo>
                    <a:pt x="2846" y="1700"/>
                  </a:moveTo>
                  <a:cubicBezTo>
                    <a:pt x="2846" y="1697"/>
                    <a:pt x="2849" y="1694"/>
                    <a:pt x="2851" y="1691"/>
                  </a:cubicBezTo>
                  <a:cubicBezTo>
                    <a:pt x="2854" y="1691"/>
                    <a:pt x="2857" y="1697"/>
                    <a:pt x="2854" y="1700"/>
                  </a:cubicBezTo>
                  <a:cubicBezTo>
                    <a:pt x="2849" y="1703"/>
                    <a:pt x="2846" y="1703"/>
                    <a:pt x="2846" y="1700"/>
                  </a:cubicBezTo>
                  <a:close/>
                  <a:moveTo>
                    <a:pt x="2849" y="1536"/>
                  </a:moveTo>
                  <a:cubicBezTo>
                    <a:pt x="2835" y="1525"/>
                    <a:pt x="2866" y="1511"/>
                    <a:pt x="2849" y="1536"/>
                  </a:cubicBezTo>
                  <a:close/>
                  <a:moveTo>
                    <a:pt x="2849" y="1466"/>
                  </a:moveTo>
                  <a:cubicBezTo>
                    <a:pt x="2851" y="1466"/>
                    <a:pt x="2843" y="1469"/>
                    <a:pt x="2849" y="1466"/>
                  </a:cubicBezTo>
                  <a:close/>
                  <a:moveTo>
                    <a:pt x="2849" y="1457"/>
                  </a:moveTo>
                  <a:lnTo>
                    <a:pt x="2849" y="1453"/>
                  </a:lnTo>
                  <a:cubicBezTo>
                    <a:pt x="2851" y="1453"/>
                    <a:pt x="2854" y="1455"/>
                    <a:pt x="2854" y="1457"/>
                  </a:cubicBezTo>
                  <a:cubicBezTo>
                    <a:pt x="2854" y="1455"/>
                    <a:pt x="2851" y="1457"/>
                    <a:pt x="2849" y="1457"/>
                  </a:cubicBezTo>
                  <a:close/>
                  <a:moveTo>
                    <a:pt x="2849" y="1666"/>
                  </a:moveTo>
                  <a:cubicBezTo>
                    <a:pt x="2846" y="1660"/>
                    <a:pt x="2854" y="1660"/>
                    <a:pt x="2857" y="1660"/>
                  </a:cubicBezTo>
                  <a:cubicBezTo>
                    <a:pt x="2857" y="1666"/>
                    <a:pt x="2851" y="1666"/>
                    <a:pt x="2849" y="1666"/>
                  </a:cubicBezTo>
                  <a:close/>
                  <a:moveTo>
                    <a:pt x="2863" y="1235"/>
                  </a:moveTo>
                  <a:cubicBezTo>
                    <a:pt x="2857" y="1235"/>
                    <a:pt x="2854" y="1230"/>
                    <a:pt x="2849" y="1233"/>
                  </a:cubicBezTo>
                  <a:cubicBezTo>
                    <a:pt x="2849" y="1227"/>
                    <a:pt x="2851" y="1224"/>
                    <a:pt x="2851" y="1221"/>
                  </a:cubicBezTo>
                  <a:cubicBezTo>
                    <a:pt x="2857" y="1221"/>
                    <a:pt x="2863" y="1224"/>
                    <a:pt x="2863" y="1233"/>
                  </a:cubicBezTo>
                  <a:lnTo>
                    <a:pt x="2863" y="1235"/>
                  </a:lnTo>
                  <a:close/>
                  <a:moveTo>
                    <a:pt x="2871" y="1345"/>
                  </a:moveTo>
                  <a:cubicBezTo>
                    <a:pt x="2868" y="1348"/>
                    <a:pt x="2860" y="1345"/>
                    <a:pt x="2866" y="1337"/>
                  </a:cubicBezTo>
                  <a:cubicBezTo>
                    <a:pt x="2860" y="1343"/>
                    <a:pt x="2854" y="1345"/>
                    <a:pt x="2849" y="1348"/>
                  </a:cubicBezTo>
                  <a:cubicBezTo>
                    <a:pt x="2849" y="1340"/>
                    <a:pt x="2857" y="1337"/>
                    <a:pt x="2866" y="1337"/>
                  </a:cubicBezTo>
                  <a:cubicBezTo>
                    <a:pt x="2868" y="1337"/>
                    <a:pt x="2868" y="1340"/>
                    <a:pt x="2871" y="1340"/>
                  </a:cubicBezTo>
                  <a:lnTo>
                    <a:pt x="2871" y="1337"/>
                  </a:lnTo>
                  <a:lnTo>
                    <a:pt x="2874" y="1340"/>
                  </a:lnTo>
                  <a:cubicBezTo>
                    <a:pt x="2874" y="1340"/>
                    <a:pt x="2877" y="1343"/>
                    <a:pt x="2877" y="1345"/>
                  </a:cubicBezTo>
                  <a:lnTo>
                    <a:pt x="2871" y="1345"/>
                  </a:lnTo>
                  <a:close/>
                  <a:moveTo>
                    <a:pt x="2868" y="1348"/>
                  </a:moveTo>
                  <a:cubicBezTo>
                    <a:pt x="2868" y="1354"/>
                    <a:pt x="2854" y="1357"/>
                    <a:pt x="2857" y="1348"/>
                  </a:cubicBezTo>
                  <a:lnTo>
                    <a:pt x="2868" y="1348"/>
                  </a:lnTo>
                  <a:close/>
                  <a:moveTo>
                    <a:pt x="2866" y="1269"/>
                  </a:moveTo>
                  <a:cubicBezTo>
                    <a:pt x="2854" y="1258"/>
                    <a:pt x="2883" y="1244"/>
                    <a:pt x="2866" y="1269"/>
                  </a:cubicBezTo>
                  <a:close/>
                  <a:moveTo>
                    <a:pt x="2854" y="1317"/>
                  </a:moveTo>
                  <a:cubicBezTo>
                    <a:pt x="2857" y="1312"/>
                    <a:pt x="2866" y="1320"/>
                    <a:pt x="2854" y="1317"/>
                  </a:cubicBezTo>
                  <a:close/>
                  <a:moveTo>
                    <a:pt x="2849" y="1430"/>
                  </a:moveTo>
                  <a:cubicBezTo>
                    <a:pt x="2846" y="1433"/>
                    <a:pt x="2854" y="1427"/>
                    <a:pt x="2849" y="1430"/>
                  </a:cubicBezTo>
                  <a:close/>
                  <a:moveTo>
                    <a:pt x="2874" y="1255"/>
                  </a:moveTo>
                  <a:cubicBezTo>
                    <a:pt x="2874" y="1252"/>
                    <a:pt x="2868" y="1258"/>
                    <a:pt x="2874" y="1255"/>
                  </a:cubicBezTo>
                  <a:close/>
                  <a:moveTo>
                    <a:pt x="2885" y="1182"/>
                  </a:moveTo>
                  <a:cubicBezTo>
                    <a:pt x="2894" y="1202"/>
                    <a:pt x="2871" y="1165"/>
                    <a:pt x="2885" y="1182"/>
                  </a:cubicBezTo>
                  <a:close/>
                  <a:moveTo>
                    <a:pt x="2897" y="1190"/>
                  </a:moveTo>
                  <a:cubicBezTo>
                    <a:pt x="2885" y="1199"/>
                    <a:pt x="2871" y="1202"/>
                    <a:pt x="2860" y="1196"/>
                  </a:cubicBezTo>
                  <a:cubicBezTo>
                    <a:pt x="2863" y="1182"/>
                    <a:pt x="2883" y="1190"/>
                    <a:pt x="2897" y="1190"/>
                  </a:cubicBezTo>
                  <a:close/>
                  <a:moveTo>
                    <a:pt x="2860" y="1125"/>
                  </a:moveTo>
                  <a:cubicBezTo>
                    <a:pt x="2874" y="1142"/>
                    <a:pt x="2840" y="1159"/>
                    <a:pt x="2835" y="1140"/>
                  </a:cubicBezTo>
                  <a:cubicBezTo>
                    <a:pt x="2837" y="1131"/>
                    <a:pt x="2854" y="1140"/>
                    <a:pt x="2860" y="1125"/>
                  </a:cubicBezTo>
                  <a:close/>
                  <a:moveTo>
                    <a:pt x="2835" y="1156"/>
                  </a:moveTo>
                  <a:cubicBezTo>
                    <a:pt x="2849" y="1162"/>
                    <a:pt x="2823" y="1176"/>
                    <a:pt x="2835" y="1156"/>
                  </a:cubicBezTo>
                  <a:close/>
                  <a:moveTo>
                    <a:pt x="2835" y="1275"/>
                  </a:moveTo>
                  <a:cubicBezTo>
                    <a:pt x="2829" y="1281"/>
                    <a:pt x="2826" y="1272"/>
                    <a:pt x="2812" y="1275"/>
                  </a:cubicBezTo>
                  <a:cubicBezTo>
                    <a:pt x="2815" y="1269"/>
                    <a:pt x="2815" y="1261"/>
                    <a:pt x="2818" y="1255"/>
                  </a:cubicBezTo>
                  <a:cubicBezTo>
                    <a:pt x="2835" y="1255"/>
                    <a:pt x="2826" y="1269"/>
                    <a:pt x="2835" y="1275"/>
                  </a:cubicBezTo>
                  <a:close/>
                  <a:moveTo>
                    <a:pt x="2829" y="1238"/>
                  </a:moveTo>
                  <a:cubicBezTo>
                    <a:pt x="2820" y="1235"/>
                    <a:pt x="2820" y="1224"/>
                    <a:pt x="2823" y="1213"/>
                  </a:cubicBezTo>
                  <a:cubicBezTo>
                    <a:pt x="2832" y="1219"/>
                    <a:pt x="2832" y="1230"/>
                    <a:pt x="2829" y="1238"/>
                  </a:cubicBezTo>
                  <a:close/>
                  <a:moveTo>
                    <a:pt x="2820" y="1151"/>
                  </a:moveTo>
                  <a:cubicBezTo>
                    <a:pt x="2822" y="1151"/>
                    <a:pt x="2820" y="1152"/>
                    <a:pt x="2819" y="1153"/>
                  </a:cubicBezTo>
                  <a:cubicBezTo>
                    <a:pt x="2820" y="1153"/>
                    <a:pt x="2820" y="1153"/>
                    <a:pt x="2820" y="1154"/>
                  </a:cubicBezTo>
                  <a:cubicBezTo>
                    <a:pt x="2815" y="1159"/>
                    <a:pt x="2812" y="1154"/>
                    <a:pt x="2809" y="1151"/>
                  </a:cubicBezTo>
                  <a:cubicBezTo>
                    <a:pt x="2806" y="1159"/>
                    <a:pt x="2801" y="1162"/>
                    <a:pt x="2792" y="1162"/>
                  </a:cubicBezTo>
                  <a:lnTo>
                    <a:pt x="2789" y="1162"/>
                  </a:lnTo>
                  <a:cubicBezTo>
                    <a:pt x="2792" y="1159"/>
                    <a:pt x="2795" y="1145"/>
                    <a:pt x="2804" y="1145"/>
                  </a:cubicBezTo>
                  <a:cubicBezTo>
                    <a:pt x="2809" y="1140"/>
                    <a:pt x="2814" y="1149"/>
                    <a:pt x="2819" y="1153"/>
                  </a:cubicBezTo>
                  <a:cubicBezTo>
                    <a:pt x="2819" y="1152"/>
                    <a:pt x="2820" y="1152"/>
                    <a:pt x="2820" y="1151"/>
                  </a:cubicBezTo>
                  <a:close/>
                  <a:moveTo>
                    <a:pt x="2820" y="1173"/>
                  </a:moveTo>
                  <a:cubicBezTo>
                    <a:pt x="2835" y="1176"/>
                    <a:pt x="2832" y="1190"/>
                    <a:pt x="2829" y="1199"/>
                  </a:cubicBezTo>
                  <a:cubicBezTo>
                    <a:pt x="2823" y="1196"/>
                    <a:pt x="2820" y="1190"/>
                    <a:pt x="2818" y="1185"/>
                  </a:cubicBezTo>
                  <a:cubicBezTo>
                    <a:pt x="2818" y="1188"/>
                    <a:pt x="2820" y="1190"/>
                    <a:pt x="2818" y="1193"/>
                  </a:cubicBezTo>
                  <a:cubicBezTo>
                    <a:pt x="2806" y="1193"/>
                    <a:pt x="2812" y="1190"/>
                    <a:pt x="2806" y="1188"/>
                  </a:cubicBezTo>
                  <a:cubicBezTo>
                    <a:pt x="2804" y="1188"/>
                    <a:pt x="2809" y="1196"/>
                    <a:pt x="2804" y="1199"/>
                  </a:cubicBezTo>
                  <a:cubicBezTo>
                    <a:pt x="2798" y="1199"/>
                    <a:pt x="2798" y="1188"/>
                    <a:pt x="2798" y="1182"/>
                  </a:cubicBezTo>
                  <a:cubicBezTo>
                    <a:pt x="2804" y="1179"/>
                    <a:pt x="2809" y="1179"/>
                    <a:pt x="2818" y="1179"/>
                  </a:cubicBezTo>
                  <a:cubicBezTo>
                    <a:pt x="2818" y="1176"/>
                    <a:pt x="2818" y="1173"/>
                    <a:pt x="2820" y="1173"/>
                  </a:cubicBezTo>
                  <a:close/>
                  <a:moveTo>
                    <a:pt x="2795" y="1199"/>
                  </a:moveTo>
                  <a:cubicBezTo>
                    <a:pt x="2789" y="1216"/>
                    <a:pt x="2787" y="1216"/>
                    <a:pt x="2772" y="1224"/>
                  </a:cubicBezTo>
                  <a:cubicBezTo>
                    <a:pt x="2775" y="1207"/>
                    <a:pt x="2781" y="1193"/>
                    <a:pt x="2795" y="1199"/>
                  </a:cubicBezTo>
                  <a:close/>
                  <a:moveTo>
                    <a:pt x="2767" y="1204"/>
                  </a:moveTo>
                  <a:lnTo>
                    <a:pt x="2772" y="1204"/>
                  </a:lnTo>
                  <a:cubicBezTo>
                    <a:pt x="2775" y="1207"/>
                    <a:pt x="2773" y="1212"/>
                    <a:pt x="2768" y="1213"/>
                  </a:cubicBezTo>
                  <a:lnTo>
                    <a:pt x="2768" y="1213"/>
                  </a:lnTo>
                  <a:cubicBezTo>
                    <a:pt x="2766" y="1215"/>
                    <a:pt x="2763" y="1218"/>
                    <a:pt x="2767" y="1213"/>
                  </a:cubicBezTo>
                  <a:lnTo>
                    <a:pt x="2767" y="1204"/>
                  </a:lnTo>
                  <a:close/>
                  <a:moveTo>
                    <a:pt x="2781" y="1171"/>
                  </a:moveTo>
                  <a:cubicBezTo>
                    <a:pt x="2795" y="1176"/>
                    <a:pt x="2770" y="1190"/>
                    <a:pt x="2781" y="1171"/>
                  </a:cubicBezTo>
                  <a:close/>
                  <a:moveTo>
                    <a:pt x="2772" y="1142"/>
                  </a:moveTo>
                  <a:cubicBezTo>
                    <a:pt x="2787" y="1148"/>
                    <a:pt x="2761" y="1162"/>
                    <a:pt x="2772" y="1142"/>
                  </a:cubicBezTo>
                  <a:close/>
                  <a:moveTo>
                    <a:pt x="2778" y="1131"/>
                  </a:moveTo>
                  <a:cubicBezTo>
                    <a:pt x="2775" y="1134"/>
                    <a:pt x="2770" y="1137"/>
                    <a:pt x="2767" y="1137"/>
                  </a:cubicBezTo>
                  <a:cubicBezTo>
                    <a:pt x="2764" y="1131"/>
                    <a:pt x="2775" y="1131"/>
                    <a:pt x="2778" y="1131"/>
                  </a:cubicBezTo>
                  <a:close/>
                  <a:moveTo>
                    <a:pt x="2758" y="1171"/>
                  </a:moveTo>
                  <a:cubicBezTo>
                    <a:pt x="2761" y="1173"/>
                    <a:pt x="2764" y="1179"/>
                    <a:pt x="2761" y="1179"/>
                  </a:cubicBezTo>
                  <a:cubicBezTo>
                    <a:pt x="2764" y="1179"/>
                    <a:pt x="2764" y="1181"/>
                    <a:pt x="2760" y="1182"/>
                  </a:cubicBezTo>
                  <a:cubicBezTo>
                    <a:pt x="2754" y="1181"/>
                    <a:pt x="2745" y="1173"/>
                    <a:pt x="2758" y="1171"/>
                  </a:cubicBezTo>
                  <a:close/>
                  <a:moveTo>
                    <a:pt x="2758" y="1182"/>
                  </a:moveTo>
                  <a:lnTo>
                    <a:pt x="2761" y="1182"/>
                  </a:lnTo>
                  <a:lnTo>
                    <a:pt x="2760" y="1182"/>
                  </a:lnTo>
                  <a:cubicBezTo>
                    <a:pt x="2760" y="1182"/>
                    <a:pt x="2759" y="1182"/>
                    <a:pt x="2758" y="1182"/>
                  </a:cubicBezTo>
                  <a:close/>
                  <a:moveTo>
                    <a:pt x="2750" y="795"/>
                  </a:moveTo>
                  <a:cubicBezTo>
                    <a:pt x="2753" y="793"/>
                    <a:pt x="2744" y="798"/>
                    <a:pt x="2750" y="795"/>
                  </a:cubicBezTo>
                  <a:close/>
                  <a:moveTo>
                    <a:pt x="2753" y="1427"/>
                  </a:moveTo>
                  <a:cubicBezTo>
                    <a:pt x="2753" y="1433"/>
                    <a:pt x="2750" y="1436"/>
                    <a:pt x="2747" y="1439"/>
                  </a:cubicBezTo>
                  <a:cubicBezTo>
                    <a:pt x="2744" y="1433"/>
                    <a:pt x="2747" y="1430"/>
                    <a:pt x="2753" y="1427"/>
                  </a:cubicBezTo>
                  <a:close/>
                  <a:moveTo>
                    <a:pt x="2744" y="767"/>
                  </a:moveTo>
                  <a:cubicBezTo>
                    <a:pt x="2756" y="773"/>
                    <a:pt x="2730" y="787"/>
                    <a:pt x="2744" y="767"/>
                  </a:cubicBezTo>
                  <a:close/>
                  <a:moveTo>
                    <a:pt x="2741" y="1416"/>
                  </a:moveTo>
                  <a:cubicBezTo>
                    <a:pt x="2727" y="1408"/>
                    <a:pt x="2756" y="1393"/>
                    <a:pt x="2741" y="1416"/>
                  </a:cubicBezTo>
                  <a:close/>
                  <a:moveTo>
                    <a:pt x="2741" y="1480"/>
                  </a:moveTo>
                  <a:cubicBezTo>
                    <a:pt x="2733" y="1483"/>
                    <a:pt x="2725" y="1486"/>
                    <a:pt x="2716" y="1486"/>
                  </a:cubicBezTo>
                  <a:cubicBezTo>
                    <a:pt x="2725" y="1477"/>
                    <a:pt x="2733" y="1477"/>
                    <a:pt x="2739" y="1469"/>
                  </a:cubicBezTo>
                  <a:cubicBezTo>
                    <a:pt x="2741" y="1471"/>
                    <a:pt x="2739" y="1474"/>
                    <a:pt x="2741" y="1480"/>
                  </a:cubicBezTo>
                  <a:close/>
                  <a:moveTo>
                    <a:pt x="2725" y="1283"/>
                  </a:moveTo>
                  <a:cubicBezTo>
                    <a:pt x="2736" y="1286"/>
                    <a:pt x="2733" y="1298"/>
                    <a:pt x="2730" y="1303"/>
                  </a:cubicBezTo>
                  <a:cubicBezTo>
                    <a:pt x="2725" y="1298"/>
                    <a:pt x="2722" y="1289"/>
                    <a:pt x="2725" y="1283"/>
                  </a:cubicBezTo>
                  <a:close/>
                  <a:moveTo>
                    <a:pt x="2722" y="1354"/>
                  </a:moveTo>
                  <a:cubicBezTo>
                    <a:pt x="2725" y="1345"/>
                    <a:pt x="2727" y="1362"/>
                    <a:pt x="2722" y="1354"/>
                  </a:cubicBezTo>
                  <a:close/>
                  <a:moveTo>
                    <a:pt x="2719" y="1295"/>
                  </a:moveTo>
                  <a:cubicBezTo>
                    <a:pt x="2716" y="1295"/>
                    <a:pt x="2716" y="1292"/>
                    <a:pt x="2713" y="1292"/>
                  </a:cubicBezTo>
                  <a:cubicBezTo>
                    <a:pt x="2713" y="1289"/>
                    <a:pt x="2716" y="1289"/>
                    <a:pt x="2716" y="1286"/>
                  </a:cubicBezTo>
                  <a:lnTo>
                    <a:pt x="2722" y="1286"/>
                  </a:lnTo>
                  <a:cubicBezTo>
                    <a:pt x="2722" y="1292"/>
                    <a:pt x="2722" y="1292"/>
                    <a:pt x="2719" y="1295"/>
                  </a:cubicBezTo>
                  <a:close/>
                  <a:moveTo>
                    <a:pt x="2713" y="763"/>
                  </a:moveTo>
                  <a:cubicBezTo>
                    <a:pt x="2714" y="761"/>
                    <a:pt x="2717" y="761"/>
                    <a:pt x="2713" y="764"/>
                  </a:cubicBezTo>
                  <a:cubicBezTo>
                    <a:pt x="2712" y="764"/>
                    <a:pt x="2713" y="764"/>
                    <a:pt x="2713" y="763"/>
                  </a:cubicBezTo>
                  <a:close/>
                  <a:moveTo>
                    <a:pt x="2708" y="722"/>
                  </a:moveTo>
                  <a:cubicBezTo>
                    <a:pt x="2708" y="725"/>
                    <a:pt x="2702" y="728"/>
                    <a:pt x="2699" y="728"/>
                  </a:cubicBezTo>
                  <a:cubicBezTo>
                    <a:pt x="2702" y="725"/>
                    <a:pt x="2705" y="722"/>
                    <a:pt x="2708" y="722"/>
                  </a:cubicBezTo>
                  <a:close/>
                  <a:moveTo>
                    <a:pt x="2719" y="781"/>
                  </a:moveTo>
                  <a:cubicBezTo>
                    <a:pt x="2713" y="790"/>
                    <a:pt x="2710" y="784"/>
                    <a:pt x="2705" y="781"/>
                  </a:cubicBezTo>
                  <a:lnTo>
                    <a:pt x="2702" y="781"/>
                  </a:lnTo>
                  <a:cubicBezTo>
                    <a:pt x="2702" y="781"/>
                    <a:pt x="2699" y="779"/>
                    <a:pt x="2699" y="776"/>
                  </a:cubicBezTo>
                  <a:lnTo>
                    <a:pt x="2702" y="776"/>
                  </a:lnTo>
                  <a:cubicBezTo>
                    <a:pt x="2699" y="773"/>
                    <a:pt x="2696" y="773"/>
                    <a:pt x="2693" y="773"/>
                  </a:cubicBezTo>
                  <a:cubicBezTo>
                    <a:pt x="2702" y="762"/>
                    <a:pt x="2716" y="779"/>
                    <a:pt x="2719" y="781"/>
                  </a:cubicBezTo>
                  <a:close/>
                  <a:moveTo>
                    <a:pt x="2696" y="680"/>
                  </a:moveTo>
                  <a:cubicBezTo>
                    <a:pt x="2677" y="694"/>
                    <a:pt x="2685" y="660"/>
                    <a:pt x="2696" y="680"/>
                  </a:cubicBezTo>
                  <a:close/>
                  <a:moveTo>
                    <a:pt x="2688" y="1171"/>
                  </a:moveTo>
                  <a:cubicBezTo>
                    <a:pt x="2688" y="1173"/>
                    <a:pt x="2685" y="1179"/>
                    <a:pt x="2685" y="1182"/>
                  </a:cubicBezTo>
                  <a:cubicBezTo>
                    <a:pt x="2682" y="1182"/>
                    <a:pt x="2677" y="1179"/>
                    <a:pt x="2674" y="1179"/>
                  </a:cubicBezTo>
                  <a:cubicBezTo>
                    <a:pt x="2674" y="1176"/>
                    <a:pt x="2674" y="1171"/>
                    <a:pt x="2677" y="1168"/>
                  </a:cubicBezTo>
                  <a:cubicBezTo>
                    <a:pt x="2679" y="1168"/>
                    <a:pt x="2685" y="1171"/>
                    <a:pt x="2688" y="1171"/>
                  </a:cubicBezTo>
                  <a:close/>
                  <a:moveTo>
                    <a:pt x="2671" y="691"/>
                  </a:moveTo>
                  <a:cubicBezTo>
                    <a:pt x="2668" y="694"/>
                    <a:pt x="2677" y="688"/>
                    <a:pt x="2671" y="691"/>
                  </a:cubicBezTo>
                  <a:close/>
                  <a:moveTo>
                    <a:pt x="2677" y="762"/>
                  </a:moveTo>
                  <a:cubicBezTo>
                    <a:pt x="2662" y="762"/>
                    <a:pt x="2668" y="747"/>
                    <a:pt x="2660" y="742"/>
                  </a:cubicBezTo>
                  <a:cubicBezTo>
                    <a:pt x="2662" y="733"/>
                    <a:pt x="2682" y="750"/>
                    <a:pt x="2677" y="762"/>
                  </a:cubicBezTo>
                  <a:close/>
                  <a:moveTo>
                    <a:pt x="2648" y="623"/>
                  </a:moveTo>
                  <a:cubicBezTo>
                    <a:pt x="2651" y="629"/>
                    <a:pt x="2634" y="635"/>
                    <a:pt x="2637" y="626"/>
                  </a:cubicBezTo>
                  <a:cubicBezTo>
                    <a:pt x="2640" y="623"/>
                    <a:pt x="2643" y="623"/>
                    <a:pt x="2648" y="623"/>
                  </a:cubicBezTo>
                  <a:close/>
                  <a:moveTo>
                    <a:pt x="2640" y="609"/>
                  </a:moveTo>
                  <a:cubicBezTo>
                    <a:pt x="2654" y="615"/>
                    <a:pt x="2629" y="629"/>
                    <a:pt x="2640" y="609"/>
                  </a:cubicBezTo>
                  <a:close/>
                  <a:moveTo>
                    <a:pt x="2643" y="762"/>
                  </a:moveTo>
                  <a:cubicBezTo>
                    <a:pt x="2646" y="756"/>
                    <a:pt x="2657" y="756"/>
                    <a:pt x="2662" y="756"/>
                  </a:cubicBezTo>
                  <a:cubicBezTo>
                    <a:pt x="2662" y="764"/>
                    <a:pt x="2648" y="767"/>
                    <a:pt x="2643" y="764"/>
                  </a:cubicBezTo>
                  <a:cubicBezTo>
                    <a:pt x="2640" y="767"/>
                    <a:pt x="2637" y="767"/>
                    <a:pt x="2634" y="767"/>
                  </a:cubicBezTo>
                  <a:cubicBezTo>
                    <a:pt x="2626" y="756"/>
                    <a:pt x="2640" y="759"/>
                    <a:pt x="2643" y="762"/>
                  </a:cubicBezTo>
                  <a:close/>
                  <a:moveTo>
                    <a:pt x="2646" y="1148"/>
                  </a:moveTo>
                  <a:cubicBezTo>
                    <a:pt x="2648" y="1148"/>
                    <a:pt x="2637" y="1154"/>
                    <a:pt x="2631" y="1156"/>
                  </a:cubicBezTo>
                  <a:cubicBezTo>
                    <a:pt x="2634" y="1145"/>
                    <a:pt x="2637" y="1142"/>
                    <a:pt x="2646" y="1148"/>
                  </a:cubicBezTo>
                  <a:close/>
                  <a:moveTo>
                    <a:pt x="2623" y="606"/>
                  </a:moveTo>
                  <a:cubicBezTo>
                    <a:pt x="2617" y="598"/>
                    <a:pt x="2617" y="587"/>
                    <a:pt x="2606" y="581"/>
                  </a:cubicBezTo>
                  <a:cubicBezTo>
                    <a:pt x="2629" y="567"/>
                    <a:pt x="2646" y="590"/>
                    <a:pt x="2623" y="606"/>
                  </a:cubicBezTo>
                  <a:close/>
                  <a:moveTo>
                    <a:pt x="2609" y="609"/>
                  </a:moveTo>
                  <a:lnTo>
                    <a:pt x="2609" y="610"/>
                  </a:lnTo>
                  <a:cubicBezTo>
                    <a:pt x="2608" y="611"/>
                    <a:pt x="2607" y="611"/>
                    <a:pt x="2609" y="609"/>
                  </a:cubicBezTo>
                  <a:cubicBezTo>
                    <a:pt x="2610" y="609"/>
                    <a:pt x="2610" y="610"/>
                    <a:pt x="2609" y="610"/>
                  </a:cubicBezTo>
                  <a:lnTo>
                    <a:pt x="2609" y="609"/>
                  </a:lnTo>
                  <a:close/>
                  <a:moveTo>
                    <a:pt x="2609" y="705"/>
                  </a:moveTo>
                  <a:cubicBezTo>
                    <a:pt x="2595" y="697"/>
                    <a:pt x="2623" y="683"/>
                    <a:pt x="2609" y="705"/>
                  </a:cubicBezTo>
                  <a:close/>
                  <a:moveTo>
                    <a:pt x="2609" y="595"/>
                  </a:moveTo>
                  <a:cubicBezTo>
                    <a:pt x="2606" y="601"/>
                    <a:pt x="2600" y="604"/>
                    <a:pt x="2595" y="604"/>
                  </a:cubicBezTo>
                  <a:cubicBezTo>
                    <a:pt x="2595" y="598"/>
                    <a:pt x="2606" y="598"/>
                    <a:pt x="2609" y="595"/>
                  </a:cubicBezTo>
                  <a:close/>
                  <a:moveTo>
                    <a:pt x="2595" y="612"/>
                  </a:moveTo>
                  <a:lnTo>
                    <a:pt x="2603" y="612"/>
                  </a:lnTo>
                  <a:cubicBezTo>
                    <a:pt x="2600" y="615"/>
                    <a:pt x="2600" y="621"/>
                    <a:pt x="2598" y="618"/>
                  </a:cubicBezTo>
                  <a:cubicBezTo>
                    <a:pt x="2595" y="618"/>
                    <a:pt x="2595" y="615"/>
                    <a:pt x="2595" y="612"/>
                  </a:cubicBezTo>
                  <a:close/>
                  <a:moveTo>
                    <a:pt x="2595" y="674"/>
                  </a:moveTo>
                  <a:cubicBezTo>
                    <a:pt x="2583" y="671"/>
                    <a:pt x="2586" y="660"/>
                    <a:pt x="2589" y="654"/>
                  </a:cubicBezTo>
                  <a:cubicBezTo>
                    <a:pt x="2595" y="660"/>
                    <a:pt x="2598" y="668"/>
                    <a:pt x="2595" y="674"/>
                  </a:cubicBezTo>
                  <a:close/>
                  <a:moveTo>
                    <a:pt x="2578" y="567"/>
                  </a:moveTo>
                  <a:cubicBezTo>
                    <a:pt x="2586" y="542"/>
                    <a:pt x="2606" y="575"/>
                    <a:pt x="2578" y="567"/>
                  </a:cubicBezTo>
                  <a:close/>
                  <a:moveTo>
                    <a:pt x="2578" y="592"/>
                  </a:moveTo>
                  <a:cubicBezTo>
                    <a:pt x="2564" y="578"/>
                    <a:pt x="2603" y="584"/>
                    <a:pt x="2578" y="592"/>
                  </a:cubicBezTo>
                  <a:close/>
                  <a:moveTo>
                    <a:pt x="2572" y="533"/>
                  </a:moveTo>
                  <a:cubicBezTo>
                    <a:pt x="2575" y="533"/>
                    <a:pt x="2569" y="536"/>
                    <a:pt x="2572" y="533"/>
                  </a:cubicBezTo>
                  <a:close/>
                  <a:moveTo>
                    <a:pt x="2589" y="626"/>
                  </a:moveTo>
                  <a:cubicBezTo>
                    <a:pt x="2586" y="640"/>
                    <a:pt x="2575" y="635"/>
                    <a:pt x="2575" y="652"/>
                  </a:cubicBezTo>
                  <a:cubicBezTo>
                    <a:pt x="2567" y="649"/>
                    <a:pt x="2578" y="612"/>
                    <a:pt x="2589" y="626"/>
                  </a:cubicBezTo>
                  <a:close/>
                  <a:moveTo>
                    <a:pt x="2567" y="680"/>
                  </a:moveTo>
                  <a:cubicBezTo>
                    <a:pt x="2567" y="697"/>
                    <a:pt x="2578" y="714"/>
                    <a:pt x="2572" y="733"/>
                  </a:cubicBezTo>
                  <a:cubicBezTo>
                    <a:pt x="2561" y="719"/>
                    <a:pt x="2558" y="697"/>
                    <a:pt x="2567" y="680"/>
                  </a:cubicBezTo>
                  <a:close/>
                  <a:moveTo>
                    <a:pt x="2578" y="762"/>
                  </a:moveTo>
                  <a:cubicBezTo>
                    <a:pt x="2578" y="773"/>
                    <a:pt x="2567" y="767"/>
                    <a:pt x="2564" y="776"/>
                  </a:cubicBezTo>
                  <a:cubicBezTo>
                    <a:pt x="2552" y="773"/>
                    <a:pt x="2569" y="753"/>
                    <a:pt x="2578" y="762"/>
                  </a:cubicBezTo>
                  <a:close/>
                  <a:moveTo>
                    <a:pt x="2555" y="539"/>
                  </a:moveTo>
                  <a:cubicBezTo>
                    <a:pt x="2552" y="537"/>
                    <a:pt x="2551" y="536"/>
                    <a:pt x="2551" y="534"/>
                  </a:cubicBezTo>
                  <a:cubicBezTo>
                    <a:pt x="2545" y="537"/>
                    <a:pt x="2538" y="538"/>
                    <a:pt x="2533" y="536"/>
                  </a:cubicBezTo>
                  <a:cubicBezTo>
                    <a:pt x="2538" y="533"/>
                    <a:pt x="2541" y="525"/>
                    <a:pt x="2547" y="525"/>
                  </a:cubicBezTo>
                  <a:cubicBezTo>
                    <a:pt x="2544" y="522"/>
                    <a:pt x="2544" y="522"/>
                    <a:pt x="2544" y="519"/>
                  </a:cubicBezTo>
                  <a:cubicBezTo>
                    <a:pt x="2547" y="519"/>
                    <a:pt x="2550" y="522"/>
                    <a:pt x="2552" y="522"/>
                  </a:cubicBezTo>
                  <a:cubicBezTo>
                    <a:pt x="2552" y="522"/>
                    <a:pt x="2552" y="525"/>
                    <a:pt x="2550" y="525"/>
                  </a:cubicBezTo>
                  <a:cubicBezTo>
                    <a:pt x="2552" y="525"/>
                    <a:pt x="2555" y="525"/>
                    <a:pt x="2558" y="527"/>
                  </a:cubicBezTo>
                  <a:cubicBezTo>
                    <a:pt x="2558" y="528"/>
                    <a:pt x="2558" y="528"/>
                    <a:pt x="2557" y="529"/>
                  </a:cubicBezTo>
                  <a:cubicBezTo>
                    <a:pt x="2560" y="528"/>
                    <a:pt x="2561" y="531"/>
                    <a:pt x="2555" y="539"/>
                  </a:cubicBezTo>
                  <a:close/>
                  <a:moveTo>
                    <a:pt x="2538" y="629"/>
                  </a:moveTo>
                  <a:cubicBezTo>
                    <a:pt x="2535" y="632"/>
                    <a:pt x="2533" y="637"/>
                    <a:pt x="2530" y="637"/>
                  </a:cubicBezTo>
                  <a:cubicBezTo>
                    <a:pt x="2530" y="635"/>
                    <a:pt x="2535" y="629"/>
                    <a:pt x="2538" y="629"/>
                  </a:cubicBezTo>
                  <a:close/>
                  <a:moveTo>
                    <a:pt x="2521" y="592"/>
                  </a:moveTo>
                  <a:cubicBezTo>
                    <a:pt x="2504" y="587"/>
                    <a:pt x="2533" y="573"/>
                    <a:pt x="2521" y="592"/>
                  </a:cubicBezTo>
                  <a:close/>
                  <a:moveTo>
                    <a:pt x="2521" y="485"/>
                  </a:moveTo>
                  <a:cubicBezTo>
                    <a:pt x="2510" y="496"/>
                    <a:pt x="2507" y="468"/>
                    <a:pt x="2504" y="460"/>
                  </a:cubicBezTo>
                  <a:cubicBezTo>
                    <a:pt x="2524" y="460"/>
                    <a:pt x="2513" y="479"/>
                    <a:pt x="2521" y="485"/>
                  </a:cubicBezTo>
                  <a:close/>
                  <a:moveTo>
                    <a:pt x="2510" y="598"/>
                  </a:moveTo>
                  <a:cubicBezTo>
                    <a:pt x="2502" y="635"/>
                    <a:pt x="2476" y="584"/>
                    <a:pt x="2510" y="598"/>
                  </a:cubicBezTo>
                  <a:close/>
                  <a:moveTo>
                    <a:pt x="2499" y="434"/>
                  </a:moveTo>
                  <a:cubicBezTo>
                    <a:pt x="2496" y="434"/>
                    <a:pt x="2504" y="432"/>
                    <a:pt x="2499" y="434"/>
                  </a:cubicBezTo>
                  <a:close/>
                  <a:moveTo>
                    <a:pt x="2499" y="434"/>
                  </a:moveTo>
                  <a:cubicBezTo>
                    <a:pt x="2513" y="451"/>
                    <a:pt x="2496" y="451"/>
                    <a:pt x="2487" y="468"/>
                  </a:cubicBezTo>
                  <a:cubicBezTo>
                    <a:pt x="2473" y="457"/>
                    <a:pt x="2499" y="451"/>
                    <a:pt x="2499" y="434"/>
                  </a:cubicBezTo>
                  <a:close/>
                  <a:moveTo>
                    <a:pt x="2482" y="420"/>
                  </a:moveTo>
                  <a:cubicBezTo>
                    <a:pt x="2496" y="440"/>
                    <a:pt x="2473" y="451"/>
                    <a:pt x="2482" y="420"/>
                  </a:cubicBezTo>
                  <a:close/>
                  <a:moveTo>
                    <a:pt x="2479" y="694"/>
                  </a:moveTo>
                  <a:lnTo>
                    <a:pt x="2479" y="697"/>
                  </a:lnTo>
                  <a:lnTo>
                    <a:pt x="2476" y="697"/>
                  </a:lnTo>
                  <a:cubicBezTo>
                    <a:pt x="2476" y="697"/>
                    <a:pt x="2476" y="694"/>
                    <a:pt x="2479" y="694"/>
                  </a:cubicBezTo>
                  <a:close/>
                  <a:moveTo>
                    <a:pt x="2476" y="705"/>
                  </a:moveTo>
                  <a:cubicBezTo>
                    <a:pt x="2473" y="705"/>
                    <a:pt x="2468" y="702"/>
                    <a:pt x="2468" y="702"/>
                  </a:cubicBezTo>
                  <a:cubicBezTo>
                    <a:pt x="2465" y="700"/>
                    <a:pt x="2479" y="700"/>
                    <a:pt x="2476" y="705"/>
                  </a:cubicBezTo>
                  <a:close/>
                  <a:moveTo>
                    <a:pt x="2468" y="745"/>
                  </a:moveTo>
                  <a:cubicBezTo>
                    <a:pt x="2468" y="739"/>
                    <a:pt x="2479" y="747"/>
                    <a:pt x="2468" y="745"/>
                  </a:cubicBezTo>
                  <a:close/>
                  <a:moveTo>
                    <a:pt x="2423" y="1379"/>
                  </a:moveTo>
                  <a:cubicBezTo>
                    <a:pt x="2423" y="1374"/>
                    <a:pt x="2434" y="1382"/>
                    <a:pt x="2423" y="1379"/>
                  </a:cubicBezTo>
                  <a:close/>
                  <a:moveTo>
                    <a:pt x="2425" y="523"/>
                  </a:moveTo>
                  <a:cubicBezTo>
                    <a:pt x="2425" y="523"/>
                    <a:pt x="2424" y="523"/>
                    <a:pt x="2425" y="522"/>
                  </a:cubicBezTo>
                  <a:cubicBezTo>
                    <a:pt x="2429" y="522"/>
                    <a:pt x="2427" y="523"/>
                    <a:pt x="2425" y="523"/>
                  </a:cubicBezTo>
                  <a:close/>
                  <a:moveTo>
                    <a:pt x="2431" y="1306"/>
                  </a:moveTo>
                  <a:cubicBezTo>
                    <a:pt x="2425" y="1306"/>
                    <a:pt x="2434" y="1303"/>
                    <a:pt x="2431" y="1306"/>
                  </a:cubicBezTo>
                  <a:close/>
                  <a:moveTo>
                    <a:pt x="2431" y="2222"/>
                  </a:moveTo>
                  <a:cubicBezTo>
                    <a:pt x="2434" y="2216"/>
                    <a:pt x="2442" y="2225"/>
                    <a:pt x="2431" y="2222"/>
                  </a:cubicBezTo>
                  <a:close/>
                  <a:moveTo>
                    <a:pt x="2428" y="2013"/>
                  </a:moveTo>
                  <a:cubicBezTo>
                    <a:pt x="2428" y="2007"/>
                    <a:pt x="2434" y="2007"/>
                    <a:pt x="2437" y="2005"/>
                  </a:cubicBezTo>
                  <a:cubicBezTo>
                    <a:pt x="2437" y="2007"/>
                    <a:pt x="2434" y="2013"/>
                    <a:pt x="2428" y="2013"/>
                  </a:cubicBezTo>
                  <a:close/>
                  <a:moveTo>
                    <a:pt x="2440" y="1525"/>
                  </a:moveTo>
                  <a:cubicBezTo>
                    <a:pt x="2431" y="1531"/>
                    <a:pt x="2423" y="1519"/>
                    <a:pt x="2440" y="1525"/>
                  </a:cubicBezTo>
                  <a:close/>
                  <a:moveTo>
                    <a:pt x="2442" y="2318"/>
                  </a:moveTo>
                  <a:lnTo>
                    <a:pt x="2442" y="2315"/>
                  </a:lnTo>
                  <a:lnTo>
                    <a:pt x="2448" y="2315"/>
                  </a:lnTo>
                  <a:cubicBezTo>
                    <a:pt x="2445" y="2318"/>
                    <a:pt x="2445" y="2326"/>
                    <a:pt x="2437" y="2323"/>
                  </a:cubicBezTo>
                  <a:cubicBezTo>
                    <a:pt x="2437" y="2320"/>
                    <a:pt x="2440" y="2318"/>
                    <a:pt x="2442" y="2318"/>
                  </a:cubicBezTo>
                  <a:close/>
                  <a:moveTo>
                    <a:pt x="2442" y="2264"/>
                  </a:moveTo>
                  <a:cubicBezTo>
                    <a:pt x="2448" y="2264"/>
                    <a:pt x="2442" y="2273"/>
                    <a:pt x="2442" y="2275"/>
                  </a:cubicBezTo>
                  <a:cubicBezTo>
                    <a:pt x="2437" y="2275"/>
                    <a:pt x="2442" y="2267"/>
                    <a:pt x="2442" y="2264"/>
                  </a:cubicBezTo>
                  <a:close/>
                  <a:moveTo>
                    <a:pt x="2451" y="581"/>
                  </a:moveTo>
                  <a:cubicBezTo>
                    <a:pt x="2437" y="575"/>
                    <a:pt x="2465" y="561"/>
                    <a:pt x="2451" y="581"/>
                  </a:cubicBezTo>
                  <a:close/>
                  <a:moveTo>
                    <a:pt x="2454" y="508"/>
                  </a:moveTo>
                  <a:cubicBezTo>
                    <a:pt x="2440" y="502"/>
                    <a:pt x="2468" y="488"/>
                    <a:pt x="2454" y="508"/>
                  </a:cubicBezTo>
                  <a:close/>
                  <a:moveTo>
                    <a:pt x="2456" y="668"/>
                  </a:moveTo>
                  <a:cubicBezTo>
                    <a:pt x="2465" y="671"/>
                    <a:pt x="2454" y="683"/>
                    <a:pt x="2456" y="668"/>
                  </a:cubicBezTo>
                  <a:close/>
                  <a:moveTo>
                    <a:pt x="2456" y="1533"/>
                  </a:moveTo>
                  <a:cubicBezTo>
                    <a:pt x="2462" y="1531"/>
                    <a:pt x="2462" y="1545"/>
                    <a:pt x="2456" y="1542"/>
                  </a:cubicBezTo>
                  <a:lnTo>
                    <a:pt x="2456" y="1533"/>
                  </a:lnTo>
                  <a:close/>
                  <a:moveTo>
                    <a:pt x="2462" y="533"/>
                  </a:moveTo>
                  <a:cubicBezTo>
                    <a:pt x="2448" y="522"/>
                    <a:pt x="2479" y="508"/>
                    <a:pt x="2462" y="533"/>
                  </a:cubicBezTo>
                  <a:close/>
                  <a:moveTo>
                    <a:pt x="2465" y="1519"/>
                  </a:moveTo>
                  <a:cubicBezTo>
                    <a:pt x="2465" y="1517"/>
                    <a:pt x="2465" y="1511"/>
                    <a:pt x="2468" y="1508"/>
                  </a:cubicBezTo>
                  <a:cubicBezTo>
                    <a:pt x="2471" y="1508"/>
                    <a:pt x="2471" y="1522"/>
                    <a:pt x="2465" y="1519"/>
                  </a:cubicBezTo>
                  <a:close/>
                  <a:moveTo>
                    <a:pt x="2465" y="2143"/>
                  </a:moveTo>
                  <a:cubicBezTo>
                    <a:pt x="2465" y="2137"/>
                    <a:pt x="2473" y="2146"/>
                    <a:pt x="2465" y="2143"/>
                  </a:cubicBezTo>
                  <a:close/>
                  <a:moveTo>
                    <a:pt x="2471" y="474"/>
                  </a:moveTo>
                  <a:cubicBezTo>
                    <a:pt x="2456" y="488"/>
                    <a:pt x="2456" y="457"/>
                    <a:pt x="2445" y="454"/>
                  </a:cubicBezTo>
                  <a:cubicBezTo>
                    <a:pt x="2451" y="448"/>
                    <a:pt x="2456" y="446"/>
                    <a:pt x="2465" y="448"/>
                  </a:cubicBezTo>
                  <a:cubicBezTo>
                    <a:pt x="2471" y="454"/>
                    <a:pt x="2462" y="468"/>
                    <a:pt x="2471" y="474"/>
                  </a:cubicBezTo>
                  <a:close/>
                  <a:moveTo>
                    <a:pt x="2468" y="415"/>
                  </a:moveTo>
                  <a:cubicBezTo>
                    <a:pt x="2468" y="432"/>
                    <a:pt x="2448" y="415"/>
                    <a:pt x="2451" y="432"/>
                  </a:cubicBezTo>
                  <a:cubicBezTo>
                    <a:pt x="2428" y="429"/>
                    <a:pt x="2459" y="409"/>
                    <a:pt x="2468" y="415"/>
                  </a:cubicBezTo>
                  <a:close/>
                  <a:moveTo>
                    <a:pt x="2440" y="550"/>
                  </a:moveTo>
                  <a:cubicBezTo>
                    <a:pt x="2442" y="550"/>
                    <a:pt x="2448" y="553"/>
                    <a:pt x="2451" y="556"/>
                  </a:cubicBezTo>
                  <a:cubicBezTo>
                    <a:pt x="2451" y="558"/>
                    <a:pt x="2448" y="564"/>
                    <a:pt x="2445" y="567"/>
                  </a:cubicBezTo>
                  <a:cubicBezTo>
                    <a:pt x="2442" y="567"/>
                    <a:pt x="2437" y="564"/>
                    <a:pt x="2434" y="564"/>
                  </a:cubicBezTo>
                  <a:cubicBezTo>
                    <a:pt x="2437" y="558"/>
                    <a:pt x="2437" y="553"/>
                    <a:pt x="2440" y="550"/>
                  </a:cubicBezTo>
                  <a:close/>
                  <a:moveTo>
                    <a:pt x="2428" y="1320"/>
                  </a:moveTo>
                  <a:cubicBezTo>
                    <a:pt x="2428" y="1314"/>
                    <a:pt x="2440" y="1323"/>
                    <a:pt x="2428" y="1320"/>
                  </a:cubicBezTo>
                  <a:close/>
                  <a:moveTo>
                    <a:pt x="2428" y="488"/>
                  </a:moveTo>
                  <a:cubicBezTo>
                    <a:pt x="2414" y="482"/>
                    <a:pt x="2442" y="468"/>
                    <a:pt x="2428" y="488"/>
                  </a:cubicBezTo>
                  <a:close/>
                  <a:moveTo>
                    <a:pt x="2417" y="437"/>
                  </a:moveTo>
                  <a:cubicBezTo>
                    <a:pt x="2423" y="434"/>
                    <a:pt x="2414" y="437"/>
                    <a:pt x="2417" y="437"/>
                  </a:cubicBezTo>
                  <a:close/>
                  <a:moveTo>
                    <a:pt x="2408" y="409"/>
                  </a:moveTo>
                  <a:cubicBezTo>
                    <a:pt x="2414" y="403"/>
                    <a:pt x="2411" y="417"/>
                    <a:pt x="2408" y="409"/>
                  </a:cubicBezTo>
                  <a:close/>
                  <a:moveTo>
                    <a:pt x="2411" y="454"/>
                  </a:moveTo>
                  <a:cubicBezTo>
                    <a:pt x="2417" y="446"/>
                    <a:pt x="2420" y="448"/>
                    <a:pt x="2423" y="454"/>
                  </a:cubicBezTo>
                  <a:lnTo>
                    <a:pt x="2431" y="454"/>
                  </a:lnTo>
                  <a:cubicBezTo>
                    <a:pt x="2428" y="457"/>
                    <a:pt x="2428" y="457"/>
                    <a:pt x="2425" y="457"/>
                  </a:cubicBezTo>
                  <a:cubicBezTo>
                    <a:pt x="2428" y="460"/>
                    <a:pt x="2431" y="463"/>
                    <a:pt x="2437" y="463"/>
                  </a:cubicBezTo>
                  <a:cubicBezTo>
                    <a:pt x="2428" y="474"/>
                    <a:pt x="2423" y="468"/>
                    <a:pt x="2417" y="463"/>
                  </a:cubicBezTo>
                  <a:cubicBezTo>
                    <a:pt x="2414" y="463"/>
                    <a:pt x="2411" y="463"/>
                    <a:pt x="2408" y="460"/>
                  </a:cubicBezTo>
                  <a:cubicBezTo>
                    <a:pt x="2408" y="460"/>
                    <a:pt x="2408" y="457"/>
                    <a:pt x="2411" y="454"/>
                  </a:cubicBezTo>
                  <a:close/>
                  <a:moveTo>
                    <a:pt x="2414" y="533"/>
                  </a:moveTo>
                  <a:cubicBezTo>
                    <a:pt x="2411" y="533"/>
                    <a:pt x="2420" y="530"/>
                    <a:pt x="2414" y="533"/>
                  </a:cubicBezTo>
                  <a:close/>
                  <a:moveTo>
                    <a:pt x="2406" y="415"/>
                  </a:moveTo>
                  <a:cubicBezTo>
                    <a:pt x="2408" y="415"/>
                    <a:pt x="2403" y="417"/>
                    <a:pt x="2406" y="415"/>
                  </a:cubicBezTo>
                  <a:close/>
                  <a:moveTo>
                    <a:pt x="2392" y="1216"/>
                  </a:moveTo>
                  <a:cubicBezTo>
                    <a:pt x="2392" y="1210"/>
                    <a:pt x="2400" y="1207"/>
                    <a:pt x="2406" y="1207"/>
                  </a:cubicBezTo>
                  <a:cubicBezTo>
                    <a:pt x="2403" y="1213"/>
                    <a:pt x="2397" y="1216"/>
                    <a:pt x="2392" y="1216"/>
                  </a:cubicBezTo>
                  <a:close/>
                  <a:moveTo>
                    <a:pt x="2408" y="1444"/>
                  </a:moveTo>
                  <a:cubicBezTo>
                    <a:pt x="2408" y="1447"/>
                    <a:pt x="2403" y="1450"/>
                    <a:pt x="2403" y="1453"/>
                  </a:cubicBezTo>
                  <a:cubicBezTo>
                    <a:pt x="2400" y="1453"/>
                    <a:pt x="2406" y="1444"/>
                    <a:pt x="2408" y="1444"/>
                  </a:cubicBezTo>
                  <a:close/>
                  <a:moveTo>
                    <a:pt x="2392" y="1171"/>
                  </a:moveTo>
                  <a:cubicBezTo>
                    <a:pt x="2397" y="1165"/>
                    <a:pt x="2386" y="1179"/>
                    <a:pt x="2392" y="1171"/>
                  </a:cubicBezTo>
                  <a:close/>
                  <a:moveTo>
                    <a:pt x="2394" y="1173"/>
                  </a:moveTo>
                  <a:cubicBezTo>
                    <a:pt x="2408" y="1179"/>
                    <a:pt x="2383" y="1193"/>
                    <a:pt x="2394" y="1173"/>
                  </a:cubicBezTo>
                  <a:close/>
                  <a:moveTo>
                    <a:pt x="2397" y="1427"/>
                  </a:moveTo>
                  <a:lnTo>
                    <a:pt x="2397" y="1436"/>
                  </a:lnTo>
                  <a:cubicBezTo>
                    <a:pt x="2392" y="1436"/>
                    <a:pt x="2389" y="1433"/>
                    <a:pt x="2392" y="1430"/>
                  </a:cubicBezTo>
                  <a:cubicBezTo>
                    <a:pt x="2392" y="1427"/>
                    <a:pt x="2394" y="1427"/>
                    <a:pt x="2397" y="1427"/>
                  </a:cubicBezTo>
                  <a:close/>
                  <a:moveTo>
                    <a:pt x="2380" y="505"/>
                  </a:moveTo>
                  <a:cubicBezTo>
                    <a:pt x="2349" y="491"/>
                    <a:pt x="2392" y="471"/>
                    <a:pt x="2406" y="465"/>
                  </a:cubicBezTo>
                  <a:cubicBezTo>
                    <a:pt x="2411" y="477"/>
                    <a:pt x="2383" y="488"/>
                    <a:pt x="2380" y="505"/>
                  </a:cubicBezTo>
                  <a:close/>
                  <a:moveTo>
                    <a:pt x="2377" y="2123"/>
                  </a:moveTo>
                  <a:cubicBezTo>
                    <a:pt x="2375" y="2117"/>
                    <a:pt x="2386" y="2117"/>
                    <a:pt x="2392" y="2117"/>
                  </a:cubicBezTo>
                  <a:cubicBezTo>
                    <a:pt x="2392" y="2123"/>
                    <a:pt x="2383" y="2123"/>
                    <a:pt x="2377" y="2123"/>
                  </a:cubicBezTo>
                  <a:close/>
                  <a:moveTo>
                    <a:pt x="2383" y="2258"/>
                  </a:moveTo>
                  <a:cubicBezTo>
                    <a:pt x="2383" y="2253"/>
                    <a:pt x="2392" y="2261"/>
                    <a:pt x="2383" y="2258"/>
                  </a:cubicBezTo>
                  <a:close/>
                  <a:moveTo>
                    <a:pt x="2375" y="2374"/>
                  </a:moveTo>
                  <a:cubicBezTo>
                    <a:pt x="2375" y="2377"/>
                    <a:pt x="2369" y="2380"/>
                    <a:pt x="2366" y="2380"/>
                  </a:cubicBezTo>
                  <a:cubicBezTo>
                    <a:pt x="2369" y="2377"/>
                    <a:pt x="2372" y="2374"/>
                    <a:pt x="2375" y="2374"/>
                  </a:cubicBezTo>
                  <a:close/>
                  <a:moveTo>
                    <a:pt x="2372" y="790"/>
                  </a:moveTo>
                  <a:cubicBezTo>
                    <a:pt x="2375" y="787"/>
                    <a:pt x="2366" y="793"/>
                    <a:pt x="2372" y="790"/>
                  </a:cubicBezTo>
                  <a:close/>
                  <a:moveTo>
                    <a:pt x="2380" y="2383"/>
                  </a:moveTo>
                  <a:cubicBezTo>
                    <a:pt x="2377" y="2388"/>
                    <a:pt x="2375" y="2391"/>
                    <a:pt x="2369" y="2391"/>
                  </a:cubicBezTo>
                  <a:cubicBezTo>
                    <a:pt x="2369" y="2388"/>
                    <a:pt x="2375" y="2383"/>
                    <a:pt x="2380" y="2383"/>
                  </a:cubicBezTo>
                  <a:close/>
                  <a:moveTo>
                    <a:pt x="2380" y="1483"/>
                  </a:moveTo>
                  <a:cubicBezTo>
                    <a:pt x="2380" y="1486"/>
                    <a:pt x="2377" y="1491"/>
                    <a:pt x="2372" y="1491"/>
                  </a:cubicBezTo>
                  <a:cubicBezTo>
                    <a:pt x="2372" y="1486"/>
                    <a:pt x="2375" y="1483"/>
                    <a:pt x="2380" y="1483"/>
                  </a:cubicBezTo>
                  <a:close/>
                  <a:moveTo>
                    <a:pt x="2383" y="1210"/>
                  </a:moveTo>
                  <a:cubicBezTo>
                    <a:pt x="2380" y="1213"/>
                    <a:pt x="2377" y="1216"/>
                    <a:pt x="2375" y="1216"/>
                  </a:cubicBezTo>
                  <a:cubicBezTo>
                    <a:pt x="2372" y="1213"/>
                    <a:pt x="2380" y="1213"/>
                    <a:pt x="2383" y="1210"/>
                  </a:cubicBezTo>
                  <a:close/>
                  <a:moveTo>
                    <a:pt x="2375" y="1660"/>
                  </a:moveTo>
                  <a:cubicBezTo>
                    <a:pt x="2375" y="1655"/>
                    <a:pt x="2386" y="1663"/>
                    <a:pt x="2375" y="1660"/>
                  </a:cubicBezTo>
                  <a:close/>
                  <a:moveTo>
                    <a:pt x="2386" y="1227"/>
                  </a:moveTo>
                  <a:cubicBezTo>
                    <a:pt x="2383" y="1227"/>
                    <a:pt x="2389" y="1224"/>
                    <a:pt x="2386" y="1227"/>
                  </a:cubicBezTo>
                  <a:close/>
                  <a:moveTo>
                    <a:pt x="2366" y="426"/>
                  </a:moveTo>
                  <a:cubicBezTo>
                    <a:pt x="2366" y="420"/>
                    <a:pt x="2375" y="429"/>
                    <a:pt x="2366" y="426"/>
                  </a:cubicBezTo>
                  <a:close/>
                  <a:moveTo>
                    <a:pt x="2403" y="398"/>
                  </a:moveTo>
                  <a:cubicBezTo>
                    <a:pt x="2408" y="395"/>
                    <a:pt x="2400" y="401"/>
                    <a:pt x="2403" y="398"/>
                  </a:cubicBezTo>
                  <a:close/>
                  <a:moveTo>
                    <a:pt x="2397" y="341"/>
                  </a:moveTo>
                  <a:cubicBezTo>
                    <a:pt x="2400" y="341"/>
                    <a:pt x="2406" y="344"/>
                    <a:pt x="2408" y="344"/>
                  </a:cubicBezTo>
                  <a:cubicBezTo>
                    <a:pt x="2408" y="355"/>
                    <a:pt x="2403" y="358"/>
                    <a:pt x="2394" y="355"/>
                  </a:cubicBezTo>
                  <a:cubicBezTo>
                    <a:pt x="2394" y="353"/>
                    <a:pt x="2394" y="344"/>
                    <a:pt x="2397" y="341"/>
                  </a:cubicBezTo>
                  <a:close/>
                  <a:moveTo>
                    <a:pt x="2394" y="460"/>
                  </a:moveTo>
                  <a:cubicBezTo>
                    <a:pt x="2389" y="457"/>
                    <a:pt x="2383" y="454"/>
                    <a:pt x="2377" y="454"/>
                  </a:cubicBezTo>
                  <a:cubicBezTo>
                    <a:pt x="2377" y="434"/>
                    <a:pt x="2408" y="446"/>
                    <a:pt x="2394" y="460"/>
                  </a:cubicBezTo>
                  <a:close/>
                  <a:moveTo>
                    <a:pt x="2377" y="423"/>
                  </a:moveTo>
                  <a:cubicBezTo>
                    <a:pt x="2383" y="420"/>
                    <a:pt x="2375" y="423"/>
                    <a:pt x="2377" y="423"/>
                  </a:cubicBezTo>
                  <a:close/>
                  <a:moveTo>
                    <a:pt x="2377" y="353"/>
                  </a:moveTo>
                  <a:cubicBezTo>
                    <a:pt x="2375" y="353"/>
                    <a:pt x="2383" y="350"/>
                    <a:pt x="2377" y="353"/>
                  </a:cubicBezTo>
                  <a:close/>
                  <a:moveTo>
                    <a:pt x="2372" y="440"/>
                  </a:moveTo>
                  <a:cubicBezTo>
                    <a:pt x="2358" y="434"/>
                    <a:pt x="2386" y="420"/>
                    <a:pt x="2372" y="440"/>
                  </a:cubicBezTo>
                  <a:close/>
                  <a:moveTo>
                    <a:pt x="2375" y="358"/>
                  </a:moveTo>
                  <a:cubicBezTo>
                    <a:pt x="2372" y="367"/>
                    <a:pt x="2363" y="369"/>
                    <a:pt x="2355" y="367"/>
                  </a:cubicBezTo>
                  <a:cubicBezTo>
                    <a:pt x="2352" y="367"/>
                    <a:pt x="2349" y="364"/>
                    <a:pt x="2346" y="361"/>
                  </a:cubicBezTo>
                  <a:cubicBezTo>
                    <a:pt x="2358" y="358"/>
                    <a:pt x="2366" y="355"/>
                    <a:pt x="2375" y="358"/>
                  </a:cubicBezTo>
                  <a:close/>
                  <a:moveTo>
                    <a:pt x="2324" y="454"/>
                  </a:moveTo>
                  <a:cubicBezTo>
                    <a:pt x="2327" y="451"/>
                    <a:pt x="2318" y="457"/>
                    <a:pt x="2324" y="454"/>
                  </a:cubicBezTo>
                  <a:close/>
                  <a:moveTo>
                    <a:pt x="2315" y="2225"/>
                  </a:moveTo>
                  <a:cubicBezTo>
                    <a:pt x="2324" y="2219"/>
                    <a:pt x="2324" y="2233"/>
                    <a:pt x="2315" y="2225"/>
                  </a:cubicBezTo>
                  <a:close/>
                  <a:moveTo>
                    <a:pt x="2327" y="2419"/>
                  </a:moveTo>
                  <a:cubicBezTo>
                    <a:pt x="2327" y="2422"/>
                    <a:pt x="2321" y="2425"/>
                    <a:pt x="2318" y="2425"/>
                  </a:cubicBezTo>
                  <a:cubicBezTo>
                    <a:pt x="2321" y="2422"/>
                    <a:pt x="2324" y="2419"/>
                    <a:pt x="2327" y="2419"/>
                  </a:cubicBezTo>
                  <a:close/>
                  <a:moveTo>
                    <a:pt x="2310" y="1348"/>
                  </a:moveTo>
                  <a:cubicBezTo>
                    <a:pt x="2307" y="1340"/>
                    <a:pt x="2321" y="1345"/>
                    <a:pt x="2318" y="1337"/>
                  </a:cubicBezTo>
                  <a:cubicBezTo>
                    <a:pt x="2324" y="1340"/>
                    <a:pt x="2315" y="1351"/>
                    <a:pt x="2310" y="1348"/>
                  </a:cubicBezTo>
                  <a:close/>
                  <a:moveTo>
                    <a:pt x="2315" y="511"/>
                  </a:moveTo>
                  <a:cubicBezTo>
                    <a:pt x="2307" y="508"/>
                    <a:pt x="2307" y="496"/>
                    <a:pt x="2310" y="485"/>
                  </a:cubicBezTo>
                  <a:cubicBezTo>
                    <a:pt x="2318" y="488"/>
                    <a:pt x="2318" y="499"/>
                    <a:pt x="2315" y="511"/>
                  </a:cubicBezTo>
                  <a:close/>
                  <a:moveTo>
                    <a:pt x="2307" y="2532"/>
                  </a:moveTo>
                  <a:cubicBezTo>
                    <a:pt x="2321" y="2529"/>
                    <a:pt x="2304" y="2555"/>
                    <a:pt x="2307" y="2532"/>
                  </a:cubicBezTo>
                  <a:close/>
                  <a:moveTo>
                    <a:pt x="2310" y="2507"/>
                  </a:moveTo>
                  <a:cubicBezTo>
                    <a:pt x="2329" y="2507"/>
                    <a:pt x="2304" y="2535"/>
                    <a:pt x="2310" y="2507"/>
                  </a:cubicBezTo>
                  <a:close/>
                  <a:moveTo>
                    <a:pt x="2313" y="2493"/>
                  </a:moveTo>
                  <a:cubicBezTo>
                    <a:pt x="2313" y="2487"/>
                    <a:pt x="2321" y="2487"/>
                    <a:pt x="2324" y="2487"/>
                  </a:cubicBezTo>
                  <a:cubicBezTo>
                    <a:pt x="2327" y="2495"/>
                    <a:pt x="2315" y="2495"/>
                    <a:pt x="2313" y="2493"/>
                  </a:cubicBezTo>
                  <a:close/>
                  <a:moveTo>
                    <a:pt x="2346" y="2526"/>
                  </a:moveTo>
                  <a:cubicBezTo>
                    <a:pt x="2349" y="2541"/>
                    <a:pt x="2335" y="2541"/>
                    <a:pt x="2324" y="2541"/>
                  </a:cubicBezTo>
                  <a:cubicBezTo>
                    <a:pt x="2327" y="2532"/>
                    <a:pt x="2335" y="2526"/>
                    <a:pt x="2346" y="2526"/>
                  </a:cubicBezTo>
                  <a:close/>
                  <a:moveTo>
                    <a:pt x="2324" y="2024"/>
                  </a:moveTo>
                  <a:cubicBezTo>
                    <a:pt x="2327" y="2019"/>
                    <a:pt x="2335" y="2027"/>
                    <a:pt x="2324" y="2024"/>
                  </a:cubicBezTo>
                  <a:close/>
                  <a:moveTo>
                    <a:pt x="2363" y="700"/>
                  </a:moveTo>
                  <a:cubicBezTo>
                    <a:pt x="2366" y="716"/>
                    <a:pt x="2335" y="708"/>
                    <a:pt x="2346" y="697"/>
                  </a:cubicBezTo>
                  <a:cubicBezTo>
                    <a:pt x="2352" y="697"/>
                    <a:pt x="2358" y="700"/>
                    <a:pt x="2363" y="700"/>
                  </a:cubicBezTo>
                  <a:close/>
                  <a:moveTo>
                    <a:pt x="2355" y="401"/>
                  </a:moveTo>
                  <a:cubicBezTo>
                    <a:pt x="2352" y="401"/>
                    <a:pt x="2361" y="398"/>
                    <a:pt x="2355" y="401"/>
                  </a:cubicBezTo>
                  <a:close/>
                  <a:moveTo>
                    <a:pt x="2341" y="384"/>
                  </a:moveTo>
                  <a:cubicBezTo>
                    <a:pt x="2327" y="369"/>
                    <a:pt x="2366" y="372"/>
                    <a:pt x="2341" y="384"/>
                  </a:cubicBezTo>
                  <a:close/>
                  <a:moveTo>
                    <a:pt x="2335" y="338"/>
                  </a:moveTo>
                  <a:lnTo>
                    <a:pt x="2334" y="338"/>
                  </a:lnTo>
                  <a:cubicBezTo>
                    <a:pt x="2331" y="343"/>
                    <a:pt x="2326" y="347"/>
                    <a:pt x="2318" y="350"/>
                  </a:cubicBezTo>
                  <a:cubicBezTo>
                    <a:pt x="2313" y="347"/>
                    <a:pt x="2315" y="333"/>
                    <a:pt x="2318" y="324"/>
                  </a:cubicBezTo>
                  <a:cubicBezTo>
                    <a:pt x="2324" y="324"/>
                    <a:pt x="2328" y="327"/>
                    <a:pt x="2332" y="330"/>
                  </a:cubicBezTo>
                  <a:cubicBezTo>
                    <a:pt x="2334" y="325"/>
                    <a:pt x="2345" y="323"/>
                    <a:pt x="2335" y="338"/>
                  </a:cubicBezTo>
                  <a:close/>
                  <a:moveTo>
                    <a:pt x="2341" y="426"/>
                  </a:moveTo>
                  <a:cubicBezTo>
                    <a:pt x="2352" y="432"/>
                    <a:pt x="2338" y="451"/>
                    <a:pt x="2332" y="451"/>
                  </a:cubicBezTo>
                  <a:cubicBezTo>
                    <a:pt x="2324" y="448"/>
                    <a:pt x="2338" y="429"/>
                    <a:pt x="2341" y="426"/>
                  </a:cubicBezTo>
                  <a:close/>
                  <a:moveTo>
                    <a:pt x="2338" y="776"/>
                  </a:moveTo>
                  <a:cubicBezTo>
                    <a:pt x="2335" y="770"/>
                    <a:pt x="2329" y="767"/>
                    <a:pt x="2335" y="759"/>
                  </a:cubicBezTo>
                  <a:cubicBezTo>
                    <a:pt x="2349" y="759"/>
                    <a:pt x="2338" y="804"/>
                    <a:pt x="2338" y="776"/>
                  </a:cubicBezTo>
                  <a:close/>
                  <a:moveTo>
                    <a:pt x="2338" y="2481"/>
                  </a:moveTo>
                  <a:cubicBezTo>
                    <a:pt x="2338" y="2484"/>
                    <a:pt x="2332" y="2487"/>
                    <a:pt x="2332" y="2490"/>
                  </a:cubicBezTo>
                  <a:cubicBezTo>
                    <a:pt x="2327" y="2487"/>
                    <a:pt x="2335" y="2481"/>
                    <a:pt x="2338" y="2481"/>
                  </a:cubicBezTo>
                  <a:close/>
                  <a:moveTo>
                    <a:pt x="2338" y="2512"/>
                  </a:moveTo>
                  <a:cubicBezTo>
                    <a:pt x="2341" y="2504"/>
                    <a:pt x="2346" y="2518"/>
                    <a:pt x="2338" y="2512"/>
                  </a:cubicBezTo>
                  <a:close/>
                  <a:moveTo>
                    <a:pt x="2338" y="1502"/>
                  </a:moveTo>
                  <a:cubicBezTo>
                    <a:pt x="2338" y="1500"/>
                    <a:pt x="2344" y="1497"/>
                    <a:pt x="2346" y="1497"/>
                  </a:cubicBezTo>
                  <a:cubicBezTo>
                    <a:pt x="2346" y="1500"/>
                    <a:pt x="2341" y="1502"/>
                    <a:pt x="2338" y="1502"/>
                  </a:cubicBezTo>
                  <a:close/>
                  <a:moveTo>
                    <a:pt x="2338" y="1433"/>
                  </a:moveTo>
                  <a:cubicBezTo>
                    <a:pt x="2338" y="1430"/>
                    <a:pt x="2344" y="1424"/>
                    <a:pt x="2349" y="1427"/>
                  </a:cubicBezTo>
                  <a:cubicBezTo>
                    <a:pt x="2344" y="1433"/>
                    <a:pt x="2341" y="1433"/>
                    <a:pt x="2338" y="1433"/>
                  </a:cubicBezTo>
                  <a:close/>
                  <a:moveTo>
                    <a:pt x="2352" y="1770"/>
                  </a:moveTo>
                  <a:cubicBezTo>
                    <a:pt x="2352" y="1773"/>
                    <a:pt x="2346" y="1776"/>
                    <a:pt x="2344" y="1776"/>
                  </a:cubicBezTo>
                  <a:cubicBezTo>
                    <a:pt x="2344" y="1770"/>
                    <a:pt x="2349" y="1770"/>
                    <a:pt x="2352" y="1770"/>
                  </a:cubicBezTo>
                  <a:close/>
                  <a:moveTo>
                    <a:pt x="2349" y="2383"/>
                  </a:moveTo>
                  <a:lnTo>
                    <a:pt x="2355" y="2383"/>
                  </a:lnTo>
                  <a:lnTo>
                    <a:pt x="2355" y="2388"/>
                  </a:lnTo>
                  <a:lnTo>
                    <a:pt x="2349" y="2388"/>
                  </a:lnTo>
                  <a:lnTo>
                    <a:pt x="2349" y="2383"/>
                  </a:lnTo>
                  <a:close/>
                  <a:moveTo>
                    <a:pt x="2355" y="1219"/>
                  </a:moveTo>
                  <a:cubicBezTo>
                    <a:pt x="2341" y="1204"/>
                    <a:pt x="2366" y="1190"/>
                    <a:pt x="2355" y="1219"/>
                  </a:cubicBezTo>
                  <a:close/>
                  <a:moveTo>
                    <a:pt x="2346" y="1188"/>
                  </a:moveTo>
                  <a:cubicBezTo>
                    <a:pt x="2349" y="1185"/>
                    <a:pt x="2349" y="1179"/>
                    <a:pt x="2355" y="1179"/>
                  </a:cubicBezTo>
                  <a:cubicBezTo>
                    <a:pt x="2355" y="1185"/>
                    <a:pt x="2352" y="1188"/>
                    <a:pt x="2346" y="1188"/>
                  </a:cubicBezTo>
                  <a:close/>
                  <a:moveTo>
                    <a:pt x="2361" y="1173"/>
                  </a:moveTo>
                  <a:cubicBezTo>
                    <a:pt x="2372" y="1185"/>
                    <a:pt x="2346" y="1199"/>
                    <a:pt x="2361" y="1173"/>
                  </a:cubicBezTo>
                  <a:close/>
                  <a:moveTo>
                    <a:pt x="2358" y="2470"/>
                  </a:moveTo>
                  <a:cubicBezTo>
                    <a:pt x="2358" y="2464"/>
                    <a:pt x="2366" y="2473"/>
                    <a:pt x="2358" y="2470"/>
                  </a:cubicBezTo>
                  <a:close/>
                  <a:moveTo>
                    <a:pt x="2361" y="1137"/>
                  </a:moveTo>
                  <a:cubicBezTo>
                    <a:pt x="2358" y="1137"/>
                    <a:pt x="2352" y="1134"/>
                    <a:pt x="2352" y="1131"/>
                  </a:cubicBezTo>
                  <a:cubicBezTo>
                    <a:pt x="2355" y="1131"/>
                    <a:pt x="2358" y="1131"/>
                    <a:pt x="2361" y="1134"/>
                  </a:cubicBezTo>
                  <a:cubicBezTo>
                    <a:pt x="2361" y="1134"/>
                    <a:pt x="2363" y="1140"/>
                    <a:pt x="2361" y="1137"/>
                  </a:cubicBezTo>
                  <a:close/>
                  <a:moveTo>
                    <a:pt x="2352" y="1131"/>
                  </a:moveTo>
                  <a:cubicBezTo>
                    <a:pt x="2349" y="1131"/>
                    <a:pt x="2352" y="1128"/>
                    <a:pt x="2352" y="1131"/>
                  </a:cubicBezTo>
                  <a:close/>
                  <a:moveTo>
                    <a:pt x="2363" y="807"/>
                  </a:moveTo>
                  <a:cubicBezTo>
                    <a:pt x="2377" y="812"/>
                    <a:pt x="2352" y="826"/>
                    <a:pt x="2363" y="807"/>
                  </a:cubicBezTo>
                  <a:close/>
                  <a:moveTo>
                    <a:pt x="2361" y="525"/>
                  </a:moveTo>
                  <a:cubicBezTo>
                    <a:pt x="2361" y="519"/>
                    <a:pt x="2369" y="527"/>
                    <a:pt x="2361" y="525"/>
                  </a:cubicBezTo>
                  <a:close/>
                  <a:moveTo>
                    <a:pt x="2358" y="338"/>
                  </a:moveTo>
                  <a:cubicBezTo>
                    <a:pt x="2344" y="319"/>
                    <a:pt x="2377" y="338"/>
                    <a:pt x="2358" y="338"/>
                  </a:cubicBezTo>
                  <a:close/>
                  <a:moveTo>
                    <a:pt x="2344" y="296"/>
                  </a:moveTo>
                  <a:cubicBezTo>
                    <a:pt x="2352" y="296"/>
                    <a:pt x="2352" y="302"/>
                    <a:pt x="2358" y="305"/>
                  </a:cubicBezTo>
                  <a:cubicBezTo>
                    <a:pt x="2358" y="307"/>
                    <a:pt x="2355" y="310"/>
                    <a:pt x="2349" y="310"/>
                  </a:cubicBezTo>
                  <a:cubicBezTo>
                    <a:pt x="2349" y="310"/>
                    <a:pt x="2346" y="310"/>
                    <a:pt x="2346" y="307"/>
                  </a:cubicBezTo>
                  <a:cubicBezTo>
                    <a:pt x="2346" y="310"/>
                    <a:pt x="2346" y="316"/>
                    <a:pt x="2344" y="319"/>
                  </a:cubicBezTo>
                  <a:cubicBezTo>
                    <a:pt x="2332" y="313"/>
                    <a:pt x="2335" y="299"/>
                    <a:pt x="2329" y="293"/>
                  </a:cubicBezTo>
                  <a:cubicBezTo>
                    <a:pt x="2332" y="290"/>
                    <a:pt x="2338" y="290"/>
                    <a:pt x="2344" y="296"/>
                  </a:cubicBezTo>
                  <a:close/>
                  <a:moveTo>
                    <a:pt x="2313" y="324"/>
                  </a:moveTo>
                  <a:cubicBezTo>
                    <a:pt x="2307" y="327"/>
                    <a:pt x="2313" y="322"/>
                    <a:pt x="2313" y="324"/>
                  </a:cubicBezTo>
                  <a:close/>
                  <a:moveTo>
                    <a:pt x="2307" y="330"/>
                  </a:moveTo>
                  <a:cubicBezTo>
                    <a:pt x="2307" y="329"/>
                    <a:pt x="2306" y="328"/>
                    <a:pt x="2306" y="327"/>
                  </a:cubicBezTo>
                  <a:cubicBezTo>
                    <a:pt x="2306" y="328"/>
                    <a:pt x="2306" y="329"/>
                    <a:pt x="2307" y="330"/>
                  </a:cubicBezTo>
                  <a:close/>
                  <a:moveTo>
                    <a:pt x="2304" y="324"/>
                  </a:moveTo>
                  <a:cubicBezTo>
                    <a:pt x="2304" y="322"/>
                    <a:pt x="2307" y="322"/>
                    <a:pt x="2307" y="319"/>
                  </a:cubicBezTo>
                  <a:cubicBezTo>
                    <a:pt x="2307" y="316"/>
                    <a:pt x="2304" y="316"/>
                    <a:pt x="2304" y="313"/>
                  </a:cubicBezTo>
                  <a:cubicBezTo>
                    <a:pt x="2304" y="310"/>
                    <a:pt x="2304" y="310"/>
                    <a:pt x="2307" y="307"/>
                  </a:cubicBezTo>
                  <a:cubicBezTo>
                    <a:pt x="2307" y="307"/>
                    <a:pt x="2310" y="310"/>
                    <a:pt x="2310" y="313"/>
                  </a:cubicBezTo>
                  <a:lnTo>
                    <a:pt x="2310" y="319"/>
                  </a:lnTo>
                  <a:cubicBezTo>
                    <a:pt x="2308" y="322"/>
                    <a:pt x="2306" y="325"/>
                    <a:pt x="2306" y="327"/>
                  </a:cubicBezTo>
                  <a:cubicBezTo>
                    <a:pt x="2305" y="325"/>
                    <a:pt x="2304" y="324"/>
                    <a:pt x="2304" y="324"/>
                  </a:cubicBezTo>
                  <a:close/>
                  <a:moveTo>
                    <a:pt x="2307" y="2174"/>
                  </a:moveTo>
                  <a:cubicBezTo>
                    <a:pt x="2301" y="2177"/>
                    <a:pt x="2301" y="2185"/>
                    <a:pt x="2293" y="2185"/>
                  </a:cubicBezTo>
                  <a:cubicBezTo>
                    <a:pt x="2293" y="2177"/>
                    <a:pt x="2301" y="2174"/>
                    <a:pt x="2307" y="2174"/>
                  </a:cubicBezTo>
                  <a:close/>
                  <a:moveTo>
                    <a:pt x="2296" y="525"/>
                  </a:moveTo>
                  <a:cubicBezTo>
                    <a:pt x="2298" y="519"/>
                    <a:pt x="2307" y="530"/>
                    <a:pt x="2296" y="525"/>
                  </a:cubicBezTo>
                  <a:close/>
                  <a:moveTo>
                    <a:pt x="2293" y="451"/>
                  </a:moveTo>
                  <a:cubicBezTo>
                    <a:pt x="2293" y="448"/>
                    <a:pt x="2298" y="446"/>
                    <a:pt x="2301" y="446"/>
                  </a:cubicBezTo>
                  <a:cubicBezTo>
                    <a:pt x="2298" y="448"/>
                    <a:pt x="2296" y="451"/>
                    <a:pt x="2293" y="451"/>
                  </a:cubicBezTo>
                  <a:close/>
                  <a:moveTo>
                    <a:pt x="2296" y="481"/>
                  </a:moveTo>
                  <a:cubicBezTo>
                    <a:pt x="2295" y="482"/>
                    <a:pt x="2292" y="483"/>
                    <a:pt x="2296" y="479"/>
                  </a:cubicBezTo>
                  <a:cubicBezTo>
                    <a:pt x="2297" y="479"/>
                    <a:pt x="2297" y="480"/>
                    <a:pt x="2296" y="481"/>
                  </a:cubicBezTo>
                  <a:close/>
                  <a:moveTo>
                    <a:pt x="2290" y="305"/>
                  </a:moveTo>
                  <a:cubicBezTo>
                    <a:pt x="2284" y="282"/>
                    <a:pt x="2304" y="322"/>
                    <a:pt x="2290" y="305"/>
                  </a:cubicBezTo>
                  <a:close/>
                  <a:moveTo>
                    <a:pt x="2290" y="485"/>
                  </a:moveTo>
                  <a:lnTo>
                    <a:pt x="2296" y="485"/>
                  </a:lnTo>
                  <a:lnTo>
                    <a:pt x="2296" y="491"/>
                  </a:lnTo>
                  <a:lnTo>
                    <a:pt x="2290" y="491"/>
                  </a:lnTo>
                  <a:lnTo>
                    <a:pt x="2290" y="485"/>
                  </a:lnTo>
                  <a:close/>
                  <a:moveTo>
                    <a:pt x="2284" y="398"/>
                  </a:moveTo>
                  <a:cubicBezTo>
                    <a:pt x="2284" y="392"/>
                    <a:pt x="2296" y="401"/>
                    <a:pt x="2284" y="398"/>
                  </a:cubicBezTo>
                  <a:close/>
                  <a:moveTo>
                    <a:pt x="2284" y="288"/>
                  </a:moveTo>
                  <a:lnTo>
                    <a:pt x="2285" y="288"/>
                  </a:lnTo>
                  <a:cubicBezTo>
                    <a:pt x="2284" y="288"/>
                    <a:pt x="2283" y="289"/>
                    <a:pt x="2284" y="288"/>
                  </a:cubicBezTo>
                  <a:cubicBezTo>
                    <a:pt x="2287" y="286"/>
                    <a:pt x="2286" y="287"/>
                    <a:pt x="2285" y="288"/>
                  </a:cubicBezTo>
                  <a:lnTo>
                    <a:pt x="2284" y="288"/>
                  </a:lnTo>
                  <a:close/>
                  <a:moveTo>
                    <a:pt x="2293" y="1453"/>
                  </a:moveTo>
                  <a:cubicBezTo>
                    <a:pt x="2284" y="1457"/>
                    <a:pt x="2284" y="1444"/>
                    <a:pt x="2293" y="1453"/>
                  </a:cubicBezTo>
                  <a:close/>
                  <a:moveTo>
                    <a:pt x="2265" y="333"/>
                  </a:moveTo>
                  <a:cubicBezTo>
                    <a:pt x="2267" y="338"/>
                    <a:pt x="2267" y="341"/>
                    <a:pt x="2259" y="344"/>
                  </a:cubicBezTo>
                  <a:cubicBezTo>
                    <a:pt x="2265" y="336"/>
                    <a:pt x="2250" y="338"/>
                    <a:pt x="2250" y="330"/>
                  </a:cubicBezTo>
                  <a:cubicBezTo>
                    <a:pt x="2259" y="330"/>
                    <a:pt x="2273" y="330"/>
                    <a:pt x="2284" y="341"/>
                  </a:cubicBezTo>
                  <a:cubicBezTo>
                    <a:pt x="2279" y="344"/>
                    <a:pt x="2270" y="344"/>
                    <a:pt x="2267" y="338"/>
                  </a:cubicBezTo>
                  <a:lnTo>
                    <a:pt x="2265" y="333"/>
                  </a:lnTo>
                  <a:close/>
                  <a:moveTo>
                    <a:pt x="2282" y="448"/>
                  </a:moveTo>
                  <a:cubicBezTo>
                    <a:pt x="2276" y="451"/>
                    <a:pt x="2284" y="446"/>
                    <a:pt x="2282" y="448"/>
                  </a:cubicBezTo>
                  <a:close/>
                  <a:moveTo>
                    <a:pt x="2262" y="2337"/>
                  </a:moveTo>
                  <a:cubicBezTo>
                    <a:pt x="2265" y="2332"/>
                    <a:pt x="2273" y="2340"/>
                    <a:pt x="2262" y="2337"/>
                  </a:cubicBezTo>
                  <a:close/>
                  <a:moveTo>
                    <a:pt x="2267" y="798"/>
                  </a:moveTo>
                  <a:cubicBezTo>
                    <a:pt x="2267" y="800"/>
                    <a:pt x="2267" y="803"/>
                    <a:pt x="2269" y="805"/>
                  </a:cubicBezTo>
                  <a:cubicBezTo>
                    <a:pt x="2268" y="804"/>
                    <a:pt x="2267" y="802"/>
                    <a:pt x="2267" y="801"/>
                  </a:cubicBezTo>
                  <a:cubicBezTo>
                    <a:pt x="2265" y="801"/>
                    <a:pt x="2267" y="798"/>
                    <a:pt x="2267" y="798"/>
                  </a:cubicBezTo>
                  <a:close/>
                  <a:moveTo>
                    <a:pt x="2270" y="807"/>
                  </a:moveTo>
                  <a:cubicBezTo>
                    <a:pt x="2270" y="807"/>
                    <a:pt x="2269" y="806"/>
                    <a:pt x="2269" y="805"/>
                  </a:cubicBezTo>
                  <a:cubicBezTo>
                    <a:pt x="2269" y="805"/>
                    <a:pt x="2270" y="806"/>
                    <a:pt x="2270" y="807"/>
                  </a:cubicBezTo>
                  <a:close/>
                  <a:moveTo>
                    <a:pt x="2267" y="1728"/>
                  </a:moveTo>
                  <a:cubicBezTo>
                    <a:pt x="2273" y="1722"/>
                    <a:pt x="2265" y="1734"/>
                    <a:pt x="2267" y="1728"/>
                  </a:cubicBezTo>
                  <a:close/>
                  <a:moveTo>
                    <a:pt x="2270" y="2157"/>
                  </a:moveTo>
                  <a:cubicBezTo>
                    <a:pt x="2267" y="2151"/>
                    <a:pt x="2287" y="2154"/>
                    <a:pt x="2270" y="2157"/>
                  </a:cubicBezTo>
                  <a:close/>
                  <a:moveTo>
                    <a:pt x="2270" y="440"/>
                  </a:moveTo>
                  <a:cubicBezTo>
                    <a:pt x="2273" y="434"/>
                    <a:pt x="2282" y="443"/>
                    <a:pt x="2270" y="440"/>
                  </a:cubicBezTo>
                  <a:close/>
                  <a:moveTo>
                    <a:pt x="2276" y="2515"/>
                  </a:moveTo>
                  <a:lnTo>
                    <a:pt x="2277" y="2514"/>
                  </a:lnTo>
                  <a:cubicBezTo>
                    <a:pt x="2277" y="2514"/>
                    <a:pt x="2277" y="2515"/>
                    <a:pt x="2276" y="2515"/>
                  </a:cubicBezTo>
                  <a:cubicBezTo>
                    <a:pt x="2276" y="2514"/>
                    <a:pt x="2277" y="2514"/>
                    <a:pt x="2277" y="2514"/>
                  </a:cubicBezTo>
                  <a:lnTo>
                    <a:pt x="2276" y="2515"/>
                  </a:lnTo>
                  <a:close/>
                  <a:moveTo>
                    <a:pt x="2256" y="2388"/>
                  </a:moveTo>
                  <a:cubicBezTo>
                    <a:pt x="2259" y="2383"/>
                    <a:pt x="2267" y="2391"/>
                    <a:pt x="2256" y="2388"/>
                  </a:cubicBezTo>
                  <a:close/>
                  <a:moveTo>
                    <a:pt x="2256" y="2337"/>
                  </a:moveTo>
                  <a:cubicBezTo>
                    <a:pt x="2258" y="2334"/>
                    <a:pt x="2262" y="2336"/>
                    <a:pt x="2262" y="2337"/>
                  </a:cubicBezTo>
                  <a:cubicBezTo>
                    <a:pt x="2261" y="2338"/>
                    <a:pt x="2260" y="2338"/>
                    <a:pt x="2256" y="2337"/>
                  </a:cubicBezTo>
                  <a:close/>
                  <a:moveTo>
                    <a:pt x="2267" y="254"/>
                  </a:moveTo>
                  <a:cubicBezTo>
                    <a:pt x="2287" y="243"/>
                    <a:pt x="2282" y="282"/>
                    <a:pt x="2267" y="288"/>
                  </a:cubicBezTo>
                  <a:cubicBezTo>
                    <a:pt x="2256" y="285"/>
                    <a:pt x="2282" y="259"/>
                    <a:pt x="2267" y="254"/>
                  </a:cubicBezTo>
                  <a:close/>
                  <a:moveTo>
                    <a:pt x="2265" y="316"/>
                  </a:moveTo>
                  <a:cubicBezTo>
                    <a:pt x="2265" y="333"/>
                    <a:pt x="2250" y="310"/>
                    <a:pt x="2265" y="316"/>
                  </a:cubicBezTo>
                  <a:close/>
                  <a:moveTo>
                    <a:pt x="2253" y="265"/>
                  </a:moveTo>
                  <a:cubicBezTo>
                    <a:pt x="2259" y="262"/>
                    <a:pt x="2248" y="274"/>
                    <a:pt x="2253" y="265"/>
                  </a:cubicBezTo>
                  <a:close/>
                  <a:moveTo>
                    <a:pt x="2248" y="254"/>
                  </a:moveTo>
                  <a:cubicBezTo>
                    <a:pt x="2248" y="248"/>
                    <a:pt x="2256" y="254"/>
                    <a:pt x="2248" y="254"/>
                  </a:cubicBezTo>
                  <a:close/>
                  <a:moveTo>
                    <a:pt x="2253" y="324"/>
                  </a:moveTo>
                  <a:cubicBezTo>
                    <a:pt x="2253" y="327"/>
                    <a:pt x="2245" y="330"/>
                    <a:pt x="2242" y="330"/>
                  </a:cubicBezTo>
                  <a:cubicBezTo>
                    <a:pt x="2242" y="322"/>
                    <a:pt x="2239" y="319"/>
                    <a:pt x="2239" y="313"/>
                  </a:cubicBezTo>
                  <a:cubicBezTo>
                    <a:pt x="2250" y="313"/>
                    <a:pt x="2245" y="324"/>
                    <a:pt x="2253" y="324"/>
                  </a:cubicBezTo>
                  <a:close/>
                  <a:moveTo>
                    <a:pt x="2245" y="2552"/>
                  </a:moveTo>
                  <a:cubicBezTo>
                    <a:pt x="2248" y="2552"/>
                    <a:pt x="2250" y="2549"/>
                    <a:pt x="2250" y="2546"/>
                  </a:cubicBezTo>
                  <a:cubicBezTo>
                    <a:pt x="2250" y="2546"/>
                    <a:pt x="2253" y="2546"/>
                    <a:pt x="2253" y="2544"/>
                  </a:cubicBezTo>
                  <a:cubicBezTo>
                    <a:pt x="2251" y="2543"/>
                    <a:pt x="2248" y="2543"/>
                    <a:pt x="2245" y="2546"/>
                  </a:cubicBezTo>
                  <a:cubicBezTo>
                    <a:pt x="2239" y="2532"/>
                    <a:pt x="2242" y="2518"/>
                    <a:pt x="2253" y="2509"/>
                  </a:cubicBezTo>
                  <a:cubicBezTo>
                    <a:pt x="2265" y="2518"/>
                    <a:pt x="2267" y="2535"/>
                    <a:pt x="2262" y="2549"/>
                  </a:cubicBezTo>
                  <a:cubicBezTo>
                    <a:pt x="2261" y="2549"/>
                    <a:pt x="2260" y="2549"/>
                    <a:pt x="2259" y="2548"/>
                  </a:cubicBezTo>
                  <a:cubicBezTo>
                    <a:pt x="2258" y="2550"/>
                    <a:pt x="2255" y="2552"/>
                    <a:pt x="2253" y="2552"/>
                  </a:cubicBezTo>
                  <a:cubicBezTo>
                    <a:pt x="2270" y="2560"/>
                    <a:pt x="2245" y="2577"/>
                    <a:pt x="2250" y="2591"/>
                  </a:cubicBezTo>
                  <a:cubicBezTo>
                    <a:pt x="2228" y="2580"/>
                    <a:pt x="2245" y="2574"/>
                    <a:pt x="2245" y="2552"/>
                  </a:cubicBezTo>
                  <a:lnTo>
                    <a:pt x="2248" y="2555"/>
                  </a:lnTo>
                  <a:lnTo>
                    <a:pt x="2250" y="2555"/>
                  </a:lnTo>
                  <a:cubicBezTo>
                    <a:pt x="2250" y="2555"/>
                    <a:pt x="2248" y="2552"/>
                    <a:pt x="2245" y="2552"/>
                  </a:cubicBezTo>
                  <a:close/>
                  <a:moveTo>
                    <a:pt x="2242" y="240"/>
                  </a:moveTo>
                  <a:cubicBezTo>
                    <a:pt x="2256" y="259"/>
                    <a:pt x="2222" y="251"/>
                    <a:pt x="2242" y="240"/>
                  </a:cubicBezTo>
                  <a:close/>
                  <a:moveTo>
                    <a:pt x="2231" y="2543"/>
                  </a:moveTo>
                  <a:cubicBezTo>
                    <a:pt x="2236" y="2538"/>
                    <a:pt x="2228" y="2552"/>
                    <a:pt x="2231" y="2543"/>
                  </a:cubicBezTo>
                  <a:close/>
                  <a:moveTo>
                    <a:pt x="2205" y="479"/>
                  </a:moveTo>
                  <a:cubicBezTo>
                    <a:pt x="2191" y="465"/>
                    <a:pt x="2222" y="474"/>
                    <a:pt x="2217" y="454"/>
                  </a:cubicBezTo>
                  <a:cubicBezTo>
                    <a:pt x="2234" y="465"/>
                    <a:pt x="2211" y="471"/>
                    <a:pt x="2205" y="479"/>
                  </a:cubicBezTo>
                  <a:close/>
                  <a:moveTo>
                    <a:pt x="2228" y="2684"/>
                  </a:moveTo>
                  <a:cubicBezTo>
                    <a:pt x="2231" y="2693"/>
                    <a:pt x="2219" y="2693"/>
                    <a:pt x="2219" y="2698"/>
                  </a:cubicBezTo>
                  <a:cubicBezTo>
                    <a:pt x="2214" y="2693"/>
                    <a:pt x="2222" y="2682"/>
                    <a:pt x="2228" y="2684"/>
                  </a:cubicBezTo>
                  <a:close/>
                  <a:moveTo>
                    <a:pt x="2222" y="505"/>
                  </a:moveTo>
                  <a:cubicBezTo>
                    <a:pt x="2225" y="499"/>
                    <a:pt x="2228" y="513"/>
                    <a:pt x="2222" y="505"/>
                  </a:cubicBezTo>
                  <a:close/>
                  <a:moveTo>
                    <a:pt x="2222" y="338"/>
                  </a:moveTo>
                  <a:cubicBezTo>
                    <a:pt x="2225" y="338"/>
                    <a:pt x="2228" y="341"/>
                    <a:pt x="2228" y="344"/>
                  </a:cubicBezTo>
                  <a:lnTo>
                    <a:pt x="2228" y="347"/>
                  </a:lnTo>
                  <a:lnTo>
                    <a:pt x="2222" y="347"/>
                  </a:lnTo>
                  <a:cubicBezTo>
                    <a:pt x="2225" y="344"/>
                    <a:pt x="2225" y="341"/>
                    <a:pt x="2222" y="338"/>
                  </a:cubicBezTo>
                  <a:close/>
                  <a:moveTo>
                    <a:pt x="2228" y="488"/>
                  </a:moveTo>
                  <a:cubicBezTo>
                    <a:pt x="2242" y="491"/>
                    <a:pt x="2217" y="508"/>
                    <a:pt x="2228" y="488"/>
                  </a:cubicBezTo>
                  <a:close/>
                  <a:moveTo>
                    <a:pt x="2222" y="228"/>
                  </a:moveTo>
                  <a:cubicBezTo>
                    <a:pt x="2225" y="228"/>
                    <a:pt x="2231" y="231"/>
                    <a:pt x="2234" y="231"/>
                  </a:cubicBezTo>
                  <a:cubicBezTo>
                    <a:pt x="2234" y="234"/>
                    <a:pt x="2231" y="240"/>
                    <a:pt x="2231" y="243"/>
                  </a:cubicBezTo>
                  <a:cubicBezTo>
                    <a:pt x="2228" y="243"/>
                    <a:pt x="2222" y="243"/>
                    <a:pt x="2219" y="240"/>
                  </a:cubicBezTo>
                  <a:cubicBezTo>
                    <a:pt x="2219" y="240"/>
                    <a:pt x="2222" y="234"/>
                    <a:pt x="2222" y="228"/>
                  </a:cubicBezTo>
                  <a:close/>
                  <a:moveTo>
                    <a:pt x="2222" y="285"/>
                  </a:moveTo>
                  <a:cubicBezTo>
                    <a:pt x="2228" y="290"/>
                    <a:pt x="2222" y="296"/>
                    <a:pt x="2219" y="299"/>
                  </a:cubicBezTo>
                  <a:cubicBezTo>
                    <a:pt x="2219" y="296"/>
                    <a:pt x="2219" y="290"/>
                    <a:pt x="2222" y="285"/>
                  </a:cubicBezTo>
                  <a:close/>
                  <a:moveTo>
                    <a:pt x="2219" y="310"/>
                  </a:moveTo>
                  <a:cubicBezTo>
                    <a:pt x="2234" y="316"/>
                    <a:pt x="2208" y="330"/>
                    <a:pt x="2219" y="310"/>
                  </a:cubicBezTo>
                  <a:close/>
                  <a:moveTo>
                    <a:pt x="2214" y="358"/>
                  </a:moveTo>
                  <a:cubicBezTo>
                    <a:pt x="2214" y="353"/>
                    <a:pt x="2222" y="358"/>
                    <a:pt x="2214" y="358"/>
                  </a:cubicBezTo>
                  <a:close/>
                  <a:moveTo>
                    <a:pt x="2217" y="369"/>
                  </a:moveTo>
                  <a:cubicBezTo>
                    <a:pt x="2231" y="389"/>
                    <a:pt x="2197" y="372"/>
                    <a:pt x="2217" y="369"/>
                  </a:cubicBezTo>
                  <a:close/>
                  <a:moveTo>
                    <a:pt x="2208" y="338"/>
                  </a:moveTo>
                  <a:cubicBezTo>
                    <a:pt x="2214" y="333"/>
                    <a:pt x="2208" y="347"/>
                    <a:pt x="2208" y="338"/>
                  </a:cubicBezTo>
                  <a:close/>
                  <a:moveTo>
                    <a:pt x="2214" y="327"/>
                  </a:moveTo>
                  <a:cubicBezTo>
                    <a:pt x="2214" y="333"/>
                    <a:pt x="2205" y="327"/>
                    <a:pt x="2205" y="324"/>
                  </a:cubicBezTo>
                  <a:cubicBezTo>
                    <a:pt x="2211" y="324"/>
                    <a:pt x="2211" y="327"/>
                    <a:pt x="2214" y="327"/>
                  </a:cubicBezTo>
                  <a:close/>
                  <a:moveTo>
                    <a:pt x="2203" y="257"/>
                  </a:moveTo>
                  <a:cubicBezTo>
                    <a:pt x="2203" y="251"/>
                    <a:pt x="2214" y="257"/>
                    <a:pt x="2203" y="257"/>
                  </a:cubicBezTo>
                  <a:close/>
                  <a:moveTo>
                    <a:pt x="2197" y="282"/>
                  </a:moveTo>
                  <a:cubicBezTo>
                    <a:pt x="2197" y="279"/>
                    <a:pt x="2200" y="276"/>
                    <a:pt x="2203" y="274"/>
                  </a:cubicBezTo>
                  <a:cubicBezTo>
                    <a:pt x="2203" y="276"/>
                    <a:pt x="2200" y="279"/>
                    <a:pt x="2197" y="282"/>
                  </a:cubicBezTo>
                  <a:close/>
                  <a:moveTo>
                    <a:pt x="2200" y="313"/>
                  </a:moveTo>
                  <a:cubicBezTo>
                    <a:pt x="2214" y="319"/>
                    <a:pt x="2188" y="333"/>
                    <a:pt x="2200" y="313"/>
                  </a:cubicBezTo>
                  <a:close/>
                  <a:moveTo>
                    <a:pt x="2203" y="237"/>
                  </a:moveTo>
                  <a:cubicBezTo>
                    <a:pt x="2203" y="243"/>
                    <a:pt x="2197" y="237"/>
                    <a:pt x="2191" y="237"/>
                  </a:cubicBezTo>
                  <a:cubicBezTo>
                    <a:pt x="2191" y="234"/>
                    <a:pt x="2200" y="237"/>
                    <a:pt x="2203" y="237"/>
                  </a:cubicBezTo>
                  <a:close/>
                  <a:moveTo>
                    <a:pt x="2180" y="248"/>
                  </a:moveTo>
                  <a:cubicBezTo>
                    <a:pt x="2183" y="240"/>
                    <a:pt x="2186" y="257"/>
                    <a:pt x="2180" y="248"/>
                  </a:cubicBezTo>
                  <a:close/>
                  <a:moveTo>
                    <a:pt x="2191" y="257"/>
                  </a:moveTo>
                  <a:cubicBezTo>
                    <a:pt x="2194" y="262"/>
                    <a:pt x="2194" y="268"/>
                    <a:pt x="2194" y="274"/>
                  </a:cubicBezTo>
                  <a:cubicBezTo>
                    <a:pt x="2188" y="274"/>
                    <a:pt x="2186" y="276"/>
                    <a:pt x="2180" y="279"/>
                  </a:cubicBezTo>
                  <a:cubicBezTo>
                    <a:pt x="2174" y="274"/>
                    <a:pt x="2174" y="268"/>
                    <a:pt x="2171" y="262"/>
                  </a:cubicBezTo>
                  <a:cubicBezTo>
                    <a:pt x="2177" y="259"/>
                    <a:pt x="2186" y="259"/>
                    <a:pt x="2191" y="257"/>
                  </a:cubicBezTo>
                  <a:close/>
                  <a:moveTo>
                    <a:pt x="2188" y="367"/>
                  </a:moveTo>
                  <a:cubicBezTo>
                    <a:pt x="2188" y="367"/>
                    <a:pt x="2186" y="367"/>
                    <a:pt x="2183" y="364"/>
                  </a:cubicBezTo>
                  <a:cubicBezTo>
                    <a:pt x="2183" y="364"/>
                    <a:pt x="2183" y="361"/>
                    <a:pt x="2180" y="361"/>
                  </a:cubicBezTo>
                  <a:lnTo>
                    <a:pt x="2183" y="358"/>
                  </a:lnTo>
                  <a:lnTo>
                    <a:pt x="2183" y="361"/>
                  </a:lnTo>
                  <a:cubicBezTo>
                    <a:pt x="2186" y="367"/>
                    <a:pt x="2188" y="367"/>
                    <a:pt x="2188" y="367"/>
                  </a:cubicBezTo>
                  <a:close/>
                  <a:moveTo>
                    <a:pt x="2186" y="313"/>
                  </a:moveTo>
                  <a:lnTo>
                    <a:pt x="2186" y="314"/>
                  </a:lnTo>
                  <a:cubicBezTo>
                    <a:pt x="2185" y="314"/>
                    <a:pt x="2184" y="314"/>
                    <a:pt x="2186" y="313"/>
                  </a:cubicBezTo>
                  <a:cubicBezTo>
                    <a:pt x="2187" y="313"/>
                    <a:pt x="2186" y="314"/>
                    <a:pt x="2186" y="314"/>
                  </a:cubicBezTo>
                  <a:lnTo>
                    <a:pt x="2186" y="313"/>
                  </a:lnTo>
                  <a:close/>
                  <a:moveTo>
                    <a:pt x="2171" y="361"/>
                  </a:moveTo>
                  <a:cubicBezTo>
                    <a:pt x="2169" y="364"/>
                    <a:pt x="2166" y="367"/>
                    <a:pt x="2163" y="367"/>
                  </a:cubicBezTo>
                  <a:cubicBezTo>
                    <a:pt x="2163" y="364"/>
                    <a:pt x="2166" y="361"/>
                    <a:pt x="2171" y="361"/>
                  </a:cubicBezTo>
                  <a:close/>
                  <a:moveTo>
                    <a:pt x="2166" y="542"/>
                  </a:moveTo>
                  <a:cubicBezTo>
                    <a:pt x="2166" y="553"/>
                    <a:pt x="2157" y="556"/>
                    <a:pt x="2155" y="561"/>
                  </a:cubicBezTo>
                  <a:cubicBezTo>
                    <a:pt x="2143" y="556"/>
                    <a:pt x="2155" y="536"/>
                    <a:pt x="2166" y="542"/>
                  </a:cubicBezTo>
                  <a:close/>
                  <a:moveTo>
                    <a:pt x="2135" y="333"/>
                  </a:moveTo>
                  <a:cubicBezTo>
                    <a:pt x="2132" y="336"/>
                    <a:pt x="2132" y="347"/>
                    <a:pt x="2138" y="350"/>
                  </a:cubicBezTo>
                  <a:cubicBezTo>
                    <a:pt x="2112" y="347"/>
                    <a:pt x="2146" y="307"/>
                    <a:pt x="2157" y="341"/>
                  </a:cubicBezTo>
                  <a:cubicBezTo>
                    <a:pt x="2157" y="341"/>
                    <a:pt x="2155" y="344"/>
                    <a:pt x="2160" y="350"/>
                  </a:cubicBezTo>
                  <a:cubicBezTo>
                    <a:pt x="2152" y="355"/>
                    <a:pt x="2138" y="344"/>
                    <a:pt x="2135" y="333"/>
                  </a:cubicBezTo>
                  <a:close/>
                  <a:moveTo>
                    <a:pt x="2143" y="2555"/>
                  </a:moveTo>
                  <a:cubicBezTo>
                    <a:pt x="2152" y="2549"/>
                    <a:pt x="2140" y="2563"/>
                    <a:pt x="2143" y="2555"/>
                  </a:cubicBezTo>
                  <a:close/>
                  <a:moveTo>
                    <a:pt x="2132" y="401"/>
                  </a:moveTo>
                  <a:cubicBezTo>
                    <a:pt x="2132" y="398"/>
                    <a:pt x="2138" y="395"/>
                    <a:pt x="2138" y="392"/>
                  </a:cubicBezTo>
                  <a:cubicBezTo>
                    <a:pt x="2143" y="392"/>
                    <a:pt x="2138" y="401"/>
                    <a:pt x="2132" y="401"/>
                  </a:cubicBezTo>
                  <a:close/>
                  <a:moveTo>
                    <a:pt x="2135" y="1604"/>
                  </a:moveTo>
                  <a:cubicBezTo>
                    <a:pt x="2138" y="1596"/>
                    <a:pt x="2138" y="1612"/>
                    <a:pt x="2135" y="1604"/>
                  </a:cubicBezTo>
                  <a:close/>
                  <a:moveTo>
                    <a:pt x="2124" y="293"/>
                  </a:moveTo>
                  <a:cubicBezTo>
                    <a:pt x="2121" y="288"/>
                    <a:pt x="2126" y="285"/>
                    <a:pt x="2126" y="282"/>
                  </a:cubicBezTo>
                  <a:cubicBezTo>
                    <a:pt x="2135" y="282"/>
                    <a:pt x="2129" y="293"/>
                    <a:pt x="2124" y="293"/>
                  </a:cubicBezTo>
                  <a:close/>
                  <a:moveTo>
                    <a:pt x="2126" y="313"/>
                  </a:moveTo>
                  <a:lnTo>
                    <a:pt x="2126" y="319"/>
                  </a:lnTo>
                  <a:lnTo>
                    <a:pt x="2121" y="319"/>
                  </a:lnTo>
                  <a:lnTo>
                    <a:pt x="2121" y="313"/>
                  </a:lnTo>
                  <a:lnTo>
                    <a:pt x="2126" y="313"/>
                  </a:lnTo>
                  <a:close/>
                  <a:moveTo>
                    <a:pt x="2135" y="307"/>
                  </a:moveTo>
                  <a:lnTo>
                    <a:pt x="2129" y="307"/>
                  </a:lnTo>
                  <a:lnTo>
                    <a:pt x="2129" y="302"/>
                  </a:lnTo>
                  <a:cubicBezTo>
                    <a:pt x="2129" y="302"/>
                    <a:pt x="2132" y="299"/>
                    <a:pt x="2135" y="299"/>
                  </a:cubicBezTo>
                  <a:cubicBezTo>
                    <a:pt x="2132" y="302"/>
                    <a:pt x="2132" y="305"/>
                    <a:pt x="2135" y="307"/>
                  </a:cubicBezTo>
                  <a:close/>
                  <a:moveTo>
                    <a:pt x="2157" y="296"/>
                  </a:moveTo>
                  <a:cubicBezTo>
                    <a:pt x="2163" y="293"/>
                    <a:pt x="2152" y="305"/>
                    <a:pt x="2157" y="296"/>
                  </a:cubicBezTo>
                  <a:close/>
                  <a:moveTo>
                    <a:pt x="2157" y="206"/>
                  </a:moveTo>
                  <a:cubicBezTo>
                    <a:pt x="2155" y="206"/>
                    <a:pt x="2143" y="203"/>
                    <a:pt x="2143" y="209"/>
                  </a:cubicBezTo>
                  <a:cubicBezTo>
                    <a:pt x="2138" y="203"/>
                    <a:pt x="2160" y="197"/>
                    <a:pt x="2157" y="206"/>
                  </a:cubicBezTo>
                  <a:close/>
                  <a:moveTo>
                    <a:pt x="2121" y="180"/>
                  </a:moveTo>
                  <a:cubicBezTo>
                    <a:pt x="2115" y="178"/>
                    <a:pt x="2112" y="172"/>
                    <a:pt x="2109" y="169"/>
                  </a:cubicBezTo>
                  <a:cubicBezTo>
                    <a:pt x="2118" y="164"/>
                    <a:pt x="2121" y="175"/>
                    <a:pt x="2121" y="180"/>
                  </a:cubicBezTo>
                  <a:close/>
                  <a:moveTo>
                    <a:pt x="2107" y="220"/>
                  </a:moveTo>
                  <a:cubicBezTo>
                    <a:pt x="2112" y="223"/>
                    <a:pt x="2109" y="237"/>
                    <a:pt x="2104" y="237"/>
                  </a:cubicBezTo>
                  <a:cubicBezTo>
                    <a:pt x="2104" y="231"/>
                    <a:pt x="2104" y="226"/>
                    <a:pt x="2107" y="220"/>
                  </a:cubicBezTo>
                  <a:close/>
                  <a:moveTo>
                    <a:pt x="2101" y="319"/>
                  </a:moveTo>
                  <a:cubicBezTo>
                    <a:pt x="2095" y="313"/>
                    <a:pt x="2090" y="302"/>
                    <a:pt x="2098" y="296"/>
                  </a:cubicBezTo>
                  <a:cubicBezTo>
                    <a:pt x="2098" y="298"/>
                    <a:pt x="2100" y="300"/>
                    <a:pt x="2101" y="302"/>
                  </a:cubicBezTo>
                  <a:cubicBezTo>
                    <a:pt x="2102" y="303"/>
                    <a:pt x="2104" y="304"/>
                    <a:pt x="2107" y="302"/>
                  </a:cubicBezTo>
                  <a:lnTo>
                    <a:pt x="2109" y="305"/>
                  </a:lnTo>
                  <a:lnTo>
                    <a:pt x="2107" y="305"/>
                  </a:lnTo>
                  <a:cubicBezTo>
                    <a:pt x="2109" y="307"/>
                    <a:pt x="2107" y="313"/>
                    <a:pt x="2101" y="319"/>
                  </a:cubicBezTo>
                  <a:close/>
                  <a:moveTo>
                    <a:pt x="2101" y="341"/>
                  </a:moveTo>
                  <a:cubicBezTo>
                    <a:pt x="2101" y="336"/>
                    <a:pt x="2112" y="344"/>
                    <a:pt x="2101" y="341"/>
                  </a:cubicBezTo>
                  <a:close/>
                  <a:moveTo>
                    <a:pt x="2098" y="2428"/>
                  </a:moveTo>
                  <a:cubicBezTo>
                    <a:pt x="2098" y="2422"/>
                    <a:pt x="2095" y="2442"/>
                    <a:pt x="2098" y="2428"/>
                  </a:cubicBezTo>
                  <a:close/>
                  <a:moveTo>
                    <a:pt x="2092" y="1610"/>
                  </a:moveTo>
                  <a:cubicBezTo>
                    <a:pt x="2092" y="1604"/>
                    <a:pt x="2104" y="1612"/>
                    <a:pt x="2092" y="1610"/>
                  </a:cubicBezTo>
                  <a:close/>
                  <a:moveTo>
                    <a:pt x="2104" y="240"/>
                  </a:moveTo>
                  <a:lnTo>
                    <a:pt x="2099" y="240"/>
                  </a:lnTo>
                  <a:cubicBezTo>
                    <a:pt x="2100" y="256"/>
                    <a:pt x="2063" y="250"/>
                    <a:pt x="2098" y="237"/>
                  </a:cubicBezTo>
                  <a:lnTo>
                    <a:pt x="2098" y="234"/>
                  </a:lnTo>
                  <a:lnTo>
                    <a:pt x="2104" y="234"/>
                  </a:lnTo>
                  <a:lnTo>
                    <a:pt x="2104" y="237"/>
                  </a:lnTo>
                  <a:lnTo>
                    <a:pt x="2104" y="240"/>
                  </a:lnTo>
                  <a:close/>
                  <a:moveTo>
                    <a:pt x="2109" y="274"/>
                  </a:moveTo>
                  <a:cubicBezTo>
                    <a:pt x="2104" y="276"/>
                    <a:pt x="2104" y="268"/>
                    <a:pt x="2101" y="265"/>
                  </a:cubicBezTo>
                  <a:cubicBezTo>
                    <a:pt x="2104" y="265"/>
                    <a:pt x="2109" y="271"/>
                    <a:pt x="2109" y="274"/>
                  </a:cubicBezTo>
                  <a:close/>
                  <a:moveTo>
                    <a:pt x="2098" y="217"/>
                  </a:moveTo>
                  <a:cubicBezTo>
                    <a:pt x="2084" y="209"/>
                    <a:pt x="2112" y="197"/>
                    <a:pt x="2098" y="217"/>
                  </a:cubicBezTo>
                  <a:close/>
                  <a:moveTo>
                    <a:pt x="2104" y="265"/>
                  </a:moveTo>
                  <a:cubicBezTo>
                    <a:pt x="2101" y="265"/>
                    <a:pt x="2092" y="259"/>
                    <a:pt x="2095" y="254"/>
                  </a:cubicBezTo>
                  <a:cubicBezTo>
                    <a:pt x="2098" y="257"/>
                    <a:pt x="2101" y="262"/>
                    <a:pt x="2104" y="265"/>
                  </a:cubicBezTo>
                  <a:close/>
                  <a:moveTo>
                    <a:pt x="2098" y="166"/>
                  </a:moveTo>
                  <a:cubicBezTo>
                    <a:pt x="2084" y="161"/>
                    <a:pt x="2112" y="147"/>
                    <a:pt x="2098" y="166"/>
                  </a:cubicBezTo>
                  <a:close/>
                  <a:moveTo>
                    <a:pt x="2087" y="147"/>
                  </a:moveTo>
                  <a:cubicBezTo>
                    <a:pt x="2090" y="141"/>
                    <a:pt x="2098" y="152"/>
                    <a:pt x="2087" y="147"/>
                  </a:cubicBezTo>
                  <a:close/>
                  <a:moveTo>
                    <a:pt x="2087" y="195"/>
                  </a:moveTo>
                  <a:cubicBezTo>
                    <a:pt x="2101" y="175"/>
                    <a:pt x="2115" y="206"/>
                    <a:pt x="2087" y="195"/>
                  </a:cubicBezTo>
                  <a:close/>
                  <a:moveTo>
                    <a:pt x="2087" y="307"/>
                  </a:moveTo>
                  <a:cubicBezTo>
                    <a:pt x="2092" y="299"/>
                    <a:pt x="2092" y="313"/>
                    <a:pt x="2087" y="307"/>
                  </a:cubicBezTo>
                  <a:close/>
                  <a:moveTo>
                    <a:pt x="2090" y="468"/>
                  </a:moveTo>
                  <a:cubicBezTo>
                    <a:pt x="2090" y="471"/>
                    <a:pt x="2084" y="474"/>
                    <a:pt x="2081" y="474"/>
                  </a:cubicBezTo>
                  <a:cubicBezTo>
                    <a:pt x="2084" y="471"/>
                    <a:pt x="2087" y="468"/>
                    <a:pt x="2090" y="468"/>
                  </a:cubicBezTo>
                  <a:close/>
                  <a:moveTo>
                    <a:pt x="2081" y="265"/>
                  </a:moveTo>
                  <a:cubicBezTo>
                    <a:pt x="2081" y="262"/>
                    <a:pt x="2087" y="259"/>
                    <a:pt x="2090" y="259"/>
                  </a:cubicBezTo>
                  <a:cubicBezTo>
                    <a:pt x="2090" y="265"/>
                    <a:pt x="2084" y="265"/>
                    <a:pt x="2081" y="265"/>
                  </a:cubicBezTo>
                  <a:close/>
                  <a:moveTo>
                    <a:pt x="2087" y="279"/>
                  </a:moveTo>
                  <a:cubicBezTo>
                    <a:pt x="2090" y="271"/>
                    <a:pt x="2092" y="288"/>
                    <a:pt x="2087" y="279"/>
                  </a:cubicBezTo>
                  <a:close/>
                  <a:moveTo>
                    <a:pt x="2078" y="341"/>
                  </a:moveTo>
                  <a:cubicBezTo>
                    <a:pt x="2084" y="341"/>
                    <a:pt x="2087" y="350"/>
                    <a:pt x="2087" y="353"/>
                  </a:cubicBezTo>
                  <a:cubicBezTo>
                    <a:pt x="2084" y="353"/>
                    <a:pt x="2081" y="350"/>
                    <a:pt x="2078" y="353"/>
                  </a:cubicBezTo>
                  <a:cubicBezTo>
                    <a:pt x="2078" y="347"/>
                    <a:pt x="2081" y="347"/>
                    <a:pt x="2078" y="341"/>
                  </a:cubicBezTo>
                  <a:close/>
                  <a:moveTo>
                    <a:pt x="2084" y="1601"/>
                  </a:moveTo>
                  <a:cubicBezTo>
                    <a:pt x="2078" y="1607"/>
                    <a:pt x="2076" y="1593"/>
                    <a:pt x="2084" y="1601"/>
                  </a:cubicBezTo>
                  <a:close/>
                  <a:moveTo>
                    <a:pt x="2067" y="2447"/>
                  </a:moveTo>
                  <a:cubicBezTo>
                    <a:pt x="2061" y="2442"/>
                    <a:pt x="2073" y="2436"/>
                    <a:pt x="2078" y="2439"/>
                  </a:cubicBezTo>
                  <a:cubicBezTo>
                    <a:pt x="2076" y="2442"/>
                    <a:pt x="2067" y="2442"/>
                    <a:pt x="2067" y="2447"/>
                  </a:cubicBezTo>
                  <a:close/>
                  <a:moveTo>
                    <a:pt x="2073" y="2591"/>
                  </a:moveTo>
                  <a:cubicBezTo>
                    <a:pt x="2078" y="2586"/>
                    <a:pt x="2076" y="2600"/>
                    <a:pt x="2073" y="2591"/>
                  </a:cubicBezTo>
                  <a:close/>
                  <a:moveTo>
                    <a:pt x="2070" y="2402"/>
                  </a:moveTo>
                  <a:cubicBezTo>
                    <a:pt x="2070" y="2397"/>
                    <a:pt x="2078" y="2397"/>
                    <a:pt x="2084" y="2397"/>
                  </a:cubicBezTo>
                  <a:cubicBezTo>
                    <a:pt x="2081" y="2399"/>
                    <a:pt x="2073" y="2402"/>
                    <a:pt x="2070" y="2402"/>
                  </a:cubicBezTo>
                  <a:close/>
                  <a:moveTo>
                    <a:pt x="2073" y="344"/>
                  </a:moveTo>
                  <a:cubicBezTo>
                    <a:pt x="2076" y="336"/>
                    <a:pt x="2078" y="350"/>
                    <a:pt x="2073" y="344"/>
                  </a:cubicBezTo>
                  <a:close/>
                  <a:moveTo>
                    <a:pt x="2070" y="251"/>
                  </a:moveTo>
                  <a:cubicBezTo>
                    <a:pt x="2076" y="243"/>
                    <a:pt x="2067" y="257"/>
                    <a:pt x="2070" y="251"/>
                  </a:cubicBezTo>
                  <a:close/>
                  <a:moveTo>
                    <a:pt x="2061" y="296"/>
                  </a:moveTo>
                  <a:cubicBezTo>
                    <a:pt x="2061" y="293"/>
                    <a:pt x="2064" y="288"/>
                    <a:pt x="2070" y="288"/>
                  </a:cubicBezTo>
                  <a:cubicBezTo>
                    <a:pt x="2070" y="290"/>
                    <a:pt x="2070" y="293"/>
                    <a:pt x="2073" y="293"/>
                  </a:cubicBezTo>
                  <a:cubicBezTo>
                    <a:pt x="2067" y="296"/>
                    <a:pt x="2064" y="296"/>
                    <a:pt x="2061" y="296"/>
                  </a:cubicBezTo>
                  <a:close/>
                  <a:moveTo>
                    <a:pt x="2061" y="282"/>
                  </a:moveTo>
                  <a:cubicBezTo>
                    <a:pt x="2061" y="276"/>
                    <a:pt x="2073" y="282"/>
                    <a:pt x="2061" y="282"/>
                  </a:cubicBezTo>
                  <a:close/>
                  <a:moveTo>
                    <a:pt x="2070" y="262"/>
                  </a:moveTo>
                  <a:cubicBezTo>
                    <a:pt x="2070" y="265"/>
                    <a:pt x="2070" y="268"/>
                    <a:pt x="2073" y="271"/>
                  </a:cubicBezTo>
                  <a:cubicBezTo>
                    <a:pt x="2070" y="271"/>
                    <a:pt x="2067" y="271"/>
                    <a:pt x="2067" y="274"/>
                  </a:cubicBezTo>
                  <a:cubicBezTo>
                    <a:pt x="2061" y="271"/>
                    <a:pt x="2067" y="271"/>
                    <a:pt x="2067" y="268"/>
                  </a:cubicBezTo>
                  <a:cubicBezTo>
                    <a:pt x="2062" y="271"/>
                    <a:pt x="2059" y="273"/>
                    <a:pt x="2056" y="266"/>
                  </a:cubicBezTo>
                  <a:cubicBezTo>
                    <a:pt x="2057" y="267"/>
                    <a:pt x="2067" y="260"/>
                    <a:pt x="2070" y="262"/>
                  </a:cubicBezTo>
                  <a:close/>
                  <a:moveTo>
                    <a:pt x="2056" y="209"/>
                  </a:moveTo>
                  <a:cubicBezTo>
                    <a:pt x="2056" y="212"/>
                    <a:pt x="2053" y="217"/>
                    <a:pt x="2050" y="220"/>
                  </a:cubicBezTo>
                  <a:cubicBezTo>
                    <a:pt x="2047" y="217"/>
                    <a:pt x="2044" y="220"/>
                    <a:pt x="2044" y="223"/>
                  </a:cubicBezTo>
                  <a:cubicBezTo>
                    <a:pt x="2033" y="223"/>
                    <a:pt x="2047" y="197"/>
                    <a:pt x="2056" y="209"/>
                  </a:cubicBezTo>
                  <a:close/>
                  <a:moveTo>
                    <a:pt x="2036" y="172"/>
                  </a:moveTo>
                  <a:cubicBezTo>
                    <a:pt x="2036" y="169"/>
                    <a:pt x="2042" y="166"/>
                    <a:pt x="2044" y="166"/>
                  </a:cubicBezTo>
                  <a:cubicBezTo>
                    <a:pt x="2042" y="169"/>
                    <a:pt x="2039" y="172"/>
                    <a:pt x="2036" y="172"/>
                  </a:cubicBezTo>
                  <a:close/>
                  <a:moveTo>
                    <a:pt x="2053" y="265"/>
                  </a:moveTo>
                  <a:cubicBezTo>
                    <a:pt x="2053" y="268"/>
                    <a:pt x="2047" y="271"/>
                    <a:pt x="2044" y="271"/>
                  </a:cubicBezTo>
                  <a:cubicBezTo>
                    <a:pt x="2044" y="268"/>
                    <a:pt x="2050" y="265"/>
                    <a:pt x="2053" y="265"/>
                  </a:cubicBezTo>
                  <a:close/>
                  <a:moveTo>
                    <a:pt x="2044" y="570"/>
                  </a:moveTo>
                  <a:lnTo>
                    <a:pt x="2036" y="570"/>
                  </a:lnTo>
                  <a:lnTo>
                    <a:pt x="2036" y="564"/>
                  </a:lnTo>
                  <a:cubicBezTo>
                    <a:pt x="2042" y="564"/>
                    <a:pt x="2044" y="567"/>
                    <a:pt x="2044" y="570"/>
                  </a:cubicBezTo>
                  <a:close/>
                  <a:moveTo>
                    <a:pt x="2039" y="2273"/>
                  </a:moveTo>
                  <a:cubicBezTo>
                    <a:pt x="2042" y="2275"/>
                    <a:pt x="2047" y="2278"/>
                    <a:pt x="2047" y="2284"/>
                  </a:cubicBezTo>
                  <a:cubicBezTo>
                    <a:pt x="2042" y="2287"/>
                    <a:pt x="2039" y="2278"/>
                    <a:pt x="2039" y="2273"/>
                  </a:cubicBezTo>
                  <a:close/>
                  <a:moveTo>
                    <a:pt x="2044" y="2422"/>
                  </a:moveTo>
                  <a:cubicBezTo>
                    <a:pt x="2044" y="2416"/>
                    <a:pt x="2053" y="2425"/>
                    <a:pt x="2044" y="2422"/>
                  </a:cubicBezTo>
                  <a:close/>
                  <a:moveTo>
                    <a:pt x="2050" y="338"/>
                  </a:moveTo>
                  <a:cubicBezTo>
                    <a:pt x="2047" y="344"/>
                    <a:pt x="2039" y="336"/>
                    <a:pt x="2050" y="338"/>
                  </a:cubicBezTo>
                  <a:close/>
                  <a:moveTo>
                    <a:pt x="2044" y="293"/>
                  </a:moveTo>
                  <a:cubicBezTo>
                    <a:pt x="2047" y="290"/>
                    <a:pt x="2050" y="288"/>
                    <a:pt x="2053" y="288"/>
                  </a:cubicBezTo>
                  <a:cubicBezTo>
                    <a:pt x="2053" y="293"/>
                    <a:pt x="2047" y="296"/>
                    <a:pt x="2044" y="293"/>
                  </a:cubicBezTo>
                  <a:close/>
                  <a:moveTo>
                    <a:pt x="2053" y="457"/>
                  </a:moveTo>
                  <a:cubicBezTo>
                    <a:pt x="2053" y="451"/>
                    <a:pt x="2061" y="460"/>
                    <a:pt x="2053" y="457"/>
                  </a:cubicBezTo>
                  <a:close/>
                  <a:moveTo>
                    <a:pt x="2064" y="426"/>
                  </a:moveTo>
                  <a:lnTo>
                    <a:pt x="2064" y="432"/>
                  </a:lnTo>
                  <a:cubicBezTo>
                    <a:pt x="2053" y="434"/>
                    <a:pt x="2059" y="420"/>
                    <a:pt x="2064" y="426"/>
                  </a:cubicBezTo>
                  <a:close/>
                  <a:moveTo>
                    <a:pt x="2059" y="2275"/>
                  </a:moveTo>
                  <a:cubicBezTo>
                    <a:pt x="2053" y="2284"/>
                    <a:pt x="2044" y="2275"/>
                    <a:pt x="2059" y="2275"/>
                  </a:cubicBezTo>
                  <a:close/>
                  <a:moveTo>
                    <a:pt x="2059" y="2478"/>
                  </a:moveTo>
                  <a:lnTo>
                    <a:pt x="2059" y="2481"/>
                  </a:lnTo>
                  <a:lnTo>
                    <a:pt x="2056" y="2481"/>
                  </a:lnTo>
                  <a:lnTo>
                    <a:pt x="2059" y="2478"/>
                  </a:lnTo>
                  <a:close/>
                  <a:moveTo>
                    <a:pt x="2056" y="2620"/>
                  </a:moveTo>
                  <a:lnTo>
                    <a:pt x="2061" y="2620"/>
                  </a:lnTo>
                  <a:lnTo>
                    <a:pt x="2061" y="2625"/>
                  </a:lnTo>
                  <a:lnTo>
                    <a:pt x="2056" y="2625"/>
                  </a:lnTo>
                  <a:lnTo>
                    <a:pt x="2056" y="2620"/>
                  </a:lnTo>
                  <a:close/>
                  <a:moveTo>
                    <a:pt x="2047" y="169"/>
                  </a:moveTo>
                  <a:cubicBezTo>
                    <a:pt x="2047" y="166"/>
                    <a:pt x="2047" y="164"/>
                    <a:pt x="2050" y="164"/>
                  </a:cubicBezTo>
                  <a:cubicBezTo>
                    <a:pt x="2053" y="164"/>
                    <a:pt x="2059" y="166"/>
                    <a:pt x="2061" y="169"/>
                  </a:cubicBezTo>
                  <a:cubicBezTo>
                    <a:pt x="2061" y="172"/>
                    <a:pt x="2061" y="175"/>
                    <a:pt x="2059" y="178"/>
                  </a:cubicBezTo>
                  <a:cubicBezTo>
                    <a:pt x="2061" y="180"/>
                    <a:pt x="2056" y="189"/>
                    <a:pt x="2050" y="189"/>
                  </a:cubicBezTo>
                  <a:cubicBezTo>
                    <a:pt x="2050" y="183"/>
                    <a:pt x="2053" y="183"/>
                    <a:pt x="2053" y="180"/>
                  </a:cubicBezTo>
                  <a:cubicBezTo>
                    <a:pt x="2050" y="180"/>
                    <a:pt x="2047" y="180"/>
                    <a:pt x="2044" y="178"/>
                  </a:cubicBezTo>
                  <a:lnTo>
                    <a:pt x="2044" y="175"/>
                  </a:lnTo>
                  <a:lnTo>
                    <a:pt x="2044" y="172"/>
                  </a:lnTo>
                  <a:cubicBezTo>
                    <a:pt x="2044" y="166"/>
                    <a:pt x="2044" y="166"/>
                    <a:pt x="2047" y="169"/>
                  </a:cubicBezTo>
                  <a:close/>
                  <a:moveTo>
                    <a:pt x="2042" y="118"/>
                  </a:moveTo>
                  <a:cubicBezTo>
                    <a:pt x="2042" y="121"/>
                    <a:pt x="2042" y="124"/>
                    <a:pt x="2044" y="127"/>
                  </a:cubicBezTo>
                  <a:cubicBezTo>
                    <a:pt x="2039" y="130"/>
                    <a:pt x="2036" y="124"/>
                    <a:pt x="2036" y="121"/>
                  </a:cubicBezTo>
                  <a:lnTo>
                    <a:pt x="2042" y="118"/>
                  </a:lnTo>
                  <a:close/>
                  <a:moveTo>
                    <a:pt x="2033" y="296"/>
                  </a:moveTo>
                  <a:cubicBezTo>
                    <a:pt x="2033" y="290"/>
                    <a:pt x="2044" y="296"/>
                    <a:pt x="2033" y="296"/>
                  </a:cubicBezTo>
                  <a:close/>
                  <a:moveTo>
                    <a:pt x="2042" y="319"/>
                  </a:moveTo>
                  <a:cubicBezTo>
                    <a:pt x="2036" y="319"/>
                    <a:pt x="2022" y="313"/>
                    <a:pt x="2028" y="307"/>
                  </a:cubicBezTo>
                  <a:cubicBezTo>
                    <a:pt x="2033" y="310"/>
                    <a:pt x="2036" y="313"/>
                    <a:pt x="2042" y="319"/>
                  </a:cubicBezTo>
                  <a:close/>
                  <a:moveTo>
                    <a:pt x="2030" y="355"/>
                  </a:moveTo>
                  <a:cubicBezTo>
                    <a:pt x="2030" y="361"/>
                    <a:pt x="2019" y="355"/>
                    <a:pt x="2019" y="355"/>
                  </a:cubicBezTo>
                  <a:cubicBezTo>
                    <a:pt x="2019" y="350"/>
                    <a:pt x="2028" y="350"/>
                    <a:pt x="2030" y="355"/>
                  </a:cubicBezTo>
                  <a:close/>
                  <a:moveTo>
                    <a:pt x="2016" y="212"/>
                  </a:moveTo>
                  <a:cubicBezTo>
                    <a:pt x="2019" y="203"/>
                    <a:pt x="2025" y="217"/>
                    <a:pt x="2016" y="212"/>
                  </a:cubicBezTo>
                  <a:close/>
                  <a:moveTo>
                    <a:pt x="2028" y="195"/>
                  </a:moveTo>
                  <a:lnTo>
                    <a:pt x="2028" y="203"/>
                  </a:lnTo>
                  <a:cubicBezTo>
                    <a:pt x="2022" y="206"/>
                    <a:pt x="2019" y="200"/>
                    <a:pt x="2016" y="200"/>
                  </a:cubicBezTo>
                  <a:cubicBezTo>
                    <a:pt x="2016" y="192"/>
                    <a:pt x="2025" y="195"/>
                    <a:pt x="2028" y="195"/>
                  </a:cubicBezTo>
                  <a:close/>
                  <a:moveTo>
                    <a:pt x="2019" y="2301"/>
                  </a:moveTo>
                  <a:cubicBezTo>
                    <a:pt x="2008" y="2304"/>
                    <a:pt x="2022" y="2287"/>
                    <a:pt x="2019" y="2301"/>
                  </a:cubicBezTo>
                  <a:close/>
                  <a:moveTo>
                    <a:pt x="2022" y="2501"/>
                  </a:moveTo>
                  <a:cubicBezTo>
                    <a:pt x="2030" y="2507"/>
                    <a:pt x="2011" y="2507"/>
                    <a:pt x="2022" y="2501"/>
                  </a:cubicBezTo>
                  <a:close/>
                  <a:moveTo>
                    <a:pt x="2013" y="381"/>
                  </a:moveTo>
                  <a:lnTo>
                    <a:pt x="2008" y="381"/>
                  </a:lnTo>
                  <a:lnTo>
                    <a:pt x="2008" y="375"/>
                  </a:lnTo>
                  <a:cubicBezTo>
                    <a:pt x="2011" y="375"/>
                    <a:pt x="2013" y="378"/>
                    <a:pt x="2016" y="378"/>
                  </a:cubicBezTo>
                  <a:lnTo>
                    <a:pt x="2013" y="381"/>
                  </a:lnTo>
                  <a:close/>
                  <a:moveTo>
                    <a:pt x="2013" y="231"/>
                  </a:moveTo>
                  <a:cubicBezTo>
                    <a:pt x="2008" y="234"/>
                    <a:pt x="2002" y="240"/>
                    <a:pt x="1997" y="240"/>
                  </a:cubicBezTo>
                  <a:cubicBezTo>
                    <a:pt x="1998" y="237"/>
                    <a:pt x="2000" y="234"/>
                    <a:pt x="2003" y="232"/>
                  </a:cubicBezTo>
                  <a:cubicBezTo>
                    <a:pt x="1994" y="235"/>
                    <a:pt x="1994" y="223"/>
                    <a:pt x="2002" y="220"/>
                  </a:cubicBezTo>
                  <a:cubicBezTo>
                    <a:pt x="2002" y="223"/>
                    <a:pt x="2005" y="228"/>
                    <a:pt x="2005" y="231"/>
                  </a:cubicBezTo>
                  <a:cubicBezTo>
                    <a:pt x="2008" y="229"/>
                    <a:pt x="2011" y="229"/>
                    <a:pt x="2013" y="231"/>
                  </a:cubicBezTo>
                  <a:close/>
                  <a:moveTo>
                    <a:pt x="2002" y="550"/>
                  </a:moveTo>
                  <a:cubicBezTo>
                    <a:pt x="2005" y="544"/>
                    <a:pt x="2013" y="553"/>
                    <a:pt x="2002" y="550"/>
                  </a:cubicBezTo>
                  <a:close/>
                  <a:moveTo>
                    <a:pt x="2002" y="206"/>
                  </a:moveTo>
                  <a:lnTo>
                    <a:pt x="2008" y="206"/>
                  </a:lnTo>
                  <a:lnTo>
                    <a:pt x="2008" y="212"/>
                  </a:lnTo>
                  <a:lnTo>
                    <a:pt x="2002" y="212"/>
                  </a:lnTo>
                  <a:lnTo>
                    <a:pt x="2002" y="206"/>
                  </a:lnTo>
                  <a:close/>
                  <a:moveTo>
                    <a:pt x="1994" y="133"/>
                  </a:moveTo>
                  <a:cubicBezTo>
                    <a:pt x="1997" y="127"/>
                    <a:pt x="2008" y="133"/>
                    <a:pt x="1994" y="133"/>
                  </a:cubicBezTo>
                  <a:close/>
                  <a:moveTo>
                    <a:pt x="1999" y="212"/>
                  </a:moveTo>
                  <a:cubicBezTo>
                    <a:pt x="1999" y="214"/>
                    <a:pt x="1994" y="217"/>
                    <a:pt x="1994" y="220"/>
                  </a:cubicBezTo>
                  <a:cubicBezTo>
                    <a:pt x="1988" y="220"/>
                    <a:pt x="1994" y="212"/>
                    <a:pt x="1999" y="212"/>
                  </a:cubicBezTo>
                  <a:close/>
                  <a:moveTo>
                    <a:pt x="1982" y="389"/>
                  </a:moveTo>
                  <a:cubicBezTo>
                    <a:pt x="1985" y="386"/>
                    <a:pt x="1991" y="384"/>
                    <a:pt x="1997" y="384"/>
                  </a:cubicBezTo>
                  <a:cubicBezTo>
                    <a:pt x="1997" y="386"/>
                    <a:pt x="1997" y="389"/>
                    <a:pt x="1999" y="389"/>
                  </a:cubicBezTo>
                  <a:cubicBezTo>
                    <a:pt x="1997" y="395"/>
                    <a:pt x="1985" y="389"/>
                    <a:pt x="1982" y="389"/>
                  </a:cubicBezTo>
                  <a:close/>
                  <a:moveTo>
                    <a:pt x="1997" y="2605"/>
                  </a:moveTo>
                  <a:cubicBezTo>
                    <a:pt x="1994" y="2603"/>
                    <a:pt x="1997" y="2600"/>
                    <a:pt x="1997" y="2597"/>
                  </a:cubicBezTo>
                  <a:cubicBezTo>
                    <a:pt x="1999" y="2600"/>
                    <a:pt x="1997" y="2605"/>
                    <a:pt x="1997" y="2605"/>
                  </a:cubicBezTo>
                  <a:close/>
                  <a:moveTo>
                    <a:pt x="1974" y="276"/>
                  </a:moveTo>
                  <a:cubicBezTo>
                    <a:pt x="1977" y="271"/>
                    <a:pt x="1985" y="279"/>
                    <a:pt x="1974" y="276"/>
                  </a:cubicBezTo>
                  <a:close/>
                  <a:moveTo>
                    <a:pt x="1974" y="226"/>
                  </a:moveTo>
                  <a:cubicBezTo>
                    <a:pt x="1974" y="220"/>
                    <a:pt x="1985" y="226"/>
                    <a:pt x="1974" y="226"/>
                  </a:cubicBezTo>
                  <a:close/>
                  <a:moveTo>
                    <a:pt x="1977" y="330"/>
                  </a:moveTo>
                  <a:cubicBezTo>
                    <a:pt x="1982" y="324"/>
                    <a:pt x="1974" y="338"/>
                    <a:pt x="1977" y="330"/>
                  </a:cubicBezTo>
                  <a:close/>
                  <a:moveTo>
                    <a:pt x="1980" y="392"/>
                  </a:moveTo>
                  <a:cubicBezTo>
                    <a:pt x="1991" y="395"/>
                    <a:pt x="1971" y="403"/>
                    <a:pt x="1980" y="392"/>
                  </a:cubicBezTo>
                  <a:close/>
                  <a:moveTo>
                    <a:pt x="1980" y="570"/>
                  </a:moveTo>
                  <a:cubicBezTo>
                    <a:pt x="1988" y="567"/>
                    <a:pt x="1977" y="578"/>
                    <a:pt x="1980" y="570"/>
                  </a:cubicBezTo>
                  <a:close/>
                  <a:moveTo>
                    <a:pt x="1982" y="1453"/>
                  </a:moveTo>
                  <a:cubicBezTo>
                    <a:pt x="1982" y="1447"/>
                    <a:pt x="1991" y="1455"/>
                    <a:pt x="1982" y="1453"/>
                  </a:cubicBezTo>
                  <a:close/>
                  <a:moveTo>
                    <a:pt x="1994" y="2622"/>
                  </a:moveTo>
                  <a:cubicBezTo>
                    <a:pt x="1994" y="2628"/>
                    <a:pt x="1982" y="2625"/>
                    <a:pt x="1980" y="2625"/>
                  </a:cubicBezTo>
                  <a:cubicBezTo>
                    <a:pt x="1980" y="2622"/>
                    <a:pt x="1991" y="2620"/>
                    <a:pt x="1994" y="2622"/>
                  </a:cubicBezTo>
                  <a:close/>
                  <a:moveTo>
                    <a:pt x="1994" y="2250"/>
                  </a:moveTo>
                  <a:cubicBezTo>
                    <a:pt x="1994" y="2253"/>
                    <a:pt x="1988" y="2256"/>
                    <a:pt x="1988" y="2258"/>
                  </a:cubicBezTo>
                  <a:cubicBezTo>
                    <a:pt x="1982" y="2258"/>
                    <a:pt x="1988" y="2250"/>
                    <a:pt x="1994" y="2250"/>
                  </a:cubicBezTo>
                  <a:close/>
                  <a:moveTo>
                    <a:pt x="1985" y="592"/>
                  </a:moveTo>
                  <a:cubicBezTo>
                    <a:pt x="1985" y="587"/>
                    <a:pt x="1997" y="598"/>
                    <a:pt x="1985" y="592"/>
                  </a:cubicBezTo>
                  <a:close/>
                  <a:moveTo>
                    <a:pt x="1997" y="274"/>
                  </a:moveTo>
                  <a:lnTo>
                    <a:pt x="1991" y="274"/>
                  </a:lnTo>
                  <a:lnTo>
                    <a:pt x="1991" y="268"/>
                  </a:lnTo>
                  <a:lnTo>
                    <a:pt x="1997" y="268"/>
                  </a:lnTo>
                  <a:lnTo>
                    <a:pt x="1997" y="274"/>
                  </a:lnTo>
                  <a:close/>
                  <a:moveTo>
                    <a:pt x="1985" y="251"/>
                  </a:moveTo>
                  <a:cubicBezTo>
                    <a:pt x="1985" y="245"/>
                    <a:pt x="1985" y="240"/>
                    <a:pt x="1988" y="234"/>
                  </a:cubicBezTo>
                  <a:cubicBezTo>
                    <a:pt x="1994" y="231"/>
                    <a:pt x="1994" y="251"/>
                    <a:pt x="1985" y="251"/>
                  </a:cubicBezTo>
                  <a:close/>
                  <a:moveTo>
                    <a:pt x="1985" y="220"/>
                  </a:moveTo>
                  <a:cubicBezTo>
                    <a:pt x="1985" y="214"/>
                    <a:pt x="1994" y="223"/>
                    <a:pt x="1985" y="220"/>
                  </a:cubicBezTo>
                  <a:close/>
                  <a:moveTo>
                    <a:pt x="1991" y="257"/>
                  </a:moveTo>
                  <a:cubicBezTo>
                    <a:pt x="1991" y="265"/>
                    <a:pt x="1982" y="251"/>
                    <a:pt x="1991" y="257"/>
                  </a:cubicBezTo>
                  <a:close/>
                  <a:moveTo>
                    <a:pt x="1982" y="271"/>
                  </a:moveTo>
                  <a:cubicBezTo>
                    <a:pt x="1968" y="265"/>
                    <a:pt x="1997" y="251"/>
                    <a:pt x="1982" y="271"/>
                  </a:cubicBezTo>
                  <a:close/>
                  <a:moveTo>
                    <a:pt x="1971" y="166"/>
                  </a:moveTo>
                  <a:lnTo>
                    <a:pt x="1977" y="166"/>
                  </a:lnTo>
                  <a:lnTo>
                    <a:pt x="1980" y="169"/>
                  </a:lnTo>
                  <a:cubicBezTo>
                    <a:pt x="1980" y="175"/>
                    <a:pt x="1968" y="175"/>
                    <a:pt x="1971" y="166"/>
                  </a:cubicBezTo>
                  <a:close/>
                  <a:moveTo>
                    <a:pt x="1960" y="158"/>
                  </a:moveTo>
                  <a:cubicBezTo>
                    <a:pt x="1963" y="158"/>
                    <a:pt x="1963" y="161"/>
                    <a:pt x="1965" y="161"/>
                  </a:cubicBezTo>
                  <a:lnTo>
                    <a:pt x="1965" y="164"/>
                  </a:lnTo>
                  <a:lnTo>
                    <a:pt x="1957" y="164"/>
                  </a:lnTo>
                  <a:cubicBezTo>
                    <a:pt x="1957" y="164"/>
                    <a:pt x="1957" y="161"/>
                    <a:pt x="1960" y="158"/>
                  </a:cubicBezTo>
                  <a:close/>
                  <a:moveTo>
                    <a:pt x="1957" y="206"/>
                  </a:moveTo>
                  <a:cubicBezTo>
                    <a:pt x="1957" y="200"/>
                    <a:pt x="1965" y="206"/>
                    <a:pt x="1957" y="206"/>
                  </a:cubicBezTo>
                  <a:close/>
                  <a:moveTo>
                    <a:pt x="1965" y="217"/>
                  </a:moveTo>
                  <a:cubicBezTo>
                    <a:pt x="1965" y="220"/>
                    <a:pt x="1963" y="226"/>
                    <a:pt x="1963" y="228"/>
                  </a:cubicBezTo>
                  <a:cubicBezTo>
                    <a:pt x="1962" y="228"/>
                    <a:pt x="1961" y="227"/>
                    <a:pt x="1960" y="226"/>
                  </a:cubicBezTo>
                  <a:cubicBezTo>
                    <a:pt x="1962" y="233"/>
                    <a:pt x="1944" y="226"/>
                    <a:pt x="1959" y="226"/>
                  </a:cubicBezTo>
                  <a:lnTo>
                    <a:pt x="1959" y="226"/>
                  </a:lnTo>
                  <a:lnTo>
                    <a:pt x="1960" y="226"/>
                  </a:lnTo>
                  <a:lnTo>
                    <a:pt x="1959" y="226"/>
                  </a:lnTo>
                  <a:cubicBezTo>
                    <a:pt x="1958" y="225"/>
                    <a:pt x="1957" y="223"/>
                    <a:pt x="1957" y="220"/>
                  </a:cubicBezTo>
                  <a:cubicBezTo>
                    <a:pt x="1960" y="220"/>
                    <a:pt x="1963" y="217"/>
                    <a:pt x="1965" y="217"/>
                  </a:cubicBezTo>
                  <a:close/>
                  <a:moveTo>
                    <a:pt x="1949" y="110"/>
                  </a:moveTo>
                  <a:cubicBezTo>
                    <a:pt x="1946" y="104"/>
                    <a:pt x="1957" y="110"/>
                    <a:pt x="1949" y="110"/>
                  </a:cubicBezTo>
                  <a:close/>
                  <a:moveTo>
                    <a:pt x="1929" y="2360"/>
                  </a:moveTo>
                  <a:cubicBezTo>
                    <a:pt x="1932" y="2357"/>
                    <a:pt x="1934" y="2352"/>
                    <a:pt x="1937" y="2352"/>
                  </a:cubicBezTo>
                  <a:cubicBezTo>
                    <a:pt x="1940" y="2357"/>
                    <a:pt x="1934" y="2363"/>
                    <a:pt x="1929" y="2360"/>
                  </a:cubicBezTo>
                  <a:close/>
                  <a:moveTo>
                    <a:pt x="1934" y="2806"/>
                  </a:moveTo>
                  <a:lnTo>
                    <a:pt x="1934" y="2811"/>
                  </a:lnTo>
                  <a:lnTo>
                    <a:pt x="1929" y="2811"/>
                  </a:lnTo>
                  <a:lnTo>
                    <a:pt x="1929" y="2806"/>
                  </a:lnTo>
                  <a:lnTo>
                    <a:pt x="1934" y="2806"/>
                  </a:lnTo>
                  <a:close/>
                  <a:moveTo>
                    <a:pt x="1923" y="2174"/>
                  </a:moveTo>
                  <a:cubicBezTo>
                    <a:pt x="1926" y="2174"/>
                    <a:pt x="1926" y="2185"/>
                    <a:pt x="1920" y="2182"/>
                  </a:cubicBezTo>
                  <a:cubicBezTo>
                    <a:pt x="1920" y="2179"/>
                    <a:pt x="1923" y="2177"/>
                    <a:pt x="1923" y="2174"/>
                  </a:cubicBezTo>
                  <a:close/>
                  <a:moveTo>
                    <a:pt x="1906" y="536"/>
                  </a:moveTo>
                  <a:cubicBezTo>
                    <a:pt x="1909" y="530"/>
                    <a:pt x="1918" y="542"/>
                    <a:pt x="1906" y="536"/>
                  </a:cubicBezTo>
                  <a:close/>
                  <a:moveTo>
                    <a:pt x="1903" y="178"/>
                  </a:moveTo>
                  <a:lnTo>
                    <a:pt x="1909" y="178"/>
                  </a:lnTo>
                  <a:lnTo>
                    <a:pt x="1909" y="183"/>
                  </a:lnTo>
                  <a:lnTo>
                    <a:pt x="1903" y="183"/>
                  </a:lnTo>
                  <a:lnTo>
                    <a:pt x="1903" y="178"/>
                  </a:lnTo>
                  <a:close/>
                  <a:moveTo>
                    <a:pt x="1898" y="2267"/>
                  </a:moveTo>
                  <a:cubicBezTo>
                    <a:pt x="1901" y="2261"/>
                    <a:pt x="1901" y="2275"/>
                    <a:pt x="1898" y="2267"/>
                  </a:cubicBezTo>
                  <a:close/>
                  <a:moveTo>
                    <a:pt x="1903" y="2490"/>
                  </a:moveTo>
                  <a:cubicBezTo>
                    <a:pt x="1906" y="2498"/>
                    <a:pt x="1889" y="2498"/>
                    <a:pt x="1903" y="2490"/>
                  </a:cubicBezTo>
                  <a:close/>
                  <a:moveTo>
                    <a:pt x="1881" y="141"/>
                  </a:moveTo>
                  <a:cubicBezTo>
                    <a:pt x="1886" y="139"/>
                    <a:pt x="1888" y="140"/>
                    <a:pt x="1891" y="141"/>
                  </a:cubicBezTo>
                  <a:cubicBezTo>
                    <a:pt x="1890" y="139"/>
                    <a:pt x="1889" y="138"/>
                    <a:pt x="1889" y="138"/>
                  </a:cubicBezTo>
                  <a:cubicBezTo>
                    <a:pt x="1895" y="133"/>
                    <a:pt x="1898" y="141"/>
                    <a:pt x="1895" y="144"/>
                  </a:cubicBezTo>
                  <a:cubicBezTo>
                    <a:pt x="1894" y="144"/>
                    <a:pt x="1893" y="143"/>
                    <a:pt x="1892" y="142"/>
                  </a:cubicBezTo>
                  <a:cubicBezTo>
                    <a:pt x="1891" y="147"/>
                    <a:pt x="1881" y="146"/>
                    <a:pt x="1881" y="141"/>
                  </a:cubicBezTo>
                  <a:close/>
                  <a:moveTo>
                    <a:pt x="1889" y="2687"/>
                  </a:moveTo>
                  <a:cubicBezTo>
                    <a:pt x="1889" y="2693"/>
                    <a:pt x="1886" y="2696"/>
                    <a:pt x="1884" y="2698"/>
                  </a:cubicBezTo>
                  <a:cubicBezTo>
                    <a:pt x="1884" y="2698"/>
                    <a:pt x="1881" y="2687"/>
                    <a:pt x="1889" y="2687"/>
                  </a:cubicBezTo>
                  <a:close/>
                  <a:moveTo>
                    <a:pt x="1870" y="2478"/>
                  </a:moveTo>
                  <a:cubicBezTo>
                    <a:pt x="1867" y="2476"/>
                    <a:pt x="1867" y="2473"/>
                    <a:pt x="1867" y="2470"/>
                  </a:cubicBezTo>
                  <a:cubicBezTo>
                    <a:pt x="1870" y="2467"/>
                    <a:pt x="1878" y="2470"/>
                    <a:pt x="1881" y="2473"/>
                  </a:cubicBezTo>
                  <a:cubicBezTo>
                    <a:pt x="1881" y="2476"/>
                    <a:pt x="1875" y="2478"/>
                    <a:pt x="1870" y="2478"/>
                  </a:cubicBezTo>
                  <a:close/>
                  <a:moveTo>
                    <a:pt x="1884" y="2679"/>
                  </a:moveTo>
                  <a:cubicBezTo>
                    <a:pt x="1886" y="2676"/>
                    <a:pt x="1889" y="2679"/>
                    <a:pt x="1895" y="2679"/>
                  </a:cubicBezTo>
                  <a:cubicBezTo>
                    <a:pt x="1895" y="2687"/>
                    <a:pt x="1884" y="2687"/>
                    <a:pt x="1884" y="2679"/>
                  </a:cubicBezTo>
                  <a:close/>
                  <a:moveTo>
                    <a:pt x="1889" y="2645"/>
                  </a:moveTo>
                  <a:cubicBezTo>
                    <a:pt x="1889" y="2639"/>
                    <a:pt x="1898" y="2648"/>
                    <a:pt x="1889" y="2645"/>
                  </a:cubicBezTo>
                  <a:close/>
                  <a:moveTo>
                    <a:pt x="1884" y="2543"/>
                  </a:moveTo>
                  <a:cubicBezTo>
                    <a:pt x="1886" y="2541"/>
                    <a:pt x="1892" y="2538"/>
                    <a:pt x="1895" y="2538"/>
                  </a:cubicBezTo>
                  <a:cubicBezTo>
                    <a:pt x="1895" y="2541"/>
                    <a:pt x="1889" y="2543"/>
                    <a:pt x="1884" y="2543"/>
                  </a:cubicBezTo>
                  <a:close/>
                  <a:moveTo>
                    <a:pt x="1886" y="2306"/>
                  </a:moveTo>
                  <a:cubicBezTo>
                    <a:pt x="1886" y="2301"/>
                    <a:pt x="1898" y="2309"/>
                    <a:pt x="1886" y="2306"/>
                  </a:cubicBezTo>
                  <a:close/>
                  <a:moveTo>
                    <a:pt x="1872" y="155"/>
                  </a:moveTo>
                  <a:cubicBezTo>
                    <a:pt x="1872" y="149"/>
                    <a:pt x="1881" y="152"/>
                    <a:pt x="1881" y="147"/>
                  </a:cubicBezTo>
                  <a:cubicBezTo>
                    <a:pt x="1889" y="149"/>
                    <a:pt x="1881" y="158"/>
                    <a:pt x="1872" y="155"/>
                  </a:cubicBezTo>
                  <a:close/>
                  <a:moveTo>
                    <a:pt x="1881" y="124"/>
                  </a:moveTo>
                  <a:cubicBezTo>
                    <a:pt x="1881" y="124"/>
                    <a:pt x="1884" y="127"/>
                    <a:pt x="1886" y="127"/>
                  </a:cubicBezTo>
                  <a:cubicBezTo>
                    <a:pt x="1884" y="130"/>
                    <a:pt x="1878" y="133"/>
                    <a:pt x="1878" y="135"/>
                  </a:cubicBezTo>
                  <a:cubicBezTo>
                    <a:pt x="1875" y="133"/>
                    <a:pt x="1878" y="127"/>
                    <a:pt x="1881" y="124"/>
                  </a:cubicBezTo>
                  <a:close/>
                  <a:moveTo>
                    <a:pt x="1872" y="96"/>
                  </a:moveTo>
                  <a:cubicBezTo>
                    <a:pt x="1875" y="90"/>
                    <a:pt x="1881" y="102"/>
                    <a:pt x="1872" y="96"/>
                  </a:cubicBezTo>
                  <a:close/>
                  <a:moveTo>
                    <a:pt x="1878" y="147"/>
                  </a:moveTo>
                  <a:cubicBezTo>
                    <a:pt x="1881" y="149"/>
                    <a:pt x="1867" y="152"/>
                    <a:pt x="1870" y="147"/>
                  </a:cubicBezTo>
                  <a:cubicBezTo>
                    <a:pt x="1872" y="147"/>
                    <a:pt x="1875" y="144"/>
                    <a:pt x="1878" y="147"/>
                  </a:cubicBezTo>
                  <a:close/>
                  <a:moveTo>
                    <a:pt x="1875" y="178"/>
                  </a:moveTo>
                  <a:cubicBezTo>
                    <a:pt x="1881" y="180"/>
                    <a:pt x="1886" y="183"/>
                    <a:pt x="1892" y="183"/>
                  </a:cubicBezTo>
                  <a:cubicBezTo>
                    <a:pt x="1892" y="192"/>
                    <a:pt x="1884" y="197"/>
                    <a:pt x="1875" y="195"/>
                  </a:cubicBezTo>
                  <a:cubicBezTo>
                    <a:pt x="1872" y="195"/>
                    <a:pt x="1872" y="195"/>
                    <a:pt x="1870" y="192"/>
                  </a:cubicBezTo>
                  <a:cubicBezTo>
                    <a:pt x="1872" y="192"/>
                    <a:pt x="1872" y="183"/>
                    <a:pt x="1875" y="178"/>
                  </a:cubicBezTo>
                  <a:close/>
                  <a:moveTo>
                    <a:pt x="1870" y="2411"/>
                  </a:moveTo>
                  <a:cubicBezTo>
                    <a:pt x="1875" y="2411"/>
                    <a:pt x="1870" y="2419"/>
                    <a:pt x="1867" y="2419"/>
                  </a:cubicBezTo>
                  <a:cubicBezTo>
                    <a:pt x="1867" y="2416"/>
                    <a:pt x="1870" y="2414"/>
                    <a:pt x="1870" y="2411"/>
                  </a:cubicBezTo>
                  <a:close/>
                  <a:moveTo>
                    <a:pt x="1861" y="116"/>
                  </a:moveTo>
                  <a:cubicBezTo>
                    <a:pt x="1864" y="116"/>
                    <a:pt x="1864" y="121"/>
                    <a:pt x="1864" y="121"/>
                  </a:cubicBezTo>
                  <a:cubicBezTo>
                    <a:pt x="1861" y="121"/>
                    <a:pt x="1858" y="118"/>
                    <a:pt x="1858" y="118"/>
                  </a:cubicBezTo>
                  <a:lnTo>
                    <a:pt x="1853" y="118"/>
                  </a:lnTo>
                  <a:cubicBezTo>
                    <a:pt x="1855" y="113"/>
                    <a:pt x="1861" y="113"/>
                    <a:pt x="1861" y="116"/>
                  </a:cubicBezTo>
                  <a:close/>
                  <a:moveTo>
                    <a:pt x="1864" y="2521"/>
                  </a:moveTo>
                  <a:cubicBezTo>
                    <a:pt x="1870" y="2526"/>
                    <a:pt x="1850" y="2526"/>
                    <a:pt x="1864" y="2521"/>
                  </a:cubicBezTo>
                  <a:close/>
                  <a:moveTo>
                    <a:pt x="1858" y="2825"/>
                  </a:moveTo>
                  <a:cubicBezTo>
                    <a:pt x="1853" y="2825"/>
                    <a:pt x="1858" y="2817"/>
                    <a:pt x="1861" y="2817"/>
                  </a:cubicBezTo>
                  <a:cubicBezTo>
                    <a:pt x="1864" y="2820"/>
                    <a:pt x="1858" y="2823"/>
                    <a:pt x="1858" y="2825"/>
                  </a:cubicBezTo>
                  <a:close/>
                  <a:moveTo>
                    <a:pt x="1867" y="2721"/>
                  </a:moveTo>
                  <a:lnTo>
                    <a:pt x="1861" y="2721"/>
                  </a:lnTo>
                  <a:lnTo>
                    <a:pt x="1861" y="2715"/>
                  </a:lnTo>
                  <a:lnTo>
                    <a:pt x="1867" y="2715"/>
                  </a:lnTo>
                  <a:cubicBezTo>
                    <a:pt x="1870" y="2715"/>
                    <a:pt x="1867" y="2718"/>
                    <a:pt x="1867" y="2721"/>
                  </a:cubicBezTo>
                  <a:close/>
                  <a:moveTo>
                    <a:pt x="1864" y="2631"/>
                  </a:moveTo>
                  <a:lnTo>
                    <a:pt x="1864" y="2622"/>
                  </a:lnTo>
                  <a:lnTo>
                    <a:pt x="1870" y="2622"/>
                  </a:lnTo>
                  <a:cubicBezTo>
                    <a:pt x="1872" y="2625"/>
                    <a:pt x="1870" y="2628"/>
                    <a:pt x="1864" y="2631"/>
                  </a:cubicBezTo>
                  <a:close/>
                  <a:moveTo>
                    <a:pt x="1872" y="2521"/>
                  </a:moveTo>
                  <a:cubicBezTo>
                    <a:pt x="1870" y="2518"/>
                    <a:pt x="1867" y="2515"/>
                    <a:pt x="1867" y="2509"/>
                  </a:cubicBezTo>
                  <a:cubicBezTo>
                    <a:pt x="1872" y="2509"/>
                    <a:pt x="1875" y="2512"/>
                    <a:pt x="1878" y="2515"/>
                  </a:cubicBezTo>
                  <a:cubicBezTo>
                    <a:pt x="1878" y="2518"/>
                    <a:pt x="1872" y="2518"/>
                    <a:pt x="1872" y="2521"/>
                  </a:cubicBezTo>
                  <a:close/>
                  <a:moveTo>
                    <a:pt x="1872" y="2715"/>
                  </a:moveTo>
                  <a:cubicBezTo>
                    <a:pt x="1875" y="2710"/>
                    <a:pt x="1881" y="2704"/>
                    <a:pt x="1886" y="2704"/>
                  </a:cubicBezTo>
                  <a:cubicBezTo>
                    <a:pt x="1895" y="2713"/>
                    <a:pt x="1889" y="2718"/>
                    <a:pt x="1872" y="2715"/>
                  </a:cubicBezTo>
                  <a:close/>
                  <a:moveTo>
                    <a:pt x="1886" y="2825"/>
                  </a:moveTo>
                  <a:cubicBezTo>
                    <a:pt x="1886" y="2823"/>
                    <a:pt x="1892" y="2820"/>
                    <a:pt x="1895" y="2820"/>
                  </a:cubicBezTo>
                  <a:cubicBezTo>
                    <a:pt x="1892" y="2823"/>
                    <a:pt x="1889" y="2823"/>
                    <a:pt x="1886" y="2825"/>
                  </a:cubicBezTo>
                  <a:close/>
                  <a:moveTo>
                    <a:pt x="1889" y="2811"/>
                  </a:moveTo>
                  <a:cubicBezTo>
                    <a:pt x="1889" y="2806"/>
                    <a:pt x="1901" y="2814"/>
                    <a:pt x="1889" y="2811"/>
                  </a:cubicBezTo>
                  <a:close/>
                  <a:moveTo>
                    <a:pt x="1895" y="2541"/>
                  </a:moveTo>
                  <a:cubicBezTo>
                    <a:pt x="1903" y="2541"/>
                    <a:pt x="1915" y="2532"/>
                    <a:pt x="1918" y="2543"/>
                  </a:cubicBezTo>
                  <a:cubicBezTo>
                    <a:pt x="1903" y="2541"/>
                    <a:pt x="1903" y="2552"/>
                    <a:pt x="1895" y="2552"/>
                  </a:cubicBezTo>
                  <a:lnTo>
                    <a:pt x="1895" y="2541"/>
                  </a:lnTo>
                  <a:close/>
                  <a:moveTo>
                    <a:pt x="1898" y="2628"/>
                  </a:moveTo>
                  <a:cubicBezTo>
                    <a:pt x="1895" y="2620"/>
                    <a:pt x="1903" y="2620"/>
                    <a:pt x="1906" y="2617"/>
                  </a:cubicBezTo>
                  <a:cubicBezTo>
                    <a:pt x="1909" y="2617"/>
                    <a:pt x="1903" y="2631"/>
                    <a:pt x="1898" y="2628"/>
                  </a:cubicBezTo>
                  <a:close/>
                  <a:moveTo>
                    <a:pt x="1906" y="2636"/>
                  </a:moveTo>
                  <a:cubicBezTo>
                    <a:pt x="1903" y="2636"/>
                    <a:pt x="1903" y="2631"/>
                    <a:pt x="1903" y="2628"/>
                  </a:cubicBezTo>
                  <a:cubicBezTo>
                    <a:pt x="1906" y="2628"/>
                    <a:pt x="1909" y="2631"/>
                    <a:pt x="1909" y="2631"/>
                  </a:cubicBezTo>
                  <a:cubicBezTo>
                    <a:pt x="1912" y="2634"/>
                    <a:pt x="1906" y="2634"/>
                    <a:pt x="1906" y="2636"/>
                  </a:cubicBezTo>
                  <a:close/>
                  <a:moveTo>
                    <a:pt x="1909" y="2825"/>
                  </a:moveTo>
                  <a:cubicBezTo>
                    <a:pt x="1909" y="2820"/>
                    <a:pt x="1918" y="2828"/>
                    <a:pt x="1909" y="2825"/>
                  </a:cubicBezTo>
                  <a:close/>
                  <a:moveTo>
                    <a:pt x="1912" y="2701"/>
                  </a:moveTo>
                  <a:cubicBezTo>
                    <a:pt x="1915" y="2698"/>
                    <a:pt x="1923" y="2693"/>
                    <a:pt x="1926" y="2696"/>
                  </a:cubicBezTo>
                  <a:cubicBezTo>
                    <a:pt x="1920" y="2698"/>
                    <a:pt x="1918" y="2701"/>
                    <a:pt x="1912" y="2701"/>
                  </a:cubicBezTo>
                  <a:close/>
                  <a:moveTo>
                    <a:pt x="1920" y="2684"/>
                  </a:moveTo>
                  <a:cubicBezTo>
                    <a:pt x="1920" y="2679"/>
                    <a:pt x="1932" y="2690"/>
                    <a:pt x="1920" y="2684"/>
                  </a:cubicBezTo>
                  <a:close/>
                  <a:moveTo>
                    <a:pt x="1918" y="2586"/>
                  </a:moveTo>
                  <a:cubicBezTo>
                    <a:pt x="1915" y="2580"/>
                    <a:pt x="1923" y="2580"/>
                    <a:pt x="1926" y="2580"/>
                  </a:cubicBezTo>
                  <a:cubicBezTo>
                    <a:pt x="1926" y="2583"/>
                    <a:pt x="1923" y="2586"/>
                    <a:pt x="1918" y="2586"/>
                  </a:cubicBezTo>
                  <a:close/>
                  <a:moveTo>
                    <a:pt x="1901" y="2470"/>
                  </a:moveTo>
                  <a:cubicBezTo>
                    <a:pt x="1909" y="2467"/>
                    <a:pt x="1923" y="2445"/>
                    <a:pt x="1929" y="2456"/>
                  </a:cubicBezTo>
                  <a:cubicBezTo>
                    <a:pt x="1918" y="2459"/>
                    <a:pt x="1915" y="2470"/>
                    <a:pt x="1901" y="2470"/>
                  </a:cubicBezTo>
                  <a:close/>
                  <a:moveTo>
                    <a:pt x="1929" y="82"/>
                  </a:moveTo>
                  <a:cubicBezTo>
                    <a:pt x="1929" y="73"/>
                    <a:pt x="1937" y="85"/>
                    <a:pt x="1929" y="82"/>
                  </a:cubicBezTo>
                  <a:close/>
                  <a:moveTo>
                    <a:pt x="1940" y="2851"/>
                  </a:moveTo>
                  <a:cubicBezTo>
                    <a:pt x="1934" y="2854"/>
                    <a:pt x="1934" y="2845"/>
                    <a:pt x="1932" y="2845"/>
                  </a:cubicBezTo>
                  <a:cubicBezTo>
                    <a:pt x="1932" y="2842"/>
                    <a:pt x="1937" y="2842"/>
                    <a:pt x="1940" y="2842"/>
                  </a:cubicBezTo>
                  <a:cubicBezTo>
                    <a:pt x="1937" y="2842"/>
                    <a:pt x="1940" y="2848"/>
                    <a:pt x="1940" y="2851"/>
                  </a:cubicBezTo>
                  <a:close/>
                  <a:moveTo>
                    <a:pt x="1937" y="2631"/>
                  </a:moveTo>
                  <a:cubicBezTo>
                    <a:pt x="1932" y="2628"/>
                    <a:pt x="1940" y="2620"/>
                    <a:pt x="1946" y="2620"/>
                  </a:cubicBezTo>
                  <a:cubicBezTo>
                    <a:pt x="1946" y="2625"/>
                    <a:pt x="1940" y="2625"/>
                    <a:pt x="1937" y="2631"/>
                  </a:cubicBezTo>
                  <a:close/>
                  <a:moveTo>
                    <a:pt x="1937" y="212"/>
                  </a:moveTo>
                  <a:lnTo>
                    <a:pt x="1937" y="206"/>
                  </a:lnTo>
                  <a:cubicBezTo>
                    <a:pt x="1940" y="206"/>
                    <a:pt x="1943" y="209"/>
                    <a:pt x="1943" y="212"/>
                  </a:cubicBezTo>
                  <a:cubicBezTo>
                    <a:pt x="1943" y="209"/>
                    <a:pt x="1940" y="212"/>
                    <a:pt x="1937" y="212"/>
                  </a:cubicBezTo>
                  <a:close/>
                  <a:moveTo>
                    <a:pt x="1946" y="2524"/>
                  </a:moveTo>
                  <a:cubicBezTo>
                    <a:pt x="1949" y="2518"/>
                    <a:pt x="1954" y="2512"/>
                    <a:pt x="1963" y="2512"/>
                  </a:cubicBezTo>
                  <a:cubicBezTo>
                    <a:pt x="1960" y="2521"/>
                    <a:pt x="1965" y="2526"/>
                    <a:pt x="1963" y="2532"/>
                  </a:cubicBezTo>
                  <a:cubicBezTo>
                    <a:pt x="1954" y="2529"/>
                    <a:pt x="1951" y="2524"/>
                    <a:pt x="1946" y="2524"/>
                  </a:cubicBezTo>
                  <a:close/>
                  <a:moveTo>
                    <a:pt x="1963" y="2789"/>
                  </a:moveTo>
                  <a:lnTo>
                    <a:pt x="1963" y="2786"/>
                  </a:lnTo>
                  <a:cubicBezTo>
                    <a:pt x="1965" y="2780"/>
                    <a:pt x="1963" y="2786"/>
                    <a:pt x="1963" y="2789"/>
                  </a:cubicBezTo>
                  <a:close/>
                  <a:moveTo>
                    <a:pt x="1963" y="556"/>
                  </a:moveTo>
                  <a:cubicBezTo>
                    <a:pt x="1963" y="553"/>
                    <a:pt x="1971" y="553"/>
                    <a:pt x="1974" y="553"/>
                  </a:cubicBezTo>
                  <a:cubicBezTo>
                    <a:pt x="1974" y="556"/>
                    <a:pt x="1965" y="556"/>
                    <a:pt x="1963" y="556"/>
                  </a:cubicBezTo>
                  <a:close/>
                  <a:moveTo>
                    <a:pt x="1971" y="598"/>
                  </a:moveTo>
                  <a:cubicBezTo>
                    <a:pt x="1977" y="592"/>
                    <a:pt x="1965" y="606"/>
                    <a:pt x="1971" y="598"/>
                  </a:cubicBezTo>
                  <a:close/>
                  <a:moveTo>
                    <a:pt x="1974" y="2772"/>
                  </a:moveTo>
                  <a:cubicBezTo>
                    <a:pt x="1974" y="2766"/>
                    <a:pt x="1982" y="2775"/>
                    <a:pt x="1974" y="2772"/>
                  </a:cubicBezTo>
                  <a:close/>
                  <a:moveTo>
                    <a:pt x="1974" y="578"/>
                  </a:moveTo>
                  <a:cubicBezTo>
                    <a:pt x="1974" y="573"/>
                    <a:pt x="1985" y="584"/>
                    <a:pt x="1974" y="578"/>
                  </a:cubicBezTo>
                  <a:close/>
                  <a:moveTo>
                    <a:pt x="1977" y="2642"/>
                  </a:moveTo>
                  <a:cubicBezTo>
                    <a:pt x="1980" y="2639"/>
                    <a:pt x="1988" y="2639"/>
                    <a:pt x="1994" y="2636"/>
                  </a:cubicBezTo>
                  <a:cubicBezTo>
                    <a:pt x="1991" y="2639"/>
                    <a:pt x="1985" y="2642"/>
                    <a:pt x="1977" y="2642"/>
                  </a:cubicBezTo>
                  <a:close/>
                  <a:moveTo>
                    <a:pt x="1988" y="2617"/>
                  </a:moveTo>
                  <a:cubicBezTo>
                    <a:pt x="1991" y="2611"/>
                    <a:pt x="1994" y="2608"/>
                    <a:pt x="1999" y="2611"/>
                  </a:cubicBezTo>
                  <a:cubicBezTo>
                    <a:pt x="1999" y="2617"/>
                    <a:pt x="1991" y="2622"/>
                    <a:pt x="1988" y="2617"/>
                  </a:cubicBezTo>
                  <a:close/>
                  <a:moveTo>
                    <a:pt x="1994" y="262"/>
                  </a:moveTo>
                  <a:cubicBezTo>
                    <a:pt x="1994" y="257"/>
                    <a:pt x="1997" y="257"/>
                    <a:pt x="1997" y="251"/>
                  </a:cubicBezTo>
                  <a:cubicBezTo>
                    <a:pt x="1999" y="251"/>
                    <a:pt x="1999" y="265"/>
                    <a:pt x="1994" y="262"/>
                  </a:cubicBezTo>
                  <a:close/>
                  <a:moveTo>
                    <a:pt x="2013" y="2667"/>
                  </a:moveTo>
                  <a:cubicBezTo>
                    <a:pt x="2011" y="2673"/>
                    <a:pt x="2008" y="2676"/>
                    <a:pt x="2002" y="2676"/>
                  </a:cubicBezTo>
                  <a:cubicBezTo>
                    <a:pt x="2002" y="2673"/>
                    <a:pt x="2008" y="2667"/>
                    <a:pt x="2013" y="2667"/>
                  </a:cubicBezTo>
                  <a:close/>
                  <a:moveTo>
                    <a:pt x="2011" y="2645"/>
                  </a:moveTo>
                  <a:cubicBezTo>
                    <a:pt x="2016" y="2639"/>
                    <a:pt x="2008" y="2651"/>
                    <a:pt x="2011" y="2645"/>
                  </a:cubicBezTo>
                  <a:close/>
                  <a:moveTo>
                    <a:pt x="2005" y="2820"/>
                  </a:moveTo>
                  <a:cubicBezTo>
                    <a:pt x="2008" y="2814"/>
                    <a:pt x="2011" y="2828"/>
                    <a:pt x="2005" y="2820"/>
                  </a:cubicBezTo>
                  <a:close/>
                  <a:moveTo>
                    <a:pt x="2011" y="2808"/>
                  </a:moveTo>
                  <a:cubicBezTo>
                    <a:pt x="2019" y="2808"/>
                    <a:pt x="2011" y="2820"/>
                    <a:pt x="2011" y="2808"/>
                  </a:cubicBezTo>
                  <a:close/>
                  <a:moveTo>
                    <a:pt x="2019" y="2659"/>
                  </a:moveTo>
                  <a:lnTo>
                    <a:pt x="2013" y="2659"/>
                  </a:lnTo>
                  <a:lnTo>
                    <a:pt x="2013" y="2653"/>
                  </a:lnTo>
                  <a:lnTo>
                    <a:pt x="2019" y="2653"/>
                  </a:lnTo>
                  <a:lnTo>
                    <a:pt x="2019" y="2659"/>
                  </a:lnTo>
                  <a:close/>
                  <a:moveTo>
                    <a:pt x="2016" y="2605"/>
                  </a:moveTo>
                  <a:cubicBezTo>
                    <a:pt x="2011" y="2605"/>
                    <a:pt x="2016" y="2597"/>
                    <a:pt x="2019" y="2597"/>
                  </a:cubicBezTo>
                  <a:cubicBezTo>
                    <a:pt x="2019" y="2600"/>
                    <a:pt x="2016" y="2603"/>
                    <a:pt x="2016" y="2605"/>
                  </a:cubicBezTo>
                  <a:close/>
                  <a:moveTo>
                    <a:pt x="2022" y="2642"/>
                  </a:moveTo>
                  <a:cubicBezTo>
                    <a:pt x="2016" y="2642"/>
                    <a:pt x="2016" y="2631"/>
                    <a:pt x="2025" y="2631"/>
                  </a:cubicBezTo>
                  <a:cubicBezTo>
                    <a:pt x="2025" y="2634"/>
                    <a:pt x="2025" y="2639"/>
                    <a:pt x="2022" y="2642"/>
                  </a:cubicBezTo>
                  <a:close/>
                  <a:moveTo>
                    <a:pt x="2016" y="2549"/>
                  </a:moveTo>
                  <a:cubicBezTo>
                    <a:pt x="2019" y="2546"/>
                    <a:pt x="2022" y="2543"/>
                    <a:pt x="2025" y="2543"/>
                  </a:cubicBezTo>
                  <a:cubicBezTo>
                    <a:pt x="2028" y="2549"/>
                    <a:pt x="2019" y="2549"/>
                    <a:pt x="2016" y="2549"/>
                  </a:cubicBezTo>
                  <a:close/>
                  <a:moveTo>
                    <a:pt x="2028" y="2261"/>
                  </a:moveTo>
                  <a:cubicBezTo>
                    <a:pt x="2025" y="2261"/>
                    <a:pt x="2019" y="2258"/>
                    <a:pt x="2019" y="2253"/>
                  </a:cubicBezTo>
                  <a:lnTo>
                    <a:pt x="2025" y="2253"/>
                  </a:lnTo>
                  <a:cubicBezTo>
                    <a:pt x="2028" y="2256"/>
                    <a:pt x="2028" y="2258"/>
                    <a:pt x="2028" y="2261"/>
                  </a:cubicBezTo>
                  <a:close/>
                  <a:moveTo>
                    <a:pt x="2016" y="381"/>
                  </a:moveTo>
                  <a:cubicBezTo>
                    <a:pt x="2019" y="378"/>
                    <a:pt x="2025" y="375"/>
                    <a:pt x="2033" y="375"/>
                  </a:cubicBezTo>
                  <a:cubicBezTo>
                    <a:pt x="2030" y="378"/>
                    <a:pt x="2022" y="381"/>
                    <a:pt x="2016" y="381"/>
                  </a:cubicBezTo>
                  <a:close/>
                  <a:moveTo>
                    <a:pt x="2044" y="2298"/>
                  </a:moveTo>
                  <a:cubicBezTo>
                    <a:pt x="2042" y="2304"/>
                    <a:pt x="2039" y="2301"/>
                    <a:pt x="2030" y="2304"/>
                  </a:cubicBezTo>
                  <a:cubicBezTo>
                    <a:pt x="2033" y="2298"/>
                    <a:pt x="2042" y="2295"/>
                    <a:pt x="2044" y="2298"/>
                  </a:cubicBezTo>
                  <a:close/>
                  <a:moveTo>
                    <a:pt x="2044" y="2577"/>
                  </a:moveTo>
                  <a:cubicBezTo>
                    <a:pt x="2044" y="2580"/>
                    <a:pt x="2039" y="2583"/>
                    <a:pt x="2039" y="2586"/>
                  </a:cubicBezTo>
                  <a:cubicBezTo>
                    <a:pt x="2036" y="2586"/>
                    <a:pt x="2036" y="2580"/>
                    <a:pt x="2036" y="2580"/>
                  </a:cubicBezTo>
                  <a:cubicBezTo>
                    <a:pt x="2039" y="2577"/>
                    <a:pt x="2042" y="2577"/>
                    <a:pt x="2044" y="2577"/>
                  </a:cubicBezTo>
                  <a:close/>
                  <a:moveTo>
                    <a:pt x="2030" y="2600"/>
                  </a:moveTo>
                  <a:cubicBezTo>
                    <a:pt x="2033" y="2594"/>
                    <a:pt x="2042" y="2603"/>
                    <a:pt x="2030" y="2600"/>
                  </a:cubicBezTo>
                  <a:close/>
                  <a:moveTo>
                    <a:pt x="2033" y="2634"/>
                  </a:moveTo>
                  <a:cubicBezTo>
                    <a:pt x="2033" y="2622"/>
                    <a:pt x="2047" y="2625"/>
                    <a:pt x="2056" y="2625"/>
                  </a:cubicBezTo>
                  <a:cubicBezTo>
                    <a:pt x="2050" y="2628"/>
                    <a:pt x="2042" y="2631"/>
                    <a:pt x="2033" y="2634"/>
                  </a:cubicBezTo>
                  <a:close/>
                  <a:moveTo>
                    <a:pt x="2056" y="2758"/>
                  </a:moveTo>
                  <a:cubicBezTo>
                    <a:pt x="2061" y="2755"/>
                    <a:pt x="2067" y="2755"/>
                    <a:pt x="2073" y="2755"/>
                  </a:cubicBezTo>
                  <a:cubicBezTo>
                    <a:pt x="2073" y="2758"/>
                    <a:pt x="2056" y="2766"/>
                    <a:pt x="2056" y="2758"/>
                  </a:cubicBezTo>
                  <a:close/>
                  <a:moveTo>
                    <a:pt x="2073" y="2648"/>
                  </a:moveTo>
                  <a:cubicBezTo>
                    <a:pt x="2070" y="2645"/>
                    <a:pt x="2067" y="2639"/>
                    <a:pt x="2067" y="2634"/>
                  </a:cubicBezTo>
                  <a:lnTo>
                    <a:pt x="2081" y="2634"/>
                  </a:lnTo>
                  <a:cubicBezTo>
                    <a:pt x="2081" y="2639"/>
                    <a:pt x="2076" y="2642"/>
                    <a:pt x="2073" y="2648"/>
                  </a:cubicBezTo>
                  <a:close/>
                  <a:moveTo>
                    <a:pt x="2084" y="2546"/>
                  </a:moveTo>
                  <a:lnTo>
                    <a:pt x="2083" y="2546"/>
                  </a:lnTo>
                  <a:cubicBezTo>
                    <a:pt x="2084" y="2545"/>
                    <a:pt x="2085" y="2544"/>
                    <a:pt x="2084" y="2546"/>
                  </a:cubicBezTo>
                  <a:cubicBezTo>
                    <a:pt x="2079" y="2551"/>
                    <a:pt x="2081" y="2548"/>
                    <a:pt x="2083" y="2546"/>
                  </a:cubicBezTo>
                  <a:lnTo>
                    <a:pt x="2084" y="2546"/>
                  </a:lnTo>
                  <a:close/>
                  <a:moveTo>
                    <a:pt x="2081" y="2543"/>
                  </a:moveTo>
                  <a:lnTo>
                    <a:pt x="2081" y="2535"/>
                  </a:lnTo>
                  <a:cubicBezTo>
                    <a:pt x="2087" y="2532"/>
                    <a:pt x="2087" y="2546"/>
                    <a:pt x="2081" y="2543"/>
                  </a:cubicBezTo>
                  <a:close/>
                  <a:moveTo>
                    <a:pt x="2081" y="2462"/>
                  </a:moveTo>
                  <a:cubicBezTo>
                    <a:pt x="2084" y="2453"/>
                    <a:pt x="2090" y="2447"/>
                    <a:pt x="2098" y="2445"/>
                  </a:cubicBezTo>
                  <a:cubicBezTo>
                    <a:pt x="2101" y="2456"/>
                    <a:pt x="2092" y="2462"/>
                    <a:pt x="2081" y="2462"/>
                  </a:cubicBezTo>
                  <a:close/>
                  <a:moveTo>
                    <a:pt x="2087" y="2591"/>
                  </a:moveTo>
                  <a:cubicBezTo>
                    <a:pt x="2090" y="2591"/>
                    <a:pt x="2092" y="2588"/>
                    <a:pt x="2095" y="2588"/>
                  </a:cubicBezTo>
                  <a:lnTo>
                    <a:pt x="2095" y="2594"/>
                  </a:lnTo>
                  <a:cubicBezTo>
                    <a:pt x="2092" y="2597"/>
                    <a:pt x="2084" y="2597"/>
                    <a:pt x="2087" y="2591"/>
                  </a:cubicBezTo>
                  <a:close/>
                  <a:moveTo>
                    <a:pt x="2092" y="2769"/>
                  </a:moveTo>
                  <a:lnTo>
                    <a:pt x="2087" y="2769"/>
                  </a:lnTo>
                  <a:lnTo>
                    <a:pt x="2087" y="2763"/>
                  </a:lnTo>
                  <a:lnTo>
                    <a:pt x="2092" y="2763"/>
                  </a:lnTo>
                  <a:cubicBezTo>
                    <a:pt x="2095" y="2763"/>
                    <a:pt x="2092" y="2766"/>
                    <a:pt x="2092" y="2769"/>
                  </a:cubicBezTo>
                  <a:close/>
                  <a:moveTo>
                    <a:pt x="2087" y="2696"/>
                  </a:moveTo>
                  <a:cubicBezTo>
                    <a:pt x="2090" y="2693"/>
                    <a:pt x="2092" y="2690"/>
                    <a:pt x="2095" y="2690"/>
                  </a:cubicBezTo>
                  <a:cubicBezTo>
                    <a:pt x="2095" y="2696"/>
                    <a:pt x="2092" y="2698"/>
                    <a:pt x="2087" y="2696"/>
                  </a:cubicBezTo>
                  <a:close/>
                  <a:moveTo>
                    <a:pt x="2092" y="2586"/>
                  </a:moveTo>
                  <a:cubicBezTo>
                    <a:pt x="2092" y="2580"/>
                    <a:pt x="2098" y="2580"/>
                    <a:pt x="2103" y="2577"/>
                  </a:cubicBezTo>
                  <a:lnTo>
                    <a:pt x="2104" y="2577"/>
                  </a:lnTo>
                  <a:cubicBezTo>
                    <a:pt x="2104" y="2578"/>
                    <a:pt x="2104" y="2578"/>
                    <a:pt x="2103" y="2579"/>
                  </a:cubicBezTo>
                  <a:cubicBezTo>
                    <a:pt x="2103" y="2578"/>
                    <a:pt x="2103" y="2578"/>
                    <a:pt x="2103" y="2577"/>
                  </a:cubicBezTo>
                  <a:cubicBezTo>
                    <a:pt x="2104" y="2574"/>
                    <a:pt x="2112" y="2579"/>
                    <a:pt x="2109" y="2572"/>
                  </a:cubicBezTo>
                  <a:cubicBezTo>
                    <a:pt x="2115" y="2569"/>
                    <a:pt x="2112" y="2574"/>
                    <a:pt x="2115" y="2580"/>
                  </a:cubicBezTo>
                  <a:lnTo>
                    <a:pt x="2104" y="2580"/>
                  </a:lnTo>
                  <a:cubicBezTo>
                    <a:pt x="2104" y="2580"/>
                    <a:pt x="2104" y="2579"/>
                    <a:pt x="2103" y="2579"/>
                  </a:cubicBezTo>
                  <a:cubicBezTo>
                    <a:pt x="2102" y="2584"/>
                    <a:pt x="2095" y="2591"/>
                    <a:pt x="2092" y="2586"/>
                  </a:cubicBezTo>
                  <a:close/>
                  <a:moveTo>
                    <a:pt x="2098" y="2631"/>
                  </a:moveTo>
                  <a:cubicBezTo>
                    <a:pt x="2098" y="2625"/>
                    <a:pt x="2104" y="2625"/>
                    <a:pt x="2104" y="2622"/>
                  </a:cubicBezTo>
                  <a:cubicBezTo>
                    <a:pt x="2109" y="2625"/>
                    <a:pt x="2104" y="2634"/>
                    <a:pt x="2098" y="2631"/>
                  </a:cubicBezTo>
                  <a:close/>
                  <a:moveTo>
                    <a:pt x="2109" y="2617"/>
                  </a:moveTo>
                  <a:cubicBezTo>
                    <a:pt x="2104" y="2625"/>
                    <a:pt x="2104" y="2611"/>
                    <a:pt x="2109" y="2617"/>
                  </a:cubicBezTo>
                  <a:close/>
                  <a:moveTo>
                    <a:pt x="2109" y="217"/>
                  </a:moveTo>
                  <a:cubicBezTo>
                    <a:pt x="2112" y="212"/>
                    <a:pt x="2115" y="209"/>
                    <a:pt x="2118" y="203"/>
                  </a:cubicBezTo>
                  <a:cubicBezTo>
                    <a:pt x="2121" y="209"/>
                    <a:pt x="2126" y="212"/>
                    <a:pt x="2129" y="217"/>
                  </a:cubicBezTo>
                  <a:cubicBezTo>
                    <a:pt x="2132" y="212"/>
                    <a:pt x="2135" y="206"/>
                    <a:pt x="2138" y="203"/>
                  </a:cubicBezTo>
                  <a:cubicBezTo>
                    <a:pt x="2140" y="217"/>
                    <a:pt x="2155" y="243"/>
                    <a:pt x="2140" y="251"/>
                  </a:cubicBezTo>
                  <a:cubicBezTo>
                    <a:pt x="2132" y="245"/>
                    <a:pt x="2126" y="237"/>
                    <a:pt x="2126" y="226"/>
                  </a:cubicBezTo>
                  <a:lnTo>
                    <a:pt x="2124" y="226"/>
                  </a:lnTo>
                  <a:cubicBezTo>
                    <a:pt x="2126" y="212"/>
                    <a:pt x="2115" y="228"/>
                    <a:pt x="2109" y="217"/>
                  </a:cubicBezTo>
                  <a:close/>
                  <a:moveTo>
                    <a:pt x="2115" y="429"/>
                  </a:moveTo>
                  <a:cubicBezTo>
                    <a:pt x="2115" y="423"/>
                    <a:pt x="2126" y="432"/>
                    <a:pt x="2115" y="429"/>
                  </a:cubicBezTo>
                  <a:close/>
                  <a:moveTo>
                    <a:pt x="2124" y="1483"/>
                  </a:moveTo>
                  <a:cubicBezTo>
                    <a:pt x="2132" y="1486"/>
                    <a:pt x="2118" y="1488"/>
                    <a:pt x="2121" y="1491"/>
                  </a:cubicBezTo>
                  <a:cubicBezTo>
                    <a:pt x="2115" y="1488"/>
                    <a:pt x="2124" y="1486"/>
                    <a:pt x="2124" y="1483"/>
                  </a:cubicBezTo>
                  <a:close/>
                  <a:moveTo>
                    <a:pt x="2118" y="2758"/>
                  </a:moveTo>
                  <a:cubicBezTo>
                    <a:pt x="2118" y="2752"/>
                    <a:pt x="2126" y="2761"/>
                    <a:pt x="2118" y="2758"/>
                  </a:cubicBezTo>
                  <a:close/>
                  <a:moveTo>
                    <a:pt x="2126" y="2541"/>
                  </a:moveTo>
                  <a:lnTo>
                    <a:pt x="2124" y="2543"/>
                  </a:lnTo>
                  <a:cubicBezTo>
                    <a:pt x="2124" y="2541"/>
                    <a:pt x="2126" y="2538"/>
                    <a:pt x="2126" y="2541"/>
                  </a:cubicBezTo>
                  <a:close/>
                  <a:moveTo>
                    <a:pt x="2132" y="2670"/>
                  </a:moveTo>
                  <a:lnTo>
                    <a:pt x="2126" y="2670"/>
                  </a:lnTo>
                  <a:lnTo>
                    <a:pt x="2126" y="2665"/>
                  </a:lnTo>
                  <a:lnTo>
                    <a:pt x="2132" y="2665"/>
                  </a:lnTo>
                  <a:cubicBezTo>
                    <a:pt x="2135" y="2665"/>
                    <a:pt x="2132" y="2667"/>
                    <a:pt x="2132" y="2670"/>
                  </a:cubicBezTo>
                  <a:close/>
                  <a:moveTo>
                    <a:pt x="2124" y="2600"/>
                  </a:moveTo>
                  <a:cubicBezTo>
                    <a:pt x="2124" y="2597"/>
                    <a:pt x="2129" y="2594"/>
                    <a:pt x="2132" y="2594"/>
                  </a:cubicBezTo>
                  <a:cubicBezTo>
                    <a:pt x="2132" y="2600"/>
                    <a:pt x="2129" y="2600"/>
                    <a:pt x="2124" y="2600"/>
                  </a:cubicBezTo>
                  <a:close/>
                  <a:moveTo>
                    <a:pt x="2121" y="2464"/>
                  </a:moveTo>
                  <a:cubicBezTo>
                    <a:pt x="2121" y="2459"/>
                    <a:pt x="2132" y="2459"/>
                    <a:pt x="2138" y="2456"/>
                  </a:cubicBezTo>
                  <a:cubicBezTo>
                    <a:pt x="2138" y="2462"/>
                    <a:pt x="2126" y="2462"/>
                    <a:pt x="2121" y="2464"/>
                  </a:cubicBezTo>
                  <a:close/>
                  <a:moveTo>
                    <a:pt x="2129" y="2433"/>
                  </a:moveTo>
                  <a:lnTo>
                    <a:pt x="2140" y="2433"/>
                  </a:lnTo>
                  <a:cubicBezTo>
                    <a:pt x="2140" y="2439"/>
                    <a:pt x="2126" y="2442"/>
                    <a:pt x="2129" y="2433"/>
                  </a:cubicBezTo>
                  <a:close/>
                  <a:moveTo>
                    <a:pt x="2143" y="2696"/>
                  </a:moveTo>
                  <a:lnTo>
                    <a:pt x="2138" y="2696"/>
                  </a:lnTo>
                  <a:cubicBezTo>
                    <a:pt x="2138" y="2693"/>
                    <a:pt x="2138" y="2693"/>
                    <a:pt x="2135" y="2693"/>
                  </a:cubicBezTo>
                  <a:cubicBezTo>
                    <a:pt x="2135" y="2687"/>
                    <a:pt x="2146" y="2690"/>
                    <a:pt x="2143" y="2696"/>
                  </a:cubicBezTo>
                  <a:close/>
                  <a:moveTo>
                    <a:pt x="2140" y="2684"/>
                  </a:moveTo>
                  <a:cubicBezTo>
                    <a:pt x="2140" y="2682"/>
                    <a:pt x="2143" y="2676"/>
                    <a:pt x="2149" y="2676"/>
                  </a:cubicBezTo>
                  <a:cubicBezTo>
                    <a:pt x="2146" y="2679"/>
                    <a:pt x="2146" y="2687"/>
                    <a:pt x="2140" y="2684"/>
                  </a:cubicBezTo>
                  <a:close/>
                  <a:moveTo>
                    <a:pt x="2149" y="2445"/>
                  </a:moveTo>
                  <a:cubicBezTo>
                    <a:pt x="2152" y="2442"/>
                    <a:pt x="2152" y="2436"/>
                    <a:pt x="2157" y="2436"/>
                  </a:cubicBezTo>
                  <a:cubicBezTo>
                    <a:pt x="2157" y="2445"/>
                    <a:pt x="2152" y="2447"/>
                    <a:pt x="2149" y="2445"/>
                  </a:cubicBezTo>
                  <a:close/>
                  <a:moveTo>
                    <a:pt x="2169" y="2433"/>
                  </a:moveTo>
                  <a:cubicBezTo>
                    <a:pt x="2166" y="2431"/>
                    <a:pt x="2163" y="2428"/>
                    <a:pt x="2163" y="2425"/>
                  </a:cubicBezTo>
                  <a:cubicBezTo>
                    <a:pt x="2169" y="2422"/>
                    <a:pt x="2169" y="2431"/>
                    <a:pt x="2169" y="2433"/>
                  </a:cubicBezTo>
                  <a:close/>
                  <a:moveTo>
                    <a:pt x="2169" y="409"/>
                  </a:moveTo>
                  <a:cubicBezTo>
                    <a:pt x="2183" y="415"/>
                    <a:pt x="2157" y="429"/>
                    <a:pt x="2169" y="409"/>
                  </a:cubicBezTo>
                  <a:close/>
                  <a:moveTo>
                    <a:pt x="2183" y="336"/>
                  </a:moveTo>
                  <a:cubicBezTo>
                    <a:pt x="2180" y="336"/>
                    <a:pt x="2174" y="333"/>
                    <a:pt x="2174" y="327"/>
                  </a:cubicBezTo>
                  <a:cubicBezTo>
                    <a:pt x="2180" y="324"/>
                    <a:pt x="2180" y="333"/>
                    <a:pt x="2183" y="336"/>
                  </a:cubicBezTo>
                  <a:close/>
                  <a:moveTo>
                    <a:pt x="2186" y="544"/>
                  </a:moveTo>
                  <a:lnTo>
                    <a:pt x="2180" y="544"/>
                  </a:lnTo>
                  <a:cubicBezTo>
                    <a:pt x="2166" y="527"/>
                    <a:pt x="2186" y="542"/>
                    <a:pt x="2186" y="544"/>
                  </a:cubicBezTo>
                  <a:close/>
                  <a:moveTo>
                    <a:pt x="2183" y="2546"/>
                  </a:moveTo>
                  <a:cubicBezTo>
                    <a:pt x="2183" y="2543"/>
                    <a:pt x="2191" y="2543"/>
                    <a:pt x="2191" y="2546"/>
                  </a:cubicBezTo>
                  <a:cubicBezTo>
                    <a:pt x="2191" y="2552"/>
                    <a:pt x="2180" y="2552"/>
                    <a:pt x="2183" y="2546"/>
                  </a:cubicBezTo>
                  <a:close/>
                  <a:moveTo>
                    <a:pt x="2183" y="1391"/>
                  </a:moveTo>
                  <a:cubicBezTo>
                    <a:pt x="2186" y="1385"/>
                    <a:pt x="2197" y="1393"/>
                    <a:pt x="2183" y="1391"/>
                  </a:cubicBezTo>
                  <a:close/>
                  <a:moveTo>
                    <a:pt x="2188" y="324"/>
                  </a:moveTo>
                  <a:cubicBezTo>
                    <a:pt x="2191" y="316"/>
                    <a:pt x="2194" y="333"/>
                    <a:pt x="2188" y="324"/>
                  </a:cubicBezTo>
                  <a:close/>
                  <a:moveTo>
                    <a:pt x="2203" y="341"/>
                  </a:moveTo>
                  <a:cubicBezTo>
                    <a:pt x="2203" y="344"/>
                    <a:pt x="2197" y="347"/>
                    <a:pt x="2191" y="347"/>
                  </a:cubicBezTo>
                  <a:cubicBezTo>
                    <a:pt x="2194" y="344"/>
                    <a:pt x="2200" y="341"/>
                    <a:pt x="2203" y="341"/>
                  </a:cubicBezTo>
                  <a:close/>
                  <a:moveTo>
                    <a:pt x="2194" y="2690"/>
                  </a:moveTo>
                  <a:cubicBezTo>
                    <a:pt x="2194" y="2684"/>
                    <a:pt x="2203" y="2693"/>
                    <a:pt x="2194" y="2690"/>
                  </a:cubicBezTo>
                  <a:close/>
                  <a:moveTo>
                    <a:pt x="2191" y="536"/>
                  </a:moveTo>
                  <a:cubicBezTo>
                    <a:pt x="2197" y="519"/>
                    <a:pt x="2205" y="553"/>
                    <a:pt x="2214" y="536"/>
                  </a:cubicBezTo>
                  <a:cubicBezTo>
                    <a:pt x="2225" y="527"/>
                    <a:pt x="2214" y="544"/>
                    <a:pt x="2211" y="550"/>
                  </a:cubicBezTo>
                  <a:cubicBezTo>
                    <a:pt x="2197" y="550"/>
                    <a:pt x="2200" y="539"/>
                    <a:pt x="2191" y="536"/>
                  </a:cubicBezTo>
                  <a:close/>
                  <a:moveTo>
                    <a:pt x="2205" y="2368"/>
                  </a:moveTo>
                  <a:cubicBezTo>
                    <a:pt x="2208" y="2363"/>
                    <a:pt x="2217" y="2371"/>
                    <a:pt x="2205" y="2368"/>
                  </a:cubicBezTo>
                  <a:close/>
                  <a:moveTo>
                    <a:pt x="2208" y="2636"/>
                  </a:moveTo>
                  <a:cubicBezTo>
                    <a:pt x="2208" y="2631"/>
                    <a:pt x="2211" y="2622"/>
                    <a:pt x="2217" y="2622"/>
                  </a:cubicBezTo>
                  <a:cubicBezTo>
                    <a:pt x="2214" y="2625"/>
                    <a:pt x="2214" y="2636"/>
                    <a:pt x="2208" y="2636"/>
                  </a:cubicBezTo>
                  <a:close/>
                  <a:moveTo>
                    <a:pt x="2222" y="2701"/>
                  </a:moveTo>
                  <a:cubicBezTo>
                    <a:pt x="2222" y="2718"/>
                    <a:pt x="2203" y="2701"/>
                    <a:pt x="2222" y="2701"/>
                  </a:cubicBezTo>
                  <a:close/>
                  <a:moveTo>
                    <a:pt x="2222" y="2710"/>
                  </a:moveTo>
                  <a:cubicBezTo>
                    <a:pt x="2222" y="2704"/>
                    <a:pt x="2228" y="2704"/>
                    <a:pt x="2231" y="2701"/>
                  </a:cubicBezTo>
                  <a:cubicBezTo>
                    <a:pt x="2234" y="2704"/>
                    <a:pt x="2236" y="2707"/>
                    <a:pt x="2236" y="2713"/>
                  </a:cubicBezTo>
                  <a:cubicBezTo>
                    <a:pt x="2228" y="2713"/>
                    <a:pt x="2225" y="2713"/>
                    <a:pt x="2222" y="2710"/>
                  </a:cubicBezTo>
                  <a:close/>
                  <a:moveTo>
                    <a:pt x="2222" y="2617"/>
                  </a:moveTo>
                  <a:cubicBezTo>
                    <a:pt x="2234" y="2617"/>
                    <a:pt x="2239" y="2597"/>
                    <a:pt x="2253" y="2600"/>
                  </a:cubicBezTo>
                  <a:cubicBezTo>
                    <a:pt x="2248" y="2611"/>
                    <a:pt x="2228" y="2634"/>
                    <a:pt x="2222" y="2617"/>
                  </a:cubicBezTo>
                  <a:close/>
                  <a:moveTo>
                    <a:pt x="2262" y="2645"/>
                  </a:moveTo>
                  <a:lnTo>
                    <a:pt x="2256" y="2645"/>
                  </a:lnTo>
                  <a:cubicBezTo>
                    <a:pt x="2253" y="2648"/>
                    <a:pt x="2242" y="2642"/>
                    <a:pt x="2242" y="2620"/>
                  </a:cubicBezTo>
                  <a:cubicBezTo>
                    <a:pt x="2256" y="2625"/>
                    <a:pt x="2259" y="2636"/>
                    <a:pt x="2259" y="2639"/>
                  </a:cubicBezTo>
                  <a:lnTo>
                    <a:pt x="2262" y="2639"/>
                  </a:lnTo>
                  <a:cubicBezTo>
                    <a:pt x="2265" y="2639"/>
                    <a:pt x="2262" y="2642"/>
                    <a:pt x="2262" y="2645"/>
                  </a:cubicBezTo>
                  <a:close/>
                  <a:moveTo>
                    <a:pt x="2265" y="2383"/>
                  </a:moveTo>
                  <a:cubicBezTo>
                    <a:pt x="2259" y="2383"/>
                    <a:pt x="2265" y="2374"/>
                    <a:pt x="2267" y="2374"/>
                  </a:cubicBezTo>
                  <a:cubicBezTo>
                    <a:pt x="2270" y="2380"/>
                    <a:pt x="2265" y="2380"/>
                    <a:pt x="2265" y="2383"/>
                  </a:cubicBezTo>
                  <a:close/>
                  <a:moveTo>
                    <a:pt x="2279" y="2597"/>
                  </a:moveTo>
                  <a:cubicBezTo>
                    <a:pt x="2279" y="2600"/>
                    <a:pt x="2276" y="2605"/>
                    <a:pt x="2279" y="2608"/>
                  </a:cubicBezTo>
                  <a:cubicBezTo>
                    <a:pt x="2253" y="2594"/>
                    <a:pt x="2273" y="2572"/>
                    <a:pt x="2279" y="2597"/>
                  </a:cubicBezTo>
                  <a:close/>
                  <a:moveTo>
                    <a:pt x="2270" y="2543"/>
                  </a:moveTo>
                  <a:cubicBezTo>
                    <a:pt x="2270" y="2541"/>
                    <a:pt x="2270" y="2541"/>
                    <a:pt x="2273" y="2538"/>
                  </a:cubicBezTo>
                  <a:cubicBezTo>
                    <a:pt x="2273" y="2538"/>
                    <a:pt x="2270" y="2535"/>
                    <a:pt x="2273" y="2529"/>
                  </a:cubicBezTo>
                  <a:cubicBezTo>
                    <a:pt x="2279" y="2529"/>
                    <a:pt x="2282" y="2529"/>
                    <a:pt x="2279" y="2532"/>
                  </a:cubicBezTo>
                  <a:cubicBezTo>
                    <a:pt x="2287" y="2529"/>
                    <a:pt x="2296" y="2555"/>
                    <a:pt x="2304" y="2555"/>
                  </a:cubicBezTo>
                  <a:cubicBezTo>
                    <a:pt x="2301" y="2563"/>
                    <a:pt x="2293" y="2572"/>
                    <a:pt x="2284" y="2569"/>
                  </a:cubicBezTo>
                  <a:cubicBezTo>
                    <a:pt x="2273" y="2566"/>
                    <a:pt x="2282" y="2543"/>
                    <a:pt x="2270" y="2543"/>
                  </a:cubicBezTo>
                  <a:close/>
                  <a:moveTo>
                    <a:pt x="2298" y="2572"/>
                  </a:moveTo>
                  <a:cubicBezTo>
                    <a:pt x="2298" y="2574"/>
                    <a:pt x="2293" y="2577"/>
                    <a:pt x="2290" y="2577"/>
                  </a:cubicBezTo>
                  <a:cubicBezTo>
                    <a:pt x="2290" y="2572"/>
                    <a:pt x="2296" y="2572"/>
                    <a:pt x="2298" y="2572"/>
                  </a:cubicBezTo>
                  <a:close/>
                  <a:moveTo>
                    <a:pt x="2298" y="2574"/>
                  </a:moveTo>
                  <a:cubicBezTo>
                    <a:pt x="2296" y="2580"/>
                    <a:pt x="2301" y="2572"/>
                    <a:pt x="2298" y="2574"/>
                  </a:cubicBezTo>
                  <a:close/>
                  <a:moveTo>
                    <a:pt x="2296" y="2634"/>
                  </a:moveTo>
                  <a:cubicBezTo>
                    <a:pt x="2296" y="2631"/>
                    <a:pt x="2298" y="2631"/>
                    <a:pt x="2298" y="2628"/>
                  </a:cubicBezTo>
                  <a:lnTo>
                    <a:pt x="2298" y="2631"/>
                  </a:lnTo>
                  <a:lnTo>
                    <a:pt x="2298" y="2634"/>
                  </a:lnTo>
                  <a:cubicBezTo>
                    <a:pt x="2298" y="2636"/>
                    <a:pt x="2296" y="2636"/>
                    <a:pt x="2293" y="2636"/>
                  </a:cubicBezTo>
                  <a:lnTo>
                    <a:pt x="2293" y="2642"/>
                  </a:lnTo>
                  <a:lnTo>
                    <a:pt x="2290" y="2636"/>
                  </a:lnTo>
                  <a:cubicBezTo>
                    <a:pt x="2293" y="2636"/>
                    <a:pt x="2293" y="2636"/>
                    <a:pt x="2296" y="2634"/>
                  </a:cubicBezTo>
                  <a:close/>
                  <a:moveTo>
                    <a:pt x="2296" y="2665"/>
                  </a:moveTo>
                  <a:cubicBezTo>
                    <a:pt x="2290" y="2665"/>
                    <a:pt x="2296" y="2656"/>
                    <a:pt x="2298" y="2656"/>
                  </a:cubicBezTo>
                  <a:cubicBezTo>
                    <a:pt x="2301" y="2662"/>
                    <a:pt x="2298" y="2662"/>
                    <a:pt x="2296" y="2665"/>
                  </a:cubicBezTo>
                  <a:close/>
                  <a:moveTo>
                    <a:pt x="2296" y="2608"/>
                  </a:moveTo>
                  <a:cubicBezTo>
                    <a:pt x="2287" y="2586"/>
                    <a:pt x="2318" y="2603"/>
                    <a:pt x="2310" y="2580"/>
                  </a:cubicBezTo>
                  <a:cubicBezTo>
                    <a:pt x="2335" y="2574"/>
                    <a:pt x="2310" y="2611"/>
                    <a:pt x="2296" y="2608"/>
                  </a:cubicBezTo>
                  <a:close/>
                  <a:moveTo>
                    <a:pt x="2324" y="2634"/>
                  </a:moveTo>
                  <a:cubicBezTo>
                    <a:pt x="2338" y="2653"/>
                    <a:pt x="2296" y="2659"/>
                    <a:pt x="2324" y="2634"/>
                  </a:cubicBezTo>
                  <a:close/>
                  <a:moveTo>
                    <a:pt x="2327" y="2588"/>
                  </a:moveTo>
                  <a:cubicBezTo>
                    <a:pt x="2335" y="2591"/>
                    <a:pt x="2324" y="2603"/>
                    <a:pt x="2327" y="2588"/>
                  </a:cubicBezTo>
                  <a:close/>
                  <a:moveTo>
                    <a:pt x="2335" y="2569"/>
                  </a:moveTo>
                  <a:cubicBezTo>
                    <a:pt x="2318" y="2572"/>
                    <a:pt x="2315" y="2549"/>
                    <a:pt x="2324" y="2541"/>
                  </a:cubicBezTo>
                  <a:cubicBezTo>
                    <a:pt x="2332" y="2549"/>
                    <a:pt x="2341" y="2557"/>
                    <a:pt x="2335" y="2569"/>
                  </a:cubicBezTo>
                  <a:close/>
                  <a:moveTo>
                    <a:pt x="2346" y="2563"/>
                  </a:moveTo>
                  <a:cubicBezTo>
                    <a:pt x="2341" y="2566"/>
                    <a:pt x="2346" y="2557"/>
                    <a:pt x="2346" y="2563"/>
                  </a:cubicBezTo>
                  <a:close/>
                  <a:moveTo>
                    <a:pt x="2344" y="2140"/>
                  </a:moveTo>
                  <a:cubicBezTo>
                    <a:pt x="2346" y="2134"/>
                    <a:pt x="2355" y="2146"/>
                    <a:pt x="2344" y="2140"/>
                  </a:cubicBezTo>
                  <a:close/>
                  <a:moveTo>
                    <a:pt x="2349" y="2622"/>
                  </a:moveTo>
                  <a:cubicBezTo>
                    <a:pt x="2346" y="2617"/>
                    <a:pt x="2346" y="2608"/>
                    <a:pt x="2346" y="2603"/>
                  </a:cubicBezTo>
                  <a:cubicBezTo>
                    <a:pt x="2352" y="2603"/>
                    <a:pt x="2358" y="2611"/>
                    <a:pt x="2363" y="2611"/>
                  </a:cubicBezTo>
                  <a:cubicBezTo>
                    <a:pt x="2363" y="2622"/>
                    <a:pt x="2355" y="2622"/>
                    <a:pt x="2349" y="2622"/>
                  </a:cubicBezTo>
                  <a:close/>
                  <a:moveTo>
                    <a:pt x="2369" y="2574"/>
                  </a:moveTo>
                  <a:cubicBezTo>
                    <a:pt x="2363" y="2574"/>
                    <a:pt x="2366" y="2566"/>
                    <a:pt x="2366" y="2563"/>
                  </a:cubicBezTo>
                  <a:cubicBezTo>
                    <a:pt x="2372" y="2563"/>
                    <a:pt x="2369" y="2572"/>
                    <a:pt x="2369" y="2574"/>
                  </a:cubicBezTo>
                  <a:close/>
                  <a:moveTo>
                    <a:pt x="2377" y="2603"/>
                  </a:moveTo>
                  <a:cubicBezTo>
                    <a:pt x="2375" y="2605"/>
                    <a:pt x="2380" y="2597"/>
                    <a:pt x="2377" y="2603"/>
                  </a:cubicBezTo>
                  <a:close/>
                  <a:moveTo>
                    <a:pt x="2380" y="2543"/>
                  </a:moveTo>
                  <a:lnTo>
                    <a:pt x="2383" y="2543"/>
                  </a:lnTo>
                  <a:cubicBezTo>
                    <a:pt x="2386" y="2548"/>
                    <a:pt x="2373" y="2551"/>
                    <a:pt x="2372" y="2546"/>
                  </a:cubicBezTo>
                  <a:cubicBezTo>
                    <a:pt x="2366" y="2546"/>
                    <a:pt x="2363" y="2540"/>
                    <a:pt x="2363" y="2535"/>
                  </a:cubicBezTo>
                  <a:cubicBezTo>
                    <a:pt x="2363" y="2532"/>
                    <a:pt x="2363" y="2532"/>
                    <a:pt x="2366" y="2529"/>
                  </a:cubicBezTo>
                  <a:cubicBezTo>
                    <a:pt x="2372" y="2529"/>
                    <a:pt x="2380" y="2526"/>
                    <a:pt x="2389" y="2526"/>
                  </a:cubicBezTo>
                  <a:cubicBezTo>
                    <a:pt x="2389" y="2532"/>
                    <a:pt x="2386" y="2538"/>
                    <a:pt x="2380" y="2543"/>
                  </a:cubicBezTo>
                  <a:close/>
                  <a:moveTo>
                    <a:pt x="2389" y="2504"/>
                  </a:moveTo>
                  <a:cubicBezTo>
                    <a:pt x="2408" y="2512"/>
                    <a:pt x="2375" y="2524"/>
                    <a:pt x="2389" y="2504"/>
                  </a:cubicBezTo>
                  <a:close/>
                  <a:moveTo>
                    <a:pt x="2386" y="2086"/>
                  </a:moveTo>
                  <a:cubicBezTo>
                    <a:pt x="2386" y="2084"/>
                    <a:pt x="2394" y="2081"/>
                    <a:pt x="2397" y="2081"/>
                  </a:cubicBezTo>
                  <a:cubicBezTo>
                    <a:pt x="2394" y="2086"/>
                    <a:pt x="2389" y="2089"/>
                    <a:pt x="2386" y="2086"/>
                  </a:cubicBezTo>
                  <a:close/>
                  <a:moveTo>
                    <a:pt x="2400" y="2572"/>
                  </a:moveTo>
                  <a:cubicBezTo>
                    <a:pt x="2392" y="2580"/>
                    <a:pt x="2406" y="2557"/>
                    <a:pt x="2400" y="2572"/>
                  </a:cubicBezTo>
                  <a:close/>
                  <a:moveTo>
                    <a:pt x="2397" y="2563"/>
                  </a:moveTo>
                  <a:cubicBezTo>
                    <a:pt x="2394" y="2566"/>
                    <a:pt x="2400" y="2557"/>
                    <a:pt x="2397" y="2563"/>
                  </a:cubicBezTo>
                  <a:close/>
                  <a:moveTo>
                    <a:pt x="2397" y="2538"/>
                  </a:moveTo>
                  <a:cubicBezTo>
                    <a:pt x="2417" y="2541"/>
                    <a:pt x="2389" y="2569"/>
                    <a:pt x="2397" y="2538"/>
                  </a:cubicBezTo>
                  <a:close/>
                  <a:moveTo>
                    <a:pt x="2403" y="2563"/>
                  </a:moveTo>
                  <a:cubicBezTo>
                    <a:pt x="2408" y="2552"/>
                    <a:pt x="2420" y="2574"/>
                    <a:pt x="2403" y="2563"/>
                  </a:cubicBezTo>
                  <a:close/>
                  <a:moveTo>
                    <a:pt x="2417" y="1697"/>
                  </a:moveTo>
                  <a:cubicBezTo>
                    <a:pt x="2420" y="1689"/>
                    <a:pt x="2420" y="1706"/>
                    <a:pt x="2417" y="1697"/>
                  </a:cubicBezTo>
                  <a:close/>
                  <a:moveTo>
                    <a:pt x="2414" y="1235"/>
                  </a:moveTo>
                  <a:cubicBezTo>
                    <a:pt x="2411" y="1235"/>
                    <a:pt x="2406" y="1233"/>
                    <a:pt x="2403" y="1230"/>
                  </a:cubicBezTo>
                  <a:cubicBezTo>
                    <a:pt x="2406" y="1204"/>
                    <a:pt x="2431" y="1230"/>
                    <a:pt x="2414" y="1235"/>
                  </a:cubicBezTo>
                  <a:close/>
                  <a:moveTo>
                    <a:pt x="2417" y="505"/>
                  </a:moveTo>
                  <a:cubicBezTo>
                    <a:pt x="2417" y="502"/>
                    <a:pt x="2420" y="496"/>
                    <a:pt x="2423" y="494"/>
                  </a:cubicBezTo>
                  <a:cubicBezTo>
                    <a:pt x="2425" y="494"/>
                    <a:pt x="2431" y="496"/>
                    <a:pt x="2434" y="496"/>
                  </a:cubicBezTo>
                  <a:cubicBezTo>
                    <a:pt x="2434" y="499"/>
                    <a:pt x="2431" y="505"/>
                    <a:pt x="2431" y="508"/>
                  </a:cubicBezTo>
                  <a:cubicBezTo>
                    <a:pt x="2425" y="508"/>
                    <a:pt x="2420" y="508"/>
                    <a:pt x="2417" y="505"/>
                  </a:cubicBezTo>
                  <a:close/>
                  <a:moveTo>
                    <a:pt x="2423" y="2380"/>
                  </a:moveTo>
                  <a:cubicBezTo>
                    <a:pt x="2423" y="2374"/>
                    <a:pt x="2434" y="2385"/>
                    <a:pt x="2423" y="2380"/>
                  </a:cubicBezTo>
                  <a:close/>
                  <a:moveTo>
                    <a:pt x="2425" y="2450"/>
                  </a:moveTo>
                  <a:cubicBezTo>
                    <a:pt x="2425" y="2445"/>
                    <a:pt x="2437" y="2445"/>
                    <a:pt x="2440" y="2442"/>
                  </a:cubicBezTo>
                  <a:cubicBezTo>
                    <a:pt x="2448" y="2442"/>
                    <a:pt x="2431" y="2456"/>
                    <a:pt x="2425" y="2450"/>
                  </a:cubicBezTo>
                  <a:close/>
                  <a:moveTo>
                    <a:pt x="2428" y="2436"/>
                  </a:moveTo>
                  <a:cubicBezTo>
                    <a:pt x="2431" y="2433"/>
                    <a:pt x="2440" y="2431"/>
                    <a:pt x="2440" y="2425"/>
                  </a:cubicBezTo>
                  <a:cubicBezTo>
                    <a:pt x="2448" y="2428"/>
                    <a:pt x="2440" y="2439"/>
                    <a:pt x="2428" y="2436"/>
                  </a:cubicBezTo>
                  <a:close/>
                  <a:moveTo>
                    <a:pt x="2445" y="2529"/>
                  </a:moveTo>
                  <a:lnTo>
                    <a:pt x="2445" y="2526"/>
                  </a:lnTo>
                  <a:cubicBezTo>
                    <a:pt x="2445" y="2526"/>
                    <a:pt x="2448" y="2526"/>
                    <a:pt x="2448" y="2529"/>
                  </a:cubicBezTo>
                  <a:cubicBezTo>
                    <a:pt x="2451" y="2532"/>
                    <a:pt x="2451" y="2535"/>
                    <a:pt x="2451" y="2538"/>
                  </a:cubicBezTo>
                  <a:cubicBezTo>
                    <a:pt x="2451" y="2535"/>
                    <a:pt x="2448" y="2532"/>
                    <a:pt x="2445" y="2529"/>
                  </a:cubicBezTo>
                  <a:close/>
                  <a:moveTo>
                    <a:pt x="2448" y="1505"/>
                  </a:moveTo>
                  <a:cubicBezTo>
                    <a:pt x="2454" y="1500"/>
                    <a:pt x="2445" y="1514"/>
                    <a:pt x="2448" y="1505"/>
                  </a:cubicBezTo>
                  <a:close/>
                  <a:moveTo>
                    <a:pt x="2451" y="2377"/>
                  </a:moveTo>
                  <a:lnTo>
                    <a:pt x="2451" y="2368"/>
                  </a:lnTo>
                  <a:cubicBezTo>
                    <a:pt x="2454" y="2368"/>
                    <a:pt x="2454" y="2371"/>
                    <a:pt x="2456" y="2371"/>
                  </a:cubicBezTo>
                  <a:lnTo>
                    <a:pt x="2456" y="2377"/>
                  </a:lnTo>
                  <a:cubicBezTo>
                    <a:pt x="2456" y="2380"/>
                    <a:pt x="2451" y="2377"/>
                    <a:pt x="2451" y="2377"/>
                  </a:cubicBezTo>
                  <a:close/>
                  <a:moveTo>
                    <a:pt x="2456" y="2439"/>
                  </a:moveTo>
                  <a:cubicBezTo>
                    <a:pt x="2456" y="2433"/>
                    <a:pt x="2462" y="2433"/>
                    <a:pt x="2465" y="2431"/>
                  </a:cubicBezTo>
                  <a:cubicBezTo>
                    <a:pt x="2465" y="2436"/>
                    <a:pt x="2462" y="2442"/>
                    <a:pt x="2456" y="2439"/>
                  </a:cubicBezTo>
                  <a:close/>
                  <a:moveTo>
                    <a:pt x="2465" y="2431"/>
                  </a:moveTo>
                  <a:cubicBezTo>
                    <a:pt x="2465" y="2429"/>
                    <a:pt x="2471" y="2425"/>
                    <a:pt x="2473" y="2425"/>
                  </a:cubicBezTo>
                  <a:lnTo>
                    <a:pt x="2473" y="2428"/>
                  </a:lnTo>
                  <a:cubicBezTo>
                    <a:pt x="2471" y="2431"/>
                    <a:pt x="2471" y="2433"/>
                    <a:pt x="2471" y="2433"/>
                  </a:cubicBezTo>
                  <a:cubicBezTo>
                    <a:pt x="2468" y="2433"/>
                    <a:pt x="2465" y="2434"/>
                    <a:pt x="2465" y="2431"/>
                  </a:cubicBezTo>
                  <a:close/>
                  <a:moveTo>
                    <a:pt x="2476" y="2464"/>
                  </a:moveTo>
                  <a:cubicBezTo>
                    <a:pt x="2473" y="2464"/>
                    <a:pt x="2473" y="2462"/>
                    <a:pt x="2471" y="2462"/>
                  </a:cubicBezTo>
                  <a:lnTo>
                    <a:pt x="2471" y="2459"/>
                  </a:lnTo>
                  <a:cubicBezTo>
                    <a:pt x="2476" y="2459"/>
                    <a:pt x="2476" y="2464"/>
                    <a:pt x="2476" y="2464"/>
                  </a:cubicBezTo>
                  <a:close/>
                  <a:moveTo>
                    <a:pt x="2471" y="2383"/>
                  </a:moveTo>
                  <a:cubicBezTo>
                    <a:pt x="2462" y="2377"/>
                    <a:pt x="2476" y="2360"/>
                    <a:pt x="2479" y="2363"/>
                  </a:cubicBezTo>
                  <a:cubicBezTo>
                    <a:pt x="2482" y="2371"/>
                    <a:pt x="2476" y="2380"/>
                    <a:pt x="2471" y="2383"/>
                  </a:cubicBezTo>
                  <a:close/>
                  <a:moveTo>
                    <a:pt x="2476" y="2436"/>
                  </a:moveTo>
                  <a:cubicBezTo>
                    <a:pt x="2476" y="2436"/>
                    <a:pt x="2473" y="2431"/>
                    <a:pt x="2476" y="2428"/>
                  </a:cubicBezTo>
                  <a:cubicBezTo>
                    <a:pt x="2479" y="2425"/>
                    <a:pt x="2485" y="2439"/>
                    <a:pt x="2476" y="2436"/>
                  </a:cubicBezTo>
                  <a:close/>
                  <a:moveTo>
                    <a:pt x="2482" y="2270"/>
                  </a:moveTo>
                  <a:cubicBezTo>
                    <a:pt x="2485" y="2264"/>
                    <a:pt x="2493" y="2273"/>
                    <a:pt x="2482" y="2270"/>
                  </a:cubicBezTo>
                  <a:close/>
                  <a:moveTo>
                    <a:pt x="2485" y="2357"/>
                  </a:moveTo>
                  <a:cubicBezTo>
                    <a:pt x="2485" y="2357"/>
                    <a:pt x="2485" y="2360"/>
                    <a:pt x="2485" y="2357"/>
                  </a:cubicBezTo>
                  <a:lnTo>
                    <a:pt x="2485" y="2360"/>
                  </a:lnTo>
                  <a:cubicBezTo>
                    <a:pt x="2485" y="2360"/>
                    <a:pt x="2482" y="2360"/>
                    <a:pt x="2485" y="2357"/>
                  </a:cubicBezTo>
                  <a:close/>
                  <a:moveTo>
                    <a:pt x="2482" y="2205"/>
                  </a:moveTo>
                  <a:cubicBezTo>
                    <a:pt x="2476" y="2202"/>
                    <a:pt x="2487" y="2196"/>
                    <a:pt x="2490" y="2194"/>
                  </a:cubicBezTo>
                  <a:cubicBezTo>
                    <a:pt x="2490" y="2202"/>
                    <a:pt x="2482" y="2202"/>
                    <a:pt x="2482" y="2205"/>
                  </a:cubicBezTo>
                  <a:close/>
                  <a:moveTo>
                    <a:pt x="2493" y="2385"/>
                  </a:moveTo>
                  <a:cubicBezTo>
                    <a:pt x="2490" y="2391"/>
                    <a:pt x="2485" y="2391"/>
                    <a:pt x="2479" y="2391"/>
                  </a:cubicBezTo>
                  <a:cubicBezTo>
                    <a:pt x="2482" y="2388"/>
                    <a:pt x="2490" y="2383"/>
                    <a:pt x="2493" y="2385"/>
                  </a:cubicBezTo>
                  <a:close/>
                  <a:moveTo>
                    <a:pt x="2487" y="2439"/>
                  </a:moveTo>
                  <a:cubicBezTo>
                    <a:pt x="2490" y="2433"/>
                    <a:pt x="2499" y="2445"/>
                    <a:pt x="2487" y="2439"/>
                  </a:cubicBezTo>
                  <a:close/>
                  <a:moveTo>
                    <a:pt x="2487" y="2168"/>
                  </a:moveTo>
                  <a:cubicBezTo>
                    <a:pt x="2487" y="2163"/>
                    <a:pt x="2493" y="2163"/>
                    <a:pt x="2493" y="2160"/>
                  </a:cubicBezTo>
                  <a:cubicBezTo>
                    <a:pt x="2496" y="2160"/>
                    <a:pt x="2490" y="2171"/>
                    <a:pt x="2487" y="2168"/>
                  </a:cubicBezTo>
                  <a:close/>
                  <a:moveTo>
                    <a:pt x="2487" y="2148"/>
                  </a:moveTo>
                  <a:cubicBezTo>
                    <a:pt x="2487" y="2143"/>
                    <a:pt x="2496" y="2151"/>
                    <a:pt x="2487" y="2148"/>
                  </a:cubicBezTo>
                  <a:close/>
                  <a:moveTo>
                    <a:pt x="2479" y="2131"/>
                  </a:moveTo>
                  <a:cubicBezTo>
                    <a:pt x="2485" y="2126"/>
                    <a:pt x="2496" y="2123"/>
                    <a:pt x="2504" y="2123"/>
                  </a:cubicBezTo>
                  <a:cubicBezTo>
                    <a:pt x="2502" y="2131"/>
                    <a:pt x="2487" y="2131"/>
                    <a:pt x="2479" y="2131"/>
                  </a:cubicBezTo>
                  <a:close/>
                  <a:moveTo>
                    <a:pt x="2499" y="2227"/>
                  </a:moveTo>
                  <a:cubicBezTo>
                    <a:pt x="2499" y="2222"/>
                    <a:pt x="2510" y="2219"/>
                    <a:pt x="2510" y="2222"/>
                  </a:cubicBezTo>
                  <a:cubicBezTo>
                    <a:pt x="2507" y="2227"/>
                    <a:pt x="2504" y="2227"/>
                    <a:pt x="2499" y="2227"/>
                  </a:cubicBezTo>
                  <a:close/>
                  <a:moveTo>
                    <a:pt x="2502" y="2459"/>
                  </a:moveTo>
                  <a:cubicBezTo>
                    <a:pt x="2502" y="2456"/>
                    <a:pt x="2502" y="2453"/>
                    <a:pt x="2504" y="2453"/>
                  </a:cubicBezTo>
                  <a:cubicBezTo>
                    <a:pt x="2507" y="2453"/>
                    <a:pt x="2510" y="2453"/>
                    <a:pt x="2510" y="2456"/>
                  </a:cubicBezTo>
                  <a:cubicBezTo>
                    <a:pt x="2510" y="2456"/>
                    <a:pt x="2507" y="2459"/>
                    <a:pt x="2502" y="2459"/>
                  </a:cubicBezTo>
                  <a:close/>
                  <a:moveTo>
                    <a:pt x="2502" y="2363"/>
                  </a:moveTo>
                  <a:cubicBezTo>
                    <a:pt x="2504" y="2360"/>
                    <a:pt x="2507" y="2354"/>
                    <a:pt x="2513" y="2354"/>
                  </a:cubicBezTo>
                  <a:cubicBezTo>
                    <a:pt x="2516" y="2360"/>
                    <a:pt x="2507" y="2363"/>
                    <a:pt x="2502" y="2363"/>
                  </a:cubicBezTo>
                  <a:close/>
                  <a:moveTo>
                    <a:pt x="2504" y="2253"/>
                  </a:moveTo>
                  <a:cubicBezTo>
                    <a:pt x="2507" y="2250"/>
                    <a:pt x="2513" y="2250"/>
                    <a:pt x="2516" y="2250"/>
                  </a:cubicBezTo>
                  <a:cubicBezTo>
                    <a:pt x="2519" y="2258"/>
                    <a:pt x="2504" y="2261"/>
                    <a:pt x="2504" y="2253"/>
                  </a:cubicBezTo>
                  <a:close/>
                  <a:moveTo>
                    <a:pt x="2521" y="2349"/>
                  </a:moveTo>
                  <a:cubicBezTo>
                    <a:pt x="2524" y="2349"/>
                    <a:pt x="2519" y="2357"/>
                    <a:pt x="2516" y="2357"/>
                  </a:cubicBezTo>
                  <a:cubicBezTo>
                    <a:pt x="2513" y="2349"/>
                    <a:pt x="2524" y="2354"/>
                    <a:pt x="2521" y="2349"/>
                  </a:cubicBezTo>
                  <a:close/>
                  <a:moveTo>
                    <a:pt x="2527" y="2456"/>
                  </a:moveTo>
                  <a:lnTo>
                    <a:pt x="2530" y="2453"/>
                  </a:lnTo>
                  <a:cubicBezTo>
                    <a:pt x="2533" y="2453"/>
                    <a:pt x="2533" y="2462"/>
                    <a:pt x="2527" y="2456"/>
                  </a:cubicBezTo>
                  <a:close/>
                  <a:moveTo>
                    <a:pt x="2541" y="2323"/>
                  </a:moveTo>
                  <a:cubicBezTo>
                    <a:pt x="2538" y="2323"/>
                    <a:pt x="2535" y="2318"/>
                    <a:pt x="2535" y="2315"/>
                  </a:cubicBezTo>
                  <a:cubicBezTo>
                    <a:pt x="2538" y="2315"/>
                    <a:pt x="2541" y="2320"/>
                    <a:pt x="2541" y="2323"/>
                  </a:cubicBezTo>
                  <a:close/>
                  <a:moveTo>
                    <a:pt x="2541" y="2343"/>
                  </a:moveTo>
                  <a:cubicBezTo>
                    <a:pt x="2541" y="2343"/>
                    <a:pt x="2538" y="2346"/>
                    <a:pt x="2538" y="2349"/>
                  </a:cubicBezTo>
                  <a:lnTo>
                    <a:pt x="2527" y="2349"/>
                  </a:lnTo>
                  <a:cubicBezTo>
                    <a:pt x="2530" y="2343"/>
                    <a:pt x="2538" y="2337"/>
                    <a:pt x="2541" y="2343"/>
                  </a:cubicBezTo>
                  <a:close/>
                  <a:moveTo>
                    <a:pt x="2524" y="2320"/>
                  </a:moveTo>
                  <a:cubicBezTo>
                    <a:pt x="2527" y="2320"/>
                    <a:pt x="2530" y="2323"/>
                    <a:pt x="2533" y="2326"/>
                  </a:cubicBezTo>
                  <a:lnTo>
                    <a:pt x="2527" y="2326"/>
                  </a:lnTo>
                  <a:cubicBezTo>
                    <a:pt x="2524" y="2326"/>
                    <a:pt x="2524" y="2323"/>
                    <a:pt x="2524" y="2320"/>
                  </a:cubicBezTo>
                  <a:close/>
                  <a:moveTo>
                    <a:pt x="2544" y="2419"/>
                  </a:moveTo>
                  <a:cubicBezTo>
                    <a:pt x="2544" y="2425"/>
                    <a:pt x="2538" y="2425"/>
                    <a:pt x="2535" y="2428"/>
                  </a:cubicBezTo>
                  <a:lnTo>
                    <a:pt x="2519" y="2419"/>
                  </a:lnTo>
                  <a:cubicBezTo>
                    <a:pt x="2519" y="2405"/>
                    <a:pt x="2544" y="2411"/>
                    <a:pt x="2544" y="2419"/>
                  </a:cubicBezTo>
                  <a:close/>
                  <a:moveTo>
                    <a:pt x="2521" y="2264"/>
                  </a:moveTo>
                  <a:cubicBezTo>
                    <a:pt x="2519" y="2256"/>
                    <a:pt x="2530" y="2256"/>
                    <a:pt x="2530" y="2253"/>
                  </a:cubicBezTo>
                  <a:cubicBezTo>
                    <a:pt x="2538" y="2256"/>
                    <a:pt x="2527" y="2264"/>
                    <a:pt x="2521" y="2264"/>
                  </a:cubicBezTo>
                  <a:close/>
                  <a:moveTo>
                    <a:pt x="2533" y="2205"/>
                  </a:moveTo>
                  <a:cubicBezTo>
                    <a:pt x="2538" y="2205"/>
                    <a:pt x="2541" y="2205"/>
                    <a:pt x="2547" y="2208"/>
                  </a:cubicBezTo>
                  <a:cubicBezTo>
                    <a:pt x="2550" y="2210"/>
                    <a:pt x="2547" y="2216"/>
                    <a:pt x="2544" y="2219"/>
                  </a:cubicBezTo>
                  <a:cubicBezTo>
                    <a:pt x="2538" y="2216"/>
                    <a:pt x="2530" y="2213"/>
                    <a:pt x="2533" y="2205"/>
                  </a:cubicBezTo>
                  <a:close/>
                  <a:moveTo>
                    <a:pt x="2541" y="2242"/>
                  </a:moveTo>
                  <a:cubicBezTo>
                    <a:pt x="2544" y="2242"/>
                    <a:pt x="2547" y="2244"/>
                    <a:pt x="2550" y="2247"/>
                  </a:cubicBezTo>
                  <a:lnTo>
                    <a:pt x="2544" y="2247"/>
                  </a:lnTo>
                  <a:cubicBezTo>
                    <a:pt x="2544" y="2247"/>
                    <a:pt x="2541" y="2244"/>
                    <a:pt x="2541" y="2242"/>
                  </a:cubicBezTo>
                  <a:close/>
                  <a:moveTo>
                    <a:pt x="2547" y="2278"/>
                  </a:moveTo>
                  <a:cubicBezTo>
                    <a:pt x="2550" y="2278"/>
                    <a:pt x="2552" y="2284"/>
                    <a:pt x="2550" y="2281"/>
                  </a:cubicBezTo>
                  <a:cubicBezTo>
                    <a:pt x="2550" y="2281"/>
                    <a:pt x="2544" y="2278"/>
                    <a:pt x="2547" y="2278"/>
                  </a:cubicBezTo>
                  <a:close/>
                  <a:moveTo>
                    <a:pt x="2569" y="2239"/>
                  </a:moveTo>
                  <a:cubicBezTo>
                    <a:pt x="2564" y="2236"/>
                    <a:pt x="2572" y="2230"/>
                    <a:pt x="2567" y="2227"/>
                  </a:cubicBezTo>
                  <a:cubicBezTo>
                    <a:pt x="2558" y="2227"/>
                    <a:pt x="2555" y="2230"/>
                    <a:pt x="2550" y="2233"/>
                  </a:cubicBezTo>
                  <a:cubicBezTo>
                    <a:pt x="2550" y="2225"/>
                    <a:pt x="2564" y="2225"/>
                    <a:pt x="2569" y="2222"/>
                  </a:cubicBezTo>
                  <a:cubicBezTo>
                    <a:pt x="2575" y="2225"/>
                    <a:pt x="2572" y="2233"/>
                    <a:pt x="2569" y="2239"/>
                  </a:cubicBezTo>
                  <a:close/>
                  <a:moveTo>
                    <a:pt x="2581" y="2222"/>
                  </a:moveTo>
                  <a:cubicBezTo>
                    <a:pt x="2578" y="2222"/>
                    <a:pt x="2578" y="2213"/>
                    <a:pt x="2578" y="2210"/>
                  </a:cubicBezTo>
                  <a:cubicBezTo>
                    <a:pt x="2581" y="2210"/>
                    <a:pt x="2583" y="2219"/>
                    <a:pt x="2581" y="2222"/>
                  </a:cubicBezTo>
                  <a:close/>
                  <a:moveTo>
                    <a:pt x="2572" y="2185"/>
                  </a:moveTo>
                  <a:cubicBezTo>
                    <a:pt x="2572" y="2177"/>
                    <a:pt x="2592" y="2174"/>
                    <a:pt x="2592" y="2182"/>
                  </a:cubicBezTo>
                  <a:cubicBezTo>
                    <a:pt x="2586" y="2179"/>
                    <a:pt x="2578" y="2179"/>
                    <a:pt x="2572" y="2185"/>
                  </a:cubicBezTo>
                  <a:close/>
                  <a:moveTo>
                    <a:pt x="2589" y="2154"/>
                  </a:moveTo>
                  <a:cubicBezTo>
                    <a:pt x="2598" y="2148"/>
                    <a:pt x="2606" y="2143"/>
                    <a:pt x="2617" y="2143"/>
                  </a:cubicBezTo>
                  <a:cubicBezTo>
                    <a:pt x="2609" y="2148"/>
                    <a:pt x="2600" y="2157"/>
                    <a:pt x="2589" y="2154"/>
                  </a:cubicBezTo>
                  <a:close/>
                  <a:moveTo>
                    <a:pt x="2598" y="2219"/>
                  </a:moveTo>
                  <a:cubicBezTo>
                    <a:pt x="2598" y="2213"/>
                    <a:pt x="2606" y="2222"/>
                    <a:pt x="2598" y="2219"/>
                  </a:cubicBezTo>
                  <a:close/>
                  <a:moveTo>
                    <a:pt x="2609" y="2371"/>
                  </a:moveTo>
                  <a:cubicBezTo>
                    <a:pt x="2600" y="2366"/>
                    <a:pt x="2609" y="2352"/>
                    <a:pt x="2598" y="2352"/>
                  </a:cubicBezTo>
                  <a:cubicBezTo>
                    <a:pt x="2598" y="2346"/>
                    <a:pt x="2603" y="2343"/>
                    <a:pt x="2606" y="2340"/>
                  </a:cubicBezTo>
                  <a:cubicBezTo>
                    <a:pt x="2612" y="2349"/>
                    <a:pt x="2614" y="2354"/>
                    <a:pt x="2620" y="2360"/>
                  </a:cubicBezTo>
                  <a:cubicBezTo>
                    <a:pt x="2620" y="2368"/>
                    <a:pt x="2614" y="2371"/>
                    <a:pt x="2609" y="2371"/>
                  </a:cubicBezTo>
                  <a:close/>
                  <a:moveTo>
                    <a:pt x="2629" y="2194"/>
                  </a:moveTo>
                  <a:cubicBezTo>
                    <a:pt x="2626" y="2194"/>
                    <a:pt x="2626" y="2188"/>
                    <a:pt x="2623" y="2188"/>
                  </a:cubicBezTo>
                  <a:cubicBezTo>
                    <a:pt x="2626" y="2185"/>
                    <a:pt x="2626" y="2188"/>
                    <a:pt x="2631" y="2185"/>
                  </a:cubicBezTo>
                  <a:cubicBezTo>
                    <a:pt x="2631" y="2191"/>
                    <a:pt x="2629" y="2191"/>
                    <a:pt x="2629" y="2194"/>
                  </a:cubicBezTo>
                  <a:close/>
                  <a:moveTo>
                    <a:pt x="2629" y="2343"/>
                  </a:moveTo>
                  <a:cubicBezTo>
                    <a:pt x="2631" y="2340"/>
                    <a:pt x="2634" y="2335"/>
                    <a:pt x="2637" y="2332"/>
                  </a:cubicBezTo>
                  <a:lnTo>
                    <a:pt x="2643" y="2332"/>
                  </a:lnTo>
                  <a:cubicBezTo>
                    <a:pt x="2640" y="2337"/>
                    <a:pt x="2634" y="2340"/>
                    <a:pt x="2629" y="2343"/>
                  </a:cubicBezTo>
                  <a:close/>
                  <a:moveTo>
                    <a:pt x="2654" y="2304"/>
                  </a:moveTo>
                  <a:cubicBezTo>
                    <a:pt x="2643" y="2295"/>
                    <a:pt x="2626" y="2284"/>
                    <a:pt x="2631" y="2267"/>
                  </a:cubicBezTo>
                  <a:cubicBezTo>
                    <a:pt x="2640" y="2273"/>
                    <a:pt x="2662" y="2289"/>
                    <a:pt x="2654" y="2304"/>
                  </a:cubicBezTo>
                  <a:close/>
                  <a:moveTo>
                    <a:pt x="2654" y="2185"/>
                  </a:moveTo>
                  <a:cubicBezTo>
                    <a:pt x="2654" y="2179"/>
                    <a:pt x="2662" y="2188"/>
                    <a:pt x="2654" y="2185"/>
                  </a:cubicBezTo>
                  <a:close/>
                  <a:moveTo>
                    <a:pt x="2662" y="2298"/>
                  </a:moveTo>
                  <a:cubicBezTo>
                    <a:pt x="2665" y="2295"/>
                    <a:pt x="2668" y="2289"/>
                    <a:pt x="2671" y="2284"/>
                  </a:cubicBezTo>
                  <a:lnTo>
                    <a:pt x="2674" y="2284"/>
                  </a:lnTo>
                  <a:cubicBezTo>
                    <a:pt x="2671" y="2289"/>
                    <a:pt x="2668" y="2295"/>
                    <a:pt x="2662" y="2298"/>
                  </a:cubicBezTo>
                  <a:close/>
                  <a:moveTo>
                    <a:pt x="2668" y="1824"/>
                  </a:moveTo>
                  <a:cubicBezTo>
                    <a:pt x="2668" y="1818"/>
                    <a:pt x="2685" y="1821"/>
                    <a:pt x="2688" y="1824"/>
                  </a:cubicBezTo>
                  <a:cubicBezTo>
                    <a:pt x="2688" y="1827"/>
                    <a:pt x="2688" y="1830"/>
                    <a:pt x="2685" y="1830"/>
                  </a:cubicBezTo>
                  <a:cubicBezTo>
                    <a:pt x="2679" y="1830"/>
                    <a:pt x="2674" y="1827"/>
                    <a:pt x="2668" y="1824"/>
                  </a:cubicBezTo>
                  <a:close/>
                  <a:moveTo>
                    <a:pt x="2682" y="2072"/>
                  </a:moveTo>
                  <a:lnTo>
                    <a:pt x="2677" y="2072"/>
                  </a:lnTo>
                  <a:lnTo>
                    <a:pt x="2677" y="2067"/>
                  </a:lnTo>
                  <a:lnTo>
                    <a:pt x="2682" y="2067"/>
                  </a:lnTo>
                  <a:lnTo>
                    <a:pt x="2682" y="2072"/>
                  </a:lnTo>
                  <a:close/>
                  <a:moveTo>
                    <a:pt x="2685" y="2146"/>
                  </a:moveTo>
                  <a:cubicBezTo>
                    <a:pt x="2682" y="2146"/>
                    <a:pt x="2677" y="2143"/>
                    <a:pt x="2674" y="2140"/>
                  </a:cubicBezTo>
                  <a:cubicBezTo>
                    <a:pt x="2677" y="2140"/>
                    <a:pt x="2691" y="2143"/>
                    <a:pt x="2685" y="2146"/>
                  </a:cubicBezTo>
                  <a:close/>
                  <a:moveTo>
                    <a:pt x="2677" y="2281"/>
                  </a:moveTo>
                  <a:cubicBezTo>
                    <a:pt x="2674" y="2278"/>
                    <a:pt x="2677" y="2278"/>
                    <a:pt x="2677" y="2281"/>
                  </a:cubicBezTo>
                  <a:close/>
                  <a:moveTo>
                    <a:pt x="2682" y="2205"/>
                  </a:moveTo>
                  <a:cubicBezTo>
                    <a:pt x="2685" y="2208"/>
                    <a:pt x="2685" y="2210"/>
                    <a:pt x="2685" y="2213"/>
                  </a:cubicBezTo>
                  <a:cubicBezTo>
                    <a:pt x="2682" y="2213"/>
                    <a:pt x="2682" y="2208"/>
                    <a:pt x="2682" y="2205"/>
                  </a:cubicBezTo>
                  <a:close/>
                  <a:moveTo>
                    <a:pt x="2679" y="2058"/>
                  </a:moveTo>
                  <a:cubicBezTo>
                    <a:pt x="2682" y="2053"/>
                    <a:pt x="2685" y="2055"/>
                    <a:pt x="2691" y="2055"/>
                  </a:cubicBezTo>
                  <a:cubicBezTo>
                    <a:pt x="2693" y="2061"/>
                    <a:pt x="2682" y="2058"/>
                    <a:pt x="2679" y="2058"/>
                  </a:cubicBezTo>
                  <a:close/>
                  <a:moveTo>
                    <a:pt x="2691" y="2205"/>
                  </a:moveTo>
                  <a:cubicBezTo>
                    <a:pt x="2691" y="2205"/>
                    <a:pt x="2688" y="2199"/>
                    <a:pt x="2691" y="2196"/>
                  </a:cubicBezTo>
                  <a:cubicBezTo>
                    <a:pt x="2693" y="2196"/>
                    <a:pt x="2696" y="2210"/>
                    <a:pt x="2691" y="2205"/>
                  </a:cubicBezTo>
                  <a:close/>
                  <a:moveTo>
                    <a:pt x="2708" y="2163"/>
                  </a:moveTo>
                  <a:cubicBezTo>
                    <a:pt x="2702" y="2163"/>
                    <a:pt x="2699" y="2160"/>
                    <a:pt x="2696" y="2157"/>
                  </a:cubicBezTo>
                  <a:cubicBezTo>
                    <a:pt x="2696" y="2148"/>
                    <a:pt x="2713" y="2154"/>
                    <a:pt x="2708" y="2163"/>
                  </a:cubicBezTo>
                  <a:close/>
                  <a:moveTo>
                    <a:pt x="2710" y="2233"/>
                  </a:moveTo>
                  <a:cubicBezTo>
                    <a:pt x="2705" y="2230"/>
                    <a:pt x="2702" y="2225"/>
                    <a:pt x="2702" y="2219"/>
                  </a:cubicBezTo>
                  <a:lnTo>
                    <a:pt x="2710" y="2219"/>
                  </a:lnTo>
                  <a:cubicBezTo>
                    <a:pt x="2710" y="2222"/>
                    <a:pt x="2716" y="2230"/>
                    <a:pt x="2710" y="2233"/>
                  </a:cubicBezTo>
                  <a:close/>
                  <a:moveTo>
                    <a:pt x="2699" y="2216"/>
                  </a:moveTo>
                  <a:cubicBezTo>
                    <a:pt x="2696" y="2210"/>
                    <a:pt x="2693" y="2191"/>
                    <a:pt x="2705" y="2194"/>
                  </a:cubicBezTo>
                  <a:cubicBezTo>
                    <a:pt x="2702" y="2196"/>
                    <a:pt x="2702" y="2208"/>
                    <a:pt x="2710" y="2210"/>
                  </a:cubicBezTo>
                  <a:cubicBezTo>
                    <a:pt x="2710" y="2210"/>
                    <a:pt x="2708" y="2216"/>
                    <a:pt x="2699" y="2216"/>
                  </a:cubicBezTo>
                  <a:close/>
                  <a:moveTo>
                    <a:pt x="2722" y="2202"/>
                  </a:moveTo>
                  <a:cubicBezTo>
                    <a:pt x="2719" y="2202"/>
                    <a:pt x="2716" y="2199"/>
                    <a:pt x="2713" y="2196"/>
                  </a:cubicBezTo>
                  <a:cubicBezTo>
                    <a:pt x="2713" y="2194"/>
                    <a:pt x="2716" y="2191"/>
                    <a:pt x="2719" y="2191"/>
                  </a:cubicBezTo>
                  <a:cubicBezTo>
                    <a:pt x="2719" y="2188"/>
                    <a:pt x="2719" y="2185"/>
                    <a:pt x="2722" y="2185"/>
                  </a:cubicBezTo>
                  <a:cubicBezTo>
                    <a:pt x="2727" y="2188"/>
                    <a:pt x="2730" y="2185"/>
                    <a:pt x="2733" y="2188"/>
                  </a:cubicBezTo>
                  <a:cubicBezTo>
                    <a:pt x="2727" y="2191"/>
                    <a:pt x="2722" y="2191"/>
                    <a:pt x="2719" y="2191"/>
                  </a:cubicBezTo>
                  <a:cubicBezTo>
                    <a:pt x="2719" y="2194"/>
                    <a:pt x="2725" y="2196"/>
                    <a:pt x="2722" y="2202"/>
                  </a:cubicBezTo>
                  <a:close/>
                  <a:moveTo>
                    <a:pt x="2710" y="2157"/>
                  </a:moveTo>
                  <a:cubicBezTo>
                    <a:pt x="2708" y="2157"/>
                    <a:pt x="2710" y="2151"/>
                    <a:pt x="2713" y="2151"/>
                  </a:cubicBezTo>
                  <a:cubicBezTo>
                    <a:pt x="2727" y="2151"/>
                    <a:pt x="2739" y="2157"/>
                    <a:pt x="2739" y="2165"/>
                  </a:cubicBezTo>
                  <a:cubicBezTo>
                    <a:pt x="2733" y="2163"/>
                    <a:pt x="2722" y="2160"/>
                    <a:pt x="2710" y="2157"/>
                  </a:cubicBezTo>
                  <a:close/>
                  <a:moveTo>
                    <a:pt x="2736" y="2024"/>
                  </a:moveTo>
                  <a:cubicBezTo>
                    <a:pt x="2739" y="2030"/>
                    <a:pt x="2744" y="2027"/>
                    <a:pt x="2747" y="2033"/>
                  </a:cubicBezTo>
                  <a:cubicBezTo>
                    <a:pt x="2744" y="2044"/>
                    <a:pt x="2727" y="2027"/>
                    <a:pt x="2736" y="2024"/>
                  </a:cubicBezTo>
                  <a:close/>
                  <a:moveTo>
                    <a:pt x="2741" y="2115"/>
                  </a:moveTo>
                  <a:cubicBezTo>
                    <a:pt x="2744" y="2115"/>
                    <a:pt x="2747" y="2120"/>
                    <a:pt x="2744" y="2117"/>
                  </a:cubicBezTo>
                  <a:lnTo>
                    <a:pt x="2741" y="2115"/>
                  </a:lnTo>
                  <a:close/>
                  <a:moveTo>
                    <a:pt x="2750" y="2137"/>
                  </a:moveTo>
                  <a:cubicBezTo>
                    <a:pt x="2750" y="2134"/>
                    <a:pt x="2750" y="2131"/>
                    <a:pt x="2753" y="2129"/>
                  </a:cubicBezTo>
                  <a:cubicBezTo>
                    <a:pt x="2756" y="2129"/>
                    <a:pt x="2761" y="2131"/>
                    <a:pt x="2764" y="2134"/>
                  </a:cubicBezTo>
                  <a:cubicBezTo>
                    <a:pt x="2761" y="2140"/>
                    <a:pt x="2756" y="2140"/>
                    <a:pt x="2750" y="2137"/>
                  </a:cubicBezTo>
                  <a:close/>
                  <a:moveTo>
                    <a:pt x="2750" y="2086"/>
                  </a:moveTo>
                  <a:cubicBezTo>
                    <a:pt x="2750" y="2081"/>
                    <a:pt x="2756" y="2084"/>
                    <a:pt x="2756" y="2078"/>
                  </a:cubicBezTo>
                  <a:cubicBezTo>
                    <a:pt x="2756" y="2075"/>
                    <a:pt x="2744" y="2075"/>
                    <a:pt x="2741" y="2072"/>
                  </a:cubicBezTo>
                  <a:cubicBezTo>
                    <a:pt x="2739" y="2067"/>
                    <a:pt x="2741" y="2061"/>
                    <a:pt x="2744" y="2058"/>
                  </a:cubicBezTo>
                  <a:cubicBezTo>
                    <a:pt x="2756" y="2064"/>
                    <a:pt x="2758" y="2072"/>
                    <a:pt x="2764" y="2081"/>
                  </a:cubicBezTo>
                  <a:cubicBezTo>
                    <a:pt x="2756" y="2084"/>
                    <a:pt x="2761" y="2089"/>
                    <a:pt x="2750" y="2086"/>
                  </a:cubicBezTo>
                  <a:close/>
                  <a:moveTo>
                    <a:pt x="2772" y="1917"/>
                  </a:moveTo>
                  <a:cubicBezTo>
                    <a:pt x="2778" y="1917"/>
                    <a:pt x="2778" y="1920"/>
                    <a:pt x="2781" y="1923"/>
                  </a:cubicBezTo>
                  <a:cubicBezTo>
                    <a:pt x="2781" y="1926"/>
                    <a:pt x="2770" y="1920"/>
                    <a:pt x="2772" y="1917"/>
                  </a:cubicBezTo>
                  <a:close/>
                  <a:moveTo>
                    <a:pt x="2787" y="2027"/>
                  </a:moveTo>
                  <a:cubicBezTo>
                    <a:pt x="2784" y="2027"/>
                    <a:pt x="2781" y="2027"/>
                    <a:pt x="2778" y="2024"/>
                  </a:cubicBezTo>
                  <a:cubicBezTo>
                    <a:pt x="2775" y="2021"/>
                    <a:pt x="2778" y="2021"/>
                    <a:pt x="2781" y="2019"/>
                  </a:cubicBezTo>
                  <a:cubicBezTo>
                    <a:pt x="2784" y="2019"/>
                    <a:pt x="2787" y="2019"/>
                    <a:pt x="2789" y="2021"/>
                  </a:cubicBezTo>
                  <a:cubicBezTo>
                    <a:pt x="2790" y="2023"/>
                    <a:pt x="2791" y="2024"/>
                    <a:pt x="2791" y="2024"/>
                  </a:cubicBezTo>
                  <a:cubicBezTo>
                    <a:pt x="2795" y="2025"/>
                    <a:pt x="2809" y="2030"/>
                    <a:pt x="2806" y="2036"/>
                  </a:cubicBezTo>
                  <a:cubicBezTo>
                    <a:pt x="2801" y="2038"/>
                    <a:pt x="2789" y="2034"/>
                    <a:pt x="2789" y="2026"/>
                  </a:cubicBezTo>
                  <a:cubicBezTo>
                    <a:pt x="2788" y="2027"/>
                    <a:pt x="2787" y="2027"/>
                    <a:pt x="2787" y="2027"/>
                  </a:cubicBezTo>
                  <a:close/>
                  <a:moveTo>
                    <a:pt x="2784" y="1948"/>
                  </a:moveTo>
                  <a:cubicBezTo>
                    <a:pt x="2787" y="1948"/>
                    <a:pt x="2789" y="1954"/>
                    <a:pt x="2787" y="1951"/>
                  </a:cubicBezTo>
                  <a:cubicBezTo>
                    <a:pt x="2787" y="1951"/>
                    <a:pt x="2781" y="1948"/>
                    <a:pt x="2784" y="1948"/>
                  </a:cubicBezTo>
                  <a:close/>
                  <a:moveTo>
                    <a:pt x="2775" y="1754"/>
                  </a:moveTo>
                  <a:cubicBezTo>
                    <a:pt x="2775" y="1751"/>
                    <a:pt x="2775" y="1748"/>
                    <a:pt x="2778" y="1748"/>
                  </a:cubicBezTo>
                  <a:cubicBezTo>
                    <a:pt x="2784" y="1748"/>
                    <a:pt x="2787" y="1748"/>
                    <a:pt x="2789" y="1751"/>
                  </a:cubicBezTo>
                  <a:cubicBezTo>
                    <a:pt x="2789" y="1759"/>
                    <a:pt x="2778" y="1759"/>
                    <a:pt x="2775" y="1754"/>
                  </a:cubicBezTo>
                  <a:close/>
                  <a:moveTo>
                    <a:pt x="2787" y="1615"/>
                  </a:moveTo>
                  <a:cubicBezTo>
                    <a:pt x="2792" y="1610"/>
                    <a:pt x="2789" y="1624"/>
                    <a:pt x="2787" y="1615"/>
                  </a:cubicBezTo>
                  <a:close/>
                  <a:moveTo>
                    <a:pt x="2832" y="1928"/>
                  </a:moveTo>
                  <a:cubicBezTo>
                    <a:pt x="2832" y="1931"/>
                    <a:pt x="2829" y="1931"/>
                    <a:pt x="2829" y="1931"/>
                  </a:cubicBezTo>
                  <a:cubicBezTo>
                    <a:pt x="2826" y="1931"/>
                    <a:pt x="2826" y="1931"/>
                    <a:pt x="2823" y="1928"/>
                  </a:cubicBezTo>
                  <a:cubicBezTo>
                    <a:pt x="2823" y="1923"/>
                    <a:pt x="2829" y="1926"/>
                    <a:pt x="2832" y="1928"/>
                  </a:cubicBezTo>
                  <a:close/>
                  <a:moveTo>
                    <a:pt x="2829" y="1903"/>
                  </a:moveTo>
                  <a:cubicBezTo>
                    <a:pt x="2832" y="1906"/>
                    <a:pt x="2832" y="1909"/>
                    <a:pt x="2832" y="1911"/>
                  </a:cubicBezTo>
                  <a:cubicBezTo>
                    <a:pt x="2829" y="1909"/>
                    <a:pt x="2829" y="1906"/>
                    <a:pt x="2829" y="1903"/>
                  </a:cubicBezTo>
                  <a:close/>
                  <a:moveTo>
                    <a:pt x="2809" y="1923"/>
                  </a:moveTo>
                  <a:cubicBezTo>
                    <a:pt x="2806" y="1920"/>
                    <a:pt x="2804" y="1920"/>
                    <a:pt x="2801" y="1917"/>
                  </a:cubicBezTo>
                  <a:cubicBezTo>
                    <a:pt x="2801" y="1909"/>
                    <a:pt x="2812" y="1911"/>
                    <a:pt x="2818" y="1906"/>
                  </a:cubicBezTo>
                  <a:cubicBezTo>
                    <a:pt x="2823" y="1906"/>
                    <a:pt x="2823" y="1911"/>
                    <a:pt x="2826" y="1911"/>
                  </a:cubicBezTo>
                  <a:cubicBezTo>
                    <a:pt x="2823" y="1917"/>
                    <a:pt x="2815" y="1920"/>
                    <a:pt x="2809" y="1923"/>
                  </a:cubicBezTo>
                  <a:close/>
                  <a:moveTo>
                    <a:pt x="2795" y="1931"/>
                  </a:moveTo>
                  <a:cubicBezTo>
                    <a:pt x="2801" y="1928"/>
                    <a:pt x="2809" y="1928"/>
                    <a:pt x="2815" y="1931"/>
                  </a:cubicBezTo>
                  <a:cubicBezTo>
                    <a:pt x="2815" y="1934"/>
                    <a:pt x="2809" y="1937"/>
                    <a:pt x="2806" y="1937"/>
                  </a:cubicBezTo>
                  <a:cubicBezTo>
                    <a:pt x="2798" y="1937"/>
                    <a:pt x="2801" y="1931"/>
                    <a:pt x="2795" y="1931"/>
                  </a:cubicBezTo>
                  <a:close/>
                  <a:moveTo>
                    <a:pt x="2806" y="1988"/>
                  </a:moveTo>
                  <a:cubicBezTo>
                    <a:pt x="2806" y="1990"/>
                    <a:pt x="2798" y="1990"/>
                    <a:pt x="2795" y="1988"/>
                  </a:cubicBezTo>
                  <a:cubicBezTo>
                    <a:pt x="2795" y="1982"/>
                    <a:pt x="2804" y="1985"/>
                    <a:pt x="2806" y="1988"/>
                  </a:cubicBezTo>
                  <a:close/>
                  <a:moveTo>
                    <a:pt x="2795" y="1824"/>
                  </a:moveTo>
                  <a:cubicBezTo>
                    <a:pt x="2795" y="1818"/>
                    <a:pt x="2806" y="1827"/>
                    <a:pt x="2795" y="1824"/>
                  </a:cubicBezTo>
                  <a:close/>
                  <a:moveTo>
                    <a:pt x="2812" y="1954"/>
                  </a:moveTo>
                  <a:cubicBezTo>
                    <a:pt x="2815" y="1954"/>
                    <a:pt x="2809" y="1957"/>
                    <a:pt x="2806" y="1957"/>
                  </a:cubicBezTo>
                  <a:cubicBezTo>
                    <a:pt x="2804" y="1957"/>
                    <a:pt x="2812" y="1954"/>
                    <a:pt x="2812" y="1954"/>
                  </a:cubicBezTo>
                  <a:close/>
                  <a:moveTo>
                    <a:pt x="2804" y="2041"/>
                  </a:moveTo>
                  <a:cubicBezTo>
                    <a:pt x="2806" y="2041"/>
                    <a:pt x="2812" y="2047"/>
                    <a:pt x="2809" y="2047"/>
                  </a:cubicBezTo>
                  <a:cubicBezTo>
                    <a:pt x="2804" y="2044"/>
                    <a:pt x="2801" y="2041"/>
                    <a:pt x="2804" y="2041"/>
                  </a:cubicBezTo>
                  <a:close/>
                  <a:moveTo>
                    <a:pt x="2806" y="2027"/>
                  </a:moveTo>
                  <a:cubicBezTo>
                    <a:pt x="2804" y="2024"/>
                    <a:pt x="2806" y="2021"/>
                    <a:pt x="2809" y="2019"/>
                  </a:cubicBezTo>
                  <a:lnTo>
                    <a:pt x="2820" y="2019"/>
                  </a:lnTo>
                  <a:cubicBezTo>
                    <a:pt x="2815" y="2024"/>
                    <a:pt x="2815" y="2033"/>
                    <a:pt x="2806" y="2027"/>
                  </a:cubicBezTo>
                  <a:close/>
                  <a:moveTo>
                    <a:pt x="2829" y="1957"/>
                  </a:moveTo>
                  <a:cubicBezTo>
                    <a:pt x="2823" y="1957"/>
                    <a:pt x="2820" y="1951"/>
                    <a:pt x="2823" y="1948"/>
                  </a:cubicBezTo>
                  <a:cubicBezTo>
                    <a:pt x="2820" y="1948"/>
                    <a:pt x="2820" y="1951"/>
                    <a:pt x="2815" y="1948"/>
                  </a:cubicBezTo>
                  <a:cubicBezTo>
                    <a:pt x="2812" y="1945"/>
                    <a:pt x="2815" y="1937"/>
                    <a:pt x="2820" y="1940"/>
                  </a:cubicBezTo>
                  <a:cubicBezTo>
                    <a:pt x="2826" y="1943"/>
                    <a:pt x="2823" y="1951"/>
                    <a:pt x="2832" y="1951"/>
                  </a:cubicBezTo>
                  <a:cubicBezTo>
                    <a:pt x="2832" y="1951"/>
                    <a:pt x="2832" y="1954"/>
                    <a:pt x="2829" y="1957"/>
                  </a:cubicBezTo>
                  <a:close/>
                  <a:moveTo>
                    <a:pt x="2843" y="1945"/>
                  </a:moveTo>
                  <a:cubicBezTo>
                    <a:pt x="2840" y="1945"/>
                    <a:pt x="2840" y="1943"/>
                    <a:pt x="2837" y="1943"/>
                  </a:cubicBezTo>
                  <a:lnTo>
                    <a:pt x="2840" y="1940"/>
                  </a:lnTo>
                  <a:cubicBezTo>
                    <a:pt x="2843" y="1940"/>
                    <a:pt x="2843" y="1940"/>
                    <a:pt x="2845" y="1942"/>
                  </a:cubicBezTo>
                  <a:cubicBezTo>
                    <a:pt x="2845" y="1943"/>
                    <a:pt x="2844" y="1944"/>
                    <a:pt x="2843" y="1945"/>
                  </a:cubicBezTo>
                  <a:close/>
                  <a:moveTo>
                    <a:pt x="2846" y="1943"/>
                  </a:moveTo>
                  <a:cubicBezTo>
                    <a:pt x="2846" y="1941"/>
                    <a:pt x="2846" y="1941"/>
                    <a:pt x="2845" y="1942"/>
                  </a:cubicBezTo>
                  <a:cubicBezTo>
                    <a:pt x="2846" y="1942"/>
                    <a:pt x="2846" y="1942"/>
                    <a:pt x="2846" y="1943"/>
                  </a:cubicBezTo>
                  <a:close/>
                  <a:moveTo>
                    <a:pt x="2820" y="1866"/>
                  </a:moveTo>
                  <a:lnTo>
                    <a:pt x="2823" y="1864"/>
                  </a:lnTo>
                  <a:lnTo>
                    <a:pt x="2826" y="1864"/>
                  </a:lnTo>
                  <a:lnTo>
                    <a:pt x="2826" y="1861"/>
                  </a:lnTo>
                  <a:cubicBezTo>
                    <a:pt x="2843" y="1864"/>
                    <a:pt x="2851" y="1872"/>
                    <a:pt x="2851" y="1878"/>
                  </a:cubicBezTo>
                  <a:cubicBezTo>
                    <a:pt x="2849" y="1897"/>
                    <a:pt x="2806" y="1878"/>
                    <a:pt x="2820" y="1866"/>
                  </a:cubicBezTo>
                  <a:close/>
                  <a:moveTo>
                    <a:pt x="2860" y="1816"/>
                  </a:moveTo>
                  <a:cubicBezTo>
                    <a:pt x="2857" y="1816"/>
                    <a:pt x="2863" y="1813"/>
                    <a:pt x="2860" y="1816"/>
                  </a:cubicBezTo>
                  <a:close/>
                  <a:moveTo>
                    <a:pt x="2854" y="1720"/>
                  </a:moveTo>
                  <a:cubicBezTo>
                    <a:pt x="2854" y="1717"/>
                    <a:pt x="2854" y="1714"/>
                    <a:pt x="2857" y="1711"/>
                  </a:cubicBezTo>
                  <a:cubicBezTo>
                    <a:pt x="2858" y="1711"/>
                    <a:pt x="2859" y="1711"/>
                    <a:pt x="2859" y="1712"/>
                  </a:cubicBezTo>
                  <a:cubicBezTo>
                    <a:pt x="2861" y="1713"/>
                    <a:pt x="2864" y="1714"/>
                    <a:pt x="2866" y="1714"/>
                  </a:cubicBezTo>
                  <a:cubicBezTo>
                    <a:pt x="2866" y="1720"/>
                    <a:pt x="2860" y="1722"/>
                    <a:pt x="2854" y="1720"/>
                  </a:cubicBezTo>
                  <a:close/>
                  <a:moveTo>
                    <a:pt x="2863" y="1652"/>
                  </a:moveTo>
                  <a:lnTo>
                    <a:pt x="2863" y="1643"/>
                  </a:lnTo>
                  <a:cubicBezTo>
                    <a:pt x="2866" y="1643"/>
                    <a:pt x="2868" y="1643"/>
                    <a:pt x="2871" y="1646"/>
                  </a:cubicBezTo>
                  <a:cubicBezTo>
                    <a:pt x="2871" y="1649"/>
                    <a:pt x="2868" y="1655"/>
                    <a:pt x="2863" y="1652"/>
                  </a:cubicBezTo>
                  <a:close/>
                  <a:moveTo>
                    <a:pt x="2868" y="1553"/>
                  </a:moveTo>
                  <a:cubicBezTo>
                    <a:pt x="2874" y="1550"/>
                    <a:pt x="2863" y="1562"/>
                    <a:pt x="2868" y="1553"/>
                  </a:cubicBezTo>
                  <a:close/>
                  <a:moveTo>
                    <a:pt x="2880" y="1759"/>
                  </a:moveTo>
                  <a:cubicBezTo>
                    <a:pt x="2874" y="1754"/>
                    <a:pt x="2871" y="1748"/>
                    <a:pt x="2874" y="1739"/>
                  </a:cubicBezTo>
                  <a:cubicBezTo>
                    <a:pt x="2883" y="1742"/>
                    <a:pt x="2883" y="1754"/>
                    <a:pt x="2880" y="1759"/>
                  </a:cubicBezTo>
                  <a:close/>
                  <a:moveTo>
                    <a:pt x="2888" y="1334"/>
                  </a:moveTo>
                  <a:cubicBezTo>
                    <a:pt x="2899" y="1345"/>
                    <a:pt x="2874" y="1360"/>
                    <a:pt x="2888" y="1334"/>
                  </a:cubicBezTo>
                  <a:close/>
                  <a:moveTo>
                    <a:pt x="2885" y="1455"/>
                  </a:moveTo>
                  <a:cubicBezTo>
                    <a:pt x="2868" y="1439"/>
                    <a:pt x="2908" y="1444"/>
                    <a:pt x="2885" y="1455"/>
                  </a:cubicBezTo>
                  <a:close/>
                  <a:moveTo>
                    <a:pt x="2885" y="1615"/>
                  </a:moveTo>
                  <a:cubicBezTo>
                    <a:pt x="2888" y="1615"/>
                    <a:pt x="2891" y="1621"/>
                    <a:pt x="2888" y="1618"/>
                  </a:cubicBezTo>
                  <a:cubicBezTo>
                    <a:pt x="2885" y="1615"/>
                    <a:pt x="2883" y="1615"/>
                    <a:pt x="2885" y="1615"/>
                  </a:cubicBezTo>
                  <a:close/>
                  <a:moveTo>
                    <a:pt x="2891" y="1624"/>
                  </a:moveTo>
                  <a:cubicBezTo>
                    <a:pt x="2891" y="1621"/>
                    <a:pt x="2897" y="1621"/>
                    <a:pt x="2897" y="1621"/>
                  </a:cubicBezTo>
                  <a:cubicBezTo>
                    <a:pt x="2897" y="1621"/>
                    <a:pt x="2897" y="1624"/>
                    <a:pt x="2899" y="1624"/>
                  </a:cubicBezTo>
                  <a:lnTo>
                    <a:pt x="2891" y="1624"/>
                  </a:lnTo>
                  <a:close/>
                  <a:moveTo>
                    <a:pt x="2902" y="1612"/>
                  </a:moveTo>
                  <a:cubicBezTo>
                    <a:pt x="2894" y="1612"/>
                    <a:pt x="2891" y="1607"/>
                    <a:pt x="2883" y="1604"/>
                  </a:cubicBezTo>
                  <a:cubicBezTo>
                    <a:pt x="2877" y="1587"/>
                    <a:pt x="2916" y="1601"/>
                    <a:pt x="2902" y="1612"/>
                  </a:cubicBezTo>
                  <a:close/>
                  <a:moveTo>
                    <a:pt x="2891" y="1528"/>
                  </a:moveTo>
                  <a:cubicBezTo>
                    <a:pt x="2894" y="1522"/>
                    <a:pt x="2905" y="1525"/>
                    <a:pt x="2905" y="1519"/>
                  </a:cubicBezTo>
                  <a:cubicBezTo>
                    <a:pt x="2919" y="1528"/>
                    <a:pt x="2899" y="1536"/>
                    <a:pt x="2891" y="1528"/>
                  </a:cubicBezTo>
                  <a:close/>
                  <a:moveTo>
                    <a:pt x="2914" y="1604"/>
                  </a:moveTo>
                  <a:cubicBezTo>
                    <a:pt x="2930" y="1621"/>
                    <a:pt x="2894" y="1607"/>
                    <a:pt x="2914" y="1604"/>
                  </a:cubicBezTo>
                  <a:close/>
                  <a:moveTo>
                    <a:pt x="2911" y="1463"/>
                  </a:moveTo>
                  <a:cubicBezTo>
                    <a:pt x="2899" y="1447"/>
                    <a:pt x="2936" y="1447"/>
                    <a:pt x="2911" y="1463"/>
                  </a:cubicBezTo>
                  <a:close/>
                  <a:moveTo>
                    <a:pt x="2916" y="1416"/>
                  </a:moveTo>
                  <a:cubicBezTo>
                    <a:pt x="2914" y="1430"/>
                    <a:pt x="2902" y="1424"/>
                    <a:pt x="2902" y="1441"/>
                  </a:cubicBezTo>
                  <a:cubicBezTo>
                    <a:pt x="2888" y="1436"/>
                    <a:pt x="2899" y="1416"/>
                    <a:pt x="2905" y="1402"/>
                  </a:cubicBezTo>
                  <a:cubicBezTo>
                    <a:pt x="2908" y="1408"/>
                    <a:pt x="2905" y="1416"/>
                    <a:pt x="2916" y="1416"/>
                  </a:cubicBezTo>
                  <a:close/>
                  <a:moveTo>
                    <a:pt x="2899" y="1317"/>
                  </a:moveTo>
                  <a:cubicBezTo>
                    <a:pt x="2894" y="1309"/>
                    <a:pt x="2896" y="1306"/>
                    <a:pt x="2900" y="1305"/>
                  </a:cubicBezTo>
                  <a:cubicBezTo>
                    <a:pt x="2897" y="1300"/>
                    <a:pt x="2900" y="1291"/>
                    <a:pt x="2894" y="1289"/>
                  </a:cubicBezTo>
                  <a:cubicBezTo>
                    <a:pt x="2902" y="1276"/>
                    <a:pt x="2913" y="1296"/>
                    <a:pt x="2906" y="1307"/>
                  </a:cubicBezTo>
                  <a:cubicBezTo>
                    <a:pt x="2908" y="1310"/>
                    <a:pt x="2907" y="1313"/>
                    <a:pt x="2899" y="1317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" name="Freeform 5"/>
            <p:cNvSpPr>
              <a:spLocks noChangeArrowheads="1"/>
            </p:cNvSpPr>
            <p:nvPr/>
          </p:nvSpPr>
          <p:spPr bwMode="auto">
            <a:xfrm>
              <a:off x="3633788" y="2085975"/>
              <a:ext cx="987425" cy="990600"/>
            </a:xfrm>
            <a:custGeom>
              <a:avLst/>
              <a:gdLst>
                <a:gd name="T0" fmla="*/ 2705 w 2743"/>
                <a:gd name="T1" fmla="*/ 1063 h 2753"/>
                <a:gd name="T2" fmla="*/ 2609 w 2743"/>
                <a:gd name="T3" fmla="*/ 784 h 2753"/>
                <a:gd name="T4" fmla="*/ 2457 w 2743"/>
                <a:gd name="T5" fmla="*/ 533 h 2753"/>
                <a:gd name="T6" fmla="*/ 2245 w 2743"/>
                <a:gd name="T7" fmla="*/ 310 h 2753"/>
                <a:gd name="T8" fmla="*/ 1974 w 2743"/>
                <a:gd name="T9" fmla="*/ 141 h 2753"/>
                <a:gd name="T10" fmla="*/ 1689 w 2743"/>
                <a:gd name="T11" fmla="*/ 36 h 2753"/>
                <a:gd name="T12" fmla="*/ 1393 w 2743"/>
                <a:gd name="T13" fmla="*/ 0 h 2753"/>
                <a:gd name="T14" fmla="*/ 1100 w 2743"/>
                <a:gd name="T15" fmla="*/ 25 h 2753"/>
                <a:gd name="T16" fmla="*/ 818 w 2743"/>
                <a:gd name="T17" fmla="*/ 115 h 2753"/>
                <a:gd name="T18" fmla="*/ 564 w 2743"/>
                <a:gd name="T19" fmla="*/ 262 h 2753"/>
                <a:gd name="T20" fmla="*/ 339 w 2743"/>
                <a:gd name="T21" fmla="*/ 468 h 2753"/>
                <a:gd name="T22" fmla="*/ 161 w 2743"/>
                <a:gd name="T23" fmla="*/ 727 h 2753"/>
                <a:gd name="T24" fmla="*/ 45 w 2743"/>
                <a:gd name="T25" fmla="*/ 1015 h 2753"/>
                <a:gd name="T26" fmla="*/ 0 w 2743"/>
                <a:gd name="T27" fmla="*/ 1314 h 2753"/>
                <a:gd name="T28" fmla="*/ 25 w 2743"/>
                <a:gd name="T29" fmla="*/ 1604 h 2753"/>
                <a:gd name="T30" fmla="*/ 104 w 2743"/>
                <a:gd name="T31" fmla="*/ 1889 h 2753"/>
                <a:gd name="T32" fmla="*/ 248 w 2743"/>
                <a:gd name="T33" fmla="*/ 2154 h 2753"/>
                <a:gd name="T34" fmla="*/ 449 w 2743"/>
                <a:gd name="T35" fmla="*/ 2385 h 2753"/>
                <a:gd name="T36" fmla="*/ 708 w 2743"/>
                <a:gd name="T37" fmla="*/ 2571 h 2753"/>
                <a:gd name="T38" fmla="*/ 987 w 2743"/>
                <a:gd name="T39" fmla="*/ 2693 h 2753"/>
                <a:gd name="T40" fmla="*/ 1284 w 2743"/>
                <a:gd name="T41" fmla="*/ 2749 h 2753"/>
                <a:gd name="T42" fmla="*/ 1585 w 2743"/>
                <a:gd name="T43" fmla="*/ 2735 h 2753"/>
                <a:gd name="T44" fmla="*/ 1867 w 2743"/>
                <a:gd name="T45" fmla="*/ 2659 h 2753"/>
                <a:gd name="T46" fmla="*/ 2132 w 2743"/>
                <a:gd name="T47" fmla="*/ 2523 h 2753"/>
                <a:gd name="T48" fmla="*/ 2366 w 2743"/>
                <a:gd name="T49" fmla="*/ 2329 h 2753"/>
                <a:gd name="T50" fmla="*/ 2555 w 2743"/>
                <a:gd name="T51" fmla="*/ 2078 h 2753"/>
                <a:gd name="T52" fmla="*/ 2679 w 2743"/>
                <a:gd name="T53" fmla="*/ 1796 h 2753"/>
                <a:gd name="T54" fmla="*/ 2736 w 2743"/>
                <a:gd name="T55" fmla="*/ 1499 h 2753"/>
                <a:gd name="T56" fmla="*/ 2694 w 2743"/>
                <a:gd name="T57" fmla="*/ 1482 h 2753"/>
                <a:gd name="T58" fmla="*/ 2637 w 2743"/>
                <a:gd name="T59" fmla="*/ 1762 h 2753"/>
                <a:gd name="T60" fmla="*/ 2516 w 2743"/>
                <a:gd name="T61" fmla="*/ 2038 h 2753"/>
                <a:gd name="T62" fmla="*/ 2332 w 2743"/>
                <a:gd name="T63" fmla="*/ 2281 h 2753"/>
                <a:gd name="T64" fmla="*/ 2104 w 2743"/>
                <a:gd name="T65" fmla="*/ 2470 h 2753"/>
                <a:gd name="T66" fmla="*/ 1847 w 2743"/>
                <a:gd name="T67" fmla="*/ 2605 h 2753"/>
                <a:gd name="T68" fmla="*/ 1571 w 2743"/>
                <a:gd name="T69" fmla="*/ 2687 h 2753"/>
                <a:gd name="T70" fmla="*/ 1292 w 2743"/>
                <a:gd name="T71" fmla="*/ 2698 h 2753"/>
                <a:gd name="T72" fmla="*/ 1013 w 2743"/>
                <a:gd name="T73" fmla="*/ 2645 h 2753"/>
                <a:gd name="T74" fmla="*/ 736 w 2743"/>
                <a:gd name="T75" fmla="*/ 2529 h 2753"/>
                <a:gd name="T76" fmla="*/ 485 w 2743"/>
                <a:gd name="T77" fmla="*/ 2354 h 2753"/>
                <a:gd name="T78" fmla="*/ 291 w 2743"/>
                <a:gd name="T79" fmla="*/ 2128 h 2753"/>
                <a:gd name="T80" fmla="*/ 152 w 2743"/>
                <a:gd name="T81" fmla="*/ 1875 h 2753"/>
                <a:gd name="T82" fmla="*/ 56 w 2743"/>
                <a:gd name="T83" fmla="*/ 1598 h 2753"/>
                <a:gd name="T84" fmla="*/ 37 w 2743"/>
                <a:gd name="T85" fmla="*/ 1314 h 2753"/>
                <a:gd name="T86" fmla="*/ 79 w 2743"/>
                <a:gd name="T87" fmla="*/ 1026 h 2753"/>
                <a:gd name="T88" fmla="*/ 189 w 2743"/>
                <a:gd name="T89" fmla="*/ 753 h 2753"/>
                <a:gd name="T90" fmla="*/ 361 w 2743"/>
                <a:gd name="T91" fmla="*/ 502 h 2753"/>
                <a:gd name="T92" fmla="*/ 578 w 2743"/>
                <a:gd name="T93" fmla="*/ 296 h 2753"/>
                <a:gd name="T94" fmla="*/ 832 w 2743"/>
                <a:gd name="T95" fmla="*/ 155 h 2753"/>
                <a:gd name="T96" fmla="*/ 1106 w 2743"/>
                <a:gd name="T97" fmla="*/ 62 h 2753"/>
                <a:gd name="T98" fmla="*/ 1390 w 2743"/>
                <a:gd name="T99" fmla="*/ 36 h 2753"/>
                <a:gd name="T100" fmla="*/ 1675 w 2743"/>
                <a:gd name="T101" fmla="*/ 67 h 2753"/>
                <a:gd name="T102" fmla="*/ 1954 w 2743"/>
                <a:gd name="T103" fmla="*/ 166 h 2753"/>
                <a:gd name="T104" fmla="*/ 2217 w 2743"/>
                <a:gd name="T105" fmla="*/ 333 h 2753"/>
                <a:gd name="T106" fmla="*/ 2426 w 2743"/>
                <a:gd name="T107" fmla="*/ 550 h 2753"/>
                <a:gd name="T108" fmla="*/ 2572 w 2743"/>
                <a:gd name="T109" fmla="*/ 801 h 2753"/>
                <a:gd name="T110" fmla="*/ 2668 w 2743"/>
                <a:gd name="T111" fmla="*/ 1072 h 2753"/>
                <a:gd name="T112" fmla="*/ 2699 w 2743"/>
                <a:gd name="T113" fmla="*/ 1351 h 2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43" h="2753">
                  <a:moveTo>
                    <a:pt x="2739" y="1325"/>
                  </a:moveTo>
                  <a:cubicBezTo>
                    <a:pt x="2739" y="1314"/>
                    <a:pt x="2736" y="1303"/>
                    <a:pt x="2736" y="1292"/>
                  </a:cubicBezTo>
                  <a:cubicBezTo>
                    <a:pt x="2736" y="1280"/>
                    <a:pt x="2736" y="1269"/>
                    <a:pt x="2736" y="1258"/>
                  </a:cubicBezTo>
                  <a:cubicBezTo>
                    <a:pt x="2736" y="1246"/>
                    <a:pt x="2733" y="1235"/>
                    <a:pt x="2733" y="1224"/>
                  </a:cubicBezTo>
                  <a:cubicBezTo>
                    <a:pt x="2733" y="1213"/>
                    <a:pt x="2727" y="1201"/>
                    <a:pt x="2727" y="1193"/>
                  </a:cubicBezTo>
                  <a:cubicBezTo>
                    <a:pt x="2727" y="1184"/>
                    <a:pt x="2725" y="1170"/>
                    <a:pt x="2722" y="1159"/>
                  </a:cubicBezTo>
                  <a:cubicBezTo>
                    <a:pt x="2719" y="1148"/>
                    <a:pt x="2719" y="1136"/>
                    <a:pt x="2716" y="1125"/>
                  </a:cubicBezTo>
                  <a:cubicBezTo>
                    <a:pt x="2713" y="1114"/>
                    <a:pt x="2711" y="1102"/>
                    <a:pt x="2711" y="1094"/>
                  </a:cubicBezTo>
                  <a:cubicBezTo>
                    <a:pt x="2711" y="1085"/>
                    <a:pt x="2708" y="1071"/>
                    <a:pt x="2705" y="1063"/>
                  </a:cubicBezTo>
                  <a:cubicBezTo>
                    <a:pt x="2702" y="1054"/>
                    <a:pt x="2699" y="1040"/>
                    <a:pt x="2696" y="1032"/>
                  </a:cubicBezTo>
                  <a:cubicBezTo>
                    <a:pt x="2694" y="1023"/>
                    <a:pt x="2694" y="1009"/>
                    <a:pt x="2691" y="1001"/>
                  </a:cubicBezTo>
                  <a:cubicBezTo>
                    <a:pt x="2688" y="992"/>
                    <a:pt x="2682" y="981"/>
                    <a:pt x="2679" y="970"/>
                  </a:cubicBezTo>
                  <a:cubicBezTo>
                    <a:pt x="2677" y="959"/>
                    <a:pt x="2677" y="947"/>
                    <a:pt x="2671" y="939"/>
                  </a:cubicBezTo>
                  <a:cubicBezTo>
                    <a:pt x="2665" y="931"/>
                    <a:pt x="2663" y="919"/>
                    <a:pt x="2657" y="908"/>
                  </a:cubicBezTo>
                  <a:cubicBezTo>
                    <a:pt x="2651" y="897"/>
                    <a:pt x="2651" y="885"/>
                    <a:pt x="2648" y="877"/>
                  </a:cubicBezTo>
                  <a:cubicBezTo>
                    <a:pt x="2646" y="868"/>
                    <a:pt x="2640" y="857"/>
                    <a:pt x="2634" y="846"/>
                  </a:cubicBezTo>
                  <a:cubicBezTo>
                    <a:pt x="2629" y="835"/>
                    <a:pt x="2626" y="826"/>
                    <a:pt x="2623" y="815"/>
                  </a:cubicBezTo>
                  <a:cubicBezTo>
                    <a:pt x="2620" y="804"/>
                    <a:pt x="2612" y="795"/>
                    <a:pt x="2609" y="784"/>
                  </a:cubicBezTo>
                  <a:cubicBezTo>
                    <a:pt x="2606" y="773"/>
                    <a:pt x="2598" y="764"/>
                    <a:pt x="2595" y="756"/>
                  </a:cubicBezTo>
                  <a:cubicBezTo>
                    <a:pt x="2592" y="747"/>
                    <a:pt x="2584" y="735"/>
                    <a:pt x="2581" y="727"/>
                  </a:cubicBezTo>
                  <a:cubicBezTo>
                    <a:pt x="2578" y="718"/>
                    <a:pt x="2570" y="707"/>
                    <a:pt x="2564" y="699"/>
                  </a:cubicBezTo>
                  <a:cubicBezTo>
                    <a:pt x="2559" y="690"/>
                    <a:pt x="2553" y="679"/>
                    <a:pt x="2547" y="671"/>
                  </a:cubicBezTo>
                  <a:cubicBezTo>
                    <a:pt x="2541" y="662"/>
                    <a:pt x="2536" y="651"/>
                    <a:pt x="2530" y="643"/>
                  </a:cubicBezTo>
                  <a:cubicBezTo>
                    <a:pt x="2524" y="634"/>
                    <a:pt x="2519" y="623"/>
                    <a:pt x="2513" y="615"/>
                  </a:cubicBezTo>
                  <a:cubicBezTo>
                    <a:pt x="2507" y="606"/>
                    <a:pt x="2499" y="597"/>
                    <a:pt x="2493" y="586"/>
                  </a:cubicBezTo>
                  <a:cubicBezTo>
                    <a:pt x="2488" y="574"/>
                    <a:pt x="2480" y="569"/>
                    <a:pt x="2474" y="561"/>
                  </a:cubicBezTo>
                  <a:cubicBezTo>
                    <a:pt x="2469" y="553"/>
                    <a:pt x="2463" y="541"/>
                    <a:pt x="2457" y="533"/>
                  </a:cubicBezTo>
                  <a:cubicBezTo>
                    <a:pt x="2452" y="524"/>
                    <a:pt x="2440" y="515"/>
                    <a:pt x="2434" y="507"/>
                  </a:cubicBezTo>
                  <a:cubicBezTo>
                    <a:pt x="2428" y="498"/>
                    <a:pt x="2423" y="487"/>
                    <a:pt x="2414" y="479"/>
                  </a:cubicBezTo>
                  <a:cubicBezTo>
                    <a:pt x="2406" y="470"/>
                    <a:pt x="2401" y="462"/>
                    <a:pt x="2392" y="454"/>
                  </a:cubicBezTo>
                  <a:cubicBezTo>
                    <a:pt x="2384" y="445"/>
                    <a:pt x="2375" y="439"/>
                    <a:pt x="2366" y="431"/>
                  </a:cubicBezTo>
                  <a:cubicBezTo>
                    <a:pt x="2358" y="422"/>
                    <a:pt x="2353" y="414"/>
                    <a:pt x="2344" y="406"/>
                  </a:cubicBezTo>
                  <a:cubicBezTo>
                    <a:pt x="2336" y="397"/>
                    <a:pt x="2330" y="388"/>
                    <a:pt x="2321" y="380"/>
                  </a:cubicBezTo>
                  <a:cubicBezTo>
                    <a:pt x="2313" y="371"/>
                    <a:pt x="2305" y="366"/>
                    <a:pt x="2296" y="358"/>
                  </a:cubicBezTo>
                  <a:cubicBezTo>
                    <a:pt x="2288" y="349"/>
                    <a:pt x="2279" y="343"/>
                    <a:pt x="2270" y="335"/>
                  </a:cubicBezTo>
                  <a:cubicBezTo>
                    <a:pt x="2262" y="326"/>
                    <a:pt x="2254" y="318"/>
                    <a:pt x="2245" y="310"/>
                  </a:cubicBezTo>
                  <a:cubicBezTo>
                    <a:pt x="2237" y="302"/>
                    <a:pt x="2229" y="295"/>
                    <a:pt x="2220" y="287"/>
                  </a:cubicBezTo>
                  <a:cubicBezTo>
                    <a:pt x="2212" y="278"/>
                    <a:pt x="2200" y="276"/>
                    <a:pt x="2191" y="268"/>
                  </a:cubicBezTo>
                  <a:cubicBezTo>
                    <a:pt x="2183" y="259"/>
                    <a:pt x="2172" y="253"/>
                    <a:pt x="2163" y="245"/>
                  </a:cubicBezTo>
                  <a:cubicBezTo>
                    <a:pt x="2155" y="236"/>
                    <a:pt x="2144" y="231"/>
                    <a:pt x="2135" y="223"/>
                  </a:cubicBezTo>
                  <a:cubicBezTo>
                    <a:pt x="2127" y="214"/>
                    <a:pt x="2107" y="211"/>
                    <a:pt x="2098" y="206"/>
                  </a:cubicBezTo>
                  <a:cubicBezTo>
                    <a:pt x="2090" y="200"/>
                    <a:pt x="2076" y="197"/>
                    <a:pt x="2067" y="189"/>
                  </a:cubicBezTo>
                  <a:cubicBezTo>
                    <a:pt x="2059" y="180"/>
                    <a:pt x="2047" y="175"/>
                    <a:pt x="2039" y="169"/>
                  </a:cubicBezTo>
                  <a:cubicBezTo>
                    <a:pt x="2031" y="163"/>
                    <a:pt x="2017" y="160"/>
                    <a:pt x="2008" y="155"/>
                  </a:cubicBezTo>
                  <a:cubicBezTo>
                    <a:pt x="2000" y="149"/>
                    <a:pt x="1985" y="144"/>
                    <a:pt x="1974" y="141"/>
                  </a:cubicBezTo>
                  <a:cubicBezTo>
                    <a:pt x="1963" y="138"/>
                    <a:pt x="1954" y="132"/>
                    <a:pt x="1943" y="127"/>
                  </a:cubicBezTo>
                  <a:cubicBezTo>
                    <a:pt x="1932" y="121"/>
                    <a:pt x="1923" y="118"/>
                    <a:pt x="1912" y="113"/>
                  </a:cubicBezTo>
                  <a:cubicBezTo>
                    <a:pt x="1901" y="107"/>
                    <a:pt x="1892" y="100"/>
                    <a:pt x="1881" y="98"/>
                  </a:cubicBezTo>
                  <a:cubicBezTo>
                    <a:pt x="1870" y="95"/>
                    <a:pt x="1861" y="90"/>
                    <a:pt x="1850" y="87"/>
                  </a:cubicBezTo>
                  <a:cubicBezTo>
                    <a:pt x="1839" y="84"/>
                    <a:pt x="1830" y="79"/>
                    <a:pt x="1819" y="76"/>
                  </a:cubicBezTo>
                  <a:cubicBezTo>
                    <a:pt x="1808" y="73"/>
                    <a:pt x="1796" y="67"/>
                    <a:pt x="1785" y="65"/>
                  </a:cubicBezTo>
                  <a:cubicBezTo>
                    <a:pt x="1774" y="62"/>
                    <a:pt x="1765" y="56"/>
                    <a:pt x="1754" y="53"/>
                  </a:cubicBezTo>
                  <a:cubicBezTo>
                    <a:pt x="1743" y="50"/>
                    <a:pt x="1731" y="50"/>
                    <a:pt x="1720" y="48"/>
                  </a:cubicBezTo>
                  <a:cubicBezTo>
                    <a:pt x="1709" y="45"/>
                    <a:pt x="1700" y="36"/>
                    <a:pt x="1689" y="36"/>
                  </a:cubicBezTo>
                  <a:cubicBezTo>
                    <a:pt x="1678" y="36"/>
                    <a:pt x="1667" y="31"/>
                    <a:pt x="1655" y="31"/>
                  </a:cubicBezTo>
                  <a:cubicBezTo>
                    <a:pt x="1644" y="31"/>
                    <a:pt x="1633" y="25"/>
                    <a:pt x="1621" y="22"/>
                  </a:cubicBezTo>
                  <a:cubicBezTo>
                    <a:pt x="1610" y="19"/>
                    <a:pt x="1600" y="21"/>
                    <a:pt x="1588" y="19"/>
                  </a:cubicBezTo>
                  <a:cubicBezTo>
                    <a:pt x="1577" y="16"/>
                    <a:pt x="1566" y="14"/>
                    <a:pt x="1554" y="11"/>
                  </a:cubicBezTo>
                  <a:cubicBezTo>
                    <a:pt x="1543" y="8"/>
                    <a:pt x="1537" y="8"/>
                    <a:pt x="1525" y="8"/>
                  </a:cubicBezTo>
                  <a:cubicBezTo>
                    <a:pt x="1514" y="8"/>
                    <a:pt x="1504" y="5"/>
                    <a:pt x="1492" y="5"/>
                  </a:cubicBezTo>
                  <a:cubicBezTo>
                    <a:pt x="1481" y="5"/>
                    <a:pt x="1470" y="5"/>
                    <a:pt x="1458" y="3"/>
                  </a:cubicBezTo>
                  <a:cubicBezTo>
                    <a:pt x="1447" y="0"/>
                    <a:pt x="1439" y="5"/>
                    <a:pt x="1427" y="5"/>
                  </a:cubicBezTo>
                  <a:cubicBezTo>
                    <a:pt x="1416" y="5"/>
                    <a:pt x="1404" y="0"/>
                    <a:pt x="1393" y="0"/>
                  </a:cubicBezTo>
                  <a:cubicBezTo>
                    <a:pt x="1382" y="0"/>
                    <a:pt x="1370" y="3"/>
                    <a:pt x="1360" y="3"/>
                  </a:cubicBezTo>
                  <a:cubicBezTo>
                    <a:pt x="1349" y="3"/>
                    <a:pt x="1337" y="0"/>
                    <a:pt x="1326" y="0"/>
                  </a:cubicBezTo>
                  <a:cubicBezTo>
                    <a:pt x="1315" y="0"/>
                    <a:pt x="1303" y="3"/>
                    <a:pt x="1292" y="3"/>
                  </a:cubicBezTo>
                  <a:cubicBezTo>
                    <a:pt x="1280" y="3"/>
                    <a:pt x="1269" y="2"/>
                    <a:pt x="1258" y="5"/>
                  </a:cubicBezTo>
                  <a:cubicBezTo>
                    <a:pt x="1246" y="7"/>
                    <a:pt x="1236" y="5"/>
                    <a:pt x="1225" y="5"/>
                  </a:cubicBezTo>
                  <a:cubicBezTo>
                    <a:pt x="1213" y="5"/>
                    <a:pt x="1201" y="11"/>
                    <a:pt x="1193" y="11"/>
                  </a:cubicBezTo>
                  <a:cubicBezTo>
                    <a:pt x="1184" y="11"/>
                    <a:pt x="1171" y="14"/>
                    <a:pt x="1160" y="14"/>
                  </a:cubicBezTo>
                  <a:cubicBezTo>
                    <a:pt x="1148" y="14"/>
                    <a:pt x="1137" y="14"/>
                    <a:pt x="1126" y="17"/>
                  </a:cubicBezTo>
                  <a:cubicBezTo>
                    <a:pt x="1114" y="19"/>
                    <a:pt x="1111" y="22"/>
                    <a:pt x="1100" y="25"/>
                  </a:cubicBezTo>
                  <a:cubicBezTo>
                    <a:pt x="1088" y="28"/>
                    <a:pt x="1080" y="31"/>
                    <a:pt x="1069" y="34"/>
                  </a:cubicBezTo>
                  <a:cubicBezTo>
                    <a:pt x="1057" y="36"/>
                    <a:pt x="1046" y="39"/>
                    <a:pt x="1038" y="42"/>
                  </a:cubicBezTo>
                  <a:cubicBezTo>
                    <a:pt x="1029" y="45"/>
                    <a:pt x="1015" y="45"/>
                    <a:pt x="1007" y="48"/>
                  </a:cubicBezTo>
                  <a:cubicBezTo>
                    <a:pt x="998" y="50"/>
                    <a:pt x="987" y="56"/>
                    <a:pt x="976" y="59"/>
                  </a:cubicBezTo>
                  <a:cubicBezTo>
                    <a:pt x="965" y="62"/>
                    <a:pt x="950" y="64"/>
                    <a:pt x="942" y="67"/>
                  </a:cubicBezTo>
                  <a:cubicBezTo>
                    <a:pt x="933" y="69"/>
                    <a:pt x="919" y="73"/>
                    <a:pt x="911" y="76"/>
                  </a:cubicBezTo>
                  <a:cubicBezTo>
                    <a:pt x="902" y="79"/>
                    <a:pt x="891" y="81"/>
                    <a:pt x="880" y="87"/>
                  </a:cubicBezTo>
                  <a:cubicBezTo>
                    <a:pt x="868" y="93"/>
                    <a:pt x="860" y="98"/>
                    <a:pt x="852" y="104"/>
                  </a:cubicBezTo>
                  <a:cubicBezTo>
                    <a:pt x="843" y="110"/>
                    <a:pt x="829" y="109"/>
                    <a:pt x="818" y="115"/>
                  </a:cubicBezTo>
                  <a:cubicBezTo>
                    <a:pt x="807" y="120"/>
                    <a:pt x="798" y="126"/>
                    <a:pt x="790" y="129"/>
                  </a:cubicBezTo>
                  <a:cubicBezTo>
                    <a:pt x="782" y="131"/>
                    <a:pt x="770" y="141"/>
                    <a:pt x="762" y="144"/>
                  </a:cubicBezTo>
                  <a:cubicBezTo>
                    <a:pt x="753" y="146"/>
                    <a:pt x="739" y="149"/>
                    <a:pt x="731" y="155"/>
                  </a:cubicBezTo>
                  <a:cubicBezTo>
                    <a:pt x="722" y="160"/>
                    <a:pt x="710" y="166"/>
                    <a:pt x="702" y="172"/>
                  </a:cubicBezTo>
                  <a:cubicBezTo>
                    <a:pt x="693" y="177"/>
                    <a:pt x="685" y="185"/>
                    <a:pt x="674" y="191"/>
                  </a:cubicBezTo>
                  <a:cubicBezTo>
                    <a:pt x="662" y="196"/>
                    <a:pt x="654" y="202"/>
                    <a:pt x="646" y="208"/>
                  </a:cubicBezTo>
                  <a:cubicBezTo>
                    <a:pt x="637" y="213"/>
                    <a:pt x="626" y="219"/>
                    <a:pt x="618" y="225"/>
                  </a:cubicBezTo>
                  <a:cubicBezTo>
                    <a:pt x="609" y="230"/>
                    <a:pt x="598" y="236"/>
                    <a:pt x="590" y="242"/>
                  </a:cubicBezTo>
                  <a:cubicBezTo>
                    <a:pt x="581" y="247"/>
                    <a:pt x="572" y="256"/>
                    <a:pt x="564" y="262"/>
                  </a:cubicBezTo>
                  <a:cubicBezTo>
                    <a:pt x="555" y="268"/>
                    <a:pt x="547" y="276"/>
                    <a:pt x="539" y="285"/>
                  </a:cubicBezTo>
                  <a:cubicBezTo>
                    <a:pt x="530" y="293"/>
                    <a:pt x="519" y="295"/>
                    <a:pt x="511" y="304"/>
                  </a:cubicBezTo>
                  <a:cubicBezTo>
                    <a:pt x="502" y="312"/>
                    <a:pt x="490" y="315"/>
                    <a:pt x="482" y="324"/>
                  </a:cubicBezTo>
                  <a:cubicBezTo>
                    <a:pt x="473" y="332"/>
                    <a:pt x="468" y="340"/>
                    <a:pt x="460" y="349"/>
                  </a:cubicBezTo>
                  <a:cubicBezTo>
                    <a:pt x="451" y="357"/>
                    <a:pt x="442" y="364"/>
                    <a:pt x="434" y="372"/>
                  </a:cubicBezTo>
                  <a:cubicBezTo>
                    <a:pt x="425" y="380"/>
                    <a:pt x="420" y="388"/>
                    <a:pt x="412" y="397"/>
                  </a:cubicBezTo>
                  <a:cubicBezTo>
                    <a:pt x="403" y="405"/>
                    <a:pt x="394" y="412"/>
                    <a:pt x="386" y="420"/>
                  </a:cubicBezTo>
                  <a:cubicBezTo>
                    <a:pt x="377" y="428"/>
                    <a:pt x="372" y="436"/>
                    <a:pt x="364" y="445"/>
                  </a:cubicBezTo>
                  <a:cubicBezTo>
                    <a:pt x="355" y="453"/>
                    <a:pt x="344" y="459"/>
                    <a:pt x="339" y="468"/>
                  </a:cubicBezTo>
                  <a:cubicBezTo>
                    <a:pt x="333" y="476"/>
                    <a:pt x="324" y="485"/>
                    <a:pt x="316" y="496"/>
                  </a:cubicBezTo>
                  <a:cubicBezTo>
                    <a:pt x="307" y="507"/>
                    <a:pt x="301" y="515"/>
                    <a:pt x="293" y="524"/>
                  </a:cubicBezTo>
                  <a:cubicBezTo>
                    <a:pt x="284" y="532"/>
                    <a:pt x="279" y="541"/>
                    <a:pt x="271" y="553"/>
                  </a:cubicBezTo>
                  <a:cubicBezTo>
                    <a:pt x="262" y="564"/>
                    <a:pt x="256" y="572"/>
                    <a:pt x="248" y="581"/>
                  </a:cubicBezTo>
                  <a:cubicBezTo>
                    <a:pt x="239" y="589"/>
                    <a:pt x="233" y="601"/>
                    <a:pt x="228" y="609"/>
                  </a:cubicBezTo>
                  <a:cubicBezTo>
                    <a:pt x="222" y="617"/>
                    <a:pt x="214" y="628"/>
                    <a:pt x="209" y="637"/>
                  </a:cubicBezTo>
                  <a:cubicBezTo>
                    <a:pt x="203" y="645"/>
                    <a:pt x="200" y="659"/>
                    <a:pt x="195" y="668"/>
                  </a:cubicBezTo>
                  <a:cubicBezTo>
                    <a:pt x="189" y="676"/>
                    <a:pt x="180" y="687"/>
                    <a:pt x="175" y="696"/>
                  </a:cubicBezTo>
                  <a:cubicBezTo>
                    <a:pt x="169" y="704"/>
                    <a:pt x="166" y="718"/>
                    <a:pt x="161" y="727"/>
                  </a:cubicBezTo>
                  <a:cubicBezTo>
                    <a:pt x="155" y="735"/>
                    <a:pt x="147" y="744"/>
                    <a:pt x="141" y="756"/>
                  </a:cubicBezTo>
                  <a:cubicBezTo>
                    <a:pt x="135" y="767"/>
                    <a:pt x="130" y="775"/>
                    <a:pt x="127" y="787"/>
                  </a:cubicBezTo>
                  <a:cubicBezTo>
                    <a:pt x="124" y="798"/>
                    <a:pt x="121" y="809"/>
                    <a:pt x="116" y="821"/>
                  </a:cubicBezTo>
                  <a:cubicBezTo>
                    <a:pt x="110" y="832"/>
                    <a:pt x="104" y="842"/>
                    <a:pt x="99" y="854"/>
                  </a:cubicBezTo>
                  <a:cubicBezTo>
                    <a:pt x="93" y="865"/>
                    <a:pt x="89" y="873"/>
                    <a:pt x="87" y="885"/>
                  </a:cubicBezTo>
                  <a:cubicBezTo>
                    <a:pt x="84" y="896"/>
                    <a:pt x="82" y="907"/>
                    <a:pt x="79" y="919"/>
                  </a:cubicBezTo>
                  <a:cubicBezTo>
                    <a:pt x="76" y="930"/>
                    <a:pt x="73" y="941"/>
                    <a:pt x="68" y="950"/>
                  </a:cubicBezTo>
                  <a:cubicBezTo>
                    <a:pt x="62" y="958"/>
                    <a:pt x="56" y="969"/>
                    <a:pt x="54" y="981"/>
                  </a:cubicBezTo>
                  <a:cubicBezTo>
                    <a:pt x="51" y="992"/>
                    <a:pt x="48" y="1004"/>
                    <a:pt x="45" y="1015"/>
                  </a:cubicBezTo>
                  <a:cubicBezTo>
                    <a:pt x="42" y="1026"/>
                    <a:pt x="41" y="1037"/>
                    <a:pt x="39" y="1046"/>
                  </a:cubicBezTo>
                  <a:cubicBezTo>
                    <a:pt x="36" y="1054"/>
                    <a:pt x="34" y="1069"/>
                    <a:pt x="31" y="1080"/>
                  </a:cubicBezTo>
                  <a:cubicBezTo>
                    <a:pt x="28" y="1091"/>
                    <a:pt x="31" y="1103"/>
                    <a:pt x="28" y="1114"/>
                  </a:cubicBezTo>
                  <a:cubicBezTo>
                    <a:pt x="25" y="1125"/>
                    <a:pt x="22" y="1136"/>
                    <a:pt x="22" y="1148"/>
                  </a:cubicBezTo>
                  <a:cubicBezTo>
                    <a:pt x="22" y="1159"/>
                    <a:pt x="17" y="1170"/>
                    <a:pt x="14" y="1179"/>
                  </a:cubicBezTo>
                  <a:cubicBezTo>
                    <a:pt x="11" y="1187"/>
                    <a:pt x="8" y="1201"/>
                    <a:pt x="8" y="1213"/>
                  </a:cubicBezTo>
                  <a:cubicBezTo>
                    <a:pt x="8" y="1224"/>
                    <a:pt x="8" y="1234"/>
                    <a:pt x="6" y="1246"/>
                  </a:cubicBezTo>
                  <a:cubicBezTo>
                    <a:pt x="3" y="1257"/>
                    <a:pt x="6" y="1268"/>
                    <a:pt x="3" y="1280"/>
                  </a:cubicBezTo>
                  <a:cubicBezTo>
                    <a:pt x="0" y="1291"/>
                    <a:pt x="0" y="1303"/>
                    <a:pt x="0" y="1314"/>
                  </a:cubicBezTo>
                  <a:cubicBezTo>
                    <a:pt x="0" y="1325"/>
                    <a:pt x="0" y="1337"/>
                    <a:pt x="0" y="1348"/>
                  </a:cubicBezTo>
                  <a:cubicBezTo>
                    <a:pt x="0" y="1358"/>
                    <a:pt x="0" y="1370"/>
                    <a:pt x="0" y="1381"/>
                  </a:cubicBezTo>
                  <a:cubicBezTo>
                    <a:pt x="0" y="1392"/>
                    <a:pt x="3" y="1404"/>
                    <a:pt x="3" y="1415"/>
                  </a:cubicBezTo>
                  <a:cubicBezTo>
                    <a:pt x="3" y="1427"/>
                    <a:pt x="6" y="1438"/>
                    <a:pt x="6" y="1449"/>
                  </a:cubicBezTo>
                  <a:cubicBezTo>
                    <a:pt x="6" y="1461"/>
                    <a:pt x="3" y="1471"/>
                    <a:pt x="6" y="1482"/>
                  </a:cubicBezTo>
                  <a:cubicBezTo>
                    <a:pt x="8" y="1494"/>
                    <a:pt x="11" y="1494"/>
                    <a:pt x="11" y="1505"/>
                  </a:cubicBezTo>
                  <a:cubicBezTo>
                    <a:pt x="11" y="1516"/>
                    <a:pt x="14" y="1528"/>
                    <a:pt x="17" y="1539"/>
                  </a:cubicBezTo>
                  <a:cubicBezTo>
                    <a:pt x="20" y="1550"/>
                    <a:pt x="17" y="1562"/>
                    <a:pt x="20" y="1573"/>
                  </a:cubicBezTo>
                  <a:cubicBezTo>
                    <a:pt x="22" y="1585"/>
                    <a:pt x="22" y="1596"/>
                    <a:pt x="25" y="1604"/>
                  </a:cubicBezTo>
                  <a:cubicBezTo>
                    <a:pt x="28" y="1613"/>
                    <a:pt x="31" y="1627"/>
                    <a:pt x="34" y="1635"/>
                  </a:cubicBezTo>
                  <a:cubicBezTo>
                    <a:pt x="37" y="1644"/>
                    <a:pt x="34" y="1657"/>
                    <a:pt x="37" y="1669"/>
                  </a:cubicBezTo>
                  <a:cubicBezTo>
                    <a:pt x="39" y="1680"/>
                    <a:pt x="39" y="1689"/>
                    <a:pt x="42" y="1700"/>
                  </a:cubicBezTo>
                  <a:cubicBezTo>
                    <a:pt x="45" y="1712"/>
                    <a:pt x="51" y="1720"/>
                    <a:pt x="54" y="1731"/>
                  </a:cubicBezTo>
                  <a:cubicBezTo>
                    <a:pt x="56" y="1743"/>
                    <a:pt x="53" y="1754"/>
                    <a:pt x="59" y="1765"/>
                  </a:cubicBezTo>
                  <a:cubicBezTo>
                    <a:pt x="64" y="1777"/>
                    <a:pt x="67" y="1785"/>
                    <a:pt x="70" y="1796"/>
                  </a:cubicBezTo>
                  <a:cubicBezTo>
                    <a:pt x="72" y="1808"/>
                    <a:pt x="79" y="1816"/>
                    <a:pt x="85" y="1827"/>
                  </a:cubicBezTo>
                  <a:cubicBezTo>
                    <a:pt x="90" y="1839"/>
                    <a:pt x="93" y="1846"/>
                    <a:pt x="96" y="1858"/>
                  </a:cubicBezTo>
                  <a:cubicBezTo>
                    <a:pt x="99" y="1869"/>
                    <a:pt x="101" y="1881"/>
                    <a:pt x="104" y="1889"/>
                  </a:cubicBezTo>
                  <a:cubicBezTo>
                    <a:pt x="107" y="1898"/>
                    <a:pt x="115" y="1909"/>
                    <a:pt x="118" y="1920"/>
                  </a:cubicBezTo>
                  <a:cubicBezTo>
                    <a:pt x="120" y="1932"/>
                    <a:pt x="129" y="1940"/>
                    <a:pt x="135" y="1948"/>
                  </a:cubicBezTo>
                  <a:cubicBezTo>
                    <a:pt x="140" y="1957"/>
                    <a:pt x="143" y="1968"/>
                    <a:pt x="149" y="1979"/>
                  </a:cubicBezTo>
                  <a:cubicBezTo>
                    <a:pt x="154" y="1990"/>
                    <a:pt x="158" y="1999"/>
                    <a:pt x="164" y="2010"/>
                  </a:cubicBezTo>
                  <a:cubicBezTo>
                    <a:pt x="169" y="2021"/>
                    <a:pt x="172" y="2030"/>
                    <a:pt x="178" y="2041"/>
                  </a:cubicBezTo>
                  <a:cubicBezTo>
                    <a:pt x="183" y="2052"/>
                    <a:pt x="189" y="2061"/>
                    <a:pt x="195" y="2069"/>
                  </a:cubicBezTo>
                  <a:cubicBezTo>
                    <a:pt x="200" y="2078"/>
                    <a:pt x="206" y="2089"/>
                    <a:pt x="212" y="2097"/>
                  </a:cubicBezTo>
                  <a:cubicBezTo>
                    <a:pt x="217" y="2106"/>
                    <a:pt x="222" y="2118"/>
                    <a:pt x="228" y="2126"/>
                  </a:cubicBezTo>
                  <a:cubicBezTo>
                    <a:pt x="233" y="2135"/>
                    <a:pt x="239" y="2146"/>
                    <a:pt x="248" y="2154"/>
                  </a:cubicBezTo>
                  <a:cubicBezTo>
                    <a:pt x="256" y="2163"/>
                    <a:pt x="262" y="2171"/>
                    <a:pt x="268" y="2179"/>
                  </a:cubicBezTo>
                  <a:cubicBezTo>
                    <a:pt x="274" y="2188"/>
                    <a:pt x="279" y="2199"/>
                    <a:pt x="285" y="2207"/>
                  </a:cubicBezTo>
                  <a:cubicBezTo>
                    <a:pt x="291" y="2216"/>
                    <a:pt x="301" y="2225"/>
                    <a:pt x="307" y="2233"/>
                  </a:cubicBezTo>
                  <a:cubicBezTo>
                    <a:pt x="312" y="2242"/>
                    <a:pt x="322" y="2253"/>
                    <a:pt x="327" y="2261"/>
                  </a:cubicBezTo>
                  <a:cubicBezTo>
                    <a:pt x="333" y="2269"/>
                    <a:pt x="341" y="2278"/>
                    <a:pt x="350" y="2286"/>
                  </a:cubicBezTo>
                  <a:cubicBezTo>
                    <a:pt x="358" y="2295"/>
                    <a:pt x="369" y="2301"/>
                    <a:pt x="375" y="2309"/>
                  </a:cubicBezTo>
                  <a:cubicBezTo>
                    <a:pt x="380" y="2318"/>
                    <a:pt x="389" y="2329"/>
                    <a:pt x="398" y="2334"/>
                  </a:cubicBezTo>
                  <a:cubicBezTo>
                    <a:pt x="406" y="2340"/>
                    <a:pt x="418" y="2349"/>
                    <a:pt x="426" y="2357"/>
                  </a:cubicBezTo>
                  <a:cubicBezTo>
                    <a:pt x="434" y="2366"/>
                    <a:pt x="440" y="2377"/>
                    <a:pt x="449" y="2385"/>
                  </a:cubicBezTo>
                  <a:cubicBezTo>
                    <a:pt x="457" y="2394"/>
                    <a:pt x="465" y="2400"/>
                    <a:pt x="477" y="2408"/>
                  </a:cubicBezTo>
                  <a:cubicBezTo>
                    <a:pt x="488" y="2417"/>
                    <a:pt x="493" y="2422"/>
                    <a:pt x="502" y="2430"/>
                  </a:cubicBezTo>
                  <a:cubicBezTo>
                    <a:pt x="510" y="2439"/>
                    <a:pt x="518" y="2445"/>
                    <a:pt x="530" y="2453"/>
                  </a:cubicBezTo>
                  <a:cubicBezTo>
                    <a:pt x="541" y="2462"/>
                    <a:pt x="549" y="2465"/>
                    <a:pt x="561" y="2473"/>
                  </a:cubicBezTo>
                  <a:cubicBezTo>
                    <a:pt x="572" y="2482"/>
                    <a:pt x="581" y="2487"/>
                    <a:pt x="590" y="2495"/>
                  </a:cubicBezTo>
                  <a:cubicBezTo>
                    <a:pt x="598" y="2504"/>
                    <a:pt x="609" y="2509"/>
                    <a:pt x="618" y="2515"/>
                  </a:cubicBezTo>
                  <a:cubicBezTo>
                    <a:pt x="626" y="2521"/>
                    <a:pt x="635" y="2532"/>
                    <a:pt x="646" y="2537"/>
                  </a:cubicBezTo>
                  <a:cubicBezTo>
                    <a:pt x="657" y="2543"/>
                    <a:pt x="666" y="2549"/>
                    <a:pt x="677" y="2554"/>
                  </a:cubicBezTo>
                  <a:cubicBezTo>
                    <a:pt x="688" y="2560"/>
                    <a:pt x="697" y="2566"/>
                    <a:pt x="708" y="2571"/>
                  </a:cubicBezTo>
                  <a:cubicBezTo>
                    <a:pt x="719" y="2577"/>
                    <a:pt x="727" y="2583"/>
                    <a:pt x="736" y="2588"/>
                  </a:cubicBezTo>
                  <a:cubicBezTo>
                    <a:pt x="744" y="2594"/>
                    <a:pt x="759" y="2597"/>
                    <a:pt x="767" y="2602"/>
                  </a:cubicBezTo>
                  <a:cubicBezTo>
                    <a:pt x="776" y="2608"/>
                    <a:pt x="786" y="2614"/>
                    <a:pt x="798" y="2619"/>
                  </a:cubicBezTo>
                  <a:cubicBezTo>
                    <a:pt x="809" y="2625"/>
                    <a:pt x="817" y="2631"/>
                    <a:pt x="829" y="2636"/>
                  </a:cubicBezTo>
                  <a:cubicBezTo>
                    <a:pt x="840" y="2642"/>
                    <a:pt x="851" y="2642"/>
                    <a:pt x="863" y="2647"/>
                  </a:cubicBezTo>
                  <a:cubicBezTo>
                    <a:pt x="874" y="2653"/>
                    <a:pt x="885" y="2654"/>
                    <a:pt x="894" y="2659"/>
                  </a:cubicBezTo>
                  <a:cubicBezTo>
                    <a:pt x="902" y="2665"/>
                    <a:pt x="913" y="2667"/>
                    <a:pt x="925" y="2670"/>
                  </a:cubicBezTo>
                  <a:cubicBezTo>
                    <a:pt x="936" y="2673"/>
                    <a:pt x="944" y="2681"/>
                    <a:pt x="956" y="2684"/>
                  </a:cubicBezTo>
                  <a:cubicBezTo>
                    <a:pt x="967" y="2687"/>
                    <a:pt x="978" y="2691"/>
                    <a:pt x="987" y="2693"/>
                  </a:cubicBezTo>
                  <a:cubicBezTo>
                    <a:pt x="995" y="2696"/>
                    <a:pt x="1010" y="2701"/>
                    <a:pt x="1019" y="2704"/>
                  </a:cubicBezTo>
                  <a:cubicBezTo>
                    <a:pt x="1027" y="2707"/>
                    <a:pt x="1040" y="2707"/>
                    <a:pt x="1052" y="2709"/>
                  </a:cubicBezTo>
                  <a:cubicBezTo>
                    <a:pt x="1063" y="2712"/>
                    <a:pt x="1074" y="2718"/>
                    <a:pt x="1083" y="2718"/>
                  </a:cubicBezTo>
                  <a:cubicBezTo>
                    <a:pt x="1091" y="2718"/>
                    <a:pt x="1105" y="2722"/>
                    <a:pt x="1117" y="2724"/>
                  </a:cubicBezTo>
                  <a:cubicBezTo>
                    <a:pt x="1128" y="2727"/>
                    <a:pt x="1139" y="2729"/>
                    <a:pt x="1148" y="2732"/>
                  </a:cubicBezTo>
                  <a:cubicBezTo>
                    <a:pt x="1156" y="2735"/>
                    <a:pt x="1171" y="2735"/>
                    <a:pt x="1182" y="2738"/>
                  </a:cubicBezTo>
                  <a:cubicBezTo>
                    <a:pt x="1193" y="2741"/>
                    <a:pt x="1205" y="2741"/>
                    <a:pt x="1216" y="2741"/>
                  </a:cubicBezTo>
                  <a:cubicBezTo>
                    <a:pt x="1227" y="2741"/>
                    <a:pt x="1239" y="2741"/>
                    <a:pt x="1250" y="2741"/>
                  </a:cubicBezTo>
                  <a:cubicBezTo>
                    <a:pt x="1261" y="2741"/>
                    <a:pt x="1272" y="2746"/>
                    <a:pt x="1284" y="2749"/>
                  </a:cubicBezTo>
                  <a:cubicBezTo>
                    <a:pt x="1295" y="2752"/>
                    <a:pt x="1306" y="2749"/>
                    <a:pt x="1318" y="2749"/>
                  </a:cubicBezTo>
                  <a:cubicBezTo>
                    <a:pt x="1329" y="2749"/>
                    <a:pt x="1339" y="2749"/>
                    <a:pt x="1351" y="2749"/>
                  </a:cubicBezTo>
                  <a:cubicBezTo>
                    <a:pt x="1362" y="2749"/>
                    <a:pt x="1373" y="2749"/>
                    <a:pt x="1384" y="2749"/>
                  </a:cubicBezTo>
                  <a:cubicBezTo>
                    <a:pt x="1396" y="2749"/>
                    <a:pt x="1407" y="2749"/>
                    <a:pt x="1418" y="2749"/>
                  </a:cubicBezTo>
                  <a:cubicBezTo>
                    <a:pt x="1429" y="2749"/>
                    <a:pt x="1441" y="2749"/>
                    <a:pt x="1452" y="2749"/>
                  </a:cubicBezTo>
                  <a:cubicBezTo>
                    <a:pt x="1463" y="2749"/>
                    <a:pt x="1475" y="2749"/>
                    <a:pt x="1486" y="2749"/>
                  </a:cubicBezTo>
                  <a:cubicBezTo>
                    <a:pt x="1497" y="2749"/>
                    <a:pt x="1509" y="2746"/>
                    <a:pt x="1520" y="2743"/>
                  </a:cubicBezTo>
                  <a:cubicBezTo>
                    <a:pt x="1532" y="2741"/>
                    <a:pt x="1543" y="2744"/>
                    <a:pt x="1554" y="2741"/>
                  </a:cubicBezTo>
                  <a:cubicBezTo>
                    <a:pt x="1566" y="2739"/>
                    <a:pt x="1577" y="2735"/>
                    <a:pt x="1585" y="2735"/>
                  </a:cubicBezTo>
                  <a:cubicBezTo>
                    <a:pt x="1594" y="2735"/>
                    <a:pt x="1608" y="2729"/>
                    <a:pt x="1616" y="2729"/>
                  </a:cubicBezTo>
                  <a:cubicBezTo>
                    <a:pt x="1625" y="2729"/>
                    <a:pt x="1639" y="2724"/>
                    <a:pt x="1647" y="2724"/>
                  </a:cubicBezTo>
                  <a:cubicBezTo>
                    <a:pt x="1656" y="2724"/>
                    <a:pt x="1669" y="2718"/>
                    <a:pt x="1678" y="2715"/>
                  </a:cubicBezTo>
                  <a:cubicBezTo>
                    <a:pt x="1689" y="2712"/>
                    <a:pt x="1701" y="2710"/>
                    <a:pt x="1709" y="2707"/>
                  </a:cubicBezTo>
                  <a:cubicBezTo>
                    <a:pt x="1718" y="2705"/>
                    <a:pt x="1732" y="2701"/>
                    <a:pt x="1740" y="2698"/>
                  </a:cubicBezTo>
                  <a:cubicBezTo>
                    <a:pt x="1749" y="2695"/>
                    <a:pt x="1763" y="2693"/>
                    <a:pt x="1771" y="2690"/>
                  </a:cubicBezTo>
                  <a:cubicBezTo>
                    <a:pt x="1780" y="2687"/>
                    <a:pt x="1794" y="2687"/>
                    <a:pt x="1805" y="2684"/>
                  </a:cubicBezTo>
                  <a:cubicBezTo>
                    <a:pt x="1817" y="2681"/>
                    <a:pt x="1825" y="2676"/>
                    <a:pt x="1836" y="2673"/>
                  </a:cubicBezTo>
                  <a:cubicBezTo>
                    <a:pt x="1847" y="2670"/>
                    <a:pt x="1856" y="2665"/>
                    <a:pt x="1867" y="2659"/>
                  </a:cubicBezTo>
                  <a:cubicBezTo>
                    <a:pt x="1878" y="2654"/>
                    <a:pt x="1890" y="2653"/>
                    <a:pt x="1898" y="2650"/>
                  </a:cubicBezTo>
                  <a:cubicBezTo>
                    <a:pt x="1907" y="2647"/>
                    <a:pt x="1918" y="2642"/>
                    <a:pt x="1929" y="2636"/>
                  </a:cubicBezTo>
                  <a:cubicBezTo>
                    <a:pt x="1940" y="2631"/>
                    <a:pt x="1949" y="2628"/>
                    <a:pt x="1960" y="2625"/>
                  </a:cubicBezTo>
                  <a:cubicBezTo>
                    <a:pt x="1971" y="2622"/>
                    <a:pt x="1980" y="2611"/>
                    <a:pt x="1988" y="2608"/>
                  </a:cubicBezTo>
                  <a:cubicBezTo>
                    <a:pt x="1997" y="2605"/>
                    <a:pt x="2008" y="2600"/>
                    <a:pt x="2019" y="2594"/>
                  </a:cubicBezTo>
                  <a:cubicBezTo>
                    <a:pt x="2031" y="2589"/>
                    <a:pt x="2039" y="2583"/>
                    <a:pt x="2047" y="2577"/>
                  </a:cubicBezTo>
                  <a:cubicBezTo>
                    <a:pt x="2056" y="2571"/>
                    <a:pt x="2068" y="2566"/>
                    <a:pt x="2076" y="2560"/>
                  </a:cubicBezTo>
                  <a:cubicBezTo>
                    <a:pt x="2085" y="2554"/>
                    <a:pt x="2096" y="2552"/>
                    <a:pt x="2104" y="2543"/>
                  </a:cubicBezTo>
                  <a:cubicBezTo>
                    <a:pt x="2113" y="2535"/>
                    <a:pt x="2121" y="2529"/>
                    <a:pt x="2132" y="2523"/>
                  </a:cubicBezTo>
                  <a:cubicBezTo>
                    <a:pt x="2143" y="2518"/>
                    <a:pt x="2152" y="2512"/>
                    <a:pt x="2160" y="2506"/>
                  </a:cubicBezTo>
                  <a:cubicBezTo>
                    <a:pt x="2169" y="2501"/>
                    <a:pt x="2181" y="2496"/>
                    <a:pt x="2189" y="2487"/>
                  </a:cubicBezTo>
                  <a:cubicBezTo>
                    <a:pt x="2198" y="2479"/>
                    <a:pt x="2206" y="2473"/>
                    <a:pt x="2214" y="2464"/>
                  </a:cubicBezTo>
                  <a:cubicBezTo>
                    <a:pt x="2223" y="2456"/>
                    <a:pt x="2231" y="2448"/>
                    <a:pt x="2239" y="2442"/>
                  </a:cubicBezTo>
                  <a:cubicBezTo>
                    <a:pt x="2248" y="2437"/>
                    <a:pt x="2260" y="2431"/>
                    <a:pt x="2268" y="2425"/>
                  </a:cubicBezTo>
                  <a:cubicBezTo>
                    <a:pt x="2277" y="2420"/>
                    <a:pt x="2285" y="2410"/>
                    <a:pt x="2293" y="2402"/>
                  </a:cubicBezTo>
                  <a:cubicBezTo>
                    <a:pt x="2302" y="2394"/>
                    <a:pt x="2307" y="2383"/>
                    <a:pt x="2315" y="2374"/>
                  </a:cubicBezTo>
                  <a:cubicBezTo>
                    <a:pt x="2324" y="2366"/>
                    <a:pt x="2333" y="2360"/>
                    <a:pt x="2341" y="2351"/>
                  </a:cubicBezTo>
                  <a:cubicBezTo>
                    <a:pt x="2350" y="2343"/>
                    <a:pt x="2361" y="2338"/>
                    <a:pt x="2366" y="2329"/>
                  </a:cubicBezTo>
                  <a:cubicBezTo>
                    <a:pt x="2372" y="2321"/>
                    <a:pt x="2380" y="2309"/>
                    <a:pt x="2386" y="2300"/>
                  </a:cubicBezTo>
                  <a:cubicBezTo>
                    <a:pt x="2392" y="2292"/>
                    <a:pt x="2403" y="2286"/>
                    <a:pt x="2411" y="2275"/>
                  </a:cubicBezTo>
                  <a:cubicBezTo>
                    <a:pt x="2420" y="2264"/>
                    <a:pt x="2426" y="2259"/>
                    <a:pt x="2434" y="2250"/>
                  </a:cubicBezTo>
                  <a:cubicBezTo>
                    <a:pt x="2442" y="2242"/>
                    <a:pt x="2449" y="2230"/>
                    <a:pt x="2454" y="2221"/>
                  </a:cubicBezTo>
                  <a:cubicBezTo>
                    <a:pt x="2460" y="2213"/>
                    <a:pt x="2471" y="2205"/>
                    <a:pt x="2476" y="2196"/>
                  </a:cubicBezTo>
                  <a:cubicBezTo>
                    <a:pt x="2482" y="2188"/>
                    <a:pt x="2488" y="2176"/>
                    <a:pt x="2493" y="2165"/>
                  </a:cubicBezTo>
                  <a:cubicBezTo>
                    <a:pt x="2499" y="2154"/>
                    <a:pt x="2511" y="2148"/>
                    <a:pt x="2516" y="2137"/>
                  </a:cubicBezTo>
                  <a:cubicBezTo>
                    <a:pt x="2522" y="2126"/>
                    <a:pt x="2528" y="2115"/>
                    <a:pt x="2533" y="2106"/>
                  </a:cubicBezTo>
                  <a:cubicBezTo>
                    <a:pt x="2539" y="2098"/>
                    <a:pt x="2547" y="2090"/>
                    <a:pt x="2555" y="2078"/>
                  </a:cubicBezTo>
                  <a:cubicBezTo>
                    <a:pt x="2564" y="2067"/>
                    <a:pt x="2564" y="2056"/>
                    <a:pt x="2569" y="2047"/>
                  </a:cubicBezTo>
                  <a:cubicBezTo>
                    <a:pt x="2575" y="2039"/>
                    <a:pt x="2579" y="2028"/>
                    <a:pt x="2584" y="2016"/>
                  </a:cubicBezTo>
                  <a:cubicBezTo>
                    <a:pt x="2590" y="2005"/>
                    <a:pt x="2598" y="1996"/>
                    <a:pt x="2603" y="1987"/>
                  </a:cubicBezTo>
                  <a:cubicBezTo>
                    <a:pt x="2609" y="1979"/>
                    <a:pt x="2615" y="1968"/>
                    <a:pt x="2617" y="1956"/>
                  </a:cubicBezTo>
                  <a:cubicBezTo>
                    <a:pt x="2620" y="1945"/>
                    <a:pt x="2627" y="1937"/>
                    <a:pt x="2632" y="1925"/>
                  </a:cubicBezTo>
                  <a:cubicBezTo>
                    <a:pt x="2638" y="1914"/>
                    <a:pt x="2637" y="1903"/>
                    <a:pt x="2640" y="1891"/>
                  </a:cubicBezTo>
                  <a:cubicBezTo>
                    <a:pt x="2643" y="1880"/>
                    <a:pt x="2651" y="1872"/>
                    <a:pt x="2657" y="1860"/>
                  </a:cubicBezTo>
                  <a:cubicBezTo>
                    <a:pt x="2663" y="1849"/>
                    <a:pt x="2663" y="1839"/>
                    <a:pt x="2665" y="1827"/>
                  </a:cubicBezTo>
                  <a:cubicBezTo>
                    <a:pt x="2668" y="1816"/>
                    <a:pt x="2677" y="1808"/>
                    <a:pt x="2679" y="1796"/>
                  </a:cubicBezTo>
                  <a:cubicBezTo>
                    <a:pt x="2682" y="1785"/>
                    <a:pt x="2685" y="1774"/>
                    <a:pt x="2688" y="1765"/>
                  </a:cubicBezTo>
                  <a:cubicBezTo>
                    <a:pt x="2691" y="1757"/>
                    <a:pt x="2694" y="1742"/>
                    <a:pt x="2696" y="1733"/>
                  </a:cubicBezTo>
                  <a:cubicBezTo>
                    <a:pt x="2699" y="1725"/>
                    <a:pt x="2699" y="1712"/>
                    <a:pt x="2702" y="1700"/>
                  </a:cubicBezTo>
                  <a:cubicBezTo>
                    <a:pt x="2705" y="1689"/>
                    <a:pt x="2709" y="1678"/>
                    <a:pt x="2711" y="1669"/>
                  </a:cubicBezTo>
                  <a:cubicBezTo>
                    <a:pt x="2714" y="1661"/>
                    <a:pt x="2716" y="1647"/>
                    <a:pt x="2719" y="1635"/>
                  </a:cubicBezTo>
                  <a:cubicBezTo>
                    <a:pt x="2722" y="1624"/>
                    <a:pt x="2725" y="1612"/>
                    <a:pt x="2725" y="1601"/>
                  </a:cubicBezTo>
                  <a:cubicBezTo>
                    <a:pt x="2725" y="1590"/>
                    <a:pt x="2727" y="1578"/>
                    <a:pt x="2727" y="1567"/>
                  </a:cubicBezTo>
                  <a:cubicBezTo>
                    <a:pt x="2727" y="1556"/>
                    <a:pt x="2730" y="1544"/>
                    <a:pt x="2733" y="1533"/>
                  </a:cubicBezTo>
                  <a:cubicBezTo>
                    <a:pt x="2736" y="1522"/>
                    <a:pt x="2736" y="1511"/>
                    <a:pt x="2736" y="1499"/>
                  </a:cubicBezTo>
                  <a:cubicBezTo>
                    <a:pt x="2736" y="1488"/>
                    <a:pt x="2733" y="1478"/>
                    <a:pt x="2736" y="1466"/>
                  </a:cubicBezTo>
                  <a:cubicBezTo>
                    <a:pt x="2739" y="1455"/>
                    <a:pt x="2742" y="1444"/>
                    <a:pt x="2742" y="1432"/>
                  </a:cubicBezTo>
                  <a:cubicBezTo>
                    <a:pt x="2742" y="1421"/>
                    <a:pt x="2742" y="1409"/>
                    <a:pt x="2742" y="1398"/>
                  </a:cubicBezTo>
                  <a:cubicBezTo>
                    <a:pt x="2742" y="1387"/>
                    <a:pt x="2739" y="1375"/>
                    <a:pt x="2739" y="1364"/>
                  </a:cubicBezTo>
                  <a:cubicBezTo>
                    <a:pt x="2739" y="1354"/>
                    <a:pt x="2742" y="1337"/>
                    <a:pt x="2739" y="1325"/>
                  </a:cubicBezTo>
                  <a:close/>
                  <a:moveTo>
                    <a:pt x="2699" y="1389"/>
                  </a:moveTo>
                  <a:cubicBezTo>
                    <a:pt x="2699" y="1401"/>
                    <a:pt x="2699" y="1412"/>
                    <a:pt x="2699" y="1420"/>
                  </a:cubicBezTo>
                  <a:cubicBezTo>
                    <a:pt x="2699" y="1429"/>
                    <a:pt x="2696" y="1443"/>
                    <a:pt x="2696" y="1451"/>
                  </a:cubicBezTo>
                  <a:cubicBezTo>
                    <a:pt x="2696" y="1460"/>
                    <a:pt x="2697" y="1474"/>
                    <a:pt x="2694" y="1482"/>
                  </a:cubicBezTo>
                  <a:cubicBezTo>
                    <a:pt x="2692" y="1491"/>
                    <a:pt x="2694" y="1505"/>
                    <a:pt x="2694" y="1513"/>
                  </a:cubicBezTo>
                  <a:cubicBezTo>
                    <a:pt x="2694" y="1522"/>
                    <a:pt x="2691" y="1536"/>
                    <a:pt x="2691" y="1544"/>
                  </a:cubicBezTo>
                  <a:cubicBezTo>
                    <a:pt x="2691" y="1553"/>
                    <a:pt x="2688" y="1568"/>
                    <a:pt x="2685" y="1576"/>
                  </a:cubicBezTo>
                  <a:cubicBezTo>
                    <a:pt x="2682" y="1585"/>
                    <a:pt x="2682" y="1599"/>
                    <a:pt x="2679" y="1607"/>
                  </a:cubicBezTo>
                  <a:cubicBezTo>
                    <a:pt x="2677" y="1616"/>
                    <a:pt x="2674" y="1627"/>
                    <a:pt x="2671" y="1638"/>
                  </a:cubicBezTo>
                  <a:cubicBezTo>
                    <a:pt x="2668" y="1650"/>
                    <a:pt x="2668" y="1661"/>
                    <a:pt x="2665" y="1669"/>
                  </a:cubicBezTo>
                  <a:cubicBezTo>
                    <a:pt x="2663" y="1678"/>
                    <a:pt x="2657" y="1689"/>
                    <a:pt x="2654" y="1700"/>
                  </a:cubicBezTo>
                  <a:cubicBezTo>
                    <a:pt x="2651" y="1712"/>
                    <a:pt x="2651" y="1723"/>
                    <a:pt x="2648" y="1731"/>
                  </a:cubicBezTo>
                  <a:cubicBezTo>
                    <a:pt x="2646" y="1740"/>
                    <a:pt x="2640" y="1751"/>
                    <a:pt x="2637" y="1762"/>
                  </a:cubicBezTo>
                  <a:cubicBezTo>
                    <a:pt x="2634" y="1774"/>
                    <a:pt x="2632" y="1785"/>
                    <a:pt x="2629" y="1793"/>
                  </a:cubicBezTo>
                  <a:cubicBezTo>
                    <a:pt x="2626" y="1802"/>
                    <a:pt x="2621" y="1813"/>
                    <a:pt x="2615" y="1824"/>
                  </a:cubicBezTo>
                  <a:cubicBezTo>
                    <a:pt x="2610" y="1836"/>
                    <a:pt x="2609" y="1847"/>
                    <a:pt x="2603" y="1855"/>
                  </a:cubicBezTo>
                  <a:cubicBezTo>
                    <a:pt x="2598" y="1864"/>
                    <a:pt x="2595" y="1875"/>
                    <a:pt x="2589" y="1886"/>
                  </a:cubicBezTo>
                  <a:cubicBezTo>
                    <a:pt x="2584" y="1897"/>
                    <a:pt x="2581" y="1906"/>
                    <a:pt x="2578" y="1917"/>
                  </a:cubicBezTo>
                  <a:cubicBezTo>
                    <a:pt x="2575" y="1928"/>
                    <a:pt x="2570" y="1937"/>
                    <a:pt x="2564" y="1948"/>
                  </a:cubicBezTo>
                  <a:cubicBezTo>
                    <a:pt x="2559" y="1959"/>
                    <a:pt x="2553" y="1968"/>
                    <a:pt x="2550" y="1979"/>
                  </a:cubicBezTo>
                  <a:cubicBezTo>
                    <a:pt x="2547" y="1990"/>
                    <a:pt x="2539" y="1999"/>
                    <a:pt x="2533" y="2010"/>
                  </a:cubicBezTo>
                  <a:cubicBezTo>
                    <a:pt x="2528" y="2021"/>
                    <a:pt x="2522" y="2030"/>
                    <a:pt x="2516" y="2038"/>
                  </a:cubicBezTo>
                  <a:cubicBezTo>
                    <a:pt x="2511" y="2047"/>
                    <a:pt x="2505" y="2058"/>
                    <a:pt x="2499" y="2066"/>
                  </a:cubicBezTo>
                  <a:cubicBezTo>
                    <a:pt x="2493" y="2075"/>
                    <a:pt x="2485" y="2084"/>
                    <a:pt x="2479" y="2095"/>
                  </a:cubicBezTo>
                  <a:cubicBezTo>
                    <a:pt x="2474" y="2107"/>
                    <a:pt x="2468" y="2115"/>
                    <a:pt x="2462" y="2123"/>
                  </a:cubicBezTo>
                  <a:cubicBezTo>
                    <a:pt x="2457" y="2132"/>
                    <a:pt x="2451" y="2143"/>
                    <a:pt x="2442" y="2151"/>
                  </a:cubicBezTo>
                  <a:cubicBezTo>
                    <a:pt x="2434" y="2159"/>
                    <a:pt x="2426" y="2168"/>
                    <a:pt x="2420" y="2176"/>
                  </a:cubicBezTo>
                  <a:cubicBezTo>
                    <a:pt x="2414" y="2185"/>
                    <a:pt x="2409" y="2197"/>
                    <a:pt x="2400" y="2205"/>
                  </a:cubicBezTo>
                  <a:cubicBezTo>
                    <a:pt x="2392" y="2214"/>
                    <a:pt x="2384" y="2222"/>
                    <a:pt x="2375" y="2230"/>
                  </a:cubicBezTo>
                  <a:cubicBezTo>
                    <a:pt x="2367" y="2239"/>
                    <a:pt x="2358" y="2247"/>
                    <a:pt x="2352" y="2255"/>
                  </a:cubicBezTo>
                  <a:cubicBezTo>
                    <a:pt x="2347" y="2264"/>
                    <a:pt x="2338" y="2276"/>
                    <a:pt x="2332" y="2281"/>
                  </a:cubicBezTo>
                  <a:cubicBezTo>
                    <a:pt x="2327" y="2287"/>
                    <a:pt x="2316" y="2298"/>
                    <a:pt x="2310" y="2303"/>
                  </a:cubicBezTo>
                  <a:cubicBezTo>
                    <a:pt x="2305" y="2309"/>
                    <a:pt x="2293" y="2317"/>
                    <a:pt x="2284" y="2323"/>
                  </a:cubicBezTo>
                  <a:cubicBezTo>
                    <a:pt x="2276" y="2329"/>
                    <a:pt x="2271" y="2340"/>
                    <a:pt x="2262" y="2348"/>
                  </a:cubicBezTo>
                  <a:cubicBezTo>
                    <a:pt x="2254" y="2357"/>
                    <a:pt x="2245" y="2363"/>
                    <a:pt x="2236" y="2371"/>
                  </a:cubicBezTo>
                  <a:cubicBezTo>
                    <a:pt x="2228" y="2379"/>
                    <a:pt x="2220" y="2383"/>
                    <a:pt x="2211" y="2391"/>
                  </a:cubicBezTo>
                  <a:cubicBezTo>
                    <a:pt x="2203" y="2400"/>
                    <a:pt x="2195" y="2405"/>
                    <a:pt x="2186" y="2410"/>
                  </a:cubicBezTo>
                  <a:cubicBezTo>
                    <a:pt x="2178" y="2416"/>
                    <a:pt x="2169" y="2425"/>
                    <a:pt x="2160" y="2433"/>
                  </a:cubicBezTo>
                  <a:cubicBezTo>
                    <a:pt x="2152" y="2442"/>
                    <a:pt x="2143" y="2445"/>
                    <a:pt x="2132" y="2453"/>
                  </a:cubicBezTo>
                  <a:cubicBezTo>
                    <a:pt x="2121" y="2462"/>
                    <a:pt x="2113" y="2465"/>
                    <a:pt x="2104" y="2470"/>
                  </a:cubicBezTo>
                  <a:cubicBezTo>
                    <a:pt x="2096" y="2476"/>
                    <a:pt x="2088" y="2482"/>
                    <a:pt x="2076" y="2487"/>
                  </a:cubicBezTo>
                  <a:cubicBezTo>
                    <a:pt x="2065" y="2493"/>
                    <a:pt x="2059" y="2501"/>
                    <a:pt x="2050" y="2506"/>
                  </a:cubicBezTo>
                  <a:cubicBezTo>
                    <a:pt x="2042" y="2512"/>
                    <a:pt x="2031" y="2516"/>
                    <a:pt x="2022" y="2521"/>
                  </a:cubicBezTo>
                  <a:cubicBezTo>
                    <a:pt x="2014" y="2527"/>
                    <a:pt x="2006" y="2535"/>
                    <a:pt x="1997" y="2540"/>
                  </a:cubicBezTo>
                  <a:cubicBezTo>
                    <a:pt x="1989" y="2546"/>
                    <a:pt x="1978" y="2549"/>
                    <a:pt x="1966" y="2554"/>
                  </a:cubicBezTo>
                  <a:cubicBezTo>
                    <a:pt x="1955" y="2560"/>
                    <a:pt x="1946" y="2566"/>
                    <a:pt x="1937" y="2568"/>
                  </a:cubicBezTo>
                  <a:cubicBezTo>
                    <a:pt x="1929" y="2571"/>
                    <a:pt x="1918" y="2578"/>
                    <a:pt x="1909" y="2583"/>
                  </a:cubicBezTo>
                  <a:cubicBezTo>
                    <a:pt x="1901" y="2589"/>
                    <a:pt x="1889" y="2591"/>
                    <a:pt x="1878" y="2594"/>
                  </a:cubicBezTo>
                  <a:cubicBezTo>
                    <a:pt x="1867" y="2597"/>
                    <a:pt x="1858" y="2602"/>
                    <a:pt x="1847" y="2605"/>
                  </a:cubicBezTo>
                  <a:cubicBezTo>
                    <a:pt x="1836" y="2608"/>
                    <a:pt x="1827" y="2614"/>
                    <a:pt x="1816" y="2616"/>
                  </a:cubicBezTo>
                  <a:cubicBezTo>
                    <a:pt x="1805" y="2619"/>
                    <a:pt x="1799" y="2631"/>
                    <a:pt x="1788" y="2633"/>
                  </a:cubicBezTo>
                  <a:cubicBezTo>
                    <a:pt x="1777" y="2636"/>
                    <a:pt x="1768" y="2637"/>
                    <a:pt x="1757" y="2642"/>
                  </a:cubicBezTo>
                  <a:cubicBezTo>
                    <a:pt x="1746" y="2648"/>
                    <a:pt x="1738" y="2653"/>
                    <a:pt x="1726" y="2656"/>
                  </a:cubicBezTo>
                  <a:cubicBezTo>
                    <a:pt x="1715" y="2659"/>
                    <a:pt x="1704" y="2660"/>
                    <a:pt x="1695" y="2662"/>
                  </a:cubicBezTo>
                  <a:cubicBezTo>
                    <a:pt x="1687" y="2665"/>
                    <a:pt x="1676" y="2667"/>
                    <a:pt x="1664" y="2670"/>
                  </a:cubicBezTo>
                  <a:cubicBezTo>
                    <a:pt x="1653" y="2673"/>
                    <a:pt x="1645" y="2674"/>
                    <a:pt x="1633" y="2676"/>
                  </a:cubicBezTo>
                  <a:cubicBezTo>
                    <a:pt x="1622" y="2679"/>
                    <a:pt x="1614" y="2681"/>
                    <a:pt x="1602" y="2684"/>
                  </a:cubicBezTo>
                  <a:cubicBezTo>
                    <a:pt x="1591" y="2687"/>
                    <a:pt x="1580" y="2684"/>
                    <a:pt x="1571" y="2687"/>
                  </a:cubicBezTo>
                  <a:cubicBezTo>
                    <a:pt x="1563" y="2690"/>
                    <a:pt x="1552" y="2691"/>
                    <a:pt x="1540" y="2693"/>
                  </a:cubicBezTo>
                  <a:cubicBezTo>
                    <a:pt x="1529" y="2696"/>
                    <a:pt x="1520" y="2695"/>
                    <a:pt x="1508" y="2698"/>
                  </a:cubicBezTo>
                  <a:cubicBezTo>
                    <a:pt x="1497" y="2701"/>
                    <a:pt x="1486" y="2701"/>
                    <a:pt x="1477" y="2701"/>
                  </a:cubicBezTo>
                  <a:cubicBezTo>
                    <a:pt x="1469" y="2701"/>
                    <a:pt x="1455" y="2701"/>
                    <a:pt x="1446" y="2701"/>
                  </a:cubicBezTo>
                  <a:cubicBezTo>
                    <a:pt x="1438" y="2701"/>
                    <a:pt x="1424" y="2701"/>
                    <a:pt x="1415" y="2701"/>
                  </a:cubicBezTo>
                  <a:cubicBezTo>
                    <a:pt x="1407" y="2701"/>
                    <a:pt x="1393" y="2704"/>
                    <a:pt x="1384" y="2704"/>
                  </a:cubicBezTo>
                  <a:cubicBezTo>
                    <a:pt x="1376" y="2704"/>
                    <a:pt x="1362" y="2701"/>
                    <a:pt x="1354" y="2701"/>
                  </a:cubicBezTo>
                  <a:cubicBezTo>
                    <a:pt x="1345" y="2701"/>
                    <a:pt x="1331" y="2704"/>
                    <a:pt x="1323" y="2701"/>
                  </a:cubicBezTo>
                  <a:cubicBezTo>
                    <a:pt x="1314" y="2698"/>
                    <a:pt x="1300" y="2698"/>
                    <a:pt x="1292" y="2698"/>
                  </a:cubicBezTo>
                  <a:cubicBezTo>
                    <a:pt x="1283" y="2698"/>
                    <a:pt x="1269" y="2693"/>
                    <a:pt x="1261" y="2693"/>
                  </a:cubicBezTo>
                  <a:cubicBezTo>
                    <a:pt x="1252" y="2693"/>
                    <a:pt x="1238" y="2693"/>
                    <a:pt x="1230" y="2693"/>
                  </a:cubicBezTo>
                  <a:cubicBezTo>
                    <a:pt x="1221" y="2693"/>
                    <a:pt x="1207" y="2690"/>
                    <a:pt x="1199" y="2687"/>
                  </a:cubicBezTo>
                  <a:cubicBezTo>
                    <a:pt x="1190" y="2684"/>
                    <a:pt x="1179" y="2681"/>
                    <a:pt x="1168" y="2678"/>
                  </a:cubicBezTo>
                  <a:cubicBezTo>
                    <a:pt x="1157" y="2676"/>
                    <a:pt x="1145" y="2676"/>
                    <a:pt x="1137" y="2673"/>
                  </a:cubicBezTo>
                  <a:cubicBezTo>
                    <a:pt x="1129" y="2670"/>
                    <a:pt x="1114" y="2670"/>
                    <a:pt x="1106" y="2667"/>
                  </a:cubicBezTo>
                  <a:cubicBezTo>
                    <a:pt x="1098" y="2664"/>
                    <a:pt x="1086" y="2662"/>
                    <a:pt x="1075" y="2659"/>
                  </a:cubicBezTo>
                  <a:cubicBezTo>
                    <a:pt x="1064" y="2656"/>
                    <a:pt x="1055" y="2653"/>
                    <a:pt x="1044" y="2650"/>
                  </a:cubicBezTo>
                  <a:cubicBezTo>
                    <a:pt x="1033" y="2647"/>
                    <a:pt x="1021" y="2648"/>
                    <a:pt x="1013" y="2645"/>
                  </a:cubicBezTo>
                  <a:cubicBezTo>
                    <a:pt x="1004" y="2643"/>
                    <a:pt x="993" y="2636"/>
                    <a:pt x="982" y="2633"/>
                  </a:cubicBezTo>
                  <a:cubicBezTo>
                    <a:pt x="971" y="2631"/>
                    <a:pt x="962" y="2625"/>
                    <a:pt x="951" y="2622"/>
                  </a:cubicBezTo>
                  <a:cubicBezTo>
                    <a:pt x="940" y="2619"/>
                    <a:pt x="931" y="2614"/>
                    <a:pt x="920" y="2611"/>
                  </a:cubicBezTo>
                  <a:cubicBezTo>
                    <a:pt x="908" y="2608"/>
                    <a:pt x="897" y="2608"/>
                    <a:pt x="889" y="2602"/>
                  </a:cubicBezTo>
                  <a:cubicBezTo>
                    <a:pt x="880" y="2597"/>
                    <a:pt x="869" y="2591"/>
                    <a:pt x="858" y="2588"/>
                  </a:cubicBezTo>
                  <a:cubicBezTo>
                    <a:pt x="846" y="2585"/>
                    <a:pt x="838" y="2580"/>
                    <a:pt x="827" y="2577"/>
                  </a:cubicBezTo>
                  <a:cubicBezTo>
                    <a:pt x="815" y="2574"/>
                    <a:pt x="807" y="2569"/>
                    <a:pt x="796" y="2563"/>
                  </a:cubicBezTo>
                  <a:cubicBezTo>
                    <a:pt x="784" y="2558"/>
                    <a:pt x="778" y="2549"/>
                    <a:pt x="767" y="2543"/>
                  </a:cubicBezTo>
                  <a:cubicBezTo>
                    <a:pt x="755" y="2537"/>
                    <a:pt x="747" y="2535"/>
                    <a:pt x="736" y="2529"/>
                  </a:cubicBezTo>
                  <a:cubicBezTo>
                    <a:pt x="724" y="2523"/>
                    <a:pt x="716" y="2521"/>
                    <a:pt x="705" y="2515"/>
                  </a:cubicBezTo>
                  <a:cubicBezTo>
                    <a:pt x="693" y="2509"/>
                    <a:pt x="685" y="2504"/>
                    <a:pt x="677" y="2498"/>
                  </a:cubicBezTo>
                  <a:cubicBezTo>
                    <a:pt x="668" y="2492"/>
                    <a:pt x="657" y="2484"/>
                    <a:pt x="649" y="2478"/>
                  </a:cubicBezTo>
                  <a:cubicBezTo>
                    <a:pt x="640" y="2473"/>
                    <a:pt x="629" y="2464"/>
                    <a:pt x="621" y="2458"/>
                  </a:cubicBezTo>
                  <a:cubicBezTo>
                    <a:pt x="612" y="2453"/>
                    <a:pt x="600" y="2448"/>
                    <a:pt x="592" y="2439"/>
                  </a:cubicBezTo>
                  <a:cubicBezTo>
                    <a:pt x="583" y="2431"/>
                    <a:pt x="572" y="2428"/>
                    <a:pt x="564" y="2419"/>
                  </a:cubicBezTo>
                  <a:cubicBezTo>
                    <a:pt x="555" y="2411"/>
                    <a:pt x="547" y="2402"/>
                    <a:pt x="539" y="2396"/>
                  </a:cubicBezTo>
                  <a:cubicBezTo>
                    <a:pt x="530" y="2391"/>
                    <a:pt x="521" y="2380"/>
                    <a:pt x="513" y="2374"/>
                  </a:cubicBezTo>
                  <a:cubicBezTo>
                    <a:pt x="504" y="2369"/>
                    <a:pt x="493" y="2360"/>
                    <a:pt x="485" y="2354"/>
                  </a:cubicBezTo>
                  <a:cubicBezTo>
                    <a:pt x="476" y="2348"/>
                    <a:pt x="468" y="2341"/>
                    <a:pt x="460" y="2332"/>
                  </a:cubicBezTo>
                  <a:cubicBezTo>
                    <a:pt x="451" y="2324"/>
                    <a:pt x="442" y="2318"/>
                    <a:pt x="434" y="2309"/>
                  </a:cubicBezTo>
                  <a:cubicBezTo>
                    <a:pt x="425" y="2301"/>
                    <a:pt x="420" y="2293"/>
                    <a:pt x="412" y="2284"/>
                  </a:cubicBezTo>
                  <a:cubicBezTo>
                    <a:pt x="403" y="2276"/>
                    <a:pt x="394" y="2269"/>
                    <a:pt x="389" y="2261"/>
                  </a:cubicBezTo>
                  <a:cubicBezTo>
                    <a:pt x="383" y="2253"/>
                    <a:pt x="378" y="2242"/>
                    <a:pt x="370" y="2233"/>
                  </a:cubicBezTo>
                  <a:cubicBezTo>
                    <a:pt x="361" y="2225"/>
                    <a:pt x="355" y="2216"/>
                    <a:pt x="347" y="2207"/>
                  </a:cubicBezTo>
                  <a:cubicBezTo>
                    <a:pt x="339" y="2199"/>
                    <a:pt x="332" y="2190"/>
                    <a:pt x="327" y="2182"/>
                  </a:cubicBezTo>
                  <a:cubicBezTo>
                    <a:pt x="321" y="2174"/>
                    <a:pt x="315" y="2166"/>
                    <a:pt x="307" y="2157"/>
                  </a:cubicBezTo>
                  <a:cubicBezTo>
                    <a:pt x="298" y="2149"/>
                    <a:pt x="296" y="2140"/>
                    <a:pt x="291" y="2128"/>
                  </a:cubicBezTo>
                  <a:cubicBezTo>
                    <a:pt x="285" y="2117"/>
                    <a:pt x="279" y="2111"/>
                    <a:pt x="271" y="2103"/>
                  </a:cubicBezTo>
                  <a:cubicBezTo>
                    <a:pt x="262" y="2095"/>
                    <a:pt x="259" y="2086"/>
                    <a:pt x="254" y="2075"/>
                  </a:cubicBezTo>
                  <a:cubicBezTo>
                    <a:pt x="248" y="2064"/>
                    <a:pt x="240" y="2058"/>
                    <a:pt x="234" y="2049"/>
                  </a:cubicBezTo>
                  <a:cubicBezTo>
                    <a:pt x="228" y="2041"/>
                    <a:pt x="226" y="2030"/>
                    <a:pt x="220" y="2021"/>
                  </a:cubicBezTo>
                  <a:cubicBezTo>
                    <a:pt x="214" y="2013"/>
                    <a:pt x="206" y="2004"/>
                    <a:pt x="203" y="1993"/>
                  </a:cubicBezTo>
                  <a:cubicBezTo>
                    <a:pt x="200" y="1982"/>
                    <a:pt x="197" y="1970"/>
                    <a:pt x="192" y="1962"/>
                  </a:cubicBezTo>
                  <a:cubicBezTo>
                    <a:pt x="186" y="1954"/>
                    <a:pt x="183" y="1943"/>
                    <a:pt x="178" y="1934"/>
                  </a:cubicBezTo>
                  <a:cubicBezTo>
                    <a:pt x="172" y="1926"/>
                    <a:pt x="166" y="1918"/>
                    <a:pt x="161" y="1906"/>
                  </a:cubicBezTo>
                  <a:cubicBezTo>
                    <a:pt x="155" y="1895"/>
                    <a:pt x="155" y="1887"/>
                    <a:pt x="152" y="1875"/>
                  </a:cubicBezTo>
                  <a:cubicBezTo>
                    <a:pt x="149" y="1864"/>
                    <a:pt x="144" y="1856"/>
                    <a:pt x="141" y="1844"/>
                  </a:cubicBezTo>
                  <a:cubicBezTo>
                    <a:pt x="138" y="1833"/>
                    <a:pt x="130" y="1824"/>
                    <a:pt x="127" y="1815"/>
                  </a:cubicBezTo>
                  <a:cubicBezTo>
                    <a:pt x="124" y="1807"/>
                    <a:pt x="103" y="1796"/>
                    <a:pt x="101" y="1784"/>
                  </a:cubicBezTo>
                  <a:cubicBezTo>
                    <a:pt x="98" y="1773"/>
                    <a:pt x="99" y="1762"/>
                    <a:pt x="96" y="1753"/>
                  </a:cubicBezTo>
                  <a:cubicBezTo>
                    <a:pt x="93" y="1745"/>
                    <a:pt x="87" y="1733"/>
                    <a:pt x="85" y="1722"/>
                  </a:cubicBezTo>
                  <a:cubicBezTo>
                    <a:pt x="82" y="1711"/>
                    <a:pt x="79" y="1702"/>
                    <a:pt x="79" y="1691"/>
                  </a:cubicBezTo>
                  <a:cubicBezTo>
                    <a:pt x="79" y="1680"/>
                    <a:pt x="73" y="1671"/>
                    <a:pt x="73" y="1660"/>
                  </a:cubicBezTo>
                  <a:cubicBezTo>
                    <a:pt x="73" y="1649"/>
                    <a:pt x="65" y="1640"/>
                    <a:pt x="62" y="1629"/>
                  </a:cubicBezTo>
                  <a:cubicBezTo>
                    <a:pt x="59" y="1618"/>
                    <a:pt x="58" y="1609"/>
                    <a:pt x="56" y="1598"/>
                  </a:cubicBezTo>
                  <a:cubicBezTo>
                    <a:pt x="53" y="1587"/>
                    <a:pt x="56" y="1576"/>
                    <a:pt x="54" y="1567"/>
                  </a:cubicBezTo>
                  <a:cubicBezTo>
                    <a:pt x="51" y="1559"/>
                    <a:pt x="54" y="1544"/>
                    <a:pt x="51" y="1536"/>
                  </a:cubicBezTo>
                  <a:cubicBezTo>
                    <a:pt x="48" y="1528"/>
                    <a:pt x="45" y="1513"/>
                    <a:pt x="45" y="1502"/>
                  </a:cubicBezTo>
                  <a:cubicBezTo>
                    <a:pt x="45" y="1491"/>
                    <a:pt x="42" y="1480"/>
                    <a:pt x="42" y="1471"/>
                  </a:cubicBezTo>
                  <a:cubicBezTo>
                    <a:pt x="42" y="1463"/>
                    <a:pt x="42" y="1449"/>
                    <a:pt x="42" y="1440"/>
                  </a:cubicBezTo>
                  <a:cubicBezTo>
                    <a:pt x="42" y="1432"/>
                    <a:pt x="39" y="1418"/>
                    <a:pt x="39" y="1406"/>
                  </a:cubicBezTo>
                  <a:cubicBezTo>
                    <a:pt x="39" y="1395"/>
                    <a:pt x="39" y="1384"/>
                    <a:pt x="39" y="1375"/>
                  </a:cubicBezTo>
                  <a:cubicBezTo>
                    <a:pt x="39" y="1367"/>
                    <a:pt x="37" y="1353"/>
                    <a:pt x="37" y="1345"/>
                  </a:cubicBezTo>
                  <a:cubicBezTo>
                    <a:pt x="37" y="1336"/>
                    <a:pt x="37" y="1322"/>
                    <a:pt x="37" y="1314"/>
                  </a:cubicBezTo>
                  <a:cubicBezTo>
                    <a:pt x="37" y="1305"/>
                    <a:pt x="39" y="1291"/>
                    <a:pt x="42" y="1283"/>
                  </a:cubicBezTo>
                  <a:cubicBezTo>
                    <a:pt x="45" y="1274"/>
                    <a:pt x="39" y="1257"/>
                    <a:pt x="39" y="1246"/>
                  </a:cubicBezTo>
                  <a:cubicBezTo>
                    <a:pt x="39" y="1234"/>
                    <a:pt x="39" y="1223"/>
                    <a:pt x="42" y="1215"/>
                  </a:cubicBezTo>
                  <a:cubicBezTo>
                    <a:pt x="45" y="1206"/>
                    <a:pt x="48" y="1195"/>
                    <a:pt x="51" y="1184"/>
                  </a:cubicBezTo>
                  <a:cubicBezTo>
                    <a:pt x="54" y="1172"/>
                    <a:pt x="53" y="1161"/>
                    <a:pt x="56" y="1153"/>
                  </a:cubicBezTo>
                  <a:cubicBezTo>
                    <a:pt x="58" y="1144"/>
                    <a:pt x="59" y="1130"/>
                    <a:pt x="62" y="1122"/>
                  </a:cubicBezTo>
                  <a:cubicBezTo>
                    <a:pt x="65" y="1113"/>
                    <a:pt x="68" y="1100"/>
                    <a:pt x="68" y="1089"/>
                  </a:cubicBezTo>
                  <a:cubicBezTo>
                    <a:pt x="68" y="1077"/>
                    <a:pt x="70" y="1065"/>
                    <a:pt x="73" y="1057"/>
                  </a:cubicBezTo>
                  <a:cubicBezTo>
                    <a:pt x="76" y="1048"/>
                    <a:pt x="76" y="1034"/>
                    <a:pt x="79" y="1026"/>
                  </a:cubicBezTo>
                  <a:cubicBezTo>
                    <a:pt x="82" y="1017"/>
                    <a:pt x="90" y="1006"/>
                    <a:pt x="93" y="995"/>
                  </a:cubicBezTo>
                  <a:cubicBezTo>
                    <a:pt x="96" y="983"/>
                    <a:pt x="98" y="972"/>
                    <a:pt x="101" y="964"/>
                  </a:cubicBezTo>
                  <a:cubicBezTo>
                    <a:pt x="103" y="955"/>
                    <a:pt x="104" y="941"/>
                    <a:pt x="110" y="933"/>
                  </a:cubicBezTo>
                  <a:cubicBezTo>
                    <a:pt x="116" y="924"/>
                    <a:pt x="118" y="913"/>
                    <a:pt x="121" y="902"/>
                  </a:cubicBezTo>
                  <a:cubicBezTo>
                    <a:pt x="124" y="890"/>
                    <a:pt x="132" y="882"/>
                    <a:pt x="135" y="874"/>
                  </a:cubicBezTo>
                  <a:cubicBezTo>
                    <a:pt x="137" y="865"/>
                    <a:pt x="141" y="854"/>
                    <a:pt x="147" y="843"/>
                  </a:cubicBezTo>
                  <a:cubicBezTo>
                    <a:pt x="152" y="832"/>
                    <a:pt x="152" y="820"/>
                    <a:pt x="158" y="812"/>
                  </a:cubicBezTo>
                  <a:cubicBezTo>
                    <a:pt x="164" y="803"/>
                    <a:pt x="166" y="792"/>
                    <a:pt x="172" y="781"/>
                  </a:cubicBezTo>
                  <a:cubicBezTo>
                    <a:pt x="178" y="770"/>
                    <a:pt x="183" y="761"/>
                    <a:pt x="189" y="753"/>
                  </a:cubicBezTo>
                  <a:cubicBezTo>
                    <a:pt x="195" y="744"/>
                    <a:pt x="200" y="733"/>
                    <a:pt x="206" y="725"/>
                  </a:cubicBezTo>
                  <a:cubicBezTo>
                    <a:pt x="212" y="716"/>
                    <a:pt x="217" y="705"/>
                    <a:pt x="223" y="694"/>
                  </a:cubicBezTo>
                  <a:cubicBezTo>
                    <a:pt x="228" y="682"/>
                    <a:pt x="234" y="673"/>
                    <a:pt x="240" y="665"/>
                  </a:cubicBezTo>
                  <a:cubicBezTo>
                    <a:pt x="245" y="656"/>
                    <a:pt x="251" y="645"/>
                    <a:pt x="257" y="637"/>
                  </a:cubicBezTo>
                  <a:cubicBezTo>
                    <a:pt x="262" y="628"/>
                    <a:pt x="270" y="617"/>
                    <a:pt x="276" y="609"/>
                  </a:cubicBezTo>
                  <a:cubicBezTo>
                    <a:pt x="281" y="601"/>
                    <a:pt x="287" y="589"/>
                    <a:pt x="296" y="581"/>
                  </a:cubicBezTo>
                  <a:cubicBezTo>
                    <a:pt x="304" y="572"/>
                    <a:pt x="313" y="563"/>
                    <a:pt x="319" y="555"/>
                  </a:cubicBezTo>
                  <a:cubicBezTo>
                    <a:pt x="324" y="546"/>
                    <a:pt x="330" y="535"/>
                    <a:pt x="339" y="527"/>
                  </a:cubicBezTo>
                  <a:cubicBezTo>
                    <a:pt x="347" y="518"/>
                    <a:pt x="355" y="510"/>
                    <a:pt x="361" y="502"/>
                  </a:cubicBezTo>
                  <a:cubicBezTo>
                    <a:pt x="367" y="493"/>
                    <a:pt x="378" y="484"/>
                    <a:pt x="384" y="476"/>
                  </a:cubicBezTo>
                  <a:cubicBezTo>
                    <a:pt x="389" y="467"/>
                    <a:pt x="394" y="456"/>
                    <a:pt x="403" y="448"/>
                  </a:cubicBezTo>
                  <a:cubicBezTo>
                    <a:pt x="411" y="439"/>
                    <a:pt x="420" y="434"/>
                    <a:pt x="429" y="426"/>
                  </a:cubicBezTo>
                  <a:cubicBezTo>
                    <a:pt x="437" y="417"/>
                    <a:pt x="442" y="405"/>
                    <a:pt x="451" y="400"/>
                  </a:cubicBezTo>
                  <a:cubicBezTo>
                    <a:pt x="459" y="394"/>
                    <a:pt x="471" y="388"/>
                    <a:pt x="480" y="380"/>
                  </a:cubicBezTo>
                  <a:cubicBezTo>
                    <a:pt x="488" y="371"/>
                    <a:pt x="493" y="364"/>
                    <a:pt x="502" y="358"/>
                  </a:cubicBezTo>
                  <a:cubicBezTo>
                    <a:pt x="510" y="352"/>
                    <a:pt x="519" y="343"/>
                    <a:pt x="528" y="338"/>
                  </a:cubicBezTo>
                  <a:cubicBezTo>
                    <a:pt x="536" y="332"/>
                    <a:pt x="544" y="323"/>
                    <a:pt x="553" y="318"/>
                  </a:cubicBezTo>
                  <a:cubicBezTo>
                    <a:pt x="561" y="312"/>
                    <a:pt x="566" y="302"/>
                    <a:pt x="578" y="296"/>
                  </a:cubicBezTo>
                  <a:cubicBezTo>
                    <a:pt x="589" y="290"/>
                    <a:pt x="595" y="285"/>
                    <a:pt x="607" y="279"/>
                  </a:cubicBezTo>
                  <a:cubicBezTo>
                    <a:pt x="618" y="273"/>
                    <a:pt x="623" y="264"/>
                    <a:pt x="632" y="259"/>
                  </a:cubicBezTo>
                  <a:cubicBezTo>
                    <a:pt x="640" y="253"/>
                    <a:pt x="651" y="251"/>
                    <a:pt x="660" y="245"/>
                  </a:cubicBezTo>
                  <a:cubicBezTo>
                    <a:pt x="668" y="239"/>
                    <a:pt x="676" y="231"/>
                    <a:pt x="688" y="228"/>
                  </a:cubicBezTo>
                  <a:cubicBezTo>
                    <a:pt x="699" y="225"/>
                    <a:pt x="705" y="216"/>
                    <a:pt x="717" y="211"/>
                  </a:cubicBezTo>
                  <a:cubicBezTo>
                    <a:pt x="728" y="205"/>
                    <a:pt x="736" y="203"/>
                    <a:pt x="745" y="197"/>
                  </a:cubicBezTo>
                  <a:cubicBezTo>
                    <a:pt x="753" y="191"/>
                    <a:pt x="762" y="186"/>
                    <a:pt x="773" y="180"/>
                  </a:cubicBezTo>
                  <a:cubicBezTo>
                    <a:pt x="782" y="175"/>
                    <a:pt x="792" y="172"/>
                    <a:pt x="801" y="166"/>
                  </a:cubicBezTo>
                  <a:cubicBezTo>
                    <a:pt x="809" y="160"/>
                    <a:pt x="820" y="160"/>
                    <a:pt x="832" y="155"/>
                  </a:cubicBezTo>
                  <a:cubicBezTo>
                    <a:pt x="843" y="149"/>
                    <a:pt x="852" y="144"/>
                    <a:pt x="861" y="141"/>
                  </a:cubicBezTo>
                  <a:cubicBezTo>
                    <a:pt x="869" y="138"/>
                    <a:pt x="880" y="132"/>
                    <a:pt x="889" y="127"/>
                  </a:cubicBezTo>
                  <a:cubicBezTo>
                    <a:pt x="897" y="121"/>
                    <a:pt x="908" y="117"/>
                    <a:pt x="920" y="115"/>
                  </a:cubicBezTo>
                  <a:cubicBezTo>
                    <a:pt x="931" y="112"/>
                    <a:pt x="942" y="113"/>
                    <a:pt x="951" y="107"/>
                  </a:cubicBezTo>
                  <a:cubicBezTo>
                    <a:pt x="959" y="101"/>
                    <a:pt x="971" y="98"/>
                    <a:pt x="982" y="96"/>
                  </a:cubicBezTo>
                  <a:cubicBezTo>
                    <a:pt x="993" y="93"/>
                    <a:pt x="1002" y="90"/>
                    <a:pt x="1013" y="87"/>
                  </a:cubicBezTo>
                  <a:cubicBezTo>
                    <a:pt x="1024" y="84"/>
                    <a:pt x="1033" y="79"/>
                    <a:pt x="1044" y="76"/>
                  </a:cubicBezTo>
                  <a:cubicBezTo>
                    <a:pt x="1055" y="73"/>
                    <a:pt x="1066" y="73"/>
                    <a:pt x="1075" y="70"/>
                  </a:cubicBezTo>
                  <a:cubicBezTo>
                    <a:pt x="1083" y="67"/>
                    <a:pt x="1095" y="65"/>
                    <a:pt x="1106" y="62"/>
                  </a:cubicBezTo>
                  <a:cubicBezTo>
                    <a:pt x="1117" y="59"/>
                    <a:pt x="1129" y="59"/>
                    <a:pt x="1137" y="59"/>
                  </a:cubicBezTo>
                  <a:cubicBezTo>
                    <a:pt x="1145" y="59"/>
                    <a:pt x="1157" y="56"/>
                    <a:pt x="1168" y="53"/>
                  </a:cubicBezTo>
                  <a:cubicBezTo>
                    <a:pt x="1179" y="50"/>
                    <a:pt x="1188" y="50"/>
                    <a:pt x="1199" y="48"/>
                  </a:cubicBezTo>
                  <a:cubicBezTo>
                    <a:pt x="1210" y="45"/>
                    <a:pt x="1219" y="42"/>
                    <a:pt x="1230" y="42"/>
                  </a:cubicBezTo>
                  <a:cubicBezTo>
                    <a:pt x="1241" y="42"/>
                    <a:pt x="1252" y="45"/>
                    <a:pt x="1261" y="45"/>
                  </a:cubicBezTo>
                  <a:cubicBezTo>
                    <a:pt x="1269" y="45"/>
                    <a:pt x="1287" y="36"/>
                    <a:pt x="1298" y="36"/>
                  </a:cubicBezTo>
                  <a:cubicBezTo>
                    <a:pt x="1309" y="36"/>
                    <a:pt x="1320" y="36"/>
                    <a:pt x="1329" y="36"/>
                  </a:cubicBezTo>
                  <a:cubicBezTo>
                    <a:pt x="1337" y="36"/>
                    <a:pt x="1351" y="36"/>
                    <a:pt x="1360" y="36"/>
                  </a:cubicBezTo>
                  <a:cubicBezTo>
                    <a:pt x="1368" y="36"/>
                    <a:pt x="1382" y="36"/>
                    <a:pt x="1390" y="36"/>
                  </a:cubicBezTo>
                  <a:cubicBezTo>
                    <a:pt x="1398" y="36"/>
                    <a:pt x="1416" y="36"/>
                    <a:pt x="1427" y="36"/>
                  </a:cubicBezTo>
                  <a:cubicBezTo>
                    <a:pt x="1439" y="36"/>
                    <a:pt x="1450" y="39"/>
                    <a:pt x="1458" y="39"/>
                  </a:cubicBezTo>
                  <a:cubicBezTo>
                    <a:pt x="1467" y="39"/>
                    <a:pt x="1481" y="39"/>
                    <a:pt x="1489" y="39"/>
                  </a:cubicBezTo>
                  <a:cubicBezTo>
                    <a:pt x="1498" y="39"/>
                    <a:pt x="1512" y="42"/>
                    <a:pt x="1520" y="45"/>
                  </a:cubicBezTo>
                  <a:cubicBezTo>
                    <a:pt x="1529" y="48"/>
                    <a:pt x="1543" y="45"/>
                    <a:pt x="1551" y="48"/>
                  </a:cubicBezTo>
                  <a:cubicBezTo>
                    <a:pt x="1560" y="50"/>
                    <a:pt x="1574" y="50"/>
                    <a:pt x="1582" y="50"/>
                  </a:cubicBezTo>
                  <a:cubicBezTo>
                    <a:pt x="1591" y="50"/>
                    <a:pt x="1605" y="53"/>
                    <a:pt x="1613" y="56"/>
                  </a:cubicBezTo>
                  <a:cubicBezTo>
                    <a:pt x="1622" y="59"/>
                    <a:pt x="1636" y="59"/>
                    <a:pt x="1644" y="62"/>
                  </a:cubicBezTo>
                  <a:cubicBezTo>
                    <a:pt x="1653" y="65"/>
                    <a:pt x="1667" y="67"/>
                    <a:pt x="1675" y="67"/>
                  </a:cubicBezTo>
                  <a:cubicBezTo>
                    <a:pt x="1683" y="67"/>
                    <a:pt x="1695" y="73"/>
                    <a:pt x="1706" y="76"/>
                  </a:cubicBezTo>
                  <a:cubicBezTo>
                    <a:pt x="1717" y="79"/>
                    <a:pt x="1726" y="81"/>
                    <a:pt x="1737" y="84"/>
                  </a:cubicBezTo>
                  <a:cubicBezTo>
                    <a:pt x="1748" y="87"/>
                    <a:pt x="1757" y="93"/>
                    <a:pt x="1768" y="98"/>
                  </a:cubicBezTo>
                  <a:cubicBezTo>
                    <a:pt x="1779" y="104"/>
                    <a:pt x="1788" y="104"/>
                    <a:pt x="1799" y="107"/>
                  </a:cubicBezTo>
                  <a:cubicBezTo>
                    <a:pt x="1810" y="110"/>
                    <a:pt x="1822" y="112"/>
                    <a:pt x="1830" y="115"/>
                  </a:cubicBezTo>
                  <a:cubicBezTo>
                    <a:pt x="1839" y="117"/>
                    <a:pt x="1850" y="126"/>
                    <a:pt x="1861" y="129"/>
                  </a:cubicBezTo>
                  <a:cubicBezTo>
                    <a:pt x="1872" y="131"/>
                    <a:pt x="1881" y="138"/>
                    <a:pt x="1892" y="141"/>
                  </a:cubicBezTo>
                  <a:cubicBezTo>
                    <a:pt x="1904" y="144"/>
                    <a:pt x="1912" y="152"/>
                    <a:pt x="1923" y="155"/>
                  </a:cubicBezTo>
                  <a:cubicBezTo>
                    <a:pt x="1935" y="158"/>
                    <a:pt x="1946" y="160"/>
                    <a:pt x="1954" y="166"/>
                  </a:cubicBezTo>
                  <a:cubicBezTo>
                    <a:pt x="1963" y="172"/>
                    <a:pt x="1975" y="177"/>
                    <a:pt x="1983" y="183"/>
                  </a:cubicBezTo>
                  <a:cubicBezTo>
                    <a:pt x="1992" y="189"/>
                    <a:pt x="2003" y="194"/>
                    <a:pt x="2014" y="200"/>
                  </a:cubicBezTo>
                  <a:cubicBezTo>
                    <a:pt x="2026" y="206"/>
                    <a:pt x="2034" y="211"/>
                    <a:pt x="2045" y="217"/>
                  </a:cubicBezTo>
                  <a:cubicBezTo>
                    <a:pt x="2057" y="223"/>
                    <a:pt x="2065" y="231"/>
                    <a:pt x="2073" y="237"/>
                  </a:cubicBezTo>
                  <a:cubicBezTo>
                    <a:pt x="2082" y="242"/>
                    <a:pt x="2093" y="248"/>
                    <a:pt x="2104" y="254"/>
                  </a:cubicBezTo>
                  <a:cubicBezTo>
                    <a:pt x="2115" y="259"/>
                    <a:pt x="2124" y="267"/>
                    <a:pt x="2132" y="273"/>
                  </a:cubicBezTo>
                  <a:cubicBezTo>
                    <a:pt x="2141" y="278"/>
                    <a:pt x="2152" y="287"/>
                    <a:pt x="2160" y="293"/>
                  </a:cubicBezTo>
                  <a:cubicBezTo>
                    <a:pt x="2169" y="299"/>
                    <a:pt x="2180" y="304"/>
                    <a:pt x="2189" y="313"/>
                  </a:cubicBezTo>
                  <a:cubicBezTo>
                    <a:pt x="2197" y="318"/>
                    <a:pt x="2209" y="324"/>
                    <a:pt x="2217" y="333"/>
                  </a:cubicBezTo>
                  <a:cubicBezTo>
                    <a:pt x="2226" y="341"/>
                    <a:pt x="2231" y="349"/>
                    <a:pt x="2239" y="358"/>
                  </a:cubicBezTo>
                  <a:cubicBezTo>
                    <a:pt x="2248" y="366"/>
                    <a:pt x="2257" y="371"/>
                    <a:pt x="2265" y="380"/>
                  </a:cubicBezTo>
                  <a:cubicBezTo>
                    <a:pt x="2274" y="388"/>
                    <a:pt x="2285" y="391"/>
                    <a:pt x="2293" y="400"/>
                  </a:cubicBezTo>
                  <a:cubicBezTo>
                    <a:pt x="2302" y="408"/>
                    <a:pt x="2307" y="417"/>
                    <a:pt x="2315" y="426"/>
                  </a:cubicBezTo>
                  <a:cubicBezTo>
                    <a:pt x="2324" y="434"/>
                    <a:pt x="2330" y="443"/>
                    <a:pt x="2335" y="451"/>
                  </a:cubicBezTo>
                  <a:cubicBezTo>
                    <a:pt x="2341" y="459"/>
                    <a:pt x="2353" y="465"/>
                    <a:pt x="2361" y="474"/>
                  </a:cubicBezTo>
                  <a:cubicBezTo>
                    <a:pt x="2370" y="482"/>
                    <a:pt x="2372" y="491"/>
                    <a:pt x="2380" y="499"/>
                  </a:cubicBezTo>
                  <a:cubicBezTo>
                    <a:pt x="2389" y="507"/>
                    <a:pt x="2395" y="515"/>
                    <a:pt x="2403" y="524"/>
                  </a:cubicBezTo>
                  <a:cubicBezTo>
                    <a:pt x="2412" y="532"/>
                    <a:pt x="2418" y="541"/>
                    <a:pt x="2426" y="550"/>
                  </a:cubicBezTo>
                  <a:cubicBezTo>
                    <a:pt x="2435" y="558"/>
                    <a:pt x="2437" y="569"/>
                    <a:pt x="2442" y="578"/>
                  </a:cubicBezTo>
                  <a:cubicBezTo>
                    <a:pt x="2448" y="586"/>
                    <a:pt x="2457" y="594"/>
                    <a:pt x="2465" y="603"/>
                  </a:cubicBezTo>
                  <a:cubicBezTo>
                    <a:pt x="2474" y="611"/>
                    <a:pt x="2474" y="623"/>
                    <a:pt x="2479" y="632"/>
                  </a:cubicBezTo>
                  <a:cubicBezTo>
                    <a:pt x="2485" y="640"/>
                    <a:pt x="2493" y="648"/>
                    <a:pt x="2499" y="657"/>
                  </a:cubicBezTo>
                  <a:cubicBezTo>
                    <a:pt x="2505" y="665"/>
                    <a:pt x="2507" y="676"/>
                    <a:pt x="2513" y="685"/>
                  </a:cubicBezTo>
                  <a:cubicBezTo>
                    <a:pt x="2519" y="693"/>
                    <a:pt x="2527" y="701"/>
                    <a:pt x="2530" y="713"/>
                  </a:cubicBezTo>
                  <a:cubicBezTo>
                    <a:pt x="2533" y="724"/>
                    <a:pt x="2541" y="730"/>
                    <a:pt x="2547" y="742"/>
                  </a:cubicBezTo>
                  <a:cubicBezTo>
                    <a:pt x="2553" y="753"/>
                    <a:pt x="2553" y="761"/>
                    <a:pt x="2558" y="773"/>
                  </a:cubicBezTo>
                  <a:cubicBezTo>
                    <a:pt x="2564" y="784"/>
                    <a:pt x="2567" y="792"/>
                    <a:pt x="2572" y="801"/>
                  </a:cubicBezTo>
                  <a:cubicBezTo>
                    <a:pt x="2578" y="809"/>
                    <a:pt x="2581" y="821"/>
                    <a:pt x="2586" y="829"/>
                  </a:cubicBezTo>
                  <a:cubicBezTo>
                    <a:pt x="2592" y="837"/>
                    <a:pt x="2598" y="846"/>
                    <a:pt x="2603" y="857"/>
                  </a:cubicBezTo>
                  <a:cubicBezTo>
                    <a:pt x="2609" y="868"/>
                    <a:pt x="2607" y="879"/>
                    <a:pt x="2612" y="888"/>
                  </a:cubicBezTo>
                  <a:cubicBezTo>
                    <a:pt x="2618" y="896"/>
                    <a:pt x="2623" y="907"/>
                    <a:pt x="2626" y="916"/>
                  </a:cubicBezTo>
                  <a:cubicBezTo>
                    <a:pt x="2629" y="924"/>
                    <a:pt x="2632" y="935"/>
                    <a:pt x="2634" y="947"/>
                  </a:cubicBezTo>
                  <a:cubicBezTo>
                    <a:pt x="2637" y="958"/>
                    <a:pt x="2644" y="967"/>
                    <a:pt x="2646" y="979"/>
                  </a:cubicBezTo>
                  <a:cubicBezTo>
                    <a:pt x="2649" y="990"/>
                    <a:pt x="2651" y="998"/>
                    <a:pt x="2654" y="1010"/>
                  </a:cubicBezTo>
                  <a:cubicBezTo>
                    <a:pt x="2657" y="1021"/>
                    <a:pt x="2663" y="1029"/>
                    <a:pt x="2663" y="1041"/>
                  </a:cubicBezTo>
                  <a:cubicBezTo>
                    <a:pt x="2663" y="1052"/>
                    <a:pt x="2665" y="1060"/>
                    <a:pt x="2668" y="1072"/>
                  </a:cubicBezTo>
                  <a:cubicBezTo>
                    <a:pt x="2671" y="1083"/>
                    <a:pt x="2671" y="1091"/>
                    <a:pt x="2674" y="1103"/>
                  </a:cubicBezTo>
                  <a:cubicBezTo>
                    <a:pt x="2677" y="1114"/>
                    <a:pt x="2677" y="1122"/>
                    <a:pt x="2679" y="1134"/>
                  </a:cubicBezTo>
                  <a:cubicBezTo>
                    <a:pt x="2682" y="1145"/>
                    <a:pt x="2685" y="1153"/>
                    <a:pt x="2685" y="1165"/>
                  </a:cubicBezTo>
                  <a:cubicBezTo>
                    <a:pt x="2685" y="1176"/>
                    <a:pt x="2688" y="1187"/>
                    <a:pt x="2688" y="1196"/>
                  </a:cubicBezTo>
                  <a:cubicBezTo>
                    <a:pt x="2688" y="1204"/>
                    <a:pt x="2691" y="1218"/>
                    <a:pt x="2691" y="1227"/>
                  </a:cubicBezTo>
                  <a:cubicBezTo>
                    <a:pt x="2691" y="1235"/>
                    <a:pt x="2696" y="1246"/>
                    <a:pt x="2696" y="1258"/>
                  </a:cubicBezTo>
                  <a:cubicBezTo>
                    <a:pt x="2696" y="1269"/>
                    <a:pt x="2694" y="1280"/>
                    <a:pt x="2694" y="1289"/>
                  </a:cubicBezTo>
                  <a:cubicBezTo>
                    <a:pt x="2694" y="1297"/>
                    <a:pt x="2696" y="1311"/>
                    <a:pt x="2696" y="1320"/>
                  </a:cubicBezTo>
                  <a:cubicBezTo>
                    <a:pt x="2696" y="1328"/>
                    <a:pt x="2699" y="1342"/>
                    <a:pt x="2699" y="1351"/>
                  </a:cubicBezTo>
                  <a:cubicBezTo>
                    <a:pt x="2699" y="1359"/>
                    <a:pt x="2702" y="1378"/>
                    <a:pt x="2699" y="1389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" name="Freeform 6"/>
            <p:cNvSpPr>
              <a:spLocks noChangeArrowheads="1"/>
            </p:cNvSpPr>
            <p:nvPr/>
          </p:nvSpPr>
          <p:spPr bwMode="auto">
            <a:xfrm>
              <a:off x="4498975" y="2205038"/>
              <a:ext cx="9525" cy="7937"/>
            </a:xfrm>
            <a:custGeom>
              <a:avLst/>
              <a:gdLst>
                <a:gd name="T0" fmla="*/ 14 w 26"/>
                <a:gd name="T1" fmla="*/ 0 h 23"/>
                <a:gd name="T2" fmla="*/ 0 w 26"/>
                <a:gd name="T3" fmla="*/ 8 h 23"/>
                <a:gd name="T4" fmla="*/ 0 w 26"/>
                <a:gd name="T5" fmla="*/ 22 h 23"/>
                <a:gd name="T6" fmla="*/ 3 w 26"/>
                <a:gd name="T7" fmla="*/ 22 h 23"/>
                <a:gd name="T8" fmla="*/ 14 w 26"/>
                <a:gd name="T9" fmla="*/ 22 h 23"/>
                <a:gd name="T10" fmla="*/ 14 w 26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3">
                  <a:moveTo>
                    <a:pt x="14" y="0"/>
                  </a:moveTo>
                  <a:cubicBezTo>
                    <a:pt x="8" y="3"/>
                    <a:pt x="6" y="5"/>
                    <a:pt x="0" y="8"/>
                  </a:cubicBezTo>
                  <a:lnTo>
                    <a:pt x="0" y="22"/>
                  </a:lnTo>
                  <a:lnTo>
                    <a:pt x="3" y="22"/>
                  </a:lnTo>
                  <a:cubicBezTo>
                    <a:pt x="6" y="22"/>
                    <a:pt x="11" y="22"/>
                    <a:pt x="14" y="22"/>
                  </a:cubicBezTo>
                  <a:cubicBezTo>
                    <a:pt x="23" y="19"/>
                    <a:pt x="25" y="3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" name="Freeform 7"/>
            <p:cNvSpPr>
              <a:spLocks noChangeArrowheads="1"/>
            </p:cNvSpPr>
            <p:nvPr/>
          </p:nvSpPr>
          <p:spPr bwMode="auto">
            <a:xfrm>
              <a:off x="4487863" y="2219325"/>
              <a:ext cx="3175" cy="3175"/>
            </a:xfrm>
            <a:custGeom>
              <a:avLst/>
              <a:gdLst>
                <a:gd name="T0" fmla="*/ 0 w 9"/>
                <a:gd name="T1" fmla="*/ 3 h 10"/>
                <a:gd name="T2" fmla="*/ 0 w 9"/>
                <a:gd name="T3" fmla="*/ 3 h 10"/>
                <a:gd name="T4" fmla="*/ 6 w 9"/>
                <a:gd name="T5" fmla="*/ 9 h 10"/>
                <a:gd name="T6" fmla="*/ 0 w 9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3"/>
                  </a:moveTo>
                  <a:lnTo>
                    <a:pt x="0" y="3"/>
                  </a:lnTo>
                  <a:cubicBezTo>
                    <a:pt x="3" y="6"/>
                    <a:pt x="3" y="9"/>
                    <a:pt x="6" y="9"/>
                  </a:cubicBezTo>
                  <a:cubicBezTo>
                    <a:pt x="8" y="6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" name="Freeform 8"/>
            <p:cNvSpPr>
              <a:spLocks noChangeArrowheads="1"/>
            </p:cNvSpPr>
            <p:nvPr/>
          </p:nvSpPr>
          <p:spPr bwMode="auto">
            <a:xfrm>
              <a:off x="4522788" y="2224088"/>
              <a:ext cx="3175" cy="3175"/>
            </a:xfrm>
            <a:custGeom>
              <a:avLst/>
              <a:gdLst>
                <a:gd name="T0" fmla="*/ 8 w 9"/>
                <a:gd name="T1" fmla="*/ 3 h 7"/>
                <a:gd name="T2" fmla="*/ 0 w 9"/>
                <a:gd name="T3" fmla="*/ 0 h 7"/>
                <a:gd name="T4" fmla="*/ 3 w 9"/>
                <a:gd name="T5" fmla="*/ 6 h 7"/>
                <a:gd name="T6" fmla="*/ 8 w 9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8" y="3"/>
                  </a:moveTo>
                  <a:cubicBezTo>
                    <a:pt x="6" y="3"/>
                    <a:pt x="6" y="0"/>
                    <a:pt x="0" y="0"/>
                  </a:cubicBezTo>
                  <a:cubicBezTo>
                    <a:pt x="0" y="3"/>
                    <a:pt x="3" y="3"/>
                    <a:pt x="3" y="6"/>
                  </a:cubicBezTo>
                  <a:cubicBezTo>
                    <a:pt x="8" y="6"/>
                    <a:pt x="8" y="6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" name="Freeform 9"/>
            <p:cNvSpPr>
              <a:spLocks noChangeArrowheads="1"/>
            </p:cNvSpPr>
            <p:nvPr/>
          </p:nvSpPr>
          <p:spPr bwMode="auto">
            <a:xfrm>
              <a:off x="3778250" y="2181225"/>
              <a:ext cx="14288" cy="11113"/>
            </a:xfrm>
            <a:custGeom>
              <a:avLst/>
              <a:gdLst>
                <a:gd name="T0" fmla="*/ 23 w 38"/>
                <a:gd name="T1" fmla="*/ 8 h 32"/>
                <a:gd name="T2" fmla="*/ 9 w 38"/>
                <a:gd name="T3" fmla="*/ 0 h 32"/>
                <a:gd name="T4" fmla="*/ 3 w 38"/>
                <a:gd name="T5" fmla="*/ 23 h 32"/>
                <a:gd name="T6" fmla="*/ 12 w 38"/>
                <a:gd name="T7" fmla="*/ 31 h 32"/>
                <a:gd name="T8" fmla="*/ 23 w 38"/>
                <a:gd name="T9" fmla="*/ 20 h 32"/>
                <a:gd name="T10" fmla="*/ 31 w 38"/>
                <a:gd name="T11" fmla="*/ 3 h 32"/>
                <a:gd name="T12" fmla="*/ 23 w 38"/>
                <a:gd name="T13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32">
                  <a:moveTo>
                    <a:pt x="23" y="8"/>
                  </a:moveTo>
                  <a:cubicBezTo>
                    <a:pt x="15" y="11"/>
                    <a:pt x="17" y="0"/>
                    <a:pt x="9" y="0"/>
                  </a:cubicBezTo>
                  <a:cubicBezTo>
                    <a:pt x="6" y="8"/>
                    <a:pt x="0" y="14"/>
                    <a:pt x="3" y="23"/>
                  </a:cubicBezTo>
                  <a:cubicBezTo>
                    <a:pt x="9" y="23"/>
                    <a:pt x="15" y="23"/>
                    <a:pt x="12" y="31"/>
                  </a:cubicBezTo>
                  <a:cubicBezTo>
                    <a:pt x="20" y="31"/>
                    <a:pt x="20" y="23"/>
                    <a:pt x="23" y="20"/>
                  </a:cubicBezTo>
                  <a:cubicBezTo>
                    <a:pt x="29" y="17"/>
                    <a:pt x="37" y="11"/>
                    <a:pt x="31" y="3"/>
                  </a:cubicBezTo>
                  <a:cubicBezTo>
                    <a:pt x="26" y="0"/>
                    <a:pt x="31" y="11"/>
                    <a:pt x="2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" name="Freeform 10"/>
            <p:cNvSpPr>
              <a:spLocks noChangeArrowheads="1"/>
            </p:cNvSpPr>
            <p:nvPr/>
          </p:nvSpPr>
          <p:spPr bwMode="auto">
            <a:xfrm>
              <a:off x="3813175" y="2162175"/>
              <a:ext cx="3175" cy="3175"/>
            </a:xfrm>
            <a:custGeom>
              <a:avLst/>
              <a:gdLst>
                <a:gd name="T0" fmla="*/ 2 w 9"/>
                <a:gd name="T1" fmla="*/ 0 h 10"/>
                <a:gd name="T2" fmla="*/ 0 w 9"/>
                <a:gd name="T3" fmla="*/ 9 h 10"/>
                <a:gd name="T4" fmla="*/ 5 w 9"/>
                <a:gd name="T5" fmla="*/ 9 h 10"/>
                <a:gd name="T6" fmla="*/ 2 w 9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2" y="0"/>
                  </a:moveTo>
                  <a:cubicBezTo>
                    <a:pt x="2" y="3"/>
                    <a:pt x="0" y="3"/>
                    <a:pt x="0" y="9"/>
                  </a:cubicBezTo>
                  <a:lnTo>
                    <a:pt x="5" y="9"/>
                  </a:lnTo>
                  <a:cubicBezTo>
                    <a:pt x="8" y="6"/>
                    <a:pt x="8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" name="Freeform 11"/>
            <p:cNvSpPr>
              <a:spLocks noChangeArrowheads="1"/>
            </p:cNvSpPr>
            <p:nvPr/>
          </p:nvSpPr>
          <p:spPr bwMode="auto">
            <a:xfrm>
              <a:off x="3767138" y="2208213"/>
              <a:ext cx="1587" cy="3175"/>
            </a:xfrm>
            <a:custGeom>
              <a:avLst/>
              <a:gdLst>
                <a:gd name="T0" fmla="*/ 3 w 4"/>
                <a:gd name="T1" fmla="*/ 6 h 10"/>
                <a:gd name="T2" fmla="*/ 3 w 4"/>
                <a:gd name="T3" fmla="*/ 9 h 10"/>
                <a:gd name="T4" fmla="*/ 0 w 4"/>
                <a:gd name="T5" fmla="*/ 0 h 10"/>
                <a:gd name="T6" fmla="*/ 3 w 4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6"/>
                  </a:moveTo>
                  <a:lnTo>
                    <a:pt x="3" y="9"/>
                  </a:lnTo>
                  <a:cubicBezTo>
                    <a:pt x="3" y="6"/>
                    <a:pt x="3" y="3"/>
                    <a:pt x="0" y="0"/>
                  </a:cubicBezTo>
                  <a:cubicBezTo>
                    <a:pt x="3" y="3"/>
                    <a:pt x="3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" name="Freeform 12"/>
            <p:cNvSpPr>
              <a:spLocks noChangeArrowheads="1"/>
            </p:cNvSpPr>
            <p:nvPr/>
          </p:nvSpPr>
          <p:spPr bwMode="auto">
            <a:xfrm>
              <a:off x="4486275" y="2189163"/>
              <a:ext cx="1588" cy="3175"/>
            </a:xfrm>
            <a:custGeom>
              <a:avLst/>
              <a:gdLst>
                <a:gd name="T0" fmla="*/ 0 w 4"/>
                <a:gd name="T1" fmla="*/ 0 h 10"/>
                <a:gd name="T2" fmla="*/ 3 w 4"/>
                <a:gd name="T3" fmla="*/ 9 h 10"/>
                <a:gd name="T4" fmla="*/ 3 w 4"/>
                <a:gd name="T5" fmla="*/ 9 h 10"/>
                <a:gd name="T6" fmla="*/ 0 w 4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0" y="0"/>
                  </a:moveTo>
                  <a:cubicBezTo>
                    <a:pt x="0" y="3"/>
                    <a:pt x="3" y="6"/>
                    <a:pt x="3" y="9"/>
                  </a:cubicBezTo>
                  <a:lnTo>
                    <a:pt x="3" y="9"/>
                  </a:lnTo>
                  <a:cubicBezTo>
                    <a:pt x="3" y="6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" name="Freeform 13"/>
            <p:cNvSpPr>
              <a:spLocks noChangeArrowheads="1"/>
            </p:cNvSpPr>
            <p:nvPr/>
          </p:nvSpPr>
          <p:spPr bwMode="auto">
            <a:xfrm>
              <a:off x="4456113" y="2189163"/>
              <a:ext cx="4762" cy="4762"/>
            </a:xfrm>
            <a:custGeom>
              <a:avLst/>
              <a:gdLst>
                <a:gd name="T0" fmla="*/ 8 w 12"/>
                <a:gd name="T1" fmla="*/ 0 h 13"/>
                <a:gd name="T2" fmla="*/ 0 w 12"/>
                <a:gd name="T3" fmla="*/ 3 h 13"/>
                <a:gd name="T4" fmla="*/ 8 w 12"/>
                <a:gd name="T5" fmla="*/ 12 h 13"/>
                <a:gd name="T6" fmla="*/ 8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8" y="0"/>
                  </a:moveTo>
                  <a:cubicBezTo>
                    <a:pt x="5" y="0"/>
                    <a:pt x="2" y="0"/>
                    <a:pt x="0" y="3"/>
                  </a:cubicBezTo>
                  <a:cubicBezTo>
                    <a:pt x="2" y="6"/>
                    <a:pt x="5" y="9"/>
                    <a:pt x="8" y="12"/>
                  </a:cubicBezTo>
                  <a:cubicBezTo>
                    <a:pt x="11" y="6"/>
                    <a:pt x="11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" name="Freeform 14"/>
            <p:cNvSpPr>
              <a:spLocks noChangeArrowheads="1"/>
            </p:cNvSpPr>
            <p:nvPr/>
          </p:nvSpPr>
          <p:spPr bwMode="auto">
            <a:xfrm>
              <a:off x="4443413" y="2971800"/>
              <a:ext cx="1587" cy="1588"/>
            </a:xfrm>
            <a:custGeom>
              <a:avLst/>
              <a:gdLst>
                <a:gd name="T0" fmla="*/ 2 w 3"/>
                <a:gd name="T1" fmla="*/ 3 h 4"/>
                <a:gd name="T2" fmla="*/ 2 w 3"/>
                <a:gd name="T3" fmla="*/ 3 h 4"/>
                <a:gd name="T4" fmla="*/ 2 w 3"/>
                <a:gd name="T5" fmla="*/ 3 h 4"/>
                <a:gd name="T6" fmla="*/ 0 w 3"/>
                <a:gd name="T7" fmla="*/ 3 h 4"/>
                <a:gd name="T8" fmla="*/ 2 w 3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2" y="3"/>
                  </a:moveTo>
                  <a:lnTo>
                    <a:pt x="2" y="3"/>
                  </a:lnTo>
                  <a:cubicBezTo>
                    <a:pt x="2" y="3"/>
                    <a:pt x="2" y="0"/>
                    <a:pt x="2" y="3"/>
                  </a:cubicBezTo>
                  <a:cubicBezTo>
                    <a:pt x="2" y="0"/>
                    <a:pt x="0" y="0"/>
                    <a:pt x="0" y="3"/>
                  </a:cubicBezTo>
                  <a:lnTo>
                    <a:pt x="2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" name="Freeform 15"/>
            <p:cNvSpPr>
              <a:spLocks noChangeArrowheads="1"/>
            </p:cNvSpPr>
            <p:nvPr/>
          </p:nvSpPr>
          <p:spPr bwMode="auto">
            <a:xfrm>
              <a:off x="4240213" y="3087688"/>
              <a:ext cx="3175" cy="1587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3 h 6"/>
                <a:gd name="T4" fmla="*/ 6 w 7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cubicBezTo>
                    <a:pt x="3" y="0"/>
                    <a:pt x="3" y="3"/>
                    <a:pt x="0" y="3"/>
                  </a:cubicBezTo>
                  <a:cubicBezTo>
                    <a:pt x="3" y="5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" name="Freeform 16"/>
            <p:cNvSpPr>
              <a:spLocks noChangeArrowheads="1"/>
            </p:cNvSpPr>
            <p:nvPr/>
          </p:nvSpPr>
          <p:spPr bwMode="auto">
            <a:xfrm>
              <a:off x="4340225" y="3033713"/>
              <a:ext cx="6350" cy="4762"/>
            </a:xfrm>
            <a:custGeom>
              <a:avLst/>
              <a:gdLst>
                <a:gd name="T0" fmla="*/ 0 w 18"/>
                <a:gd name="T1" fmla="*/ 11 h 12"/>
                <a:gd name="T2" fmla="*/ 17 w 18"/>
                <a:gd name="T3" fmla="*/ 0 h 12"/>
                <a:gd name="T4" fmla="*/ 0 w 18"/>
                <a:gd name="T5" fmla="*/ 8 h 12"/>
                <a:gd name="T6" fmla="*/ 0 w 18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2">
                  <a:moveTo>
                    <a:pt x="0" y="11"/>
                  </a:moveTo>
                  <a:cubicBezTo>
                    <a:pt x="11" y="11"/>
                    <a:pt x="14" y="8"/>
                    <a:pt x="17" y="0"/>
                  </a:cubicBezTo>
                  <a:cubicBezTo>
                    <a:pt x="11" y="2"/>
                    <a:pt x="5" y="5"/>
                    <a:pt x="0" y="8"/>
                  </a:cubicBezTo>
                  <a:cubicBezTo>
                    <a:pt x="0" y="11"/>
                    <a:pt x="0" y="11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" name="Freeform 17"/>
            <p:cNvSpPr>
              <a:spLocks noChangeArrowheads="1"/>
            </p:cNvSpPr>
            <p:nvPr/>
          </p:nvSpPr>
          <p:spPr bwMode="auto">
            <a:xfrm>
              <a:off x="4552950" y="2290763"/>
              <a:ext cx="15875" cy="6350"/>
            </a:xfrm>
            <a:custGeom>
              <a:avLst/>
              <a:gdLst>
                <a:gd name="T0" fmla="*/ 37 w 46"/>
                <a:gd name="T1" fmla="*/ 9 h 16"/>
                <a:gd name="T2" fmla="*/ 3 w 46"/>
                <a:gd name="T3" fmla="*/ 0 h 16"/>
                <a:gd name="T4" fmla="*/ 0 w 46"/>
                <a:gd name="T5" fmla="*/ 9 h 16"/>
                <a:gd name="T6" fmla="*/ 45 w 46"/>
                <a:gd name="T7" fmla="*/ 15 h 16"/>
                <a:gd name="T8" fmla="*/ 37 w 46"/>
                <a:gd name="T9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6">
                  <a:moveTo>
                    <a:pt x="37" y="9"/>
                  </a:moveTo>
                  <a:cubicBezTo>
                    <a:pt x="26" y="3"/>
                    <a:pt x="14" y="0"/>
                    <a:pt x="3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14" y="9"/>
                    <a:pt x="31" y="12"/>
                    <a:pt x="45" y="15"/>
                  </a:cubicBezTo>
                  <a:cubicBezTo>
                    <a:pt x="45" y="15"/>
                    <a:pt x="43" y="12"/>
                    <a:pt x="37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" name="Freeform 18"/>
            <p:cNvSpPr>
              <a:spLocks noChangeArrowheads="1"/>
            </p:cNvSpPr>
            <p:nvPr/>
          </p:nvSpPr>
          <p:spPr bwMode="auto">
            <a:xfrm>
              <a:off x="4624388" y="2436813"/>
              <a:ext cx="4762" cy="4762"/>
            </a:xfrm>
            <a:custGeom>
              <a:avLst/>
              <a:gdLst>
                <a:gd name="T0" fmla="*/ 0 w 15"/>
                <a:gd name="T1" fmla="*/ 0 h 15"/>
                <a:gd name="T2" fmla="*/ 0 w 15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0" y="0"/>
                  </a:moveTo>
                  <a:cubicBezTo>
                    <a:pt x="0" y="14"/>
                    <a:pt x="14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" name="Freeform 19"/>
            <p:cNvSpPr>
              <a:spLocks noChangeArrowheads="1"/>
            </p:cNvSpPr>
            <p:nvPr/>
          </p:nvSpPr>
          <p:spPr bwMode="auto">
            <a:xfrm>
              <a:off x="4443413" y="2170113"/>
              <a:ext cx="3175" cy="4762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11 h 15"/>
                <a:gd name="T4" fmla="*/ 0 w 9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lnTo>
                    <a:pt x="0" y="11"/>
                  </a:lnTo>
                  <a:cubicBezTo>
                    <a:pt x="8" y="14"/>
                    <a:pt x="8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" name="Freeform 20"/>
            <p:cNvSpPr>
              <a:spLocks noChangeArrowheads="1"/>
            </p:cNvSpPr>
            <p:nvPr/>
          </p:nvSpPr>
          <p:spPr bwMode="auto">
            <a:xfrm>
              <a:off x="4470400" y="2181225"/>
              <a:ext cx="4763" cy="4763"/>
            </a:xfrm>
            <a:custGeom>
              <a:avLst/>
              <a:gdLst>
                <a:gd name="T0" fmla="*/ 0 w 12"/>
                <a:gd name="T1" fmla="*/ 0 h 12"/>
                <a:gd name="T2" fmla="*/ 3 w 12"/>
                <a:gd name="T3" fmla="*/ 11 h 12"/>
                <a:gd name="T4" fmla="*/ 11 w 12"/>
                <a:gd name="T5" fmla="*/ 0 h 12"/>
                <a:gd name="T6" fmla="*/ 0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0" y="0"/>
                  </a:moveTo>
                  <a:cubicBezTo>
                    <a:pt x="0" y="6"/>
                    <a:pt x="3" y="6"/>
                    <a:pt x="3" y="11"/>
                  </a:cubicBezTo>
                  <a:cubicBezTo>
                    <a:pt x="8" y="11"/>
                    <a:pt x="11" y="8"/>
                    <a:pt x="11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" name="Freeform 21"/>
            <p:cNvSpPr>
              <a:spLocks noChangeArrowheads="1"/>
            </p:cNvSpPr>
            <p:nvPr/>
          </p:nvSpPr>
          <p:spPr bwMode="auto">
            <a:xfrm>
              <a:off x="4178300" y="3079750"/>
              <a:ext cx="11113" cy="4763"/>
            </a:xfrm>
            <a:custGeom>
              <a:avLst/>
              <a:gdLst>
                <a:gd name="T0" fmla="*/ 31 w 32"/>
                <a:gd name="T1" fmla="*/ 0 h 15"/>
                <a:gd name="T2" fmla="*/ 0 w 32"/>
                <a:gd name="T3" fmla="*/ 3 h 15"/>
                <a:gd name="T4" fmla="*/ 26 w 32"/>
                <a:gd name="T5" fmla="*/ 9 h 15"/>
                <a:gd name="T6" fmla="*/ 31 w 32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31" y="0"/>
                  </a:moveTo>
                  <a:cubicBezTo>
                    <a:pt x="20" y="0"/>
                    <a:pt x="9" y="3"/>
                    <a:pt x="0" y="3"/>
                  </a:cubicBezTo>
                  <a:cubicBezTo>
                    <a:pt x="6" y="12"/>
                    <a:pt x="17" y="14"/>
                    <a:pt x="26" y="9"/>
                  </a:cubicBezTo>
                  <a:cubicBezTo>
                    <a:pt x="26" y="9"/>
                    <a:pt x="29" y="3"/>
                    <a:pt x="3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" name="Freeform 22"/>
            <p:cNvSpPr>
              <a:spLocks noChangeArrowheads="1"/>
            </p:cNvSpPr>
            <p:nvPr/>
          </p:nvSpPr>
          <p:spPr bwMode="auto">
            <a:xfrm>
              <a:off x="4429125" y="2146300"/>
              <a:ext cx="6350" cy="7938"/>
            </a:xfrm>
            <a:custGeom>
              <a:avLst/>
              <a:gdLst>
                <a:gd name="T0" fmla="*/ 6 w 18"/>
                <a:gd name="T1" fmla="*/ 0 h 21"/>
                <a:gd name="T2" fmla="*/ 0 w 18"/>
                <a:gd name="T3" fmla="*/ 11 h 21"/>
                <a:gd name="T4" fmla="*/ 17 w 18"/>
                <a:gd name="T5" fmla="*/ 14 h 21"/>
                <a:gd name="T6" fmla="*/ 6 w 18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6" y="0"/>
                  </a:moveTo>
                  <a:cubicBezTo>
                    <a:pt x="3" y="6"/>
                    <a:pt x="0" y="9"/>
                    <a:pt x="0" y="11"/>
                  </a:cubicBezTo>
                  <a:cubicBezTo>
                    <a:pt x="9" y="11"/>
                    <a:pt x="11" y="20"/>
                    <a:pt x="17" y="14"/>
                  </a:cubicBezTo>
                  <a:cubicBezTo>
                    <a:pt x="14" y="9"/>
                    <a:pt x="14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" name="Freeform 23"/>
            <p:cNvSpPr>
              <a:spLocks noChangeArrowheads="1"/>
            </p:cNvSpPr>
            <p:nvPr/>
          </p:nvSpPr>
          <p:spPr bwMode="auto">
            <a:xfrm>
              <a:off x="4427538" y="2157413"/>
              <a:ext cx="4762" cy="4762"/>
            </a:xfrm>
            <a:custGeom>
              <a:avLst/>
              <a:gdLst>
                <a:gd name="T0" fmla="*/ 5 w 12"/>
                <a:gd name="T1" fmla="*/ 0 h 12"/>
                <a:gd name="T2" fmla="*/ 11 w 12"/>
                <a:gd name="T3" fmla="*/ 8 h 12"/>
                <a:gd name="T4" fmla="*/ 5 w 12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cubicBezTo>
                    <a:pt x="0" y="3"/>
                    <a:pt x="2" y="11"/>
                    <a:pt x="11" y="8"/>
                  </a:cubicBezTo>
                  <a:cubicBezTo>
                    <a:pt x="11" y="6"/>
                    <a:pt x="11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" name="Freeform 24"/>
            <p:cNvSpPr>
              <a:spLocks noChangeArrowheads="1"/>
            </p:cNvSpPr>
            <p:nvPr/>
          </p:nvSpPr>
          <p:spPr bwMode="auto">
            <a:xfrm>
              <a:off x="3709988" y="2262188"/>
              <a:ext cx="4762" cy="3175"/>
            </a:xfrm>
            <a:custGeom>
              <a:avLst/>
              <a:gdLst>
                <a:gd name="T0" fmla="*/ 11 w 12"/>
                <a:gd name="T1" fmla="*/ 8 h 9"/>
                <a:gd name="T2" fmla="*/ 11 w 12"/>
                <a:gd name="T3" fmla="*/ 0 h 9"/>
                <a:gd name="T4" fmla="*/ 2 w 12"/>
                <a:gd name="T5" fmla="*/ 0 h 9"/>
                <a:gd name="T6" fmla="*/ 11 w 12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11" y="8"/>
                  </a:moveTo>
                  <a:lnTo>
                    <a:pt x="11" y="0"/>
                  </a:lnTo>
                  <a:lnTo>
                    <a:pt x="2" y="0"/>
                  </a:lnTo>
                  <a:cubicBezTo>
                    <a:pt x="0" y="5"/>
                    <a:pt x="8" y="5"/>
                    <a:pt x="11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" name="Freeform 25"/>
            <p:cNvSpPr>
              <a:spLocks noChangeArrowheads="1"/>
            </p:cNvSpPr>
            <p:nvPr/>
          </p:nvSpPr>
          <p:spPr bwMode="auto">
            <a:xfrm>
              <a:off x="3632200" y="2360613"/>
              <a:ext cx="4763" cy="4762"/>
            </a:xfrm>
            <a:custGeom>
              <a:avLst/>
              <a:gdLst>
                <a:gd name="T0" fmla="*/ 9 w 15"/>
                <a:gd name="T1" fmla="*/ 0 h 15"/>
                <a:gd name="T2" fmla="*/ 9 w 15"/>
                <a:gd name="T3" fmla="*/ 14 h 15"/>
                <a:gd name="T4" fmla="*/ 9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0"/>
                  </a:moveTo>
                  <a:cubicBezTo>
                    <a:pt x="6" y="3"/>
                    <a:pt x="0" y="12"/>
                    <a:pt x="9" y="14"/>
                  </a:cubicBezTo>
                  <a:cubicBezTo>
                    <a:pt x="9" y="12"/>
                    <a:pt x="14" y="0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" name="Freeform 26"/>
            <p:cNvSpPr>
              <a:spLocks noChangeArrowheads="1"/>
            </p:cNvSpPr>
            <p:nvPr/>
          </p:nvSpPr>
          <p:spPr bwMode="auto">
            <a:xfrm>
              <a:off x="3644900" y="2398713"/>
              <a:ext cx="3175" cy="3175"/>
            </a:xfrm>
            <a:custGeom>
              <a:avLst/>
              <a:gdLst>
                <a:gd name="T0" fmla="*/ 0 w 7"/>
                <a:gd name="T1" fmla="*/ 0 h 10"/>
                <a:gd name="T2" fmla="*/ 6 w 7"/>
                <a:gd name="T3" fmla="*/ 9 h 10"/>
                <a:gd name="T4" fmla="*/ 3 w 7"/>
                <a:gd name="T5" fmla="*/ 3 h 10"/>
                <a:gd name="T6" fmla="*/ 0 w 7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0" y="0"/>
                  </a:moveTo>
                  <a:cubicBezTo>
                    <a:pt x="0" y="3"/>
                    <a:pt x="0" y="9"/>
                    <a:pt x="6" y="9"/>
                  </a:cubicBezTo>
                  <a:cubicBezTo>
                    <a:pt x="6" y="6"/>
                    <a:pt x="3" y="6"/>
                    <a:pt x="3" y="3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" name="Freeform 27"/>
            <p:cNvSpPr>
              <a:spLocks noChangeArrowheads="1"/>
            </p:cNvSpPr>
            <p:nvPr/>
          </p:nvSpPr>
          <p:spPr bwMode="auto">
            <a:xfrm>
              <a:off x="3641725" y="2335213"/>
              <a:ext cx="20638" cy="12700"/>
            </a:xfrm>
            <a:custGeom>
              <a:avLst/>
              <a:gdLst>
                <a:gd name="T0" fmla="*/ 0 w 58"/>
                <a:gd name="T1" fmla="*/ 36 h 37"/>
                <a:gd name="T2" fmla="*/ 57 w 58"/>
                <a:gd name="T3" fmla="*/ 5 h 37"/>
                <a:gd name="T4" fmla="*/ 54 w 58"/>
                <a:gd name="T5" fmla="*/ 0 h 37"/>
                <a:gd name="T6" fmla="*/ 0 w 58"/>
                <a:gd name="T7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37">
                  <a:moveTo>
                    <a:pt x="0" y="36"/>
                  </a:moveTo>
                  <a:cubicBezTo>
                    <a:pt x="15" y="20"/>
                    <a:pt x="34" y="8"/>
                    <a:pt x="57" y="5"/>
                  </a:cubicBezTo>
                  <a:cubicBezTo>
                    <a:pt x="57" y="3"/>
                    <a:pt x="57" y="3"/>
                    <a:pt x="54" y="0"/>
                  </a:cubicBezTo>
                  <a:cubicBezTo>
                    <a:pt x="34" y="5"/>
                    <a:pt x="15" y="20"/>
                    <a:pt x="0" y="3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" name="Freeform 28"/>
            <p:cNvSpPr>
              <a:spLocks noChangeArrowheads="1"/>
            </p:cNvSpPr>
            <p:nvPr/>
          </p:nvSpPr>
          <p:spPr bwMode="auto">
            <a:xfrm>
              <a:off x="3729038" y="2228850"/>
              <a:ext cx="4762" cy="3175"/>
            </a:xfrm>
            <a:custGeom>
              <a:avLst/>
              <a:gdLst>
                <a:gd name="T0" fmla="*/ 0 w 12"/>
                <a:gd name="T1" fmla="*/ 0 h 10"/>
                <a:gd name="T2" fmla="*/ 0 w 12"/>
                <a:gd name="T3" fmla="*/ 9 h 10"/>
                <a:gd name="T4" fmla="*/ 11 w 12"/>
                <a:gd name="T5" fmla="*/ 6 h 10"/>
                <a:gd name="T6" fmla="*/ 0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lnTo>
                    <a:pt x="0" y="9"/>
                  </a:lnTo>
                  <a:cubicBezTo>
                    <a:pt x="6" y="9"/>
                    <a:pt x="6" y="6"/>
                    <a:pt x="11" y="6"/>
                  </a:cubicBezTo>
                  <a:cubicBezTo>
                    <a:pt x="11" y="3"/>
                    <a:pt x="6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" name="Freeform 29"/>
            <p:cNvSpPr>
              <a:spLocks noChangeArrowheads="1"/>
            </p:cNvSpPr>
            <p:nvPr/>
          </p:nvSpPr>
          <p:spPr bwMode="auto">
            <a:xfrm>
              <a:off x="3648075" y="2382838"/>
              <a:ext cx="3175" cy="4762"/>
            </a:xfrm>
            <a:custGeom>
              <a:avLst/>
              <a:gdLst>
                <a:gd name="T0" fmla="*/ 3 w 7"/>
                <a:gd name="T1" fmla="*/ 0 h 12"/>
                <a:gd name="T2" fmla="*/ 3 w 7"/>
                <a:gd name="T3" fmla="*/ 0 h 12"/>
                <a:gd name="T4" fmla="*/ 0 w 7"/>
                <a:gd name="T5" fmla="*/ 0 h 12"/>
                <a:gd name="T6" fmla="*/ 3 w 7"/>
                <a:gd name="T7" fmla="*/ 0 h 12"/>
                <a:gd name="T8" fmla="*/ 6 w 7"/>
                <a:gd name="T9" fmla="*/ 11 h 12"/>
                <a:gd name="T10" fmla="*/ 6 w 7"/>
                <a:gd name="T11" fmla="*/ 11 h 12"/>
                <a:gd name="T12" fmla="*/ 6 w 7"/>
                <a:gd name="T13" fmla="*/ 9 h 12"/>
                <a:gd name="T14" fmla="*/ 3 w 7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2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cubicBezTo>
                    <a:pt x="0" y="0"/>
                    <a:pt x="0" y="3"/>
                    <a:pt x="3" y="0"/>
                  </a:cubicBezTo>
                  <a:cubicBezTo>
                    <a:pt x="3" y="6"/>
                    <a:pt x="6" y="9"/>
                    <a:pt x="6" y="11"/>
                  </a:cubicBezTo>
                  <a:lnTo>
                    <a:pt x="6" y="11"/>
                  </a:lnTo>
                  <a:lnTo>
                    <a:pt x="6" y="9"/>
                  </a:lnTo>
                  <a:cubicBezTo>
                    <a:pt x="6" y="6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" name="Freeform 30"/>
            <p:cNvSpPr>
              <a:spLocks noChangeArrowheads="1"/>
            </p:cNvSpPr>
            <p:nvPr/>
          </p:nvSpPr>
          <p:spPr bwMode="auto">
            <a:xfrm>
              <a:off x="3705225" y="2247900"/>
              <a:ext cx="7938" cy="9525"/>
            </a:xfrm>
            <a:custGeom>
              <a:avLst/>
              <a:gdLst>
                <a:gd name="T0" fmla="*/ 20 w 21"/>
                <a:gd name="T1" fmla="*/ 17 h 26"/>
                <a:gd name="T2" fmla="*/ 9 w 21"/>
                <a:gd name="T3" fmla="*/ 0 h 26"/>
                <a:gd name="T4" fmla="*/ 9 w 21"/>
                <a:gd name="T5" fmla="*/ 0 h 26"/>
                <a:gd name="T6" fmla="*/ 20 w 21"/>
                <a:gd name="T7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6">
                  <a:moveTo>
                    <a:pt x="20" y="17"/>
                  </a:moveTo>
                  <a:cubicBezTo>
                    <a:pt x="20" y="8"/>
                    <a:pt x="17" y="3"/>
                    <a:pt x="9" y="0"/>
                  </a:cubicBezTo>
                  <a:lnTo>
                    <a:pt x="9" y="0"/>
                  </a:lnTo>
                  <a:cubicBezTo>
                    <a:pt x="0" y="11"/>
                    <a:pt x="12" y="25"/>
                    <a:pt x="20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" name="Freeform 31"/>
            <p:cNvSpPr>
              <a:spLocks noChangeArrowheads="1"/>
            </p:cNvSpPr>
            <p:nvPr/>
          </p:nvSpPr>
          <p:spPr bwMode="auto">
            <a:xfrm>
              <a:off x="4056063" y="3094038"/>
              <a:ext cx="3175" cy="4762"/>
            </a:xfrm>
            <a:custGeom>
              <a:avLst/>
              <a:gdLst>
                <a:gd name="T0" fmla="*/ 0 w 9"/>
                <a:gd name="T1" fmla="*/ 0 h 15"/>
                <a:gd name="T2" fmla="*/ 3 w 9"/>
                <a:gd name="T3" fmla="*/ 11 h 15"/>
                <a:gd name="T4" fmla="*/ 3 w 9"/>
                <a:gd name="T5" fmla="*/ 11 h 15"/>
                <a:gd name="T6" fmla="*/ 8 w 9"/>
                <a:gd name="T7" fmla="*/ 14 h 15"/>
                <a:gd name="T8" fmla="*/ 0 w 9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0" y="0"/>
                  </a:moveTo>
                  <a:cubicBezTo>
                    <a:pt x="0" y="3"/>
                    <a:pt x="3" y="5"/>
                    <a:pt x="3" y="11"/>
                  </a:cubicBezTo>
                  <a:lnTo>
                    <a:pt x="3" y="11"/>
                  </a:lnTo>
                  <a:cubicBezTo>
                    <a:pt x="5" y="11"/>
                    <a:pt x="5" y="14"/>
                    <a:pt x="8" y="14"/>
                  </a:cubicBezTo>
                  <a:cubicBezTo>
                    <a:pt x="5" y="8"/>
                    <a:pt x="5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" name="Freeform 32"/>
            <p:cNvSpPr>
              <a:spLocks noChangeArrowheads="1"/>
            </p:cNvSpPr>
            <p:nvPr/>
          </p:nvSpPr>
          <p:spPr bwMode="auto">
            <a:xfrm>
              <a:off x="3660775" y="2317750"/>
              <a:ext cx="12700" cy="7938"/>
            </a:xfrm>
            <a:custGeom>
              <a:avLst/>
              <a:gdLst>
                <a:gd name="T0" fmla="*/ 3 w 35"/>
                <a:gd name="T1" fmla="*/ 0 h 23"/>
                <a:gd name="T2" fmla="*/ 0 w 35"/>
                <a:gd name="T3" fmla="*/ 14 h 23"/>
                <a:gd name="T4" fmla="*/ 6 w 35"/>
                <a:gd name="T5" fmla="*/ 14 h 23"/>
                <a:gd name="T6" fmla="*/ 20 w 35"/>
                <a:gd name="T7" fmla="*/ 22 h 23"/>
                <a:gd name="T8" fmla="*/ 31 w 35"/>
                <a:gd name="T9" fmla="*/ 8 h 23"/>
                <a:gd name="T10" fmla="*/ 3 w 35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23">
                  <a:moveTo>
                    <a:pt x="3" y="0"/>
                  </a:moveTo>
                  <a:cubicBezTo>
                    <a:pt x="3" y="5"/>
                    <a:pt x="0" y="8"/>
                    <a:pt x="0" y="14"/>
                  </a:cubicBezTo>
                  <a:cubicBezTo>
                    <a:pt x="3" y="14"/>
                    <a:pt x="3" y="14"/>
                    <a:pt x="6" y="14"/>
                  </a:cubicBezTo>
                  <a:cubicBezTo>
                    <a:pt x="6" y="20"/>
                    <a:pt x="14" y="22"/>
                    <a:pt x="20" y="22"/>
                  </a:cubicBezTo>
                  <a:cubicBezTo>
                    <a:pt x="17" y="14"/>
                    <a:pt x="34" y="17"/>
                    <a:pt x="31" y="8"/>
                  </a:cubicBezTo>
                  <a:cubicBezTo>
                    <a:pt x="28" y="0"/>
                    <a:pt x="14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" name="Freeform 33"/>
            <p:cNvSpPr>
              <a:spLocks noChangeArrowheads="1"/>
            </p:cNvSpPr>
            <p:nvPr/>
          </p:nvSpPr>
          <p:spPr bwMode="auto">
            <a:xfrm>
              <a:off x="3692525" y="2265363"/>
              <a:ext cx="1588" cy="3175"/>
            </a:xfrm>
            <a:custGeom>
              <a:avLst/>
              <a:gdLst>
                <a:gd name="T0" fmla="*/ 0 w 6"/>
                <a:gd name="T1" fmla="*/ 8 h 9"/>
                <a:gd name="T2" fmla="*/ 5 w 6"/>
                <a:gd name="T3" fmla="*/ 8 h 9"/>
                <a:gd name="T4" fmla="*/ 5 w 6"/>
                <a:gd name="T5" fmla="*/ 0 h 9"/>
                <a:gd name="T6" fmla="*/ 0 w 6"/>
                <a:gd name="T7" fmla="*/ 0 h 9"/>
                <a:gd name="T8" fmla="*/ 0 w 6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0" y="8"/>
                  </a:moveTo>
                  <a:lnTo>
                    <a:pt x="5" y="8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" name="Freeform 34"/>
            <p:cNvSpPr>
              <a:spLocks noChangeArrowheads="1"/>
            </p:cNvSpPr>
            <p:nvPr/>
          </p:nvSpPr>
          <p:spPr bwMode="auto">
            <a:xfrm>
              <a:off x="3605213" y="2652713"/>
              <a:ext cx="3175" cy="1587"/>
            </a:xfrm>
            <a:custGeom>
              <a:avLst/>
              <a:gdLst>
                <a:gd name="T0" fmla="*/ 0 w 9"/>
                <a:gd name="T1" fmla="*/ 0 h 6"/>
                <a:gd name="T2" fmla="*/ 4 w 9"/>
                <a:gd name="T3" fmla="*/ 2 h 6"/>
                <a:gd name="T4" fmla="*/ 0 w 9"/>
                <a:gd name="T5" fmla="*/ 0 h 6"/>
                <a:gd name="T6" fmla="*/ 8 w 9"/>
                <a:gd name="T7" fmla="*/ 5 h 6"/>
                <a:gd name="T8" fmla="*/ 4 w 9"/>
                <a:gd name="T9" fmla="*/ 2 h 6"/>
                <a:gd name="T10" fmla="*/ 8 w 9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6">
                  <a:moveTo>
                    <a:pt x="0" y="0"/>
                  </a:moveTo>
                  <a:cubicBezTo>
                    <a:pt x="2" y="1"/>
                    <a:pt x="3" y="2"/>
                    <a:pt x="4" y="2"/>
                  </a:cubicBezTo>
                  <a:cubicBezTo>
                    <a:pt x="3" y="2"/>
                    <a:pt x="1" y="1"/>
                    <a:pt x="0" y="0"/>
                  </a:cubicBezTo>
                  <a:close/>
                  <a:moveTo>
                    <a:pt x="8" y="5"/>
                  </a:moveTo>
                  <a:cubicBezTo>
                    <a:pt x="7" y="4"/>
                    <a:pt x="5" y="3"/>
                    <a:pt x="4" y="2"/>
                  </a:cubicBezTo>
                  <a:cubicBezTo>
                    <a:pt x="6" y="4"/>
                    <a:pt x="7" y="5"/>
                    <a:pt x="8" y="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" name="Freeform 35"/>
            <p:cNvSpPr>
              <a:spLocks noChangeArrowheads="1"/>
            </p:cNvSpPr>
            <p:nvPr/>
          </p:nvSpPr>
          <p:spPr bwMode="auto">
            <a:xfrm>
              <a:off x="3930650" y="2105025"/>
              <a:ext cx="4763" cy="3175"/>
            </a:xfrm>
            <a:custGeom>
              <a:avLst/>
              <a:gdLst>
                <a:gd name="T0" fmla="*/ 0 w 12"/>
                <a:gd name="T1" fmla="*/ 6 h 10"/>
                <a:gd name="T2" fmla="*/ 5 w 12"/>
                <a:gd name="T3" fmla="*/ 9 h 10"/>
                <a:gd name="T4" fmla="*/ 11 w 12"/>
                <a:gd name="T5" fmla="*/ 6 h 10"/>
                <a:gd name="T6" fmla="*/ 0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3" y="6"/>
                    <a:pt x="3" y="6"/>
                    <a:pt x="5" y="9"/>
                  </a:cubicBezTo>
                  <a:cubicBezTo>
                    <a:pt x="8" y="9"/>
                    <a:pt x="11" y="6"/>
                    <a:pt x="11" y="6"/>
                  </a:cubicBezTo>
                  <a:cubicBezTo>
                    <a:pt x="8" y="0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" name="Freeform 36"/>
            <p:cNvSpPr>
              <a:spLocks noChangeArrowheads="1"/>
            </p:cNvSpPr>
            <p:nvPr/>
          </p:nvSpPr>
          <p:spPr bwMode="auto">
            <a:xfrm>
              <a:off x="4491038" y="2947988"/>
              <a:ext cx="7937" cy="9525"/>
            </a:xfrm>
            <a:custGeom>
              <a:avLst/>
              <a:gdLst>
                <a:gd name="T0" fmla="*/ 0 w 24"/>
                <a:gd name="T1" fmla="*/ 14 h 27"/>
                <a:gd name="T2" fmla="*/ 23 w 24"/>
                <a:gd name="T3" fmla="*/ 14 h 27"/>
                <a:gd name="T4" fmla="*/ 14 w 24"/>
                <a:gd name="T5" fmla="*/ 0 h 27"/>
                <a:gd name="T6" fmla="*/ 0 w 24"/>
                <a:gd name="T7" fmla="*/ 0 h 27"/>
                <a:gd name="T8" fmla="*/ 0 w 24"/>
                <a:gd name="T9" fmla="*/ 3 h 27"/>
                <a:gd name="T10" fmla="*/ 0 w 24"/>
                <a:gd name="T11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7">
                  <a:moveTo>
                    <a:pt x="0" y="14"/>
                  </a:moveTo>
                  <a:cubicBezTo>
                    <a:pt x="3" y="23"/>
                    <a:pt x="20" y="26"/>
                    <a:pt x="23" y="14"/>
                  </a:cubicBezTo>
                  <a:cubicBezTo>
                    <a:pt x="20" y="9"/>
                    <a:pt x="17" y="6"/>
                    <a:pt x="14" y="0"/>
                  </a:cubicBezTo>
                  <a:lnTo>
                    <a:pt x="0" y="0"/>
                  </a:lnTo>
                  <a:lnTo>
                    <a:pt x="0" y="3"/>
                  </a:lnTo>
                  <a:cubicBezTo>
                    <a:pt x="0" y="6"/>
                    <a:pt x="0" y="12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" name="Freeform 37"/>
            <p:cNvSpPr>
              <a:spLocks noChangeArrowheads="1"/>
            </p:cNvSpPr>
            <p:nvPr/>
          </p:nvSpPr>
          <p:spPr bwMode="auto">
            <a:xfrm>
              <a:off x="4446588" y="2968625"/>
              <a:ext cx="6350" cy="7938"/>
            </a:xfrm>
            <a:custGeom>
              <a:avLst/>
              <a:gdLst>
                <a:gd name="T0" fmla="*/ 14 w 18"/>
                <a:gd name="T1" fmla="*/ 0 h 21"/>
                <a:gd name="T2" fmla="*/ 0 w 18"/>
                <a:gd name="T3" fmla="*/ 3 h 21"/>
                <a:gd name="T4" fmla="*/ 3 w 18"/>
                <a:gd name="T5" fmla="*/ 11 h 21"/>
                <a:gd name="T6" fmla="*/ 3 w 18"/>
                <a:gd name="T7" fmla="*/ 14 h 21"/>
                <a:gd name="T8" fmla="*/ 3 w 18"/>
                <a:gd name="T9" fmla="*/ 20 h 21"/>
                <a:gd name="T10" fmla="*/ 6 w 18"/>
                <a:gd name="T11" fmla="*/ 20 h 21"/>
                <a:gd name="T12" fmla="*/ 6 w 18"/>
                <a:gd name="T13" fmla="*/ 14 h 21"/>
                <a:gd name="T14" fmla="*/ 6 w 18"/>
                <a:gd name="T15" fmla="*/ 11 h 21"/>
                <a:gd name="T16" fmla="*/ 17 w 18"/>
                <a:gd name="T17" fmla="*/ 14 h 21"/>
                <a:gd name="T18" fmla="*/ 17 w 18"/>
                <a:gd name="T19" fmla="*/ 0 h 21"/>
                <a:gd name="T20" fmla="*/ 14 w 18"/>
                <a:gd name="T2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21">
                  <a:moveTo>
                    <a:pt x="14" y="0"/>
                  </a:moveTo>
                  <a:cubicBezTo>
                    <a:pt x="9" y="0"/>
                    <a:pt x="6" y="3"/>
                    <a:pt x="0" y="3"/>
                  </a:cubicBezTo>
                  <a:cubicBezTo>
                    <a:pt x="0" y="6"/>
                    <a:pt x="0" y="8"/>
                    <a:pt x="3" y="11"/>
                  </a:cubicBezTo>
                  <a:lnTo>
                    <a:pt x="3" y="14"/>
                  </a:lnTo>
                  <a:lnTo>
                    <a:pt x="3" y="20"/>
                  </a:lnTo>
                  <a:lnTo>
                    <a:pt x="6" y="20"/>
                  </a:lnTo>
                  <a:lnTo>
                    <a:pt x="6" y="14"/>
                  </a:lnTo>
                  <a:lnTo>
                    <a:pt x="6" y="11"/>
                  </a:lnTo>
                  <a:cubicBezTo>
                    <a:pt x="9" y="14"/>
                    <a:pt x="14" y="17"/>
                    <a:pt x="17" y="14"/>
                  </a:cubicBezTo>
                  <a:lnTo>
                    <a:pt x="17" y="0"/>
                  </a:lnTo>
                  <a:cubicBezTo>
                    <a:pt x="14" y="3"/>
                    <a:pt x="14" y="3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" name="Freeform 38"/>
            <p:cNvSpPr>
              <a:spLocks noChangeArrowheads="1"/>
            </p:cNvSpPr>
            <p:nvPr/>
          </p:nvSpPr>
          <p:spPr bwMode="auto">
            <a:xfrm>
              <a:off x="3986213" y="3065463"/>
              <a:ext cx="7937" cy="4762"/>
            </a:xfrm>
            <a:custGeom>
              <a:avLst/>
              <a:gdLst>
                <a:gd name="T0" fmla="*/ 17 w 21"/>
                <a:gd name="T1" fmla="*/ 3 h 15"/>
                <a:gd name="T2" fmla="*/ 6 w 21"/>
                <a:gd name="T3" fmla="*/ 0 h 15"/>
                <a:gd name="T4" fmla="*/ 8 w 21"/>
                <a:gd name="T5" fmla="*/ 8 h 15"/>
                <a:gd name="T6" fmla="*/ 0 w 21"/>
                <a:gd name="T7" fmla="*/ 14 h 15"/>
                <a:gd name="T8" fmla="*/ 8 w 21"/>
                <a:gd name="T9" fmla="*/ 14 h 15"/>
                <a:gd name="T10" fmla="*/ 17 w 21"/>
                <a:gd name="T11" fmla="*/ 5 h 15"/>
                <a:gd name="T12" fmla="*/ 17 w 21"/>
                <a:gd name="T13" fmla="*/ 5 h 15"/>
                <a:gd name="T14" fmla="*/ 17 w 21"/>
                <a:gd name="T15" fmla="*/ 5 h 15"/>
                <a:gd name="T16" fmla="*/ 17 w 21"/>
                <a:gd name="T1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5">
                  <a:moveTo>
                    <a:pt x="17" y="3"/>
                  </a:moveTo>
                  <a:cubicBezTo>
                    <a:pt x="14" y="3"/>
                    <a:pt x="11" y="0"/>
                    <a:pt x="6" y="0"/>
                  </a:cubicBezTo>
                  <a:cubicBezTo>
                    <a:pt x="6" y="3"/>
                    <a:pt x="6" y="5"/>
                    <a:pt x="8" y="8"/>
                  </a:cubicBezTo>
                  <a:cubicBezTo>
                    <a:pt x="6" y="11"/>
                    <a:pt x="0" y="11"/>
                    <a:pt x="0" y="14"/>
                  </a:cubicBezTo>
                  <a:lnTo>
                    <a:pt x="8" y="14"/>
                  </a:lnTo>
                  <a:cubicBezTo>
                    <a:pt x="11" y="11"/>
                    <a:pt x="14" y="8"/>
                    <a:pt x="17" y="5"/>
                  </a:cubicBezTo>
                  <a:lnTo>
                    <a:pt x="17" y="5"/>
                  </a:lnTo>
                  <a:lnTo>
                    <a:pt x="17" y="5"/>
                  </a:lnTo>
                  <a:cubicBezTo>
                    <a:pt x="20" y="3"/>
                    <a:pt x="17" y="3"/>
                    <a:pt x="17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" name="Freeform 39"/>
            <p:cNvSpPr>
              <a:spLocks noChangeArrowheads="1"/>
            </p:cNvSpPr>
            <p:nvPr/>
          </p:nvSpPr>
          <p:spPr bwMode="auto">
            <a:xfrm>
              <a:off x="3992563" y="3067050"/>
              <a:ext cx="1587" cy="1588"/>
            </a:xfrm>
            <a:custGeom>
              <a:avLst/>
              <a:gdLst>
                <a:gd name="T0" fmla="*/ 3 w 4"/>
                <a:gd name="T1" fmla="*/ 2 h 3"/>
                <a:gd name="T2" fmla="*/ 3 w 4"/>
                <a:gd name="T3" fmla="*/ 0 h 3"/>
                <a:gd name="T4" fmla="*/ 3 w 4"/>
                <a:gd name="T5" fmla="*/ 0 h 3"/>
                <a:gd name="T6" fmla="*/ 3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lnTo>
                    <a:pt x="3" y="0"/>
                  </a:lnTo>
                  <a:lnTo>
                    <a:pt x="3" y="0"/>
                  </a:lnTo>
                  <a:cubicBezTo>
                    <a:pt x="0" y="0"/>
                    <a:pt x="3" y="0"/>
                    <a:pt x="3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" name="Freeform 40"/>
            <p:cNvSpPr>
              <a:spLocks noChangeArrowheads="1"/>
            </p:cNvSpPr>
            <p:nvPr/>
          </p:nvSpPr>
          <p:spPr bwMode="auto">
            <a:xfrm>
              <a:off x="4121150" y="3084513"/>
              <a:ext cx="7938" cy="4762"/>
            </a:xfrm>
            <a:custGeom>
              <a:avLst/>
              <a:gdLst>
                <a:gd name="T0" fmla="*/ 3 w 23"/>
                <a:gd name="T1" fmla="*/ 0 h 15"/>
                <a:gd name="T2" fmla="*/ 3 w 23"/>
                <a:gd name="T3" fmla="*/ 8 h 15"/>
                <a:gd name="T4" fmla="*/ 16 w 23"/>
                <a:gd name="T5" fmla="*/ 11 h 15"/>
                <a:gd name="T6" fmla="*/ 22 w 23"/>
                <a:gd name="T7" fmla="*/ 2 h 15"/>
                <a:gd name="T8" fmla="*/ 13 w 23"/>
                <a:gd name="T9" fmla="*/ 2 h 15"/>
                <a:gd name="T10" fmla="*/ 3 w 23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5">
                  <a:moveTo>
                    <a:pt x="3" y="0"/>
                  </a:moveTo>
                  <a:cubicBezTo>
                    <a:pt x="3" y="2"/>
                    <a:pt x="0" y="8"/>
                    <a:pt x="3" y="8"/>
                  </a:cubicBezTo>
                  <a:cubicBezTo>
                    <a:pt x="6" y="2"/>
                    <a:pt x="9" y="14"/>
                    <a:pt x="16" y="11"/>
                  </a:cubicBezTo>
                  <a:cubicBezTo>
                    <a:pt x="19" y="8"/>
                    <a:pt x="22" y="5"/>
                    <a:pt x="22" y="2"/>
                  </a:cubicBezTo>
                  <a:cubicBezTo>
                    <a:pt x="19" y="2"/>
                    <a:pt x="16" y="2"/>
                    <a:pt x="13" y="2"/>
                  </a:cubicBezTo>
                  <a:cubicBezTo>
                    <a:pt x="12" y="0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" name="Freeform 41"/>
            <p:cNvSpPr>
              <a:spLocks noChangeArrowheads="1"/>
            </p:cNvSpPr>
            <p:nvPr/>
          </p:nvSpPr>
          <p:spPr bwMode="auto">
            <a:xfrm>
              <a:off x="4151313" y="3084513"/>
              <a:ext cx="4762" cy="6350"/>
            </a:xfrm>
            <a:custGeom>
              <a:avLst/>
              <a:gdLst>
                <a:gd name="T0" fmla="*/ 3 w 15"/>
                <a:gd name="T1" fmla="*/ 5 h 17"/>
                <a:gd name="T2" fmla="*/ 0 w 15"/>
                <a:gd name="T3" fmla="*/ 11 h 17"/>
                <a:gd name="T4" fmla="*/ 0 w 15"/>
                <a:gd name="T5" fmla="*/ 11 h 17"/>
                <a:gd name="T6" fmla="*/ 6 w 15"/>
                <a:gd name="T7" fmla="*/ 16 h 17"/>
                <a:gd name="T8" fmla="*/ 11 w 15"/>
                <a:gd name="T9" fmla="*/ 8 h 17"/>
                <a:gd name="T10" fmla="*/ 14 w 15"/>
                <a:gd name="T11" fmla="*/ 0 h 17"/>
                <a:gd name="T12" fmla="*/ 14 w 15"/>
                <a:gd name="T13" fmla="*/ 0 h 17"/>
                <a:gd name="T14" fmla="*/ 8 w 15"/>
                <a:gd name="T15" fmla="*/ 0 h 17"/>
                <a:gd name="T16" fmla="*/ 3 w 15"/>
                <a:gd name="T1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7">
                  <a:moveTo>
                    <a:pt x="3" y="5"/>
                  </a:moveTo>
                  <a:cubicBezTo>
                    <a:pt x="3" y="8"/>
                    <a:pt x="0" y="8"/>
                    <a:pt x="0" y="11"/>
                  </a:cubicBezTo>
                  <a:lnTo>
                    <a:pt x="0" y="11"/>
                  </a:lnTo>
                  <a:cubicBezTo>
                    <a:pt x="3" y="14"/>
                    <a:pt x="3" y="14"/>
                    <a:pt x="6" y="16"/>
                  </a:cubicBezTo>
                  <a:cubicBezTo>
                    <a:pt x="8" y="14"/>
                    <a:pt x="8" y="11"/>
                    <a:pt x="11" y="8"/>
                  </a:cubicBezTo>
                  <a:cubicBezTo>
                    <a:pt x="11" y="5"/>
                    <a:pt x="14" y="2"/>
                    <a:pt x="14" y="0"/>
                  </a:cubicBezTo>
                  <a:lnTo>
                    <a:pt x="14" y="0"/>
                  </a:lnTo>
                  <a:cubicBezTo>
                    <a:pt x="11" y="0"/>
                    <a:pt x="11" y="0"/>
                    <a:pt x="8" y="0"/>
                  </a:cubicBezTo>
                  <a:lnTo>
                    <a:pt x="3" y="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" name="Freeform 42"/>
            <p:cNvSpPr>
              <a:spLocks noChangeArrowheads="1"/>
            </p:cNvSpPr>
            <p:nvPr/>
          </p:nvSpPr>
          <p:spPr bwMode="auto">
            <a:xfrm>
              <a:off x="4486275" y="2932113"/>
              <a:ext cx="3175" cy="6350"/>
            </a:xfrm>
            <a:custGeom>
              <a:avLst/>
              <a:gdLst>
                <a:gd name="T0" fmla="*/ 0 w 10"/>
                <a:gd name="T1" fmla="*/ 9 h 18"/>
                <a:gd name="T2" fmla="*/ 0 w 10"/>
                <a:gd name="T3" fmla="*/ 9 h 18"/>
                <a:gd name="T4" fmla="*/ 3 w 10"/>
                <a:gd name="T5" fmla="*/ 17 h 18"/>
                <a:gd name="T6" fmla="*/ 9 w 10"/>
                <a:gd name="T7" fmla="*/ 17 h 18"/>
                <a:gd name="T8" fmla="*/ 9 w 10"/>
                <a:gd name="T9" fmla="*/ 12 h 18"/>
                <a:gd name="T10" fmla="*/ 6 w 10"/>
                <a:gd name="T11" fmla="*/ 0 h 18"/>
                <a:gd name="T12" fmla="*/ 0 w 10"/>
                <a:gd name="T1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8">
                  <a:moveTo>
                    <a:pt x="0" y="9"/>
                  </a:moveTo>
                  <a:lnTo>
                    <a:pt x="0" y="9"/>
                  </a:lnTo>
                  <a:cubicBezTo>
                    <a:pt x="0" y="12"/>
                    <a:pt x="0" y="14"/>
                    <a:pt x="3" y="17"/>
                  </a:cubicBezTo>
                  <a:cubicBezTo>
                    <a:pt x="6" y="17"/>
                    <a:pt x="9" y="17"/>
                    <a:pt x="9" y="17"/>
                  </a:cubicBezTo>
                  <a:cubicBezTo>
                    <a:pt x="9" y="14"/>
                    <a:pt x="9" y="14"/>
                    <a:pt x="9" y="12"/>
                  </a:cubicBezTo>
                  <a:cubicBezTo>
                    <a:pt x="9" y="9"/>
                    <a:pt x="6" y="6"/>
                    <a:pt x="6" y="0"/>
                  </a:cubicBezTo>
                  <a:cubicBezTo>
                    <a:pt x="3" y="3"/>
                    <a:pt x="3" y="6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" name="Freeform 43"/>
            <p:cNvSpPr>
              <a:spLocks noChangeArrowheads="1"/>
            </p:cNvSpPr>
            <p:nvPr/>
          </p:nvSpPr>
          <p:spPr bwMode="auto">
            <a:xfrm>
              <a:off x="4483100" y="2935288"/>
              <a:ext cx="1588" cy="3175"/>
            </a:xfrm>
            <a:custGeom>
              <a:avLst/>
              <a:gdLst>
                <a:gd name="T0" fmla="*/ 0 w 6"/>
                <a:gd name="T1" fmla="*/ 6 h 7"/>
                <a:gd name="T2" fmla="*/ 5 w 6"/>
                <a:gd name="T3" fmla="*/ 0 h 7"/>
                <a:gd name="T4" fmla="*/ 5 w 6"/>
                <a:gd name="T5" fmla="*/ 0 h 7"/>
                <a:gd name="T6" fmla="*/ 0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6"/>
                  </a:moveTo>
                  <a:cubicBezTo>
                    <a:pt x="2" y="6"/>
                    <a:pt x="5" y="3"/>
                    <a:pt x="5" y="0"/>
                  </a:cubicBezTo>
                  <a:lnTo>
                    <a:pt x="5" y="0"/>
                  </a:lnTo>
                  <a:cubicBezTo>
                    <a:pt x="2" y="3"/>
                    <a:pt x="2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" name="Freeform 44"/>
            <p:cNvSpPr>
              <a:spLocks noChangeArrowheads="1"/>
            </p:cNvSpPr>
            <p:nvPr/>
          </p:nvSpPr>
          <p:spPr bwMode="auto">
            <a:xfrm>
              <a:off x="3663950" y="2790825"/>
              <a:ext cx="3175" cy="6350"/>
            </a:xfrm>
            <a:custGeom>
              <a:avLst/>
              <a:gdLst>
                <a:gd name="T0" fmla="*/ 0 w 9"/>
                <a:gd name="T1" fmla="*/ 3 h 18"/>
                <a:gd name="T2" fmla="*/ 5 w 9"/>
                <a:gd name="T3" fmla="*/ 17 h 18"/>
                <a:gd name="T4" fmla="*/ 8 w 9"/>
                <a:gd name="T5" fmla="*/ 12 h 18"/>
                <a:gd name="T6" fmla="*/ 2 w 9"/>
                <a:gd name="T7" fmla="*/ 0 h 18"/>
                <a:gd name="T8" fmla="*/ 0 w 9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8">
                  <a:moveTo>
                    <a:pt x="0" y="3"/>
                  </a:moveTo>
                  <a:cubicBezTo>
                    <a:pt x="0" y="12"/>
                    <a:pt x="2" y="17"/>
                    <a:pt x="5" y="17"/>
                  </a:cubicBezTo>
                  <a:cubicBezTo>
                    <a:pt x="5" y="14"/>
                    <a:pt x="5" y="14"/>
                    <a:pt x="8" y="12"/>
                  </a:cubicBezTo>
                  <a:cubicBezTo>
                    <a:pt x="5" y="9"/>
                    <a:pt x="5" y="3"/>
                    <a:pt x="2" y="0"/>
                  </a:cubicBezTo>
                  <a:cubicBezTo>
                    <a:pt x="0" y="0"/>
                    <a:pt x="0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" name="Freeform 45"/>
            <p:cNvSpPr>
              <a:spLocks noChangeArrowheads="1"/>
            </p:cNvSpPr>
            <p:nvPr/>
          </p:nvSpPr>
          <p:spPr bwMode="auto">
            <a:xfrm>
              <a:off x="3649663" y="2757488"/>
              <a:ext cx="3175" cy="3175"/>
            </a:xfrm>
            <a:custGeom>
              <a:avLst/>
              <a:gdLst>
                <a:gd name="T0" fmla="*/ 0 w 10"/>
                <a:gd name="T1" fmla="*/ 9 h 10"/>
                <a:gd name="T2" fmla="*/ 0 w 10"/>
                <a:gd name="T3" fmla="*/ 9 h 10"/>
                <a:gd name="T4" fmla="*/ 9 w 10"/>
                <a:gd name="T5" fmla="*/ 3 h 10"/>
                <a:gd name="T6" fmla="*/ 9 w 10"/>
                <a:gd name="T7" fmla="*/ 0 h 10"/>
                <a:gd name="T8" fmla="*/ 0 w 10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0" y="9"/>
                  </a:moveTo>
                  <a:cubicBezTo>
                    <a:pt x="0" y="9"/>
                    <a:pt x="3" y="9"/>
                    <a:pt x="0" y="9"/>
                  </a:cubicBezTo>
                  <a:cubicBezTo>
                    <a:pt x="3" y="6"/>
                    <a:pt x="6" y="6"/>
                    <a:pt x="9" y="3"/>
                  </a:cubicBezTo>
                  <a:lnTo>
                    <a:pt x="9" y="0"/>
                  </a:lnTo>
                  <a:cubicBezTo>
                    <a:pt x="3" y="3"/>
                    <a:pt x="3" y="6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" name="Freeform 46"/>
            <p:cNvSpPr>
              <a:spLocks noChangeArrowheads="1"/>
            </p:cNvSpPr>
            <p:nvPr/>
          </p:nvSpPr>
          <p:spPr bwMode="auto">
            <a:xfrm>
              <a:off x="3619500" y="2632075"/>
              <a:ext cx="1588" cy="3175"/>
            </a:xfrm>
            <a:custGeom>
              <a:avLst/>
              <a:gdLst>
                <a:gd name="T0" fmla="*/ 0 w 6"/>
                <a:gd name="T1" fmla="*/ 0 h 7"/>
                <a:gd name="T2" fmla="*/ 2 w 6"/>
                <a:gd name="T3" fmla="*/ 6 h 7"/>
                <a:gd name="T4" fmla="*/ 5 w 6"/>
                <a:gd name="T5" fmla="*/ 6 h 7"/>
                <a:gd name="T6" fmla="*/ 5 w 6"/>
                <a:gd name="T7" fmla="*/ 0 h 7"/>
                <a:gd name="T8" fmla="*/ 0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cubicBezTo>
                    <a:pt x="0" y="3"/>
                    <a:pt x="0" y="6"/>
                    <a:pt x="2" y="6"/>
                  </a:cubicBezTo>
                  <a:lnTo>
                    <a:pt x="5" y="6"/>
                  </a:lnTo>
                  <a:cubicBezTo>
                    <a:pt x="5" y="3"/>
                    <a:pt x="5" y="3"/>
                    <a:pt x="5" y="0"/>
                  </a:cubicBezTo>
                  <a:cubicBezTo>
                    <a:pt x="2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" name="Freeform 47"/>
            <p:cNvSpPr>
              <a:spLocks noChangeArrowheads="1"/>
            </p:cNvSpPr>
            <p:nvPr/>
          </p:nvSpPr>
          <p:spPr bwMode="auto">
            <a:xfrm>
              <a:off x="3614738" y="2503488"/>
              <a:ext cx="7937" cy="14287"/>
            </a:xfrm>
            <a:custGeom>
              <a:avLst/>
              <a:gdLst>
                <a:gd name="T0" fmla="*/ 14 w 21"/>
                <a:gd name="T1" fmla="*/ 0 h 38"/>
                <a:gd name="T2" fmla="*/ 3 w 21"/>
                <a:gd name="T3" fmla="*/ 6 h 38"/>
                <a:gd name="T4" fmla="*/ 17 w 21"/>
                <a:gd name="T5" fmla="*/ 37 h 38"/>
                <a:gd name="T6" fmla="*/ 20 w 21"/>
                <a:gd name="T7" fmla="*/ 6 h 38"/>
                <a:gd name="T8" fmla="*/ 14 w 21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38">
                  <a:moveTo>
                    <a:pt x="14" y="0"/>
                  </a:moveTo>
                  <a:cubicBezTo>
                    <a:pt x="9" y="0"/>
                    <a:pt x="6" y="3"/>
                    <a:pt x="3" y="6"/>
                  </a:cubicBezTo>
                  <a:cubicBezTo>
                    <a:pt x="0" y="17"/>
                    <a:pt x="6" y="28"/>
                    <a:pt x="17" y="37"/>
                  </a:cubicBezTo>
                  <a:cubicBezTo>
                    <a:pt x="17" y="25"/>
                    <a:pt x="20" y="17"/>
                    <a:pt x="20" y="6"/>
                  </a:cubicBezTo>
                  <a:cubicBezTo>
                    <a:pt x="17" y="3"/>
                    <a:pt x="17" y="0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" name="Freeform 48"/>
            <p:cNvSpPr>
              <a:spLocks noChangeArrowheads="1"/>
            </p:cNvSpPr>
            <p:nvPr/>
          </p:nvSpPr>
          <p:spPr bwMode="auto">
            <a:xfrm>
              <a:off x="3724275" y="2890838"/>
              <a:ext cx="4763" cy="4762"/>
            </a:xfrm>
            <a:custGeom>
              <a:avLst/>
              <a:gdLst>
                <a:gd name="T0" fmla="*/ 3 w 15"/>
                <a:gd name="T1" fmla="*/ 0 h 15"/>
                <a:gd name="T2" fmla="*/ 0 w 15"/>
                <a:gd name="T3" fmla="*/ 14 h 15"/>
                <a:gd name="T4" fmla="*/ 11 w 15"/>
                <a:gd name="T5" fmla="*/ 14 h 15"/>
                <a:gd name="T6" fmla="*/ 14 w 15"/>
                <a:gd name="T7" fmla="*/ 8 h 15"/>
                <a:gd name="T8" fmla="*/ 8 w 15"/>
                <a:gd name="T9" fmla="*/ 0 h 15"/>
                <a:gd name="T10" fmla="*/ 3 w 15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5">
                  <a:moveTo>
                    <a:pt x="3" y="0"/>
                  </a:moveTo>
                  <a:cubicBezTo>
                    <a:pt x="3" y="5"/>
                    <a:pt x="0" y="8"/>
                    <a:pt x="0" y="14"/>
                  </a:cubicBezTo>
                  <a:cubicBezTo>
                    <a:pt x="3" y="14"/>
                    <a:pt x="8" y="14"/>
                    <a:pt x="11" y="14"/>
                  </a:cubicBezTo>
                  <a:cubicBezTo>
                    <a:pt x="11" y="11"/>
                    <a:pt x="11" y="11"/>
                    <a:pt x="14" y="8"/>
                  </a:cubicBezTo>
                  <a:cubicBezTo>
                    <a:pt x="11" y="5"/>
                    <a:pt x="11" y="2"/>
                    <a:pt x="8" y="0"/>
                  </a:cubicBezTo>
                  <a:cubicBezTo>
                    <a:pt x="6" y="0"/>
                    <a:pt x="6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" name="Freeform 49"/>
            <p:cNvSpPr>
              <a:spLocks noChangeArrowheads="1"/>
            </p:cNvSpPr>
            <p:nvPr/>
          </p:nvSpPr>
          <p:spPr bwMode="auto">
            <a:xfrm>
              <a:off x="3937000" y="3048000"/>
              <a:ext cx="1588" cy="1588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0 h 6"/>
                <a:gd name="T4" fmla="*/ 0 w 6"/>
                <a:gd name="T5" fmla="*/ 5 h 6"/>
                <a:gd name="T6" fmla="*/ 5 w 6"/>
                <a:gd name="T7" fmla="*/ 3 h 6"/>
                <a:gd name="T8" fmla="*/ 5 w 6"/>
                <a:gd name="T9" fmla="*/ 3 h 6"/>
                <a:gd name="T10" fmla="*/ 0 w 6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0" y="0"/>
                  </a:lnTo>
                  <a:cubicBezTo>
                    <a:pt x="0" y="3"/>
                    <a:pt x="0" y="3"/>
                    <a:pt x="0" y="5"/>
                  </a:cubicBezTo>
                  <a:cubicBezTo>
                    <a:pt x="2" y="5"/>
                    <a:pt x="2" y="3"/>
                    <a:pt x="5" y="3"/>
                  </a:cubicBezTo>
                  <a:lnTo>
                    <a:pt x="5" y="3"/>
                  </a:lnTo>
                  <a:cubicBezTo>
                    <a:pt x="2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" name="Freeform 50"/>
            <p:cNvSpPr>
              <a:spLocks noChangeArrowheads="1"/>
            </p:cNvSpPr>
            <p:nvPr/>
          </p:nvSpPr>
          <p:spPr bwMode="auto">
            <a:xfrm>
              <a:off x="3763963" y="2933700"/>
              <a:ext cx="3175" cy="3175"/>
            </a:xfrm>
            <a:custGeom>
              <a:avLst/>
              <a:gdLst>
                <a:gd name="T0" fmla="*/ 0 w 10"/>
                <a:gd name="T1" fmla="*/ 0 h 7"/>
                <a:gd name="T2" fmla="*/ 0 w 10"/>
                <a:gd name="T3" fmla="*/ 6 h 7"/>
                <a:gd name="T4" fmla="*/ 6 w 10"/>
                <a:gd name="T5" fmla="*/ 6 h 7"/>
                <a:gd name="T6" fmla="*/ 9 w 10"/>
                <a:gd name="T7" fmla="*/ 6 h 7"/>
                <a:gd name="T8" fmla="*/ 6 w 10"/>
                <a:gd name="T9" fmla="*/ 3 h 7"/>
                <a:gd name="T10" fmla="*/ 0 w 10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7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3" y="6"/>
                    <a:pt x="3" y="6"/>
                    <a:pt x="6" y="6"/>
                  </a:cubicBezTo>
                  <a:lnTo>
                    <a:pt x="9" y="6"/>
                  </a:lnTo>
                  <a:lnTo>
                    <a:pt x="6" y="3"/>
                  </a:lnTo>
                  <a:cubicBezTo>
                    <a:pt x="3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" name="Freeform 51"/>
            <p:cNvSpPr>
              <a:spLocks noChangeArrowheads="1"/>
            </p:cNvSpPr>
            <p:nvPr/>
          </p:nvSpPr>
          <p:spPr bwMode="auto">
            <a:xfrm>
              <a:off x="3630613" y="2439988"/>
              <a:ext cx="3175" cy="3175"/>
            </a:xfrm>
            <a:custGeom>
              <a:avLst/>
              <a:gdLst>
                <a:gd name="T0" fmla="*/ 0 w 7"/>
                <a:gd name="T1" fmla="*/ 0 h 7"/>
                <a:gd name="T2" fmla="*/ 0 w 7"/>
                <a:gd name="T3" fmla="*/ 6 h 7"/>
                <a:gd name="T4" fmla="*/ 3 w 7"/>
                <a:gd name="T5" fmla="*/ 6 h 7"/>
                <a:gd name="T6" fmla="*/ 0 w 7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cubicBezTo>
                    <a:pt x="6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" name="Freeform 52"/>
            <p:cNvSpPr>
              <a:spLocks noChangeArrowheads="1"/>
            </p:cNvSpPr>
            <p:nvPr/>
          </p:nvSpPr>
          <p:spPr bwMode="auto">
            <a:xfrm>
              <a:off x="3967163" y="2078038"/>
              <a:ext cx="3175" cy="6350"/>
            </a:xfrm>
            <a:custGeom>
              <a:avLst/>
              <a:gdLst>
                <a:gd name="T0" fmla="*/ 3 w 10"/>
                <a:gd name="T1" fmla="*/ 0 h 18"/>
                <a:gd name="T2" fmla="*/ 0 w 10"/>
                <a:gd name="T3" fmla="*/ 9 h 18"/>
                <a:gd name="T4" fmla="*/ 3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3" y="0"/>
                  </a:moveTo>
                  <a:lnTo>
                    <a:pt x="0" y="9"/>
                  </a:lnTo>
                  <a:cubicBezTo>
                    <a:pt x="9" y="17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" name="Freeform 53"/>
            <p:cNvSpPr>
              <a:spLocks noChangeArrowheads="1"/>
            </p:cNvSpPr>
            <p:nvPr/>
          </p:nvSpPr>
          <p:spPr bwMode="auto">
            <a:xfrm>
              <a:off x="3871913" y="2117725"/>
              <a:ext cx="3175" cy="3175"/>
            </a:xfrm>
            <a:custGeom>
              <a:avLst/>
              <a:gdLst>
                <a:gd name="T0" fmla="*/ 0 w 7"/>
                <a:gd name="T1" fmla="*/ 6 h 7"/>
                <a:gd name="T2" fmla="*/ 6 w 7"/>
                <a:gd name="T3" fmla="*/ 6 h 7"/>
                <a:gd name="T4" fmla="*/ 6 w 7"/>
                <a:gd name="T5" fmla="*/ 0 h 7"/>
                <a:gd name="T6" fmla="*/ 0 w 7"/>
                <a:gd name="T7" fmla="*/ 0 h 7"/>
                <a:gd name="T8" fmla="*/ 0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" name="Freeform 54"/>
            <p:cNvSpPr>
              <a:spLocks noChangeArrowheads="1"/>
            </p:cNvSpPr>
            <p:nvPr/>
          </p:nvSpPr>
          <p:spPr bwMode="auto">
            <a:xfrm>
              <a:off x="3911600" y="2103438"/>
              <a:ext cx="9525" cy="9525"/>
            </a:xfrm>
            <a:custGeom>
              <a:avLst/>
              <a:gdLst>
                <a:gd name="T0" fmla="*/ 14 w 26"/>
                <a:gd name="T1" fmla="*/ 11 h 26"/>
                <a:gd name="T2" fmla="*/ 11 w 26"/>
                <a:gd name="T3" fmla="*/ 0 h 26"/>
                <a:gd name="T4" fmla="*/ 3 w 26"/>
                <a:gd name="T5" fmla="*/ 0 h 26"/>
                <a:gd name="T6" fmla="*/ 14 w 26"/>
                <a:gd name="T7" fmla="*/ 11 h 26"/>
                <a:gd name="T8" fmla="*/ 3 w 26"/>
                <a:gd name="T9" fmla="*/ 25 h 26"/>
                <a:gd name="T10" fmla="*/ 23 w 26"/>
                <a:gd name="T11" fmla="*/ 19 h 26"/>
                <a:gd name="T12" fmla="*/ 14 w 26"/>
                <a:gd name="T13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14" y="11"/>
                  </a:moveTo>
                  <a:cubicBezTo>
                    <a:pt x="14" y="5"/>
                    <a:pt x="9" y="5"/>
                    <a:pt x="11" y="0"/>
                  </a:cubicBezTo>
                  <a:lnTo>
                    <a:pt x="3" y="0"/>
                  </a:lnTo>
                  <a:cubicBezTo>
                    <a:pt x="0" y="8"/>
                    <a:pt x="11" y="8"/>
                    <a:pt x="14" y="11"/>
                  </a:cubicBezTo>
                  <a:cubicBezTo>
                    <a:pt x="6" y="11"/>
                    <a:pt x="6" y="19"/>
                    <a:pt x="3" y="25"/>
                  </a:cubicBezTo>
                  <a:cubicBezTo>
                    <a:pt x="11" y="25"/>
                    <a:pt x="14" y="19"/>
                    <a:pt x="23" y="19"/>
                  </a:cubicBezTo>
                  <a:cubicBezTo>
                    <a:pt x="25" y="14"/>
                    <a:pt x="17" y="17"/>
                    <a:pt x="14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" name="Freeform 55"/>
            <p:cNvSpPr>
              <a:spLocks noChangeArrowheads="1"/>
            </p:cNvSpPr>
            <p:nvPr/>
          </p:nvSpPr>
          <p:spPr bwMode="auto">
            <a:xfrm>
              <a:off x="3748088" y="2235200"/>
              <a:ext cx="1587" cy="1588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3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" name="Freeform 56"/>
            <p:cNvSpPr>
              <a:spLocks noChangeArrowheads="1"/>
            </p:cNvSpPr>
            <p:nvPr/>
          </p:nvSpPr>
          <p:spPr bwMode="auto">
            <a:xfrm>
              <a:off x="3738563" y="2217738"/>
              <a:ext cx="3175" cy="1587"/>
            </a:xfrm>
            <a:custGeom>
              <a:avLst/>
              <a:gdLst>
                <a:gd name="T0" fmla="*/ 0 w 9"/>
                <a:gd name="T1" fmla="*/ 2 h 3"/>
                <a:gd name="T2" fmla="*/ 8 w 9"/>
                <a:gd name="T3" fmla="*/ 0 h 3"/>
                <a:gd name="T4" fmla="*/ 8 w 9"/>
                <a:gd name="T5" fmla="*/ 0 h 3"/>
                <a:gd name="T6" fmla="*/ 0 w 9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3">
                  <a:moveTo>
                    <a:pt x="0" y="2"/>
                  </a:moveTo>
                  <a:cubicBezTo>
                    <a:pt x="2" y="2"/>
                    <a:pt x="5" y="0"/>
                    <a:pt x="8" y="0"/>
                  </a:cubicBezTo>
                  <a:lnTo>
                    <a:pt x="8" y="0"/>
                  </a:lnTo>
                  <a:cubicBezTo>
                    <a:pt x="5" y="0"/>
                    <a:pt x="2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" name="Freeform 57"/>
            <p:cNvSpPr>
              <a:spLocks noChangeArrowheads="1"/>
            </p:cNvSpPr>
            <p:nvPr/>
          </p:nvSpPr>
          <p:spPr bwMode="auto">
            <a:xfrm>
              <a:off x="3700463" y="2266950"/>
              <a:ext cx="3175" cy="1588"/>
            </a:xfrm>
            <a:custGeom>
              <a:avLst/>
              <a:gdLst>
                <a:gd name="T0" fmla="*/ 3 w 10"/>
                <a:gd name="T1" fmla="*/ 0 h 4"/>
                <a:gd name="T2" fmla="*/ 0 w 10"/>
                <a:gd name="T3" fmla="*/ 0 h 4"/>
                <a:gd name="T4" fmla="*/ 0 w 10"/>
                <a:gd name="T5" fmla="*/ 3 h 4"/>
                <a:gd name="T6" fmla="*/ 0 w 10"/>
                <a:gd name="T7" fmla="*/ 3 h 4"/>
                <a:gd name="T8" fmla="*/ 3 w 10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cubicBezTo>
                    <a:pt x="0" y="3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" name="Freeform 58"/>
            <p:cNvSpPr>
              <a:spLocks noChangeArrowheads="1"/>
            </p:cNvSpPr>
            <p:nvPr/>
          </p:nvSpPr>
          <p:spPr bwMode="auto">
            <a:xfrm>
              <a:off x="3697288" y="2271713"/>
              <a:ext cx="9525" cy="14287"/>
            </a:xfrm>
            <a:custGeom>
              <a:avLst/>
              <a:gdLst>
                <a:gd name="T0" fmla="*/ 0 w 26"/>
                <a:gd name="T1" fmla="*/ 14 h 38"/>
                <a:gd name="T2" fmla="*/ 11 w 26"/>
                <a:gd name="T3" fmla="*/ 37 h 38"/>
                <a:gd name="T4" fmla="*/ 0 w 26"/>
                <a:gd name="T5" fmla="*/ 1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38">
                  <a:moveTo>
                    <a:pt x="0" y="14"/>
                  </a:moveTo>
                  <a:cubicBezTo>
                    <a:pt x="0" y="28"/>
                    <a:pt x="8" y="28"/>
                    <a:pt x="11" y="37"/>
                  </a:cubicBezTo>
                  <a:cubicBezTo>
                    <a:pt x="25" y="25"/>
                    <a:pt x="11" y="0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" name="Freeform 59"/>
            <p:cNvSpPr>
              <a:spLocks noChangeArrowheads="1"/>
            </p:cNvSpPr>
            <p:nvPr/>
          </p:nvSpPr>
          <p:spPr bwMode="auto">
            <a:xfrm>
              <a:off x="3633788" y="2443163"/>
              <a:ext cx="1587" cy="1587"/>
            </a:xfrm>
            <a:custGeom>
              <a:avLst/>
              <a:gdLst>
                <a:gd name="T0" fmla="*/ 0 w 4"/>
                <a:gd name="T1" fmla="*/ 2 h 3"/>
                <a:gd name="T2" fmla="*/ 3 w 4"/>
                <a:gd name="T3" fmla="*/ 2 h 3"/>
                <a:gd name="T4" fmla="*/ 3 w 4"/>
                <a:gd name="T5" fmla="*/ 2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3" y="2"/>
                  </a:lnTo>
                  <a:lnTo>
                    <a:pt x="3" y="2"/>
                  </a:lnTo>
                  <a:cubicBezTo>
                    <a:pt x="3" y="0"/>
                    <a:pt x="3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" name="Freeform 60"/>
            <p:cNvSpPr>
              <a:spLocks noChangeArrowheads="1"/>
            </p:cNvSpPr>
            <p:nvPr/>
          </p:nvSpPr>
          <p:spPr bwMode="auto">
            <a:xfrm>
              <a:off x="3632200" y="2439988"/>
              <a:ext cx="4763" cy="4762"/>
            </a:xfrm>
            <a:custGeom>
              <a:avLst/>
              <a:gdLst>
                <a:gd name="T0" fmla="*/ 9 w 13"/>
                <a:gd name="T1" fmla="*/ 12 h 15"/>
                <a:gd name="T2" fmla="*/ 12 w 13"/>
                <a:gd name="T3" fmla="*/ 0 h 15"/>
                <a:gd name="T4" fmla="*/ 3 w 13"/>
                <a:gd name="T5" fmla="*/ 3 h 15"/>
                <a:gd name="T6" fmla="*/ 3 w 13"/>
                <a:gd name="T7" fmla="*/ 3 h 15"/>
                <a:gd name="T8" fmla="*/ 0 w 13"/>
                <a:gd name="T9" fmla="*/ 6 h 15"/>
                <a:gd name="T10" fmla="*/ 6 w 13"/>
                <a:gd name="T11" fmla="*/ 14 h 15"/>
                <a:gd name="T12" fmla="*/ 6 w 13"/>
                <a:gd name="T13" fmla="*/ 14 h 15"/>
                <a:gd name="T14" fmla="*/ 6 w 13"/>
                <a:gd name="T15" fmla="*/ 14 h 15"/>
                <a:gd name="T16" fmla="*/ 9 w 13"/>
                <a:gd name="T17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5">
                  <a:moveTo>
                    <a:pt x="9" y="12"/>
                  </a:moveTo>
                  <a:cubicBezTo>
                    <a:pt x="9" y="9"/>
                    <a:pt x="12" y="6"/>
                    <a:pt x="12" y="0"/>
                  </a:cubicBezTo>
                  <a:cubicBezTo>
                    <a:pt x="9" y="0"/>
                    <a:pt x="6" y="0"/>
                    <a:pt x="3" y="3"/>
                  </a:cubicBezTo>
                  <a:lnTo>
                    <a:pt x="3" y="3"/>
                  </a:lnTo>
                  <a:cubicBezTo>
                    <a:pt x="3" y="3"/>
                    <a:pt x="0" y="3"/>
                    <a:pt x="0" y="6"/>
                  </a:cubicBezTo>
                  <a:cubicBezTo>
                    <a:pt x="0" y="9"/>
                    <a:pt x="3" y="12"/>
                    <a:pt x="6" y="14"/>
                  </a:cubicBezTo>
                  <a:lnTo>
                    <a:pt x="6" y="14"/>
                  </a:lnTo>
                  <a:lnTo>
                    <a:pt x="6" y="14"/>
                  </a:lnTo>
                  <a:cubicBezTo>
                    <a:pt x="9" y="12"/>
                    <a:pt x="9" y="12"/>
                    <a:pt x="9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" name="Freeform 61"/>
            <p:cNvSpPr>
              <a:spLocks noChangeArrowheads="1"/>
            </p:cNvSpPr>
            <p:nvPr/>
          </p:nvSpPr>
          <p:spPr bwMode="auto">
            <a:xfrm>
              <a:off x="3765550" y="2208213"/>
              <a:ext cx="3175" cy="9525"/>
            </a:xfrm>
            <a:custGeom>
              <a:avLst/>
              <a:gdLst>
                <a:gd name="T0" fmla="*/ 0 w 9"/>
                <a:gd name="T1" fmla="*/ 0 h 27"/>
                <a:gd name="T2" fmla="*/ 3 w 9"/>
                <a:gd name="T3" fmla="*/ 14 h 27"/>
                <a:gd name="T4" fmla="*/ 6 w 9"/>
                <a:gd name="T5" fmla="*/ 26 h 27"/>
                <a:gd name="T6" fmla="*/ 8 w 9"/>
                <a:gd name="T7" fmla="*/ 26 h 27"/>
                <a:gd name="T8" fmla="*/ 8 w 9"/>
                <a:gd name="T9" fmla="*/ 26 h 27"/>
                <a:gd name="T10" fmla="*/ 6 w 9"/>
                <a:gd name="T11" fmla="*/ 17 h 27"/>
                <a:gd name="T12" fmla="*/ 0 w 9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7">
                  <a:moveTo>
                    <a:pt x="0" y="0"/>
                  </a:moveTo>
                  <a:cubicBezTo>
                    <a:pt x="0" y="6"/>
                    <a:pt x="3" y="9"/>
                    <a:pt x="3" y="14"/>
                  </a:cubicBezTo>
                  <a:cubicBezTo>
                    <a:pt x="3" y="17"/>
                    <a:pt x="6" y="23"/>
                    <a:pt x="6" y="26"/>
                  </a:cubicBezTo>
                  <a:lnTo>
                    <a:pt x="8" y="26"/>
                  </a:lnTo>
                  <a:lnTo>
                    <a:pt x="8" y="26"/>
                  </a:lnTo>
                  <a:cubicBezTo>
                    <a:pt x="8" y="23"/>
                    <a:pt x="6" y="20"/>
                    <a:pt x="6" y="17"/>
                  </a:cubicBezTo>
                  <a:cubicBezTo>
                    <a:pt x="3" y="9"/>
                    <a:pt x="0" y="6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" name="Freeform 62"/>
            <p:cNvSpPr>
              <a:spLocks noChangeArrowheads="1"/>
            </p:cNvSpPr>
            <p:nvPr/>
          </p:nvSpPr>
          <p:spPr bwMode="auto">
            <a:xfrm>
              <a:off x="3613150" y="2573338"/>
              <a:ext cx="4763" cy="7937"/>
            </a:xfrm>
            <a:custGeom>
              <a:avLst/>
              <a:gdLst>
                <a:gd name="T0" fmla="*/ 14 w 15"/>
                <a:gd name="T1" fmla="*/ 3 h 22"/>
                <a:gd name="T2" fmla="*/ 5 w 15"/>
                <a:gd name="T3" fmla="*/ 3 h 22"/>
                <a:gd name="T4" fmla="*/ 2 w 15"/>
                <a:gd name="T5" fmla="*/ 16 h 22"/>
                <a:gd name="T6" fmla="*/ 11 w 15"/>
                <a:gd name="T7" fmla="*/ 21 h 22"/>
                <a:gd name="T8" fmla="*/ 11 w 15"/>
                <a:gd name="T9" fmla="*/ 13 h 22"/>
                <a:gd name="T10" fmla="*/ 14 w 15"/>
                <a:gd name="T1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14" y="3"/>
                  </a:moveTo>
                  <a:cubicBezTo>
                    <a:pt x="11" y="3"/>
                    <a:pt x="5" y="0"/>
                    <a:pt x="5" y="3"/>
                  </a:cubicBezTo>
                  <a:cubicBezTo>
                    <a:pt x="11" y="6"/>
                    <a:pt x="0" y="7"/>
                    <a:pt x="2" y="16"/>
                  </a:cubicBezTo>
                  <a:cubicBezTo>
                    <a:pt x="5" y="19"/>
                    <a:pt x="8" y="21"/>
                    <a:pt x="11" y="21"/>
                  </a:cubicBezTo>
                  <a:cubicBezTo>
                    <a:pt x="11" y="19"/>
                    <a:pt x="11" y="16"/>
                    <a:pt x="11" y="13"/>
                  </a:cubicBezTo>
                  <a:cubicBezTo>
                    <a:pt x="14" y="7"/>
                    <a:pt x="14" y="5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" name="Freeform 63"/>
            <p:cNvSpPr>
              <a:spLocks noChangeArrowheads="1"/>
            </p:cNvSpPr>
            <p:nvPr/>
          </p:nvSpPr>
          <p:spPr bwMode="auto">
            <a:xfrm>
              <a:off x="3846513" y="2143125"/>
              <a:ext cx="1587" cy="3175"/>
            </a:xfrm>
            <a:custGeom>
              <a:avLst/>
              <a:gdLst>
                <a:gd name="T0" fmla="*/ 2 w 3"/>
                <a:gd name="T1" fmla="*/ 0 h 10"/>
                <a:gd name="T2" fmla="*/ 0 w 3"/>
                <a:gd name="T3" fmla="*/ 0 h 10"/>
                <a:gd name="T4" fmla="*/ 0 w 3"/>
                <a:gd name="T5" fmla="*/ 6 h 10"/>
                <a:gd name="T6" fmla="*/ 0 w 3"/>
                <a:gd name="T7" fmla="*/ 9 h 10"/>
                <a:gd name="T8" fmla="*/ 2 w 3"/>
                <a:gd name="T9" fmla="*/ 9 h 10"/>
                <a:gd name="T10" fmla="*/ 2 w 3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10">
                  <a:moveTo>
                    <a:pt x="2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" name="Freeform 64"/>
            <p:cNvSpPr>
              <a:spLocks noChangeArrowheads="1"/>
            </p:cNvSpPr>
            <p:nvPr/>
          </p:nvSpPr>
          <p:spPr bwMode="auto">
            <a:xfrm>
              <a:off x="3890963" y="3027363"/>
              <a:ext cx="3175" cy="1587"/>
            </a:xfrm>
            <a:custGeom>
              <a:avLst/>
              <a:gdLst>
                <a:gd name="T0" fmla="*/ 0 w 9"/>
                <a:gd name="T1" fmla="*/ 5 h 6"/>
                <a:gd name="T2" fmla="*/ 8 w 9"/>
                <a:gd name="T3" fmla="*/ 2 h 6"/>
                <a:gd name="T4" fmla="*/ 8 w 9"/>
                <a:gd name="T5" fmla="*/ 2 h 6"/>
                <a:gd name="T6" fmla="*/ 0 w 9"/>
                <a:gd name="T7" fmla="*/ 0 h 6"/>
                <a:gd name="T8" fmla="*/ 0 w 9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0" y="5"/>
                  </a:moveTo>
                  <a:cubicBezTo>
                    <a:pt x="3" y="5"/>
                    <a:pt x="5" y="5"/>
                    <a:pt x="8" y="2"/>
                  </a:cubicBezTo>
                  <a:lnTo>
                    <a:pt x="8" y="2"/>
                  </a:lnTo>
                  <a:cubicBezTo>
                    <a:pt x="5" y="2"/>
                    <a:pt x="3" y="0"/>
                    <a:pt x="0" y="0"/>
                  </a:cubicBezTo>
                  <a:cubicBezTo>
                    <a:pt x="0" y="0"/>
                    <a:pt x="0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" name="Freeform 65"/>
            <p:cNvSpPr>
              <a:spLocks noChangeArrowheads="1"/>
            </p:cNvSpPr>
            <p:nvPr/>
          </p:nvSpPr>
          <p:spPr bwMode="auto">
            <a:xfrm>
              <a:off x="3614738" y="2651125"/>
              <a:ext cx="1587" cy="1588"/>
            </a:xfrm>
            <a:custGeom>
              <a:avLst/>
              <a:gdLst>
                <a:gd name="T0" fmla="*/ 0 w 4"/>
                <a:gd name="T1" fmla="*/ 0 h 1"/>
                <a:gd name="T2" fmla="*/ 0 w 4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" name="Freeform 66"/>
            <p:cNvSpPr>
              <a:spLocks noChangeArrowheads="1"/>
            </p:cNvSpPr>
            <p:nvPr/>
          </p:nvSpPr>
          <p:spPr bwMode="auto">
            <a:xfrm>
              <a:off x="3613150" y="2593975"/>
              <a:ext cx="3175" cy="3175"/>
            </a:xfrm>
            <a:custGeom>
              <a:avLst/>
              <a:gdLst>
                <a:gd name="T0" fmla="*/ 5 w 9"/>
                <a:gd name="T1" fmla="*/ 6 h 7"/>
                <a:gd name="T2" fmla="*/ 8 w 9"/>
                <a:gd name="T3" fmla="*/ 3 h 7"/>
                <a:gd name="T4" fmla="*/ 2 w 9"/>
                <a:gd name="T5" fmla="*/ 0 h 7"/>
                <a:gd name="T6" fmla="*/ 0 w 9"/>
                <a:gd name="T7" fmla="*/ 3 h 7"/>
                <a:gd name="T8" fmla="*/ 5 w 9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5" y="6"/>
                  </a:moveTo>
                  <a:cubicBezTo>
                    <a:pt x="5" y="6"/>
                    <a:pt x="8" y="6"/>
                    <a:pt x="8" y="3"/>
                  </a:cubicBezTo>
                  <a:cubicBezTo>
                    <a:pt x="5" y="3"/>
                    <a:pt x="5" y="0"/>
                    <a:pt x="2" y="0"/>
                  </a:cubicBezTo>
                  <a:lnTo>
                    <a:pt x="0" y="3"/>
                  </a:lnTo>
                  <a:cubicBezTo>
                    <a:pt x="5" y="3"/>
                    <a:pt x="5" y="6"/>
                    <a:pt x="5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" name="Freeform 67"/>
            <p:cNvSpPr>
              <a:spLocks noChangeArrowheads="1"/>
            </p:cNvSpPr>
            <p:nvPr/>
          </p:nvSpPr>
          <p:spPr bwMode="auto">
            <a:xfrm>
              <a:off x="4137025" y="3084513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" name="Freeform 68"/>
            <p:cNvSpPr>
              <a:spLocks noChangeArrowheads="1"/>
            </p:cNvSpPr>
            <p:nvPr/>
          </p:nvSpPr>
          <p:spPr bwMode="auto">
            <a:xfrm>
              <a:off x="4078288" y="3082925"/>
              <a:ext cx="4762" cy="4763"/>
            </a:xfrm>
            <a:custGeom>
              <a:avLst/>
              <a:gdLst>
                <a:gd name="T0" fmla="*/ 0 w 12"/>
                <a:gd name="T1" fmla="*/ 11 h 15"/>
                <a:gd name="T2" fmla="*/ 8 w 12"/>
                <a:gd name="T3" fmla="*/ 14 h 15"/>
                <a:gd name="T4" fmla="*/ 8 w 12"/>
                <a:gd name="T5" fmla="*/ 0 h 15"/>
                <a:gd name="T6" fmla="*/ 0 w 12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0" y="11"/>
                  </a:moveTo>
                  <a:cubicBezTo>
                    <a:pt x="3" y="11"/>
                    <a:pt x="5" y="14"/>
                    <a:pt x="8" y="14"/>
                  </a:cubicBezTo>
                  <a:cubicBezTo>
                    <a:pt x="11" y="11"/>
                    <a:pt x="11" y="5"/>
                    <a:pt x="8" y="0"/>
                  </a:cubicBezTo>
                  <a:cubicBezTo>
                    <a:pt x="3" y="0"/>
                    <a:pt x="0" y="3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" name="Freeform 69"/>
            <p:cNvSpPr>
              <a:spLocks noChangeArrowheads="1"/>
            </p:cNvSpPr>
            <p:nvPr/>
          </p:nvSpPr>
          <p:spPr bwMode="auto">
            <a:xfrm>
              <a:off x="3971925" y="3070225"/>
              <a:ext cx="11113" cy="7938"/>
            </a:xfrm>
            <a:custGeom>
              <a:avLst/>
              <a:gdLst>
                <a:gd name="T0" fmla="*/ 25 w 29"/>
                <a:gd name="T1" fmla="*/ 0 h 21"/>
                <a:gd name="T2" fmla="*/ 0 w 29"/>
                <a:gd name="T3" fmla="*/ 8 h 21"/>
                <a:gd name="T4" fmla="*/ 0 w 29"/>
                <a:gd name="T5" fmla="*/ 11 h 21"/>
                <a:gd name="T6" fmla="*/ 19 w 29"/>
                <a:gd name="T7" fmla="*/ 20 h 21"/>
                <a:gd name="T8" fmla="*/ 28 w 29"/>
                <a:gd name="T9" fmla="*/ 14 h 21"/>
                <a:gd name="T10" fmla="*/ 25 w 29"/>
                <a:gd name="T11" fmla="*/ 8 h 21"/>
                <a:gd name="T12" fmla="*/ 25 w 2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1">
                  <a:moveTo>
                    <a:pt x="25" y="0"/>
                  </a:moveTo>
                  <a:cubicBezTo>
                    <a:pt x="16" y="3"/>
                    <a:pt x="8" y="6"/>
                    <a:pt x="0" y="8"/>
                  </a:cubicBezTo>
                  <a:cubicBezTo>
                    <a:pt x="0" y="8"/>
                    <a:pt x="0" y="8"/>
                    <a:pt x="0" y="11"/>
                  </a:cubicBezTo>
                  <a:cubicBezTo>
                    <a:pt x="2" y="14"/>
                    <a:pt x="8" y="17"/>
                    <a:pt x="19" y="20"/>
                  </a:cubicBezTo>
                  <a:cubicBezTo>
                    <a:pt x="22" y="17"/>
                    <a:pt x="25" y="17"/>
                    <a:pt x="28" y="14"/>
                  </a:cubicBezTo>
                  <a:cubicBezTo>
                    <a:pt x="28" y="11"/>
                    <a:pt x="25" y="11"/>
                    <a:pt x="25" y="8"/>
                  </a:cubicBezTo>
                  <a:cubicBezTo>
                    <a:pt x="28" y="6"/>
                    <a:pt x="25" y="3"/>
                    <a:pt x="2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" name="Freeform 70"/>
            <p:cNvSpPr>
              <a:spLocks noChangeArrowheads="1"/>
            </p:cNvSpPr>
            <p:nvPr/>
          </p:nvSpPr>
          <p:spPr bwMode="auto">
            <a:xfrm>
              <a:off x="3611563" y="2522538"/>
              <a:ext cx="3175" cy="4762"/>
            </a:xfrm>
            <a:custGeom>
              <a:avLst/>
              <a:gdLst>
                <a:gd name="T0" fmla="*/ 8 w 9"/>
                <a:gd name="T1" fmla="*/ 14 h 15"/>
                <a:gd name="T2" fmla="*/ 0 w 9"/>
                <a:gd name="T3" fmla="*/ 3 h 15"/>
                <a:gd name="T4" fmla="*/ 8 w 9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8" y="14"/>
                  </a:moveTo>
                  <a:cubicBezTo>
                    <a:pt x="8" y="8"/>
                    <a:pt x="8" y="0"/>
                    <a:pt x="0" y="3"/>
                  </a:cubicBezTo>
                  <a:cubicBezTo>
                    <a:pt x="0" y="8"/>
                    <a:pt x="3" y="11"/>
                    <a:pt x="8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" name="Freeform 71"/>
            <p:cNvSpPr>
              <a:spLocks noChangeArrowheads="1"/>
            </p:cNvSpPr>
            <p:nvPr/>
          </p:nvSpPr>
          <p:spPr bwMode="auto">
            <a:xfrm>
              <a:off x="3609975" y="2601913"/>
              <a:ext cx="3175" cy="1587"/>
            </a:xfrm>
            <a:custGeom>
              <a:avLst/>
              <a:gdLst>
                <a:gd name="T0" fmla="*/ 0 w 7"/>
                <a:gd name="T1" fmla="*/ 2 h 3"/>
                <a:gd name="T2" fmla="*/ 6 w 7"/>
                <a:gd name="T3" fmla="*/ 0 h 3"/>
                <a:gd name="T4" fmla="*/ 0 w 7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cubicBezTo>
                    <a:pt x="3" y="2"/>
                    <a:pt x="3" y="2"/>
                    <a:pt x="6" y="0"/>
                  </a:cubicBezTo>
                  <a:cubicBezTo>
                    <a:pt x="3" y="2"/>
                    <a:pt x="0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" name="Freeform 72"/>
            <p:cNvSpPr>
              <a:spLocks noChangeArrowheads="1"/>
            </p:cNvSpPr>
            <p:nvPr/>
          </p:nvSpPr>
          <p:spPr bwMode="auto">
            <a:xfrm>
              <a:off x="3598863" y="2527300"/>
              <a:ext cx="11112" cy="14288"/>
            </a:xfrm>
            <a:custGeom>
              <a:avLst/>
              <a:gdLst>
                <a:gd name="T0" fmla="*/ 28 w 29"/>
                <a:gd name="T1" fmla="*/ 39 h 40"/>
                <a:gd name="T2" fmla="*/ 28 w 29"/>
                <a:gd name="T3" fmla="*/ 39 h 40"/>
                <a:gd name="T4" fmla="*/ 0 w 29"/>
                <a:gd name="T5" fmla="*/ 0 h 40"/>
                <a:gd name="T6" fmla="*/ 0 w 29"/>
                <a:gd name="T7" fmla="*/ 0 h 40"/>
                <a:gd name="T8" fmla="*/ 20 w 29"/>
                <a:gd name="T9" fmla="*/ 34 h 40"/>
                <a:gd name="T10" fmla="*/ 28 w 29"/>
                <a:gd name="T11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40">
                  <a:moveTo>
                    <a:pt x="28" y="39"/>
                  </a:moveTo>
                  <a:lnTo>
                    <a:pt x="28" y="39"/>
                  </a:lnTo>
                  <a:cubicBezTo>
                    <a:pt x="17" y="28"/>
                    <a:pt x="6" y="17"/>
                    <a:pt x="0" y="0"/>
                  </a:cubicBezTo>
                  <a:lnTo>
                    <a:pt x="0" y="0"/>
                  </a:lnTo>
                  <a:cubicBezTo>
                    <a:pt x="0" y="3"/>
                    <a:pt x="0" y="14"/>
                    <a:pt x="20" y="34"/>
                  </a:cubicBezTo>
                  <a:cubicBezTo>
                    <a:pt x="26" y="39"/>
                    <a:pt x="26" y="39"/>
                    <a:pt x="28" y="3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" name="Freeform 73"/>
            <p:cNvSpPr>
              <a:spLocks noChangeArrowheads="1"/>
            </p:cNvSpPr>
            <p:nvPr/>
          </p:nvSpPr>
          <p:spPr bwMode="auto">
            <a:xfrm>
              <a:off x="3603625" y="2605088"/>
              <a:ext cx="7938" cy="9525"/>
            </a:xfrm>
            <a:custGeom>
              <a:avLst/>
              <a:gdLst>
                <a:gd name="T0" fmla="*/ 0 w 24"/>
                <a:gd name="T1" fmla="*/ 26 h 27"/>
                <a:gd name="T2" fmla="*/ 23 w 24"/>
                <a:gd name="T3" fmla="*/ 3 h 27"/>
                <a:gd name="T4" fmla="*/ 20 w 24"/>
                <a:gd name="T5" fmla="*/ 0 h 27"/>
                <a:gd name="T6" fmla="*/ 3 w 24"/>
                <a:gd name="T7" fmla="*/ 20 h 27"/>
                <a:gd name="T8" fmla="*/ 0 w 24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7">
                  <a:moveTo>
                    <a:pt x="0" y="26"/>
                  </a:moveTo>
                  <a:cubicBezTo>
                    <a:pt x="6" y="17"/>
                    <a:pt x="14" y="11"/>
                    <a:pt x="23" y="3"/>
                  </a:cubicBezTo>
                  <a:cubicBezTo>
                    <a:pt x="23" y="3"/>
                    <a:pt x="20" y="3"/>
                    <a:pt x="20" y="0"/>
                  </a:cubicBezTo>
                  <a:cubicBezTo>
                    <a:pt x="14" y="6"/>
                    <a:pt x="9" y="11"/>
                    <a:pt x="3" y="20"/>
                  </a:cubicBezTo>
                  <a:cubicBezTo>
                    <a:pt x="3" y="23"/>
                    <a:pt x="0" y="23"/>
                    <a:pt x="0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" name="Freeform 74"/>
            <p:cNvSpPr>
              <a:spLocks noChangeArrowheads="1"/>
            </p:cNvSpPr>
            <p:nvPr/>
          </p:nvSpPr>
          <p:spPr bwMode="auto">
            <a:xfrm>
              <a:off x="3613150" y="2593975"/>
              <a:ext cx="1588" cy="1588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3 h 4"/>
                <a:gd name="T4" fmla="*/ 2 w 3"/>
                <a:gd name="T5" fmla="*/ 3 h 4"/>
                <a:gd name="T6" fmla="*/ 2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" name="Freeform 75"/>
            <p:cNvSpPr>
              <a:spLocks noChangeArrowheads="1"/>
            </p:cNvSpPr>
            <p:nvPr/>
          </p:nvSpPr>
          <p:spPr bwMode="auto">
            <a:xfrm>
              <a:off x="3613150" y="2601913"/>
              <a:ext cx="3175" cy="3175"/>
            </a:xfrm>
            <a:custGeom>
              <a:avLst/>
              <a:gdLst>
                <a:gd name="T0" fmla="*/ 5 w 9"/>
                <a:gd name="T1" fmla="*/ 5 h 9"/>
                <a:gd name="T2" fmla="*/ 8 w 9"/>
                <a:gd name="T3" fmla="*/ 2 h 9"/>
                <a:gd name="T4" fmla="*/ 5 w 9"/>
                <a:gd name="T5" fmla="*/ 0 h 9"/>
                <a:gd name="T6" fmla="*/ 0 w 9"/>
                <a:gd name="T7" fmla="*/ 5 h 9"/>
                <a:gd name="T8" fmla="*/ 3 w 9"/>
                <a:gd name="T9" fmla="*/ 6 h 9"/>
                <a:gd name="T10" fmla="*/ 5 w 9"/>
                <a:gd name="T11" fmla="*/ 5 h 9"/>
                <a:gd name="T12" fmla="*/ 5 w 9"/>
                <a:gd name="T13" fmla="*/ 5 h 9"/>
                <a:gd name="T14" fmla="*/ 3 w 9"/>
                <a:gd name="T15" fmla="*/ 6 h 9"/>
                <a:gd name="T16" fmla="*/ 5 w 9"/>
                <a:gd name="T1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5" y="5"/>
                  </a:moveTo>
                  <a:lnTo>
                    <a:pt x="8" y="2"/>
                  </a:lnTo>
                  <a:lnTo>
                    <a:pt x="5" y="0"/>
                  </a:lnTo>
                  <a:lnTo>
                    <a:pt x="0" y="5"/>
                  </a:lnTo>
                  <a:cubicBezTo>
                    <a:pt x="0" y="8"/>
                    <a:pt x="0" y="8"/>
                    <a:pt x="3" y="6"/>
                  </a:cubicBezTo>
                  <a:cubicBezTo>
                    <a:pt x="3" y="6"/>
                    <a:pt x="4" y="5"/>
                    <a:pt x="5" y="5"/>
                  </a:cubicBezTo>
                  <a:close/>
                  <a:moveTo>
                    <a:pt x="5" y="5"/>
                  </a:moveTo>
                  <a:cubicBezTo>
                    <a:pt x="4" y="7"/>
                    <a:pt x="3" y="7"/>
                    <a:pt x="3" y="6"/>
                  </a:cubicBezTo>
                  <a:cubicBezTo>
                    <a:pt x="4" y="6"/>
                    <a:pt x="4" y="6"/>
                    <a:pt x="5" y="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" name="Freeform 76"/>
            <p:cNvSpPr>
              <a:spLocks noChangeArrowheads="1"/>
            </p:cNvSpPr>
            <p:nvPr/>
          </p:nvSpPr>
          <p:spPr bwMode="auto">
            <a:xfrm>
              <a:off x="4171950" y="3094038"/>
              <a:ext cx="3175" cy="1587"/>
            </a:xfrm>
            <a:custGeom>
              <a:avLst/>
              <a:gdLst>
                <a:gd name="T0" fmla="*/ 6 w 10"/>
                <a:gd name="T1" fmla="*/ 5 h 6"/>
                <a:gd name="T2" fmla="*/ 6 w 10"/>
                <a:gd name="T3" fmla="*/ 0 h 6"/>
                <a:gd name="T4" fmla="*/ 0 w 10"/>
                <a:gd name="T5" fmla="*/ 0 h 6"/>
                <a:gd name="T6" fmla="*/ 0 w 10"/>
                <a:gd name="T7" fmla="*/ 3 h 6"/>
                <a:gd name="T8" fmla="*/ 0 w 10"/>
                <a:gd name="T9" fmla="*/ 3 h 6"/>
                <a:gd name="T10" fmla="*/ 6 w 10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6">
                  <a:moveTo>
                    <a:pt x="6" y="5"/>
                  </a:moveTo>
                  <a:cubicBezTo>
                    <a:pt x="6" y="5"/>
                    <a:pt x="9" y="3"/>
                    <a:pt x="6" y="0"/>
                  </a:cubicBez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cubicBezTo>
                    <a:pt x="3" y="5"/>
                    <a:pt x="3" y="5"/>
                    <a:pt x="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" name="Freeform 77"/>
            <p:cNvSpPr>
              <a:spLocks noChangeArrowheads="1"/>
            </p:cNvSpPr>
            <p:nvPr/>
          </p:nvSpPr>
          <p:spPr bwMode="auto">
            <a:xfrm>
              <a:off x="4214813" y="3089275"/>
              <a:ext cx="4762" cy="3175"/>
            </a:xfrm>
            <a:custGeom>
              <a:avLst/>
              <a:gdLst>
                <a:gd name="T0" fmla="*/ 3 w 15"/>
                <a:gd name="T1" fmla="*/ 0 h 9"/>
                <a:gd name="T2" fmla="*/ 14 w 15"/>
                <a:gd name="T3" fmla="*/ 8 h 9"/>
                <a:gd name="T4" fmla="*/ 3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3" y="0"/>
                  </a:moveTo>
                  <a:cubicBezTo>
                    <a:pt x="0" y="8"/>
                    <a:pt x="5" y="8"/>
                    <a:pt x="14" y="8"/>
                  </a:cubicBezTo>
                  <a:cubicBezTo>
                    <a:pt x="14" y="0"/>
                    <a:pt x="8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" name="Freeform 78"/>
            <p:cNvSpPr>
              <a:spLocks noChangeArrowheads="1"/>
            </p:cNvSpPr>
            <p:nvPr/>
          </p:nvSpPr>
          <p:spPr bwMode="auto">
            <a:xfrm>
              <a:off x="4289425" y="3055938"/>
              <a:ext cx="7938" cy="7937"/>
            </a:xfrm>
            <a:custGeom>
              <a:avLst/>
              <a:gdLst>
                <a:gd name="T0" fmla="*/ 8 w 20"/>
                <a:gd name="T1" fmla="*/ 23 h 24"/>
                <a:gd name="T2" fmla="*/ 19 w 20"/>
                <a:gd name="T3" fmla="*/ 6 h 24"/>
                <a:gd name="T4" fmla="*/ 8 w 20"/>
                <a:gd name="T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8" y="23"/>
                  </a:moveTo>
                  <a:cubicBezTo>
                    <a:pt x="19" y="23"/>
                    <a:pt x="19" y="17"/>
                    <a:pt x="19" y="6"/>
                  </a:cubicBezTo>
                  <a:cubicBezTo>
                    <a:pt x="14" y="0"/>
                    <a:pt x="0" y="14"/>
                    <a:pt x="8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" name="Freeform 79"/>
            <p:cNvSpPr>
              <a:spLocks noChangeArrowheads="1"/>
            </p:cNvSpPr>
            <p:nvPr/>
          </p:nvSpPr>
          <p:spPr bwMode="auto">
            <a:xfrm>
              <a:off x="4262438" y="3073400"/>
              <a:ext cx="4762" cy="6350"/>
            </a:xfrm>
            <a:custGeom>
              <a:avLst/>
              <a:gdLst>
                <a:gd name="T0" fmla="*/ 14 w 15"/>
                <a:gd name="T1" fmla="*/ 3 h 18"/>
                <a:gd name="T2" fmla="*/ 14 w 15"/>
                <a:gd name="T3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14" y="3"/>
                  </a:moveTo>
                  <a:cubicBezTo>
                    <a:pt x="0" y="0"/>
                    <a:pt x="11" y="17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" name="Freeform 80"/>
            <p:cNvSpPr>
              <a:spLocks noChangeArrowheads="1"/>
            </p:cNvSpPr>
            <p:nvPr/>
          </p:nvSpPr>
          <p:spPr bwMode="auto">
            <a:xfrm>
              <a:off x="4149725" y="3090863"/>
              <a:ext cx="3175" cy="3175"/>
            </a:xfrm>
            <a:custGeom>
              <a:avLst/>
              <a:gdLst>
                <a:gd name="T0" fmla="*/ 0 w 7"/>
                <a:gd name="T1" fmla="*/ 0 h 10"/>
                <a:gd name="T2" fmla="*/ 0 w 7"/>
                <a:gd name="T3" fmla="*/ 0 h 10"/>
                <a:gd name="T4" fmla="*/ 3 w 7"/>
                <a:gd name="T5" fmla="*/ 9 h 10"/>
                <a:gd name="T6" fmla="*/ 6 w 7"/>
                <a:gd name="T7" fmla="*/ 3 h 10"/>
                <a:gd name="T8" fmla="*/ 0 w 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0" y="0"/>
                  </a:moveTo>
                  <a:lnTo>
                    <a:pt x="0" y="0"/>
                  </a:lnTo>
                  <a:cubicBezTo>
                    <a:pt x="0" y="6"/>
                    <a:pt x="3" y="9"/>
                    <a:pt x="3" y="9"/>
                  </a:cubicBezTo>
                  <a:cubicBezTo>
                    <a:pt x="3" y="6"/>
                    <a:pt x="6" y="6"/>
                    <a:pt x="6" y="3"/>
                  </a:cubicBez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" name="Freeform 81"/>
            <p:cNvSpPr>
              <a:spLocks noChangeArrowheads="1"/>
            </p:cNvSpPr>
            <p:nvPr/>
          </p:nvSpPr>
          <p:spPr bwMode="auto">
            <a:xfrm>
              <a:off x="3614738" y="2587625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" name="Freeform 82"/>
            <p:cNvSpPr>
              <a:spLocks noChangeArrowheads="1"/>
            </p:cNvSpPr>
            <p:nvPr/>
          </p:nvSpPr>
          <p:spPr bwMode="auto">
            <a:xfrm>
              <a:off x="3629025" y="2708275"/>
              <a:ext cx="1588" cy="1588"/>
            </a:xfrm>
            <a:custGeom>
              <a:avLst/>
              <a:gdLst>
                <a:gd name="T0" fmla="*/ 5 w 6"/>
                <a:gd name="T1" fmla="*/ 3 h 4"/>
                <a:gd name="T2" fmla="*/ 3 w 6"/>
                <a:gd name="T3" fmla="*/ 0 h 4"/>
                <a:gd name="T4" fmla="*/ 0 w 6"/>
                <a:gd name="T5" fmla="*/ 3 h 4"/>
                <a:gd name="T6" fmla="*/ 5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5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" name="Freeform 83"/>
            <p:cNvSpPr>
              <a:spLocks noChangeArrowheads="1"/>
            </p:cNvSpPr>
            <p:nvPr/>
          </p:nvSpPr>
          <p:spPr bwMode="auto">
            <a:xfrm>
              <a:off x="3609975" y="2484438"/>
              <a:ext cx="7938" cy="7937"/>
            </a:xfrm>
            <a:custGeom>
              <a:avLst/>
              <a:gdLst>
                <a:gd name="T0" fmla="*/ 0 w 24"/>
                <a:gd name="T1" fmla="*/ 0 h 24"/>
                <a:gd name="T2" fmla="*/ 20 w 24"/>
                <a:gd name="T3" fmla="*/ 23 h 24"/>
                <a:gd name="T4" fmla="*/ 23 w 24"/>
                <a:gd name="T5" fmla="*/ 23 h 24"/>
                <a:gd name="T6" fmla="*/ 0 w 2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4">
                  <a:moveTo>
                    <a:pt x="0" y="0"/>
                  </a:moveTo>
                  <a:cubicBezTo>
                    <a:pt x="6" y="9"/>
                    <a:pt x="11" y="17"/>
                    <a:pt x="20" y="23"/>
                  </a:cubicBezTo>
                  <a:lnTo>
                    <a:pt x="23" y="23"/>
                  </a:lnTo>
                  <a:cubicBezTo>
                    <a:pt x="11" y="14"/>
                    <a:pt x="6" y="9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" name="Freeform 84"/>
            <p:cNvSpPr>
              <a:spLocks noChangeArrowheads="1"/>
            </p:cNvSpPr>
            <p:nvPr/>
          </p:nvSpPr>
          <p:spPr bwMode="auto">
            <a:xfrm>
              <a:off x="4200525" y="3089275"/>
              <a:ext cx="3175" cy="3175"/>
            </a:xfrm>
            <a:custGeom>
              <a:avLst/>
              <a:gdLst>
                <a:gd name="T0" fmla="*/ 6 w 10"/>
                <a:gd name="T1" fmla="*/ 6 h 7"/>
                <a:gd name="T2" fmla="*/ 9 w 10"/>
                <a:gd name="T3" fmla="*/ 3 h 7"/>
                <a:gd name="T4" fmla="*/ 0 w 10"/>
                <a:gd name="T5" fmla="*/ 0 h 7"/>
                <a:gd name="T6" fmla="*/ 6 w 10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6" y="6"/>
                  </a:moveTo>
                  <a:lnTo>
                    <a:pt x="9" y="3"/>
                  </a:lnTo>
                  <a:cubicBezTo>
                    <a:pt x="6" y="3"/>
                    <a:pt x="3" y="3"/>
                    <a:pt x="0" y="0"/>
                  </a:cubicBezTo>
                  <a:lnTo>
                    <a:pt x="6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" name="Freeform 85"/>
            <p:cNvSpPr>
              <a:spLocks noChangeArrowheads="1"/>
            </p:cNvSpPr>
            <p:nvPr/>
          </p:nvSpPr>
          <p:spPr bwMode="auto">
            <a:xfrm>
              <a:off x="3703638" y="2881313"/>
              <a:ext cx="3175" cy="3175"/>
            </a:xfrm>
            <a:custGeom>
              <a:avLst/>
              <a:gdLst>
                <a:gd name="T0" fmla="*/ 5 w 9"/>
                <a:gd name="T1" fmla="*/ 9 h 10"/>
                <a:gd name="T2" fmla="*/ 8 w 9"/>
                <a:gd name="T3" fmla="*/ 0 h 10"/>
                <a:gd name="T4" fmla="*/ 2 w 9"/>
                <a:gd name="T5" fmla="*/ 0 h 10"/>
                <a:gd name="T6" fmla="*/ 5 w 9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5" y="9"/>
                  </a:moveTo>
                  <a:cubicBezTo>
                    <a:pt x="5" y="6"/>
                    <a:pt x="5" y="3"/>
                    <a:pt x="8" y="0"/>
                  </a:cubicBezTo>
                  <a:lnTo>
                    <a:pt x="2" y="0"/>
                  </a:lnTo>
                  <a:cubicBezTo>
                    <a:pt x="0" y="3"/>
                    <a:pt x="0" y="6"/>
                    <a:pt x="5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" name="Freeform 86"/>
            <p:cNvSpPr>
              <a:spLocks noChangeArrowheads="1"/>
            </p:cNvSpPr>
            <p:nvPr/>
          </p:nvSpPr>
          <p:spPr bwMode="auto">
            <a:xfrm>
              <a:off x="3665538" y="2828925"/>
              <a:ext cx="3175" cy="1588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5 h 6"/>
                <a:gd name="T4" fmla="*/ 6 w 7"/>
                <a:gd name="T5" fmla="*/ 0 h 6"/>
                <a:gd name="T6" fmla="*/ 0 w 7"/>
                <a:gd name="T7" fmla="*/ 0 h 6"/>
                <a:gd name="T8" fmla="*/ 0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lnTo>
                    <a:pt x="6" y="5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" name="Freeform 87"/>
            <p:cNvSpPr>
              <a:spLocks noChangeArrowheads="1"/>
            </p:cNvSpPr>
            <p:nvPr/>
          </p:nvSpPr>
          <p:spPr bwMode="auto">
            <a:xfrm>
              <a:off x="3625850" y="2732088"/>
              <a:ext cx="6350" cy="1587"/>
            </a:xfrm>
            <a:custGeom>
              <a:avLst/>
              <a:gdLst>
                <a:gd name="T0" fmla="*/ 3 w 18"/>
                <a:gd name="T1" fmla="*/ 3 h 6"/>
                <a:gd name="T2" fmla="*/ 12 w 18"/>
                <a:gd name="T3" fmla="*/ 5 h 6"/>
                <a:gd name="T4" fmla="*/ 3 w 18"/>
                <a:gd name="T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6">
                  <a:moveTo>
                    <a:pt x="3" y="3"/>
                  </a:moveTo>
                  <a:lnTo>
                    <a:pt x="12" y="5"/>
                  </a:lnTo>
                  <a:cubicBezTo>
                    <a:pt x="17" y="0"/>
                    <a:pt x="0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" name="Freeform 88"/>
            <p:cNvSpPr>
              <a:spLocks noChangeArrowheads="1"/>
            </p:cNvSpPr>
            <p:nvPr/>
          </p:nvSpPr>
          <p:spPr bwMode="auto">
            <a:xfrm>
              <a:off x="3890963" y="3028950"/>
              <a:ext cx="3175" cy="4763"/>
            </a:xfrm>
            <a:custGeom>
              <a:avLst/>
              <a:gdLst>
                <a:gd name="T0" fmla="*/ 8 w 9"/>
                <a:gd name="T1" fmla="*/ 9 h 13"/>
                <a:gd name="T2" fmla="*/ 8 w 9"/>
                <a:gd name="T3" fmla="*/ 0 h 13"/>
                <a:gd name="T4" fmla="*/ 0 w 9"/>
                <a:gd name="T5" fmla="*/ 3 h 13"/>
                <a:gd name="T6" fmla="*/ 0 w 9"/>
                <a:gd name="T7" fmla="*/ 12 h 13"/>
                <a:gd name="T8" fmla="*/ 8 w 9"/>
                <a:gd name="T9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3">
                  <a:moveTo>
                    <a:pt x="8" y="9"/>
                  </a:moveTo>
                  <a:cubicBezTo>
                    <a:pt x="8" y="6"/>
                    <a:pt x="8" y="3"/>
                    <a:pt x="8" y="0"/>
                  </a:cubicBezTo>
                  <a:cubicBezTo>
                    <a:pt x="5" y="3"/>
                    <a:pt x="3" y="3"/>
                    <a:pt x="0" y="3"/>
                  </a:cubicBezTo>
                  <a:cubicBezTo>
                    <a:pt x="0" y="6"/>
                    <a:pt x="0" y="9"/>
                    <a:pt x="0" y="12"/>
                  </a:cubicBezTo>
                  <a:cubicBezTo>
                    <a:pt x="3" y="12"/>
                    <a:pt x="5" y="9"/>
                    <a:pt x="8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" name="Freeform 89"/>
            <p:cNvSpPr>
              <a:spLocks noChangeArrowheads="1"/>
            </p:cNvSpPr>
            <p:nvPr/>
          </p:nvSpPr>
          <p:spPr bwMode="auto">
            <a:xfrm>
              <a:off x="3756025" y="2936875"/>
              <a:ext cx="3175" cy="1588"/>
            </a:xfrm>
            <a:custGeom>
              <a:avLst/>
              <a:gdLst>
                <a:gd name="T0" fmla="*/ 6 w 7"/>
                <a:gd name="T1" fmla="*/ 0 h 3"/>
                <a:gd name="T2" fmla="*/ 6 w 7"/>
                <a:gd name="T3" fmla="*/ 0 h 3"/>
                <a:gd name="T4" fmla="*/ 0 w 7"/>
                <a:gd name="T5" fmla="*/ 0 h 3"/>
                <a:gd name="T6" fmla="*/ 6 w 7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6" y="0"/>
                  </a:moveTo>
                  <a:lnTo>
                    <a:pt x="6" y="0"/>
                  </a:lnTo>
                  <a:cubicBezTo>
                    <a:pt x="3" y="0"/>
                    <a:pt x="3" y="0"/>
                    <a:pt x="0" y="0"/>
                  </a:cubicBezTo>
                  <a:cubicBezTo>
                    <a:pt x="0" y="2"/>
                    <a:pt x="3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" name="Freeform 90"/>
            <p:cNvSpPr>
              <a:spLocks noChangeArrowheads="1"/>
            </p:cNvSpPr>
            <p:nvPr/>
          </p:nvSpPr>
          <p:spPr bwMode="auto">
            <a:xfrm>
              <a:off x="3609975" y="2565400"/>
              <a:ext cx="3175" cy="4763"/>
            </a:xfrm>
            <a:custGeom>
              <a:avLst/>
              <a:gdLst>
                <a:gd name="T0" fmla="*/ 9 w 10"/>
                <a:gd name="T1" fmla="*/ 11 h 15"/>
                <a:gd name="T2" fmla="*/ 3 w 10"/>
                <a:gd name="T3" fmla="*/ 0 h 15"/>
                <a:gd name="T4" fmla="*/ 9 w 10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9" y="11"/>
                  </a:moveTo>
                  <a:cubicBezTo>
                    <a:pt x="9" y="6"/>
                    <a:pt x="9" y="0"/>
                    <a:pt x="3" y="0"/>
                  </a:cubicBezTo>
                  <a:cubicBezTo>
                    <a:pt x="0" y="6"/>
                    <a:pt x="0" y="14"/>
                    <a:pt x="9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" name="Freeform 91"/>
            <p:cNvSpPr>
              <a:spLocks noChangeArrowheads="1"/>
            </p:cNvSpPr>
            <p:nvPr/>
          </p:nvSpPr>
          <p:spPr bwMode="auto">
            <a:xfrm>
              <a:off x="3854450" y="3016250"/>
              <a:ext cx="9525" cy="11113"/>
            </a:xfrm>
            <a:custGeom>
              <a:avLst/>
              <a:gdLst>
                <a:gd name="T0" fmla="*/ 6 w 27"/>
                <a:gd name="T1" fmla="*/ 0 h 30"/>
                <a:gd name="T2" fmla="*/ 6 w 27"/>
                <a:gd name="T3" fmla="*/ 29 h 30"/>
                <a:gd name="T4" fmla="*/ 26 w 27"/>
                <a:gd name="T5" fmla="*/ 23 h 30"/>
                <a:gd name="T6" fmla="*/ 6 w 27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30">
                  <a:moveTo>
                    <a:pt x="6" y="0"/>
                  </a:moveTo>
                  <a:cubicBezTo>
                    <a:pt x="0" y="6"/>
                    <a:pt x="9" y="14"/>
                    <a:pt x="6" y="29"/>
                  </a:cubicBezTo>
                  <a:cubicBezTo>
                    <a:pt x="11" y="29"/>
                    <a:pt x="20" y="26"/>
                    <a:pt x="26" y="23"/>
                  </a:cubicBezTo>
                  <a:cubicBezTo>
                    <a:pt x="26" y="6"/>
                    <a:pt x="17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" name="Freeform 92"/>
            <p:cNvSpPr>
              <a:spLocks noChangeArrowheads="1"/>
            </p:cNvSpPr>
            <p:nvPr/>
          </p:nvSpPr>
          <p:spPr bwMode="auto">
            <a:xfrm>
              <a:off x="3722688" y="2898775"/>
              <a:ext cx="4762" cy="3175"/>
            </a:xfrm>
            <a:custGeom>
              <a:avLst/>
              <a:gdLst>
                <a:gd name="T0" fmla="*/ 11 w 12"/>
                <a:gd name="T1" fmla="*/ 0 h 7"/>
                <a:gd name="T2" fmla="*/ 0 w 12"/>
                <a:gd name="T3" fmla="*/ 0 h 7"/>
                <a:gd name="T4" fmla="*/ 0 w 12"/>
                <a:gd name="T5" fmla="*/ 3 h 7"/>
                <a:gd name="T6" fmla="*/ 11 w 12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9" y="0"/>
                    <a:pt x="3" y="0"/>
                    <a:pt x="0" y="0"/>
                  </a:cubicBezTo>
                  <a:lnTo>
                    <a:pt x="0" y="3"/>
                  </a:lnTo>
                  <a:cubicBezTo>
                    <a:pt x="3" y="6"/>
                    <a:pt x="6" y="3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" name="Freeform 93"/>
            <p:cNvSpPr>
              <a:spLocks noChangeArrowheads="1"/>
            </p:cNvSpPr>
            <p:nvPr/>
          </p:nvSpPr>
          <p:spPr bwMode="auto">
            <a:xfrm>
              <a:off x="3910013" y="3063875"/>
              <a:ext cx="4762" cy="4763"/>
            </a:xfrm>
            <a:custGeom>
              <a:avLst/>
              <a:gdLst>
                <a:gd name="T0" fmla="*/ 14 w 15"/>
                <a:gd name="T1" fmla="*/ 6 h 15"/>
                <a:gd name="T2" fmla="*/ 0 w 15"/>
                <a:gd name="T3" fmla="*/ 6 h 15"/>
                <a:gd name="T4" fmla="*/ 14 w 15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6"/>
                  </a:moveTo>
                  <a:cubicBezTo>
                    <a:pt x="11" y="6"/>
                    <a:pt x="0" y="0"/>
                    <a:pt x="0" y="6"/>
                  </a:cubicBezTo>
                  <a:cubicBezTo>
                    <a:pt x="2" y="9"/>
                    <a:pt x="11" y="14"/>
                    <a:pt x="14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" name="Freeform 94"/>
            <p:cNvSpPr>
              <a:spLocks noChangeArrowheads="1"/>
            </p:cNvSpPr>
            <p:nvPr/>
          </p:nvSpPr>
          <p:spPr bwMode="auto">
            <a:xfrm>
              <a:off x="3729038" y="2909888"/>
              <a:ext cx="11112" cy="14287"/>
            </a:xfrm>
            <a:custGeom>
              <a:avLst/>
              <a:gdLst>
                <a:gd name="T0" fmla="*/ 23 w 32"/>
                <a:gd name="T1" fmla="*/ 34 h 38"/>
                <a:gd name="T2" fmla="*/ 31 w 32"/>
                <a:gd name="T3" fmla="*/ 26 h 38"/>
                <a:gd name="T4" fmla="*/ 20 w 32"/>
                <a:gd name="T5" fmla="*/ 14 h 38"/>
                <a:gd name="T6" fmla="*/ 3 w 32"/>
                <a:gd name="T7" fmla="*/ 6 h 38"/>
                <a:gd name="T8" fmla="*/ 9 w 32"/>
                <a:gd name="T9" fmla="*/ 14 h 38"/>
                <a:gd name="T10" fmla="*/ 0 w 32"/>
                <a:gd name="T11" fmla="*/ 29 h 38"/>
                <a:gd name="T12" fmla="*/ 23 w 32"/>
                <a:gd name="T13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8">
                  <a:moveTo>
                    <a:pt x="23" y="34"/>
                  </a:moveTo>
                  <a:cubicBezTo>
                    <a:pt x="23" y="29"/>
                    <a:pt x="23" y="23"/>
                    <a:pt x="31" y="26"/>
                  </a:cubicBezTo>
                  <a:cubicBezTo>
                    <a:pt x="31" y="17"/>
                    <a:pt x="23" y="17"/>
                    <a:pt x="20" y="14"/>
                  </a:cubicBezTo>
                  <a:cubicBezTo>
                    <a:pt x="17" y="9"/>
                    <a:pt x="11" y="0"/>
                    <a:pt x="3" y="6"/>
                  </a:cubicBezTo>
                  <a:cubicBezTo>
                    <a:pt x="0" y="14"/>
                    <a:pt x="11" y="9"/>
                    <a:pt x="9" y="14"/>
                  </a:cubicBezTo>
                  <a:cubicBezTo>
                    <a:pt x="11" y="23"/>
                    <a:pt x="0" y="20"/>
                    <a:pt x="0" y="29"/>
                  </a:cubicBezTo>
                  <a:cubicBezTo>
                    <a:pt x="6" y="31"/>
                    <a:pt x="14" y="37"/>
                    <a:pt x="23" y="3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" name="Freeform 95"/>
            <p:cNvSpPr>
              <a:spLocks noChangeArrowheads="1"/>
            </p:cNvSpPr>
            <p:nvPr/>
          </p:nvSpPr>
          <p:spPr bwMode="auto">
            <a:xfrm>
              <a:off x="3813175" y="3008313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6 h 7"/>
                <a:gd name="T4" fmla="*/ 9 w 10"/>
                <a:gd name="T5" fmla="*/ 0 h 7"/>
                <a:gd name="T6" fmla="*/ 0 w 10"/>
                <a:gd name="T7" fmla="*/ 0 h 7"/>
                <a:gd name="T8" fmla="*/ 0 w 10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lnTo>
                    <a:pt x="9" y="6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" name="Freeform 96"/>
            <p:cNvSpPr>
              <a:spLocks noChangeArrowheads="1"/>
            </p:cNvSpPr>
            <p:nvPr/>
          </p:nvSpPr>
          <p:spPr bwMode="auto">
            <a:xfrm>
              <a:off x="3937000" y="3048000"/>
              <a:ext cx="1588" cy="3175"/>
            </a:xfrm>
            <a:custGeom>
              <a:avLst/>
              <a:gdLst>
                <a:gd name="T0" fmla="*/ 5 w 6"/>
                <a:gd name="T1" fmla="*/ 0 h 9"/>
                <a:gd name="T2" fmla="*/ 0 w 6"/>
                <a:gd name="T3" fmla="*/ 5 h 9"/>
                <a:gd name="T4" fmla="*/ 0 w 6"/>
                <a:gd name="T5" fmla="*/ 8 h 9"/>
                <a:gd name="T6" fmla="*/ 5 w 6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9">
                  <a:moveTo>
                    <a:pt x="5" y="0"/>
                  </a:moveTo>
                  <a:cubicBezTo>
                    <a:pt x="2" y="3"/>
                    <a:pt x="2" y="3"/>
                    <a:pt x="0" y="5"/>
                  </a:cubicBezTo>
                  <a:lnTo>
                    <a:pt x="0" y="8"/>
                  </a:lnTo>
                  <a:cubicBezTo>
                    <a:pt x="2" y="5"/>
                    <a:pt x="2" y="5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" name="Freeform 97"/>
            <p:cNvSpPr>
              <a:spLocks noChangeArrowheads="1"/>
            </p:cNvSpPr>
            <p:nvPr/>
          </p:nvSpPr>
          <p:spPr bwMode="auto">
            <a:xfrm>
              <a:off x="3937000" y="3051175"/>
              <a:ext cx="4763" cy="7938"/>
            </a:xfrm>
            <a:custGeom>
              <a:avLst/>
              <a:gdLst>
                <a:gd name="T0" fmla="*/ 14 w 15"/>
                <a:gd name="T1" fmla="*/ 23 h 24"/>
                <a:gd name="T2" fmla="*/ 8 w 15"/>
                <a:gd name="T3" fmla="*/ 3 h 24"/>
                <a:gd name="T4" fmla="*/ 8 w 15"/>
                <a:gd name="T5" fmla="*/ 0 h 24"/>
                <a:gd name="T6" fmla="*/ 0 w 15"/>
                <a:gd name="T7" fmla="*/ 0 h 24"/>
                <a:gd name="T8" fmla="*/ 2 w 15"/>
                <a:gd name="T9" fmla="*/ 12 h 24"/>
                <a:gd name="T10" fmla="*/ 5 w 15"/>
                <a:gd name="T11" fmla="*/ 23 h 24"/>
                <a:gd name="T12" fmla="*/ 14 w 15"/>
                <a:gd name="T13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4">
                  <a:moveTo>
                    <a:pt x="14" y="23"/>
                  </a:moveTo>
                  <a:cubicBezTo>
                    <a:pt x="11" y="17"/>
                    <a:pt x="8" y="9"/>
                    <a:pt x="8" y="3"/>
                  </a:cubicBezTo>
                  <a:lnTo>
                    <a:pt x="8" y="0"/>
                  </a:lnTo>
                  <a:cubicBezTo>
                    <a:pt x="5" y="0"/>
                    <a:pt x="2" y="0"/>
                    <a:pt x="0" y="0"/>
                  </a:cubicBezTo>
                  <a:cubicBezTo>
                    <a:pt x="0" y="3"/>
                    <a:pt x="2" y="9"/>
                    <a:pt x="2" y="12"/>
                  </a:cubicBezTo>
                  <a:cubicBezTo>
                    <a:pt x="2" y="14"/>
                    <a:pt x="5" y="20"/>
                    <a:pt x="5" y="23"/>
                  </a:cubicBezTo>
                  <a:cubicBezTo>
                    <a:pt x="8" y="23"/>
                    <a:pt x="11" y="23"/>
                    <a:pt x="14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" name="Freeform 98"/>
            <p:cNvSpPr>
              <a:spLocks noChangeArrowheads="1"/>
            </p:cNvSpPr>
            <p:nvPr/>
          </p:nvSpPr>
          <p:spPr bwMode="auto">
            <a:xfrm>
              <a:off x="3863975" y="3027363"/>
              <a:ext cx="1588" cy="1587"/>
            </a:xfrm>
            <a:custGeom>
              <a:avLst/>
              <a:gdLst>
                <a:gd name="T0" fmla="*/ 3 w 4"/>
                <a:gd name="T1" fmla="*/ 3 h 4"/>
                <a:gd name="T2" fmla="*/ 0 w 4"/>
                <a:gd name="T3" fmla="*/ 0 h 4"/>
                <a:gd name="T4" fmla="*/ 3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3" y="3"/>
                    <a:pt x="0" y="3"/>
                    <a:pt x="0" y="0"/>
                  </a:cubicBezTo>
                  <a:cubicBezTo>
                    <a:pt x="0" y="0"/>
                    <a:pt x="3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" name="Freeform 99"/>
            <p:cNvSpPr>
              <a:spLocks noChangeArrowheads="1"/>
            </p:cNvSpPr>
            <p:nvPr/>
          </p:nvSpPr>
          <p:spPr bwMode="auto">
            <a:xfrm>
              <a:off x="3609975" y="2649538"/>
              <a:ext cx="1588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0 h 7"/>
                <a:gd name="T4" fmla="*/ 3 w 4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6"/>
                    <a:pt x="3" y="3"/>
                    <a:pt x="3" y="0"/>
                  </a:cubicBezTo>
                  <a:cubicBezTo>
                    <a:pt x="3" y="3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" name="Freeform 100"/>
            <p:cNvSpPr>
              <a:spLocks noChangeArrowheads="1"/>
            </p:cNvSpPr>
            <p:nvPr/>
          </p:nvSpPr>
          <p:spPr bwMode="auto">
            <a:xfrm>
              <a:off x="3890963" y="3033713"/>
              <a:ext cx="3175" cy="4762"/>
            </a:xfrm>
            <a:custGeom>
              <a:avLst/>
              <a:gdLst>
                <a:gd name="T0" fmla="*/ 0 w 9"/>
                <a:gd name="T1" fmla="*/ 5 h 12"/>
                <a:gd name="T2" fmla="*/ 0 w 9"/>
                <a:gd name="T3" fmla="*/ 11 h 12"/>
                <a:gd name="T4" fmla="*/ 8 w 9"/>
                <a:gd name="T5" fmla="*/ 8 h 12"/>
                <a:gd name="T6" fmla="*/ 5 w 9"/>
                <a:gd name="T7" fmla="*/ 0 h 12"/>
                <a:gd name="T8" fmla="*/ 0 w 9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5"/>
                  </a:moveTo>
                  <a:cubicBezTo>
                    <a:pt x="0" y="8"/>
                    <a:pt x="0" y="11"/>
                    <a:pt x="0" y="11"/>
                  </a:cubicBezTo>
                  <a:cubicBezTo>
                    <a:pt x="3" y="11"/>
                    <a:pt x="5" y="8"/>
                    <a:pt x="8" y="8"/>
                  </a:cubicBezTo>
                  <a:cubicBezTo>
                    <a:pt x="8" y="5"/>
                    <a:pt x="8" y="2"/>
                    <a:pt x="5" y="0"/>
                  </a:cubicBezTo>
                  <a:cubicBezTo>
                    <a:pt x="5" y="2"/>
                    <a:pt x="3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" name="Freeform 101"/>
            <p:cNvSpPr>
              <a:spLocks noChangeArrowheads="1"/>
            </p:cNvSpPr>
            <p:nvPr/>
          </p:nvSpPr>
          <p:spPr bwMode="auto">
            <a:xfrm>
              <a:off x="3867150" y="3016250"/>
              <a:ext cx="6350" cy="7938"/>
            </a:xfrm>
            <a:custGeom>
              <a:avLst/>
              <a:gdLst>
                <a:gd name="T0" fmla="*/ 3 w 18"/>
                <a:gd name="T1" fmla="*/ 16 h 20"/>
                <a:gd name="T2" fmla="*/ 17 w 18"/>
                <a:gd name="T3" fmla="*/ 8 h 20"/>
                <a:gd name="T4" fmla="*/ 3 w 18"/>
                <a:gd name="T5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0">
                  <a:moveTo>
                    <a:pt x="3" y="16"/>
                  </a:moveTo>
                  <a:cubicBezTo>
                    <a:pt x="8" y="19"/>
                    <a:pt x="14" y="16"/>
                    <a:pt x="17" y="8"/>
                  </a:cubicBezTo>
                  <a:cubicBezTo>
                    <a:pt x="8" y="5"/>
                    <a:pt x="0" y="0"/>
                    <a:pt x="3" y="1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" name="Freeform 102"/>
            <p:cNvSpPr>
              <a:spLocks noChangeArrowheads="1"/>
            </p:cNvSpPr>
            <p:nvPr/>
          </p:nvSpPr>
          <p:spPr bwMode="auto">
            <a:xfrm>
              <a:off x="3609975" y="2665413"/>
              <a:ext cx="3175" cy="6350"/>
            </a:xfrm>
            <a:custGeom>
              <a:avLst/>
              <a:gdLst>
                <a:gd name="T0" fmla="*/ 9 w 10"/>
                <a:gd name="T1" fmla="*/ 3 h 18"/>
                <a:gd name="T2" fmla="*/ 0 w 10"/>
                <a:gd name="T3" fmla="*/ 14 h 18"/>
                <a:gd name="T4" fmla="*/ 9 w 10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9" y="3"/>
                  </a:moveTo>
                  <a:cubicBezTo>
                    <a:pt x="0" y="0"/>
                    <a:pt x="0" y="6"/>
                    <a:pt x="0" y="14"/>
                  </a:cubicBezTo>
                  <a:cubicBezTo>
                    <a:pt x="9" y="17"/>
                    <a:pt x="9" y="12"/>
                    <a:pt x="9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" name="Freeform 103"/>
            <p:cNvSpPr>
              <a:spLocks noChangeArrowheads="1"/>
            </p:cNvSpPr>
            <p:nvPr/>
          </p:nvSpPr>
          <p:spPr bwMode="auto">
            <a:xfrm>
              <a:off x="3611563" y="2689225"/>
              <a:ext cx="1587" cy="3175"/>
            </a:xfrm>
            <a:custGeom>
              <a:avLst/>
              <a:gdLst>
                <a:gd name="T0" fmla="*/ 5 w 6"/>
                <a:gd name="T1" fmla="*/ 6 h 7"/>
                <a:gd name="T2" fmla="*/ 3 w 6"/>
                <a:gd name="T3" fmla="*/ 0 h 7"/>
                <a:gd name="T4" fmla="*/ 5 w 6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5" y="6"/>
                  </a:moveTo>
                  <a:cubicBezTo>
                    <a:pt x="5" y="3"/>
                    <a:pt x="3" y="3"/>
                    <a:pt x="3" y="0"/>
                  </a:cubicBezTo>
                  <a:cubicBezTo>
                    <a:pt x="0" y="3"/>
                    <a:pt x="3" y="6"/>
                    <a:pt x="5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" name="Freeform 104"/>
            <p:cNvSpPr>
              <a:spLocks noChangeArrowheads="1"/>
            </p:cNvSpPr>
            <p:nvPr/>
          </p:nvSpPr>
          <p:spPr bwMode="auto">
            <a:xfrm>
              <a:off x="3884613" y="3041650"/>
              <a:ext cx="12700" cy="17463"/>
            </a:xfrm>
            <a:custGeom>
              <a:avLst/>
              <a:gdLst>
                <a:gd name="T0" fmla="*/ 0 w 35"/>
                <a:gd name="T1" fmla="*/ 3 h 49"/>
                <a:gd name="T2" fmla="*/ 34 w 35"/>
                <a:gd name="T3" fmla="*/ 48 h 49"/>
                <a:gd name="T4" fmla="*/ 5 w 35"/>
                <a:gd name="T5" fmla="*/ 3 h 49"/>
                <a:gd name="T6" fmla="*/ 0 w 35"/>
                <a:gd name="T7" fmla="*/ 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49">
                  <a:moveTo>
                    <a:pt x="0" y="3"/>
                  </a:moveTo>
                  <a:cubicBezTo>
                    <a:pt x="5" y="20"/>
                    <a:pt x="17" y="37"/>
                    <a:pt x="34" y="48"/>
                  </a:cubicBezTo>
                  <a:cubicBezTo>
                    <a:pt x="20" y="37"/>
                    <a:pt x="11" y="20"/>
                    <a:pt x="5" y="3"/>
                  </a:cubicBezTo>
                  <a:cubicBezTo>
                    <a:pt x="3" y="0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" name="Freeform 105"/>
            <p:cNvSpPr>
              <a:spLocks noChangeArrowheads="1"/>
            </p:cNvSpPr>
            <p:nvPr/>
          </p:nvSpPr>
          <p:spPr bwMode="auto">
            <a:xfrm>
              <a:off x="3608388" y="2654300"/>
              <a:ext cx="3175" cy="3175"/>
            </a:xfrm>
            <a:custGeom>
              <a:avLst/>
              <a:gdLst>
                <a:gd name="T0" fmla="*/ 6 w 7"/>
                <a:gd name="T1" fmla="*/ 9 h 10"/>
                <a:gd name="T2" fmla="*/ 6 w 7"/>
                <a:gd name="T3" fmla="*/ 3 h 10"/>
                <a:gd name="T4" fmla="*/ 0 w 7"/>
                <a:gd name="T5" fmla="*/ 0 h 10"/>
                <a:gd name="T6" fmla="*/ 6 w 7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9"/>
                  </a:moveTo>
                  <a:cubicBezTo>
                    <a:pt x="6" y="6"/>
                    <a:pt x="6" y="6"/>
                    <a:pt x="6" y="3"/>
                  </a:cubicBezTo>
                  <a:cubicBezTo>
                    <a:pt x="3" y="3"/>
                    <a:pt x="3" y="0"/>
                    <a:pt x="0" y="0"/>
                  </a:cubicBezTo>
                  <a:cubicBezTo>
                    <a:pt x="3" y="6"/>
                    <a:pt x="3" y="9"/>
                    <a:pt x="6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" name="Freeform 106"/>
            <p:cNvSpPr>
              <a:spLocks noChangeArrowheads="1"/>
            </p:cNvSpPr>
            <p:nvPr/>
          </p:nvSpPr>
          <p:spPr bwMode="auto">
            <a:xfrm>
              <a:off x="3875088" y="3025775"/>
              <a:ext cx="4762" cy="7938"/>
            </a:xfrm>
            <a:custGeom>
              <a:avLst/>
              <a:gdLst>
                <a:gd name="T0" fmla="*/ 0 w 12"/>
                <a:gd name="T1" fmla="*/ 8 h 21"/>
                <a:gd name="T2" fmla="*/ 11 w 12"/>
                <a:gd name="T3" fmla="*/ 17 h 21"/>
                <a:gd name="T4" fmla="*/ 8 w 12"/>
                <a:gd name="T5" fmla="*/ 3 h 21"/>
                <a:gd name="T6" fmla="*/ 0 w 12"/>
                <a:gd name="T7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1">
                  <a:moveTo>
                    <a:pt x="0" y="8"/>
                  </a:moveTo>
                  <a:cubicBezTo>
                    <a:pt x="5" y="8"/>
                    <a:pt x="2" y="20"/>
                    <a:pt x="11" y="17"/>
                  </a:cubicBezTo>
                  <a:cubicBezTo>
                    <a:pt x="11" y="11"/>
                    <a:pt x="11" y="8"/>
                    <a:pt x="8" y="3"/>
                  </a:cubicBezTo>
                  <a:cubicBezTo>
                    <a:pt x="2" y="0"/>
                    <a:pt x="0" y="3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" name="Freeform 107"/>
            <p:cNvSpPr>
              <a:spLocks noChangeArrowheads="1"/>
            </p:cNvSpPr>
            <p:nvPr/>
          </p:nvSpPr>
          <p:spPr bwMode="auto">
            <a:xfrm>
              <a:off x="3878263" y="3033713"/>
              <a:ext cx="6350" cy="1587"/>
            </a:xfrm>
            <a:custGeom>
              <a:avLst/>
              <a:gdLst>
                <a:gd name="T0" fmla="*/ 0 w 18"/>
                <a:gd name="T1" fmla="*/ 5 h 6"/>
                <a:gd name="T2" fmla="*/ 17 w 18"/>
                <a:gd name="T3" fmla="*/ 5 h 6"/>
                <a:gd name="T4" fmla="*/ 17 w 18"/>
                <a:gd name="T5" fmla="*/ 0 h 6"/>
                <a:gd name="T6" fmla="*/ 0 w 18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0" y="5"/>
                  </a:moveTo>
                  <a:cubicBezTo>
                    <a:pt x="6" y="5"/>
                    <a:pt x="11" y="5"/>
                    <a:pt x="17" y="5"/>
                  </a:cubicBezTo>
                  <a:cubicBezTo>
                    <a:pt x="17" y="2"/>
                    <a:pt x="17" y="2"/>
                    <a:pt x="17" y="0"/>
                  </a:cubicBezTo>
                  <a:cubicBezTo>
                    <a:pt x="11" y="2"/>
                    <a:pt x="6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" name="Freeform 108"/>
            <p:cNvSpPr>
              <a:spLocks noChangeArrowheads="1"/>
            </p:cNvSpPr>
            <p:nvPr/>
          </p:nvSpPr>
          <p:spPr bwMode="auto">
            <a:xfrm>
              <a:off x="3600450" y="2470150"/>
              <a:ext cx="4763" cy="7938"/>
            </a:xfrm>
            <a:custGeom>
              <a:avLst/>
              <a:gdLst>
                <a:gd name="T0" fmla="*/ 0 w 15"/>
                <a:gd name="T1" fmla="*/ 6 h 21"/>
                <a:gd name="T2" fmla="*/ 3 w 15"/>
                <a:gd name="T3" fmla="*/ 20 h 21"/>
                <a:gd name="T4" fmla="*/ 8 w 15"/>
                <a:gd name="T5" fmla="*/ 0 h 21"/>
                <a:gd name="T6" fmla="*/ 0 w 15"/>
                <a:gd name="T7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1">
                  <a:moveTo>
                    <a:pt x="0" y="6"/>
                  </a:moveTo>
                  <a:cubicBezTo>
                    <a:pt x="0" y="11"/>
                    <a:pt x="3" y="14"/>
                    <a:pt x="3" y="20"/>
                  </a:cubicBezTo>
                  <a:cubicBezTo>
                    <a:pt x="5" y="14"/>
                    <a:pt x="14" y="8"/>
                    <a:pt x="8" y="0"/>
                  </a:cubicBezTo>
                  <a:cubicBezTo>
                    <a:pt x="5" y="3"/>
                    <a:pt x="3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" name="Freeform 109"/>
            <p:cNvSpPr>
              <a:spLocks noChangeArrowheads="1"/>
            </p:cNvSpPr>
            <p:nvPr/>
          </p:nvSpPr>
          <p:spPr bwMode="auto">
            <a:xfrm>
              <a:off x="3619500" y="2468563"/>
              <a:ext cx="6350" cy="4762"/>
            </a:xfrm>
            <a:custGeom>
              <a:avLst/>
              <a:gdLst>
                <a:gd name="T0" fmla="*/ 12 w 16"/>
                <a:gd name="T1" fmla="*/ 0 h 15"/>
                <a:gd name="T2" fmla="*/ 0 w 16"/>
                <a:gd name="T3" fmla="*/ 0 h 15"/>
                <a:gd name="T4" fmla="*/ 9 w 16"/>
                <a:gd name="T5" fmla="*/ 14 h 15"/>
                <a:gd name="T6" fmla="*/ 15 w 16"/>
                <a:gd name="T7" fmla="*/ 6 h 15"/>
                <a:gd name="T8" fmla="*/ 12 w 1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2" y="0"/>
                  </a:moveTo>
                  <a:lnTo>
                    <a:pt x="0" y="0"/>
                  </a:lnTo>
                  <a:cubicBezTo>
                    <a:pt x="3" y="6"/>
                    <a:pt x="6" y="12"/>
                    <a:pt x="9" y="14"/>
                  </a:cubicBezTo>
                  <a:cubicBezTo>
                    <a:pt x="9" y="12"/>
                    <a:pt x="12" y="9"/>
                    <a:pt x="15" y="6"/>
                  </a:cubicBezTo>
                  <a:cubicBezTo>
                    <a:pt x="12" y="3"/>
                    <a:pt x="12" y="3"/>
                    <a:pt x="1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" name="Freeform 110"/>
            <p:cNvSpPr>
              <a:spLocks noChangeArrowheads="1"/>
            </p:cNvSpPr>
            <p:nvPr/>
          </p:nvSpPr>
          <p:spPr bwMode="auto">
            <a:xfrm>
              <a:off x="3630613" y="2441575"/>
              <a:ext cx="4762" cy="3175"/>
            </a:xfrm>
            <a:custGeom>
              <a:avLst/>
              <a:gdLst>
                <a:gd name="T0" fmla="*/ 11 w 12"/>
                <a:gd name="T1" fmla="*/ 8 h 9"/>
                <a:gd name="T2" fmla="*/ 5 w 12"/>
                <a:gd name="T3" fmla="*/ 0 h 9"/>
                <a:gd name="T4" fmla="*/ 0 w 12"/>
                <a:gd name="T5" fmla="*/ 3 h 9"/>
                <a:gd name="T6" fmla="*/ 5 w 12"/>
                <a:gd name="T7" fmla="*/ 8 h 9"/>
                <a:gd name="T8" fmla="*/ 11 w 12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1" y="8"/>
                  </a:moveTo>
                  <a:cubicBezTo>
                    <a:pt x="8" y="6"/>
                    <a:pt x="8" y="3"/>
                    <a:pt x="5" y="0"/>
                  </a:cubicBezTo>
                  <a:cubicBezTo>
                    <a:pt x="2" y="0"/>
                    <a:pt x="2" y="0"/>
                    <a:pt x="0" y="3"/>
                  </a:cubicBezTo>
                  <a:cubicBezTo>
                    <a:pt x="2" y="6"/>
                    <a:pt x="2" y="8"/>
                    <a:pt x="5" y="8"/>
                  </a:cubicBezTo>
                  <a:cubicBezTo>
                    <a:pt x="8" y="8"/>
                    <a:pt x="8" y="8"/>
                    <a:pt x="11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" name="Freeform 111"/>
            <p:cNvSpPr>
              <a:spLocks noChangeArrowheads="1"/>
            </p:cNvSpPr>
            <p:nvPr/>
          </p:nvSpPr>
          <p:spPr bwMode="auto">
            <a:xfrm>
              <a:off x="4632325" y="2619375"/>
              <a:ext cx="6350" cy="4763"/>
            </a:xfrm>
            <a:custGeom>
              <a:avLst/>
              <a:gdLst>
                <a:gd name="T0" fmla="*/ 15 w 16"/>
                <a:gd name="T1" fmla="*/ 3 h 13"/>
                <a:gd name="T2" fmla="*/ 0 w 16"/>
                <a:gd name="T3" fmla="*/ 3 h 13"/>
                <a:gd name="T4" fmla="*/ 12 w 16"/>
                <a:gd name="T5" fmla="*/ 12 h 13"/>
                <a:gd name="T6" fmla="*/ 15 w 16"/>
                <a:gd name="T7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3">
                  <a:moveTo>
                    <a:pt x="15" y="3"/>
                  </a:moveTo>
                  <a:cubicBezTo>
                    <a:pt x="12" y="0"/>
                    <a:pt x="6" y="0"/>
                    <a:pt x="0" y="3"/>
                  </a:cubicBezTo>
                  <a:cubicBezTo>
                    <a:pt x="0" y="9"/>
                    <a:pt x="3" y="12"/>
                    <a:pt x="12" y="12"/>
                  </a:cubicBezTo>
                  <a:cubicBezTo>
                    <a:pt x="12" y="9"/>
                    <a:pt x="15" y="6"/>
                    <a:pt x="1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" name="Freeform 112"/>
            <p:cNvSpPr>
              <a:spLocks noChangeArrowheads="1"/>
            </p:cNvSpPr>
            <p:nvPr/>
          </p:nvSpPr>
          <p:spPr bwMode="auto">
            <a:xfrm>
              <a:off x="3616325" y="2476500"/>
              <a:ext cx="7938" cy="7938"/>
            </a:xfrm>
            <a:custGeom>
              <a:avLst/>
              <a:gdLst>
                <a:gd name="T0" fmla="*/ 0 w 24"/>
                <a:gd name="T1" fmla="*/ 8 h 23"/>
                <a:gd name="T2" fmla="*/ 23 w 24"/>
                <a:gd name="T3" fmla="*/ 14 h 23"/>
                <a:gd name="T4" fmla="*/ 23 w 24"/>
                <a:gd name="T5" fmla="*/ 5 h 23"/>
                <a:gd name="T6" fmla="*/ 0 w 24"/>
                <a:gd name="T7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3">
                  <a:moveTo>
                    <a:pt x="0" y="8"/>
                  </a:moveTo>
                  <a:cubicBezTo>
                    <a:pt x="0" y="22"/>
                    <a:pt x="14" y="19"/>
                    <a:pt x="23" y="14"/>
                  </a:cubicBezTo>
                  <a:lnTo>
                    <a:pt x="23" y="5"/>
                  </a:lnTo>
                  <a:cubicBezTo>
                    <a:pt x="14" y="0"/>
                    <a:pt x="11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" name="Freeform 113"/>
            <p:cNvSpPr>
              <a:spLocks noChangeArrowheads="1"/>
            </p:cNvSpPr>
            <p:nvPr/>
          </p:nvSpPr>
          <p:spPr bwMode="auto">
            <a:xfrm>
              <a:off x="3797300" y="2989263"/>
              <a:ext cx="9525" cy="7937"/>
            </a:xfrm>
            <a:custGeom>
              <a:avLst/>
              <a:gdLst>
                <a:gd name="T0" fmla="*/ 0 w 27"/>
                <a:gd name="T1" fmla="*/ 12 h 21"/>
                <a:gd name="T2" fmla="*/ 17 w 27"/>
                <a:gd name="T3" fmla="*/ 0 h 21"/>
                <a:gd name="T4" fmla="*/ 0 w 27"/>
                <a:gd name="T5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1">
                  <a:moveTo>
                    <a:pt x="0" y="12"/>
                  </a:moveTo>
                  <a:cubicBezTo>
                    <a:pt x="9" y="20"/>
                    <a:pt x="26" y="6"/>
                    <a:pt x="17" y="0"/>
                  </a:cubicBezTo>
                  <a:cubicBezTo>
                    <a:pt x="9" y="0"/>
                    <a:pt x="0" y="6"/>
                    <a:pt x="0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" name="Freeform 114"/>
            <p:cNvSpPr>
              <a:spLocks noChangeArrowheads="1"/>
            </p:cNvSpPr>
            <p:nvPr/>
          </p:nvSpPr>
          <p:spPr bwMode="auto">
            <a:xfrm>
              <a:off x="4587875" y="2325688"/>
              <a:ext cx="4763" cy="4762"/>
            </a:xfrm>
            <a:custGeom>
              <a:avLst/>
              <a:gdLst>
                <a:gd name="T0" fmla="*/ 12 w 13"/>
                <a:gd name="T1" fmla="*/ 12 h 13"/>
                <a:gd name="T2" fmla="*/ 0 w 13"/>
                <a:gd name="T3" fmla="*/ 3 h 13"/>
                <a:gd name="T4" fmla="*/ 12 w 13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2" y="12"/>
                  </a:moveTo>
                  <a:cubicBezTo>
                    <a:pt x="12" y="3"/>
                    <a:pt x="9" y="0"/>
                    <a:pt x="0" y="3"/>
                  </a:cubicBezTo>
                  <a:cubicBezTo>
                    <a:pt x="0" y="9"/>
                    <a:pt x="6" y="12"/>
                    <a:pt x="12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" name="Freeform 115"/>
            <p:cNvSpPr>
              <a:spLocks noChangeArrowheads="1"/>
            </p:cNvSpPr>
            <p:nvPr/>
          </p:nvSpPr>
          <p:spPr bwMode="auto">
            <a:xfrm>
              <a:off x="4583113" y="2317750"/>
              <a:ext cx="3175" cy="4763"/>
            </a:xfrm>
            <a:custGeom>
              <a:avLst/>
              <a:gdLst>
                <a:gd name="T0" fmla="*/ 0 w 7"/>
                <a:gd name="T1" fmla="*/ 3 h 15"/>
                <a:gd name="T2" fmla="*/ 0 w 7"/>
                <a:gd name="T3" fmla="*/ 11 h 15"/>
                <a:gd name="T4" fmla="*/ 0 w 7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lnTo>
                    <a:pt x="0" y="11"/>
                  </a:lnTo>
                  <a:cubicBezTo>
                    <a:pt x="6" y="14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" name="Freeform 116"/>
            <p:cNvSpPr>
              <a:spLocks noChangeArrowheads="1"/>
            </p:cNvSpPr>
            <p:nvPr/>
          </p:nvSpPr>
          <p:spPr bwMode="auto">
            <a:xfrm>
              <a:off x="4581525" y="2336800"/>
              <a:ext cx="4763" cy="3175"/>
            </a:xfrm>
            <a:custGeom>
              <a:avLst/>
              <a:gdLst>
                <a:gd name="T0" fmla="*/ 6 w 13"/>
                <a:gd name="T1" fmla="*/ 0 h 10"/>
                <a:gd name="T2" fmla="*/ 6 w 13"/>
                <a:gd name="T3" fmla="*/ 9 h 10"/>
                <a:gd name="T4" fmla="*/ 6 w 13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6" y="0"/>
                  </a:moveTo>
                  <a:cubicBezTo>
                    <a:pt x="6" y="3"/>
                    <a:pt x="0" y="9"/>
                    <a:pt x="6" y="9"/>
                  </a:cubicBezTo>
                  <a:cubicBezTo>
                    <a:pt x="6" y="9"/>
                    <a:pt x="12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" name="Freeform 117"/>
            <p:cNvSpPr>
              <a:spLocks noChangeArrowheads="1"/>
            </p:cNvSpPr>
            <p:nvPr/>
          </p:nvSpPr>
          <p:spPr bwMode="auto">
            <a:xfrm>
              <a:off x="4595813" y="2381250"/>
              <a:ext cx="3175" cy="1588"/>
            </a:xfrm>
            <a:custGeom>
              <a:avLst/>
              <a:gdLst>
                <a:gd name="T0" fmla="*/ 3 w 7"/>
                <a:gd name="T1" fmla="*/ 0 h 3"/>
                <a:gd name="T2" fmla="*/ 0 w 7"/>
                <a:gd name="T3" fmla="*/ 2 h 3"/>
                <a:gd name="T4" fmla="*/ 6 w 7"/>
                <a:gd name="T5" fmla="*/ 2 h 3"/>
                <a:gd name="T6" fmla="*/ 3 w 7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3" y="0"/>
                  </a:moveTo>
                  <a:cubicBezTo>
                    <a:pt x="3" y="2"/>
                    <a:pt x="3" y="2"/>
                    <a:pt x="0" y="2"/>
                  </a:cubicBezTo>
                  <a:cubicBezTo>
                    <a:pt x="3" y="2"/>
                    <a:pt x="3" y="2"/>
                    <a:pt x="6" y="2"/>
                  </a:cubicBezTo>
                  <a:cubicBezTo>
                    <a:pt x="6" y="2"/>
                    <a:pt x="6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" name="Freeform 118"/>
            <p:cNvSpPr>
              <a:spLocks noChangeArrowheads="1"/>
            </p:cNvSpPr>
            <p:nvPr/>
          </p:nvSpPr>
          <p:spPr bwMode="auto">
            <a:xfrm>
              <a:off x="4551363" y="2293938"/>
              <a:ext cx="1587" cy="1587"/>
            </a:xfrm>
            <a:custGeom>
              <a:avLst/>
              <a:gdLst>
                <a:gd name="T0" fmla="*/ 3 w 4"/>
                <a:gd name="T1" fmla="*/ 0 h 4"/>
                <a:gd name="T2" fmla="*/ 0 w 4"/>
                <a:gd name="T3" fmla="*/ 3 h 4"/>
                <a:gd name="T4" fmla="*/ 3 w 4"/>
                <a:gd name="T5" fmla="*/ 3 h 4"/>
                <a:gd name="T6" fmla="*/ 3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3" y="0"/>
                    <a:pt x="3" y="3"/>
                    <a:pt x="0" y="3"/>
                  </a:cubicBezTo>
                  <a:lnTo>
                    <a:pt x="3" y="3"/>
                  </a:lnTo>
                  <a:lnTo>
                    <a:pt x="3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" name="Freeform 119"/>
            <p:cNvSpPr>
              <a:spLocks noChangeArrowheads="1"/>
            </p:cNvSpPr>
            <p:nvPr/>
          </p:nvSpPr>
          <p:spPr bwMode="auto">
            <a:xfrm>
              <a:off x="4319588" y="3059113"/>
              <a:ext cx="1587" cy="1587"/>
            </a:xfrm>
            <a:custGeom>
              <a:avLst/>
              <a:gdLst>
                <a:gd name="T0" fmla="*/ 5 w 6"/>
                <a:gd name="T1" fmla="*/ 3 h 4"/>
                <a:gd name="T2" fmla="*/ 5 w 6"/>
                <a:gd name="T3" fmla="*/ 3 h 4"/>
                <a:gd name="T4" fmla="*/ 0 w 6"/>
                <a:gd name="T5" fmla="*/ 0 h 4"/>
                <a:gd name="T6" fmla="*/ 5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5" y="3"/>
                  </a:lnTo>
                  <a:cubicBezTo>
                    <a:pt x="2" y="3"/>
                    <a:pt x="0" y="0"/>
                    <a:pt x="0" y="0"/>
                  </a:cubicBezTo>
                  <a:cubicBezTo>
                    <a:pt x="0" y="3"/>
                    <a:pt x="2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" name="Freeform 120"/>
            <p:cNvSpPr>
              <a:spLocks noChangeArrowheads="1"/>
            </p:cNvSpPr>
            <p:nvPr/>
          </p:nvSpPr>
          <p:spPr bwMode="auto">
            <a:xfrm>
              <a:off x="4591050" y="2363788"/>
              <a:ext cx="9525" cy="7937"/>
            </a:xfrm>
            <a:custGeom>
              <a:avLst/>
              <a:gdLst>
                <a:gd name="T0" fmla="*/ 14 w 26"/>
                <a:gd name="T1" fmla="*/ 11 h 23"/>
                <a:gd name="T2" fmla="*/ 0 w 26"/>
                <a:gd name="T3" fmla="*/ 2 h 23"/>
                <a:gd name="T4" fmla="*/ 6 w 26"/>
                <a:gd name="T5" fmla="*/ 22 h 23"/>
                <a:gd name="T6" fmla="*/ 14 w 26"/>
                <a:gd name="T7" fmla="*/ 11 h 23"/>
                <a:gd name="T8" fmla="*/ 25 w 26"/>
                <a:gd name="T9" fmla="*/ 11 h 23"/>
                <a:gd name="T10" fmla="*/ 25 w 26"/>
                <a:gd name="T11" fmla="*/ 2 h 23"/>
                <a:gd name="T12" fmla="*/ 14 w 26"/>
                <a:gd name="T1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3">
                  <a:moveTo>
                    <a:pt x="14" y="11"/>
                  </a:moveTo>
                  <a:cubicBezTo>
                    <a:pt x="14" y="5"/>
                    <a:pt x="6" y="5"/>
                    <a:pt x="0" y="2"/>
                  </a:cubicBezTo>
                  <a:cubicBezTo>
                    <a:pt x="0" y="11"/>
                    <a:pt x="6" y="14"/>
                    <a:pt x="6" y="22"/>
                  </a:cubicBezTo>
                  <a:cubicBezTo>
                    <a:pt x="14" y="22"/>
                    <a:pt x="11" y="14"/>
                    <a:pt x="14" y="11"/>
                  </a:cubicBezTo>
                  <a:cubicBezTo>
                    <a:pt x="20" y="14"/>
                    <a:pt x="20" y="8"/>
                    <a:pt x="25" y="11"/>
                  </a:cubicBezTo>
                  <a:lnTo>
                    <a:pt x="25" y="2"/>
                  </a:lnTo>
                  <a:cubicBezTo>
                    <a:pt x="17" y="0"/>
                    <a:pt x="20" y="8"/>
                    <a:pt x="14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" name="Freeform 121"/>
            <p:cNvSpPr>
              <a:spLocks noChangeArrowheads="1"/>
            </p:cNvSpPr>
            <p:nvPr/>
          </p:nvSpPr>
          <p:spPr bwMode="auto">
            <a:xfrm>
              <a:off x="4564063" y="2309813"/>
              <a:ext cx="7937" cy="7937"/>
            </a:xfrm>
            <a:custGeom>
              <a:avLst/>
              <a:gdLst>
                <a:gd name="T0" fmla="*/ 8 w 20"/>
                <a:gd name="T1" fmla="*/ 0 h 24"/>
                <a:gd name="T2" fmla="*/ 5 w 20"/>
                <a:gd name="T3" fmla="*/ 23 h 24"/>
                <a:gd name="T4" fmla="*/ 8 w 20"/>
                <a:gd name="T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8" y="0"/>
                  </a:moveTo>
                  <a:cubicBezTo>
                    <a:pt x="0" y="3"/>
                    <a:pt x="0" y="17"/>
                    <a:pt x="5" y="23"/>
                  </a:cubicBezTo>
                  <a:cubicBezTo>
                    <a:pt x="19" y="20"/>
                    <a:pt x="16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" name="Freeform 122"/>
            <p:cNvSpPr>
              <a:spLocks noChangeArrowheads="1"/>
            </p:cNvSpPr>
            <p:nvPr/>
          </p:nvSpPr>
          <p:spPr bwMode="auto">
            <a:xfrm>
              <a:off x="3819525" y="2994025"/>
              <a:ext cx="14288" cy="9525"/>
            </a:xfrm>
            <a:custGeom>
              <a:avLst/>
              <a:gdLst>
                <a:gd name="T0" fmla="*/ 40 w 41"/>
                <a:gd name="T1" fmla="*/ 12 h 27"/>
                <a:gd name="T2" fmla="*/ 17 w 41"/>
                <a:gd name="T3" fmla="*/ 23 h 27"/>
                <a:gd name="T4" fmla="*/ 40 w 41"/>
                <a:gd name="T5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27">
                  <a:moveTo>
                    <a:pt x="40" y="12"/>
                  </a:moveTo>
                  <a:cubicBezTo>
                    <a:pt x="28" y="0"/>
                    <a:pt x="0" y="12"/>
                    <a:pt x="17" y="23"/>
                  </a:cubicBezTo>
                  <a:cubicBezTo>
                    <a:pt x="31" y="26"/>
                    <a:pt x="31" y="17"/>
                    <a:pt x="40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" name="Freeform 123"/>
            <p:cNvSpPr>
              <a:spLocks noChangeArrowheads="1"/>
            </p:cNvSpPr>
            <p:nvPr/>
          </p:nvSpPr>
          <p:spPr bwMode="auto">
            <a:xfrm>
              <a:off x="3810000" y="2987675"/>
              <a:ext cx="3175" cy="3175"/>
            </a:xfrm>
            <a:custGeom>
              <a:avLst/>
              <a:gdLst>
                <a:gd name="T0" fmla="*/ 8 w 9"/>
                <a:gd name="T1" fmla="*/ 0 h 10"/>
                <a:gd name="T2" fmla="*/ 0 w 9"/>
                <a:gd name="T3" fmla="*/ 0 h 10"/>
                <a:gd name="T4" fmla="*/ 0 w 9"/>
                <a:gd name="T5" fmla="*/ 9 h 10"/>
                <a:gd name="T6" fmla="*/ 8 w 9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8" y="0"/>
                  </a:moveTo>
                  <a:lnTo>
                    <a:pt x="0" y="0"/>
                  </a:lnTo>
                  <a:lnTo>
                    <a:pt x="0" y="9"/>
                  </a:lnTo>
                  <a:cubicBezTo>
                    <a:pt x="8" y="9"/>
                    <a:pt x="6" y="0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" name="Freeform 124"/>
            <p:cNvSpPr>
              <a:spLocks noChangeArrowheads="1"/>
            </p:cNvSpPr>
            <p:nvPr/>
          </p:nvSpPr>
          <p:spPr bwMode="auto">
            <a:xfrm>
              <a:off x="4606925" y="2406650"/>
              <a:ext cx="7938" cy="7938"/>
            </a:xfrm>
            <a:custGeom>
              <a:avLst/>
              <a:gdLst>
                <a:gd name="T0" fmla="*/ 6 w 23"/>
                <a:gd name="T1" fmla="*/ 0 h 21"/>
                <a:gd name="T2" fmla="*/ 22 w 23"/>
                <a:gd name="T3" fmla="*/ 12 h 21"/>
                <a:gd name="T4" fmla="*/ 6 w 23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21">
                  <a:moveTo>
                    <a:pt x="6" y="0"/>
                  </a:moveTo>
                  <a:cubicBezTo>
                    <a:pt x="0" y="6"/>
                    <a:pt x="14" y="20"/>
                    <a:pt x="22" y="12"/>
                  </a:cubicBezTo>
                  <a:cubicBezTo>
                    <a:pt x="22" y="3"/>
                    <a:pt x="14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" name="Freeform 125"/>
            <p:cNvSpPr>
              <a:spLocks noChangeArrowheads="1"/>
            </p:cNvSpPr>
            <p:nvPr/>
          </p:nvSpPr>
          <p:spPr bwMode="auto">
            <a:xfrm>
              <a:off x="3814763" y="2998788"/>
              <a:ext cx="1587" cy="3175"/>
            </a:xfrm>
            <a:custGeom>
              <a:avLst/>
              <a:gdLst>
                <a:gd name="T0" fmla="*/ 3 w 4"/>
                <a:gd name="T1" fmla="*/ 9 h 10"/>
                <a:gd name="T2" fmla="*/ 3 w 4"/>
                <a:gd name="T3" fmla="*/ 9 h 10"/>
                <a:gd name="T4" fmla="*/ 0 w 4"/>
                <a:gd name="T5" fmla="*/ 3 h 10"/>
                <a:gd name="T6" fmla="*/ 3 w 4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9"/>
                  </a:moveTo>
                  <a:lnTo>
                    <a:pt x="3" y="9"/>
                  </a:lnTo>
                  <a:cubicBezTo>
                    <a:pt x="3" y="6"/>
                    <a:pt x="0" y="0"/>
                    <a:pt x="0" y="3"/>
                  </a:cubicBezTo>
                  <a:cubicBezTo>
                    <a:pt x="0" y="6"/>
                    <a:pt x="0" y="6"/>
                    <a:pt x="3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" name="Freeform 126"/>
            <p:cNvSpPr>
              <a:spLocks noChangeArrowheads="1"/>
            </p:cNvSpPr>
            <p:nvPr/>
          </p:nvSpPr>
          <p:spPr bwMode="auto">
            <a:xfrm>
              <a:off x="3617913" y="2493963"/>
              <a:ext cx="4762" cy="3175"/>
            </a:xfrm>
            <a:custGeom>
              <a:avLst/>
              <a:gdLst>
                <a:gd name="T0" fmla="*/ 0 w 15"/>
                <a:gd name="T1" fmla="*/ 2 h 9"/>
                <a:gd name="T2" fmla="*/ 8 w 15"/>
                <a:gd name="T3" fmla="*/ 8 h 9"/>
                <a:gd name="T4" fmla="*/ 8 w 15"/>
                <a:gd name="T5" fmla="*/ 8 h 9"/>
                <a:gd name="T6" fmla="*/ 14 w 15"/>
                <a:gd name="T7" fmla="*/ 5 h 9"/>
                <a:gd name="T8" fmla="*/ 5 w 15"/>
                <a:gd name="T9" fmla="*/ 0 h 9"/>
                <a:gd name="T10" fmla="*/ 0 w 15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9">
                  <a:moveTo>
                    <a:pt x="0" y="2"/>
                  </a:moveTo>
                  <a:cubicBezTo>
                    <a:pt x="3" y="5"/>
                    <a:pt x="5" y="8"/>
                    <a:pt x="8" y="8"/>
                  </a:cubicBezTo>
                  <a:lnTo>
                    <a:pt x="8" y="8"/>
                  </a:lnTo>
                  <a:cubicBezTo>
                    <a:pt x="11" y="8"/>
                    <a:pt x="14" y="5"/>
                    <a:pt x="14" y="5"/>
                  </a:cubicBezTo>
                  <a:cubicBezTo>
                    <a:pt x="11" y="2"/>
                    <a:pt x="8" y="2"/>
                    <a:pt x="5" y="0"/>
                  </a:cubicBezTo>
                  <a:cubicBezTo>
                    <a:pt x="3" y="0"/>
                    <a:pt x="3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" name="Freeform 127"/>
            <p:cNvSpPr>
              <a:spLocks noChangeArrowheads="1"/>
            </p:cNvSpPr>
            <p:nvPr/>
          </p:nvSpPr>
          <p:spPr bwMode="auto">
            <a:xfrm>
              <a:off x="4573588" y="2332038"/>
              <a:ext cx="4762" cy="3175"/>
            </a:xfrm>
            <a:custGeom>
              <a:avLst/>
              <a:gdLst>
                <a:gd name="T0" fmla="*/ 3 w 15"/>
                <a:gd name="T1" fmla="*/ 3 h 10"/>
                <a:gd name="T2" fmla="*/ 11 w 15"/>
                <a:gd name="T3" fmla="*/ 3 h 10"/>
                <a:gd name="T4" fmla="*/ 3 w 15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3" y="3"/>
                  </a:moveTo>
                  <a:cubicBezTo>
                    <a:pt x="0" y="9"/>
                    <a:pt x="14" y="9"/>
                    <a:pt x="11" y="3"/>
                  </a:cubicBezTo>
                  <a:cubicBezTo>
                    <a:pt x="8" y="0"/>
                    <a:pt x="3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" name="Freeform 128"/>
            <p:cNvSpPr>
              <a:spLocks noChangeArrowheads="1"/>
            </p:cNvSpPr>
            <p:nvPr/>
          </p:nvSpPr>
          <p:spPr bwMode="auto">
            <a:xfrm>
              <a:off x="4432300" y="2994025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8 w 9"/>
                <a:gd name="T3" fmla="*/ 3 h 10"/>
                <a:gd name="T4" fmla="*/ 0 w 9"/>
                <a:gd name="T5" fmla="*/ 0 h 10"/>
                <a:gd name="T6" fmla="*/ 0 w 9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cubicBezTo>
                    <a:pt x="3" y="9"/>
                    <a:pt x="5" y="9"/>
                    <a:pt x="8" y="3"/>
                  </a:cubicBezTo>
                  <a:cubicBezTo>
                    <a:pt x="5" y="3"/>
                    <a:pt x="3" y="3"/>
                    <a:pt x="0" y="0"/>
                  </a:cubicBez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" name="Freeform 129"/>
            <p:cNvSpPr>
              <a:spLocks noChangeArrowheads="1"/>
            </p:cNvSpPr>
            <p:nvPr/>
          </p:nvSpPr>
          <p:spPr bwMode="auto">
            <a:xfrm>
              <a:off x="4541838" y="2878138"/>
              <a:ext cx="3175" cy="3175"/>
            </a:xfrm>
            <a:custGeom>
              <a:avLst/>
              <a:gdLst>
                <a:gd name="T0" fmla="*/ 0 w 10"/>
                <a:gd name="T1" fmla="*/ 8 h 9"/>
                <a:gd name="T2" fmla="*/ 9 w 10"/>
                <a:gd name="T3" fmla="*/ 3 h 9"/>
                <a:gd name="T4" fmla="*/ 0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8"/>
                  </a:moveTo>
                  <a:cubicBezTo>
                    <a:pt x="6" y="8"/>
                    <a:pt x="9" y="8"/>
                    <a:pt x="9" y="3"/>
                  </a:cubicBezTo>
                  <a:cubicBezTo>
                    <a:pt x="6" y="0"/>
                    <a:pt x="0" y="0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" name="Freeform 130"/>
            <p:cNvSpPr>
              <a:spLocks noChangeArrowheads="1"/>
            </p:cNvSpPr>
            <p:nvPr/>
          </p:nvSpPr>
          <p:spPr bwMode="auto">
            <a:xfrm>
              <a:off x="4551363" y="2879725"/>
              <a:ext cx="6350" cy="6350"/>
            </a:xfrm>
            <a:custGeom>
              <a:avLst/>
              <a:gdLst>
                <a:gd name="T0" fmla="*/ 6 w 18"/>
                <a:gd name="T1" fmla="*/ 16 h 17"/>
                <a:gd name="T2" fmla="*/ 17 w 18"/>
                <a:gd name="T3" fmla="*/ 5 h 17"/>
                <a:gd name="T4" fmla="*/ 8 w 18"/>
                <a:gd name="T5" fmla="*/ 0 h 17"/>
                <a:gd name="T6" fmla="*/ 6 w 18"/>
                <a:gd name="T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7">
                  <a:moveTo>
                    <a:pt x="6" y="16"/>
                  </a:moveTo>
                  <a:cubicBezTo>
                    <a:pt x="11" y="14"/>
                    <a:pt x="17" y="14"/>
                    <a:pt x="17" y="5"/>
                  </a:cubicBezTo>
                  <a:cubicBezTo>
                    <a:pt x="14" y="2"/>
                    <a:pt x="11" y="2"/>
                    <a:pt x="8" y="0"/>
                  </a:cubicBezTo>
                  <a:cubicBezTo>
                    <a:pt x="8" y="8"/>
                    <a:pt x="0" y="11"/>
                    <a:pt x="6" y="1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" name="Freeform 131"/>
            <p:cNvSpPr>
              <a:spLocks noChangeArrowheads="1"/>
            </p:cNvSpPr>
            <p:nvPr/>
          </p:nvSpPr>
          <p:spPr bwMode="auto">
            <a:xfrm>
              <a:off x="4529138" y="2892425"/>
              <a:ext cx="4762" cy="4763"/>
            </a:xfrm>
            <a:custGeom>
              <a:avLst/>
              <a:gdLst>
                <a:gd name="T0" fmla="*/ 3 w 15"/>
                <a:gd name="T1" fmla="*/ 0 h 13"/>
                <a:gd name="T2" fmla="*/ 11 w 15"/>
                <a:gd name="T3" fmla="*/ 0 h 13"/>
                <a:gd name="T4" fmla="*/ 3 w 15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3" y="0"/>
                  </a:moveTo>
                  <a:cubicBezTo>
                    <a:pt x="0" y="12"/>
                    <a:pt x="14" y="12"/>
                    <a:pt x="11" y="0"/>
                  </a:cubicBezTo>
                  <a:lnTo>
                    <a:pt x="3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" name="Freeform 132"/>
            <p:cNvSpPr>
              <a:spLocks noChangeArrowheads="1"/>
            </p:cNvSpPr>
            <p:nvPr/>
          </p:nvSpPr>
          <p:spPr bwMode="auto">
            <a:xfrm>
              <a:off x="4538663" y="2265363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8 w 9"/>
                <a:gd name="T3" fmla="*/ 3 h 10"/>
                <a:gd name="T4" fmla="*/ 0 w 9"/>
                <a:gd name="T5" fmla="*/ 0 h 10"/>
                <a:gd name="T6" fmla="*/ 0 w 9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cubicBezTo>
                    <a:pt x="3" y="9"/>
                    <a:pt x="6" y="9"/>
                    <a:pt x="8" y="3"/>
                  </a:cubicBezTo>
                  <a:cubicBezTo>
                    <a:pt x="6" y="3"/>
                    <a:pt x="6" y="0"/>
                    <a:pt x="0" y="0"/>
                  </a:cubicBez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" name="Freeform 133"/>
            <p:cNvSpPr>
              <a:spLocks noChangeArrowheads="1"/>
            </p:cNvSpPr>
            <p:nvPr/>
          </p:nvSpPr>
          <p:spPr bwMode="auto">
            <a:xfrm>
              <a:off x="4362450" y="3030538"/>
              <a:ext cx="3175" cy="4762"/>
            </a:xfrm>
            <a:custGeom>
              <a:avLst/>
              <a:gdLst>
                <a:gd name="T0" fmla="*/ 0 w 9"/>
                <a:gd name="T1" fmla="*/ 6 h 12"/>
                <a:gd name="T2" fmla="*/ 8 w 9"/>
                <a:gd name="T3" fmla="*/ 6 h 12"/>
                <a:gd name="T4" fmla="*/ 0 w 9"/>
                <a:gd name="T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0" y="6"/>
                  </a:moveTo>
                  <a:cubicBezTo>
                    <a:pt x="3" y="6"/>
                    <a:pt x="8" y="11"/>
                    <a:pt x="8" y="6"/>
                  </a:cubicBezTo>
                  <a:cubicBezTo>
                    <a:pt x="8" y="6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" name="Freeform 134"/>
            <p:cNvSpPr>
              <a:spLocks noChangeArrowheads="1"/>
            </p:cNvSpPr>
            <p:nvPr/>
          </p:nvSpPr>
          <p:spPr bwMode="auto">
            <a:xfrm>
              <a:off x="4367213" y="3022600"/>
              <a:ext cx="3175" cy="4763"/>
            </a:xfrm>
            <a:custGeom>
              <a:avLst/>
              <a:gdLst>
                <a:gd name="T0" fmla="*/ 6 w 10"/>
                <a:gd name="T1" fmla="*/ 12 h 13"/>
                <a:gd name="T2" fmla="*/ 6 w 10"/>
                <a:gd name="T3" fmla="*/ 3 h 13"/>
                <a:gd name="T4" fmla="*/ 6 w 10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3">
                  <a:moveTo>
                    <a:pt x="6" y="12"/>
                  </a:moveTo>
                  <a:cubicBezTo>
                    <a:pt x="9" y="12"/>
                    <a:pt x="9" y="3"/>
                    <a:pt x="6" y="3"/>
                  </a:cubicBezTo>
                  <a:cubicBezTo>
                    <a:pt x="0" y="0"/>
                    <a:pt x="0" y="12"/>
                    <a:pt x="6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" name="Freeform 135"/>
            <p:cNvSpPr>
              <a:spLocks noChangeArrowheads="1"/>
            </p:cNvSpPr>
            <p:nvPr/>
          </p:nvSpPr>
          <p:spPr bwMode="auto">
            <a:xfrm>
              <a:off x="4373563" y="3036888"/>
              <a:ext cx="4762" cy="4762"/>
            </a:xfrm>
            <a:custGeom>
              <a:avLst/>
              <a:gdLst>
                <a:gd name="T0" fmla="*/ 0 w 12"/>
                <a:gd name="T1" fmla="*/ 11 h 12"/>
                <a:gd name="T2" fmla="*/ 9 w 12"/>
                <a:gd name="T3" fmla="*/ 0 h 12"/>
                <a:gd name="T4" fmla="*/ 0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0" y="11"/>
                  </a:moveTo>
                  <a:cubicBezTo>
                    <a:pt x="9" y="11"/>
                    <a:pt x="11" y="8"/>
                    <a:pt x="9" y="0"/>
                  </a:cubicBezTo>
                  <a:cubicBezTo>
                    <a:pt x="3" y="0"/>
                    <a:pt x="3" y="5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" name="Freeform 136"/>
            <p:cNvSpPr>
              <a:spLocks noChangeArrowheads="1"/>
            </p:cNvSpPr>
            <p:nvPr/>
          </p:nvSpPr>
          <p:spPr bwMode="auto">
            <a:xfrm>
              <a:off x="4386263" y="3014663"/>
              <a:ext cx="7937" cy="7937"/>
            </a:xfrm>
            <a:custGeom>
              <a:avLst/>
              <a:gdLst>
                <a:gd name="T0" fmla="*/ 0 w 23"/>
                <a:gd name="T1" fmla="*/ 6 h 21"/>
                <a:gd name="T2" fmla="*/ 22 w 23"/>
                <a:gd name="T3" fmla="*/ 8 h 21"/>
                <a:gd name="T4" fmla="*/ 0 w 23"/>
                <a:gd name="T5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21">
                  <a:moveTo>
                    <a:pt x="0" y="6"/>
                  </a:moveTo>
                  <a:cubicBezTo>
                    <a:pt x="3" y="20"/>
                    <a:pt x="17" y="17"/>
                    <a:pt x="22" y="8"/>
                  </a:cubicBezTo>
                  <a:cubicBezTo>
                    <a:pt x="20" y="0"/>
                    <a:pt x="5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" name="Freeform 137"/>
            <p:cNvSpPr>
              <a:spLocks noChangeArrowheads="1"/>
            </p:cNvSpPr>
            <p:nvPr/>
          </p:nvSpPr>
          <p:spPr bwMode="auto">
            <a:xfrm>
              <a:off x="4406900" y="3011488"/>
              <a:ext cx="4763" cy="7937"/>
            </a:xfrm>
            <a:custGeom>
              <a:avLst/>
              <a:gdLst>
                <a:gd name="T0" fmla="*/ 0 w 12"/>
                <a:gd name="T1" fmla="*/ 20 h 24"/>
                <a:gd name="T2" fmla="*/ 6 w 12"/>
                <a:gd name="T3" fmla="*/ 14 h 24"/>
                <a:gd name="T4" fmla="*/ 11 w 12"/>
                <a:gd name="T5" fmla="*/ 0 h 24"/>
                <a:gd name="T6" fmla="*/ 6 w 12"/>
                <a:gd name="T7" fmla="*/ 0 h 24"/>
                <a:gd name="T8" fmla="*/ 0 w 12"/>
                <a:gd name="T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4">
                  <a:moveTo>
                    <a:pt x="0" y="20"/>
                  </a:moveTo>
                  <a:cubicBezTo>
                    <a:pt x="0" y="23"/>
                    <a:pt x="0" y="23"/>
                    <a:pt x="6" y="14"/>
                  </a:cubicBezTo>
                  <a:cubicBezTo>
                    <a:pt x="8" y="9"/>
                    <a:pt x="8" y="6"/>
                    <a:pt x="11" y="0"/>
                  </a:cubicBezTo>
                  <a:cubicBezTo>
                    <a:pt x="8" y="0"/>
                    <a:pt x="8" y="0"/>
                    <a:pt x="6" y="0"/>
                  </a:cubicBezTo>
                  <a:cubicBezTo>
                    <a:pt x="3" y="6"/>
                    <a:pt x="0" y="12"/>
                    <a:pt x="0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" name="Freeform 138"/>
            <p:cNvSpPr>
              <a:spLocks noChangeArrowheads="1"/>
            </p:cNvSpPr>
            <p:nvPr/>
          </p:nvSpPr>
          <p:spPr bwMode="auto">
            <a:xfrm>
              <a:off x="4381500" y="3032125"/>
              <a:ext cx="4763" cy="3175"/>
            </a:xfrm>
            <a:custGeom>
              <a:avLst/>
              <a:gdLst>
                <a:gd name="T0" fmla="*/ 2 w 15"/>
                <a:gd name="T1" fmla="*/ 0 h 9"/>
                <a:gd name="T2" fmla="*/ 11 w 15"/>
                <a:gd name="T3" fmla="*/ 0 h 9"/>
                <a:gd name="T4" fmla="*/ 2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2" y="0"/>
                  </a:moveTo>
                  <a:cubicBezTo>
                    <a:pt x="0" y="8"/>
                    <a:pt x="14" y="8"/>
                    <a:pt x="11" y="0"/>
                  </a:cubicBezTo>
                  <a:lnTo>
                    <a:pt x="2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" name="Freeform 139"/>
            <p:cNvSpPr>
              <a:spLocks noChangeArrowheads="1"/>
            </p:cNvSpPr>
            <p:nvPr/>
          </p:nvSpPr>
          <p:spPr bwMode="auto">
            <a:xfrm>
              <a:off x="3619500" y="2400300"/>
              <a:ext cx="4763" cy="3175"/>
            </a:xfrm>
            <a:custGeom>
              <a:avLst/>
              <a:gdLst>
                <a:gd name="T0" fmla="*/ 12 w 13"/>
                <a:gd name="T1" fmla="*/ 0 h 10"/>
                <a:gd name="T2" fmla="*/ 6 w 13"/>
                <a:gd name="T3" fmla="*/ 0 h 10"/>
                <a:gd name="T4" fmla="*/ 0 w 13"/>
                <a:gd name="T5" fmla="*/ 9 h 10"/>
                <a:gd name="T6" fmla="*/ 12 w 1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12" y="0"/>
                  </a:moveTo>
                  <a:cubicBezTo>
                    <a:pt x="9" y="0"/>
                    <a:pt x="9" y="0"/>
                    <a:pt x="6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6" y="9"/>
                    <a:pt x="12" y="6"/>
                    <a:pt x="1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" name="Freeform 140"/>
            <p:cNvSpPr>
              <a:spLocks noChangeArrowheads="1"/>
            </p:cNvSpPr>
            <p:nvPr/>
          </p:nvSpPr>
          <p:spPr bwMode="auto">
            <a:xfrm>
              <a:off x="3621088" y="2398713"/>
              <a:ext cx="3175" cy="3175"/>
            </a:xfrm>
            <a:custGeom>
              <a:avLst/>
              <a:gdLst>
                <a:gd name="T0" fmla="*/ 0 w 7"/>
                <a:gd name="T1" fmla="*/ 6 h 7"/>
                <a:gd name="T2" fmla="*/ 0 w 7"/>
                <a:gd name="T3" fmla="*/ 6 h 7"/>
                <a:gd name="T4" fmla="*/ 6 w 7"/>
                <a:gd name="T5" fmla="*/ 0 h 7"/>
                <a:gd name="T6" fmla="*/ 0 w 7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6"/>
                  </a:moveTo>
                  <a:lnTo>
                    <a:pt x="0" y="6"/>
                  </a:lnTo>
                  <a:cubicBezTo>
                    <a:pt x="3" y="3"/>
                    <a:pt x="3" y="3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" name="Freeform 141"/>
            <p:cNvSpPr>
              <a:spLocks noChangeArrowheads="1"/>
            </p:cNvSpPr>
            <p:nvPr/>
          </p:nvSpPr>
          <p:spPr bwMode="auto">
            <a:xfrm>
              <a:off x="3621088" y="2413000"/>
              <a:ext cx="1587" cy="3175"/>
            </a:xfrm>
            <a:custGeom>
              <a:avLst/>
              <a:gdLst>
                <a:gd name="T0" fmla="*/ 3 w 4"/>
                <a:gd name="T1" fmla="*/ 3 h 7"/>
                <a:gd name="T2" fmla="*/ 0 w 4"/>
                <a:gd name="T3" fmla="*/ 0 h 7"/>
                <a:gd name="T4" fmla="*/ 0 w 4"/>
                <a:gd name="T5" fmla="*/ 3 h 7"/>
                <a:gd name="T6" fmla="*/ 3 w 4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3"/>
                  </a:moveTo>
                  <a:cubicBezTo>
                    <a:pt x="3" y="3"/>
                    <a:pt x="0" y="3"/>
                    <a:pt x="0" y="0"/>
                  </a:cubicBezTo>
                  <a:lnTo>
                    <a:pt x="0" y="3"/>
                  </a:lnTo>
                  <a:cubicBezTo>
                    <a:pt x="0" y="6"/>
                    <a:pt x="0" y="6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1" name="Freeform 142"/>
            <p:cNvSpPr>
              <a:spLocks noChangeArrowheads="1"/>
            </p:cNvSpPr>
            <p:nvPr/>
          </p:nvSpPr>
          <p:spPr bwMode="auto">
            <a:xfrm>
              <a:off x="3667125" y="2832100"/>
              <a:ext cx="4763" cy="3175"/>
            </a:xfrm>
            <a:custGeom>
              <a:avLst/>
              <a:gdLst>
                <a:gd name="T0" fmla="*/ 8 w 15"/>
                <a:gd name="T1" fmla="*/ 6 h 7"/>
                <a:gd name="T2" fmla="*/ 0 w 15"/>
                <a:gd name="T3" fmla="*/ 3 h 7"/>
                <a:gd name="T4" fmla="*/ 3 w 15"/>
                <a:gd name="T5" fmla="*/ 6 h 7"/>
                <a:gd name="T6" fmla="*/ 8 w 15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8" y="6"/>
                  </a:moveTo>
                  <a:cubicBezTo>
                    <a:pt x="14" y="0"/>
                    <a:pt x="0" y="0"/>
                    <a:pt x="0" y="3"/>
                  </a:cubicBezTo>
                  <a:cubicBezTo>
                    <a:pt x="3" y="3"/>
                    <a:pt x="3" y="3"/>
                    <a:pt x="3" y="6"/>
                  </a:cubicBezTo>
                  <a:lnTo>
                    <a:pt x="8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2" name="Freeform 143"/>
            <p:cNvSpPr>
              <a:spLocks noChangeArrowheads="1"/>
            </p:cNvSpPr>
            <p:nvPr/>
          </p:nvSpPr>
          <p:spPr bwMode="auto">
            <a:xfrm>
              <a:off x="3663950" y="2847975"/>
              <a:ext cx="1588" cy="1588"/>
            </a:xfrm>
            <a:custGeom>
              <a:avLst/>
              <a:gdLst>
                <a:gd name="T0" fmla="*/ 0 w 6"/>
                <a:gd name="T1" fmla="*/ 0 h 4"/>
                <a:gd name="T2" fmla="*/ 0 w 6"/>
                <a:gd name="T3" fmla="*/ 0 h 4"/>
                <a:gd name="T4" fmla="*/ 0 w 6"/>
                <a:gd name="T5" fmla="*/ 0 h 4"/>
                <a:gd name="T6" fmla="*/ 5 w 6"/>
                <a:gd name="T7" fmla="*/ 3 h 4"/>
                <a:gd name="T8" fmla="*/ 0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2" y="3"/>
                    <a:pt x="5" y="3"/>
                  </a:cubicBezTo>
                  <a:cubicBezTo>
                    <a:pt x="2" y="3"/>
                    <a:pt x="2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3" name="Freeform 144"/>
            <p:cNvSpPr>
              <a:spLocks noChangeArrowheads="1"/>
            </p:cNvSpPr>
            <p:nvPr/>
          </p:nvSpPr>
          <p:spPr bwMode="auto">
            <a:xfrm>
              <a:off x="3663950" y="2847975"/>
              <a:ext cx="3175" cy="3175"/>
            </a:xfrm>
            <a:custGeom>
              <a:avLst/>
              <a:gdLst>
                <a:gd name="T0" fmla="*/ 5 w 9"/>
                <a:gd name="T1" fmla="*/ 6 h 7"/>
                <a:gd name="T2" fmla="*/ 3 w 9"/>
                <a:gd name="T3" fmla="*/ 0 h 7"/>
                <a:gd name="T4" fmla="*/ 0 w 9"/>
                <a:gd name="T5" fmla="*/ 0 h 7"/>
                <a:gd name="T6" fmla="*/ 5 w 9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5" y="6"/>
                  </a:moveTo>
                  <a:cubicBezTo>
                    <a:pt x="8" y="6"/>
                    <a:pt x="5" y="6"/>
                    <a:pt x="3" y="0"/>
                  </a:cubicBezTo>
                  <a:lnTo>
                    <a:pt x="0" y="0"/>
                  </a:lnTo>
                  <a:cubicBezTo>
                    <a:pt x="3" y="3"/>
                    <a:pt x="3" y="6"/>
                    <a:pt x="5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4" name="Freeform 145"/>
            <p:cNvSpPr>
              <a:spLocks noChangeArrowheads="1"/>
            </p:cNvSpPr>
            <p:nvPr/>
          </p:nvSpPr>
          <p:spPr bwMode="auto">
            <a:xfrm>
              <a:off x="3614738" y="2403475"/>
              <a:ext cx="9525" cy="9525"/>
            </a:xfrm>
            <a:custGeom>
              <a:avLst/>
              <a:gdLst>
                <a:gd name="T0" fmla="*/ 12 w 27"/>
                <a:gd name="T1" fmla="*/ 25 h 26"/>
                <a:gd name="T2" fmla="*/ 12 w 27"/>
                <a:gd name="T3" fmla="*/ 25 h 26"/>
                <a:gd name="T4" fmla="*/ 26 w 27"/>
                <a:gd name="T5" fmla="*/ 2 h 26"/>
                <a:gd name="T6" fmla="*/ 14 w 27"/>
                <a:gd name="T7" fmla="*/ 0 h 26"/>
                <a:gd name="T8" fmla="*/ 9 w 27"/>
                <a:gd name="T9" fmla="*/ 14 h 26"/>
                <a:gd name="T10" fmla="*/ 3 w 27"/>
                <a:gd name="T11" fmla="*/ 14 h 26"/>
                <a:gd name="T12" fmla="*/ 0 w 27"/>
                <a:gd name="T13" fmla="*/ 19 h 26"/>
                <a:gd name="T14" fmla="*/ 0 w 27"/>
                <a:gd name="T15" fmla="*/ 19 h 26"/>
                <a:gd name="T16" fmla="*/ 12 w 27"/>
                <a:gd name="T17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6">
                  <a:moveTo>
                    <a:pt x="12" y="25"/>
                  </a:moveTo>
                  <a:lnTo>
                    <a:pt x="12" y="25"/>
                  </a:lnTo>
                  <a:cubicBezTo>
                    <a:pt x="14" y="17"/>
                    <a:pt x="20" y="8"/>
                    <a:pt x="26" y="2"/>
                  </a:cubicBezTo>
                  <a:cubicBezTo>
                    <a:pt x="23" y="0"/>
                    <a:pt x="17" y="0"/>
                    <a:pt x="14" y="0"/>
                  </a:cubicBezTo>
                  <a:cubicBezTo>
                    <a:pt x="12" y="2"/>
                    <a:pt x="6" y="5"/>
                    <a:pt x="9" y="14"/>
                  </a:cubicBezTo>
                  <a:cubicBezTo>
                    <a:pt x="6" y="14"/>
                    <a:pt x="6" y="14"/>
                    <a:pt x="3" y="14"/>
                  </a:cubicBezTo>
                  <a:cubicBezTo>
                    <a:pt x="3" y="17"/>
                    <a:pt x="3" y="17"/>
                    <a:pt x="0" y="19"/>
                  </a:cubicBezTo>
                  <a:lnTo>
                    <a:pt x="0" y="19"/>
                  </a:lnTo>
                  <a:cubicBezTo>
                    <a:pt x="6" y="14"/>
                    <a:pt x="6" y="25"/>
                    <a:pt x="12" y="2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5" name="Freeform 146"/>
            <p:cNvSpPr>
              <a:spLocks noChangeArrowheads="1"/>
            </p:cNvSpPr>
            <p:nvPr/>
          </p:nvSpPr>
          <p:spPr bwMode="auto">
            <a:xfrm>
              <a:off x="3738563" y="2217738"/>
              <a:ext cx="3175" cy="1587"/>
            </a:xfrm>
            <a:custGeom>
              <a:avLst/>
              <a:gdLst>
                <a:gd name="T0" fmla="*/ 0 w 9"/>
                <a:gd name="T1" fmla="*/ 2 h 3"/>
                <a:gd name="T2" fmla="*/ 8 w 9"/>
                <a:gd name="T3" fmla="*/ 0 h 3"/>
                <a:gd name="T4" fmla="*/ 0 w 9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0" y="2"/>
                  </a:moveTo>
                  <a:cubicBezTo>
                    <a:pt x="2" y="2"/>
                    <a:pt x="5" y="0"/>
                    <a:pt x="8" y="0"/>
                  </a:cubicBezTo>
                  <a:cubicBezTo>
                    <a:pt x="5" y="0"/>
                    <a:pt x="2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6" name="Freeform 147"/>
            <p:cNvSpPr>
              <a:spLocks noChangeArrowheads="1"/>
            </p:cNvSpPr>
            <p:nvPr/>
          </p:nvSpPr>
          <p:spPr bwMode="auto">
            <a:xfrm>
              <a:off x="3616325" y="2420938"/>
              <a:ext cx="1588" cy="1587"/>
            </a:xfrm>
            <a:custGeom>
              <a:avLst/>
              <a:gdLst>
                <a:gd name="T0" fmla="*/ 0 w 4"/>
                <a:gd name="T1" fmla="*/ 0 h 6"/>
                <a:gd name="T2" fmla="*/ 3 w 4"/>
                <a:gd name="T3" fmla="*/ 5 h 6"/>
                <a:gd name="T4" fmla="*/ 0 w 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cubicBezTo>
                    <a:pt x="3" y="2"/>
                    <a:pt x="3" y="5"/>
                    <a:pt x="3" y="5"/>
                  </a:cubicBezTo>
                  <a:cubicBezTo>
                    <a:pt x="3" y="2"/>
                    <a:pt x="3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7" name="Freeform 148"/>
            <p:cNvSpPr>
              <a:spLocks noChangeArrowheads="1"/>
            </p:cNvSpPr>
            <p:nvPr/>
          </p:nvSpPr>
          <p:spPr bwMode="auto">
            <a:xfrm>
              <a:off x="4240213" y="3089275"/>
              <a:ext cx="3175" cy="1588"/>
            </a:xfrm>
            <a:custGeom>
              <a:avLst/>
              <a:gdLst>
                <a:gd name="T0" fmla="*/ 0 w 7"/>
                <a:gd name="T1" fmla="*/ 2 h 3"/>
                <a:gd name="T2" fmla="*/ 0 w 7"/>
                <a:gd name="T3" fmla="*/ 2 h 3"/>
                <a:gd name="T4" fmla="*/ 6 w 7"/>
                <a:gd name="T5" fmla="*/ 0 h 3"/>
                <a:gd name="T6" fmla="*/ 6 w 7"/>
                <a:gd name="T7" fmla="*/ 0 h 3"/>
                <a:gd name="T8" fmla="*/ 0 w 7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lnTo>
                    <a:pt x="0" y="2"/>
                  </a:lnTo>
                  <a:cubicBezTo>
                    <a:pt x="3" y="2"/>
                    <a:pt x="3" y="0"/>
                    <a:pt x="6" y="0"/>
                  </a:cubicBezTo>
                  <a:lnTo>
                    <a:pt x="6" y="0"/>
                  </a:lnTo>
                  <a:cubicBezTo>
                    <a:pt x="3" y="0"/>
                    <a:pt x="3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8" name="Freeform 149"/>
            <p:cNvSpPr>
              <a:spLocks noChangeArrowheads="1"/>
            </p:cNvSpPr>
            <p:nvPr/>
          </p:nvSpPr>
          <p:spPr bwMode="auto">
            <a:xfrm>
              <a:off x="3603625" y="2498725"/>
              <a:ext cx="4763" cy="3175"/>
            </a:xfrm>
            <a:custGeom>
              <a:avLst/>
              <a:gdLst>
                <a:gd name="T0" fmla="*/ 0 w 13"/>
                <a:gd name="T1" fmla="*/ 8 h 9"/>
                <a:gd name="T2" fmla="*/ 0 w 13"/>
                <a:gd name="T3" fmla="*/ 8 h 9"/>
                <a:gd name="T4" fmla="*/ 12 w 13"/>
                <a:gd name="T5" fmla="*/ 0 h 9"/>
                <a:gd name="T6" fmla="*/ 0 w 13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0" y="8"/>
                  </a:moveTo>
                  <a:lnTo>
                    <a:pt x="0" y="8"/>
                  </a:lnTo>
                  <a:cubicBezTo>
                    <a:pt x="3" y="5"/>
                    <a:pt x="9" y="3"/>
                    <a:pt x="12" y="0"/>
                  </a:cubicBezTo>
                  <a:cubicBezTo>
                    <a:pt x="6" y="0"/>
                    <a:pt x="3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9" name="Freeform 150"/>
            <p:cNvSpPr>
              <a:spLocks noChangeArrowheads="1"/>
            </p:cNvSpPr>
            <p:nvPr/>
          </p:nvSpPr>
          <p:spPr bwMode="auto">
            <a:xfrm>
              <a:off x="4438650" y="2989263"/>
              <a:ext cx="1588" cy="3175"/>
            </a:xfrm>
            <a:custGeom>
              <a:avLst/>
              <a:gdLst>
                <a:gd name="T0" fmla="*/ 2 w 3"/>
                <a:gd name="T1" fmla="*/ 0 h 7"/>
                <a:gd name="T2" fmla="*/ 2 w 3"/>
                <a:gd name="T3" fmla="*/ 0 h 7"/>
                <a:gd name="T4" fmla="*/ 0 w 3"/>
                <a:gd name="T5" fmla="*/ 6 h 7"/>
                <a:gd name="T6" fmla="*/ 2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2" y="0"/>
                  </a:moveTo>
                  <a:lnTo>
                    <a:pt x="2" y="0"/>
                  </a:lnTo>
                  <a:cubicBezTo>
                    <a:pt x="2" y="3"/>
                    <a:pt x="2" y="3"/>
                    <a:pt x="0" y="6"/>
                  </a:cubicBezTo>
                  <a:cubicBezTo>
                    <a:pt x="0" y="3"/>
                    <a:pt x="2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0" name="Freeform 151"/>
            <p:cNvSpPr>
              <a:spLocks noChangeArrowheads="1"/>
            </p:cNvSpPr>
            <p:nvPr/>
          </p:nvSpPr>
          <p:spPr bwMode="auto">
            <a:xfrm>
              <a:off x="3992563" y="3067050"/>
              <a:ext cx="1587" cy="1588"/>
            </a:xfrm>
            <a:custGeom>
              <a:avLst/>
              <a:gdLst>
                <a:gd name="T0" fmla="*/ 0 w 4"/>
                <a:gd name="T1" fmla="*/ 0 h 3"/>
                <a:gd name="T2" fmla="*/ 0 w 4"/>
                <a:gd name="T3" fmla="*/ 2 h 3"/>
                <a:gd name="T4" fmla="*/ 0 w 4"/>
                <a:gd name="T5" fmla="*/ 2 h 3"/>
                <a:gd name="T6" fmla="*/ 0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cubicBezTo>
                    <a:pt x="3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1" name="Freeform 152"/>
            <p:cNvSpPr>
              <a:spLocks noChangeArrowheads="1"/>
            </p:cNvSpPr>
            <p:nvPr/>
          </p:nvSpPr>
          <p:spPr bwMode="auto">
            <a:xfrm>
              <a:off x="3625850" y="2420938"/>
              <a:ext cx="7938" cy="7937"/>
            </a:xfrm>
            <a:custGeom>
              <a:avLst/>
              <a:gdLst>
                <a:gd name="T0" fmla="*/ 0 w 24"/>
                <a:gd name="T1" fmla="*/ 2 h 20"/>
                <a:gd name="T2" fmla="*/ 17 w 24"/>
                <a:gd name="T3" fmla="*/ 19 h 20"/>
                <a:gd name="T4" fmla="*/ 23 w 24"/>
                <a:gd name="T5" fmla="*/ 16 h 20"/>
                <a:gd name="T6" fmla="*/ 0 w 24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0">
                  <a:moveTo>
                    <a:pt x="0" y="2"/>
                  </a:moveTo>
                  <a:cubicBezTo>
                    <a:pt x="3" y="11"/>
                    <a:pt x="6" y="16"/>
                    <a:pt x="17" y="19"/>
                  </a:cubicBezTo>
                  <a:cubicBezTo>
                    <a:pt x="17" y="16"/>
                    <a:pt x="20" y="16"/>
                    <a:pt x="23" y="16"/>
                  </a:cubicBezTo>
                  <a:cubicBezTo>
                    <a:pt x="23" y="5"/>
                    <a:pt x="6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2" name="Freeform 153"/>
            <p:cNvSpPr>
              <a:spLocks noChangeArrowheads="1"/>
            </p:cNvSpPr>
            <p:nvPr/>
          </p:nvSpPr>
          <p:spPr bwMode="auto">
            <a:xfrm>
              <a:off x="3854450" y="2112963"/>
              <a:ext cx="4763" cy="4762"/>
            </a:xfrm>
            <a:custGeom>
              <a:avLst/>
              <a:gdLst>
                <a:gd name="T0" fmla="*/ 0 w 15"/>
                <a:gd name="T1" fmla="*/ 11 h 12"/>
                <a:gd name="T2" fmla="*/ 14 w 15"/>
                <a:gd name="T3" fmla="*/ 0 h 12"/>
                <a:gd name="T4" fmla="*/ 0 w 15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0" y="11"/>
                  </a:moveTo>
                  <a:cubicBezTo>
                    <a:pt x="3" y="5"/>
                    <a:pt x="8" y="3"/>
                    <a:pt x="14" y="0"/>
                  </a:cubicBezTo>
                  <a:cubicBezTo>
                    <a:pt x="8" y="5"/>
                    <a:pt x="3" y="8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3" name="Freeform 154"/>
            <p:cNvSpPr>
              <a:spLocks noChangeArrowheads="1"/>
            </p:cNvSpPr>
            <p:nvPr/>
          </p:nvSpPr>
          <p:spPr bwMode="auto">
            <a:xfrm>
              <a:off x="3849688" y="3033713"/>
              <a:ext cx="4762" cy="3175"/>
            </a:xfrm>
            <a:custGeom>
              <a:avLst/>
              <a:gdLst>
                <a:gd name="T0" fmla="*/ 11 w 12"/>
                <a:gd name="T1" fmla="*/ 9 h 10"/>
                <a:gd name="T2" fmla="*/ 0 w 12"/>
                <a:gd name="T3" fmla="*/ 0 h 10"/>
                <a:gd name="T4" fmla="*/ 11 w 12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9"/>
                  </a:moveTo>
                  <a:cubicBezTo>
                    <a:pt x="9" y="6"/>
                    <a:pt x="3" y="3"/>
                    <a:pt x="0" y="0"/>
                  </a:cubicBezTo>
                  <a:cubicBezTo>
                    <a:pt x="3" y="3"/>
                    <a:pt x="6" y="6"/>
                    <a:pt x="11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4" name="Freeform 155"/>
            <p:cNvSpPr>
              <a:spLocks noChangeArrowheads="1"/>
            </p:cNvSpPr>
            <p:nvPr/>
          </p:nvSpPr>
          <p:spPr bwMode="auto">
            <a:xfrm>
              <a:off x="3587750" y="2574925"/>
              <a:ext cx="4763" cy="15875"/>
            </a:xfrm>
            <a:custGeom>
              <a:avLst/>
              <a:gdLst>
                <a:gd name="T0" fmla="*/ 11 w 15"/>
                <a:gd name="T1" fmla="*/ 33 h 43"/>
                <a:gd name="T2" fmla="*/ 0 w 15"/>
                <a:gd name="T3" fmla="*/ 0 h 43"/>
                <a:gd name="T4" fmla="*/ 14 w 15"/>
                <a:gd name="T5" fmla="*/ 42 h 43"/>
                <a:gd name="T6" fmla="*/ 11 w 15"/>
                <a:gd name="T7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43">
                  <a:moveTo>
                    <a:pt x="11" y="33"/>
                  </a:moveTo>
                  <a:cubicBezTo>
                    <a:pt x="9" y="22"/>
                    <a:pt x="3" y="11"/>
                    <a:pt x="0" y="0"/>
                  </a:cubicBezTo>
                  <a:cubicBezTo>
                    <a:pt x="3" y="14"/>
                    <a:pt x="6" y="31"/>
                    <a:pt x="14" y="42"/>
                  </a:cubicBezTo>
                  <a:cubicBezTo>
                    <a:pt x="14" y="39"/>
                    <a:pt x="11" y="36"/>
                    <a:pt x="11" y="3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5" name="Freeform 156"/>
            <p:cNvSpPr>
              <a:spLocks noChangeArrowheads="1"/>
            </p:cNvSpPr>
            <p:nvPr/>
          </p:nvSpPr>
          <p:spPr bwMode="auto">
            <a:xfrm>
              <a:off x="3852863" y="2116138"/>
              <a:ext cx="1587" cy="3175"/>
            </a:xfrm>
            <a:custGeom>
              <a:avLst/>
              <a:gdLst>
                <a:gd name="T0" fmla="*/ 4 w 5"/>
                <a:gd name="T1" fmla="*/ 0 h 9"/>
                <a:gd name="T2" fmla="*/ 1 w 5"/>
                <a:gd name="T3" fmla="*/ 5 h 9"/>
                <a:gd name="T4" fmla="*/ 4 w 5"/>
                <a:gd name="T5" fmla="*/ 0 h 9"/>
                <a:gd name="T6" fmla="*/ 1 w 5"/>
                <a:gd name="T7" fmla="*/ 6 h 9"/>
                <a:gd name="T8" fmla="*/ 1 w 5"/>
                <a:gd name="T9" fmla="*/ 5 h 9"/>
                <a:gd name="T10" fmla="*/ 1 w 5"/>
                <a:gd name="T11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9">
                  <a:moveTo>
                    <a:pt x="4" y="0"/>
                  </a:moveTo>
                  <a:cubicBezTo>
                    <a:pt x="2" y="3"/>
                    <a:pt x="1" y="3"/>
                    <a:pt x="1" y="5"/>
                  </a:cubicBezTo>
                  <a:cubicBezTo>
                    <a:pt x="2" y="4"/>
                    <a:pt x="3" y="3"/>
                    <a:pt x="4" y="0"/>
                  </a:cubicBezTo>
                  <a:close/>
                  <a:moveTo>
                    <a:pt x="1" y="6"/>
                  </a:moveTo>
                  <a:cubicBezTo>
                    <a:pt x="0" y="8"/>
                    <a:pt x="0" y="7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6" name="Freeform 157"/>
            <p:cNvSpPr>
              <a:spLocks noChangeArrowheads="1"/>
            </p:cNvSpPr>
            <p:nvPr/>
          </p:nvSpPr>
          <p:spPr bwMode="auto">
            <a:xfrm>
              <a:off x="4057650" y="3098800"/>
              <a:ext cx="7938" cy="4763"/>
            </a:xfrm>
            <a:custGeom>
              <a:avLst/>
              <a:gdLst>
                <a:gd name="T0" fmla="*/ 2 w 20"/>
                <a:gd name="T1" fmla="*/ 3 h 12"/>
                <a:gd name="T2" fmla="*/ 2 w 20"/>
                <a:gd name="T3" fmla="*/ 3 h 12"/>
                <a:gd name="T4" fmla="*/ 19 w 20"/>
                <a:gd name="T5" fmla="*/ 11 h 12"/>
                <a:gd name="T6" fmla="*/ 0 w 20"/>
                <a:gd name="T7" fmla="*/ 0 h 12"/>
                <a:gd name="T8" fmla="*/ 2 w 20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2">
                  <a:moveTo>
                    <a:pt x="2" y="3"/>
                  </a:moveTo>
                  <a:lnTo>
                    <a:pt x="2" y="3"/>
                  </a:lnTo>
                  <a:cubicBezTo>
                    <a:pt x="5" y="6"/>
                    <a:pt x="11" y="8"/>
                    <a:pt x="19" y="11"/>
                  </a:cubicBezTo>
                  <a:cubicBezTo>
                    <a:pt x="14" y="8"/>
                    <a:pt x="5" y="6"/>
                    <a:pt x="0" y="0"/>
                  </a:cubicBezTo>
                  <a:cubicBezTo>
                    <a:pt x="0" y="3"/>
                    <a:pt x="2" y="3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7" name="Freeform 158"/>
            <p:cNvSpPr>
              <a:spLocks noChangeArrowheads="1"/>
            </p:cNvSpPr>
            <p:nvPr/>
          </p:nvSpPr>
          <p:spPr bwMode="auto">
            <a:xfrm>
              <a:off x="3852863" y="2116138"/>
              <a:ext cx="1587" cy="3175"/>
            </a:xfrm>
            <a:custGeom>
              <a:avLst/>
              <a:gdLst>
                <a:gd name="T0" fmla="*/ 3 w 4"/>
                <a:gd name="T1" fmla="*/ 3 h 10"/>
                <a:gd name="T2" fmla="*/ 3 w 4"/>
                <a:gd name="T3" fmla="*/ 3 h 10"/>
                <a:gd name="T4" fmla="*/ 3 w 4"/>
                <a:gd name="T5" fmla="*/ 3 h 10"/>
                <a:gd name="T6" fmla="*/ 0 w 4"/>
                <a:gd name="T7" fmla="*/ 9 h 10"/>
                <a:gd name="T8" fmla="*/ 3 w 4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3" y="3"/>
                  </a:moveTo>
                  <a:lnTo>
                    <a:pt x="3" y="3"/>
                  </a:lnTo>
                  <a:cubicBezTo>
                    <a:pt x="3" y="3"/>
                    <a:pt x="3" y="0"/>
                    <a:pt x="3" y="3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0" y="6"/>
                    <a:pt x="3" y="6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8" name="Freeform 159"/>
            <p:cNvSpPr>
              <a:spLocks noChangeArrowheads="1"/>
            </p:cNvSpPr>
            <p:nvPr/>
          </p:nvSpPr>
          <p:spPr bwMode="auto">
            <a:xfrm>
              <a:off x="3633788" y="2443163"/>
              <a:ext cx="1587" cy="1587"/>
            </a:xfrm>
            <a:custGeom>
              <a:avLst/>
              <a:gdLst>
                <a:gd name="T0" fmla="*/ 3 w 4"/>
                <a:gd name="T1" fmla="*/ 0 h 3"/>
                <a:gd name="T2" fmla="*/ 0 w 4"/>
                <a:gd name="T3" fmla="*/ 0 h 3"/>
                <a:gd name="T4" fmla="*/ 0 w 4"/>
                <a:gd name="T5" fmla="*/ 0 h 3"/>
                <a:gd name="T6" fmla="*/ 3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3" y="2"/>
                    <a:pt x="3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9" name="Freeform 160"/>
            <p:cNvSpPr>
              <a:spLocks noChangeArrowheads="1"/>
            </p:cNvSpPr>
            <p:nvPr/>
          </p:nvSpPr>
          <p:spPr bwMode="auto">
            <a:xfrm>
              <a:off x="3868738" y="2119313"/>
              <a:ext cx="1587" cy="4762"/>
            </a:xfrm>
            <a:custGeom>
              <a:avLst/>
              <a:gdLst>
                <a:gd name="T0" fmla="*/ 3 w 6"/>
                <a:gd name="T1" fmla="*/ 0 h 12"/>
                <a:gd name="T2" fmla="*/ 2 w 6"/>
                <a:gd name="T3" fmla="*/ 2 h 12"/>
                <a:gd name="T4" fmla="*/ 0 w 6"/>
                <a:gd name="T5" fmla="*/ 8 h 12"/>
                <a:gd name="T6" fmla="*/ 3 w 6"/>
                <a:gd name="T7" fmla="*/ 0 h 12"/>
                <a:gd name="T8" fmla="*/ 3 w 6"/>
                <a:gd name="T9" fmla="*/ 0 h 12"/>
                <a:gd name="T10" fmla="*/ 2 w 6"/>
                <a:gd name="T11" fmla="*/ 2 h 12"/>
                <a:gd name="T12" fmla="*/ 3 w 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cubicBezTo>
                    <a:pt x="3" y="1"/>
                    <a:pt x="2" y="1"/>
                    <a:pt x="2" y="2"/>
                  </a:cubicBezTo>
                  <a:lnTo>
                    <a:pt x="0" y="8"/>
                  </a:lnTo>
                  <a:cubicBezTo>
                    <a:pt x="5" y="11"/>
                    <a:pt x="5" y="0"/>
                    <a:pt x="3" y="0"/>
                  </a:cubicBezTo>
                  <a:close/>
                  <a:moveTo>
                    <a:pt x="3" y="0"/>
                  </a:moveTo>
                  <a:lnTo>
                    <a:pt x="2" y="2"/>
                  </a:lnTo>
                  <a:cubicBezTo>
                    <a:pt x="1" y="2"/>
                    <a:pt x="1" y="2"/>
                    <a:pt x="3" y="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0" name="Freeform 161"/>
            <p:cNvSpPr>
              <a:spLocks noChangeArrowheads="1"/>
            </p:cNvSpPr>
            <p:nvPr/>
          </p:nvSpPr>
          <p:spPr bwMode="auto">
            <a:xfrm>
              <a:off x="3649663" y="2386013"/>
              <a:ext cx="3175" cy="4762"/>
            </a:xfrm>
            <a:custGeom>
              <a:avLst/>
              <a:gdLst>
                <a:gd name="T0" fmla="*/ 0 w 10"/>
                <a:gd name="T1" fmla="*/ 0 h 12"/>
                <a:gd name="T2" fmla="*/ 0 w 10"/>
                <a:gd name="T3" fmla="*/ 2 h 12"/>
                <a:gd name="T4" fmla="*/ 9 w 10"/>
                <a:gd name="T5" fmla="*/ 11 h 12"/>
                <a:gd name="T6" fmla="*/ 9 w 10"/>
                <a:gd name="T7" fmla="*/ 11 h 12"/>
                <a:gd name="T8" fmla="*/ 0 w 1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0" y="0"/>
                  </a:moveTo>
                  <a:lnTo>
                    <a:pt x="0" y="2"/>
                  </a:lnTo>
                  <a:cubicBezTo>
                    <a:pt x="3" y="5"/>
                    <a:pt x="6" y="8"/>
                    <a:pt x="9" y="11"/>
                  </a:cubicBezTo>
                  <a:lnTo>
                    <a:pt x="9" y="11"/>
                  </a:lnTo>
                  <a:cubicBezTo>
                    <a:pt x="6" y="8"/>
                    <a:pt x="3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1" name="Freeform 162"/>
            <p:cNvSpPr>
              <a:spLocks noChangeArrowheads="1"/>
            </p:cNvSpPr>
            <p:nvPr/>
          </p:nvSpPr>
          <p:spPr bwMode="auto">
            <a:xfrm>
              <a:off x="4056063" y="3098800"/>
              <a:ext cx="1587" cy="1588"/>
            </a:xfrm>
            <a:custGeom>
              <a:avLst/>
              <a:gdLst>
                <a:gd name="T0" fmla="*/ 5 w 6"/>
                <a:gd name="T1" fmla="*/ 3 h 4"/>
                <a:gd name="T2" fmla="*/ 5 w 6"/>
                <a:gd name="T3" fmla="*/ 3 h 4"/>
                <a:gd name="T4" fmla="*/ 0 w 6"/>
                <a:gd name="T5" fmla="*/ 0 h 4"/>
                <a:gd name="T6" fmla="*/ 5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5" y="3"/>
                  </a:lnTo>
                  <a:cubicBezTo>
                    <a:pt x="3" y="3"/>
                    <a:pt x="3" y="0"/>
                    <a:pt x="0" y="0"/>
                  </a:cubicBezTo>
                  <a:cubicBezTo>
                    <a:pt x="3" y="0"/>
                    <a:pt x="5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2" name="Freeform 163"/>
            <p:cNvSpPr>
              <a:spLocks noChangeArrowheads="1"/>
            </p:cNvSpPr>
            <p:nvPr/>
          </p:nvSpPr>
          <p:spPr bwMode="auto">
            <a:xfrm>
              <a:off x="4448175" y="2967038"/>
              <a:ext cx="4763" cy="3175"/>
            </a:xfrm>
            <a:custGeom>
              <a:avLst/>
              <a:gdLst>
                <a:gd name="T0" fmla="*/ 0 w 15"/>
                <a:gd name="T1" fmla="*/ 9 h 10"/>
                <a:gd name="T2" fmla="*/ 14 w 15"/>
                <a:gd name="T3" fmla="*/ 6 h 10"/>
                <a:gd name="T4" fmla="*/ 14 w 15"/>
                <a:gd name="T5" fmla="*/ 0 h 10"/>
                <a:gd name="T6" fmla="*/ 0 w 15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0" y="9"/>
                  </a:moveTo>
                  <a:cubicBezTo>
                    <a:pt x="3" y="6"/>
                    <a:pt x="8" y="6"/>
                    <a:pt x="14" y="6"/>
                  </a:cubicBezTo>
                  <a:lnTo>
                    <a:pt x="14" y="0"/>
                  </a:lnTo>
                  <a:cubicBezTo>
                    <a:pt x="8" y="0"/>
                    <a:pt x="3" y="3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3" name="Freeform 164"/>
            <p:cNvSpPr>
              <a:spLocks noChangeArrowheads="1"/>
            </p:cNvSpPr>
            <p:nvPr/>
          </p:nvSpPr>
          <p:spPr bwMode="auto">
            <a:xfrm>
              <a:off x="3611563" y="2689225"/>
              <a:ext cx="1587" cy="1588"/>
            </a:xfrm>
            <a:custGeom>
              <a:avLst/>
              <a:gdLst>
                <a:gd name="T0" fmla="*/ 0 w 4"/>
                <a:gd name="T1" fmla="*/ 0 h 6"/>
                <a:gd name="T2" fmla="*/ 3 w 4"/>
                <a:gd name="T3" fmla="*/ 5 h 6"/>
                <a:gd name="T4" fmla="*/ 0 w 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cubicBezTo>
                    <a:pt x="0" y="3"/>
                    <a:pt x="2" y="3"/>
                    <a:pt x="3" y="5"/>
                  </a:cubicBezTo>
                  <a:cubicBezTo>
                    <a:pt x="2" y="4"/>
                    <a:pt x="2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4" name="Freeform 165"/>
            <p:cNvSpPr>
              <a:spLocks noChangeArrowheads="1"/>
            </p:cNvSpPr>
            <p:nvPr/>
          </p:nvSpPr>
          <p:spPr bwMode="auto">
            <a:xfrm>
              <a:off x="4486275" y="2949575"/>
              <a:ext cx="1588" cy="3175"/>
            </a:xfrm>
            <a:custGeom>
              <a:avLst/>
              <a:gdLst>
                <a:gd name="T0" fmla="*/ 3 w 4"/>
                <a:gd name="T1" fmla="*/ 0 h 10"/>
                <a:gd name="T2" fmla="*/ 0 w 4"/>
                <a:gd name="T3" fmla="*/ 9 h 10"/>
                <a:gd name="T4" fmla="*/ 0 w 4"/>
                <a:gd name="T5" fmla="*/ 9 h 10"/>
                <a:gd name="T6" fmla="*/ 3 w 4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0"/>
                  </a:moveTo>
                  <a:cubicBezTo>
                    <a:pt x="3" y="3"/>
                    <a:pt x="3" y="6"/>
                    <a:pt x="0" y="9"/>
                  </a:cubicBezTo>
                  <a:lnTo>
                    <a:pt x="0" y="9"/>
                  </a:lnTo>
                  <a:cubicBezTo>
                    <a:pt x="0" y="6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5" name="Freeform 166"/>
            <p:cNvSpPr>
              <a:spLocks noChangeArrowheads="1"/>
            </p:cNvSpPr>
            <p:nvPr/>
          </p:nvSpPr>
          <p:spPr bwMode="auto">
            <a:xfrm>
              <a:off x="3776663" y="2965450"/>
              <a:ext cx="3175" cy="1588"/>
            </a:xfrm>
            <a:custGeom>
              <a:avLst/>
              <a:gdLst>
                <a:gd name="T0" fmla="*/ 8 w 9"/>
                <a:gd name="T1" fmla="*/ 2 h 3"/>
                <a:gd name="T2" fmla="*/ 0 w 9"/>
                <a:gd name="T3" fmla="*/ 0 h 3"/>
                <a:gd name="T4" fmla="*/ 8 w 9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8" y="2"/>
                  </a:moveTo>
                  <a:cubicBezTo>
                    <a:pt x="5" y="2"/>
                    <a:pt x="3" y="0"/>
                    <a:pt x="0" y="0"/>
                  </a:cubicBezTo>
                  <a:cubicBezTo>
                    <a:pt x="3" y="2"/>
                    <a:pt x="5" y="2"/>
                    <a:pt x="8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6" name="Freeform 167"/>
            <p:cNvSpPr>
              <a:spLocks noChangeArrowheads="1"/>
            </p:cNvSpPr>
            <p:nvPr/>
          </p:nvSpPr>
          <p:spPr bwMode="auto">
            <a:xfrm>
              <a:off x="3644900" y="2382838"/>
              <a:ext cx="3175" cy="1587"/>
            </a:xfrm>
            <a:custGeom>
              <a:avLst/>
              <a:gdLst>
                <a:gd name="T0" fmla="*/ 3 w 7"/>
                <a:gd name="T1" fmla="*/ 0 h 4"/>
                <a:gd name="T2" fmla="*/ 6 w 7"/>
                <a:gd name="T3" fmla="*/ 3 h 4"/>
                <a:gd name="T4" fmla="*/ 3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3" y="0"/>
                  </a:moveTo>
                  <a:cubicBezTo>
                    <a:pt x="0" y="3"/>
                    <a:pt x="3" y="3"/>
                    <a:pt x="6" y="3"/>
                  </a:cubicBezTo>
                  <a:cubicBezTo>
                    <a:pt x="3" y="3"/>
                    <a:pt x="3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7" name="Freeform 168"/>
            <p:cNvSpPr>
              <a:spLocks noChangeArrowheads="1"/>
            </p:cNvSpPr>
            <p:nvPr/>
          </p:nvSpPr>
          <p:spPr bwMode="auto">
            <a:xfrm>
              <a:off x="3638550" y="2389188"/>
              <a:ext cx="1588" cy="1587"/>
            </a:xfrm>
            <a:custGeom>
              <a:avLst/>
              <a:gdLst>
                <a:gd name="T0" fmla="*/ 0 w 4"/>
                <a:gd name="T1" fmla="*/ 0 h 4"/>
                <a:gd name="T2" fmla="*/ 3 w 4"/>
                <a:gd name="T3" fmla="*/ 3 h 4"/>
                <a:gd name="T4" fmla="*/ 3 w 4"/>
                <a:gd name="T5" fmla="*/ 3 h 4"/>
                <a:gd name="T6" fmla="*/ 0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3" y="3"/>
                  </a:lnTo>
                  <a:lnTo>
                    <a:pt x="3" y="3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8" name="Freeform 169"/>
            <p:cNvSpPr>
              <a:spLocks noChangeArrowheads="1"/>
            </p:cNvSpPr>
            <p:nvPr/>
          </p:nvSpPr>
          <p:spPr bwMode="auto">
            <a:xfrm>
              <a:off x="3636963" y="2389188"/>
              <a:ext cx="1587" cy="1587"/>
            </a:xfrm>
            <a:custGeom>
              <a:avLst/>
              <a:gdLst>
                <a:gd name="T0" fmla="*/ 3 w 4"/>
                <a:gd name="T1" fmla="*/ 3 h 4"/>
                <a:gd name="T2" fmla="*/ 0 w 4"/>
                <a:gd name="T3" fmla="*/ 0 h 4"/>
                <a:gd name="T4" fmla="*/ 3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3" y="0"/>
                    <a:pt x="0" y="0"/>
                    <a:pt x="0" y="0"/>
                  </a:cubicBezTo>
                  <a:cubicBezTo>
                    <a:pt x="3" y="0"/>
                    <a:pt x="3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9" name="Freeform 170"/>
            <p:cNvSpPr>
              <a:spLocks noChangeArrowheads="1"/>
            </p:cNvSpPr>
            <p:nvPr/>
          </p:nvSpPr>
          <p:spPr bwMode="auto">
            <a:xfrm>
              <a:off x="3617913" y="2705100"/>
              <a:ext cx="4762" cy="1588"/>
            </a:xfrm>
            <a:custGeom>
              <a:avLst/>
              <a:gdLst>
                <a:gd name="T0" fmla="*/ 5 w 12"/>
                <a:gd name="T1" fmla="*/ 3 h 4"/>
                <a:gd name="T2" fmla="*/ 11 w 12"/>
                <a:gd name="T3" fmla="*/ 3 h 4"/>
                <a:gd name="T4" fmla="*/ 5 w 12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4">
                  <a:moveTo>
                    <a:pt x="5" y="3"/>
                  </a:moveTo>
                  <a:cubicBezTo>
                    <a:pt x="8" y="3"/>
                    <a:pt x="11" y="3"/>
                    <a:pt x="11" y="3"/>
                  </a:cubicBezTo>
                  <a:cubicBezTo>
                    <a:pt x="5" y="3"/>
                    <a:pt x="0" y="0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0" name="Freeform 171"/>
            <p:cNvSpPr>
              <a:spLocks noChangeArrowheads="1"/>
            </p:cNvSpPr>
            <p:nvPr/>
          </p:nvSpPr>
          <p:spPr bwMode="auto">
            <a:xfrm>
              <a:off x="3940175" y="2087563"/>
              <a:ext cx="1588" cy="4762"/>
            </a:xfrm>
            <a:custGeom>
              <a:avLst/>
              <a:gdLst>
                <a:gd name="T0" fmla="*/ 0 w 4"/>
                <a:gd name="T1" fmla="*/ 11 h 12"/>
                <a:gd name="T2" fmla="*/ 0 w 4"/>
                <a:gd name="T3" fmla="*/ 11 h 12"/>
                <a:gd name="T4" fmla="*/ 3 w 4"/>
                <a:gd name="T5" fmla="*/ 0 h 12"/>
                <a:gd name="T6" fmla="*/ 0 w 4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2">
                  <a:moveTo>
                    <a:pt x="0" y="11"/>
                  </a:moveTo>
                  <a:lnTo>
                    <a:pt x="0" y="11"/>
                  </a:lnTo>
                  <a:cubicBezTo>
                    <a:pt x="0" y="8"/>
                    <a:pt x="3" y="2"/>
                    <a:pt x="3" y="0"/>
                  </a:cubicBezTo>
                  <a:cubicBezTo>
                    <a:pt x="3" y="2"/>
                    <a:pt x="0" y="5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1" name="Freeform 172"/>
            <p:cNvSpPr>
              <a:spLocks noChangeArrowheads="1"/>
            </p:cNvSpPr>
            <p:nvPr/>
          </p:nvSpPr>
          <p:spPr bwMode="auto">
            <a:xfrm>
              <a:off x="3646488" y="2381250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3 w 9"/>
                <a:gd name="T3" fmla="*/ 0 h 9"/>
                <a:gd name="T4" fmla="*/ 0 w 9"/>
                <a:gd name="T5" fmla="*/ 3 h 9"/>
                <a:gd name="T6" fmla="*/ 3 w 9"/>
                <a:gd name="T7" fmla="*/ 8 h 9"/>
                <a:gd name="T8" fmla="*/ 8 w 9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cubicBezTo>
                    <a:pt x="5" y="5"/>
                    <a:pt x="5" y="3"/>
                    <a:pt x="3" y="0"/>
                  </a:cubicBezTo>
                  <a:lnTo>
                    <a:pt x="0" y="3"/>
                  </a:lnTo>
                  <a:cubicBezTo>
                    <a:pt x="0" y="5"/>
                    <a:pt x="3" y="5"/>
                    <a:pt x="3" y="8"/>
                  </a:cubicBezTo>
                  <a:cubicBezTo>
                    <a:pt x="5" y="8"/>
                    <a:pt x="5" y="8"/>
                    <a:pt x="8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2" name="Freeform 173"/>
            <p:cNvSpPr>
              <a:spLocks noChangeArrowheads="1"/>
            </p:cNvSpPr>
            <p:nvPr/>
          </p:nvSpPr>
          <p:spPr bwMode="auto">
            <a:xfrm>
              <a:off x="4405313" y="2921000"/>
              <a:ext cx="7937" cy="4763"/>
            </a:xfrm>
            <a:custGeom>
              <a:avLst/>
              <a:gdLst>
                <a:gd name="T0" fmla="*/ 2 w 20"/>
                <a:gd name="T1" fmla="*/ 3 h 15"/>
                <a:gd name="T2" fmla="*/ 8 w 20"/>
                <a:gd name="T3" fmla="*/ 14 h 15"/>
                <a:gd name="T4" fmla="*/ 19 w 20"/>
                <a:gd name="T5" fmla="*/ 6 h 15"/>
                <a:gd name="T6" fmla="*/ 2 w 20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5">
                  <a:moveTo>
                    <a:pt x="2" y="3"/>
                  </a:moveTo>
                  <a:cubicBezTo>
                    <a:pt x="0" y="12"/>
                    <a:pt x="8" y="9"/>
                    <a:pt x="8" y="14"/>
                  </a:cubicBezTo>
                  <a:cubicBezTo>
                    <a:pt x="14" y="14"/>
                    <a:pt x="16" y="12"/>
                    <a:pt x="19" y="6"/>
                  </a:cubicBezTo>
                  <a:cubicBezTo>
                    <a:pt x="14" y="3"/>
                    <a:pt x="8" y="0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3" name="Freeform 174"/>
            <p:cNvSpPr>
              <a:spLocks noChangeArrowheads="1"/>
            </p:cNvSpPr>
            <p:nvPr/>
          </p:nvSpPr>
          <p:spPr bwMode="auto">
            <a:xfrm>
              <a:off x="4403725" y="2874963"/>
              <a:ext cx="6350" cy="7937"/>
            </a:xfrm>
            <a:custGeom>
              <a:avLst/>
              <a:gdLst>
                <a:gd name="T0" fmla="*/ 3 w 18"/>
                <a:gd name="T1" fmla="*/ 20 h 21"/>
                <a:gd name="T2" fmla="*/ 11 w 18"/>
                <a:gd name="T3" fmla="*/ 6 h 21"/>
                <a:gd name="T4" fmla="*/ 17 w 18"/>
                <a:gd name="T5" fmla="*/ 6 h 21"/>
                <a:gd name="T6" fmla="*/ 3 w 18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3" y="20"/>
                  </a:moveTo>
                  <a:cubicBezTo>
                    <a:pt x="5" y="14"/>
                    <a:pt x="8" y="12"/>
                    <a:pt x="11" y="6"/>
                  </a:cubicBezTo>
                  <a:lnTo>
                    <a:pt x="17" y="6"/>
                  </a:lnTo>
                  <a:cubicBezTo>
                    <a:pt x="8" y="0"/>
                    <a:pt x="0" y="9"/>
                    <a:pt x="3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4" name="Freeform 175"/>
            <p:cNvSpPr>
              <a:spLocks noChangeArrowheads="1"/>
            </p:cNvSpPr>
            <p:nvPr/>
          </p:nvSpPr>
          <p:spPr bwMode="auto">
            <a:xfrm>
              <a:off x="4411663" y="2697163"/>
              <a:ext cx="3175" cy="4762"/>
            </a:xfrm>
            <a:custGeom>
              <a:avLst/>
              <a:gdLst>
                <a:gd name="T0" fmla="*/ 9 w 10"/>
                <a:gd name="T1" fmla="*/ 11 h 15"/>
                <a:gd name="T2" fmla="*/ 9 w 10"/>
                <a:gd name="T3" fmla="*/ 3 h 15"/>
                <a:gd name="T4" fmla="*/ 3 w 10"/>
                <a:gd name="T5" fmla="*/ 0 h 15"/>
                <a:gd name="T6" fmla="*/ 9 w 10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5">
                  <a:moveTo>
                    <a:pt x="9" y="11"/>
                  </a:moveTo>
                  <a:lnTo>
                    <a:pt x="9" y="3"/>
                  </a:lnTo>
                  <a:cubicBezTo>
                    <a:pt x="9" y="3"/>
                    <a:pt x="6" y="0"/>
                    <a:pt x="3" y="0"/>
                  </a:cubicBezTo>
                  <a:cubicBezTo>
                    <a:pt x="0" y="3"/>
                    <a:pt x="3" y="14"/>
                    <a:pt x="9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5" name="Freeform 176"/>
            <p:cNvSpPr>
              <a:spLocks noChangeArrowheads="1"/>
            </p:cNvSpPr>
            <p:nvPr/>
          </p:nvSpPr>
          <p:spPr bwMode="auto">
            <a:xfrm>
              <a:off x="4405313" y="2717800"/>
              <a:ext cx="4762" cy="3175"/>
            </a:xfrm>
            <a:custGeom>
              <a:avLst/>
              <a:gdLst>
                <a:gd name="T0" fmla="*/ 0 w 15"/>
                <a:gd name="T1" fmla="*/ 3 h 10"/>
                <a:gd name="T2" fmla="*/ 12 w 15"/>
                <a:gd name="T3" fmla="*/ 9 h 10"/>
                <a:gd name="T4" fmla="*/ 14 w 15"/>
                <a:gd name="T5" fmla="*/ 3 h 10"/>
                <a:gd name="T6" fmla="*/ 0 w 15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0" y="3"/>
                  </a:moveTo>
                  <a:cubicBezTo>
                    <a:pt x="3" y="6"/>
                    <a:pt x="6" y="9"/>
                    <a:pt x="12" y="9"/>
                  </a:cubicBezTo>
                  <a:cubicBezTo>
                    <a:pt x="14" y="9"/>
                    <a:pt x="14" y="6"/>
                    <a:pt x="14" y="3"/>
                  </a:cubicBezTo>
                  <a:cubicBezTo>
                    <a:pt x="9" y="0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6" name="Freeform 177"/>
            <p:cNvSpPr>
              <a:spLocks noChangeArrowheads="1"/>
            </p:cNvSpPr>
            <p:nvPr/>
          </p:nvSpPr>
          <p:spPr bwMode="auto">
            <a:xfrm>
              <a:off x="4408488" y="2735263"/>
              <a:ext cx="3175" cy="6350"/>
            </a:xfrm>
            <a:custGeom>
              <a:avLst/>
              <a:gdLst>
                <a:gd name="T0" fmla="*/ 5 w 9"/>
                <a:gd name="T1" fmla="*/ 3 h 18"/>
                <a:gd name="T2" fmla="*/ 0 w 9"/>
                <a:gd name="T3" fmla="*/ 3 h 18"/>
                <a:gd name="T4" fmla="*/ 0 w 9"/>
                <a:gd name="T5" fmla="*/ 6 h 18"/>
                <a:gd name="T6" fmla="*/ 0 w 9"/>
                <a:gd name="T7" fmla="*/ 14 h 18"/>
                <a:gd name="T8" fmla="*/ 8 w 9"/>
                <a:gd name="T9" fmla="*/ 17 h 18"/>
                <a:gd name="T10" fmla="*/ 5 w 9"/>
                <a:gd name="T11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8">
                  <a:moveTo>
                    <a:pt x="5" y="3"/>
                  </a:moveTo>
                  <a:cubicBezTo>
                    <a:pt x="3" y="3"/>
                    <a:pt x="3" y="0"/>
                    <a:pt x="0" y="3"/>
                  </a:cubicBezTo>
                  <a:lnTo>
                    <a:pt x="0" y="6"/>
                  </a:lnTo>
                  <a:cubicBezTo>
                    <a:pt x="0" y="9"/>
                    <a:pt x="0" y="11"/>
                    <a:pt x="0" y="14"/>
                  </a:cubicBezTo>
                  <a:cubicBezTo>
                    <a:pt x="3" y="17"/>
                    <a:pt x="5" y="17"/>
                    <a:pt x="8" y="17"/>
                  </a:cubicBezTo>
                  <a:cubicBezTo>
                    <a:pt x="5" y="11"/>
                    <a:pt x="5" y="6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7" name="Freeform 178"/>
            <p:cNvSpPr>
              <a:spLocks noChangeArrowheads="1"/>
            </p:cNvSpPr>
            <p:nvPr/>
          </p:nvSpPr>
          <p:spPr bwMode="auto">
            <a:xfrm>
              <a:off x="4413250" y="2425700"/>
              <a:ext cx="3175" cy="3175"/>
            </a:xfrm>
            <a:custGeom>
              <a:avLst/>
              <a:gdLst>
                <a:gd name="T0" fmla="*/ 3 w 10"/>
                <a:gd name="T1" fmla="*/ 0 h 9"/>
                <a:gd name="T2" fmla="*/ 0 w 10"/>
                <a:gd name="T3" fmla="*/ 2 h 9"/>
                <a:gd name="T4" fmla="*/ 6 w 10"/>
                <a:gd name="T5" fmla="*/ 8 h 9"/>
                <a:gd name="T6" fmla="*/ 3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3" y="0"/>
                  </a:moveTo>
                  <a:cubicBezTo>
                    <a:pt x="0" y="0"/>
                    <a:pt x="0" y="2"/>
                    <a:pt x="0" y="2"/>
                  </a:cubicBezTo>
                  <a:cubicBezTo>
                    <a:pt x="0" y="5"/>
                    <a:pt x="3" y="8"/>
                    <a:pt x="6" y="8"/>
                  </a:cubicBezTo>
                  <a:cubicBezTo>
                    <a:pt x="9" y="5"/>
                    <a:pt x="9" y="2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8" name="Freeform 179"/>
            <p:cNvSpPr>
              <a:spLocks noChangeArrowheads="1"/>
            </p:cNvSpPr>
            <p:nvPr/>
          </p:nvSpPr>
          <p:spPr bwMode="auto">
            <a:xfrm>
              <a:off x="4416425" y="2343150"/>
              <a:ext cx="1588" cy="1588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3 h 4"/>
                <a:gd name="T4" fmla="*/ 2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0" y="0"/>
                    <a:pt x="0" y="0"/>
                    <a:pt x="0" y="3"/>
                  </a:cubicBezTo>
                  <a:lnTo>
                    <a:pt x="2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9" name="Freeform 180"/>
            <p:cNvSpPr>
              <a:spLocks noChangeArrowheads="1"/>
            </p:cNvSpPr>
            <p:nvPr/>
          </p:nvSpPr>
          <p:spPr bwMode="auto">
            <a:xfrm>
              <a:off x="4397375" y="2462213"/>
              <a:ext cx="1588" cy="3175"/>
            </a:xfrm>
            <a:custGeom>
              <a:avLst/>
              <a:gdLst>
                <a:gd name="T0" fmla="*/ 5 w 6"/>
                <a:gd name="T1" fmla="*/ 3 h 7"/>
                <a:gd name="T2" fmla="*/ 3 w 6"/>
                <a:gd name="T3" fmla="*/ 0 h 7"/>
                <a:gd name="T4" fmla="*/ 0 w 6"/>
                <a:gd name="T5" fmla="*/ 0 h 7"/>
                <a:gd name="T6" fmla="*/ 3 w 6"/>
                <a:gd name="T7" fmla="*/ 6 h 7"/>
                <a:gd name="T8" fmla="*/ 5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3"/>
                  </a:moveTo>
                  <a:lnTo>
                    <a:pt x="3" y="0"/>
                  </a:lnTo>
                  <a:lnTo>
                    <a:pt x="0" y="0"/>
                  </a:lnTo>
                  <a:cubicBezTo>
                    <a:pt x="0" y="3"/>
                    <a:pt x="0" y="6"/>
                    <a:pt x="3" y="6"/>
                  </a:cubicBezTo>
                  <a:cubicBezTo>
                    <a:pt x="3" y="6"/>
                    <a:pt x="3" y="6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0" name="Freeform 181"/>
            <p:cNvSpPr>
              <a:spLocks noChangeArrowheads="1"/>
            </p:cNvSpPr>
            <p:nvPr/>
          </p:nvSpPr>
          <p:spPr bwMode="auto">
            <a:xfrm>
              <a:off x="4403725" y="2965450"/>
              <a:ext cx="6350" cy="4763"/>
            </a:xfrm>
            <a:custGeom>
              <a:avLst/>
              <a:gdLst>
                <a:gd name="T0" fmla="*/ 5 w 18"/>
                <a:gd name="T1" fmla="*/ 0 h 13"/>
                <a:gd name="T2" fmla="*/ 0 w 18"/>
                <a:gd name="T3" fmla="*/ 6 h 13"/>
                <a:gd name="T4" fmla="*/ 17 w 18"/>
                <a:gd name="T5" fmla="*/ 12 h 13"/>
                <a:gd name="T6" fmla="*/ 5 w 18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3">
                  <a:moveTo>
                    <a:pt x="5" y="0"/>
                  </a:moveTo>
                  <a:cubicBezTo>
                    <a:pt x="3" y="3"/>
                    <a:pt x="3" y="3"/>
                    <a:pt x="0" y="6"/>
                  </a:cubicBezTo>
                  <a:cubicBezTo>
                    <a:pt x="3" y="12"/>
                    <a:pt x="8" y="12"/>
                    <a:pt x="17" y="12"/>
                  </a:cubicBezTo>
                  <a:cubicBezTo>
                    <a:pt x="14" y="6"/>
                    <a:pt x="11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1" name="Freeform 182"/>
            <p:cNvSpPr>
              <a:spLocks noChangeArrowheads="1"/>
            </p:cNvSpPr>
            <p:nvPr/>
          </p:nvSpPr>
          <p:spPr bwMode="auto">
            <a:xfrm>
              <a:off x="4368800" y="2495550"/>
              <a:ext cx="3175" cy="6350"/>
            </a:xfrm>
            <a:custGeom>
              <a:avLst/>
              <a:gdLst>
                <a:gd name="T0" fmla="*/ 0 w 9"/>
                <a:gd name="T1" fmla="*/ 0 h 18"/>
                <a:gd name="T2" fmla="*/ 3 w 9"/>
                <a:gd name="T3" fmla="*/ 17 h 18"/>
                <a:gd name="T4" fmla="*/ 5 w 9"/>
                <a:gd name="T5" fmla="*/ 17 h 18"/>
                <a:gd name="T6" fmla="*/ 8 w 9"/>
                <a:gd name="T7" fmla="*/ 3 h 18"/>
                <a:gd name="T8" fmla="*/ 0 w 9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8">
                  <a:moveTo>
                    <a:pt x="0" y="0"/>
                  </a:moveTo>
                  <a:cubicBezTo>
                    <a:pt x="0" y="6"/>
                    <a:pt x="0" y="12"/>
                    <a:pt x="3" y="17"/>
                  </a:cubicBezTo>
                  <a:lnTo>
                    <a:pt x="5" y="17"/>
                  </a:lnTo>
                  <a:cubicBezTo>
                    <a:pt x="8" y="12"/>
                    <a:pt x="8" y="9"/>
                    <a:pt x="8" y="3"/>
                  </a:cubicBezTo>
                  <a:cubicBezTo>
                    <a:pt x="5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2" name="Freeform 183"/>
            <p:cNvSpPr>
              <a:spLocks noChangeArrowheads="1"/>
            </p:cNvSpPr>
            <p:nvPr/>
          </p:nvSpPr>
          <p:spPr bwMode="auto">
            <a:xfrm>
              <a:off x="4376738" y="2995613"/>
              <a:ext cx="3175" cy="1587"/>
            </a:xfrm>
            <a:custGeom>
              <a:avLst/>
              <a:gdLst>
                <a:gd name="T0" fmla="*/ 3 w 7"/>
                <a:gd name="T1" fmla="*/ 3 h 4"/>
                <a:gd name="T2" fmla="*/ 6 w 7"/>
                <a:gd name="T3" fmla="*/ 3 h 4"/>
                <a:gd name="T4" fmla="*/ 3 w 7"/>
                <a:gd name="T5" fmla="*/ 0 h 4"/>
                <a:gd name="T6" fmla="*/ 0 w 7"/>
                <a:gd name="T7" fmla="*/ 0 h 4"/>
                <a:gd name="T8" fmla="*/ 3 w 7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3" name="Freeform 184"/>
            <p:cNvSpPr>
              <a:spLocks noChangeArrowheads="1"/>
            </p:cNvSpPr>
            <p:nvPr/>
          </p:nvSpPr>
          <p:spPr bwMode="auto">
            <a:xfrm>
              <a:off x="4365625" y="3005138"/>
              <a:ext cx="9525" cy="11112"/>
            </a:xfrm>
            <a:custGeom>
              <a:avLst/>
              <a:gdLst>
                <a:gd name="T0" fmla="*/ 17 w 27"/>
                <a:gd name="T1" fmla="*/ 2 h 32"/>
                <a:gd name="T2" fmla="*/ 9 w 27"/>
                <a:gd name="T3" fmla="*/ 11 h 32"/>
                <a:gd name="T4" fmla="*/ 14 w 27"/>
                <a:gd name="T5" fmla="*/ 2 h 32"/>
                <a:gd name="T6" fmla="*/ 14 w 27"/>
                <a:gd name="T7" fmla="*/ 2 h 32"/>
                <a:gd name="T8" fmla="*/ 0 w 27"/>
                <a:gd name="T9" fmla="*/ 19 h 32"/>
                <a:gd name="T10" fmla="*/ 9 w 27"/>
                <a:gd name="T11" fmla="*/ 31 h 32"/>
                <a:gd name="T12" fmla="*/ 17 w 27"/>
                <a:gd name="T13" fmla="*/ 14 h 32"/>
                <a:gd name="T14" fmla="*/ 23 w 27"/>
                <a:gd name="T15" fmla="*/ 0 h 32"/>
                <a:gd name="T16" fmla="*/ 17 w 27"/>
                <a:gd name="T17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32">
                  <a:moveTo>
                    <a:pt x="17" y="2"/>
                  </a:moveTo>
                  <a:cubicBezTo>
                    <a:pt x="14" y="5"/>
                    <a:pt x="12" y="8"/>
                    <a:pt x="9" y="11"/>
                  </a:cubicBezTo>
                  <a:cubicBezTo>
                    <a:pt x="14" y="5"/>
                    <a:pt x="14" y="2"/>
                    <a:pt x="14" y="2"/>
                  </a:cubicBezTo>
                  <a:lnTo>
                    <a:pt x="14" y="2"/>
                  </a:lnTo>
                  <a:cubicBezTo>
                    <a:pt x="9" y="8"/>
                    <a:pt x="0" y="8"/>
                    <a:pt x="0" y="19"/>
                  </a:cubicBezTo>
                  <a:cubicBezTo>
                    <a:pt x="0" y="25"/>
                    <a:pt x="3" y="31"/>
                    <a:pt x="9" y="31"/>
                  </a:cubicBezTo>
                  <a:cubicBezTo>
                    <a:pt x="17" y="31"/>
                    <a:pt x="14" y="19"/>
                    <a:pt x="17" y="14"/>
                  </a:cubicBezTo>
                  <a:cubicBezTo>
                    <a:pt x="17" y="5"/>
                    <a:pt x="26" y="5"/>
                    <a:pt x="23" y="0"/>
                  </a:cubicBezTo>
                  <a:cubicBezTo>
                    <a:pt x="20" y="0"/>
                    <a:pt x="20" y="2"/>
                    <a:pt x="17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4" name="Freeform 185"/>
            <p:cNvSpPr>
              <a:spLocks noChangeArrowheads="1"/>
            </p:cNvSpPr>
            <p:nvPr/>
          </p:nvSpPr>
          <p:spPr bwMode="auto">
            <a:xfrm>
              <a:off x="4370388" y="2652713"/>
              <a:ext cx="3175" cy="3175"/>
            </a:xfrm>
            <a:custGeom>
              <a:avLst/>
              <a:gdLst>
                <a:gd name="T0" fmla="*/ 0 w 10"/>
                <a:gd name="T1" fmla="*/ 0 h 9"/>
                <a:gd name="T2" fmla="*/ 0 w 10"/>
                <a:gd name="T3" fmla="*/ 8 h 9"/>
                <a:gd name="T4" fmla="*/ 9 w 10"/>
                <a:gd name="T5" fmla="*/ 0 h 9"/>
                <a:gd name="T6" fmla="*/ 0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lnTo>
                    <a:pt x="0" y="8"/>
                  </a:lnTo>
                  <a:cubicBezTo>
                    <a:pt x="6" y="8"/>
                    <a:pt x="9" y="5"/>
                    <a:pt x="9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5" name="Freeform 186"/>
            <p:cNvSpPr>
              <a:spLocks noChangeArrowheads="1"/>
            </p:cNvSpPr>
            <p:nvPr/>
          </p:nvSpPr>
          <p:spPr bwMode="auto">
            <a:xfrm>
              <a:off x="4413250" y="2828925"/>
              <a:ext cx="3175" cy="1588"/>
            </a:xfrm>
            <a:custGeom>
              <a:avLst/>
              <a:gdLst>
                <a:gd name="T0" fmla="*/ 0 w 10"/>
                <a:gd name="T1" fmla="*/ 5 h 6"/>
                <a:gd name="T2" fmla="*/ 9 w 10"/>
                <a:gd name="T3" fmla="*/ 2 h 6"/>
                <a:gd name="T4" fmla="*/ 3 w 10"/>
                <a:gd name="T5" fmla="*/ 0 h 6"/>
                <a:gd name="T6" fmla="*/ 0 w 10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6">
                  <a:moveTo>
                    <a:pt x="0" y="5"/>
                  </a:moveTo>
                  <a:cubicBezTo>
                    <a:pt x="3" y="5"/>
                    <a:pt x="9" y="5"/>
                    <a:pt x="9" y="2"/>
                  </a:cubicBezTo>
                  <a:cubicBezTo>
                    <a:pt x="6" y="0"/>
                    <a:pt x="6" y="0"/>
                    <a:pt x="3" y="0"/>
                  </a:cubicBezTo>
                  <a:cubicBezTo>
                    <a:pt x="3" y="2"/>
                    <a:pt x="0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6" name="Freeform 187"/>
            <p:cNvSpPr>
              <a:spLocks noChangeArrowheads="1"/>
            </p:cNvSpPr>
            <p:nvPr/>
          </p:nvSpPr>
          <p:spPr bwMode="auto">
            <a:xfrm>
              <a:off x="4395788" y="2878138"/>
              <a:ext cx="7937" cy="7937"/>
            </a:xfrm>
            <a:custGeom>
              <a:avLst/>
              <a:gdLst>
                <a:gd name="T0" fmla="*/ 0 w 21"/>
                <a:gd name="T1" fmla="*/ 17 h 21"/>
                <a:gd name="T2" fmla="*/ 20 w 21"/>
                <a:gd name="T3" fmla="*/ 11 h 21"/>
                <a:gd name="T4" fmla="*/ 6 w 21"/>
                <a:gd name="T5" fmla="*/ 0 h 21"/>
                <a:gd name="T6" fmla="*/ 0 w 21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1">
                  <a:moveTo>
                    <a:pt x="0" y="17"/>
                  </a:moveTo>
                  <a:cubicBezTo>
                    <a:pt x="9" y="20"/>
                    <a:pt x="17" y="20"/>
                    <a:pt x="20" y="11"/>
                  </a:cubicBezTo>
                  <a:cubicBezTo>
                    <a:pt x="14" y="8"/>
                    <a:pt x="11" y="3"/>
                    <a:pt x="6" y="0"/>
                  </a:cubicBezTo>
                  <a:cubicBezTo>
                    <a:pt x="3" y="3"/>
                    <a:pt x="3" y="11"/>
                    <a:pt x="0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7" name="Freeform 188"/>
            <p:cNvSpPr>
              <a:spLocks noChangeArrowheads="1"/>
            </p:cNvSpPr>
            <p:nvPr/>
          </p:nvSpPr>
          <p:spPr bwMode="auto">
            <a:xfrm>
              <a:off x="4511675" y="2709863"/>
              <a:ext cx="4763" cy="6350"/>
            </a:xfrm>
            <a:custGeom>
              <a:avLst/>
              <a:gdLst>
                <a:gd name="T0" fmla="*/ 0 w 15"/>
                <a:gd name="T1" fmla="*/ 9 h 16"/>
                <a:gd name="T2" fmla="*/ 2 w 15"/>
                <a:gd name="T3" fmla="*/ 15 h 16"/>
                <a:gd name="T4" fmla="*/ 14 w 15"/>
                <a:gd name="T5" fmla="*/ 6 h 16"/>
                <a:gd name="T6" fmla="*/ 0 w 15"/>
                <a:gd name="T7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9"/>
                  </a:moveTo>
                  <a:cubicBezTo>
                    <a:pt x="2" y="9"/>
                    <a:pt x="2" y="12"/>
                    <a:pt x="2" y="15"/>
                  </a:cubicBezTo>
                  <a:cubicBezTo>
                    <a:pt x="8" y="15"/>
                    <a:pt x="14" y="15"/>
                    <a:pt x="14" y="6"/>
                  </a:cubicBezTo>
                  <a:cubicBezTo>
                    <a:pt x="8" y="3"/>
                    <a:pt x="0" y="0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8" name="Freeform 189"/>
            <p:cNvSpPr>
              <a:spLocks noChangeArrowheads="1"/>
            </p:cNvSpPr>
            <p:nvPr/>
          </p:nvSpPr>
          <p:spPr bwMode="auto">
            <a:xfrm>
              <a:off x="4521200" y="2713038"/>
              <a:ext cx="3175" cy="4762"/>
            </a:xfrm>
            <a:custGeom>
              <a:avLst/>
              <a:gdLst>
                <a:gd name="T0" fmla="*/ 3 w 7"/>
                <a:gd name="T1" fmla="*/ 11 h 15"/>
                <a:gd name="T2" fmla="*/ 3 w 7"/>
                <a:gd name="T3" fmla="*/ 3 h 15"/>
                <a:gd name="T4" fmla="*/ 3 w 7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3" y="11"/>
                  </a:moveTo>
                  <a:cubicBezTo>
                    <a:pt x="6" y="11"/>
                    <a:pt x="6" y="3"/>
                    <a:pt x="3" y="3"/>
                  </a:cubicBezTo>
                  <a:cubicBezTo>
                    <a:pt x="0" y="0"/>
                    <a:pt x="0" y="14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9" name="Freeform 190"/>
            <p:cNvSpPr>
              <a:spLocks noChangeArrowheads="1"/>
            </p:cNvSpPr>
            <p:nvPr/>
          </p:nvSpPr>
          <p:spPr bwMode="auto">
            <a:xfrm>
              <a:off x="4370388" y="3003550"/>
              <a:ext cx="3175" cy="1588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3 h 6"/>
                <a:gd name="T4" fmla="*/ 0 w 7"/>
                <a:gd name="T5" fmla="*/ 5 h 6"/>
                <a:gd name="T6" fmla="*/ 6 w 7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cubicBezTo>
                    <a:pt x="3" y="0"/>
                    <a:pt x="3" y="0"/>
                    <a:pt x="0" y="3"/>
                  </a:cubicBezTo>
                  <a:lnTo>
                    <a:pt x="0" y="5"/>
                  </a:lnTo>
                  <a:cubicBezTo>
                    <a:pt x="6" y="5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0" name="Freeform 191"/>
            <p:cNvSpPr>
              <a:spLocks noChangeArrowheads="1"/>
            </p:cNvSpPr>
            <p:nvPr/>
          </p:nvSpPr>
          <p:spPr bwMode="auto">
            <a:xfrm>
              <a:off x="4511675" y="2695575"/>
              <a:ext cx="3175" cy="3175"/>
            </a:xfrm>
            <a:custGeom>
              <a:avLst/>
              <a:gdLst>
                <a:gd name="T0" fmla="*/ 0 w 9"/>
                <a:gd name="T1" fmla="*/ 0 h 7"/>
                <a:gd name="T2" fmla="*/ 0 w 9"/>
                <a:gd name="T3" fmla="*/ 6 h 7"/>
                <a:gd name="T4" fmla="*/ 8 w 9"/>
                <a:gd name="T5" fmla="*/ 6 h 7"/>
                <a:gd name="T6" fmla="*/ 5 w 9"/>
                <a:gd name="T7" fmla="*/ 0 h 7"/>
                <a:gd name="T8" fmla="*/ 0 w 9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0" y="0"/>
                  </a:moveTo>
                  <a:lnTo>
                    <a:pt x="0" y="6"/>
                  </a:lnTo>
                  <a:lnTo>
                    <a:pt x="8" y="6"/>
                  </a:lnTo>
                  <a:cubicBezTo>
                    <a:pt x="8" y="3"/>
                    <a:pt x="5" y="3"/>
                    <a:pt x="5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1" name="Freeform 192"/>
            <p:cNvSpPr>
              <a:spLocks noChangeArrowheads="1"/>
            </p:cNvSpPr>
            <p:nvPr/>
          </p:nvSpPr>
          <p:spPr bwMode="auto">
            <a:xfrm>
              <a:off x="4518025" y="2425700"/>
              <a:ext cx="3175" cy="3175"/>
            </a:xfrm>
            <a:custGeom>
              <a:avLst/>
              <a:gdLst>
                <a:gd name="T0" fmla="*/ 5 w 9"/>
                <a:gd name="T1" fmla="*/ 8 h 9"/>
                <a:gd name="T2" fmla="*/ 8 w 9"/>
                <a:gd name="T3" fmla="*/ 8 h 9"/>
                <a:gd name="T4" fmla="*/ 5 w 9"/>
                <a:gd name="T5" fmla="*/ 0 h 9"/>
                <a:gd name="T6" fmla="*/ 0 w 9"/>
                <a:gd name="T7" fmla="*/ 0 h 9"/>
                <a:gd name="T8" fmla="*/ 5 w 9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5" y="8"/>
                  </a:moveTo>
                  <a:lnTo>
                    <a:pt x="8" y="8"/>
                  </a:lnTo>
                  <a:cubicBezTo>
                    <a:pt x="8" y="5"/>
                    <a:pt x="8" y="2"/>
                    <a:pt x="5" y="0"/>
                  </a:cubicBezTo>
                  <a:cubicBezTo>
                    <a:pt x="2" y="0"/>
                    <a:pt x="2" y="0"/>
                    <a:pt x="0" y="0"/>
                  </a:cubicBezTo>
                  <a:cubicBezTo>
                    <a:pt x="0" y="2"/>
                    <a:pt x="0" y="5"/>
                    <a:pt x="5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2" name="Freeform 193"/>
            <p:cNvSpPr>
              <a:spLocks noChangeArrowheads="1"/>
            </p:cNvSpPr>
            <p:nvPr/>
          </p:nvSpPr>
          <p:spPr bwMode="auto">
            <a:xfrm>
              <a:off x="4519613" y="2289175"/>
              <a:ext cx="3175" cy="1588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3 w 7"/>
                <a:gd name="T5" fmla="*/ 3 h 4"/>
                <a:gd name="T6" fmla="*/ 6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0" y="0"/>
                    <a:pt x="0" y="0"/>
                  </a:cubicBezTo>
                  <a:lnTo>
                    <a:pt x="3" y="3"/>
                  </a:lnTo>
                  <a:cubicBezTo>
                    <a:pt x="3" y="3"/>
                    <a:pt x="3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3" name="Freeform 194"/>
            <p:cNvSpPr>
              <a:spLocks noChangeArrowheads="1"/>
            </p:cNvSpPr>
            <p:nvPr/>
          </p:nvSpPr>
          <p:spPr bwMode="auto">
            <a:xfrm>
              <a:off x="4529138" y="2309813"/>
              <a:ext cx="1587" cy="3175"/>
            </a:xfrm>
            <a:custGeom>
              <a:avLst/>
              <a:gdLst>
                <a:gd name="T0" fmla="*/ 0 w 6"/>
                <a:gd name="T1" fmla="*/ 9 h 10"/>
                <a:gd name="T2" fmla="*/ 5 w 6"/>
                <a:gd name="T3" fmla="*/ 0 h 10"/>
                <a:gd name="T4" fmla="*/ 0 w 6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0">
                  <a:moveTo>
                    <a:pt x="0" y="9"/>
                  </a:moveTo>
                  <a:cubicBezTo>
                    <a:pt x="2" y="6"/>
                    <a:pt x="5" y="3"/>
                    <a:pt x="5" y="0"/>
                  </a:cubicBezTo>
                  <a:cubicBezTo>
                    <a:pt x="2" y="0"/>
                    <a:pt x="0" y="3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4" name="Freeform 195"/>
            <p:cNvSpPr>
              <a:spLocks noChangeArrowheads="1"/>
            </p:cNvSpPr>
            <p:nvPr/>
          </p:nvSpPr>
          <p:spPr bwMode="auto">
            <a:xfrm>
              <a:off x="4522788" y="2535238"/>
              <a:ext cx="19050" cy="17462"/>
            </a:xfrm>
            <a:custGeom>
              <a:avLst/>
              <a:gdLst>
                <a:gd name="T0" fmla="*/ 22 w 51"/>
                <a:gd name="T1" fmla="*/ 26 h 49"/>
                <a:gd name="T2" fmla="*/ 22 w 51"/>
                <a:gd name="T3" fmla="*/ 34 h 49"/>
                <a:gd name="T4" fmla="*/ 34 w 51"/>
                <a:gd name="T5" fmla="*/ 23 h 49"/>
                <a:gd name="T6" fmla="*/ 28 w 51"/>
                <a:gd name="T7" fmla="*/ 46 h 49"/>
                <a:gd name="T8" fmla="*/ 28 w 51"/>
                <a:gd name="T9" fmla="*/ 46 h 49"/>
                <a:gd name="T10" fmla="*/ 50 w 51"/>
                <a:gd name="T11" fmla="*/ 37 h 49"/>
                <a:gd name="T12" fmla="*/ 50 w 51"/>
                <a:gd name="T13" fmla="*/ 34 h 49"/>
                <a:gd name="T14" fmla="*/ 39 w 51"/>
                <a:gd name="T15" fmla="*/ 20 h 49"/>
                <a:gd name="T16" fmla="*/ 42 w 51"/>
                <a:gd name="T17" fmla="*/ 15 h 49"/>
                <a:gd name="T18" fmla="*/ 42 w 51"/>
                <a:gd name="T19" fmla="*/ 12 h 49"/>
                <a:gd name="T20" fmla="*/ 45 w 51"/>
                <a:gd name="T21" fmla="*/ 12 h 49"/>
                <a:gd name="T22" fmla="*/ 48 w 51"/>
                <a:gd name="T23" fmla="*/ 0 h 49"/>
                <a:gd name="T24" fmla="*/ 36 w 51"/>
                <a:gd name="T25" fmla="*/ 6 h 49"/>
                <a:gd name="T26" fmla="*/ 19 w 51"/>
                <a:gd name="T27" fmla="*/ 9 h 49"/>
                <a:gd name="T28" fmla="*/ 14 w 51"/>
                <a:gd name="T29" fmla="*/ 20 h 49"/>
                <a:gd name="T30" fmla="*/ 11 w 51"/>
                <a:gd name="T31" fmla="*/ 26 h 49"/>
                <a:gd name="T32" fmla="*/ 0 w 51"/>
                <a:gd name="T33" fmla="*/ 34 h 49"/>
                <a:gd name="T34" fmla="*/ 0 w 51"/>
                <a:gd name="T35" fmla="*/ 37 h 49"/>
                <a:gd name="T36" fmla="*/ 8 w 51"/>
                <a:gd name="T37" fmla="*/ 43 h 49"/>
                <a:gd name="T38" fmla="*/ 22 w 51"/>
                <a:gd name="T39" fmla="*/ 2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" h="49">
                  <a:moveTo>
                    <a:pt x="22" y="26"/>
                  </a:moveTo>
                  <a:cubicBezTo>
                    <a:pt x="22" y="29"/>
                    <a:pt x="22" y="32"/>
                    <a:pt x="22" y="34"/>
                  </a:cubicBezTo>
                  <a:cubicBezTo>
                    <a:pt x="25" y="32"/>
                    <a:pt x="22" y="20"/>
                    <a:pt x="34" y="23"/>
                  </a:cubicBezTo>
                  <a:cubicBezTo>
                    <a:pt x="28" y="29"/>
                    <a:pt x="31" y="40"/>
                    <a:pt x="28" y="46"/>
                  </a:cubicBezTo>
                  <a:lnTo>
                    <a:pt x="28" y="46"/>
                  </a:lnTo>
                  <a:cubicBezTo>
                    <a:pt x="36" y="48"/>
                    <a:pt x="45" y="46"/>
                    <a:pt x="50" y="37"/>
                  </a:cubicBezTo>
                  <a:cubicBezTo>
                    <a:pt x="50" y="37"/>
                    <a:pt x="50" y="37"/>
                    <a:pt x="50" y="34"/>
                  </a:cubicBezTo>
                  <a:cubicBezTo>
                    <a:pt x="45" y="29"/>
                    <a:pt x="42" y="26"/>
                    <a:pt x="39" y="20"/>
                  </a:cubicBezTo>
                  <a:cubicBezTo>
                    <a:pt x="39" y="17"/>
                    <a:pt x="39" y="15"/>
                    <a:pt x="42" y="15"/>
                  </a:cubicBezTo>
                  <a:cubicBezTo>
                    <a:pt x="42" y="15"/>
                    <a:pt x="42" y="15"/>
                    <a:pt x="42" y="12"/>
                  </a:cubicBezTo>
                  <a:lnTo>
                    <a:pt x="45" y="12"/>
                  </a:lnTo>
                  <a:cubicBezTo>
                    <a:pt x="48" y="9"/>
                    <a:pt x="48" y="3"/>
                    <a:pt x="48" y="0"/>
                  </a:cubicBezTo>
                  <a:cubicBezTo>
                    <a:pt x="45" y="3"/>
                    <a:pt x="42" y="6"/>
                    <a:pt x="36" y="6"/>
                  </a:cubicBezTo>
                  <a:cubicBezTo>
                    <a:pt x="28" y="3"/>
                    <a:pt x="25" y="9"/>
                    <a:pt x="19" y="9"/>
                  </a:cubicBezTo>
                  <a:cubicBezTo>
                    <a:pt x="17" y="12"/>
                    <a:pt x="19" y="20"/>
                    <a:pt x="14" y="20"/>
                  </a:cubicBezTo>
                  <a:cubicBezTo>
                    <a:pt x="14" y="15"/>
                    <a:pt x="11" y="20"/>
                    <a:pt x="11" y="26"/>
                  </a:cubicBezTo>
                  <a:cubicBezTo>
                    <a:pt x="5" y="26"/>
                    <a:pt x="0" y="29"/>
                    <a:pt x="0" y="34"/>
                  </a:cubicBezTo>
                  <a:lnTo>
                    <a:pt x="0" y="37"/>
                  </a:lnTo>
                  <a:cubicBezTo>
                    <a:pt x="3" y="40"/>
                    <a:pt x="5" y="40"/>
                    <a:pt x="8" y="43"/>
                  </a:cubicBezTo>
                  <a:cubicBezTo>
                    <a:pt x="11" y="34"/>
                    <a:pt x="11" y="26"/>
                    <a:pt x="22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5" name="Freeform 196"/>
            <p:cNvSpPr>
              <a:spLocks noChangeArrowheads="1"/>
            </p:cNvSpPr>
            <p:nvPr/>
          </p:nvSpPr>
          <p:spPr bwMode="auto">
            <a:xfrm>
              <a:off x="4427538" y="2717800"/>
              <a:ext cx="3175" cy="3175"/>
            </a:xfrm>
            <a:custGeom>
              <a:avLst/>
              <a:gdLst>
                <a:gd name="T0" fmla="*/ 9 w 10"/>
                <a:gd name="T1" fmla="*/ 6 h 7"/>
                <a:gd name="T2" fmla="*/ 9 w 10"/>
                <a:gd name="T3" fmla="*/ 0 h 7"/>
                <a:gd name="T4" fmla="*/ 0 w 10"/>
                <a:gd name="T5" fmla="*/ 3 h 7"/>
                <a:gd name="T6" fmla="*/ 9 w 10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9" y="6"/>
                  </a:moveTo>
                  <a:cubicBezTo>
                    <a:pt x="9" y="6"/>
                    <a:pt x="9" y="3"/>
                    <a:pt x="9" y="0"/>
                  </a:cubicBezTo>
                  <a:cubicBezTo>
                    <a:pt x="6" y="0"/>
                    <a:pt x="3" y="0"/>
                    <a:pt x="0" y="3"/>
                  </a:cubicBezTo>
                  <a:cubicBezTo>
                    <a:pt x="3" y="6"/>
                    <a:pt x="6" y="6"/>
                    <a:pt x="9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6" name="Freeform 197"/>
            <p:cNvSpPr>
              <a:spLocks noChangeArrowheads="1"/>
            </p:cNvSpPr>
            <p:nvPr/>
          </p:nvSpPr>
          <p:spPr bwMode="auto">
            <a:xfrm>
              <a:off x="4432300" y="2605088"/>
              <a:ext cx="6350" cy="7937"/>
            </a:xfrm>
            <a:custGeom>
              <a:avLst/>
              <a:gdLst>
                <a:gd name="T0" fmla="*/ 11 w 18"/>
                <a:gd name="T1" fmla="*/ 17 h 21"/>
                <a:gd name="T2" fmla="*/ 0 w 18"/>
                <a:gd name="T3" fmla="*/ 9 h 21"/>
                <a:gd name="T4" fmla="*/ 8 w 18"/>
                <a:gd name="T5" fmla="*/ 20 h 21"/>
                <a:gd name="T6" fmla="*/ 11 w 18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11" y="17"/>
                  </a:moveTo>
                  <a:cubicBezTo>
                    <a:pt x="17" y="9"/>
                    <a:pt x="5" y="0"/>
                    <a:pt x="0" y="9"/>
                  </a:cubicBezTo>
                  <a:cubicBezTo>
                    <a:pt x="0" y="14"/>
                    <a:pt x="3" y="17"/>
                    <a:pt x="8" y="20"/>
                  </a:cubicBezTo>
                  <a:cubicBezTo>
                    <a:pt x="8" y="17"/>
                    <a:pt x="8" y="17"/>
                    <a:pt x="11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7" name="Freeform 198"/>
            <p:cNvSpPr>
              <a:spLocks noChangeArrowheads="1"/>
            </p:cNvSpPr>
            <p:nvPr/>
          </p:nvSpPr>
          <p:spPr bwMode="auto">
            <a:xfrm>
              <a:off x="4506913" y="2363788"/>
              <a:ext cx="7937" cy="12700"/>
            </a:xfrm>
            <a:custGeom>
              <a:avLst/>
              <a:gdLst>
                <a:gd name="T0" fmla="*/ 14 w 20"/>
                <a:gd name="T1" fmla="*/ 33 h 34"/>
                <a:gd name="T2" fmla="*/ 14 w 20"/>
                <a:gd name="T3" fmla="*/ 8 h 34"/>
                <a:gd name="T4" fmla="*/ 16 w 20"/>
                <a:gd name="T5" fmla="*/ 2 h 34"/>
                <a:gd name="T6" fmla="*/ 8 w 20"/>
                <a:gd name="T7" fmla="*/ 0 h 34"/>
                <a:gd name="T8" fmla="*/ 0 w 20"/>
                <a:gd name="T9" fmla="*/ 33 h 34"/>
                <a:gd name="T10" fmla="*/ 14 w 20"/>
                <a:gd name="T11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4">
                  <a:moveTo>
                    <a:pt x="14" y="33"/>
                  </a:moveTo>
                  <a:cubicBezTo>
                    <a:pt x="14" y="25"/>
                    <a:pt x="19" y="17"/>
                    <a:pt x="14" y="8"/>
                  </a:cubicBezTo>
                  <a:cubicBezTo>
                    <a:pt x="16" y="5"/>
                    <a:pt x="16" y="2"/>
                    <a:pt x="16" y="2"/>
                  </a:cubicBezTo>
                  <a:cubicBezTo>
                    <a:pt x="14" y="2"/>
                    <a:pt x="11" y="0"/>
                    <a:pt x="8" y="0"/>
                  </a:cubicBezTo>
                  <a:cubicBezTo>
                    <a:pt x="2" y="8"/>
                    <a:pt x="5" y="22"/>
                    <a:pt x="0" y="33"/>
                  </a:cubicBezTo>
                  <a:lnTo>
                    <a:pt x="14" y="3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8" name="Freeform 199"/>
            <p:cNvSpPr>
              <a:spLocks noChangeArrowheads="1"/>
            </p:cNvSpPr>
            <p:nvPr/>
          </p:nvSpPr>
          <p:spPr bwMode="auto">
            <a:xfrm>
              <a:off x="4435475" y="2593975"/>
              <a:ext cx="3175" cy="1588"/>
            </a:xfrm>
            <a:custGeom>
              <a:avLst/>
              <a:gdLst>
                <a:gd name="T0" fmla="*/ 0 w 7"/>
                <a:gd name="T1" fmla="*/ 0 h 4"/>
                <a:gd name="T2" fmla="*/ 0 w 7"/>
                <a:gd name="T3" fmla="*/ 3 h 4"/>
                <a:gd name="T4" fmla="*/ 6 w 7"/>
                <a:gd name="T5" fmla="*/ 3 h 4"/>
                <a:gd name="T6" fmla="*/ 0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lnTo>
                    <a:pt x="0" y="3"/>
                  </a:lnTo>
                  <a:cubicBezTo>
                    <a:pt x="3" y="3"/>
                    <a:pt x="6" y="3"/>
                    <a:pt x="6" y="3"/>
                  </a:cubicBezTo>
                  <a:cubicBezTo>
                    <a:pt x="6" y="3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9" name="Freeform 200"/>
            <p:cNvSpPr>
              <a:spLocks noChangeArrowheads="1"/>
            </p:cNvSpPr>
            <p:nvPr/>
          </p:nvSpPr>
          <p:spPr bwMode="auto">
            <a:xfrm>
              <a:off x="4433888" y="2841625"/>
              <a:ext cx="3175" cy="3175"/>
            </a:xfrm>
            <a:custGeom>
              <a:avLst/>
              <a:gdLst>
                <a:gd name="T0" fmla="*/ 0 w 10"/>
                <a:gd name="T1" fmla="*/ 3 h 7"/>
                <a:gd name="T2" fmla="*/ 6 w 10"/>
                <a:gd name="T3" fmla="*/ 6 h 7"/>
                <a:gd name="T4" fmla="*/ 9 w 10"/>
                <a:gd name="T5" fmla="*/ 3 h 7"/>
                <a:gd name="T6" fmla="*/ 0 w 10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0" y="6"/>
                    <a:pt x="3" y="6"/>
                    <a:pt x="6" y="6"/>
                  </a:cubicBezTo>
                  <a:lnTo>
                    <a:pt x="9" y="3"/>
                  </a:lnTo>
                  <a:cubicBezTo>
                    <a:pt x="3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0" name="Freeform 201"/>
            <p:cNvSpPr>
              <a:spLocks noChangeArrowheads="1"/>
            </p:cNvSpPr>
            <p:nvPr/>
          </p:nvSpPr>
          <p:spPr bwMode="auto">
            <a:xfrm>
              <a:off x="4518025" y="2698750"/>
              <a:ext cx="3175" cy="4763"/>
            </a:xfrm>
            <a:custGeom>
              <a:avLst/>
              <a:gdLst>
                <a:gd name="T0" fmla="*/ 8 w 9"/>
                <a:gd name="T1" fmla="*/ 0 h 12"/>
                <a:gd name="T2" fmla="*/ 8 w 9"/>
                <a:gd name="T3" fmla="*/ 0 h 12"/>
                <a:gd name="T4" fmla="*/ 8 w 9"/>
                <a:gd name="T5" fmla="*/ 0 h 12"/>
                <a:gd name="T6" fmla="*/ 0 w 9"/>
                <a:gd name="T7" fmla="*/ 11 h 12"/>
                <a:gd name="T8" fmla="*/ 8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cubicBezTo>
                    <a:pt x="5" y="5"/>
                    <a:pt x="2" y="8"/>
                    <a:pt x="0" y="11"/>
                  </a:cubicBezTo>
                  <a:cubicBezTo>
                    <a:pt x="5" y="8"/>
                    <a:pt x="8" y="5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1" name="Freeform 202"/>
            <p:cNvSpPr>
              <a:spLocks noChangeArrowheads="1"/>
            </p:cNvSpPr>
            <p:nvPr/>
          </p:nvSpPr>
          <p:spPr bwMode="auto">
            <a:xfrm>
              <a:off x="4537075" y="2473325"/>
              <a:ext cx="4763" cy="7938"/>
            </a:xfrm>
            <a:custGeom>
              <a:avLst/>
              <a:gdLst>
                <a:gd name="T0" fmla="*/ 14 w 15"/>
                <a:gd name="T1" fmla="*/ 0 h 21"/>
                <a:gd name="T2" fmla="*/ 3 w 15"/>
                <a:gd name="T3" fmla="*/ 17 h 21"/>
                <a:gd name="T4" fmla="*/ 14 w 15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1">
                  <a:moveTo>
                    <a:pt x="14" y="0"/>
                  </a:moveTo>
                  <a:cubicBezTo>
                    <a:pt x="6" y="0"/>
                    <a:pt x="0" y="6"/>
                    <a:pt x="3" y="17"/>
                  </a:cubicBezTo>
                  <a:cubicBezTo>
                    <a:pt x="11" y="20"/>
                    <a:pt x="14" y="12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2" name="Freeform 203"/>
            <p:cNvSpPr>
              <a:spLocks noChangeArrowheads="1"/>
            </p:cNvSpPr>
            <p:nvPr/>
          </p:nvSpPr>
          <p:spPr bwMode="auto">
            <a:xfrm>
              <a:off x="4370388" y="2139950"/>
              <a:ext cx="1587" cy="1588"/>
            </a:xfrm>
            <a:custGeom>
              <a:avLst/>
              <a:gdLst>
                <a:gd name="T0" fmla="*/ 2 w 3"/>
                <a:gd name="T1" fmla="*/ 3 h 4"/>
                <a:gd name="T2" fmla="*/ 2 w 3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3"/>
                  </a:moveTo>
                  <a:cubicBezTo>
                    <a:pt x="2" y="3"/>
                    <a:pt x="0" y="0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3" name="Freeform 204"/>
            <p:cNvSpPr>
              <a:spLocks noChangeArrowheads="1"/>
            </p:cNvSpPr>
            <p:nvPr/>
          </p:nvSpPr>
          <p:spPr bwMode="auto">
            <a:xfrm>
              <a:off x="4483100" y="2727325"/>
              <a:ext cx="1588" cy="1588"/>
            </a:xfrm>
            <a:custGeom>
              <a:avLst/>
              <a:gdLst>
                <a:gd name="T0" fmla="*/ 0 w 4"/>
                <a:gd name="T1" fmla="*/ 2 h 3"/>
                <a:gd name="T2" fmla="*/ 0 w 4"/>
                <a:gd name="T3" fmla="*/ 2 h 3"/>
                <a:gd name="T4" fmla="*/ 3 w 4"/>
                <a:gd name="T5" fmla="*/ 2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0" y="2"/>
                  </a:lnTo>
                  <a:lnTo>
                    <a:pt x="3" y="2"/>
                  </a:lnTo>
                  <a:cubicBezTo>
                    <a:pt x="3" y="0"/>
                    <a:pt x="0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4" name="Freeform 205"/>
            <p:cNvSpPr>
              <a:spLocks noChangeArrowheads="1"/>
            </p:cNvSpPr>
            <p:nvPr/>
          </p:nvSpPr>
          <p:spPr bwMode="auto">
            <a:xfrm>
              <a:off x="4479925" y="2749550"/>
              <a:ext cx="3175" cy="1588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0 h 6"/>
                <a:gd name="T4" fmla="*/ 6 w 7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cubicBezTo>
                    <a:pt x="3" y="0"/>
                    <a:pt x="3" y="0"/>
                    <a:pt x="0" y="0"/>
                  </a:cubicBezTo>
                  <a:cubicBezTo>
                    <a:pt x="0" y="3"/>
                    <a:pt x="3" y="5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5" name="Freeform 206"/>
            <p:cNvSpPr>
              <a:spLocks noChangeArrowheads="1"/>
            </p:cNvSpPr>
            <p:nvPr/>
          </p:nvSpPr>
          <p:spPr bwMode="auto">
            <a:xfrm>
              <a:off x="4486275" y="2381250"/>
              <a:ext cx="3175" cy="3175"/>
            </a:xfrm>
            <a:custGeom>
              <a:avLst/>
              <a:gdLst>
                <a:gd name="T0" fmla="*/ 6 w 10"/>
                <a:gd name="T1" fmla="*/ 0 h 9"/>
                <a:gd name="T2" fmla="*/ 0 w 10"/>
                <a:gd name="T3" fmla="*/ 8 h 9"/>
                <a:gd name="T4" fmla="*/ 9 w 10"/>
                <a:gd name="T5" fmla="*/ 8 h 9"/>
                <a:gd name="T6" fmla="*/ 6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6" y="0"/>
                  </a:moveTo>
                  <a:cubicBezTo>
                    <a:pt x="3" y="2"/>
                    <a:pt x="0" y="5"/>
                    <a:pt x="0" y="8"/>
                  </a:cubicBezTo>
                  <a:cubicBezTo>
                    <a:pt x="3" y="8"/>
                    <a:pt x="6" y="8"/>
                    <a:pt x="9" y="8"/>
                  </a:cubicBezTo>
                  <a:cubicBezTo>
                    <a:pt x="9" y="5"/>
                    <a:pt x="9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6" name="Freeform 207"/>
            <p:cNvSpPr>
              <a:spLocks noChangeArrowheads="1"/>
            </p:cNvSpPr>
            <p:nvPr/>
          </p:nvSpPr>
          <p:spPr bwMode="auto">
            <a:xfrm>
              <a:off x="4478338" y="2838450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3 w 4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3"/>
                    <a:pt x="0" y="0"/>
                  </a:cubicBezTo>
                  <a:cubicBezTo>
                    <a:pt x="3" y="0"/>
                    <a:pt x="3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7" name="Freeform 208"/>
            <p:cNvSpPr>
              <a:spLocks noChangeArrowheads="1"/>
            </p:cNvSpPr>
            <p:nvPr/>
          </p:nvSpPr>
          <p:spPr bwMode="auto">
            <a:xfrm>
              <a:off x="4473575" y="2317750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6 w 10"/>
                <a:gd name="T3" fmla="*/ 0 h 9"/>
                <a:gd name="T4" fmla="*/ 0 w 10"/>
                <a:gd name="T5" fmla="*/ 3 h 9"/>
                <a:gd name="T6" fmla="*/ 9 w 10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cubicBezTo>
                    <a:pt x="9" y="5"/>
                    <a:pt x="6" y="3"/>
                    <a:pt x="6" y="0"/>
                  </a:cubicBezTo>
                  <a:cubicBezTo>
                    <a:pt x="3" y="0"/>
                    <a:pt x="0" y="0"/>
                    <a:pt x="0" y="3"/>
                  </a:cubicBezTo>
                  <a:cubicBezTo>
                    <a:pt x="0" y="5"/>
                    <a:pt x="3" y="8"/>
                    <a:pt x="9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8" name="Freeform 209"/>
            <p:cNvSpPr>
              <a:spLocks noChangeArrowheads="1"/>
            </p:cNvSpPr>
            <p:nvPr/>
          </p:nvSpPr>
          <p:spPr bwMode="auto">
            <a:xfrm>
              <a:off x="4467225" y="2392363"/>
              <a:ext cx="1588" cy="1587"/>
            </a:xfrm>
            <a:custGeom>
              <a:avLst/>
              <a:gdLst>
                <a:gd name="T0" fmla="*/ 2 w 6"/>
                <a:gd name="T1" fmla="*/ 0 h 6"/>
                <a:gd name="T2" fmla="*/ 2 w 6"/>
                <a:gd name="T3" fmla="*/ 0 h 6"/>
                <a:gd name="T4" fmla="*/ 2 w 6"/>
                <a:gd name="T5" fmla="*/ 5 h 6"/>
                <a:gd name="T6" fmla="*/ 2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2" y="0"/>
                  </a:lnTo>
                  <a:cubicBezTo>
                    <a:pt x="0" y="2"/>
                    <a:pt x="2" y="2"/>
                    <a:pt x="2" y="5"/>
                  </a:cubicBezTo>
                  <a:cubicBezTo>
                    <a:pt x="5" y="2"/>
                    <a:pt x="2" y="0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9" name="Freeform 210"/>
            <p:cNvSpPr>
              <a:spLocks noChangeArrowheads="1"/>
            </p:cNvSpPr>
            <p:nvPr/>
          </p:nvSpPr>
          <p:spPr bwMode="auto">
            <a:xfrm>
              <a:off x="4475163" y="2293938"/>
              <a:ext cx="1587" cy="1587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0"/>
                    <a:pt x="0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0" name="Freeform 211"/>
            <p:cNvSpPr>
              <a:spLocks noChangeArrowheads="1"/>
            </p:cNvSpPr>
            <p:nvPr/>
          </p:nvSpPr>
          <p:spPr bwMode="auto">
            <a:xfrm>
              <a:off x="4489450" y="2233613"/>
              <a:ext cx="3175" cy="3175"/>
            </a:xfrm>
            <a:custGeom>
              <a:avLst/>
              <a:gdLst>
                <a:gd name="T0" fmla="*/ 2 w 9"/>
                <a:gd name="T1" fmla="*/ 0 h 9"/>
                <a:gd name="T2" fmla="*/ 0 w 9"/>
                <a:gd name="T3" fmla="*/ 8 h 9"/>
                <a:gd name="T4" fmla="*/ 5 w 9"/>
                <a:gd name="T5" fmla="*/ 8 h 9"/>
                <a:gd name="T6" fmla="*/ 2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2" y="0"/>
                  </a:moveTo>
                  <a:cubicBezTo>
                    <a:pt x="2" y="3"/>
                    <a:pt x="0" y="3"/>
                    <a:pt x="0" y="8"/>
                  </a:cubicBezTo>
                  <a:lnTo>
                    <a:pt x="5" y="8"/>
                  </a:lnTo>
                  <a:cubicBezTo>
                    <a:pt x="8" y="5"/>
                    <a:pt x="8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1" name="Freeform 212"/>
            <p:cNvSpPr>
              <a:spLocks noChangeArrowheads="1"/>
            </p:cNvSpPr>
            <p:nvPr/>
          </p:nvSpPr>
          <p:spPr bwMode="auto">
            <a:xfrm>
              <a:off x="4502150" y="2347913"/>
              <a:ext cx="7938" cy="7937"/>
            </a:xfrm>
            <a:custGeom>
              <a:avLst/>
              <a:gdLst>
                <a:gd name="T0" fmla="*/ 15 w 24"/>
                <a:gd name="T1" fmla="*/ 23 h 24"/>
                <a:gd name="T2" fmla="*/ 12 w 24"/>
                <a:gd name="T3" fmla="*/ 9 h 24"/>
                <a:gd name="T4" fmla="*/ 23 w 24"/>
                <a:gd name="T5" fmla="*/ 6 h 24"/>
                <a:gd name="T6" fmla="*/ 23 w 24"/>
                <a:gd name="T7" fmla="*/ 0 h 24"/>
                <a:gd name="T8" fmla="*/ 12 w 24"/>
                <a:gd name="T9" fmla="*/ 0 h 24"/>
                <a:gd name="T10" fmla="*/ 0 w 24"/>
                <a:gd name="T11" fmla="*/ 6 h 24"/>
                <a:gd name="T12" fmla="*/ 0 w 24"/>
                <a:gd name="T13" fmla="*/ 6 h 24"/>
                <a:gd name="T14" fmla="*/ 15 w 24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15" y="23"/>
                  </a:moveTo>
                  <a:cubicBezTo>
                    <a:pt x="12" y="20"/>
                    <a:pt x="9" y="17"/>
                    <a:pt x="12" y="9"/>
                  </a:cubicBezTo>
                  <a:cubicBezTo>
                    <a:pt x="15" y="9"/>
                    <a:pt x="20" y="6"/>
                    <a:pt x="23" y="6"/>
                  </a:cubicBezTo>
                  <a:cubicBezTo>
                    <a:pt x="23" y="3"/>
                    <a:pt x="23" y="3"/>
                    <a:pt x="23" y="0"/>
                  </a:cubicBezTo>
                  <a:cubicBezTo>
                    <a:pt x="20" y="0"/>
                    <a:pt x="15" y="0"/>
                    <a:pt x="12" y="0"/>
                  </a:cubicBezTo>
                  <a:cubicBezTo>
                    <a:pt x="9" y="3"/>
                    <a:pt x="3" y="6"/>
                    <a:pt x="0" y="6"/>
                  </a:cubicBezTo>
                  <a:lnTo>
                    <a:pt x="0" y="6"/>
                  </a:lnTo>
                  <a:cubicBezTo>
                    <a:pt x="3" y="12"/>
                    <a:pt x="6" y="20"/>
                    <a:pt x="15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2" name="Freeform 213"/>
            <p:cNvSpPr>
              <a:spLocks noChangeArrowheads="1"/>
            </p:cNvSpPr>
            <p:nvPr/>
          </p:nvSpPr>
          <p:spPr bwMode="auto">
            <a:xfrm>
              <a:off x="4500563" y="2439988"/>
              <a:ext cx="1587" cy="1587"/>
            </a:xfrm>
            <a:custGeom>
              <a:avLst/>
              <a:gdLst>
                <a:gd name="T0" fmla="*/ 5 w 6"/>
                <a:gd name="T1" fmla="*/ 3 h 4"/>
                <a:gd name="T2" fmla="*/ 3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3" y="0"/>
                  </a:lnTo>
                  <a:cubicBezTo>
                    <a:pt x="0" y="0"/>
                    <a:pt x="3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3" name="Freeform 214"/>
            <p:cNvSpPr>
              <a:spLocks noChangeArrowheads="1"/>
            </p:cNvSpPr>
            <p:nvPr/>
          </p:nvSpPr>
          <p:spPr bwMode="auto">
            <a:xfrm>
              <a:off x="4465638" y="2347913"/>
              <a:ext cx="1587" cy="3175"/>
            </a:xfrm>
            <a:custGeom>
              <a:avLst/>
              <a:gdLst>
                <a:gd name="T0" fmla="*/ 0 w 6"/>
                <a:gd name="T1" fmla="*/ 6 h 7"/>
                <a:gd name="T2" fmla="*/ 5 w 6"/>
                <a:gd name="T3" fmla="*/ 6 h 7"/>
                <a:gd name="T4" fmla="*/ 5 w 6"/>
                <a:gd name="T5" fmla="*/ 3 h 7"/>
                <a:gd name="T6" fmla="*/ 0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6"/>
                  </a:moveTo>
                  <a:cubicBezTo>
                    <a:pt x="3" y="6"/>
                    <a:pt x="3" y="6"/>
                    <a:pt x="5" y="6"/>
                  </a:cubicBezTo>
                  <a:lnTo>
                    <a:pt x="5" y="3"/>
                  </a:lnTo>
                  <a:cubicBezTo>
                    <a:pt x="0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4" name="Freeform 215"/>
            <p:cNvSpPr>
              <a:spLocks noChangeArrowheads="1"/>
            </p:cNvSpPr>
            <p:nvPr/>
          </p:nvSpPr>
          <p:spPr bwMode="auto">
            <a:xfrm>
              <a:off x="4491038" y="2370138"/>
              <a:ext cx="6350" cy="7937"/>
            </a:xfrm>
            <a:custGeom>
              <a:avLst/>
              <a:gdLst>
                <a:gd name="T0" fmla="*/ 12 w 18"/>
                <a:gd name="T1" fmla="*/ 3 h 23"/>
                <a:gd name="T2" fmla="*/ 0 w 18"/>
                <a:gd name="T3" fmla="*/ 14 h 23"/>
                <a:gd name="T4" fmla="*/ 12 w 18"/>
                <a:gd name="T5" fmla="*/ 22 h 23"/>
                <a:gd name="T6" fmla="*/ 17 w 18"/>
                <a:gd name="T7" fmla="*/ 5 h 23"/>
                <a:gd name="T8" fmla="*/ 12 w 18"/>
                <a:gd name="T9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3">
                  <a:moveTo>
                    <a:pt x="12" y="3"/>
                  </a:moveTo>
                  <a:cubicBezTo>
                    <a:pt x="6" y="8"/>
                    <a:pt x="6" y="11"/>
                    <a:pt x="0" y="14"/>
                  </a:cubicBezTo>
                  <a:cubicBezTo>
                    <a:pt x="3" y="17"/>
                    <a:pt x="9" y="19"/>
                    <a:pt x="12" y="22"/>
                  </a:cubicBezTo>
                  <a:cubicBezTo>
                    <a:pt x="14" y="19"/>
                    <a:pt x="14" y="8"/>
                    <a:pt x="17" y="5"/>
                  </a:cubicBezTo>
                  <a:cubicBezTo>
                    <a:pt x="17" y="3"/>
                    <a:pt x="14" y="0"/>
                    <a:pt x="1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5" name="Freeform 216"/>
            <p:cNvSpPr>
              <a:spLocks noChangeArrowheads="1"/>
            </p:cNvSpPr>
            <p:nvPr/>
          </p:nvSpPr>
          <p:spPr bwMode="auto">
            <a:xfrm>
              <a:off x="4492625" y="2246313"/>
              <a:ext cx="3175" cy="3175"/>
            </a:xfrm>
            <a:custGeom>
              <a:avLst/>
              <a:gdLst>
                <a:gd name="T0" fmla="*/ 0 w 9"/>
                <a:gd name="T1" fmla="*/ 0 h 7"/>
                <a:gd name="T2" fmla="*/ 8 w 9"/>
                <a:gd name="T3" fmla="*/ 6 h 7"/>
                <a:gd name="T4" fmla="*/ 0 w 9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0" y="0"/>
                  </a:moveTo>
                  <a:cubicBezTo>
                    <a:pt x="3" y="3"/>
                    <a:pt x="6" y="6"/>
                    <a:pt x="8" y="6"/>
                  </a:cubicBezTo>
                  <a:cubicBezTo>
                    <a:pt x="6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6" name="Freeform 217"/>
            <p:cNvSpPr>
              <a:spLocks noChangeArrowheads="1"/>
            </p:cNvSpPr>
            <p:nvPr/>
          </p:nvSpPr>
          <p:spPr bwMode="auto">
            <a:xfrm>
              <a:off x="4494213" y="2328863"/>
              <a:ext cx="1587" cy="3175"/>
            </a:xfrm>
            <a:custGeom>
              <a:avLst/>
              <a:gdLst>
                <a:gd name="T0" fmla="*/ 0 w 6"/>
                <a:gd name="T1" fmla="*/ 3 h 7"/>
                <a:gd name="T2" fmla="*/ 5 w 6"/>
                <a:gd name="T3" fmla="*/ 6 h 7"/>
                <a:gd name="T4" fmla="*/ 0 w 6"/>
                <a:gd name="T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0" y="3"/>
                  </a:moveTo>
                  <a:cubicBezTo>
                    <a:pt x="2" y="3"/>
                    <a:pt x="2" y="6"/>
                    <a:pt x="5" y="6"/>
                  </a:cubicBezTo>
                  <a:cubicBezTo>
                    <a:pt x="2" y="3"/>
                    <a:pt x="2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7" name="Freeform 218"/>
            <p:cNvSpPr>
              <a:spLocks noChangeArrowheads="1"/>
            </p:cNvSpPr>
            <p:nvPr/>
          </p:nvSpPr>
          <p:spPr bwMode="auto">
            <a:xfrm>
              <a:off x="4497388" y="2854325"/>
              <a:ext cx="6350" cy="4763"/>
            </a:xfrm>
            <a:custGeom>
              <a:avLst/>
              <a:gdLst>
                <a:gd name="T0" fmla="*/ 6 w 18"/>
                <a:gd name="T1" fmla="*/ 14 h 15"/>
                <a:gd name="T2" fmla="*/ 14 w 18"/>
                <a:gd name="T3" fmla="*/ 0 h 15"/>
                <a:gd name="T4" fmla="*/ 0 w 18"/>
                <a:gd name="T5" fmla="*/ 9 h 15"/>
                <a:gd name="T6" fmla="*/ 6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6" y="14"/>
                  </a:moveTo>
                  <a:cubicBezTo>
                    <a:pt x="6" y="6"/>
                    <a:pt x="17" y="9"/>
                    <a:pt x="14" y="0"/>
                  </a:cubicBezTo>
                  <a:cubicBezTo>
                    <a:pt x="9" y="3"/>
                    <a:pt x="0" y="3"/>
                    <a:pt x="0" y="9"/>
                  </a:cubicBezTo>
                  <a:cubicBezTo>
                    <a:pt x="3" y="9"/>
                    <a:pt x="3" y="11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8" name="Freeform 219"/>
            <p:cNvSpPr>
              <a:spLocks noChangeArrowheads="1"/>
            </p:cNvSpPr>
            <p:nvPr/>
          </p:nvSpPr>
          <p:spPr bwMode="auto">
            <a:xfrm>
              <a:off x="4445000" y="2936875"/>
              <a:ext cx="4763" cy="1588"/>
            </a:xfrm>
            <a:custGeom>
              <a:avLst/>
              <a:gdLst>
                <a:gd name="T0" fmla="*/ 12 w 13"/>
                <a:gd name="T1" fmla="*/ 2 h 6"/>
                <a:gd name="T2" fmla="*/ 12 w 13"/>
                <a:gd name="T3" fmla="*/ 2 h 6"/>
                <a:gd name="T4" fmla="*/ 0 w 13"/>
                <a:gd name="T5" fmla="*/ 0 h 6"/>
                <a:gd name="T6" fmla="*/ 0 w 13"/>
                <a:gd name="T7" fmla="*/ 2 h 6"/>
                <a:gd name="T8" fmla="*/ 12 w 13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6">
                  <a:moveTo>
                    <a:pt x="12" y="2"/>
                  </a:moveTo>
                  <a:cubicBezTo>
                    <a:pt x="12" y="0"/>
                    <a:pt x="9" y="0"/>
                    <a:pt x="12" y="2"/>
                  </a:cubicBezTo>
                  <a:lnTo>
                    <a:pt x="0" y="0"/>
                  </a:lnTo>
                  <a:lnTo>
                    <a:pt x="0" y="2"/>
                  </a:lnTo>
                  <a:cubicBezTo>
                    <a:pt x="3" y="5"/>
                    <a:pt x="6" y="2"/>
                    <a:pt x="12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9" name="Freeform 220"/>
            <p:cNvSpPr>
              <a:spLocks noChangeArrowheads="1"/>
            </p:cNvSpPr>
            <p:nvPr/>
          </p:nvSpPr>
          <p:spPr bwMode="auto">
            <a:xfrm>
              <a:off x="4464050" y="2332038"/>
              <a:ext cx="3175" cy="3175"/>
            </a:xfrm>
            <a:custGeom>
              <a:avLst/>
              <a:gdLst>
                <a:gd name="T0" fmla="*/ 6 w 7"/>
                <a:gd name="T1" fmla="*/ 3 h 10"/>
                <a:gd name="T2" fmla="*/ 0 w 7"/>
                <a:gd name="T3" fmla="*/ 0 h 10"/>
                <a:gd name="T4" fmla="*/ 0 w 7"/>
                <a:gd name="T5" fmla="*/ 9 h 10"/>
                <a:gd name="T6" fmla="*/ 6 w 7"/>
                <a:gd name="T7" fmla="*/ 9 h 10"/>
                <a:gd name="T8" fmla="*/ 6 w 7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6" y="3"/>
                  </a:moveTo>
                  <a:cubicBezTo>
                    <a:pt x="3" y="3"/>
                    <a:pt x="3" y="0"/>
                    <a:pt x="0" y="0"/>
                  </a:cubicBezTo>
                  <a:lnTo>
                    <a:pt x="0" y="9"/>
                  </a:lnTo>
                  <a:lnTo>
                    <a:pt x="6" y="9"/>
                  </a:lnTo>
                  <a:cubicBezTo>
                    <a:pt x="6" y="9"/>
                    <a:pt x="6" y="6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0" name="Freeform 221"/>
            <p:cNvSpPr>
              <a:spLocks noChangeArrowheads="1"/>
            </p:cNvSpPr>
            <p:nvPr/>
          </p:nvSpPr>
          <p:spPr bwMode="auto">
            <a:xfrm>
              <a:off x="4365625" y="2352675"/>
              <a:ext cx="4763" cy="11113"/>
            </a:xfrm>
            <a:custGeom>
              <a:avLst/>
              <a:gdLst>
                <a:gd name="T0" fmla="*/ 0 w 13"/>
                <a:gd name="T1" fmla="*/ 8 h 32"/>
                <a:gd name="T2" fmla="*/ 6 w 13"/>
                <a:gd name="T3" fmla="*/ 31 h 32"/>
                <a:gd name="T4" fmla="*/ 6 w 13"/>
                <a:gd name="T5" fmla="*/ 31 h 32"/>
                <a:gd name="T6" fmla="*/ 12 w 13"/>
                <a:gd name="T7" fmla="*/ 0 h 32"/>
                <a:gd name="T8" fmla="*/ 0 w 13"/>
                <a:gd name="T9" fmla="*/ 2 h 32"/>
                <a:gd name="T10" fmla="*/ 0 w 13"/>
                <a:gd name="T11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2">
                  <a:moveTo>
                    <a:pt x="0" y="8"/>
                  </a:moveTo>
                  <a:cubicBezTo>
                    <a:pt x="0" y="16"/>
                    <a:pt x="3" y="25"/>
                    <a:pt x="6" y="31"/>
                  </a:cubicBezTo>
                  <a:lnTo>
                    <a:pt x="6" y="31"/>
                  </a:lnTo>
                  <a:cubicBezTo>
                    <a:pt x="3" y="19"/>
                    <a:pt x="6" y="8"/>
                    <a:pt x="12" y="0"/>
                  </a:cubicBezTo>
                  <a:cubicBezTo>
                    <a:pt x="9" y="2"/>
                    <a:pt x="6" y="2"/>
                    <a:pt x="0" y="2"/>
                  </a:cubicBezTo>
                  <a:cubicBezTo>
                    <a:pt x="0" y="5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1" name="Freeform 222"/>
            <p:cNvSpPr>
              <a:spLocks noChangeArrowheads="1"/>
            </p:cNvSpPr>
            <p:nvPr/>
          </p:nvSpPr>
          <p:spPr bwMode="auto">
            <a:xfrm>
              <a:off x="4446588" y="2243138"/>
              <a:ext cx="4762" cy="4762"/>
            </a:xfrm>
            <a:custGeom>
              <a:avLst/>
              <a:gdLst>
                <a:gd name="T0" fmla="*/ 6 w 12"/>
                <a:gd name="T1" fmla="*/ 14 h 15"/>
                <a:gd name="T2" fmla="*/ 11 w 12"/>
                <a:gd name="T3" fmla="*/ 6 h 15"/>
                <a:gd name="T4" fmla="*/ 0 w 12"/>
                <a:gd name="T5" fmla="*/ 0 h 15"/>
                <a:gd name="T6" fmla="*/ 3 w 12"/>
                <a:gd name="T7" fmla="*/ 14 h 15"/>
                <a:gd name="T8" fmla="*/ 6 w 12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6" y="14"/>
                  </a:moveTo>
                  <a:cubicBezTo>
                    <a:pt x="9" y="11"/>
                    <a:pt x="9" y="8"/>
                    <a:pt x="11" y="6"/>
                  </a:cubicBezTo>
                  <a:cubicBezTo>
                    <a:pt x="9" y="3"/>
                    <a:pt x="6" y="3"/>
                    <a:pt x="0" y="0"/>
                  </a:cubicBezTo>
                  <a:cubicBezTo>
                    <a:pt x="0" y="6"/>
                    <a:pt x="0" y="8"/>
                    <a:pt x="3" y="14"/>
                  </a:cubicBezTo>
                  <a:cubicBezTo>
                    <a:pt x="6" y="14"/>
                    <a:pt x="6" y="14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2" name="Freeform 223"/>
            <p:cNvSpPr>
              <a:spLocks noChangeArrowheads="1"/>
            </p:cNvSpPr>
            <p:nvPr/>
          </p:nvSpPr>
          <p:spPr bwMode="auto">
            <a:xfrm>
              <a:off x="4352925" y="2555875"/>
              <a:ext cx="1588" cy="1588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0 h 4"/>
                <a:gd name="T4" fmla="*/ 3 w 4"/>
                <a:gd name="T5" fmla="*/ 3 h 4"/>
                <a:gd name="T6" fmla="*/ 0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0"/>
                  </a:lnTo>
                  <a:cubicBezTo>
                    <a:pt x="3" y="3"/>
                    <a:pt x="3" y="3"/>
                    <a:pt x="3" y="3"/>
                  </a:cubicBezTo>
                  <a:cubicBezTo>
                    <a:pt x="3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3" name="Freeform 224"/>
            <p:cNvSpPr>
              <a:spLocks noChangeArrowheads="1"/>
            </p:cNvSpPr>
            <p:nvPr/>
          </p:nvSpPr>
          <p:spPr bwMode="auto">
            <a:xfrm>
              <a:off x="4370388" y="2332038"/>
              <a:ext cx="1587" cy="3175"/>
            </a:xfrm>
            <a:custGeom>
              <a:avLst/>
              <a:gdLst>
                <a:gd name="T0" fmla="*/ 5 w 6"/>
                <a:gd name="T1" fmla="*/ 9 h 10"/>
                <a:gd name="T2" fmla="*/ 5 w 6"/>
                <a:gd name="T3" fmla="*/ 0 h 10"/>
                <a:gd name="T4" fmla="*/ 0 w 6"/>
                <a:gd name="T5" fmla="*/ 0 h 10"/>
                <a:gd name="T6" fmla="*/ 0 w 6"/>
                <a:gd name="T7" fmla="*/ 9 h 10"/>
                <a:gd name="T8" fmla="*/ 5 w 6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5" y="9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5" y="9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4" name="Freeform 225"/>
            <p:cNvSpPr>
              <a:spLocks noChangeArrowheads="1"/>
            </p:cNvSpPr>
            <p:nvPr/>
          </p:nvSpPr>
          <p:spPr bwMode="auto">
            <a:xfrm>
              <a:off x="4456113" y="2811463"/>
              <a:ext cx="3175" cy="1587"/>
            </a:xfrm>
            <a:custGeom>
              <a:avLst/>
              <a:gdLst>
                <a:gd name="T0" fmla="*/ 0 w 7"/>
                <a:gd name="T1" fmla="*/ 0 h 4"/>
                <a:gd name="T2" fmla="*/ 0 w 7"/>
                <a:gd name="T3" fmla="*/ 0 h 4"/>
                <a:gd name="T4" fmla="*/ 6 w 7"/>
                <a:gd name="T5" fmla="*/ 0 h 4"/>
                <a:gd name="T6" fmla="*/ 6 w 7"/>
                <a:gd name="T7" fmla="*/ 0 h 4"/>
                <a:gd name="T8" fmla="*/ 0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lnTo>
                    <a:pt x="0" y="0"/>
                  </a:lnTo>
                  <a:cubicBezTo>
                    <a:pt x="3" y="3"/>
                    <a:pt x="6" y="0"/>
                    <a:pt x="6" y="0"/>
                  </a:cubicBezTo>
                  <a:lnTo>
                    <a:pt x="6" y="0"/>
                  </a:ln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5" name="Freeform 226"/>
            <p:cNvSpPr>
              <a:spLocks noChangeArrowheads="1"/>
            </p:cNvSpPr>
            <p:nvPr/>
          </p:nvSpPr>
          <p:spPr bwMode="auto">
            <a:xfrm>
              <a:off x="4459288" y="2670175"/>
              <a:ext cx="3175" cy="1588"/>
            </a:xfrm>
            <a:custGeom>
              <a:avLst/>
              <a:gdLst>
                <a:gd name="T0" fmla="*/ 0 w 9"/>
                <a:gd name="T1" fmla="*/ 0 h 4"/>
                <a:gd name="T2" fmla="*/ 0 w 9"/>
                <a:gd name="T3" fmla="*/ 3 h 4"/>
                <a:gd name="T4" fmla="*/ 8 w 9"/>
                <a:gd name="T5" fmla="*/ 0 h 4"/>
                <a:gd name="T6" fmla="*/ 0 w 9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4">
                  <a:moveTo>
                    <a:pt x="0" y="0"/>
                  </a:moveTo>
                  <a:lnTo>
                    <a:pt x="0" y="3"/>
                  </a:lnTo>
                  <a:cubicBezTo>
                    <a:pt x="3" y="3"/>
                    <a:pt x="6" y="0"/>
                    <a:pt x="8" y="0"/>
                  </a:cubicBezTo>
                  <a:cubicBezTo>
                    <a:pt x="6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6" name="Freeform 227"/>
            <p:cNvSpPr>
              <a:spLocks noChangeArrowheads="1"/>
            </p:cNvSpPr>
            <p:nvPr/>
          </p:nvSpPr>
          <p:spPr bwMode="auto">
            <a:xfrm>
              <a:off x="4459288" y="2266950"/>
              <a:ext cx="3175" cy="3175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6 w 7"/>
                <a:gd name="T5" fmla="*/ 8 h 9"/>
                <a:gd name="T6" fmla="*/ 3 w 7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cubicBezTo>
                    <a:pt x="3" y="0"/>
                    <a:pt x="0" y="0"/>
                    <a:pt x="3" y="0"/>
                  </a:cubicBezTo>
                  <a:cubicBezTo>
                    <a:pt x="0" y="3"/>
                    <a:pt x="3" y="8"/>
                    <a:pt x="6" y="8"/>
                  </a:cubicBezTo>
                  <a:cubicBezTo>
                    <a:pt x="3" y="5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7" name="Freeform 228"/>
            <p:cNvSpPr>
              <a:spLocks noChangeArrowheads="1"/>
            </p:cNvSpPr>
            <p:nvPr/>
          </p:nvSpPr>
          <p:spPr bwMode="auto">
            <a:xfrm>
              <a:off x="4456113" y="2565400"/>
              <a:ext cx="3175" cy="3175"/>
            </a:xfrm>
            <a:custGeom>
              <a:avLst/>
              <a:gdLst>
                <a:gd name="T0" fmla="*/ 0 w 7"/>
                <a:gd name="T1" fmla="*/ 3 h 7"/>
                <a:gd name="T2" fmla="*/ 6 w 7"/>
                <a:gd name="T3" fmla="*/ 6 h 7"/>
                <a:gd name="T4" fmla="*/ 6 w 7"/>
                <a:gd name="T5" fmla="*/ 0 h 7"/>
                <a:gd name="T6" fmla="*/ 0 w 7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3"/>
                  </a:moveTo>
                  <a:cubicBezTo>
                    <a:pt x="3" y="3"/>
                    <a:pt x="6" y="3"/>
                    <a:pt x="6" y="6"/>
                  </a:cubicBezTo>
                  <a:lnTo>
                    <a:pt x="6" y="0"/>
                  </a:lnTo>
                  <a:cubicBezTo>
                    <a:pt x="6" y="0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8" name="Freeform 229"/>
            <p:cNvSpPr>
              <a:spLocks noChangeArrowheads="1"/>
            </p:cNvSpPr>
            <p:nvPr/>
          </p:nvSpPr>
          <p:spPr bwMode="auto">
            <a:xfrm>
              <a:off x="4452938" y="2379663"/>
              <a:ext cx="3175" cy="3175"/>
            </a:xfrm>
            <a:custGeom>
              <a:avLst/>
              <a:gdLst>
                <a:gd name="T0" fmla="*/ 8 w 9"/>
                <a:gd name="T1" fmla="*/ 3 h 9"/>
                <a:gd name="T2" fmla="*/ 8 w 9"/>
                <a:gd name="T3" fmla="*/ 3 h 9"/>
                <a:gd name="T4" fmla="*/ 8 w 9"/>
                <a:gd name="T5" fmla="*/ 3 h 9"/>
                <a:gd name="T6" fmla="*/ 3 w 9"/>
                <a:gd name="T7" fmla="*/ 0 h 9"/>
                <a:gd name="T8" fmla="*/ 0 w 9"/>
                <a:gd name="T9" fmla="*/ 6 h 9"/>
                <a:gd name="T10" fmla="*/ 8 w 9"/>
                <a:gd name="T11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9">
                  <a:moveTo>
                    <a:pt x="8" y="3"/>
                  </a:moveTo>
                  <a:lnTo>
                    <a:pt x="8" y="3"/>
                  </a:lnTo>
                  <a:lnTo>
                    <a:pt x="8" y="3"/>
                  </a:lnTo>
                  <a:cubicBezTo>
                    <a:pt x="6" y="0"/>
                    <a:pt x="3" y="0"/>
                    <a:pt x="3" y="0"/>
                  </a:cubicBezTo>
                  <a:cubicBezTo>
                    <a:pt x="0" y="3"/>
                    <a:pt x="0" y="3"/>
                    <a:pt x="0" y="6"/>
                  </a:cubicBezTo>
                  <a:cubicBezTo>
                    <a:pt x="6" y="8"/>
                    <a:pt x="8" y="8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9" name="Freeform 230"/>
            <p:cNvSpPr>
              <a:spLocks noChangeArrowheads="1"/>
            </p:cNvSpPr>
            <p:nvPr/>
          </p:nvSpPr>
          <p:spPr bwMode="auto">
            <a:xfrm>
              <a:off x="4449763" y="2941638"/>
              <a:ext cx="7937" cy="1587"/>
            </a:xfrm>
            <a:custGeom>
              <a:avLst/>
              <a:gdLst>
                <a:gd name="T0" fmla="*/ 2 w 20"/>
                <a:gd name="T1" fmla="*/ 2 h 3"/>
                <a:gd name="T2" fmla="*/ 2 w 20"/>
                <a:gd name="T3" fmla="*/ 2 h 3"/>
                <a:gd name="T4" fmla="*/ 2 w 20"/>
                <a:gd name="T5" fmla="*/ 2 h 3"/>
                <a:gd name="T6" fmla="*/ 19 w 20"/>
                <a:gd name="T7" fmla="*/ 0 h 3"/>
                <a:gd name="T8" fmla="*/ 0 w 20"/>
                <a:gd name="T9" fmla="*/ 0 h 3"/>
                <a:gd name="T10" fmla="*/ 2 w 20"/>
                <a:gd name="T1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cubicBezTo>
                    <a:pt x="8" y="2"/>
                    <a:pt x="14" y="2"/>
                    <a:pt x="19" y="0"/>
                  </a:cubicBezTo>
                  <a:lnTo>
                    <a:pt x="0" y="0"/>
                  </a:lnTo>
                  <a:cubicBezTo>
                    <a:pt x="0" y="2"/>
                    <a:pt x="0" y="2"/>
                    <a:pt x="2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0" name="Freeform 231"/>
            <p:cNvSpPr>
              <a:spLocks noChangeArrowheads="1"/>
            </p:cNvSpPr>
            <p:nvPr/>
          </p:nvSpPr>
          <p:spPr bwMode="auto">
            <a:xfrm>
              <a:off x="4456113" y="2422525"/>
              <a:ext cx="1587" cy="1588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3 h 4"/>
                <a:gd name="T4" fmla="*/ 2 w 3"/>
                <a:gd name="T5" fmla="*/ 3 h 4"/>
                <a:gd name="T6" fmla="*/ 2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lnTo>
                    <a:pt x="0" y="3"/>
                  </a:lnTo>
                  <a:lnTo>
                    <a:pt x="2" y="3"/>
                  </a:ln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1" name="Freeform 232"/>
            <p:cNvSpPr>
              <a:spLocks noChangeArrowheads="1"/>
            </p:cNvSpPr>
            <p:nvPr/>
          </p:nvSpPr>
          <p:spPr bwMode="auto">
            <a:xfrm>
              <a:off x="4344988" y="2320925"/>
              <a:ext cx="4762" cy="3175"/>
            </a:xfrm>
            <a:custGeom>
              <a:avLst/>
              <a:gdLst>
                <a:gd name="T0" fmla="*/ 3 w 15"/>
                <a:gd name="T1" fmla="*/ 6 h 10"/>
                <a:gd name="T2" fmla="*/ 11 w 15"/>
                <a:gd name="T3" fmla="*/ 6 h 10"/>
                <a:gd name="T4" fmla="*/ 11 w 15"/>
                <a:gd name="T5" fmla="*/ 0 h 10"/>
                <a:gd name="T6" fmla="*/ 0 w 15"/>
                <a:gd name="T7" fmla="*/ 0 h 10"/>
                <a:gd name="T8" fmla="*/ 3 w 15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0">
                  <a:moveTo>
                    <a:pt x="3" y="6"/>
                  </a:moveTo>
                  <a:cubicBezTo>
                    <a:pt x="6" y="9"/>
                    <a:pt x="9" y="9"/>
                    <a:pt x="11" y="6"/>
                  </a:cubicBezTo>
                  <a:cubicBezTo>
                    <a:pt x="14" y="3"/>
                    <a:pt x="14" y="3"/>
                    <a:pt x="11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2" name="Freeform 233"/>
            <p:cNvSpPr>
              <a:spLocks noChangeArrowheads="1"/>
            </p:cNvSpPr>
            <p:nvPr/>
          </p:nvSpPr>
          <p:spPr bwMode="auto">
            <a:xfrm>
              <a:off x="4413250" y="2333625"/>
              <a:ext cx="4763" cy="4763"/>
            </a:xfrm>
            <a:custGeom>
              <a:avLst/>
              <a:gdLst>
                <a:gd name="T0" fmla="*/ 9 w 12"/>
                <a:gd name="T1" fmla="*/ 11 h 12"/>
                <a:gd name="T2" fmla="*/ 11 w 12"/>
                <a:gd name="T3" fmla="*/ 3 h 12"/>
                <a:gd name="T4" fmla="*/ 6 w 12"/>
                <a:gd name="T5" fmla="*/ 0 h 12"/>
                <a:gd name="T6" fmla="*/ 6 w 12"/>
                <a:gd name="T7" fmla="*/ 0 h 12"/>
                <a:gd name="T8" fmla="*/ 3 w 12"/>
                <a:gd name="T9" fmla="*/ 0 h 12"/>
                <a:gd name="T10" fmla="*/ 9 w 12"/>
                <a:gd name="T11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9" y="11"/>
                  </a:moveTo>
                  <a:cubicBezTo>
                    <a:pt x="11" y="8"/>
                    <a:pt x="11" y="6"/>
                    <a:pt x="11" y="3"/>
                  </a:cubicBezTo>
                  <a:cubicBezTo>
                    <a:pt x="9" y="3"/>
                    <a:pt x="9" y="3"/>
                    <a:pt x="6" y="0"/>
                  </a:cubicBezTo>
                  <a:lnTo>
                    <a:pt x="6" y="0"/>
                  </a:lnTo>
                  <a:cubicBezTo>
                    <a:pt x="6" y="0"/>
                    <a:pt x="6" y="0"/>
                    <a:pt x="3" y="0"/>
                  </a:cubicBezTo>
                  <a:cubicBezTo>
                    <a:pt x="0" y="3"/>
                    <a:pt x="0" y="11"/>
                    <a:pt x="9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3" name="Freeform 234"/>
            <p:cNvSpPr>
              <a:spLocks noChangeArrowheads="1"/>
            </p:cNvSpPr>
            <p:nvPr/>
          </p:nvSpPr>
          <p:spPr bwMode="auto">
            <a:xfrm>
              <a:off x="4344988" y="2425700"/>
              <a:ext cx="1587" cy="1588"/>
            </a:xfrm>
            <a:custGeom>
              <a:avLst/>
              <a:gdLst>
                <a:gd name="T0" fmla="*/ 0 w 4"/>
                <a:gd name="T1" fmla="*/ 0 h 4"/>
                <a:gd name="T2" fmla="*/ 3 w 4"/>
                <a:gd name="T3" fmla="*/ 0 h 4"/>
                <a:gd name="T4" fmla="*/ 0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3" y="0"/>
                  </a:lnTo>
                  <a:cubicBezTo>
                    <a:pt x="0" y="3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4" name="Freeform 235"/>
            <p:cNvSpPr>
              <a:spLocks noChangeArrowheads="1"/>
            </p:cNvSpPr>
            <p:nvPr/>
          </p:nvSpPr>
          <p:spPr bwMode="auto">
            <a:xfrm>
              <a:off x="4195763" y="2681288"/>
              <a:ext cx="4762" cy="4762"/>
            </a:xfrm>
            <a:custGeom>
              <a:avLst/>
              <a:gdLst>
                <a:gd name="T0" fmla="*/ 12 w 13"/>
                <a:gd name="T1" fmla="*/ 0 h 12"/>
                <a:gd name="T2" fmla="*/ 0 w 13"/>
                <a:gd name="T3" fmla="*/ 5 h 12"/>
                <a:gd name="T4" fmla="*/ 0 w 13"/>
                <a:gd name="T5" fmla="*/ 11 h 12"/>
                <a:gd name="T6" fmla="*/ 12 w 13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2">
                  <a:moveTo>
                    <a:pt x="12" y="0"/>
                  </a:moveTo>
                  <a:cubicBezTo>
                    <a:pt x="9" y="0"/>
                    <a:pt x="3" y="3"/>
                    <a:pt x="0" y="5"/>
                  </a:cubicBezTo>
                  <a:cubicBezTo>
                    <a:pt x="0" y="8"/>
                    <a:pt x="0" y="8"/>
                    <a:pt x="0" y="11"/>
                  </a:cubicBezTo>
                  <a:cubicBezTo>
                    <a:pt x="6" y="8"/>
                    <a:pt x="9" y="5"/>
                    <a:pt x="1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5" name="Freeform 236"/>
            <p:cNvSpPr>
              <a:spLocks noChangeArrowheads="1"/>
            </p:cNvSpPr>
            <p:nvPr/>
          </p:nvSpPr>
          <p:spPr bwMode="auto">
            <a:xfrm>
              <a:off x="4405313" y="2203450"/>
              <a:ext cx="3175" cy="3175"/>
            </a:xfrm>
            <a:custGeom>
              <a:avLst/>
              <a:gdLst>
                <a:gd name="T0" fmla="*/ 6 w 10"/>
                <a:gd name="T1" fmla="*/ 6 h 7"/>
                <a:gd name="T2" fmla="*/ 9 w 10"/>
                <a:gd name="T3" fmla="*/ 3 h 7"/>
                <a:gd name="T4" fmla="*/ 0 w 10"/>
                <a:gd name="T5" fmla="*/ 3 h 7"/>
                <a:gd name="T6" fmla="*/ 6 w 10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6" y="6"/>
                  </a:moveTo>
                  <a:cubicBezTo>
                    <a:pt x="6" y="3"/>
                    <a:pt x="9" y="3"/>
                    <a:pt x="9" y="3"/>
                  </a:cubicBezTo>
                  <a:cubicBezTo>
                    <a:pt x="6" y="0"/>
                    <a:pt x="3" y="3"/>
                    <a:pt x="0" y="3"/>
                  </a:cubicBezTo>
                  <a:cubicBezTo>
                    <a:pt x="0" y="6"/>
                    <a:pt x="3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6" name="Freeform 237"/>
            <p:cNvSpPr>
              <a:spLocks noChangeArrowheads="1"/>
            </p:cNvSpPr>
            <p:nvPr/>
          </p:nvSpPr>
          <p:spPr bwMode="auto">
            <a:xfrm>
              <a:off x="4278313" y="2568575"/>
              <a:ext cx="3175" cy="3175"/>
            </a:xfrm>
            <a:custGeom>
              <a:avLst/>
              <a:gdLst>
                <a:gd name="T0" fmla="*/ 0 w 9"/>
                <a:gd name="T1" fmla="*/ 2 h 9"/>
                <a:gd name="T2" fmla="*/ 2 w 9"/>
                <a:gd name="T3" fmla="*/ 8 h 9"/>
                <a:gd name="T4" fmla="*/ 8 w 9"/>
                <a:gd name="T5" fmla="*/ 2 h 9"/>
                <a:gd name="T6" fmla="*/ 0 w 9"/>
                <a:gd name="T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0" y="2"/>
                  </a:moveTo>
                  <a:cubicBezTo>
                    <a:pt x="0" y="5"/>
                    <a:pt x="2" y="5"/>
                    <a:pt x="2" y="8"/>
                  </a:cubicBezTo>
                  <a:cubicBezTo>
                    <a:pt x="5" y="8"/>
                    <a:pt x="8" y="5"/>
                    <a:pt x="8" y="2"/>
                  </a:cubicBezTo>
                  <a:cubicBezTo>
                    <a:pt x="2" y="0"/>
                    <a:pt x="0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7" name="Freeform 238"/>
            <p:cNvSpPr>
              <a:spLocks noChangeArrowheads="1"/>
            </p:cNvSpPr>
            <p:nvPr/>
          </p:nvSpPr>
          <p:spPr bwMode="auto">
            <a:xfrm>
              <a:off x="4206875" y="2436813"/>
              <a:ext cx="3175" cy="3175"/>
            </a:xfrm>
            <a:custGeom>
              <a:avLst/>
              <a:gdLst>
                <a:gd name="T0" fmla="*/ 6 w 10"/>
                <a:gd name="T1" fmla="*/ 8 h 9"/>
                <a:gd name="T2" fmla="*/ 6 w 10"/>
                <a:gd name="T3" fmla="*/ 3 h 9"/>
                <a:gd name="T4" fmla="*/ 0 w 10"/>
                <a:gd name="T5" fmla="*/ 0 h 9"/>
                <a:gd name="T6" fmla="*/ 6 w 10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6" y="8"/>
                  </a:moveTo>
                  <a:cubicBezTo>
                    <a:pt x="6" y="5"/>
                    <a:pt x="9" y="5"/>
                    <a:pt x="6" y="3"/>
                  </a:cubicBezTo>
                  <a:cubicBezTo>
                    <a:pt x="3" y="3"/>
                    <a:pt x="0" y="0"/>
                    <a:pt x="0" y="0"/>
                  </a:cubicBezTo>
                  <a:cubicBezTo>
                    <a:pt x="0" y="5"/>
                    <a:pt x="3" y="8"/>
                    <a:pt x="6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8" name="Freeform 239"/>
            <p:cNvSpPr>
              <a:spLocks noChangeArrowheads="1"/>
            </p:cNvSpPr>
            <p:nvPr/>
          </p:nvSpPr>
          <p:spPr bwMode="auto">
            <a:xfrm>
              <a:off x="4352925" y="2400300"/>
              <a:ext cx="4763" cy="3175"/>
            </a:xfrm>
            <a:custGeom>
              <a:avLst/>
              <a:gdLst>
                <a:gd name="T0" fmla="*/ 14 w 15"/>
                <a:gd name="T1" fmla="*/ 0 h 7"/>
                <a:gd name="T2" fmla="*/ 0 w 15"/>
                <a:gd name="T3" fmla="*/ 0 h 7"/>
                <a:gd name="T4" fmla="*/ 2 w 15"/>
                <a:gd name="T5" fmla="*/ 6 h 7"/>
                <a:gd name="T6" fmla="*/ 14 w 15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14" y="0"/>
                  </a:moveTo>
                  <a:cubicBezTo>
                    <a:pt x="8" y="0"/>
                    <a:pt x="5" y="0"/>
                    <a:pt x="0" y="0"/>
                  </a:cubicBezTo>
                  <a:cubicBezTo>
                    <a:pt x="0" y="3"/>
                    <a:pt x="2" y="3"/>
                    <a:pt x="2" y="6"/>
                  </a:cubicBezTo>
                  <a:cubicBezTo>
                    <a:pt x="5" y="3"/>
                    <a:pt x="11" y="3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9" name="Freeform 240"/>
            <p:cNvSpPr>
              <a:spLocks noChangeArrowheads="1"/>
            </p:cNvSpPr>
            <p:nvPr/>
          </p:nvSpPr>
          <p:spPr bwMode="auto">
            <a:xfrm>
              <a:off x="4202113" y="2528888"/>
              <a:ext cx="3175" cy="1587"/>
            </a:xfrm>
            <a:custGeom>
              <a:avLst/>
              <a:gdLst>
                <a:gd name="T0" fmla="*/ 0 w 7"/>
                <a:gd name="T1" fmla="*/ 0 h 6"/>
                <a:gd name="T2" fmla="*/ 3 w 7"/>
                <a:gd name="T3" fmla="*/ 5 h 6"/>
                <a:gd name="T4" fmla="*/ 6 w 7"/>
                <a:gd name="T5" fmla="*/ 2 h 6"/>
                <a:gd name="T6" fmla="*/ 0 w 7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cubicBezTo>
                    <a:pt x="0" y="2"/>
                    <a:pt x="3" y="2"/>
                    <a:pt x="3" y="5"/>
                  </a:cubicBezTo>
                  <a:cubicBezTo>
                    <a:pt x="3" y="2"/>
                    <a:pt x="6" y="2"/>
                    <a:pt x="6" y="2"/>
                  </a:cubicBez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0" name="Freeform 241"/>
            <p:cNvSpPr>
              <a:spLocks noChangeArrowheads="1"/>
            </p:cNvSpPr>
            <p:nvPr/>
          </p:nvSpPr>
          <p:spPr bwMode="auto">
            <a:xfrm>
              <a:off x="4194175" y="2886075"/>
              <a:ext cx="4763" cy="3175"/>
            </a:xfrm>
            <a:custGeom>
              <a:avLst/>
              <a:gdLst>
                <a:gd name="T0" fmla="*/ 9 w 13"/>
                <a:gd name="T1" fmla="*/ 3 h 7"/>
                <a:gd name="T2" fmla="*/ 6 w 13"/>
                <a:gd name="T3" fmla="*/ 0 h 7"/>
                <a:gd name="T4" fmla="*/ 0 w 13"/>
                <a:gd name="T5" fmla="*/ 6 h 7"/>
                <a:gd name="T6" fmla="*/ 9 w 13"/>
                <a:gd name="T7" fmla="*/ 6 h 7"/>
                <a:gd name="T8" fmla="*/ 9 w 1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9" y="3"/>
                  </a:moveTo>
                  <a:lnTo>
                    <a:pt x="6" y="0"/>
                  </a:lnTo>
                  <a:cubicBezTo>
                    <a:pt x="3" y="0"/>
                    <a:pt x="3" y="3"/>
                    <a:pt x="0" y="6"/>
                  </a:cubicBezTo>
                  <a:cubicBezTo>
                    <a:pt x="3" y="6"/>
                    <a:pt x="6" y="6"/>
                    <a:pt x="9" y="6"/>
                  </a:cubicBezTo>
                  <a:cubicBezTo>
                    <a:pt x="12" y="6"/>
                    <a:pt x="12" y="6"/>
                    <a:pt x="9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1" name="Freeform 242"/>
            <p:cNvSpPr>
              <a:spLocks noChangeArrowheads="1"/>
            </p:cNvSpPr>
            <p:nvPr/>
          </p:nvSpPr>
          <p:spPr bwMode="auto">
            <a:xfrm>
              <a:off x="4208463" y="2895600"/>
              <a:ext cx="3175" cy="3175"/>
            </a:xfrm>
            <a:custGeom>
              <a:avLst/>
              <a:gdLst>
                <a:gd name="T0" fmla="*/ 0 w 7"/>
                <a:gd name="T1" fmla="*/ 8 h 9"/>
                <a:gd name="T2" fmla="*/ 6 w 7"/>
                <a:gd name="T3" fmla="*/ 3 h 9"/>
                <a:gd name="T4" fmla="*/ 0 w 7"/>
                <a:gd name="T5" fmla="*/ 0 h 9"/>
                <a:gd name="T6" fmla="*/ 0 w 7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0" y="8"/>
                  </a:moveTo>
                  <a:cubicBezTo>
                    <a:pt x="3" y="8"/>
                    <a:pt x="6" y="5"/>
                    <a:pt x="6" y="3"/>
                  </a:cubicBezTo>
                  <a:cubicBezTo>
                    <a:pt x="6" y="3"/>
                    <a:pt x="3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2" name="Freeform 243"/>
            <p:cNvSpPr>
              <a:spLocks noChangeArrowheads="1"/>
            </p:cNvSpPr>
            <p:nvPr/>
          </p:nvSpPr>
          <p:spPr bwMode="auto">
            <a:xfrm>
              <a:off x="4198938" y="2732088"/>
              <a:ext cx="4762" cy="3175"/>
            </a:xfrm>
            <a:custGeom>
              <a:avLst/>
              <a:gdLst>
                <a:gd name="T0" fmla="*/ 0 w 15"/>
                <a:gd name="T1" fmla="*/ 2 h 9"/>
                <a:gd name="T2" fmla="*/ 11 w 15"/>
                <a:gd name="T3" fmla="*/ 8 h 9"/>
                <a:gd name="T4" fmla="*/ 14 w 15"/>
                <a:gd name="T5" fmla="*/ 5 h 9"/>
                <a:gd name="T6" fmla="*/ 0 w 15"/>
                <a:gd name="T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9">
                  <a:moveTo>
                    <a:pt x="0" y="2"/>
                  </a:moveTo>
                  <a:cubicBezTo>
                    <a:pt x="3" y="5"/>
                    <a:pt x="5" y="8"/>
                    <a:pt x="11" y="8"/>
                  </a:cubicBezTo>
                  <a:cubicBezTo>
                    <a:pt x="11" y="8"/>
                    <a:pt x="11" y="8"/>
                    <a:pt x="14" y="5"/>
                  </a:cubicBezTo>
                  <a:cubicBezTo>
                    <a:pt x="11" y="2"/>
                    <a:pt x="5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3" name="Freeform 244"/>
            <p:cNvSpPr>
              <a:spLocks noChangeArrowheads="1"/>
            </p:cNvSpPr>
            <p:nvPr/>
          </p:nvSpPr>
          <p:spPr bwMode="auto">
            <a:xfrm>
              <a:off x="4197350" y="3068638"/>
              <a:ext cx="3175" cy="1587"/>
            </a:xfrm>
            <a:custGeom>
              <a:avLst/>
              <a:gdLst>
                <a:gd name="T0" fmla="*/ 3 w 9"/>
                <a:gd name="T1" fmla="*/ 3 h 4"/>
                <a:gd name="T2" fmla="*/ 8 w 9"/>
                <a:gd name="T3" fmla="*/ 3 h 4"/>
                <a:gd name="T4" fmla="*/ 8 w 9"/>
                <a:gd name="T5" fmla="*/ 0 h 4"/>
                <a:gd name="T6" fmla="*/ 3 w 9"/>
                <a:gd name="T7" fmla="*/ 0 h 4"/>
                <a:gd name="T8" fmla="*/ 3 w 9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lnTo>
                    <a:pt x="8" y="3"/>
                  </a:lnTo>
                  <a:lnTo>
                    <a:pt x="8" y="0"/>
                  </a:lnTo>
                  <a:cubicBezTo>
                    <a:pt x="6" y="0"/>
                    <a:pt x="3" y="0"/>
                    <a:pt x="3" y="0"/>
                  </a:cubicBezTo>
                  <a:cubicBezTo>
                    <a:pt x="0" y="0"/>
                    <a:pt x="3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4" name="Freeform 245"/>
            <p:cNvSpPr>
              <a:spLocks noChangeArrowheads="1"/>
            </p:cNvSpPr>
            <p:nvPr/>
          </p:nvSpPr>
          <p:spPr bwMode="auto">
            <a:xfrm>
              <a:off x="4356100" y="2552700"/>
              <a:ext cx="1588" cy="3175"/>
            </a:xfrm>
            <a:custGeom>
              <a:avLst/>
              <a:gdLst>
                <a:gd name="T0" fmla="*/ 0 w 4"/>
                <a:gd name="T1" fmla="*/ 6 h 7"/>
                <a:gd name="T2" fmla="*/ 3 w 4"/>
                <a:gd name="T3" fmla="*/ 0 h 7"/>
                <a:gd name="T4" fmla="*/ 0 w 4"/>
                <a:gd name="T5" fmla="*/ 0 h 7"/>
                <a:gd name="T6" fmla="*/ 0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6"/>
                  </a:moveTo>
                  <a:cubicBezTo>
                    <a:pt x="0" y="3"/>
                    <a:pt x="3" y="0"/>
                    <a:pt x="3" y="0"/>
                  </a:cubicBezTo>
                  <a:lnTo>
                    <a:pt x="0" y="0"/>
                  </a:lnTo>
                  <a:cubicBezTo>
                    <a:pt x="0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5" name="Freeform 246"/>
            <p:cNvSpPr>
              <a:spLocks noChangeArrowheads="1"/>
            </p:cNvSpPr>
            <p:nvPr/>
          </p:nvSpPr>
          <p:spPr bwMode="auto">
            <a:xfrm>
              <a:off x="4376738" y="2652713"/>
              <a:ext cx="4762" cy="1587"/>
            </a:xfrm>
            <a:custGeom>
              <a:avLst/>
              <a:gdLst>
                <a:gd name="T0" fmla="*/ 12 w 13"/>
                <a:gd name="T1" fmla="*/ 3 h 4"/>
                <a:gd name="T2" fmla="*/ 12 w 13"/>
                <a:gd name="T3" fmla="*/ 3 h 4"/>
                <a:gd name="T4" fmla="*/ 0 w 13"/>
                <a:gd name="T5" fmla="*/ 3 h 4"/>
                <a:gd name="T6" fmla="*/ 12 w 13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">
                  <a:moveTo>
                    <a:pt x="12" y="3"/>
                  </a:moveTo>
                  <a:lnTo>
                    <a:pt x="12" y="3"/>
                  </a:lnTo>
                  <a:cubicBezTo>
                    <a:pt x="9" y="0"/>
                    <a:pt x="6" y="3"/>
                    <a:pt x="0" y="3"/>
                  </a:cubicBezTo>
                  <a:cubicBezTo>
                    <a:pt x="3" y="3"/>
                    <a:pt x="9" y="3"/>
                    <a:pt x="1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6" name="Freeform 247"/>
            <p:cNvSpPr>
              <a:spLocks noChangeArrowheads="1"/>
            </p:cNvSpPr>
            <p:nvPr/>
          </p:nvSpPr>
          <p:spPr bwMode="auto">
            <a:xfrm>
              <a:off x="4364038" y="2414588"/>
              <a:ext cx="12700" cy="15875"/>
            </a:xfrm>
            <a:custGeom>
              <a:avLst/>
              <a:gdLst>
                <a:gd name="T0" fmla="*/ 31 w 35"/>
                <a:gd name="T1" fmla="*/ 5 h 43"/>
                <a:gd name="T2" fmla="*/ 14 w 35"/>
                <a:gd name="T3" fmla="*/ 0 h 43"/>
                <a:gd name="T4" fmla="*/ 11 w 35"/>
                <a:gd name="T5" fmla="*/ 2 h 43"/>
                <a:gd name="T6" fmla="*/ 17 w 35"/>
                <a:gd name="T7" fmla="*/ 28 h 43"/>
                <a:gd name="T8" fmla="*/ 0 w 35"/>
                <a:gd name="T9" fmla="*/ 17 h 43"/>
                <a:gd name="T10" fmla="*/ 11 w 35"/>
                <a:gd name="T11" fmla="*/ 42 h 43"/>
                <a:gd name="T12" fmla="*/ 14 w 35"/>
                <a:gd name="T13" fmla="*/ 42 h 43"/>
                <a:gd name="T14" fmla="*/ 25 w 35"/>
                <a:gd name="T15" fmla="*/ 33 h 43"/>
                <a:gd name="T16" fmla="*/ 28 w 35"/>
                <a:gd name="T17" fmla="*/ 33 h 43"/>
                <a:gd name="T18" fmla="*/ 34 w 35"/>
                <a:gd name="T19" fmla="*/ 17 h 43"/>
                <a:gd name="T20" fmla="*/ 22 w 35"/>
                <a:gd name="T21" fmla="*/ 11 h 43"/>
                <a:gd name="T22" fmla="*/ 31 w 35"/>
                <a:gd name="T23" fmla="*/ 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43">
                  <a:moveTo>
                    <a:pt x="31" y="5"/>
                  </a:moveTo>
                  <a:cubicBezTo>
                    <a:pt x="28" y="0"/>
                    <a:pt x="19" y="2"/>
                    <a:pt x="14" y="0"/>
                  </a:cubicBezTo>
                  <a:cubicBezTo>
                    <a:pt x="14" y="0"/>
                    <a:pt x="14" y="2"/>
                    <a:pt x="11" y="2"/>
                  </a:cubicBezTo>
                  <a:cubicBezTo>
                    <a:pt x="11" y="8"/>
                    <a:pt x="25" y="19"/>
                    <a:pt x="17" y="28"/>
                  </a:cubicBezTo>
                  <a:cubicBezTo>
                    <a:pt x="14" y="22"/>
                    <a:pt x="8" y="17"/>
                    <a:pt x="0" y="17"/>
                  </a:cubicBezTo>
                  <a:cubicBezTo>
                    <a:pt x="3" y="25"/>
                    <a:pt x="8" y="33"/>
                    <a:pt x="11" y="42"/>
                  </a:cubicBezTo>
                  <a:lnTo>
                    <a:pt x="14" y="42"/>
                  </a:lnTo>
                  <a:cubicBezTo>
                    <a:pt x="17" y="39"/>
                    <a:pt x="19" y="33"/>
                    <a:pt x="25" y="33"/>
                  </a:cubicBezTo>
                  <a:lnTo>
                    <a:pt x="28" y="33"/>
                  </a:lnTo>
                  <a:cubicBezTo>
                    <a:pt x="31" y="28"/>
                    <a:pt x="34" y="22"/>
                    <a:pt x="34" y="17"/>
                  </a:cubicBezTo>
                  <a:cubicBezTo>
                    <a:pt x="28" y="11"/>
                    <a:pt x="22" y="22"/>
                    <a:pt x="22" y="11"/>
                  </a:cubicBezTo>
                  <a:cubicBezTo>
                    <a:pt x="25" y="8"/>
                    <a:pt x="28" y="8"/>
                    <a:pt x="31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7" name="Freeform 248"/>
            <p:cNvSpPr>
              <a:spLocks noChangeArrowheads="1"/>
            </p:cNvSpPr>
            <p:nvPr/>
          </p:nvSpPr>
          <p:spPr bwMode="auto">
            <a:xfrm>
              <a:off x="4376738" y="2378075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3"/>
                    <a:pt x="0" y="0"/>
                  </a:cubicBezTo>
                  <a:lnTo>
                    <a:pt x="0" y="0"/>
                  </a:lnTo>
                  <a:cubicBezTo>
                    <a:pt x="0" y="3"/>
                    <a:pt x="3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8" name="Freeform 249"/>
            <p:cNvSpPr>
              <a:spLocks noChangeArrowheads="1"/>
            </p:cNvSpPr>
            <p:nvPr/>
          </p:nvSpPr>
          <p:spPr bwMode="auto">
            <a:xfrm>
              <a:off x="4379913" y="2419350"/>
              <a:ext cx="1587" cy="3175"/>
            </a:xfrm>
            <a:custGeom>
              <a:avLst/>
              <a:gdLst>
                <a:gd name="T0" fmla="*/ 5 w 6"/>
                <a:gd name="T1" fmla="*/ 0 h 7"/>
                <a:gd name="T2" fmla="*/ 5 w 6"/>
                <a:gd name="T3" fmla="*/ 0 h 7"/>
                <a:gd name="T4" fmla="*/ 3 w 6"/>
                <a:gd name="T5" fmla="*/ 6 h 7"/>
                <a:gd name="T6" fmla="*/ 5 w 6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5" y="0"/>
                  </a:moveTo>
                  <a:cubicBezTo>
                    <a:pt x="5" y="0"/>
                    <a:pt x="3" y="0"/>
                    <a:pt x="5" y="0"/>
                  </a:cubicBezTo>
                  <a:cubicBezTo>
                    <a:pt x="0" y="0"/>
                    <a:pt x="0" y="3"/>
                    <a:pt x="3" y="6"/>
                  </a:cubicBezTo>
                  <a:cubicBezTo>
                    <a:pt x="5" y="3"/>
                    <a:pt x="5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9" name="Freeform 250"/>
            <p:cNvSpPr>
              <a:spLocks noChangeArrowheads="1"/>
            </p:cNvSpPr>
            <p:nvPr/>
          </p:nvSpPr>
          <p:spPr bwMode="auto">
            <a:xfrm>
              <a:off x="4370388" y="2138363"/>
              <a:ext cx="3175" cy="3175"/>
            </a:xfrm>
            <a:custGeom>
              <a:avLst/>
              <a:gdLst>
                <a:gd name="T0" fmla="*/ 8 w 9"/>
                <a:gd name="T1" fmla="*/ 0 h 10"/>
                <a:gd name="T2" fmla="*/ 0 w 9"/>
                <a:gd name="T3" fmla="*/ 3 h 10"/>
                <a:gd name="T4" fmla="*/ 8 w 9"/>
                <a:gd name="T5" fmla="*/ 9 h 10"/>
                <a:gd name="T6" fmla="*/ 8 w 9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8" y="0"/>
                  </a:moveTo>
                  <a:cubicBezTo>
                    <a:pt x="5" y="0"/>
                    <a:pt x="2" y="0"/>
                    <a:pt x="0" y="3"/>
                  </a:cubicBezTo>
                  <a:cubicBezTo>
                    <a:pt x="2" y="6"/>
                    <a:pt x="5" y="6"/>
                    <a:pt x="8" y="9"/>
                  </a:cubicBezTo>
                  <a:cubicBezTo>
                    <a:pt x="8" y="6"/>
                    <a:pt x="8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0" name="Freeform 251"/>
            <p:cNvSpPr>
              <a:spLocks noChangeArrowheads="1"/>
            </p:cNvSpPr>
            <p:nvPr/>
          </p:nvSpPr>
          <p:spPr bwMode="auto">
            <a:xfrm>
              <a:off x="4387850" y="2792413"/>
              <a:ext cx="11113" cy="14287"/>
            </a:xfrm>
            <a:custGeom>
              <a:avLst/>
              <a:gdLst>
                <a:gd name="T0" fmla="*/ 3 w 30"/>
                <a:gd name="T1" fmla="*/ 23 h 38"/>
                <a:gd name="T2" fmla="*/ 9 w 30"/>
                <a:gd name="T3" fmla="*/ 20 h 38"/>
                <a:gd name="T4" fmla="*/ 3 w 30"/>
                <a:gd name="T5" fmla="*/ 23 h 38"/>
                <a:gd name="T6" fmla="*/ 0 w 30"/>
                <a:gd name="T7" fmla="*/ 28 h 38"/>
                <a:gd name="T8" fmla="*/ 3 w 30"/>
                <a:gd name="T9" fmla="*/ 37 h 38"/>
                <a:gd name="T10" fmla="*/ 14 w 30"/>
                <a:gd name="T11" fmla="*/ 34 h 38"/>
                <a:gd name="T12" fmla="*/ 12 w 30"/>
                <a:gd name="T13" fmla="*/ 34 h 38"/>
                <a:gd name="T14" fmla="*/ 12 w 30"/>
                <a:gd name="T15" fmla="*/ 25 h 38"/>
                <a:gd name="T16" fmla="*/ 20 w 30"/>
                <a:gd name="T17" fmla="*/ 25 h 38"/>
                <a:gd name="T18" fmla="*/ 15 w 30"/>
                <a:gd name="T19" fmla="*/ 33 h 38"/>
                <a:gd name="T20" fmla="*/ 23 w 30"/>
                <a:gd name="T21" fmla="*/ 31 h 38"/>
                <a:gd name="T22" fmla="*/ 0 w 30"/>
                <a:gd name="T23" fmla="*/ 11 h 38"/>
                <a:gd name="T24" fmla="*/ 3 w 30"/>
                <a:gd name="T25" fmla="*/ 23 h 38"/>
                <a:gd name="T26" fmla="*/ 15 w 30"/>
                <a:gd name="T27" fmla="*/ 33 h 38"/>
                <a:gd name="T28" fmla="*/ 14 w 30"/>
                <a:gd name="T29" fmla="*/ 34 h 38"/>
                <a:gd name="T30" fmla="*/ 15 w 30"/>
                <a:gd name="T31" fmla="*/ 3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8">
                  <a:moveTo>
                    <a:pt x="3" y="23"/>
                  </a:moveTo>
                  <a:cubicBezTo>
                    <a:pt x="6" y="23"/>
                    <a:pt x="6" y="20"/>
                    <a:pt x="9" y="20"/>
                  </a:cubicBezTo>
                  <a:cubicBezTo>
                    <a:pt x="9" y="23"/>
                    <a:pt x="6" y="25"/>
                    <a:pt x="3" y="23"/>
                  </a:cubicBezTo>
                  <a:cubicBezTo>
                    <a:pt x="3" y="25"/>
                    <a:pt x="0" y="28"/>
                    <a:pt x="0" y="28"/>
                  </a:cubicBezTo>
                  <a:cubicBezTo>
                    <a:pt x="0" y="31"/>
                    <a:pt x="0" y="34"/>
                    <a:pt x="3" y="37"/>
                  </a:cubicBezTo>
                  <a:cubicBezTo>
                    <a:pt x="8" y="37"/>
                    <a:pt x="11" y="35"/>
                    <a:pt x="14" y="34"/>
                  </a:cubicBezTo>
                  <a:cubicBezTo>
                    <a:pt x="13" y="34"/>
                    <a:pt x="12" y="34"/>
                    <a:pt x="12" y="34"/>
                  </a:cubicBezTo>
                  <a:lnTo>
                    <a:pt x="12" y="25"/>
                  </a:lnTo>
                  <a:lnTo>
                    <a:pt x="20" y="25"/>
                  </a:lnTo>
                  <a:cubicBezTo>
                    <a:pt x="18" y="27"/>
                    <a:pt x="18" y="31"/>
                    <a:pt x="15" y="33"/>
                  </a:cubicBezTo>
                  <a:cubicBezTo>
                    <a:pt x="17" y="32"/>
                    <a:pt x="20" y="31"/>
                    <a:pt x="23" y="31"/>
                  </a:cubicBezTo>
                  <a:cubicBezTo>
                    <a:pt x="29" y="17"/>
                    <a:pt x="17" y="0"/>
                    <a:pt x="0" y="11"/>
                  </a:cubicBezTo>
                  <a:cubicBezTo>
                    <a:pt x="3" y="17"/>
                    <a:pt x="6" y="20"/>
                    <a:pt x="3" y="23"/>
                  </a:cubicBezTo>
                  <a:close/>
                  <a:moveTo>
                    <a:pt x="15" y="33"/>
                  </a:moveTo>
                  <a:cubicBezTo>
                    <a:pt x="15" y="33"/>
                    <a:pt x="14" y="33"/>
                    <a:pt x="14" y="34"/>
                  </a:cubicBezTo>
                  <a:cubicBezTo>
                    <a:pt x="14" y="33"/>
                    <a:pt x="15" y="33"/>
                    <a:pt x="15" y="33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1" name="Freeform 252"/>
            <p:cNvSpPr>
              <a:spLocks noChangeArrowheads="1"/>
            </p:cNvSpPr>
            <p:nvPr/>
          </p:nvSpPr>
          <p:spPr bwMode="auto">
            <a:xfrm>
              <a:off x="4395788" y="2154238"/>
              <a:ext cx="1587" cy="1587"/>
            </a:xfrm>
            <a:custGeom>
              <a:avLst/>
              <a:gdLst>
                <a:gd name="T0" fmla="*/ 3 w 4"/>
                <a:gd name="T1" fmla="*/ 5 h 6"/>
                <a:gd name="T2" fmla="*/ 3 w 4"/>
                <a:gd name="T3" fmla="*/ 0 h 6"/>
                <a:gd name="T4" fmla="*/ 3 w 4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3" y="5"/>
                  </a:moveTo>
                  <a:cubicBezTo>
                    <a:pt x="3" y="2"/>
                    <a:pt x="3" y="2"/>
                    <a:pt x="3" y="0"/>
                  </a:cubicBezTo>
                  <a:cubicBezTo>
                    <a:pt x="0" y="2"/>
                    <a:pt x="0" y="2"/>
                    <a:pt x="3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2" name="Freeform 253"/>
            <p:cNvSpPr>
              <a:spLocks noChangeArrowheads="1"/>
            </p:cNvSpPr>
            <p:nvPr/>
          </p:nvSpPr>
          <p:spPr bwMode="auto">
            <a:xfrm>
              <a:off x="4268788" y="2797175"/>
              <a:ext cx="4762" cy="4763"/>
            </a:xfrm>
            <a:custGeom>
              <a:avLst/>
              <a:gdLst>
                <a:gd name="T0" fmla="*/ 0 w 13"/>
                <a:gd name="T1" fmla="*/ 3 h 13"/>
                <a:gd name="T2" fmla="*/ 3 w 13"/>
                <a:gd name="T3" fmla="*/ 12 h 13"/>
                <a:gd name="T4" fmla="*/ 12 w 13"/>
                <a:gd name="T5" fmla="*/ 9 h 13"/>
                <a:gd name="T6" fmla="*/ 0 w 13"/>
                <a:gd name="T7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3">
                  <a:moveTo>
                    <a:pt x="0" y="3"/>
                  </a:moveTo>
                  <a:cubicBezTo>
                    <a:pt x="0" y="6"/>
                    <a:pt x="3" y="9"/>
                    <a:pt x="3" y="12"/>
                  </a:cubicBezTo>
                  <a:cubicBezTo>
                    <a:pt x="6" y="12"/>
                    <a:pt x="9" y="12"/>
                    <a:pt x="12" y="9"/>
                  </a:cubicBezTo>
                  <a:cubicBezTo>
                    <a:pt x="12" y="3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3" name="Freeform 254"/>
            <p:cNvSpPr>
              <a:spLocks noChangeArrowheads="1"/>
            </p:cNvSpPr>
            <p:nvPr/>
          </p:nvSpPr>
          <p:spPr bwMode="auto">
            <a:xfrm>
              <a:off x="4395788" y="2370138"/>
              <a:ext cx="7937" cy="4762"/>
            </a:xfrm>
            <a:custGeom>
              <a:avLst/>
              <a:gdLst>
                <a:gd name="T0" fmla="*/ 0 w 21"/>
                <a:gd name="T1" fmla="*/ 8 h 15"/>
                <a:gd name="T2" fmla="*/ 11 w 21"/>
                <a:gd name="T3" fmla="*/ 14 h 15"/>
                <a:gd name="T4" fmla="*/ 17 w 21"/>
                <a:gd name="T5" fmla="*/ 11 h 15"/>
                <a:gd name="T6" fmla="*/ 17 w 21"/>
                <a:gd name="T7" fmla="*/ 11 h 15"/>
                <a:gd name="T8" fmla="*/ 20 w 21"/>
                <a:gd name="T9" fmla="*/ 5 h 15"/>
                <a:gd name="T10" fmla="*/ 0 w 21"/>
                <a:gd name="T11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5">
                  <a:moveTo>
                    <a:pt x="0" y="8"/>
                  </a:moveTo>
                  <a:cubicBezTo>
                    <a:pt x="3" y="11"/>
                    <a:pt x="8" y="14"/>
                    <a:pt x="11" y="14"/>
                  </a:cubicBezTo>
                  <a:cubicBezTo>
                    <a:pt x="14" y="14"/>
                    <a:pt x="14" y="11"/>
                    <a:pt x="17" y="11"/>
                  </a:cubicBezTo>
                  <a:lnTo>
                    <a:pt x="17" y="11"/>
                  </a:lnTo>
                  <a:cubicBezTo>
                    <a:pt x="20" y="8"/>
                    <a:pt x="20" y="8"/>
                    <a:pt x="20" y="5"/>
                  </a:cubicBezTo>
                  <a:cubicBezTo>
                    <a:pt x="11" y="3"/>
                    <a:pt x="6" y="0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4" name="Freeform 255"/>
            <p:cNvSpPr>
              <a:spLocks noChangeArrowheads="1"/>
            </p:cNvSpPr>
            <p:nvPr/>
          </p:nvSpPr>
          <p:spPr bwMode="auto">
            <a:xfrm>
              <a:off x="4359275" y="2246313"/>
              <a:ext cx="1588" cy="3175"/>
            </a:xfrm>
            <a:custGeom>
              <a:avLst/>
              <a:gdLst>
                <a:gd name="T0" fmla="*/ 3 w 4"/>
                <a:gd name="T1" fmla="*/ 0 h 9"/>
                <a:gd name="T2" fmla="*/ 0 w 4"/>
                <a:gd name="T3" fmla="*/ 5 h 9"/>
                <a:gd name="T4" fmla="*/ 3 w 4"/>
                <a:gd name="T5" fmla="*/ 8 h 9"/>
                <a:gd name="T6" fmla="*/ 3 w 4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3" y="0"/>
                  </a:moveTo>
                  <a:cubicBezTo>
                    <a:pt x="0" y="2"/>
                    <a:pt x="0" y="2"/>
                    <a:pt x="0" y="5"/>
                  </a:cubicBezTo>
                  <a:cubicBezTo>
                    <a:pt x="0" y="5"/>
                    <a:pt x="3" y="5"/>
                    <a:pt x="3" y="8"/>
                  </a:cubicBezTo>
                  <a:lnTo>
                    <a:pt x="3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5" name="Freeform 256"/>
            <p:cNvSpPr>
              <a:spLocks noChangeArrowheads="1"/>
            </p:cNvSpPr>
            <p:nvPr/>
          </p:nvSpPr>
          <p:spPr bwMode="auto">
            <a:xfrm>
              <a:off x="4400550" y="2359025"/>
              <a:ext cx="12700" cy="7938"/>
            </a:xfrm>
            <a:custGeom>
              <a:avLst/>
              <a:gdLst>
                <a:gd name="T0" fmla="*/ 34 w 35"/>
                <a:gd name="T1" fmla="*/ 11 h 23"/>
                <a:gd name="T2" fmla="*/ 34 w 35"/>
                <a:gd name="T3" fmla="*/ 8 h 23"/>
                <a:gd name="T4" fmla="*/ 28 w 35"/>
                <a:gd name="T5" fmla="*/ 8 h 23"/>
                <a:gd name="T6" fmla="*/ 31 w 35"/>
                <a:gd name="T7" fmla="*/ 5 h 23"/>
                <a:gd name="T8" fmla="*/ 20 w 35"/>
                <a:gd name="T9" fmla="*/ 0 h 23"/>
                <a:gd name="T10" fmla="*/ 6 w 35"/>
                <a:gd name="T11" fmla="*/ 11 h 23"/>
                <a:gd name="T12" fmla="*/ 6 w 35"/>
                <a:gd name="T13" fmla="*/ 14 h 23"/>
                <a:gd name="T14" fmla="*/ 6 w 35"/>
                <a:gd name="T15" fmla="*/ 14 h 23"/>
                <a:gd name="T16" fmla="*/ 0 w 35"/>
                <a:gd name="T17" fmla="*/ 22 h 23"/>
                <a:gd name="T18" fmla="*/ 34 w 35"/>
                <a:gd name="T1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3">
                  <a:moveTo>
                    <a:pt x="34" y="11"/>
                  </a:moveTo>
                  <a:lnTo>
                    <a:pt x="34" y="8"/>
                  </a:lnTo>
                  <a:cubicBezTo>
                    <a:pt x="31" y="8"/>
                    <a:pt x="31" y="8"/>
                    <a:pt x="28" y="8"/>
                  </a:cubicBezTo>
                  <a:lnTo>
                    <a:pt x="31" y="5"/>
                  </a:lnTo>
                  <a:cubicBezTo>
                    <a:pt x="28" y="2"/>
                    <a:pt x="23" y="2"/>
                    <a:pt x="20" y="0"/>
                  </a:cubicBezTo>
                  <a:cubicBezTo>
                    <a:pt x="14" y="2"/>
                    <a:pt x="12" y="5"/>
                    <a:pt x="6" y="11"/>
                  </a:cubicBezTo>
                  <a:lnTo>
                    <a:pt x="6" y="14"/>
                  </a:lnTo>
                  <a:lnTo>
                    <a:pt x="6" y="14"/>
                  </a:lnTo>
                  <a:cubicBezTo>
                    <a:pt x="3" y="17"/>
                    <a:pt x="0" y="19"/>
                    <a:pt x="0" y="22"/>
                  </a:cubicBezTo>
                  <a:cubicBezTo>
                    <a:pt x="17" y="19"/>
                    <a:pt x="17" y="5"/>
                    <a:pt x="34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6" name="Freeform 257"/>
            <p:cNvSpPr>
              <a:spLocks noChangeArrowheads="1"/>
            </p:cNvSpPr>
            <p:nvPr/>
          </p:nvSpPr>
          <p:spPr bwMode="auto">
            <a:xfrm>
              <a:off x="4386263" y="2789238"/>
              <a:ext cx="4762" cy="4762"/>
            </a:xfrm>
            <a:custGeom>
              <a:avLst/>
              <a:gdLst>
                <a:gd name="T0" fmla="*/ 11 w 12"/>
                <a:gd name="T1" fmla="*/ 2 h 15"/>
                <a:gd name="T2" fmla="*/ 8 w 12"/>
                <a:gd name="T3" fmla="*/ 0 h 15"/>
                <a:gd name="T4" fmla="*/ 0 w 12"/>
                <a:gd name="T5" fmla="*/ 8 h 15"/>
                <a:gd name="T6" fmla="*/ 11 w 12"/>
                <a:gd name="T7" fmla="*/ 14 h 15"/>
                <a:gd name="T8" fmla="*/ 11 w 12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11" y="2"/>
                  </a:moveTo>
                  <a:cubicBezTo>
                    <a:pt x="11" y="2"/>
                    <a:pt x="8" y="2"/>
                    <a:pt x="8" y="0"/>
                  </a:cubicBezTo>
                  <a:cubicBezTo>
                    <a:pt x="8" y="5"/>
                    <a:pt x="5" y="8"/>
                    <a:pt x="0" y="8"/>
                  </a:cubicBezTo>
                  <a:cubicBezTo>
                    <a:pt x="3" y="8"/>
                    <a:pt x="8" y="11"/>
                    <a:pt x="11" y="14"/>
                  </a:cubicBezTo>
                  <a:cubicBezTo>
                    <a:pt x="11" y="8"/>
                    <a:pt x="11" y="5"/>
                    <a:pt x="11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7" name="Freeform 258"/>
            <p:cNvSpPr>
              <a:spLocks noChangeArrowheads="1"/>
            </p:cNvSpPr>
            <p:nvPr/>
          </p:nvSpPr>
          <p:spPr bwMode="auto">
            <a:xfrm>
              <a:off x="4395788" y="2338388"/>
              <a:ext cx="3175" cy="3175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3 h 7"/>
                <a:gd name="T4" fmla="*/ 8 w 9"/>
                <a:gd name="T5" fmla="*/ 6 h 7"/>
                <a:gd name="T6" fmla="*/ 3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lnTo>
                    <a:pt x="0" y="3"/>
                  </a:lnTo>
                  <a:cubicBezTo>
                    <a:pt x="0" y="6"/>
                    <a:pt x="3" y="6"/>
                    <a:pt x="8" y="6"/>
                  </a:cubicBezTo>
                  <a:cubicBezTo>
                    <a:pt x="8" y="6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8" name="Freeform 259"/>
            <p:cNvSpPr>
              <a:spLocks noChangeArrowheads="1"/>
            </p:cNvSpPr>
            <p:nvPr/>
          </p:nvSpPr>
          <p:spPr bwMode="auto">
            <a:xfrm>
              <a:off x="4438650" y="2328863"/>
              <a:ext cx="3175" cy="3175"/>
            </a:xfrm>
            <a:custGeom>
              <a:avLst/>
              <a:gdLst>
                <a:gd name="T0" fmla="*/ 5 w 9"/>
                <a:gd name="T1" fmla="*/ 8 h 9"/>
                <a:gd name="T2" fmla="*/ 2 w 9"/>
                <a:gd name="T3" fmla="*/ 0 h 9"/>
                <a:gd name="T4" fmla="*/ 5 w 9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5" y="8"/>
                  </a:moveTo>
                  <a:cubicBezTo>
                    <a:pt x="8" y="3"/>
                    <a:pt x="8" y="0"/>
                    <a:pt x="2" y="0"/>
                  </a:cubicBezTo>
                  <a:cubicBezTo>
                    <a:pt x="2" y="6"/>
                    <a:pt x="0" y="8"/>
                    <a:pt x="5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9" name="Freeform 260"/>
            <p:cNvSpPr>
              <a:spLocks noChangeArrowheads="1"/>
            </p:cNvSpPr>
            <p:nvPr/>
          </p:nvSpPr>
          <p:spPr bwMode="auto">
            <a:xfrm>
              <a:off x="4440238" y="2636838"/>
              <a:ext cx="1587" cy="1587"/>
            </a:xfrm>
            <a:custGeom>
              <a:avLst/>
              <a:gdLst>
                <a:gd name="T0" fmla="*/ 0 w 4"/>
                <a:gd name="T1" fmla="*/ 2 h 3"/>
                <a:gd name="T2" fmla="*/ 3 w 4"/>
                <a:gd name="T3" fmla="*/ 0 h 3"/>
                <a:gd name="T4" fmla="*/ 0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3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0" name="Freeform 261"/>
            <p:cNvSpPr>
              <a:spLocks noChangeArrowheads="1"/>
            </p:cNvSpPr>
            <p:nvPr/>
          </p:nvSpPr>
          <p:spPr bwMode="auto">
            <a:xfrm>
              <a:off x="4435475" y="2560638"/>
              <a:ext cx="3175" cy="6350"/>
            </a:xfrm>
            <a:custGeom>
              <a:avLst/>
              <a:gdLst>
                <a:gd name="T0" fmla="*/ 6 w 9"/>
                <a:gd name="T1" fmla="*/ 17 h 18"/>
                <a:gd name="T2" fmla="*/ 8 w 9"/>
                <a:gd name="T3" fmla="*/ 8 h 18"/>
                <a:gd name="T4" fmla="*/ 8 w 9"/>
                <a:gd name="T5" fmla="*/ 0 h 18"/>
                <a:gd name="T6" fmla="*/ 3 w 9"/>
                <a:gd name="T7" fmla="*/ 0 h 18"/>
                <a:gd name="T8" fmla="*/ 6 w 9"/>
                <a:gd name="T9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8">
                  <a:moveTo>
                    <a:pt x="6" y="17"/>
                  </a:moveTo>
                  <a:cubicBezTo>
                    <a:pt x="6" y="14"/>
                    <a:pt x="6" y="11"/>
                    <a:pt x="8" y="8"/>
                  </a:cubicBezTo>
                  <a:lnTo>
                    <a:pt x="8" y="0"/>
                  </a:lnTo>
                  <a:cubicBezTo>
                    <a:pt x="6" y="0"/>
                    <a:pt x="6" y="0"/>
                    <a:pt x="3" y="0"/>
                  </a:cubicBezTo>
                  <a:cubicBezTo>
                    <a:pt x="0" y="5"/>
                    <a:pt x="0" y="17"/>
                    <a:pt x="6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1" name="Freeform 262"/>
            <p:cNvSpPr>
              <a:spLocks noChangeArrowheads="1"/>
            </p:cNvSpPr>
            <p:nvPr/>
          </p:nvSpPr>
          <p:spPr bwMode="auto">
            <a:xfrm>
              <a:off x="4257675" y="2913063"/>
              <a:ext cx="4763" cy="4762"/>
            </a:xfrm>
            <a:custGeom>
              <a:avLst/>
              <a:gdLst>
                <a:gd name="T0" fmla="*/ 14 w 15"/>
                <a:gd name="T1" fmla="*/ 3 h 12"/>
                <a:gd name="T2" fmla="*/ 3 w 15"/>
                <a:gd name="T3" fmla="*/ 0 h 12"/>
                <a:gd name="T4" fmla="*/ 0 w 15"/>
                <a:gd name="T5" fmla="*/ 5 h 12"/>
                <a:gd name="T6" fmla="*/ 12 w 15"/>
                <a:gd name="T7" fmla="*/ 11 h 12"/>
                <a:gd name="T8" fmla="*/ 14 w 15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2">
                  <a:moveTo>
                    <a:pt x="14" y="3"/>
                  </a:moveTo>
                  <a:cubicBezTo>
                    <a:pt x="12" y="0"/>
                    <a:pt x="9" y="0"/>
                    <a:pt x="3" y="0"/>
                  </a:cubicBezTo>
                  <a:cubicBezTo>
                    <a:pt x="3" y="3"/>
                    <a:pt x="3" y="3"/>
                    <a:pt x="0" y="5"/>
                  </a:cubicBezTo>
                  <a:cubicBezTo>
                    <a:pt x="3" y="8"/>
                    <a:pt x="6" y="11"/>
                    <a:pt x="12" y="11"/>
                  </a:cubicBezTo>
                  <a:cubicBezTo>
                    <a:pt x="14" y="8"/>
                    <a:pt x="14" y="5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2" name="Freeform 263"/>
            <p:cNvSpPr>
              <a:spLocks noChangeArrowheads="1"/>
            </p:cNvSpPr>
            <p:nvPr/>
          </p:nvSpPr>
          <p:spPr bwMode="auto">
            <a:xfrm>
              <a:off x="4241800" y="3048000"/>
              <a:ext cx="3175" cy="1588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0 h 6"/>
                <a:gd name="T4" fmla="*/ 0 w 7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cubicBezTo>
                    <a:pt x="3" y="5"/>
                    <a:pt x="3" y="3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3" name="Freeform 264"/>
            <p:cNvSpPr>
              <a:spLocks noChangeArrowheads="1"/>
            </p:cNvSpPr>
            <p:nvPr/>
          </p:nvSpPr>
          <p:spPr bwMode="auto">
            <a:xfrm>
              <a:off x="4256088" y="2338388"/>
              <a:ext cx="1587" cy="4762"/>
            </a:xfrm>
            <a:custGeom>
              <a:avLst/>
              <a:gdLst>
                <a:gd name="T0" fmla="*/ 0 w 6"/>
                <a:gd name="T1" fmla="*/ 6 h 15"/>
                <a:gd name="T2" fmla="*/ 0 w 6"/>
                <a:gd name="T3" fmla="*/ 14 h 15"/>
                <a:gd name="T4" fmla="*/ 5 w 6"/>
                <a:gd name="T5" fmla="*/ 0 h 15"/>
                <a:gd name="T6" fmla="*/ 0 w 6"/>
                <a:gd name="T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5">
                  <a:moveTo>
                    <a:pt x="0" y="6"/>
                  </a:moveTo>
                  <a:cubicBezTo>
                    <a:pt x="0" y="9"/>
                    <a:pt x="0" y="11"/>
                    <a:pt x="0" y="14"/>
                  </a:cubicBezTo>
                  <a:cubicBezTo>
                    <a:pt x="2" y="9"/>
                    <a:pt x="2" y="6"/>
                    <a:pt x="5" y="0"/>
                  </a:cubicBezTo>
                  <a:cubicBezTo>
                    <a:pt x="2" y="3"/>
                    <a:pt x="2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4" name="Freeform 265"/>
            <p:cNvSpPr>
              <a:spLocks noChangeArrowheads="1"/>
            </p:cNvSpPr>
            <p:nvPr/>
          </p:nvSpPr>
          <p:spPr bwMode="auto">
            <a:xfrm>
              <a:off x="4240213" y="2847975"/>
              <a:ext cx="1587" cy="3175"/>
            </a:xfrm>
            <a:custGeom>
              <a:avLst/>
              <a:gdLst>
                <a:gd name="T0" fmla="*/ 0 w 4"/>
                <a:gd name="T1" fmla="*/ 0 h 7"/>
                <a:gd name="T2" fmla="*/ 0 w 4"/>
                <a:gd name="T3" fmla="*/ 6 h 7"/>
                <a:gd name="T4" fmla="*/ 3 w 4"/>
                <a:gd name="T5" fmla="*/ 6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cubicBezTo>
                    <a:pt x="3" y="3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5" name="Freeform 266"/>
            <p:cNvSpPr>
              <a:spLocks noChangeArrowheads="1"/>
            </p:cNvSpPr>
            <p:nvPr/>
          </p:nvSpPr>
          <p:spPr bwMode="auto">
            <a:xfrm>
              <a:off x="4264025" y="2379663"/>
              <a:ext cx="3175" cy="4762"/>
            </a:xfrm>
            <a:custGeom>
              <a:avLst/>
              <a:gdLst>
                <a:gd name="T0" fmla="*/ 3 w 7"/>
                <a:gd name="T1" fmla="*/ 14 h 15"/>
                <a:gd name="T2" fmla="*/ 6 w 7"/>
                <a:gd name="T3" fmla="*/ 11 h 15"/>
                <a:gd name="T4" fmla="*/ 0 w 7"/>
                <a:gd name="T5" fmla="*/ 0 h 15"/>
                <a:gd name="T6" fmla="*/ 3 w 7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5">
                  <a:moveTo>
                    <a:pt x="3" y="14"/>
                  </a:moveTo>
                  <a:cubicBezTo>
                    <a:pt x="3" y="14"/>
                    <a:pt x="6" y="14"/>
                    <a:pt x="6" y="11"/>
                  </a:cubicBezTo>
                  <a:cubicBezTo>
                    <a:pt x="6" y="6"/>
                    <a:pt x="6" y="0"/>
                    <a:pt x="0" y="0"/>
                  </a:cubicBezTo>
                  <a:cubicBezTo>
                    <a:pt x="0" y="6"/>
                    <a:pt x="0" y="14"/>
                    <a:pt x="3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6" name="Freeform 267"/>
            <p:cNvSpPr>
              <a:spLocks noChangeArrowheads="1"/>
            </p:cNvSpPr>
            <p:nvPr/>
          </p:nvSpPr>
          <p:spPr bwMode="auto">
            <a:xfrm>
              <a:off x="4265613" y="2371725"/>
              <a:ext cx="4762" cy="3175"/>
            </a:xfrm>
            <a:custGeom>
              <a:avLst/>
              <a:gdLst>
                <a:gd name="T0" fmla="*/ 0 w 12"/>
                <a:gd name="T1" fmla="*/ 3 h 10"/>
                <a:gd name="T2" fmla="*/ 0 w 12"/>
                <a:gd name="T3" fmla="*/ 9 h 10"/>
                <a:gd name="T4" fmla="*/ 11 w 12"/>
                <a:gd name="T5" fmla="*/ 3 h 10"/>
                <a:gd name="T6" fmla="*/ 0 w 12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3"/>
                  </a:moveTo>
                  <a:cubicBezTo>
                    <a:pt x="0" y="6"/>
                    <a:pt x="0" y="6"/>
                    <a:pt x="0" y="9"/>
                  </a:cubicBezTo>
                  <a:cubicBezTo>
                    <a:pt x="3" y="6"/>
                    <a:pt x="8" y="6"/>
                    <a:pt x="11" y="3"/>
                  </a:cubicBezTo>
                  <a:cubicBezTo>
                    <a:pt x="5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7" name="Freeform 268"/>
            <p:cNvSpPr>
              <a:spLocks noChangeArrowheads="1"/>
            </p:cNvSpPr>
            <p:nvPr/>
          </p:nvSpPr>
          <p:spPr bwMode="auto">
            <a:xfrm>
              <a:off x="4435475" y="2768600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6 w 9"/>
                <a:gd name="T3" fmla="*/ 9 h 10"/>
                <a:gd name="T4" fmla="*/ 8 w 9"/>
                <a:gd name="T5" fmla="*/ 3 h 10"/>
                <a:gd name="T6" fmla="*/ 0 w 9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cubicBezTo>
                    <a:pt x="3" y="6"/>
                    <a:pt x="3" y="9"/>
                    <a:pt x="6" y="9"/>
                  </a:cubicBezTo>
                  <a:cubicBezTo>
                    <a:pt x="8" y="6"/>
                    <a:pt x="8" y="6"/>
                    <a:pt x="8" y="3"/>
                  </a:cubicBezTo>
                  <a:cubicBezTo>
                    <a:pt x="6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8" name="Freeform 269"/>
            <p:cNvSpPr>
              <a:spLocks noChangeArrowheads="1"/>
            </p:cNvSpPr>
            <p:nvPr/>
          </p:nvSpPr>
          <p:spPr bwMode="auto">
            <a:xfrm>
              <a:off x="4262438" y="2924175"/>
              <a:ext cx="1587" cy="3175"/>
            </a:xfrm>
            <a:custGeom>
              <a:avLst/>
              <a:gdLst>
                <a:gd name="T0" fmla="*/ 0 w 3"/>
                <a:gd name="T1" fmla="*/ 0 h 7"/>
                <a:gd name="T2" fmla="*/ 0 w 3"/>
                <a:gd name="T3" fmla="*/ 6 h 7"/>
                <a:gd name="T4" fmla="*/ 2 w 3"/>
                <a:gd name="T5" fmla="*/ 6 h 7"/>
                <a:gd name="T6" fmla="*/ 0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cubicBezTo>
                    <a:pt x="0" y="0"/>
                    <a:pt x="0" y="3"/>
                    <a:pt x="0" y="6"/>
                  </a:cubicBezTo>
                  <a:cubicBezTo>
                    <a:pt x="0" y="6"/>
                    <a:pt x="0" y="6"/>
                    <a:pt x="2" y="6"/>
                  </a:cubicBezTo>
                  <a:cubicBezTo>
                    <a:pt x="0" y="3"/>
                    <a:pt x="0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9" name="Freeform 270"/>
            <p:cNvSpPr>
              <a:spLocks noChangeArrowheads="1"/>
            </p:cNvSpPr>
            <p:nvPr/>
          </p:nvSpPr>
          <p:spPr bwMode="auto">
            <a:xfrm>
              <a:off x="4262438" y="2681288"/>
              <a:ext cx="4762" cy="4762"/>
            </a:xfrm>
            <a:custGeom>
              <a:avLst/>
              <a:gdLst>
                <a:gd name="T0" fmla="*/ 12 w 13"/>
                <a:gd name="T1" fmla="*/ 0 h 15"/>
                <a:gd name="T2" fmla="*/ 9 w 13"/>
                <a:gd name="T3" fmla="*/ 2 h 15"/>
                <a:gd name="T4" fmla="*/ 12 w 13"/>
                <a:gd name="T5" fmla="*/ 0 h 15"/>
                <a:gd name="T6" fmla="*/ 0 w 13"/>
                <a:gd name="T7" fmla="*/ 5 h 15"/>
                <a:gd name="T8" fmla="*/ 9 w 13"/>
                <a:gd name="T9" fmla="*/ 14 h 15"/>
                <a:gd name="T10" fmla="*/ 9 w 13"/>
                <a:gd name="T11" fmla="*/ 2 h 15"/>
                <a:gd name="T12" fmla="*/ 0 w 13"/>
                <a:gd name="T1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5">
                  <a:moveTo>
                    <a:pt x="12" y="0"/>
                  </a:moveTo>
                  <a:cubicBezTo>
                    <a:pt x="11" y="1"/>
                    <a:pt x="10" y="2"/>
                    <a:pt x="9" y="2"/>
                  </a:cubicBezTo>
                  <a:cubicBezTo>
                    <a:pt x="10" y="1"/>
                    <a:pt x="11" y="1"/>
                    <a:pt x="12" y="0"/>
                  </a:cubicBezTo>
                  <a:close/>
                  <a:moveTo>
                    <a:pt x="0" y="5"/>
                  </a:moveTo>
                  <a:lnTo>
                    <a:pt x="9" y="14"/>
                  </a:lnTo>
                  <a:cubicBezTo>
                    <a:pt x="5" y="8"/>
                    <a:pt x="6" y="5"/>
                    <a:pt x="9" y="2"/>
                  </a:cubicBezTo>
                  <a:cubicBezTo>
                    <a:pt x="7" y="4"/>
                    <a:pt x="4" y="5"/>
                    <a:pt x="0" y="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0" name="Freeform 271"/>
            <p:cNvSpPr>
              <a:spLocks noChangeArrowheads="1"/>
            </p:cNvSpPr>
            <p:nvPr/>
          </p:nvSpPr>
          <p:spPr bwMode="auto">
            <a:xfrm>
              <a:off x="4262438" y="2947988"/>
              <a:ext cx="1587" cy="4762"/>
            </a:xfrm>
            <a:custGeom>
              <a:avLst/>
              <a:gdLst>
                <a:gd name="T0" fmla="*/ 2 w 6"/>
                <a:gd name="T1" fmla="*/ 14 h 15"/>
                <a:gd name="T2" fmla="*/ 5 w 6"/>
                <a:gd name="T3" fmla="*/ 6 h 15"/>
                <a:gd name="T4" fmla="*/ 2 w 6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5">
                  <a:moveTo>
                    <a:pt x="2" y="14"/>
                  </a:moveTo>
                  <a:cubicBezTo>
                    <a:pt x="2" y="12"/>
                    <a:pt x="5" y="12"/>
                    <a:pt x="5" y="6"/>
                  </a:cubicBezTo>
                  <a:cubicBezTo>
                    <a:pt x="0" y="0"/>
                    <a:pt x="0" y="14"/>
                    <a:pt x="2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1" name="Freeform 272"/>
            <p:cNvSpPr>
              <a:spLocks noChangeArrowheads="1"/>
            </p:cNvSpPr>
            <p:nvPr/>
          </p:nvSpPr>
          <p:spPr bwMode="auto">
            <a:xfrm>
              <a:off x="4210050" y="2522538"/>
              <a:ext cx="4763" cy="3175"/>
            </a:xfrm>
            <a:custGeom>
              <a:avLst/>
              <a:gdLst>
                <a:gd name="T0" fmla="*/ 0 w 15"/>
                <a:gd name="T1" fmla="*/ 2 h 9"/>
                <a:gd name="T2" fmla="*/ 2 w 15"/>
                <a:gd name="T3" fmla="*/ 8 h 9"/>
                <a:gd name="T4" fmla="*/ 14 w 15"/>
                <a:gd name="T5" fmla="*/ 2 h 9"/>
                <a:gd name="T6" fmla="*/ 11 w 15"/>
                <a:gd name="T7" fmla="*/ 0 h 9"/>
                <a:gd name="T8" fmla="*/ 0 w 15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9">
                  <a:moveTo>
                    <a:pt x="0" y="2"/>
                  </a:moveTo>
                  <a:cubicBezTo>
                    <a:pt x="0" y="5"/>
                    <a:pt x="2" y="8"/>
                    <a:pt x="2" y="8"/>
                  </a:cubicBezTo>
                  <a:cubicBezTo>
                    <a:pt x="5" y="8"/>
                    <a:pt x="11" y="5"/>
                    <a:pt x="14" y="2"/>
                  </a:cubicBezTo>
                  <a:lnTo>
                    <a:pt x="11" y="0"/>
                  </a:lnTo>
                  <a:cubicBezTo>
                    <a:pt x="5" y="2"/>
                    <a:pt x="2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2" name="Freeform 273"/>
            <p:cNvSpPr>
              <a:spLocks noChangeArrowheads="1"/>
            </p:cNvSpPr>
            <p:nvPr/>
          </p:nvSpPr>
          <p:spPr bwMode="auto">
            <a:xfrm>
              <a:off x="4427538" y="2170113"/>
              <a:ext cx="6350" cy="6350"/>
            </a:xfrm>
            <a:custGeom>
              <a:avLst/>
              <a:gdLst>
                <a:gd name="T0" fmla="*/ 2 w 18"/>
                <a:gd name="T1" fmla="*/ 0 h 18"/>
                <a:gd name="T2" fmla="*/ 0 w 18"/>
                <a:gd name="T3" fmla="*/ 8 h 18"/>
                <a:gd name="T4" fmla="*/ 17 w 18"/>
                <a:gd name="T5" fmla="*/ 17 h 18"/>
                <a:gd name="T6" fmla="*/ 2 w 18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8">
                  <a:moveTo>
                    <a:pt x="2" y="0"/>
                  </a:moveTo>
                  <a:cubicBezTo>
                    <a:pt x="2" y="3"/>
                    <a:pt x="2" y="5"/>
                    <a:pt x="0" y="8"/>
                  </a:cubicBezTo>
                  <a:cubicBezTo>
                    <a:pt x="5" y="11"/>
                    <a:pt x="11" y="14"/>
                    <a:pt x="17" y="17"/>
                  </a:cubicBezTo>
                  <a:cubicBezTo>
                    <a:pt x="17" y="8"/>
                    <a:pt x="11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3" name="Freeform 274"/>
            <p:cNvSpPr>
              <a:spLocks noChangeArrowheads="1"/>
            </p:cNvSpPr>
            <p:nvPr/>
          </p:nvSpPr>
          <p:spPr bwMode="auto">
            <a:xfrm>
              <a:off x="4429125" y="2178050"/>
              <a:ext cx="7938" cy="3175"/>
            </a:xfrm>
            <a:custGeom>
              <a:avLst/>
              <a:gdLst>
                <a:gd name="T0" fmla="*/ 3 w 24"/>
                <a:gd name="T1" fmla="*/ 3 h 10"/>
                <a:gd name="T2" fmla="*/ 3 w 24"/>
                <a:gd name="T3" fmla="*/ 9 h 10"/>
                <a:gd name="T4" fmla="*/ 23 w 24"/>
                <a:gd name="T5" fmla="*/ 9 h 10"/>
                <a:gd name="T6" fmla="*/ 3 w 24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0">
                  <a:moveTo>
                    <a:pt x="3" y="3"/>
                  </a:moveTo>
                  <a:cubicBezTo>
                    <a:pt x="3" y="6"/>
                    <a:pt x="0" y="6"/>
                    <a:pt x="3" y="9"/>
                  </a:cubicBezTo>
                  <a:cubicBezTo>
                    <a:pt x="9" y="9"/>
                    <a:pt x="17" y="9"/>
                    <a:pt x="23" y="9"/>
                  </a:cubicBezTo>
                  <a:cubicBezTo>
                    <a:pt x="17" y="3"/>
                    <a:pt x="12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4" name="Freeform 275"/>
            <p:cNvSpPr>
              <a:spLocks noChangeArrowheads="1"/>
            </p:cNvSpPr>
            <p:nvPr/>
          </p:nvSpPr>
          <p:spPr bwMode="auto">
            <a:xfrm>
              <a:off x="4421188" y="2324100"/>
              <a:ext cx="6350" cy="9525"/>
            </a:xfrm>
            <a:custGeom>
              <a:avLst/>
              <a:gdLst>
                <a:gd name="T0" fmla="*/ 5 w 17"/>
                <a:gd name="T1" fmla="*/ 25 h 26"/>
                <a:gd name="T2" fmla="*/ 16 w 17"/>
                <a:gd name="T3" fmla="*/ 17 h 26"/>
                <a:gd name="T4" fmla="*/ 11 w 17"/>
                <a:gd name="T5" fmla="*/ 8 h 26"/>
                <a:gd name="T6" fmla="*/ 16 w 17"/>
                <a:gd name="T7" fmla="*/ 2 h 26"/>
                <a:gd name="T8" fmla="*/ 14 w 17"/>
                <a:gd name="T9" fmla="*/ 2 h 26"/>
                <a:gd name="T10" fmla="*/ 8 w 17"/>
                <a:gd name="T11" fmla="*/ 5 h 26"/>
                <a:gd name="T12" fmla="*/ 0 w 17"/>
                <a:gd name="T13" fmla="*/ 2 h 26"/>
                <a:gd name="T14" fmla="*/ 0 w 17"/>
                <a:gd name="T15" fmla="*/ 2 h 26"/>
                <a:gd name="T16" fmla="*/ 5 w 17"/>
                <a:gd name="T17" fmla="*/ 11 h 26"/>
                <a:gd name="T18" fmla="*/ 5 w 17"/>
                <a:gd name="T1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5" y="25"/>
                  </a:moveTo>
                  <a:cubicBezTo>
                    <a:pt x="11" y="25"/>
                    <a:pt x="14" y="19"/>
                    <a:pt x="16" y="17"/>
                  </a:cubicBezTo>
                  <a:cubicBezTo>
                    <a:pt x="16" y="17"/>
                    <a:pt x="11" y="11"/>
                    <a:pt x="11" y="8"/>
                  </a:cubicBezTo>
                  <a:cubicBezTo>
                    <a:pt x="11" y="5"/>
                    <a:pt x="16" y="5"/>
                    <a:pt x="16" y="2"/>
                  </a:cubicBezTo>
                  <a:cubicBezTo>
                    <a:pt x="16" y="2"/>
                    <a:pt x="16" y="2"/>
                    <a:pt x="14" y="2"/>
                  </a:cubicBezTo>
                  <a:cubicBezTo>
                    <a:pt x="14" y="2"/>
                    <a:pt x="11" y="5"/>
                    <a:pt x="8" y="5"/>
                  </a:cubicBezTo>
                  <a:cubicBezTo>
                    <a:pt x="8" y="5"/>
                    <a:pt x="5" y="0"/>
                    <a:pt x="0" y="2"/>
                  </a:cubicBezTo>
                  <a:lnTo>
                    <a:pt x="0" y="2"/>
                  </a:lnTo>
                  <a:cubicBezTo>
                    <a:pt x="2" y="5"/>
                    <a:pt x="5" y="5"/>
                    <a:pt x="5" y="11"/>
                  </a:cubicBezTo>
                  <a:cubicBezTo>
                    <a:pt x="5" y="17"/>
                    <a:pt x="0" y="19"/>
                    <a:pt x="5" y="2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5" name="Freeform 276"/>
            <p:cNvSpPr>
              <a:spLocks noChangeArrowheads="1"/>
            </p:cNvSpPr>
            <p:nvPr/>
          </p:nvSpPr>
          <p:spPr bwMode="auto">
            <a:xfrm>
              <a:off x="4214813" y="3008313"/>
              <a:ext cx="1587" cy="4762"/>
            </a:xfrm>
            <a:custGeom>
              <a:avLst/>
              <a:gdLst>
                <a:gd name="T0" fmla="*/ 0 w 6"/>
                <a:gd name="T1" fmla="*/ 8 h 12"/>
                <a:gd name="T2" fmla="*/ 0 w 6"/>
                <a:gd name="T3" fmla="*/ 8 h 12"/>
                <a:gd name="T4" fmla="*/ 5 w 6"/>
                <a:gd name="T5" fmla="*/ 0 h 12"/>
                <a:gd name="T6" fmla="*/ 3 w 6"/>
                <a:gd name="T7" fmla="*/ 0 h 12"/>
                <a:gd name="T8" fmla="*/ 0 w 6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0" y="8"/>
                  </a:moveTo>
                  <a:cubicBezTo>
                    <a:pt x="0" y="8"/>
                    <a:pt x="0" y="11"/>
                    <a:pt x="0" y="8"/>
                  </a:cubicBezTo>
                  <a:cubicBezTo>
                    <a:pt x="3" y="8"/>
                    <a:pt x="5" y="3"/>
                    <a:pt x="5" y="0"/>
                  </a:cubicBezTo>
                  <a:lnTo>
                    <a:pt x="3" y="0"/>
                  </a:lnTo>
                  <a:cubicBezTo>
                    <a:pt x="3" y="3"/>
                    <a:pt x="3" y="8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6" name="Freeform 277"/>
            <p:cNvSpPr>
              <a:spLocks noChangeArrowheads="1"/>
            </p:cNvSpPr>
            <p:nvPr/>
          </p:nvSpPr>
          <p:spPr bwMode="auto">
            <a:xfrm>
              <a:off x="4418013" y="2736850"/>
              <a:ext cx="1587" cy="1588"/>
            </a:xfrm>
            <a:custGeom>
              <a:avLst/>
              <a:gdLst>
                <a:gd name="T0" fmla="*/ 0 w 4"/>
                <a:gd name="T1" fmla="*/ 5 h 6"/>
                <a:gd name="T2" fmla="*/ 3 w 4"/>
                <a:gd name="T3" fmla="*/ 0 h 6"/>
                <a:gd name="T4" fmla="*/ 0 w 4"/>
                <a:gd name="T5" fmla="*/ 3 h 6"/>
                <a:gd name="T6" fmla="*/ 0 w 4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cubicBezTo>
                    <a:pt x="3" y="3"/>
                    <a:pt x="3" y="3"/>
                    <a:pt x="3" y="0"/>
                  </a:cubicBezTo>
                  <a:cubicBezTo>
                    <a:pt x="3" y="0"/>
                    <a:pt x="0" y="0"/>
                    <a:pt x="0" y="3"/>
                  </a:cubicBezTo>
                  <a:cubicBezTo>
                    <a:pt x="0" y="3"/>
                    <a:pt x="0" y="3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7" name="Freeform 278"/>
            <p:cNvSpPr>
              <a:spLocks noChangeArrowheads="1"/>
            </p:cNvSpPr>
            <p:nvPr/>
          </p:nvSpPr>
          <p:spPr bwMode="auto">
            <a:xfrm>
              <a:off x="4413250" y="2327275"/>
              <a:ext cx="4763" cy="4763"/>
            </a:xfrm>
            <a:custGeom>
              <a:avLst/>
              <a:gdLst>
                <a:gd name="T0" fmla="*/ 6 w 12"/>
                <a:gd name="T1" fmla="*/ 11 h 12"/>
                <a:gd name="T2" fmla="*/ 11 w 12"/>
                <a:gd name="T3" fmla="*/ 9 h 12"/>
                <a:gd name="T4" fmla="*/ 0 w 12"/>
                <a:gd name="T5" fmla="*/ 3 h 12"/>
                <a:gd name="T6" fmla="*/ 6 w 12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6" y="11"/>
                  </a:moveTo>
                  <a:cubicBezTo>
                    <a:pt x="8" y="11"/>
                    <a:pt x="11" y="11"/>
                    <a:pt x="11" y="9"/>
                  </a:cubicBezTo>
                  <a:cubicBezTo>
                    <a:pt x="11" y="3"/>
                    <a:pt x="8" y="0"/>
                    <a:pt x="0" y="3"/>
                  </a:cubicBezTo>
                  <a:cubicBezTo>
                    <a:pt x="0" y="6"/>
                    <a:pt x="3" y="9"/>
                    <a:pt x="6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8" name="Freeform 279"/>
            <p:cNvSpPr>
              <a:spLocks noChangeArrowheads="1"/>
            </p:cNvSpPr>
            <p:nvPr/>
          </p:nvSpPr>
          <p:spPr bwMode="auto">
            <a:xfrm>
              <a:off x="4233863" y="3062288"/>
              <a:ext cx="6350" cy="4762"/>
            </a:xfrm>
            <a:custGeom>
              <a:avLst/>
              <a:gdLst>
                <a:gd name="T0" fmla="*/ 2 w 17"/>
                <a:gd name="T1" fmla="*/ 3 h 15"/>
                <a:gd name="T2" fmla="*/ 16 w 17"/>
                <a:gd name="T3" fmla="*/ 6 h 15"/>
                <a:gd name="T4" fmla="*/ 2 w 17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5">
                  <a:moveTo>
                    <a:pt x="2" y="3"/>
                  </a:moveTo>
                  <a:cubicBezTo>
                    <a:pt x="0" y="9"/>
                    <a:pt x="16" y="14"/>
                    <a:pt x="16" y="6"/>
                  </a:cubicBezTo>
                  <a:cubicBezTo>
                    <a:pt x="16" y="0"/>
                    <a:pt x="8" y="3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9" name="Freeform 280"/>
            <p:cNvSpPr>
              <a:spLocks noChangeArrowheads="1"/>
            </p:cNvSpPr>
            <p:nvPr/>
          </p:nvSpPr>
          <p:spPr bwMode="auto">
            <a:xfrm>
              <a:off x="4416425" y="2530475"/>
              <a:ext cx="3175" cy="3175"/>
            </a:xfrm>
            <a:custGeom>
              <a:avLst/>
              <a:gdLst>
                <a:gd name="T0" fmla="*/ 2 w 9"/>
                <a:gd name="T1" fmla="*/ 9 h 10"/>
                <a:gd name="T2" fmla="*/ 8 w 9"/>
                <a:gd name="T3" fmla="*/ 9 h 10"/>
                <a:gd name="T4" fmla="*/ 2 w 9"/>
                <a:gd name="T5" fmla="*/ 0 h 10"/>
                <a:gd name="T6" fmla="*/ 2 w 9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2" y="9"/>
                  </a:moveTo>
                  <a:cubicBezTo>
                    <a:pt x="5" y="9"/>
                    <a:pt x="5" y="9"/>
                    <a:pt x="8" y="9"/>
                  </a:cubicBezTo>
                  <a:cubicBezTo>
                    <a:pt x="8" y="6"/>
                    <a:pt x="5" y="3"/>
                    <a:pt x="2" y="0"/>
                  </a:cubicBezTo>
                  <a:cubicBezTo>
                    <a:pt x="2" y="0"/>
                    <a:pt x="0" y="6"/>
                    <a:pt x="2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0" name="Freeform 281"/>
            <p:cNvSpPr>
              <a:spLocks noChangeArrowheads="1"/>
            </p:cNvSpPr>
            <p:nvPr/>
          </p:nvSpPr>
          <p:spPr bwMode="auto">
            <a:xfrm>
              <a:off x="4222750" y="3038475"/>
              <a:ext cx="3175" cy="1588"/>
            </a:xfrm>
            <a:custGeom>
              <a:avLst/>
              <a:gdLst>
                <a:gd name="T0" fmla="*/ 6 w 7"/>
                <a:gd name="T1" fmla="*/ 2 h 3"/>
                <a:gd name="T2" fmla="*/ 6 w 7"/>
                <a:gd name="T3" fmla="*/ 0 h 3"/>
                <a:gd name="T4" fmla="*/ 0 w 7"/>
                <a:gd name="T5" fmla="*/ 0 h 3"/>
                <a:gd name="T6" fmla="*/ 6 w 7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6" y="2"/>
                  </a:moveTo>
                  <a:lnTo>
                    <a:pt x="6" y="0"/>
                  </a:lnTo>
                  <a:cubicBezTo>
                    <a:pt x="3" y="0"/>
                    <a:pt x="3" y="0"/>
                    <a:pt x="0" y="0"/>
                  </a:cubicBezTo>
                  <a:cubicBezTo>
                    <a:pt x="0" y="2"/>
                    <a:pt x="3" y="2"/>
                    <a:pt x="6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1" name="Freeform 282"/>
            <p:cNvSpPr>
              <a:spLocks noChangeArrowheads="1"/>
            </p:cNvSpPr>
            <p:nvPr/>
          </p:nvSpPr>
          <p:spPr bwMode="auto">
            <a:xfrm>
              <a:off x="4418013" y="2593975"/>
              <a:ext cx="7937" cy="3175"/>
            </a:xfrm>
            <a:custGeom>
              <a:avLst/>
              <a:gdLst>
                <a:gd name="T0" fmla="*/ 20 w 21"/>
                <a:gd name="T1" fmla="*/ 3 h 10"/>
                <a:gd name="T2" fmla="*/ 20 w 21"/>
                <a:gd name="T3" fmla="*/ 0 h 10"/>
                <a:gd name="T4" fmla="*/ 0 w 21"/>
                <a:gd name="T5" fmla="*/ 0 h 10"/>
                <a:gd name="T6" fmla="*/ 3 w 21"/>
                <a:gd name="T7" fmla="*/ 6 h 10"/>
                <a:gd name="T8" fmla="*/ 20 w 21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0">
                  <a:moveTo>
                    <a:pt x="20" y="3"/>
                  </a:moveTo>
                  <a:lnTo>
                    <a:pt x="20" y="0"/>
                  </a:lnTo>
                  <a:cubicBezTo>
                    <a:pt x="14" y="0"/>
                    <a:pt x="9" y="0"/>
                    <a:pt x="0" y="0"/>
                  </a:cubicBezTo>
                  <a:cubicBezTo>
                    <a:pt x="0" y="3"/>
                    <a:pt x="3" y="6"/>
                    <a:pt x="3" y="6"/>
                  </a:cubicBezTo>
                  <a:cubicBezTo>
                    <a:pt x="9" y="9"/>
                    <a:pt x="14" y="6"/>
                    <a:pt x="2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2" name="Freeform 283"/>
            <p:cNvSpPr>
              <a:spLocks noChangeArrowheads="1"/>
            </p:cNvSpPr>
            <p:nvPr/>
          </p:nvSpPr>
          <p:spPr bwMode="auto">
            <a:xfrm>
              <a:off x="4229100" y="3016250"/>
              <a:ext cx="6350" cy="4763"/>
            </a:xfrm>
            <a:custGeom>
              <a:avLst/>
              <a:gdLst>
                <a:gd name="T0" fmla="*/ 0 w 18"/>
                <a:gd name="T1" fmla="*/ 9 h 15"/>
                <a:gd name="T2" fmla="*/ 9 w 18"/>
                <a:gd name="T3" fmla="*/ 14 h 15"/>
                <a:gd name="T4" fmla="*/ 17 w 18"/>
                <a:gd name="T5" fmla="*/ 6 h 15"/>
                <a:gd name="T6" fmla="*/ 0 w 18"/>
                <a:gd name="T7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0" y="9"/>
                  </a:moveTo>
                  <a:cubicBezTo>
                    <a:pt x="3" y="12"/>
                    <a:pt x="6" y="12"/>
                    <a:pt x="9" y="14"/>
                  </a:cubicBezTo>
                  <a:cubicBezTo>
                    <a:pt x="12" y="12"/>
                    <a:pt x="12" y="9"/>
                    <a:pt x="17" y="6"/>
                  </a:cubicBezTo>
                  <a:cubicBezTo>
                    <a:pt x="9" y="0"/>
                    <a:pt x="0" y="0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3" name="Freeform 284"/>
            <p:cNvSpPr>
              <a:spLocks noChangeArrowheads="1"/>
            </p:cNvSpPr>
            <p:nvPr/>
          </p:nvSpPr>
          <p:spPr bwMode="auto">
            <a:xfrm>
              <a:off x="4229100" y="2324100"/>
              <a:ext cx="6350" cy="4763"/>
            </a:xfrm>
            <a:custGeom>
              <a:avLst/>
              <a:gdLst>
                <a:gd name="T0" fmla="*/ 9 w 18"/>
                <a:gd name="T1" fmla="*/ 14 h 15"/>
                <a:gd name="T2" fmla="*/ 17 w 18"/>
                <a:gd name="T3" fmla="*/ 2 h 15"/>
                <a:gd name="T4" fmla="*/ 9 w 18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9" y="14"/>
                  </a:moveTo>
                  <a:cubicBezTo>
                    <a:pt x="9" y="8"/>
                    <a:pt x="17" y="11"/>
                    <a:pt x="17" y="2"/>
                  </a:cubicBezTo>
                  <a:cubicBezTo>
                    <a:pt x="12" y="0"/>
                    <a:pt x="0" y="8"/>
                    <a:pt x="9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4" name="Freeform 285"/>
            <p:cNvSpPr>
              <a:spLocks noChangeArrowheads="1"/>
            </p:cNvSpPr>
            <p:nvPr/>
          </p:nvSpPr>
          <p:spPr bwMode="auto">
            <a:xfrm>
              <a:off x="4227513" y="3009900"/>
              <a:ext cx="1587" cy="1588"/>
            </a:xfrm>
            <a:custGeom>
              <a:avLst/>
              <a:gdLst>
                <a:gd name="T0" fmla="*/ 2 w 6"/>
                <a:gd name="T1" fmla="*/ 0 h 6"/>
                <a:gd name="T2" fmla="*/ 0 w 6"/>
                <a:gd name="T3" fmla="*/ 0 h 6"/>
                <a:gd name="T4" fmla="*/ 2 w 6"/>
                <a:gd name="T5" fmla="*/ 5 h 6"/>
                <a:gd name="T6" fmla="*/ 2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0" y="0"/>
                  </a:lnTo>
                  <a:cubicBezTo>
                    <a:pt x="0" y="2"/>
                    <a:pt x="2" y="2"/>
                    <a:pt x="2" y="5"/>
                  </a:cubicBezTo>
                  <a:cubicBezTo>
                    <a:pt x="5" y="2"/>
                    <a:pt x="5" y="2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5" name="Freeform 286"/>
            <p:cNvSpPr>
              <a:spLocks noChangeArrowheads="1"/>
            </p:cNvSpPr>
            <p:nvPr/>
          </p:nvSpPr>
          <p:spPr bwMode="auto">
            <a:xfrm>
              <a:off x="4221163" y="2279650"/>
              <a:ext cx="1587" cy="1588"/>
            </a:xfrm>
            <a:custGeom>
              <a:avLst/>
              <a:gdLst>
                <a:gd name="T0" fmla="*/ 5 w 6"/>
                <a:gd name="T1" fmla="*/ 5 h 6"/>
                <a:gd name="T2" fmla="*/ 5 w 6"/>
                <a:gd name="T3" fmla="*/ 5 h 6"/>
                <a:gd name="T4" fmla="*/ 2 w 6"/>
                <a:gd name="T5" fmla="*/ 0 h 6"/>
                <a:gd name="T6" fmla="*/ 5 w 6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5" y="5"/>
                  </a:moveTo>
                  <a:lnTo>
                    <a:pt x="5" y="5"/>
                  </a:lnTo>
                  <a:cubicBezTo>
                    <a:pt x="5" y="2"/>
                    <a:pt x="5" y="0"/>
                    <a:pt x="2" y="0"/>
                  </a:cubicBezTo>
                  <a:cubicBezTo>
                    <a:pt x="0" y="2"/>
                    <a:pt x="0" y="5"/>
                    <a:pt x="5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6" name="Freeform 287"/>
            <p:cNvSpPr>
              <a:spLocks noChangeArrowheads="1"/>
            </p:cNvSpPr>
            <p:nvPr/>
          </p:nvSpPr>
          <p:spPr bwMode="auto">
            <a:xfrm>
              <a:off x="4227513" y="2524125"/>
              <a:ext cx="1587" cy="1588"/>
            </a:xfrm>
            <a:custGeom>
              <a:avLst/>
              <a:gdLst>
                <a:gd name="T0" fmla="*/ 0 w 6"/>
                <a:gd name="T1" fmla="*/ 0 h 4"/>
                <a:gd name="T2" fmla="*/ 0 w 6"/>
                <a:gd name="T3" fmla="*/ 0 h 4"/>
                <a:gd name="T4" fmla="*/ 3 w 6"/>
                <a:gd name="T5" fmla="*/ 3 h 4"/>
                <a:gd name="T6" fmla="*/ 5 w 6"/>
                <a:gd name="T7" fmla="*/ 3 h 4"/>
                <a:gd name="T8" fmla="*/ 0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0" y="0"/>
                  </a:lnTo>
                  <a:lnTo>
                    <a:pt x="3" y="3"/>
                  </a:lnTo>
                  <a:cubicBezTo>
                    <a:pt x="3" y="3"/>
                    <a:pt x="3" y="3"/>
                    <a:pt x="5" y="3"/>
                  </a:cubicBezTo>
                  <a:cubicBezTo>
                    <a:pt x="5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7" name="Freeform 288"/>
            <p:cNvSpPr>
              <a:spLocks noChangeArrowheads="1"/>
            </p:cNvSpPr>
            <p:nvPr/>
          </p:nvSpPr>
          <p:spPr bwMode="auto">
            <a:xfrm>
              <a:off x="4227513" y="2309813"/>
              <a:ext cx="1587" cy="1587"/>
            </a:xfrm>
            <a:custGeom>
              <a:avLst/>
              <a:gdLst>
                <a:gd name="T0" fmla="*/ 0 w 3"/>
                <a:gd name="T1" fmla="*/ 0 h 4"/>
                <a:gd name="T2" fmla="*/ 2 w 3"/>
                <a:gd name="T3" fmla="*/ 3 h 4"/>
                <a:gd name="T4" fmla="*/ 0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cubicBezTo>
                    <a:pt x="0" y="0"/>
                    <a:pt x="0" y="3"/>
                    <a:pt x="2" y="3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8" name="Freeform 289"/>
            <p:cNvSpPr>
              <a:spLocks noChangeArrowheads="1"/>
            </p:cNvSpPr>
            <p:nvPr/>
          </p:nvSpPr>
          <p:spPr bwMode="auto">
            <a:xfrm>
              <a:off x="4206875" y="2625725"/>
              <a:ext cx="3175" cy="3175"/>
            </a:xfrm>
            <a:custGeom>
              <a:avLst/>
              <a:gdLst>
                <a:gd name="T0" fmla="*/ 3 w 7"/>
                <a:gd name="T1" fmla="*/ 0 h 10"/>
                <a:gd name="T2" fmla="*/ 3 w 7"/>
                <a:gd name="T3" fmla="*/ 0 h 10"/>
                <a:gd name="T4" fmla="*/ 3 w 7"/>
                <a:gd name="T5" fmla="*/ 9 h 10"/>
                <a:gd name="T6" fmla="*/ 6 w 7"/>
                <a:gd name="T7" fmla="*/ 9 h 10"/>
                <a:gd name="T8" fmla="*/ 3 w 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3" y="0"/>
                  </a:moveTo>
                  <a:lnTo>
                    <a:pt x="3" y="0"/>
                  </a:lnTo>
                  <a:cubicBezTo>
                    <a:pt x="0" y="3"/>
                    <a:pt x="0" y="6"/>
                    <a:pt x="3" y="9"/>
                  </a:cubicBezTo>
                  <a:lnTo>
                    <a:pt x="6" y="9"/>
                  </a:lnTo>
                  <a:cubicBezTo>
                    <a:pt x="6" y="6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9" name="Freeform 290"/>
            <p:cNvSpPr>
              <a:spLocks noChangeArrowheads="1"/>
            </p:cNvSpPr>
            <p:nvPr/>
          </p:nvSpPr>
          <p:spPr bwMode="auto">
            <a:xfrm>
              <a:off x="4487863" y="2220913"/>
              <a:ext cx="3175" cy="3175"/>
            </a:xfrm>
            <a:custGeom>
              <a:avLst/>
              <a:gdLst>
                <a:gd name="T0" fmla="*/ 6 w 7"/>
                <a:gd name="T1" fmla="*/ 6 h 9"/>
                <a:gd name="T2" fmla="*/ 0 w 7"/>
                <a:gd name="T3" fmla="*/ 0 h 9"/>
                <a:gd name="T4" fmla="*/ 0 w 7"/>
                <a:gd name="T5" fmla="*/ 6 h 9"/>
                <a:gd name="T6" fmla="*/ 6 w 7"/>
                <a:gd name="T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6" y="6"/>
                  </a:moveTo>
                  <a:cubicBezTo>
                    <a:pt x="3" y="3"/>
                    <a:pt x="3" y="3"/>
                    <a:pt x="0" y="0"/>
                  </a:cubicBezTo>
                  <a:lnTo>
                    <a:pt x="0" y="6"/>
                  </a:lnTo>
                  <a:cubicBezTo>
                    <a:pt x="3" y="8"/>
                    <a:pt x="3" y="8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0" name="Freeform 291"/>
            <p:cNvSpPr>
              <a:spLocks noChangeArrowheads="1"/>
            </p:cNvSpPr>
            <p:nvPr/>
          </p:nvSpPr>
          <p:spPr bwMode="auto">
            <a:xfrm>
              <a:off x="4514850" y="2251075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0 w 10"/>
                <a:gd name="T3" fmla="*/ 6 h 7"/>
                <a:gd name="T4" fmla="*/ 9 w 10"/>
                <a:gd name="T5" fmla="*/ 6 h 7"/>
                <a:gd name="T6" fmla="*/ 3 w 10"/>
                <a:gd name="T7" fmla="*/ 0 h 7"/>
                <a:gd name="T8" fmla="*/ 0 w 10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lnTo>
                    <a:pt x="0" y="6"/>
                  </a:lnTo>
                  <a:cubicBezTo>
                    <a:pt x="3" y="6"/>
                    <a:pt x="6" y="6"/>
                    <a:pt x="9" y="6"/>
                  </a:cubicBezTo>
                  <a:cubicBezTo>
                    <a:pt x="6" y="3"/>
                    <a:pt x="6" y="0"/>
                    <a:pt x="3" y="0"/>
                  </a:cubicBezTo>
                  <a:cubicBezTo>
                    <a:pt x="3" y="3"/>
                    <a:pt x="3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1" name="Freeform 292"/>
            <p:cNvSpPr>
              <a:spLocks noChangeArrowheads="1"/>
            </p:cNvSpPr>
            <p:nvPr/>
          </p:nvSpPr>
          <p:spPr bwMode="auto">
            <a:xfrm>
              <a:off x="4513263" y="2247900"/>
              <a:ext cx="3175" cy="3175"/>
            </a:xfrm>
            <a:custGeom>
              <a:avLst/>
              <a:gdLst>
                <a:gd name="T0" fmla="*/ 3 w 7"/>
                <a:gd name="T1" fmla="*/ 8 h 9"/>
                <a:gd name="T2" fmla="*/ 6 w 7"/>
                <a:gd name="T3" fmla="*/ 8 h 9"/>
                <a:gd name="T4" fmla="*/ 0 w 7"/>
                <a:gd name="T5" fmla="*/ 0 h 9"/>
                <a:gd name="T6" fmla="*/ 3 w 7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lnTo>
                    <a:pt x="6" y="8"/>
                  </a:lnTo>
                  <a:cubicBezTo>
                    <a:pt x="3" y="6"/>
                    <a:pt x="0" y="3"/>
                    <a:pt x="0" y="0"/>
                  </a:cubicBezTo>
                  <a:cubicBezTo>
                    <a:pt x="0" y="3"/>
                    <a:pt x="3" y="6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2" name="Freeform 293"/>
            <p:cNvSpPr>
              <a:spLocks noChangeArrowheads="1"/>
            </p:cNvSpPr>
            <p:nvPr/>
          </p:nvSpPr>
          <p:spPr bwMode="auto">
            <a:xfrm>
              <a:off x="4486275" y="2220913"/>
              <a:ext cx="1588" cy="3175"/>
            </a:xfrm>
            <a:custGeom>
              <a:avLst/>
              <a:gdLst>
                <a:gd name="T0" fmla="*/ 0 w 4"/>
                <a:gd name="T1" fmla="*/ 8 h 9"/>
                <a:gd name="T2" fmla="*/ 3 w 4"/>
                <a:gd name="T3" fmla="*/ 0 h 9"/>
                <a:gd name="T4" fmla="*/ 0 w 4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9">
                  <a:moveTo>
                    <a:pt x="0" y="8"/>
                  </a:moveTo>
                  <a:cubicBezTo>
                    <a:pt x="3" y="6"/>
                    <a:pt x="3" y="3"/>
                    <a:pt x="3" y="0"/>
                  </a:cubicBezTo>
                  <a:cubicBezTo>
                    <a:pt x="3" y="0"/>
                    <a:pt x="3" y="3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3" name="Freeform 294"/>
            <p:cNvSpPr>
              <a:spLocks noChangeArrowheads="1"/>
            </p:cNvSpPr>
            <p:nvPr/>
          </p:nvSpPr>
          <p:spPr bwMode="auto">
            <a:xfrm>
              <a:off x="4614863" y="2439988"/>
              <a:ext cx="1587" cy="3175"/>
            </a:xfrm>
            <a:custGeom>
              <a:avLst/>
              <a:gdLst>
                <a:gd name="T0" fmla="*/ 0 w 3"/>
                <a:gd name="T1" fmla="*/ 6 h 7"/>
                <a:gd name="T2" fmla="*/ 2 w 3"/>
                <a:gd name="T3" fmla="*/ 3 h 7"/>
                <a:gd name="T4" fmla="*/ 2 w 3"/>
                <a:gd name="T5" fmla="*/ 3 h 7"/>
                <a:gd name="T6" fmla="*/ 2 w 3"/>
                <a:gd name="T7" fmla="*/ 0 h 7"/>
                <a:gd name="T8" fmla="*/ 0 w 3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6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ubicBezTo>
                    <a:pt x="0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4" name="Freeform 295"/>
            <p:cNvSpPr>
              <a:spLocks noChangeArrowheads="1"/>
            </p:cNvSpPr>
            <p:nvPr/>
          </p:nvSpPr>
          <p:spPr bwMode="auto">
            <a:xfrm>
              <a:off x="4452938" y="2190750"/>
              <a:ext cx="4762" cy="9525"/>
            </a:xfrm>
            <a:custGeom>
              <a:avLst/>
              <a:gdLst>
                <a:gd name="T0" fmla="*/ 0 w 15"/>
                <a:gd name="T1" fmla="*/ 12 h 27"/>
                <a:gd name="T2" fmla="*/ 6 w 15"/>
                <a:gd name="T3" fmla="*/ 26 h 27"/>
                <a:gd name="T4" fmla="*/ 14 w 15"/>
                <a:gd name="T5" fmla="*/ 9 h 27"/>
                <a:gd name="T6" fmla="*/ 6 w 15"/>
                <a:gd name="T7" fmla="*/ 0 h 27"/>
                <a:gd name="T8" fmla="*/ 0 w 15"/>
                <a:gd name="T9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7">
                  <a:moveTo>
                    <a:pt x="0" y="12"/>
                  </a:moveTo>
                  <a:cubicBezTo>
                    <a:pt x="3" y="17"/>
                    <a:pt x="3" y="20"/>
                    <a:pt x="6" y="26"/>
                  </a:cubicBezTo>
                  <a:cubicBezTo>
                    <a:pt x="8" y="20"/>
                    <a:pt x="14" y="14"/>
                    <a:pt x="14" y="9"/>
                  </a:cubicBezTo>
                  <a:cubicBezTo>
                    <a:pt x="11" y="6"/>
                    <a:pt x="8" y="3"/>
                    <a:pt x="6" y="0"/>
                  </a:cubicBezTo>
                  <a:cubicBezTo>
                    <a:pt x="3" y="3"/>
                    <a:pt x="0" y="6"/>
                    <a:pt x="0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5" name="Freeform 296"/>
            <p:cNvSpPr>
              <a:spLocks noChangeArrowheads="1"/>
            </p:cNvSpPr>
            <p:nvPr/>
          </p:nvSpPr>
          <p:spPr bwMode="auto">
            <a:xfrm>
              <a:off x="4465638" y="2200275"/>
              <a:ext cx="3175" cy="4763"/>
            </a:xfrm>
            <a:custGeom>
              <a:avLst/>
              <a:gdLst>
                <a:gd name="T0" fmla="*/ 5 w 9"/>
                <a:gd name="T1" fmla="*/ 11 h 12"/>
                <a:gd name="T2" fmla="*/ 8 w 9"/>
                <a:gd name="T3" fmla="*/ 2 h 12"/>
                <a:gd name="T4" fmla="*/ 5 w 9"/>
                <a:gd name="T5" fmla="*/ 0 h 12"/>
                <a:gd name="T6" fmla="*/ 5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5" y="11"/>
                  </a:moveTo>
                  <a:cubicBezTo>
                    <a:pt x="3" y="8"/>
                    <a:pt x="8" y="5"/>
                    <a:pt x="8" y="2"/>
                  </a:cubicBezTo>
                  <a:lnTo>
                    <a:pt x="5" y="0"/>
                  </a:lnTo>
                  <a:cubicBezTo>
                    <a:pt x="3" y="2"/>
                    <a:pt x="0" y="11"/>
                    <a:pt x="5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6" name="Freeform 297"/>
            <p:cNvSpPr>
              <a:spLocks noChangeArrowheads="1"/>
            </p:cNvSpPr>
            <p:nvPr/>
          </p:nvSpPr>
          <p:spPr bwMode="auto">
            <a:xfrm>
              <a:off x="3940175" y="2101850"/>
              <a:ext cx="6350" cy="4763"/>
            </a:xfrm>
            <a:custGeom>
              <a:avLst/>
              <a:gdLst>
                <a:gd name="T0" fmla="*/ 11 w 18"/>
                <a:gd name="T1" fmla="*/ 14 h 15"/>
                <a:gd name="T2" fmla="*/ 17 w 18"/>
                <a:gd name="T3" fmla="*/ 0 h 15"/>
                <a:gd name="T4" fmla="*/ 0 w 18"/>
                <a:gd name="T5" fmla="*/ 5 h 15"/>
                <a:gd name="T6" fmla="*/ 11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1" y="14"/>
                  </a:moveTo>
                  <a:cubicBezTo>
                    <a:pt x="14" y="8"/>
                    <a:pt x="14" y="5"/>
                    <a:pt x="17" y="0"/>
                  </a:cubicBezTo>
                  <a:cubicBezTo>
                    <a:pt x="11" y="3"/>
                    <a:pt x="6" y="5"/>
                    <a:pt x="0" y="5"/>
                  </a:cubicBezTo>
                  <a:cubicBezTo>
                    <a:pt x="3" y="8"/>
                    <a:pt x="9" y="11"/>
                    <a:pt x="11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7" name="Freeform 298"/>
            <p:cNvSpPr>
              <a:spLocks noChangeArrowheads="1"/>
            </p:cNvSpPr>
            <p:nvPr/>
          </p:nvSpPr>
          <p:spPr bwMode="auto">
            <a:xfrm>
              <a:off x="3932238" y="2106613"/>
              <a:ext cx="3175" cy="3175"/>
            </a:xfrm>
            <a:custGeom>
              <a:avLst/>
              <a:gdLst>
                <a:gd name="T0" fmla="*/ 6 w 7"/>
                <a:gd name="T1" fmla="*/ 3 h 7"/>
                <a:gd name="T2" fmla="*/ 6 w 7"/>
                <a:gd name="T3" fmla="*/ 0 h 7"/>
                <a:gd name="T4" fmla="*/ 0 w 7"/>
                <a:gd name="T5" fmla="*/ 3 h 7"/>
                <a:gd name="T6" fmla="*/ 6 w 7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6" y="3"/>
                  </a:moveTo>
                  <a:lnTo>
                    <a:pt x="6" y="0"/>
                  </a:lnTo>
                  <a:cubicBezTo>
                    <a:pt x="3" y="0"/>
                    <a:pt x="0" y="3"/>
                    <a:pt x="0" y="3"/>
                  </a:cubicBezTo>
                  <a:cubicBezTo>
                    <a:pt x="0" y="6"/>
                    <a:pt x="3" y="6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8" name="Freeform 299"/>
            <p:cNvSpPr>
              <a:spLocks noChangeArrowheads="1"/>
            </p:cNvSpPr>
            <p:nvPr/>
          </p:nvSpPr>
          <p:spPr bwMode="auto">
            <a:xfrm>
              <a:off x="3748088" y="2235200"/>
              <a:ext cx="4762" cy="3175"/>
            </a:xfrm>
            <a:custGeom>
              <a:avLst/>
              <a:gdLst>
                <a:gd name="T0" fmla="*/ 11 w 12"/>
                <a:gd name="T1" fmla="*/ 3 h 10"/>
                <a:gd name="T2" fmla="*/ 3 w 12"/>
                <a:gd name="T3" fmla="*/ 0 h 10"/>
                <a:gd name="T4" fmla="*/ 0 w 12"/>
                <a:gd name="T5" fmla="*/ 3 h 10"/>
                <a:gd name="T6" fmla="*/ 11 w 12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1" y="3"/>
                  </a:moveTo>
                  <a:cubicBezTo>
                    <a:pt x="8" y="6"/>
                    <a:pt x="5" y="0"/>
                    <a:pt x="3" y="0"/>
                  </a:cubicBezTo>
                  <a:lnTo>
                    <a:pt x="0" y="3"/>
                  </a:lnTo>
                  <a:cubicBezTo>
                    <a:pt x="3" y="3"/>
                    <a:pt x="11" y="9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9" name="Freeform 300"/>
            <p:cNvSpPr>
              <a:spLocks noChangeArrowheads="1"/>
            </p:cNvSpPr>
            <p:nvPr/>
          </p:nvSpPr>
          <p:spPr bwMode="auto">
            <a:xfrm>
              <a:off x="3851275" y="2149475"/>
              <a:ext cx="1588" cy="4763"/>
            </a:xfrm>
            <a:custGeom>
              <a:avLst/>
              <a:gdLst>
                <a:gd name="T0" fmla="*/ 3 w 4"/>
                <a:gd name="T1" fmla="*/ 14 h 15"/>
                <a:gd name="T2" fmla="*/ 3 w 4"/>
                <a:gd name="T3" fmla="*/ 0 h 15"/>
                <a:gd name="T4" fmla="*/ 0 w 4"/>
                <a:gd name="T5" fmla="*/ 0 h 15"/>
                <a:gd name="T6" fmla="*/ 3 w 4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5">
                  <a:moveTo>
                    <a:pt x="3" y="14"/>
                  </a:moveTo>
                  <a:cubicBezTo>
                    <a:pt x="3" y="8"/>
                    <a:pt x="3" y="5"/>
                    <a:pt x="3" y="0"/>
                  </a:cubicBezTo>
                  <a:lnTo>
                    <a:pt x="0" y="0"/>
                  </a:lnTo>
                  <a:cubicBezTo>
                    <a:pt x="3" y="5"/>
                    <a:pt x="3" y="11"/>
                    <a:pt x="3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0" name="Freeform 301"/>
            <p:cNvSpPr>
              <a:spLocks noChangeArrowheads="1"/>
            </p:cNvSpPr>
            <p:nvPr/>
          </p:nvSpPr>
          <p:spPr bwMode="auto">
            <a:xfrm>
              <a:off x="4541838" y="2439988"/>
              <a:ext cx="6350" cy="9525"/>
            </a:xfrm>
            <a:custGeom>
              <a:avLst/>
              <a:gdLst>
                <a:gd name="T0" fmla="*/ 3 w 18"/>
                <a:gd name="T1" fmla="*/ 23 h 27"/>
                <a:gd name="T2" fmla="*/ 3 w 18"/>
                <a:gd name="T3" fmla="*/ 23 h 27"/>
                <a:gd name="T4" fmla="*/ 17 w 18"/>
                <a:gd name="T5" fmla="*/ 23 h 27"/>
                <a:gd name="T6" fmla="*/ 14 w 18"/>
                <a:gd name="T7" fmla="*/ 9 h 27"/>
                <a:gd name="T8" fmla="*/ 0 w 18"/>
                <a:gd name="T9" fmla="*/ 9 h 27"/>
                <a:gd name="T10" fmla="*/ 3 w 18"/>
                <a:gd name="T11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7">
                  <a:moveTo>
                    <a:pt x="3" y="23"/>
                  </a:moveTo>
                  <a:cubicBezTo>
                    <a:pt x="3" y="26"/>
                    <a:pt x="6" y="26"/>
                    <a:pt x="3" y="23"/>
                  </a:cubicBezTo>
                  <a:cubicBezTo>
                    <a:pt x="12" y="20"/>
                    <a:pt x="9" y="23"/>
                    <a:pt x="17" y="23"/>
                  </a:cubicBezTo>
                  <a:cubicBezTo>
                    <a:pt x="17" y="17"/>
                    <a:pt x="14" y="14"/>
                    <a:pt x="14" y="9"/>
                  </a:cubicBezTo>
                  <a:cubicBezTo>
                    <a:pt x="9" y="3"/>
                    <a:pt x="3" y="0"/>
                    <a:pt x="0" y="9"/>
                  </a:cubicBezTo>
                  <a:cubicBezTo>
                    <a:pt x="6" y="9"/>
                    <a:pt x="0" y="20"/>
                    <a:pt x="3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1" name="Freeform 302"/>
            <p:cNvSpPr>
              <a:spLocks noChangeArrowheads="1"/>
            </p:cNvSpPr>
            <p:nvPr/>
          </p:nvSpPr>
          <p:spPr bwMode="auto">
            <a:xfrm>
              <a:off x="4122738" y="3081338"/>
              <a:ext cx="6350" cy="3175"/>
            </a:xfrm>
            <a:custGeom>
              <a:avLst/>
              <a:gdLst>
                <a:gd name="T0" fmla="*/ 3 w 17"/>
                <a:gd name="T1" fmla="*/ 0 h 10"/>
                <a:gd name="T2" fmla="*/ 0 w 17"/>
                <a:gd name="T3" fmla="*/ 9 h 10"/>
                <a:gd name="T4" fmla="*/ 7 w 17"/>
                <a:gd name="T5" fmla="*/ 9 h 10"/>
                <a:gd name="T6" fmla="*/ 16 w 17"/>
                <a:gd name="T7" fmla="*/ 9 h 10"/>
                <a:gd name="T8" fmla="*/ 3 w 1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0">
                  <a:moveTo>
                    <a:pt x="3" y="0"/>
                  </a:moveTo>
                  <a:cubicBezTo>
                    <a:pt x="3" y="0"/>
                    <a:pt x="0" y="6"/>
                    <a:pt x="0" y="9"/>
                  </a:cubicBezTo>
                  <a:cubicBezTo>
                    <a:pt x="3" y="9"/>
                    <a:pt x="6" y="9"/>
                    <a:pt x="7" y="9"/>
                  </a:cubicBezTo>
                  <a:cubicBezTo>
                    <a:pt x="10" y="9"/>
                    <a:pt x="13" y="9"/>
                    <a:pt x="16" y="9"/>
                  </a:cubicBezTo>
                  <a:cubicBezTo>
                    <a:pt x="16" y="3"/>
                    <a:pt x="10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2" name="Freeform 303"/>
            <p:cNvSpPr>
              <a:spLocks noChangeArrowheads="1"/>
            </p:cNvSpPr>
            <p:nvPr/>
          </p:nvSpPr>
          <p:spPr bwMode="auto">
            <a:xfrm>
              <a:off x="3767138" y="2936875"/>
              <a:ext cx="1587" cy="1588"/>
            </a:xfrm>
            <a:custGeom>
              <a:avLst/>
              <a:gdLst>
                <a:gd name="T0" fmla="*/ 0 w 4"/>
                <a:gd name="T1" fmla="*/ 0 h 3"/>
                <a:gd name="T2" fmla="*/ 0 w 4"/>
                <a:gd name="T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cubicBezTo>
                    <a:pt x="0" y="0"/>
                    <a:pt x="3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3" name="Freeform 304"/>
            <p:cNvSpPr>
              <a:spLocks noChangeArrowheads="1"/>
            </p:cNvSpPr>
            <p:nvPr/>
          </p:nvSpPr>
          <p:spPr bwMode="auto">
            <a:xfrm>
              <a:off x="3725863" y="2890838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5 w 9"/>
                <a:gd name="T3" fmla="*/ 11 h 12"/>
                <a:gd name="T4" fmla="*/ 8 w 9"/>
                <a:gd name="T5" fmla="*/ 3 h 12"/>
                <a:gd name="T6" fmla="*/ 0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2" y="5"/>
                    <a:pt x="2" y="8"/>
                    <a:pt x="5" y="11"/>
                  </a:cubicBezTo>
                  <a:cubicBezTo>
                    <a:pt x="5" y="8"/>
                    <a:pt x="8" y="5"/>
                    <a:pt x="8" y="3"/>
                  </a:cubicBezTo>
                  <a:cubicBezTo>
                    <a:pt x="5" y="0"/>
                    <a:pt x="2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4" name="Freeform 305"/>
            <p:cNvSpPr>
              <a:spLocks noChangeArrowheads="1"/>
            </p:cNvSpPr>
            <p:nvPr/>
          </p:nvSpPr>
          <p:spPr bwMode="auto">
            <a:xfrm>
              <a:off x="3665538" y="2790825"/>
              <a:ext cx="3175" cy="4763"/>
            </a:xfrm>
            <a:custGeom>
              <a:avLst/>
              <a:gdLst>
                <a:gd name="T0" fmla="*/ 0 w 10"/>
                <a:gd name="T1" fmla="*/ 0 h 13"/>
                <a:gd name="T2" fmla="*/ 6 w 10"/>
                <a:gd name="T3" fmla="*/ 12 h 13"/>
                <a:gd name="T4" fmla="*/ 9 w 10"/>
                <a:gd name="T5" fmla="*/ 0 h 13"/>
                <a:gd name="T6" fmla="*/ 0 w 1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0" y="0"/>
                  </a:moveTo>
                  <a:cubicBezTo>
                    <a:pt x="3" y="3"/>
                    <a:pt x="3" y="9"/>
                    <a:pt x="6" y="12"/>
                  </a:cubicBezTo>
                  <a:cubicBezTo>
                    <a:pt x="6" y="9"/>
                    <a:pt x="9" y="3"/>
                    <a:pt x="9" y="0"/>
                  </a:cubicBezTo>
                  <a:cubicBezTo>
                    <a:pt x="6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5" name="Freeform 306"/>
            <p:cNvSpPr>
              <a:spLocks noChangeArrowheads="1"/>
            </p:cNvSpPr>
            <p:nvPr/>
          </p:nvSpPr>
          <p:spPr bwMode="auto">
            <a:xfrm>
              <a:off x="3987800" y="3063875"/>
              <a:ext cx="4763" cy="3175"/>
            </a:xfrm>
            <a:custGeom>
              <a:avLst/>
              <a:gdLst>
                <a:gd name="T0" fmla="*/ 8 w 15"/>
                <a:gd name="T1" fmla="*/ 0 h 7"/>
                <a:gd name="T2" fmla="*/ 5 w 15"/>
                <a:gd name="T3" fmla="*/ 3 h 7"/>
                <a:gd name="T4" fmla="*/ 0 w 15"/>
                <a:gd name="T5" fmla="*/ 0 h 7"/>
                <a:gd name="T6" fmla="*/ 0 w 15"/>
                <a:gd name="T7" fmla="*/ 0 h 7"/>
                <a:gd name="T8" fmla="*/ 0 w 15"/>
                <a:gd name="T9" fmla="*/ 3 h 7"/>
                <a:gd name="T10" fmla="*/ 11 w 15"/>
                <a:gd name="T11" fmla="*/ 6 h 7"/>
                <a:gd name="T12" fmla="*/ 11 w 15"/>
                <a:gd name="T13" fmla="*/ 6 h 7"/>
                <a:gd name="T14" fmla="*/ 11 w 15"/>
                <a:gd name="T15" fmla="*/ 6 h 7"/>
                <a:gd name="T16" fmla="*/ 11 w 15"/>
                <a:gd name="T17" fmla="*/ 6 h 7"/>
                <a:gd name="T18" fmla="*/ 8 w 15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7">
                  <a:moveTo>
                    <a:pt x="8" y="0"/>
                  </a:moveTo>
                  <a:lnTo>
                    <a:pt x="5" y="3"/>
                  </a:lnTo>
                  <a:cubicBezTo>
                    <a:pt x="2" y="3"/>
                    <a:pt x="2" y="0"/>
                    <a:pt x="0" y="0"/>
                  </a:cubicBezTo>
                  <a:lnTo>
                    <a:pt x="0" y="0"/>
                  </a:lnTo>
                  <a:lnTo>
                    <a:pt x="0" y="3"/>
                  </a:lnTo>
                  <a:cubicBezTo>
                    <a:pt x="2" y="3"/>
                    <a:pt x="5" y="6"/>
                    <a:pt x="11" y="6"/>
                  </a:cubicBez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cubicBezTo>
                    <a:pt x="14" y="6"/>
                    <a:pt x="11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6" name="Freeform 307"/>
            <p:cNvSpPr>
              <a:spLocks noChangeArrowheads="1"/>
            </p:cNvSpPr>
            <p:nvPr/>
          </p:nvSpPr>
          <p:spPr bwMode="auto">
            <a:xfrm>
              <a:off x="3938588" y="3046413"/>
              <a:ext cx="3175" cy="3175"/>
            </a:xfrm>
            <a:custGeom>
              <a:avLst/>
              <a:gdLst>
                <a:gd name="T0" fmla="*/ 3 w 7"/>
                <a:gd name="T1" fmla="*/ 0 h 7"/>
                <a:gd name="T2" fmla="*/ 0 w 7"/>
                <a:gd name="T3" fmla="*/ 3 h 7"/>
                <a:gd name="T4" fmla="*/ 3 w 7"/>
                <a:gd name="T5" fmla="*/ 3 h 7"/>
                <a:gd name="T6" fmla="*/ 3 w 7"/>
                <a:gd name="T7" fmla="*/ 0 h 7"/>
                <a:gd name="T8" fmla="*/ 6 w 7"/>
                <a:gd name="T9" fmla="*/ 6 h 7"/>
                <a:gd name="T10" fmla="*/ 3 w 7"/>
                <a:gd name="T11" fmla="*/ 3 h 7"/>
                <a:gd name="T12" fmla="*/ 6 w 7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7">
                  <a:moveTo>
                    <a:pt x="3" y="0"/>
                  </a:moveTo>
                  <a:lnTo>
                    <a:pt x="0" y="3"/>
                  </a:ln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1"/>
                    <a:pt x="3" y="0"/>
                  </a:cubicBezTo>
                  <a:close/>
                  <a:moveTo>
                    <a:pt x="6" y="6"/>
                  </a:moveTo>
                  <a:cubicBezTo>
                    <a:pt x="4" y="6"/>
                    <a:pt x="4" y="5"/>
                    <a:pt x="3" y="3"/>
                  </a:cubicBezTo>
                  <a:cubicBezTo>
                    <a:pt x="4" y="4"/>
                    <a:pt x="5" y="5"/>
                    <a:pt x="6" y="6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7" name="Freeform 308"/>
            <p:cNvSpPr>
              <a:spLocks noChangeArrowheads="1"/>
            </p:cNvSpPr>
            <p:nvPr/>
          </p:nvSpPr>
          <p:spPr bwMode="auto">
            <a:xfrm>
              <a:off x="3652838" y="2755900"/>
              <a:ext cx="1587" cy="3175"/>
            </a:xfrm>
            <a:custGeom>
              <a:avLst/>
              <a:gdLst>
                <a:gd name="T0" fmla="*/ 3 w 4"/>
                <a:gd name="T1" fmla="*/ 0 h 10"/>
                <a:gd name="T2" fmla="*/ 0 w 4"/>
                <a:gd name="T3" fmla="*/ 6 h 10"/>
                <a:gd name="T4" fmla="*/ 0 w 4"/>
                <a:gd name="T5" fmla="*/ 9 h 10"/>
                <a:gd name="T6" fmla="*/ 3 w 4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0"/>
                  </a:moveTo>
                  <a:cubicBezTo>
                    <a:pt x="0" y="3"/>
                    <a:pt x="0" y="3"/>
                    <a:pt x="0" y="6"/>
                  </a:cubicBezTo>
                  <a:lnTo>
                    <a:pt x="0" y="9"/>
                  </a:lnTo>
                  <a:cubicBezTo>
                    <a:pt x="0" y="6"/>
                    <a:pt x="3" y="6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8" name="Freeform 309"/>
            <p:cNvSpPr>
              <a:spLocks noChangeArrowheads="1"/>
            </p:cNvSpPr>
            <p:nvPr/>
          </p:nvSpPr>
          <p:spPr bwMode="auto">
            <a:xfrm>
              <a:off x="3889375" y="3024188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0 w 9"/>
                <a:gd name="T3" fmla="*/ 6 h 10"/>
                <a:gd name="T4" fmla="*/ 8 w 9"/>
                <a:gd name="T5" fmla="*/ 9 h 10"/>
                <a:gd name="T6" fmla="*/ 8 w 9"/>
                <a:gd name="T7" fmla="*/ 0 h 10"/>
                <a:gd name="T8" fmla="*/ 0 w 9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lnTo>
                    <a:pt x="0" y="6"/>
                  </a:lnTo>
                  <a:cubicBezTo>
                    <a:pt x="3" y="9"/>
                    <a:pt x="6" y="9"/>
                    <a:pt x="8" y="9"/>
                  </a:cubicBezTo>
                  <a:cubicBezTo>
                    <a:pt x="8" y="6"/>
                    <a:pt x="8" y="3"/>
                    <a:pt x="8" y="0"/>
                  </a:cubicBezTo>
                  <a:cubicBezTo>
                    <a:pt x="6" y="3"/>
                    <a:pt x="3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9" name="Freeform 310"/>
            <p:cNvSpPr>
              <a:spLocks noChangeArrowheads="1"/>
            </p:cNvSpPr>
            <p:nvPr/>
          </p:nvSpPr>
          <p:spPr bwMode="auto">
            <a:xfrm>
              <a:off x="3765550" y="2930525"/>
              <a:ext cx="4763" cy="4763"/>
            </a:xfrm>
            <a:custGeom>
              <a:avLst/>
              <a:gdLst>
                <a:gd name="T0" fmla="*/ 14 w 15"/>
                <a:gd name="T1" fmla="*/ 0 h 15"/>
                <a:gd name="T2" fmla="*/ 6 w 15"/>
                <a:gd name="T3" fmla="*/ 2 h 15"/>
                <a:gd name="T4" fmla="*/ 6 w 15"/>
                <a:gd name="T5" fmla="*/ 8 h 15"/>
                <a:gd name="T6" fmla="*/ 8 w 15"/>
                <a:gd name="T7" fmla="*/ 8 h 15"/>
                <a:gd name="T8" fmla="*/ 0 w 15"/>
                <a:gd name="T9" fmla="*/ 11 h 15"/>
                <a:gd name="T10" fmla="*/ 3 w 15"/>
                <a:gd name="T11" fmla="*/ 14 h 15"/>
                <a:gd name="T12" fmla="*/ 11 w 15"/>
                <a:gd name="T13" fmla="*/ 14 h 15"/>
                <a:gd name="T14" fmla="*/ 14 w 15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14" y="0"/>
                  </a:moveTo>
                  <a:cubicBezTo>
                    <a:pt x="11" y="0"/>
                    <a:pt x="8" y="0"/>
                    <a:pt x="6" y="2"/>
                  </a:cubicBezTo>
                  <a:cubicBezTo>
                    <a:pt x="6" y="5"/>
                    <a:pt x="6" y="5"/>
                    <a:pt x="6" y="8"/>
                  </a:cubicBezTo>
                  <a:cubicBezTo>
                    <a:pt x="6" y="8"/>
                    <a:pt x="6" y="8"/>
                    <a:pt x="8" y="8"/>
                  </a:cubicBezTo>
                  <a:cubicBezTo>
                    <a:pt x="6" y="8"/>
                    <a:pt x="3" y="11"/>
                    <a:pt x="0" y="11"/>
                  </a:cubicBezTo>
                  <a:lnTo>
                    <a:pt x="3" y="14"/>
                  </a:lnTo>
                  <a:cubicBezTo>
                    <a:pt x="6" y="14"/>
                    <a:pt x="8" y="14"/>
                    <a:pt x="11" y="14"/>
                  </a:cubicBezTo>
                  <a:cubicBezTo>
                    <a:pt x="11" y="8"/>
                    <a:pt x="14" y="5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0" name="Freeform 311"/>
            <p:cNvSpPr>
              <a:spLocks noChangeArrowheads="1"/>
            </p:cNvSpPr>
            <p:nvPr/>
          </p:nvSpPr>
          <p:spPr bwMode="auto">
            <a:xfrm>
              <a:off x="3624263" y="2492375"/>
              <a:ext cx="1587" cy="317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0 h 7"/>
                <a:gd name="T4" fmla="*/ 5 w 6"/>
                <a:gd name="T5" fmla="*/ 6 h 7"/>
                <a:gd name="T6" fmla="*/ 0 w 6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lnTo>
                    <a:pt x="0" y="0"/>
                  </a:lnTo>
                  <a:cubicBezTo>
                    <a:pt x="2" y="3"/>
                    <a:pt x="5" y="3"/>
                    <a:pt x="5" y="6"/>
                  </a:cubicBezTo>
                  <a:cubicBezTo>
                    <a:pt x="5" y="3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1" name="Freeform 312"/>
            <p:cNvSpPr>
              <a:spLocks noChangeArrowheads="1"/>
            </p:cNvSpPr>
            <p:nvPr/>
          </p:nvSpPr>
          <p:spPr bwMode="auto">
            <a:xfrm>
              <a:off x="3619500" y="2532063"/>
              <a:ext cx="3175" cy="3175"/>
            </a:xfrm>
            <a:custGeom>
              <a:avLst/>
              <a:gdLst>
                <a:gd name="T0" fmla="*/ 3 w 7"/>
                <a:gd name="T1" fmla="*/ 8 h 9"/>
                <a:gd name="T2" fmla="*/ 6 w 7"/>
                <a:gd name="T3" fmla="*/ 6 h 9"/>
                <a:gd name="T4" fmla="*/ 0 w 7"/>
                <a:gd name="T5" fmla="*/ 0 h 9"/>
                <a:gd name="T6" fmla="*/ 0 w 7"/>
                <a:gd name="T7" fmla="*/ 3 h 9"/>
                <a:gd name="T8" fmla="*/ 3 w 7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lnTo>
                    <a:pt x="6" y="6"/>
                  </a:lnTo>
                  <a:cubicBezTo>
                    <a:pt x="6" y="3"/>
                    <a:pt x="6" y="0"/>
                    <a:pt x="0" y="0"/>
                  </a:cubicBezTo>
                  <a:lnTo>
                    <a:pt x="0" y="3"/>
                  </a:lnTo>
                  <a:cubicBezTo>
                    <a:pt x="0" y="3"/>
                    <a:pt x="0" y="8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2" name="Freeform 313"/>
            <p:cNvSpPr>
              <a:spLocks noChangeArrowheads="1"/>
            </p:cNvSpPr>
            <p:nvPr/>
          </p:nvSpPr>
          <p:spPr bwMode="auto">
            <a:xfrm>
              <a:off x="3624263" y="2654300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  <a:gd name="T4" fmla="*/ 0 w 4"/>
                <a:gd name="T5" fmla="*/ 3 h 4"/>
                <a:gd name="T6" fmla="*/ 3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0" y="3"/>
                    <a:pt x="3" y="0"/>
                  </a:cubicBezTo>
                  <a:lnTo>
                    <a:pt x="0" y="3"/>
                  </a:lnTo>
                  <a:cubicBezTo>
                    <a:pt x="0" y="3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3" name="Freeform 314"/>
            <p:cNvSpPr>
              <a:spLocks noChangeArrowheads="1"/>
            </p:cNvSpPr>
            <p:nvPr/>
          </p:nvSpPr>
          <p:spPr bwMode="auto">
            <a:xfrm>
              <a:off x="3635375" y="2436813"/>
              <a:ext cx="15875" cy="7937"/>
            </a:xfrm>
            <a:custGeom>
              <a:avLst/>
              <a:gdLst>
                <a:gd name="T0" fmla="*/ 17 w 43"/>
                <a:gd name="T1" fmla="*/ 11 h 23"/>
                <a:gd name="T2" fmla="*/ 17 w 43"/>
                <a:gd name="T3" fmla="*/ 8 h 23"/>
                <a:gd name="T4" fmla="*/ 22 w 43"/>
                <a:gd name="T5" fmla="*/ 8 h 23"/>
                <a:gd name="T6" fmla="*/ 22 w 43"/>
                <a:gd name="T7" fmla="*/ 11 h 23"/>
                <a:gd name="T8" fmla="*/ 42 w 43"/>
                <a:gd name="T9" fmla="*/ 0 h 23"/>
                <a:gd name="T10" fmla="*/ 39 w 43"/>
                <a:gd name="T11" fmla="*/ 0 h 23"/>
                <a:gd name="T12" fmla="*/ 25 w 43"/>
                <a:gd name="T13" fmla="*/ 8 h 23"/>
                <a:gd name="T14" fmla="*/ 25 w 43"/>
                <a:gd name="T15" fmla="*/ 3 h 23"/>
                <a:gd name="T16" fmla="*/ 5 w 43"/>
                <a:gd name="T17" fmla="*/ 11 h 23"/>
                <a:gd name="T18" fmla="*/ 3 w 43"/>
                <a:gd name="T19" fmla="*/ 11 h 23"/>
                <a:gd name="T20" fmla="*/ 0 w 43"/>
                <a:gd name="T21" fmla="*/ 22 h 23"/>
                <a:gd name="T22" fmla="*/ 0 w 43"/>
                <a:gd name="T23" fmla="*/ 22 h 23"/>
                <a:gd name="T24" fmla="*/ 0 w 43"/>
                <a:gd name="T25" fmla="*/ 22 h 23"/>
                <a:gd name="T26" fmla="*/ 0 w 43"/>
                <a:gd name="T27" fmla="*/ 22 h 23"/>
                <a:gd name="T28" fmla="*/ 5 w 43"/>
                <a:gd name="T29" fmla="*/ 19 h 23"/>
                <a:gd name="T30" fmla="*/ 17 w 43"/>
                <a:gd name="T31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" h="23">
                  <a:moveTo>
                    <a:pt x="17" y="11"/>
                  </a:moveTo>
                  <a:lnTo>
                    <a:pt x="17" y="8"/>
                  </a:lnTo>
                  <a:lnTo>
                    <a:pt x="22" y="8"/>
                  </a:lnTo>
                  <a:lnTo>
                    <a:pt x="22" y="11"/>
                  </a:lnTo>
                  <a:cubicBezTo>
                    <a:pt x="28" y="8"/>
                    <a:pt x="36" y="5"/>
                    <a:pt x="42" y="0"/>
                  </a:cubicBezTo>
                  <a:lnTo>
                    <a:pt x="39" y="0"/>
                  </a:lnTo>
                  <a:cubicBezTo>
                    <a:pt x="34" y="0"/>
                    <a:pt x="34" y="8"/>
                    <a:pt x="25" y="8"/>
                  </a:cubicBezTo>
                  <a:cubicBezTo>
                    <a:pt x="25" y="5"/>
                    <a:pt x="25" y="3"/>
                    <a:pt x="25" y="3"/>
                  </a:cubicBezTo>
                  <a:cubicBezTo>
                    <a:pt x="19" y="5"/>
                    <a:pt x="14" y="8"/>
                    <a:pt x="5" y="11"/>
                  </a:cubicBezTo>
                  <a:lnTo>
                    <a:pt x="3" y="11"/>
                  </a:lnTo>
                  <a:cubicBezTo>
                    <a:pt x="3" y="14"/>
                    <a:pt x="0" y="17"/>
                    <a:pt x="0" y="22"/>
                  </a:cubicBez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cubicBezTo>
                    <a:pt x="3" y="22"/>
                    <a:pt x="3" y="22"/>
                    <a:pt x="5" y="19"/>
                  </a:cubicBezTo>
                  <a:cubicBezTo>
                    <a:pt x="8" y="14"/>
                    <a:pt x="14" y="14"/>
                    <a:pt x="17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4" name="Freeform 315"/>
            <p:cNvSpPr>
              <a:spLocks noChangeArrowheads="1"/>
            </p:cNvSpPr>
            <p:nvPr/>
          </p:nvSpPr>
          <p:spPr bwMode="auto">
            <a:xfrm>
              <a:off x="3616325" y="2573338"/>
              <a:ext cx="4763" cy="6350"/>
            </a:xfrm>
            <a:custGeom>
              <a:avLst/>
              <a:gdLst>
                <a:gd name="T0" fmla="*/ 8 w 12"/>
                <a:gd name="T1" fmla="*/ 2 h 19"/>
                <a:gd name="T2" fmla="*/ 0 w 12"/>
                <a:gd name="T3" fmla="*/ 0 h 19"/>
                <a:gd name="T4" fmla="*/ 0 w 12"/>
                <a:gd name="T5" fmla="*/ 7 h 19"/>
                <a:gd name="T6" fmla="*/ 0 w 12"/>
                <a:gd name="T7" fmla="*/ 16 h 19"/>
                <a:gd name="T8" fmla="*/ 8 w 12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">
                  <a:moveTo>
                    <a:pt x="8" y="2"/>
                  </a:moveTo>
                  <a:cubicBezTo>
                    <a:pt x="8" y="2"/>
                    <a:pt x="3" y="0"/>
                    <a:pt x="0" y="0"/>
                  </a:cubicBezTo>
                  <a:cubicBezTo>
                    <a:pt x="0" y="3"/>
                    <a:pt x="0" y="4"/>
                    <a:pt x="0" y="7"/>
                  </a:cubicBezTo>
                  <a:cubicBezTo>
                    <a:pt x="0" y="10"/>
                    <a:pt x="0" y="13"/>
                    <a:pt x="0" y="16"/>
                  </a:cubicBezTo>
                  <a:cubicBezTo>
                    <a:pt x="8" y="18"/>
                    <a:pt x="11" y="13"/>
                    <a:pt x="8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5" name="Freeform 316"/>
            <p:cNvSpPr>
              <a:spLocks noChangeArrowheads="1"/>
            </p:cNvSpPr>
            <p:nvPr/>
          </p:nvSpPr>
          <p:spPr bwMode="auto">
            <a:xfrm>
              <a:off x="3621088" y="2632075"/>
              <a:ext cx="3175" cy="3175"/>
            </a:xfrm>
            <a:custGeom>
              <a:avLst/>
              <a:gdLst>
                <a:gd name="T0" fmla="*/ 6 w 7"/>
                <a:gd name="T1" fmla="*/ 3 h 10"/>
                <a:gd name="T2" fmla="*/ 0 w 7"/>
                <a:gd name="T3" fmla="*/ 0 h 10"/>
                <a:gd name="T4" fmla="*/ 0 w 7"/>
                <a:gd name="T5" fmla="*/ 6 h 10"/>
                <a:gd name="T6" fmla="*/ 6 w 7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3"/>
                  </a:moveTo>
                  <a:cubicBezTo>
                    <a:pt x="3" y="3"/>
                    <a:pt x="3" y="3"/>
                    <a:pt x="0" y="0"/>
                  </a:cubicBezTo>
                  <a:cubicBezTo>
                    <a:pt x="0" y="3"/>
                    <a:pt x="0" y="3"/>
                    <a:pt x="0" y="6"/>
                  </a:cubicBezTo>
                  <a:cubicBezTo>
                    <a:pt x="3" y="9"/>
                    <a:pt x="6" y="6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6" name="Freeform 317"/>
            <p:cNvSpPr>
              <a:spLocks noChangeArrowheads="1"/>
            </p:cNvSpPr>
            <p:nvPr/>
          </p:nvSpPr>
          <p:spPr bwMode="auto">
            <a:xfrm>
              <a:off x="4176713" y="3076575"/>
              <a:ext cx="12700" cy="4763"/>
            </a:xfrm>
            <a:custGeom>
              <a:avLst/>
              <a:gdLst>
                <a:gd name="T0" fmla="*/ 0 w 35"/>
                <a:gd name="T1" fmla="*/ 11 h 12"/>
                <a:gd name="T2" fmla="*/ 0 w 35"/>
                <a:gd name="T3" fmla="*/ 11 h 12"/>
                <a:gd name="T4" fmla="*/ 34 w 35"/>
                <a:gd name="T5" fmla="*/ 8 h 12"/>
                <a:gd name="T6" fmla="*/ 34 w 35"/>
                <a:gd name="T7" fmla="*/ 8 h 12"/>
                <a:gd name="T8" fmla="*/ 0 w 35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2">
                  <a:moveTo>
                    <a:pt x="0" y="11"/>
                  </a:moveTo>
                  <a:lnTo>
                    <a:pt x="0" y="11"/>
                  </a:lnTo>
                  <a:cubicBezTo>
                    <a:pt x="12" y="11"/>
                    <a:pt x="23" y="11"/>
                    <a:pt x="34" y="8"/>
                  </a:cubicBezTo>
                  <a:lnTo>
                    <a:pt x="34" y="8"/>
                  </a:lnTo>
                  <a:cubicBezTo>
                    <a:pt x="23" y="0"/>
                    <a:pt x="9" y="3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7" name="Freeform 318"/>
            <p:cNvSpPr>
              <a:spLocks noChangeArrowheads="1"/>
            </p:cNvSpPr>
            <p:nvPr/>
          </p:nvSpPr>
          <p:spPr bwMode="auto">
            <a:xfrm>
              <a:off x="4479925" y="2933700"/>
              <a:ext cx="4763" cy="3175"/>
            </a:xfrm>
            <a:custGeom>
              <a:avLst/>
              <a:gdLst>
                <a:gd name="T0" fmla="*/ 14 w 15"/>
                <a:gd name="T1" fmla="*/ 3 h 10"/>
                <a:gd name="T2" fmla="*/ 14 w 15"/>
                <a:gd name="T3" fmla="*/ 3 h 10"/>
                <a:gd name="T4" fmla="*/ 14 w 15"/>
                <a:gd name="T5" fmla="*/ 3 h 10"/>
                <a:gd name="T6" fmla="*/ 0 w 15"/>
                <a:gd name="T7" fmla="*/ 9 h 10"/>
                <a:gd name="T8" fmla="*/ 9 w 15"/>
                <a:gd name="T9" fmla="*/ 9 h 10"/>
                <a:gd name="T10" fmla="*/ 14 w 15"/>
                <a:gd name="T1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0">
                  <a:moveTo>
                    <a:pt x="14" y="3"/>
                  </a:moveTo>
                  <a:lnTo>
                    <a:pt x="14" y="3"/>
                  </a:lnTo>
                  <a:lnTo>
                    <a:pt x="14" y="3"/>
                  </a:lnTo>
                  <a:cubicBezTo>
                    <a:pt x="6" y="0"/>
                    <a:pt x="0" y="0"/>
                    <a:pt x="0" y="9"/>
                  </a:cubicBezTo>
                  <a:cubicBezTo>
                    <a:pt x="3" y="9"/>
                    <a:pt x="6" y="9"/>
                    <a:pt x="9" y="9"/>
                  </a:cubicBezTo>
                  <a:cubicBezTo>
                    <a:pt x="11" y="9"/>
                    <a:pt x="11" y="6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8" name="Freeform 319"/>
            <p:cNvSpPr>
              <a:spLocks noChangeArrowheads="1"/>
            </p:cNvSpPr>
            <p:nvPr/>
          </p:nvSpPr>
          <p:spPr bwMode="auto">
            <a:xfrm>
              <a:off x="4451350" y="2963863"/>
              <a:ext cx="3175" cy="3175"/>
            </a:xfrm>
            <a:custGeom>
              <a:avLst/>
              <a:gdLst>
                <a:gd name="T0" fmla="*/ 0 w 7"/>
                <a:gd name="T1" fmla="*/ 3 h 7"/>
                <a:gd name="T2" fmla="*/ 0 w 7"/>
                <a:gd name="T3" fmla="*/ 6 h 7"/>
                <a:gd name="T4" fmla="*/ 6 w 7"/>
                <a:gd name="T5" fmla="*/ 0 h 7"/>
                <a:gd name="T6" fmla="*/ 0 w 7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3"/>
                  </a:moveTo>
                  <a:lnTo>
                    <a:pt x="0" y="6"/>
                  </a:lnTo>
                  <a:cubicBezTo>
                    <a:pt x="3" y="3"/>
                    <a:pt x="3" y="3"/>
                    <a:pt x="6" y="0"/>
                  </a:cubicBezTo>
                  <a:cubicBezTo>
                    <a:pt x="3" y="0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9" name="Freeform 320"/>
            <p:cNvSpPr>
              <a:spLocks noChangeArrowheads="1"/>
            </p:cNvSpPr>
            <p:nvPr/>
          </p:nvSpPr>
          <p:spPr bwMode="auto">
            <a:xfrm>
              <a:off x="4486275" y="2932113"/>
              <a:ext cx="1588" cy="3175"/>
            </a:xfrm>
            <a:custGeom>
              <a:avLst/>
              <a:gdLst>
                <a:gd name="T0" fmla="*/ 3 w 4"/>
                <a:gd name="T1" fmla="*/ 0 h 7"/>
                <a:gd name="T2" fmla="*/ 0 w 4"/>
                <a:gd name="T3" fmla="*/ 0 h 7"/>
                <a:gd name="T4" fmla="*/ 0 w 4"/>
                <a:gd name="T5" fmla="*/ 0 h 7"/>
                <a:gd name="T6" fmla="*/ 0 w 4"/>
                <a:gd name="T7" fmla="*/ 6 h 7"/>
                <a:gd name="T8" fmla="*/ 0 w 4"/>
                <a:gd name="T9" fmla="*/ 6 h 7"/>
                <a:gd name="T10" fmla="*/ 3 w 4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7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0" y="6"/>
                  </a:cubicBezTo>
                  <a:lnTo>
                    <a:pt x="0" y="6"/>
                  </a:lnTo>
                  <a:cubicBezTo>
                    <a:pt x="3" y="6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0" name="Freeform 321"/>
            <p:cNvSpPr>
              <a:spLocks noChangeArrowheads="1"/>
            </p:cNvSpPr>
            <p:nvPr/>
          </p:nvSpPr>
          <p:spPr bwMode="auto">
            <a:xfrm>
              <a:off x="4146550" y="3076575"/>
              <a:ext cx="4763" cy="7938"/>
            </a:xfrm>
            <a:custGeom>
              <a:avLst/>
              <a:gdLst>
                <a:gd name="T0" fmla="*/ 11 w 12"/>
                <a:gd name="T1" fmla="*/ 3 h 21"/>
                <a:gd name="T2" fmla="*/ 8 w 12"/>
                <a:gd name="T3" fmla="*/ 0 h 21"/>
                <a:gd name="T4" fmla="*/ 0 w 12"/>
                <a:gd name="T5" fmla="*/ 14 h 21"/>
                <a:gd name="T6" fmla="*/ 0 w 12"/>
                <a:gd name="T7" fmla="*/ 17 h 21"/>
                <a:gd name="T8" fmla="*/ 3 w 12"/>
                <a:gd name="T9" fmla="*/ 20 h 21"/>
                <a:gd name="T10" fmla="*/ 3 w 12"/>
                <a:gd name="T11" fmla="*/ 20 h 21"/>
                <a:gd name="T12" fmla="*/ 11 w 12"/>
                <a:gd name="T13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1">
                  <a:moveTo>
                    <a:pt x="11" y="3"/>
                  </a:moveTo>
                  <a:lnTo>
                    <a:pt x="8" y="0"/>
                  </a:lnTo>
                  <a:cubicBezTo>
                    <a:pt x="5" y="5"/>
                    <a:pt x="3" y="11"/>
                    <a:pt x="0" y="14"/>
                  </a:cubicBezTo>
                  <a:cubicBezTo>
                    <a:pt x="0" y="14"/>
                    <a:pt x="0" y="14"/>
                    <a:pt x="0" y="17"/>
                  </a:cubicBezTo>
                  <a:lnTo>
                    <a:pt x="3" y="20"/>
                  </a:lnTo>
                  <a:lnTo>
                    <a:pt x="3" y="20"/>
                  </a:lnTo>
                  <a:cubicBezTo>
                    <a:pt x="5" y="14"/>
                    <a:pt x="8" y="8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1" name="Freeform 322"/>
            <p:cNvSpPr>
              <a:spLocks noChangeArrowheads="1"/>
            </p:cNvSpPr>
            <p:nvPr/>
          </p:nvSpPr>
          <p:spPr bwMode="auto">
            <a:xfrm>
              <a:off x="4154488" y="3081338"/>
              <a:ext cx="3175" cy="1587"/>
            </a:xfrm>
            <a:custGeom>
              <a:avLst/>
              <a:gdLst>
                <a:gd name="T0" fmla="*/ 0 w 7"/>
                <a:gd name="T1" fmla="*/ 0 h 4"/>
                <a:gd name="T2" fmla="*/ 0 w 7"/>
                <a:gd name="T3" fmla="*/ 0 h 4"/>
                <a:gd name="T4" fmla="*/ 6 w 7"/>
                <a:gd name="T5" fmla="*/ 3 h 4"/>
                <a:gd name="T6" fmla="*/ 0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lnTo>
                    <a:pt x="0" y="0"/>
                  </a:lnTo>
                  <a:cubicBezTo>
                    <a:pt x="0" y="3"/>
                    <a:pt x="3" y="3"/>
                    <a:pt x="6" y="3"/>
                  </a:cubicBezTo>
                  <a:cubicBezTo>
                    <a:pt x="3" y="3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2" name="Freeform 323"/>
            <p:cNvSpPr>
              <a:spLocks noChangeArrowheads="1"/>
            </p:cNvSpPr>
            <p:nvPr/>
          </p:nvSpPr>
          <p:spPr bwMode="auto">
            <a:xfrm>
              <a:off x="3741738" y="2244725"/>
              <a:ext cx="1587" cy="1588"/>
            </a:xfrm>
            <a:custGeom>
              <a:avLst/>
              <a:gdLst>
                <a:gd name="T0" fmla="*/ 0 w 1"/>
                <a:gd name="T1" fmla="*/ 3 h 4"/>
                <a:gd name="T2" fmla="*/ 0 w 1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4">
                  <a:moveTo>
                    <a:pt x="0" y="3"/>
                  </a:moveTo>
                  <a:cubicBezTo>
                    <a:pt x="0" y="3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3" name="Freeform 324"/>
            <p:cNvSpPr>
              <a:spLocks noChangeArrowheads="1"/>
            </p:cNvSpPr>
            <p:nvPr/>
          </p:nvSpPr>
          <p:spPr bwMode="auto">
            <a:xfrm>
              <a:off x="4440238" y="2963863"/>
              <a:ext cx="6350" cy="9525"/>
            </a:xfrm>
            <a:custGeom>
              <a:avLst/>
              <a:gdLst>
                <a:gd name="T0" fmla="*/ 0 w 18"/>
                <a:gd name="T1" fmla="*/ 0 h 26"/>
                <a:gd name="T2" fmla="*/ 0 w 18"/>
                <a:gd name="T3" fmla="*/ 6 h 26"/>
                <a:gd name="T4" fmla="*/ 3 w 18"/>
                <a:gd name="T5" fmla="*/ 22 h 26"/>
                <a:gd name="T6" fmla="*/ 12 w 18"/>
                <a:gd name="T7" fmla="*/ 25 h 26"/>
                <a:gd name="T8" fmla="*/ 14 w 18"/>
                <a:gd name="T9" fmla="*/ 25 h 26"/>
                <a:gd name="T10" fmla="*/ 17 w 18"/>
                <a:gd name="T11" fmla="*/ 22 h 26"/>
                <a:gd name="T12" fmla="*/ 14 w 18"/>
                <a:gd name="T13" fmla="*/ 3 h 26"/>
                <a:gd name="T14" fmla="*/ 0 w 18"/>
                <a:gd name="T1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6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0" y="11"/>
                    <a:pt x="0" y="17"/>
                    <a:pt x="3" y="22"/>
                  </a:cubicBezTo>
                  <a:cubicBezTo>
                    <a:pt x="6" y="22"/>
                    <a:pt x="9" y="22"/>
                    <a:pt x="12" y="25"/>
                  </a:cubicBezTo>
                  <a:lnTo>
                    <a:pt x="14" y="25"/>
                  </a:lnTo>
                  <a:cubicBezTo>
                    <a:pt x="14" y="25"/>
                    <a:pt x="17" y="25"/>
                    <a:pt x="17" y="22"/>
                  </a:cubicBezTo>
                  <a:cubicBezTo>
                    <a:pt x="17" y="17"/>
                    <a:pt x="14" y="8"/>
                    <a:pt x="14" y="3"/>
                  </a:cubicBezTo>
                  <a:cubicBezTo>
                    <a:pt x="9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4" name="Freeform 325"/>
            <p:cNvSpPr>
              <a:spLocks noChangeArrowheads="1"/>
            </p:cNvSpPr>
            <p:nvPr/>
          </p:nvSpPr>
          <p:spPr bwMode="auto">
            <a:xfrm>
              <a:off x="4340225" y="3028950"/>
              <a:ext cx="7938" cy="7938"/>
            </a:xfrm>
            <a:custGeom>
              <a:avLst/>
              <a:gdLst>
                <a:gd name="T0" fmla="*/ 3 w 21"/>
                <a:gd name="T1" fmla="*/ 20 h 21"/>
                <a:gd name="T2" fmla="*/ 20 w 21"/>
                <a:gd name="T3" fmla="*/ 12 h 21"/>
                <a:gd name="T4" fmla="*/ 20 w 21"/>
                <a:gd name="T5" fmla="*/ 12 h 21"/>
                <a:gd name="T6" fmla="*/ 3 w 21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1">
                  <a:moveTo>
                    <a:pt x="3" y="20"/>
                  </a:moveTo>
                  <a:cubicBezTo>
                    <a:pt x="8" y="17"/>
                    <a:pt x="14" y="14"/>
                    <a:pt x="20" y="12"/>
                  </a:cubicBezTo>
                  <a:lnTo>
                    <a:pt x="20" y="12"/>
                  </a:lnTo>
                  <a:cubicBezTo>
                    <a:pt x="14" y="0"/>
                    <a:pt x="0" y="9"/>
                    <a:pt x="3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5" name="Freeform 326"/>
            <p:cNvSpPr>
              <a:spLocks noChangeArrowheads="1"/>
            </p:cNvSpPr>
            <p:nvPr/>
          </p:nvSpPr>
          <p:spPr bwMode="auto">
            <a:xfrm>
              <a:off x="4306888" y="3048000"/>
              <a:ext cx="1587" cy="1588"/>
            </a:xfrm>
            <a:custGeom>
              <a:avLst/>
              <a:gdLst>
                <a:gd name="T0" fmla="*/ 0 w 3"/>
                <a:gd name="T1" fmla="*/ 0 h 6"/>
                <a:gd name="T2" fmla="*/ 2 w 3"/>
                <a:gd name="T3" fmla="*/ 5 h 6"/>
                <a:gd name="T4" fmla="*/ 0 w 3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6">
                  <a:moveTo>
                    <a:pt x="0" y="0"/>
                  </a:moveTo>
                  <a:cubicBezTo>
                    <a:pt x="0" y="3"/>
                    <a:pt x="2" y="3"/>
                    <a:pt x="2" y="5"/>
                  </a:cubicBezTo>
                  <a:cubicBezTo>
                    <a:pt x="2" y="3"/>
                    <a:pt x="2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6" name="Freeform 327"/>
            <p:cNvSpPr>
              <a:spLocks noChangeArrowheads="1"/>
            </p:cNvSpPr>
            <p:nvPr/>
          </p:nvSpPr>
          <p:spPr bwMode="auto">
            <a:xfrm>
              <a:off x="4516438" y="2873375"/>
              <a:ext cx="4762" cy="4763"/>
            </a:xfrm>
            <a:custGeom>
              <a:avLst/>
              <a:gdLst>
                <a:gd name="T0" fmla="*/ 14 w 15"/>
                <a:gd name="T1" fmla="*/ 5 h 15"/>
                <a:gd name="T2" fmla="*/ 3 w 15"/>
                <a:gd name="T3" fmla="*/ 0 h 15"/>
                <a:gd name="T4" fmla="*/ 0 w 15"/>
                <a:gd name="T5" fmla="*/ 3 h 15"/>
                <a:gd name="T6" fmla="*/ 3 w 15"/>
                <a:gd name="T7" fmla="*/ 11 h 15"/>
                <a:gd name="T8" fmla="*/ 14 w 15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4" y="5"/>
                  </a:moveTo>
                  <a:cubicBezTo>
                    <a:pt x="8" y="5"/>
                    <a:pt x="8" y="0"/>
                    <a:pt x="3" y="0"/>
                  </a:cubicBezTo>
                  <a:cubicBezTo>
                    <a:pt x="3" y="0"/>
                    <a:pt x="3" y="3"/>
                    <a:pt x="0" y="3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8" y="14"/>
                    <a:pt x="11" y="8"/>
                    <a:pt x="14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7" name="Freeform 328"/>
            <p:cNvSpPr>
              <a:spLocks noChangeArrowheads="1"/>
            </p:cNvSpPr>
            <p:nvPr/>
          </p:nvSpPr>
          <p:spPr bwMode="auto">
            <a:xfrm>
              <a:off x="4537075" y="2732088"/>
              <a:ext cx="3175" cy="4762"/>
            </a:xfrm>
            <a:custGeom>
              <a:avLst/>
              <a:gdLst>
                <a:gd name="T0" fmla="*/ 3 w 10"/>
                <a:gd name="T1" fmla="*/ 0 h 15"/>
                <a:gd name="T2" fmla="*/ 0 w 10"/>
                <a:gd name="T3" fmla="*/ 3 h 15"/>
                <a:gd name="T4" fmla="*/ 6 w 10"/>
                <a:gd name="T5" fmla="*/ 14 h 15"/>
                <a:gd name="T6" fmla="*/ 6 w 10"/>
                <a:gd name="T7" fmla="*/ 14 h 15"/>
                <a:gd name="T8" fmla="*/ 3 w 1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3" y="0"/>
                  </a:moveTo>
                  <a:cubicBezTo>
                    <a:pt x="3" y="0"/>
                    <a:pt x="0" y="0"/>
                    <a:pt x="0" y="3"/>
                  </a:cubicBezTo>
                  <a:cubicBezTo>
                    <a:pt x="0" y="8"/>
                    <a:pt x="0" y="11"/>
                    <a:pt x="6" y="14"/>
                  </a:cubicBezTo>
                  <a:lnTo>
                    <a:pt x="6" y="14"/>
                  </a:lnTo>
                  <a:cubicBezTo>
                    <a:pt x="6" y="8"/>
                    <a:pt x="9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8" name="Freeform 329"/>
            <p:cNvSpPr>
              <a:spLocks noChangeArrowheads="1"/>
            </p:cNvSpPr>
            <p:nvPr/>
          </p:nvSpPr>
          <p:spPr bwMode="auto">
            <a:xfrm>
              <a:off x="4541838" y="2552700"/>
              <a:ext cx="3175" cy="3175"/>
            </a:xfrm>
            <a:custGeom>
              <a:avLst/>
              <a:gdLst>
                <a:gd name="T0" fmla="*/ 6 w 7"/>
                <a:gd name="T1" fmla="*/ 6 h 10"/>
                <a:gd name="T2" fmla="*/ 0 w 7"/>
                <a:gd name="T3" fmla="*/ 9 h 10"/>
                <a:gd name="T4" fmla="*/ 0 w 7"/>
                <a:gd name="T5" fmla="*/ 9 h 10"/>
                <a:gd name="T6" fmla="*/ 6 w 7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6"/>
                  </a:moveTo>
                  <a:cubicBezTo>
                    <a:pt x="0" y="0"/>
                    <a:pt x="0" y="6"/>
                    <a:pt x="0" y="9"/>
                  </a:cubicBezTo>
                  <a:lnTo>
                    <a:pt x="0" y="9"/>
                  </a:lnTo>
                  <a:cubicBezTo>
                    <a:pt x="3" y="9"/>
                    <a:pt x="3" y="9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9" name="Freeform 330"/>
            <p:cNvSpPr>
              <a:spLocks noChangeArrowheads="1"/>
            </p:cNvSpPr>
            <p:nvPr/>
          </p:nvSpPr>
          <p:spPr bwMode="auto">
            <a:xfrm>
              <a:off x="4559300" y="2670175"/>
              <a:ext cx="3175" cy="6350"/>
            </a:xfrm>
            <a:custGeom>
              <a:avLst/>
              <a:gdLst>
                <a:gd name="T0" fmla="*/ 6 w 10"/>
                <a:gd name="T1" fmla="*/ 15 h 16"/>
                <a:gd name="T2" fmla="*/ 9 w 10"/>
                <a:gd name="T3" fmla="*/ 3 h 16"/>
                <a:gd name="T4" fmla="*/ 6 w 10"/>
                <a:gd name="T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6" y="15"/>
                  </a:moveTo>
                  <a:cubicBezTo>
                    <a:pt x="6" y="9"/>
                    <a:pt x="9" y="9"/>
                    <a:pt x="9" y="3"/>
                  </a:cubicBezTo>
                  <a:cubicBezTo>
                    <a:pt x="0" y="0"/>
                    <a:pt x="0" y="15"/>
                    <a:pt x="6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0" name="Freeform 331"/>
            <p:cNvSpPr>
              <a:spLocks noChangeArrowheads="1"/>
            </p:cNvSpPr>
            <p:nvPr/>
          </p:nvSpPr>
          <p:spPr bwMode="auto">
            <a:xfrm>
              <a:off x="4548188" y="2678113"/>
              <a:ext cx="3175" cy="4762"/>
            </a:xfrm>
            <a:custGeom>
              <a:avLst/>
              <a:gdLst>
                <a:gd name="T0" fmla="*/ 0 w 7"/>
                <a:gd name="T1" fmla="*/ 12 h 13"/>
                <a:gd name="T2" fmla="*/ 6 w 7"/>
                <a:gd name="T3" fmla="*/ 9 h 13"/>
                <a:gd name="T4" fmla="*/ 0 w 7"/>
                <a:gd name="T5" fmla="*/ 0 h 13"/>
                <a:gd name="T6" fmla="*/ 0 w 7"/>
                <a:gd name="T7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0" y="12"/>
                  </a:moveTo>
                  <a:cubicBezTo>
                    <a:pt x="3" y="12"/>
                    <a:pt x="6" y="12"/>
                    <a:pt x="6" y="9"/>
                  </a:cubicBezTo>
                  <a:cubicBezTo>
                    <a:pt x="6" y="6"/>
                    <a:pt x="3" y="3"/>
                    <a:pt x="0" y="0"/>
                  </a:cubicBezTo>
                  <a:cubicBezTo>
                    <a:pt x="0" y="3"/>
                    <a:pt x="0" y="9"/>
                    <a:pt x="0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1" name="Freeform 332"/>
            <p:cNvSpPr>
              <a:spLocks noChangeArrowheads="1"/>
            </p:cNvSpPr>
            <p:nvPr/>
          </p:nvSpPr>
          <p:spPr bwMode="auto">
            <a:xfrm>
              <a:off x="4545013" y="2757488"/>
              <a:ext cx="4762" cy="3175"/>
            </a:xfrm>
            <a:custGeom>
              <a:avLst/>
              <a:gdLst>
                <a:gd name="T0" fmla="*/ 6 w 12"/>
                <a:gd name="T1" fmla="*/ 0 h 10"/>
                <a:gd name="T2" fmla="*/ 11 w 12"/>
                <a:gd name="T3" fmla="*/ 9 h 10"/>
                <a:gd name="T4" fmla="*/ 6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6" y="0"/>
                  </a:moveTo>
                  <a:cubicBezTo>
                    <a:pt x="0" y="3"/>
                    <a:pt x="6" y="9"/>
                    <a:pt x="11" y="9"/>
                  </a:cubicBezTo>
                  <a:cubicBezTo>
                    <a:pt x="11" y="3"/>
                    <a:pt x="8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2" name="Freeform 333"/>
            <p:cNvSpPr>
              <a:spLocks noChangeArrowheads="1"/>
            </p:cNvSpPr>
            <p:nvPr/>
          </p:nvSpPr>
          <p:spPr bwMode="auto">
            <a:xfrm>
              <a:off x="4541838" y="2554288"/>
              <a:ext cx="4762" cy="6350"/>
            </a:xfrm>
            <a:custGeom>
              <a:avLst/>
              <a:gdLst>
                <a:gd name="T0" fmla="*/ 9 w 15"/>
                <a:gd name="T1" fmla="*/ 0 h 18"/>
                <a:gd name="T2" fmla="*/ 0 w 15"/>
                <a:gd name="T3" fmla="*/ 6 h 18"/>
                <a:gd name="T4" fmla="*/ 0 w 15"/>
                <a:gd name="T5" fmla="*/ 11 h 18"/>
                <a:gd name="T6" fmla="*/ 9 w 15"/>
                <a:gd name="T7" fmla="*/ 17 h 18"/>
                <a:gd name="T8" fmla="*/ 9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9" y="0"/>
                  </a:moveTo>
                  <a:cubicBezTo>
                    <a:pt x="6" y="0"/>
                    <a:pt x="3" y="3"/>
                    <a:pt x="0" y="6"/>
                  </a:cubicBezTo>
                  <a:cubicBezTo>
                    <a:pt x="0" y="9"/>
                    <a:pt x="0" y="9"/>
                    <a:pt x="0" y="11"/>
                  </a:cubicBezTo>
                  <a:cubicBezTo>
                    <a:pt x="3" y="14"/>
                    <a:pt x="6" y="17"/>
                    <a:pt x="9" y="17"/>
                  </a:cubicBezTo>
                  <a:cubicBezTo>
                    <a:pt x="14" y="11"/>
                    <a:pt x="12" y="6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3" name="Freeform 334"/>
            <p:cNvSpPr>
              <a:spLocks noChangeArrowheads="1"/>
            </p:cNvSpPr>
            <p:nvPr/>
          </p:nvSpPr>
          <p:spPr bwMode="auto">
            <a:xfrm>
              <a:off x="4543425" y="2563813"/>
              <a:ext cx="3175" cy="1587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3" y="0"/>
                    <a:pt x="0" y="0"/>
                  </a:cubicBezTo>
                  <a:cubicBezTo>
                    <a:pt x="3" y="3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4" name="Freeform 335"/>
            <p:cNvSpPr>
              <a:spLocks noChangeArrowheads="1"/>
            </p:cNvSpPr>
            <p:nvPr/>
          </p:nvSpPr>
          <p:spPr bwMode="auto">
            <a:xfrm>
              <a:off x="4537075" y="2681288"/>
              <a:ext cx="6350" cy="6350"/>
            </a:xfrm>
            <a:custGeom>
              <a:avLst/>
              <a:gdLst>
                <a:gd name="T0" fmla="*/ 9 w 18"/>
                <a:gd name="T1" fmla="*/ 5 h 17"/>
                <a:gd name="T2" fmla="*/ 0 w 18"/>
                <a:gd name="T3" fmla="*/ 0 h 17"/>
                <a:gd name="T4" fmla="*/ 6 w 18"/>
                <a:gd name="T5" fmla="*/ 16 h 17"/>
                <a:gd name="T6" fmla="*/ 9 w 18"/>
                <a:gd name="T7" fmla="*/ 16 h 17"/>
                <a:gd name="T8" fmla="*/ 17 w 18"/>
                <a:gd name="T9" fmla="*/ 14 h 17"/>
                <a:gd name="T10" fmla="*/ 9 w 18"/>
                <a:gd name="T11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7">
                  <a:moveTo>
                    <a:pt x="9" y="5"/>
                  </a:moveTo>
                  <a:cubicBezTo>
                    <a:pt x="9" y="0"/>
                    <a:pt x="6" y="0"/>
                    <a:pt x="0" y="0"/>
                  </a:cubicBezTo>
                  <a:cubicBezTo>
                    <a:pt x="0" y="8"/>
                    <a:pt x="3" y="11"/>
                    <a:pt x="6" y="16"/>
                  </a:cubicBezTo>
                  <a:lnTo>
                    <a:pt x="9" y="16"/>
                  </a:lnTo>
                  <a:cubicBezTo>
                    <a:pt x="12" y="16"/>
                    <a:pt x="12" y="14"/>
                    <a:pt x="17" y="14"/>
                  </a:cubicBezTo>
                  <a:cubicBezTo>
                    <a:pt x="17" y="2"/>
                    <a:pt x="12" y="11"/>
                    <a:pt x="9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5" name="Freeform 336"/>
            <p:cNvSpPr>
              <a:spLocks noChangeArrowheads="1"/>
            </p:cNvSpPr>
            <p:nvPr/>
          </p:nvSpPr>
          <p:spPr bwMode="auto">
            <a:xfrm>
              <a:off x="4521200" y="2855913"/>
              <a:ext cx="4763" cy="4762"/>
            </a:xfrm>
            <a:custGeom>
              <a:avLst/>
              <a:gdLst>
                <a:gd name="T0" fmla="*/ 0 w 12"/>
                <a:gd name="T1" fmla="*/ 3 h 15"/>
                <a:gd name="T2" fmla="*/ 6 w 12"/>
                <a:gd name="T3" fmla="*/ 14 h 15"/>
                <a:gd name="T4" fmla="*/ 11 w 12"/>
                <a:gd name="T5" fmla="*/ 0 h 15"/>
                <a:gd name="T6" fmla="*/ 0 w 12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0" y="3"/>
                  </a:moveTo>
                  <a:cubicBezTo>
                    <a:pt x="0" y="8"/>
                    <a:pt x="0" y="11"/>
                    <a:pt x="6" y="14"/>
                  </a:cubicBezTo>
                  <a:cubicBezTo>
                    <a:pt x="9" y="11"/>
                    <a:pt x="11" y="6"/>
                    <a:pt x="11" y="0"/>
                  </a:cubicBezTo>
                  <a:cubicBezTo>
                    <a:pt x="6" y="3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6" name="Freeform 337"/>
            <p:cNvSpPr>
              <a:spLocks noChangeArrowheads="1"/>
            </p:cNvSpPr>
            <p:nvPr/>
          </p:nvSpPr>
          <p:spPr bwMode="auto">
            <a:xfrm>
              <a:off x="4524375" y="2722563"/>
              <a:ext cx="3175" cy="6350"/>
            </a:xfrm>
            <a:custGeom>
              <a:avLst/>
              <a:gdLst>
                <a:gd name="T0" fmla="*/ 8 w 9"/>
                <a:gd name="T1" fmla="*/ 0 h 18"/>
                <a:gd name="T2" fmla="*/ 0 w 9"/>
                <a:gd name="T3" fmla="*/ 17 h 18"/>
                <a:gd name="T4" fmla="*/ 0 w 9"/>
                <a:gd name="T5" fmla="*/ 17 h 18"/>
                <a:gd name="T6" fmla="*/ 8 w 9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8">
                  <a:moveTo>
                    <a:pt x="8" y="0"/>
                  </a:moveTo>
                  <a:cubicBezTo>
                    <a:pt x="2" y="3"/>
                    <a:pt x="2" y="12"/>
                    <a:pt x="0" y="17"/>
                  </a:cubicBezTo>
                  <a:lnTo>
                    <a:pt x="0" y="17"/>
                  </a:lnTo>
                  <a:cubicBezTo>
                    <a:pt x="5" y="12"/>
                    <a:pt x="8" y="6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7" name="Freeform 338"/>
            <p:cNvSpPr>
              <a:spLocks noChangeArrowheads="1"/>
            </p:cNvSpPr>
            <p:nvPr/>
          </p:nvSpPr>
          <p:spPr bwMode="auto">
            <a:xfrm>
              <a:off x="4524375" y="2636838"/>
              <a:ext cx="4763" cy="6350"/>
            </a:xfrm>
            <a:custGeom>
              <a:avLst/>
              <a:gdLst>
                <a:gd name="T0" fmla="*/ 11 w 12"/>
                <a:gd name="T1" fmla="*/ 5 h 17"/>
                <a:gd name="T2" fmla="*/ 0 w 12"/>
                <a:gd name="T3" fmla="*/ 16 h 17"/>
                <a:gd name="T4" fmla="*/ 11 w 12"/>
                <a:gd name="T5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7">
                  <a:moveTo>
                    <a:pt x="11" y="5"/>
                  </a:moveTo>
                  <a:cubicBezTo>
                    <a:pt x="5" y="0"/>
                    <a:pt x="0" y="8"/>
                    <a:pt x="0" y="16"/>
                  </a:cubicBezTo>
                  <a:cubicBezTo>
                    <a:pt x="2" y="16"/>
                    <a:pt x="11" y="14"/>
                    <a:pt x="11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8" name="Freeform 339"/>
            <p:cNvSpPr>
              <a:spLocks noChangeArrowheads="1"/>
            </p:cNvSpPr>
            <p:nvPr/>
          </p:nvSpPr>
          <p:spPr bwMode="auto">
            <a:xfrm>
              <a:off x="4518025" y="2878138"/>
              <a:ext cx="6350" cy="7937"/>
            </a:xfrm>
            <a:custGeom>
              <a:avLst/>
              <a:gdLst>
                <a:gd name="T0" fmla="*/ 5 w 18"/>
                <a:gd name="T1" fmla="*/ 22 h 23"/>
                <a:gd name="T2" fmla="*/ 5 w 18"/>
                <a:gd name="T3" fmla="*/ 17 h 23"/>
                <a:gd name="T4" fmla="*/ 17 w 18"/>
                <a:gd name="T5" fmla="*/ 11 h 23"/>
                <a:gd name="T6" fmla="*/ 14 w 18"/>
                <a:gd name="T7" fmla="*/ 6 h 23"/>
                <a:gd name="T8" fmla="*/ 5 w 18"/>
                <a:gd name="T9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3">
                  <a:moveTo>
                    <a:pt x="5" y="22"/>
                  </a:moveTo>
                  <a:cubicBezTo>
                    <a:pt x="5" y="20"/>
                    <a:pt x="5" y="20"/>
                    <a:pt x="5" y="17"/>
                  </a:cubicBezTo>
                  <a:cubicBezTo>
                    <a:pt x="8" y="17"/>
                    <a:pt x="14" y="14"/>
                    <a:pt x="17" y="11"/>
                  </a:cubicBezTo>
                  <a:cubicBezTo>
                    <a:pt x="17" y="8"/>
                    <a:pt x="17" y="8"/>
                    <a:pt x="14" y="6"/>
                  </a:cubicBezTo>
                  <a:cubicBezTo>
                    <a:pt x="8" y="0"/>
                    <a:pt x="0" y="14"/>
                    <a:pt x="5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9" name="Freeform 340"/>
            <p:cNvSpPr>
              <a:spLocks noChangeArrowheads="1"/>
            </p:cNvSpPr>
            <p:nvPr/>
          </p:nvSpPr>
          <p:spPr bwMode="auto">
            <a:xfrm>
              <a:off x="4530725" y="2665413"/>
              <a:ext cx="3175" cy="1587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0 h 6"/>
                <a:gd name="T4" fmla="*/ 0 w 7"/>
                <a:gd name="T5" fmla="*/ 0 h 6"/>
                <a:gd name="T6" fmla="*/ 0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cubicBezTo>
                    <a:pt x="3" y="2"/>
                    <a:pt x="3" y="2"/>
                    <a:pt x="6" y="0"/>
                  </a:cubicBezTo>
                  <a:cubicBezTo>
                    <a:pt x="3" y="0"/>
                    <a:pt x="3" y="0"/>
                    <a:pt x="0" y="0"/>
                  </a:cubicBezTo>
                  <a:lnTo>
                    <a:pt x="0" y="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0" name="Freeform 341"/>
            <p:cNvSpPr>
              <a:spLocks noChangeArrowheads="1"/>
            </p:cNvSpPr>
            <p:nvPr/>
          </p:nvSpPr>
          <p:spPr bwMode="auto">
            <a:xfrm>
              <a:off x="4527550" y="2876550"/>
              <a:ext cx="6350" cy="6350"/>
            </a:xfrm>
            <a:custGeom>
              <a:avLst/>
              <a:gdLst>
                <a:gd name="T0" fmla="*/ 0 w 18"/>
                <a:gd name="T1" fmla="*/ 17 h 18"/>
                <a:gd name="T2" fmla="*/ 17 w 18"/>
                <a:gd name="T3" fmla="*/ 3 h 18"/>
                <a:gd name="T4" fmla="*/ 8 w 18"/>
                <a:gd name="T5" fmla="*/ 0 h 18"/>
                <a:gd name="T6" fmla="*/ 0 w 18"/>
                <a:gd name="T7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8">
                  <a:moveTo>
                    <a:pt x="0" y="17"/>
                  </a:moveTo>
                  <a:cubicBezTo>
                    <a:pt x="8" y="17"/>
                    <a:pt x="14" y="11"/>
                    <a:pt x="17" y="3"/>
                  </a:cubicBezTo>
                  <a:cubicBezTo>
                    <a:pt x="14" y="3"/>
                    <a:pt x="11" y="3"/>
                    <a:pt x="8" y="0"/>
                  </a:cubicBezTo>
                  <a:cubicBezTo>
                    <a:pt x="6" y="6"/>
                    <a:pt x="3" y="11"/>
                    <a:pt x="0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1" name="Freeform 342"/>
            <p:cNvSpPr>
              <a:spLocks noChangeArrowheads="1"/>
            </p:cNvSpPr>
            <p:nvPr/>
          </p:nvSpPr>
          <p:spPr bwMode="auto">
            <a:xfrm>
              <a:off x="4532313" y="2557463"/>
              <a:ext cx="3175" cy="4762"/>
            </a:xfrm>
            <a:custGeom>
              <a:avLst/>
              <a:gdLst>
                <a:gd name="T0" fmla="*/ 3 w 7"/>
                <a:gd name="T1" fmla="*/ 0 h 13"/>
                <a:gd name="T2" fmla="*/ 0 w 7"/>
                <a:gd name="T3" fmla="*/ 0 h 13"/>
                <a:gd name="T4" fmla="*/ 0 w 7"/>
                <a:gd name="T5" fmla="*/ 12 h 13"/>
                <a:gd name="T6" fmla="*/ 3 w 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3" y="0"/>
                  </a:moveTo>
                  <a:lnTo>
                    <a:pt x="0" y="0"/>
                  </a:lnTo>
                  <a:cubicBezTo>
                    <a:pt x="0" y="3"/>
                    <a:pt x="0" y="9"/>
                    <a:pt x="0" y="12"/>
                  </a:cubicBezTo>
                  <a:cubicBezTo>
                    <a:pt x="3" y="9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2" name="Freeform 343"/>
            <p:cNvSpPr>
              <a:spLocks noChangeArrowheads="1"/>
            </p:cNvSpPr>
            <p:nvPr/>
          </p:nvSpPr>
          <p:spPr bwMode="auto">
            <a:xfrm>
              <a:off x="4530725" y="2751138"/>
              <a:ext cx="6350" cy="4762"/>
            </a:xfrm>
            <a:custGeom>
              <a:avLst/>
              <a:gdLst>
                <a:gd name="T0" fmla="*/ 0 w 16"/>
                <a:gd name="T1" fmla="*/ 11 h 12"/>
                <a:gd name="T2" fmla="*/ 15 w 16"/>
                <a:gd name="T3" fmla="*/ 3 h 12"/>
                <a:gd name="T4" fmla="*/ 12 w 16"/>
                <a:gd name="T5" fmla="*/ 3 h 12"/>
                <a:gd name="T6" fmla="*/ 0 w 16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2">
                  <a:moveTo>
                    <a:pt x="0" y="11"/>
                  </a:moveTo>
                  <a:cubicBezTo>
                    <a:pt x="9" y="11"/>
                    <a:pt x="15" y="9"/>
                    <a:pt x="15" y="3"/>
                  </a:cubicBezTo>
                  <a:lnTo>
                    <a:pt x="12" y="3"/>
                  </a:lnTo>
                  <a:cubicBezTo>
                    <a:pt x="6" y="0"/>
                    <a:pt x="0" y="3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3" name="Freeform 344"/>
            <p:cNvSpPr>
              <a:spLocks noChangeArrowheads="1"/>
            </p:cNvSpPr>
            <p:nvPr/>
          </p:nvSpPr>
          <p:spPr bwMode="auto">
            <a:xfrm>
              <a:off x="4568825" y="2470150"/>
              <a:ext cx="3175" cy="4763"/>
            </a:xfrm>
            <a:custGeom>
              <a:avLst/>
              <a:gdLst>
                <a:gd name="T0" fmla="*/ 5 w 9"/>
                <a:gd name="T1" fmla="*/ 11 h 12"/>
                <a:gd name="T2" fmla="*/ 8 w 9"/>
                <a:gd name="T3" fmla="*/ 8 h 12"/>
                <a:gd name="T4" fmla="*/ 0 w 9"/>
                <a:gd name="T5" fmla="*/ 0 h 12"/>
                <a:gd name="T6" fmla="*/ 0 w 9"/>
                <a:gd name="T7" fmla="*/ 6 h 12"/>
                <a:gd name="T8" fmla="*/ 5 w 9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5" y="11"/>
                  </a:moveTo>
                  <a:lnTo>
                    <a:pt x="8" y="8"/>
                  </a:lnTo>
                  <a:cubicBezTo>
                    <a:pt x="5" y="6"/>
                    <a:pt x="3" y="3"/>
                    <a:pt x="0" y="0"/>
                  </a:cubicBezTo>
                  <a:cubicBezTo>
                    <a:pt x="0" y="3"/>
                    <a:pt x="0" y="3"/>
                    <a:pt x="0" y="6"/>
                  </a:cubicBezTo>
                  <a:cubicBezTo>
                    <a:pt x="0" y="11"/>
                    <a:pt x="3" y="11"/>
                    <a:pt x="5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4" name="Freeform 345"/>
            <p:cNvSpPr>
              <a:spLocks noChangeArrowheads="1"/>
            </p:cNvSpPr>
            <p:nvPr/>
          </p:nvSpPr>
          <p:spPr bwMode="auto">
            <a:xfrm>
              <a:off x="4568825" y="2420938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8 w 9"/>
                <a:gd name="T3" fmla="*/ 0 h 9"/>
                <a:gd name="T4" fmla="*/ 0 w 9"/>
                <a:gd name="T5" fmla="*/ 0 h 9"/>
                <a:gd name="T6" fmla="*/ 8 w 9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lnTo>
                    <a:pt x="8" y="0"/>
                  </a:lnTo>
                  <a:lnTo>
                    <a:pt x="0" y="0"/>
                  </a:lnTo>
                  <a:cubicBezTo>
                    <a:pt x="0" y="5"/>
                    <a:pt x="3" y="8"/>
                    <a:pt x="8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5" name="Freeform 346"/>
            <p:cNvSpPr>
              <a:spLocks noChangeArrowheads="1"/>
            </p:cNvSpPr>
            <p:nvPr/>
          </p:nvSpPr>
          <p:spPr bwMode="auto">
            <a:xfrm>
              <a:off x="4564063" y="2481263"/>
              <a:ext cx="4762" cy="4762"/>
            </a:xfrm>
            <a:custGeom>
              <a:avLst/>
              <a:gdLst>
                <a:gd name="T0" fmla="*/ 3 w 13"/>
                <a:gd name="T1" fmla="*/ 14 h 15"/>
                <a:gd name="T2" fmla="*/ 12 w 13"/>
                <a:gd name="T3" fmla="*/ 6 h 15"/>
                <a:gd name="T4" fmla="*/ 12 w 13"/>
                <a:gd name="T5" fmla="*/ 0 h 15"/>
                <a:gd name="T6" fmla="*/ 0 w 13"/>
                <a:gd name="T7" fmla="*/ 6 h 15"/>
                <a:gd name="T8" fmla="*/ 3 w 13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3" y="14"/>
                  </a:moveTo>
                  <a:cubicBezTo>
                    <a:pt x="9" y="11"/>
                    <a:pt x="12" y="8"/>
                    <a:pt x="12" y="6"/>
                  </a:cubicBezTo>
                  <a:cubicBezTo>
                    <a:pt x="12" y="3"/>
                    <a:pt x="12" y="3"/>
                    <a:pt x="12" y="0"/>
                  </a:cubicBezTo>
                  <a:cubicBezTo>
                    <a:pt x="9" y="3"/>
                    <a:pt x="9" y="8"/>
                    <a:pt x="0" y="6"/>
                  </a:cubicBezTo>
                  <a:cubicBezTo>
                    <a:pt x="0" y="6"/>
                    <a:pt x="0" y="8"/>
                    <a:pt x="3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6" name="Freeform 347"/>
            <p:cNvSpPr>
              <a:spLocks noChangeArrowheads="1"/>
            </p:cNvSpPr>
            <p:nvPr/>
          </p:nvSpPr>
          <p:spPr bwMode="auto">
            <a:xfrm>
              <a:off x="4548188" y="2579688"/>
              <a:ext cx="14287" cy="17462"/>
            </a:xfrm>
            <a:custGeom>
              <a:avLst/>
              <a:gdLst>
                <a:gd name="T0" fmla="*/ 3 w 38"/>
                <a:gd name="T1" fmla="*/ 15 h 47"/>
                <a:gd name="T2" fmla="*/ 12 w 38"/>
                <a:gd name="T3" fmla="*/ 15 h 47"/>
                <a:gd name="T4" fmla="*/ 9 w 38"/>
                <a:gd name="T5" fmla="*/ 20 h 47"/>
                <a:gd name="T6" fmla="*/ 15 w 38"/>
                <a:gd name="T7" fmla="*/ 31 h 47"/>
                <a:gd name="T8" fmla="*/ 17 w 38"/>
                <a:gd name="T9" fmla="*/ 46 h 47"/>
                <a:gd name="T10" fmla="*/ 31 w 38"/>
                <a:gd name="T11" fmla="*/ 40 h 47"/>
                <a:gd name="T12" fmla="*/ 34 w 38"/>
                <a:gd name="T13" fmla="*/ 37 h 47"/>
                <a:gd name="T14" fmla="*/ 26 w 38"/>
                <a:gd name="T15" fmla="*/ 23 h 47"/>
                <a:gd name="T16" fmla="*/ 23 w 38"/>
                <a:gd name="T17" fmla="*/ 0 h 47"/>
                <a:gd name="T18" fmla="*/ 0 w 38"/>
                <a:gd name="T19" fmla="*/ 6 h 47"/>
                <a:gd name="T20" fmla="*/ 3 w 38"/>
                <a:gd name="T21" fmla="*/ 1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47">
                  <a:moveTo>
                    <a:pt x="3" y="15"/>
                  </a:moveTo>
                  <a:cubicBezTo>
                    <a:pt x="6" y="15"/>
                    <a:pt x="9" y="15"/>
                    <a:pt x="12" y="15"/>
                  </a:cubicBezTo>
                  <a:cubicBezTo>
                    <a:pt x="12" y="17"/>
                    <a:pt x="12" y="20"/>
                    <a:pt x="9" y="20"/>
                  </a:cubicBezTo>
                  <a:cubicBezTo>
                    <a:pt x="12" y="23"/>
                    <a:pt x="15" y="29"/>
                    <a:pt x="15" y="31"/>
                  </a:cubicBezTo>
                  <a:cubicBezTo>
                    <a:pt x="9" y="34"/>
                    <a:pt x="15" y="46"/>
                    <a:pt x="17" y="46"/>
                  </a:cubicBezTo>
                  <a:cubicBezTo>
                    <a:pt x="20" y="40"/>
                    <a:pt x="26" y="43"/>
                    <a:pt x="31" y="40"/>
                  </a:cubicBezTo>
                  <a:cubicBezTo>
                    <a:pt x="31" y="40"/>
                    <a:pt x="31" y="40"/>
                    <a:pt x="34" y="37"/>
                  </a:cubicBezTo>
                  <a:cubicBezTo>
                    <a:pt x="37" y="29"/>
                    <a:pt x="26" y="31"/>
                    <a:pt x="26" y="23"/>
                  </a:cubicBezTo>
                  <a:cubicBezTo>
                    <a:pt x="26" y="15"/>
                    <a:pt x="26" y="9"/>
                    <a:pt x="23" y="0"/>
                  </a:cubicBezTo>
                  <a:cubicBezTo>
                    <a:pt x="15" y="0"/>
                    <a:pt x="6" y="0"/>
                    <a:pt x="0" y="6"/>
                  </a:cubicBezTo>
                  <a:cubicBezTo>
                    <a:pt x="0" y="12"/>
                    <a:pt x="0" y="12"/>
                    <a:pt x="3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7" name="Freeform 348"/>
            <p:cNvSpPr>
              <a:spLocks noChangeArrowheads="1"/>
            </p:cNvSpPr>
            <p:nvPr/>
          </p:nvSpPr>
          <p:spPr bwMode="auto">
            <a:xfrm>
              <a:off x="4557713" y="2525713"/>
              <a:ext cx="1587" cy="3175"/>
            </a:xfrm>
            <a:custGeom>
              <a:avLst/>
              <a:gdLst>
                <a:gd name="T0" fmla="*/ 2 w 6"/>
                <a:gd name="T1" fmla="*/ 6 h 7"/>
                <a:gd name="T2" fmla="*/ 2 w 6"/>
                <a:gd name="T3" fmla="*/ 0 h 7"/>
                <a:gd name="T4" fmla="*/ 0 w 6"/>
                <a:gd name="T5" fmla="*/ 0 h 7"/>
                <a:gd name="T6" fmla="*/ 2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2" y="6"/>
                  </a:moveTo>
                  <a:cubicBezTo>
                    <a:pt x="5" y="6"/>
                    <a:pt x="5" y="3"/>
                    <a:pt x="2" y="0"/>
                  </a:cubicBezTo>
                  <a:lnTo>
                    <a:pt x="0" y="0"/>
                  </a:lnTo>
                  <a:cubicBezTo>
                    <a:pt x="0" y="3"/>
                    <a:pt x="0" y="6"/>
                    <a:pt x="2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8" name="Freeform 349"/>
            <p:cNvSpPr>
              <a:spLocks noChangeArrowheads="1"/>
            </p:cNvSpPr>
            <p:nvPr/>
          </p:nvSpPr>
          <p:spPr bwMode="auto">
            <a:xfrm>
              <a:off x="4559300" y="2652713"/>
              <a:ext cx="3175" cy="4762"/>
            </a:xfrm>
            <a:custGeom>
              <a:avLst/>
              <a:gdLst>
                <a:gd name="T0" fmla="*/ 9 w 10"/>
                <a:gd name="T1" fmla="*/ 8 h 12"/>
                <a:gd name="T2" fmla="*/ 6 w 10"/>
                <a:gd name="T3" fmla="*/ 0 h 12"/>
                <a:gd name="T4" fmla="*/ 0 w 10"/>
                <a:gd name="T5" fmla="*/ 8 h 12"/>
                <a:gd name="T6" fmla="*/ 6 w 10"/>
                <a:gd name="T7" fmla="*/ 11 h 12"/>
                <a:gd name="T8" fmla="*/ 9 w 10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9" y="8"/>
                  </a:moveTo>
                  <a:cubicBezTo>
                    <a:pt x="9" y="5"/>
                    <a:pt x="9" y="3"/>
                    <a:pt x="6" y="0"/>
                  </a:cubicBezTo>
                  <a:cubicBezTo>
                    <a:pt x="3" y="3"/>
                    <a:pt x="3" y="5"/>
                    <a:pt x="0" y="8"/>
                  </a:cubicBezTo>
                  <a:cubicBezTo>
                    <a:pt x="3" y="8"/>
                    <a:pt x="3" y="11"/>
                    <a:pt x="6" y="11"/>
                  </a:cubicBezTo>
                  <a:cubicBezTo>
                    <a:pt x="6" y="8"/>
                    <a:pt x="9" y="8"/>
                    <a:pt x="9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9" name="Freeform 350"/>
            <p:cNvSpPr>
              <a:spLocks noChangeArrowheads="1"/>
            </p:cNvSpPr>
            <p:nvPr/>
          </p:nvSpPr>
          <p:spPr bwMode="auto">
            <a:xfrm>
              <a:off x="4552950" y="2327275"/>
              <a:ext cx="12700" cy="11113"/>
            </a:xfrm>
            <a:custGeom>
              <a:avLst/>
              <a:gdLst>
                <a:gd name="T0" fmla="*/ 6 w 35"/>
                <a:gd name="T1" fmla="*/ 14 h 29"/>
                <a:gd name="T2" fmla="*/ 12 w 35"/>
                <a:gd name="T3" fmla="*/ 20 h 29"/>
                <a:gd name="T4" fmla="*/ 23 w 35"/>
                <a:gd name="T5" fmla="*/ 28 h 29"/>
                <a:gd name="T6" fmla="*/ 23 w 35"/>
                <a:gd name="T7" fmla="*/ 28 h 29"/>
                <a:gd name="T8" fmla="*/ 34 w 35"/>
                <a:gd name="T9" fmla="*/ 20 h 29"/>
                <a:gd name="T10" fmla="*/ 17 w 35"/>
                <a:gd name="T11" fmla="*/ 11 h 29"/>
                <a:gd name="T12" fmla="*/ 0 w 35"/>
                <a:gd name="T13" fmla="*/ 6 h 29"/>
                <a:gd name="T14" fmla="*/ 6 w 35"/>
                <a:gd name="T15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9">
                  <a:moveTo>
                    <a:pt x="6" y="14"/>
                  </a:moveTo>
                  <a:cubicBezTo>
                    <a:pt x="9" y="17"/>
                    <a:pt x="9" y="17"/>
                    <a:pt x="12" y="20"/>
                  </a:cubicBezTo>
                  <a:cubicBezTo>
                    <a:pt x="14" y="23"/>
                    <a:pt x="17" y="25"/>
                    <a:pt x="23" y="28"/>
                  </a:cubicBezTo>
                  <a:lnTo>
                    <a:pt x="23" y="28"/>
                  </a:lnTo>
                  <a:cubicBezTo>
                    <a:pt x="29" y="28"/>
                    <a:pt x="34" y="25"/>
                    <a:pt x="34" y="20"/>
                  </a:cubicBezTo>
                  <a:cubicBezTo>
                    <a:pt x="34" y="11"/>
                    <a:pt x="23" y="14"/>
                    <a:pt x="17" y="11"/>
                  </a:cubicBezTo>
                  <a:cubicBezTo>
                    <a:pt x="9" y="11"/>
                    <a:pt x="9" y="0"/>
                    <a:pt x="0" y="6"/>
                  </a:cubicBezTo>
                  <a:cubicBezTo>
                    <a:pt x="0" y="9"/>
                    <a:pt x="3" y="14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0" name="Freeform 351"/>
            <p:cNvSpPr>
              <a:spLocks noChangeArrowheads="1"/>
            </p:cNvSpPr>
            <p:nvPr/>
          </p:nvSpPr>
          <p:spPr bwMode="auto">
            <a:xfrm>
              <a:off x="4562475" y="2738438"/>
              <a:ext cx="1588" cy="1587"/>
            </a:xfrm>
            <a:custGeom>
              <a:avLst/>
              <a:gdLst>
                <a:gd name="T0" fmla="*/ 3 w 4"/>
                <a:gd name="T1" fmla="*/ 0 h 6"/>
                <a:gd name="T2" fmla="*/ 3 w 4"/>
                <a:gd name="T3" fmla="*/ 0 h 6"/>
                <a:gd name="T4" fmla="*/ 0 w 4"/>
                <a:gd name="T5" fmla="*/ 5 h 6"/>
                <a:gd name="T6" fmla="*/ 0 w 4"/>
                <a:gd name="T7" fmla="*/ 5 h 6"/>
                <a:gd name="T8" fmla="*/ 3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3" y="0"/>
                  </a:moveTo>
                  <a:lnTo>
                    <a:pt x="3" y="0"/>
                  </a:lnTo>
                  <a:cubicBezTo>
                    <a:pt x="0" y="0"/>
                    <a:pt x="0" y="2"/>
                    <a:pt x="0" y="5"/>
                  </a:cubicBezTo>
                  <a:lnTo>
                    <a:pt x="0" y="5"/>
                  </a:lnTo>
                  <a:cubicBezTo>
                    <a:pt x="3" y="5"/>
                    <a:pt x="3" y="2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1" name="Freeform 352"/>
            <p:cNvSpPr>
              <a:spLocks noChangeArrowheads="1"/>
            </p:cNvSpPr>
            <p:nvPr/>
          </p:nvSpPr>
          <p:spPr bwMode="auto">
            <a:xfrm>
              <a:off x="4564063" y="2527300"/>
              <a:ext cx="1587" cy="4763"/>
            </a:xfrm>
            <a:custGeom>
              <a:avLst/>
              <a:gdLst>
                <a:gd name="T0" fmla="*/ 3 w 4"/>
                <a:gd name="T1" fmla="*/ 11 h 12"/>
                <a:gd name="T2" fmla="*/ 3 w 4"/>
                <a:gd name="T3" fmla="*/ 0 h 12"/>
                <a:gd name="T4" fmla="*/ 3 w 4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3" y="11"/>
                  </a:moveTo>
                  <a:cubicBezTo>
                    <a:pt x="3" y="8"/>
                    <a:pt x="3" y="3"/>
                    <a:pt x="3" y="0"/>
                  </a:cubicBezTo>
                  <a:cubicBezTo>
                    <a:pt x="0" y="3"/>
                    <a:pt x="0" y="6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2" name="Freeform 353"/>
            <p:cNvSpPr>
              <a:spLocks noChangeArrowheads="1"/>
            </p:cNvSpPr>
            <p:nvPr/>
          </p:nvSpPr>
          <p:spPr bwMode="auto">
            <a:xfrm>
              <a:off x="4562475" y="2816225"/>
              <a:ext cx="4763" cy="7938"/>
            </a:xfrm>
            <a:custGeom>
              <a:avLst/>
              <a:gdLst>
                <a:gd name="T0" fmla="*/ 11 w 12"/>
                <a:gd name="T1" fmla="*/ 0 h 21"/>
                <a:gd name="T2" fmla="*/ 3 w 12"/>
                <a:gd name="T3" fmla="*/ 14 h 21"/>
                <a:gd name="T4" fmla="*/ 3 w 12"/>
                <a:gd name="T5" fmla="*/ 14 h 21"/>
                <a:gd name="T6" fmla="*/ 0 w 12"/>
                <a:gd name="T7" fmla="*/ 20 h 21"/>
                <a:gd name="T8" fmla="*/ 11 w 12"/>
                <a:gd name="T9" fmla="*/ 17 h 21"/>
                <a:gd name="T10" fmla="*/ 11 w 12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1">
                  <a:moveTo>
                    <a:pt x="11" y="0"/>
                  </a:moveTo>
                  <a:cubicBezTo>
                    <a:pt x="6" y="3"/>
                    <a:pt x="3" y="8"/>
                    <a:pt x="3" y="14"/>
                  </a:cubicBezTo>
                  <a:lnTo>
                    <a:pt x="3" y="14"/>
                  </a:lnTo>
                  <a:cubicBezTo>
                    <a:pt x="0" y="17"/>
                    <a:pt x="0" y="17"/>
                    <a:pt x="0" y="20"/>
                  </a:cubicBezTo>
                  <a:cubicBezTo>
                    <a:pt x="6" y="20"/>
                    <a:pt x="6" y="20"/>
                    <a:pt x="11" y="17"/>
                  </a:cubicBezTo>
                  <a:cubicBezTo>
                    <a:pt x="8" y="11"/>
                    <a:pt x="8" y="5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3" name="Freeform 354"/>
            <p:cNvSpPr>
              <a:spLocks noChangeArrowheads="1"/>
            </p:cNvSpPr>
            <p:nvPr/>
          </p:nvSpPr>
          <p:spPr bwMode="auto">
            <a:xfrm>
              <a:off x="4572000" y="2387600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3 w 7"/>
                <a:gd name="T3" fmla="*/ 0 h 7"/>
                <a:gd name="T4" fmla="*/ 0 w 7"/>
                <a:gd name="T5" fmla="*/ 3 h 7"/>
                <a:gd name="T6" fmla="*/ 0 w 7"/>
                <a:gd name="T7" fmla="*/ 3 h 7"/>
                <a:gd name="T8" fmla="*/ 0 w 7"/>
                <a:gd name="T9" fmla="*/ 3 h 7"/>
                <a:gd name="T10" fmla="*/ 6 w 7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cubicBezTo>
                    <a:pt x="6" y="3"/>
                    <a:pt x="6" y="3"/>
                    <a:pt x="3" y="0"/>
                  </a:cubicBezTo>
                  <a:cubicBezTo>
                    <a:pt x="3" y="0"/>
                    <a:pt x="3" y="0"/>
                    <a:pt x="0" y="3"/>
                  </a:cubicBezTo>
                  <a:lnTo>
                    <a:pt x="0" y="3"/>
                  </a:lnTo>
                  <a:lnTo>
                    <a:pt x="0" y="3"/>
                  </a:lnTo>
                  <a:cubicBezTo>
                    <a:pt x="3" y="3"/>
                    <a:pt x="6" y="3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4" name="Freeform 355"/>
            <p:cNvSpPr>
              <a:spLocks noChangeArrowheads="1"/>
            </p:cNvSpPr>
            <p:nvPr/>
          </p:nvSpPr>
          <p:spPr bwMode="auto">
            <a:xfrm>
              <a:off x="4568825" y="2568575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8 w 9"/>
                <a:gd name="T3" fmla="*/ 3 h 10"/>
                <a:gd name="T4" fmla="*/ 3 w 9"/>
                <a:gd name="T5" fmla="*/ 0 h 10"/>
                <a:gd name="T6" fmla="*/ 0 w 9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cubicBezTo>
                    <a:pt x="3" y="9"/>
                    <a:pt x="8" y="6"/>
                    <a:pt x="8" y="3"/>
                  </a:cubicBezTo>
                  <a:cubicBezTo>
                    <a:pt x="5" y="3"/>
                    <a:pt x="5" y="3"/>
                    <a:pt x="3" y="0"/>
                  </a:cubicBezTo>
                  <a:cubicBezTo>
                    <a:pt x="3" y="3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5" name="Freeform 356"/>
            <p:cNvSpPr>
              <a:spLocks noChangeArrowheads="1"/>
            </p:cNvSpPr>
            <p:nvPr/>
          </p:nvSpPr>
          <p:spPr bwMode="auto">
            <a:xfrm>
              <a:off x="3633788" y="2700338"/>
              <a:ext cx="3175" cy="3175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6 h 7"/>
                <a:gd name="T4" fmla="*/ 6 w 9"/>
                <a:gd name="T5" fmla="*/ 6 h 7"/>
                <a:gd name="T6" fmla="*/ 8 w 9"/>
                <a:gd name="T7" fmla="*/ 3 h 7"/>
                <a:gd name="T8" fmla="*/ 3 w 9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cubicBezTo>
                    <a:pt x="3" y="3"/>
                    <a:pt x="0" y="3"/>
                    <a:pt x="0" y="6"/>
                  </a:cubicBezTo>
                  <a:cubicBezTo>
                    <a:pt x="3" y="6"/>
                    <a:pt x="3" y="6"/>
                    <a:pt x="6" y="6"/>
                  </a:cubicBezTo>
                  <a:lnTo>
                    <a:pt x="8" y="3"/>
                  </a:lnTo>
                  <a:cubicBezTo>
                    <a:pt x="6" y="3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6" name="Freeform 357"/>
            <p:cNvSpPr>
              <a:spLocks noChangeArrowheads="1"/>
            </p:cNvSpPr>
            <p:nvPr/>
          </p:nvSpPr>
          <p:spPr bwMode="auto">
            <a:xfrm>
              <a:off x="3632200" y="2605088"/>
              <a:ext cx="3175" cy="3175"/>
            </a:xfrm>
            <a:custGeom>
              <a:avLst/>
              <a:gdLst>
                <a:gd name="T0" fmla="*/ 0 w 7"/>
                <a:gd name="T1" fmla="*/ 0 h 9"/>
                <a:gd name="T2" fmla="*/ 0 w 7"/>
                <a:gd name="T3" fmla="*/ 6 h 9"/>
                <a:gd name="T4" fmla="*/ 3 w 7"/>
                <a:gd name="T5" fmla="*/ 8 h 9"/>
                <a:gd name="T6" fmla="*/ 6 w 7"/>
                <a:gd name="T7" fmla="*/ 6 h 9"/>
                <a:gd name="T8" fmla="*/ 0 w 7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0" y="0"/>
                  </a:moveTo>
                  <a:lnTo>
                    <a:pt x="0" y="6"/>
                  </a:lnTo>
                  <a:lnTo>
                    <a:pt x="3" y="8"/>
                  </a:lnTo>
                  <a:cubicBezTo>
                    <a:pt x="6" y="8"/>
                    <a:pt x="6" y="8"/>
                    <a:pt x="6" y="6"/>
                  </a:cubicBezTo>
                  <a:cubicBezTo>
                    <a:pt x="3" y="6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7" name="Freeform 358"/>
            <p:cNvSpPr>
              <a:spLocks noChangeArrowheads="1"/>
            </p:cNvSpPr>
            <p:nvPr/>
          </p:nvSpPr>
          <p:spPr bwMode="auto">
            <a:xfrm>
              <a:off x="3632200" y="2470150"/>
              <a:ext cx="4763" cy="3175"/>
            </a:xfrm>
            <a:custGeom>
              <a:avLst/>
              <a:gdLst>
                <a:gd name="T0" fmla="*/ 9 w 15"/>
                <a:gd name="T1" fmla="*/ 8 h 9"/>
                <a:gd name="T2" fmla="*/ 12 w 15"/>
                <a:gd name="T3" fmla="*/ 0 h 9"/>
                <a:gd name="T4" fmla="*/ 0 w 15"/>
                <a:gd name="T5" fmla="*/ 8 h 9"/>
                <a:gd name="T6" fmla="*/ 9 w 15"/>
                <a:gd name="T7" fmla="*/ 8 h 9"/>
                <a:gd name="T8" fmla="*/ 12 w 15"/>
                <a:gd name="T9" fmla="*/ 0 h 9"/>
                <a:gd name="T10" fmla="*/ 14 w 15"/>
                <a:gd name="T11" fmla="*/ 0 h 9"/>
                <a:gd name="T12" fmla="*/ 12 w 15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9">
                  <a:moveTo>
                    <a:pt x="9" y="8"/>
                  </a:moveTo>
                  <a:cubicBezTo>
                    <a:pt x="9" y="6"/>
                    <a:pt x="12" y="3"/>
                    <a:pt x="12" y="0"/>
                  </a:cubicBezTo>
                  <a:cubicBezTo>
                    <a:pt x="6" y="0"/>
                    <a:pt x="0" y="1"/>
                    <a:pt x="0" y="8"/>
                  </a:cubicBezTo>
                  <a:lnTo>
                    <a:pt x="9" y="8"/>
                  </a:lnTo>
                  <a:close/>
                  <a:moveTo>
                    <a:pt x="12" y="0"/>
                  </a:moveTo>
                  <a:lnTo>
                    <a:pt x="14" y="0"/>
                  </a:lnTo>
                  <a:cubicBezTo>
                    <a:pt x="13" y="0"/>
                    <a:pt x="13" y="0"/>
                    <a:pt x="12" y="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8" name="Freeform 359"/>
            <p:cNvSpPr>
              <a:spLocks noChangeArrowheads="1"/>
            </p:cNvSpPr>
            <p:nvPr/>
          </p:nvSpPr>
          <p:spPr bwMode="auto">
            <a:xfrm>
              <a:off x="3629025" y="2652713"/>
              <a:ext cx="4763" cy="3175"/>
            </a:xfrm>
            <a:custGeom>
              <a:avLst/>
              <a:gdLst>
                <a:gd name="T0" fmla="*/ 0 w 12"/>
                <a:gd name="T1" fmla="*/ 3 h 9"/>
                <a:gd name="T2" fmla="*/ 0 w 12"/>
                <a:gd name="T3" fmla="*/ 3 h 9"/>
                <a:gd name="T4" fmla="*/ 11 w 12"/>
                <a:gd name="T5" fmla="*/ 5 h 9"/>
                <a:gd name="T6" fmla="*/ 11 w 12"/>
                <a:gd name="T7" fmla="*/ 5 h 9"/>
                <a:gd name="T8" fmla="*/ 11 w 12"/>
                <a:gd name="T9" fmla="*/ 5 h 9"/>
                <a:gd name="T10" fmla="*/ 0 w 12"/>
                <a:gd name="T11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9">
                  <a:moveTo>
                    <a:pt x="0" y="3"/>
                  </a:moveTo>
                  <a:lnTo>
                    <a:pt x="0" y="3"/>
                  </a:lnTo>
                  <a:cubicBezTo>
                    <a:pt x="3" y="8"/>
                    <a:pt x="5" y="8"/>
                    <a:pt x="11" y="5"/>
                  </a:cubicBezTo>
                  <a:lnTo>
                    <a:pt x="11" y="5"/>
                  </a:lnTo>
                  <a:lnTo>
                    <a:pt x="11" y="5"/>
                  </a:lnTo>
                  <a:cubicBezTo>
                    <a:pt x="5" y="3"/>
                    <a:pt x="5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9" name="Freeform 360"/>
            <p:cNvSpPr>
              <a:spLocks noChangeArrowheads="1"/>
            </p:cNvSpPr>
            <p:nvPr/>
          </p:nvSpPr>
          <p:spPr bwMode="auto">
            <a:xfrm>
              <a:off x="3700463" y="2297113"/>
              <a:ext cx="4762" cy="4762"/>
            </a:xfrm>
            <a:custGeom>
              <a:avLst/>
              <a:gdLst>
                <a:gd name="T0" fmla="*/ 6 w 12"/>
                <a:gd name="T1" fmla="*/ 8 h 12"/>
                <a:gd name="T2" fmla="*/ 11 w 12"/>
                <a:gd name="T3" fmla="*/ 8 h 12"/>
                <a:gd name="T4" fmla="*/ 9 w 12"/>
                <a:gd name="T5" fmla="*/ 0 h 12"/>
                <a:gd name="T6" fmla="*/ 2 w 12"/>
                <a:gd name="T7" fmla="*/ 8 h 12"/>
                <a:gd name="T8" fmla="*/ 6 w 12"/>
                <a:gd name="T9" fmla="*/ 8 h 12"/>
                <a:gd name="T10" fmla="*/ 0 w 12"/>
                <a:gd name="T11" fmla="*/ 11 h 12"/>
                <a:gd name="T12" fmla="*/ 2 w 12"/>
                <a:gd name="T13" fmla="*/ 8 h 12"/>
                <a:gd name="T14" fmla="*/ 0 w 12"/>
                <a:gd name="T1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6" y="8"/>
                  </a:moveTo>
                  <a:lnTo>
                    <a:pt x="11" y="8"/>
                  </a:lnTo>
                  <a:cubicBezTo>
                    <a:pt x="11" y="5"/>
                    <a:pt x="9" y="2"/>
                    <a:pt x="9" y="0"/>
                  </a:cubicBezTo>
                  <a:cubicBezTo>
                    <a:pt x="6" y="2"/>
                    <a:pt x="4" y="5"/>
                    <a:pt x="2" y="8"/>
                  </a:cubicBezTo>
                  <a:cubicBezTo>
                    <a:pt x="3" y="8"/>
                    <a:pt x="5" y="8"/>
                    <a:pt x="6" y="8"/>
                  </a:cubicBezTo>
                  <a:close/>
                  <a:moveTo>
                    <a:pt x="0" y="11"/>
                  </a:moveTo>
                  <a:cubicBezTo>
                    <a:pt x="0" y="9"/>
                    <a:pt x="1" y="9"/>
                    <a:pt x="2" y="8"/>
                  </a:cubicBezTo>
                  <a:cubicBezTo>
                    <a:pt x="2" y="9"/>
                    <a:pt x="1" y="10"/>
                    <a:pt x="0" y="1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0" name="Freeform 361"/>
            <p:cNvSpPr>
              <a:spLocks noChangeArrowheads="1"/>
            </p:cNvSpPr>
            <p:nvPr/>
          </p:nvSpPr>
          <p:spPr bwMode="auto">
            <a:xfrm>
              <a:off x="3621088" y="2584450"/>
              <a:ext cx="4762" cy="7938"/>
            </a:xfrm>
            <a:custGeom>
              <a:avLst/>
              <a:gdLst>
                <a:gd name="T0" fmla="*/ 3 w 15"/>
                <a:gd name="T1" fmla="*/ 0 h 23"/>
                <a:gd name="T2" fmla="*/ 3 w 15"/>
                <a:gd name="T3" fmla="*/ 3 h 23"/>
                <a:gd name="T4" fmla="*/ 3 w 15"/>
                <a:gd name="T5" fmla="*/ 3 h 23"/>
                <a:gd name="T6" fmla="*/ 0 w 15"/>
                <a:gd name="T7" fmla="*/ 5 h 23"/>
                <a:gd name="T8" fmla="*/ 0 w 15"/>
                <a:gd name="T9" fmla="*/ 11 h 23"/>
                <a:gd name="T10" fmla="*/ 9 w 15"/>
                <a:gd name="T11" fmla="*/ 0 h 23"/>
                <a:gd name="T12" fmla="*/ 3 w 15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3">
                  <a:moveTo>
                    <a:pt x="3" y="0"/>
                  </a:moveTo>
                  <a:lnTo>
                    <a:pt x="3" y="3"/>
                  </a:lnTo>
                  <a:lnTo>
                    <a:pt x="3" y="3"/>
                  </a:lnTo>
                  <a:cubicBezTo>
                    <a:pt x="3" y="3"/>
                    <a:pt x="3" y="5"/>
                    <a:pt x="0" y="5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6" y="22"/>
                    <a:pt x="14" y="11"/>
                    <a:pt x="9" y="0"/>
                  </a:cubicBezTo>
                  <a:cubicBezTo>
                    <a:pt x="6" y="0"/>
                    <a:pt x="3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1" name="Freeform 362"/>
            <p:cNvSpPr>
              <a:spLocks noChangeArrowheads="1"/>
            </p:cNvSpPr>
            <p:nvPr/>
          </p:nvSpPr>
          <p:spPr bwMode="auto">
            <a:xfrm>
              <a:off x="3652838" y="2389188"/>
              <a:ext cx="1587" cy="3175"/>
            </a:xfrm>
            <a:custGeom>
              <a:avLst/>
              <a:gdLst>
                <a:gd name="T0" fmla="*/ 5 w 6"/>
                <a:gd name="T1" fmla="*/ 3 h 7"/>
                <a:gd name="T2" fmla="*/ 3 w 6"/>
                <a:gd name="T3" fmla="*/ 0 h 7"/>
                <a:gd name="T4" fmla="*/ 0 w 6"/>
                <a:gd name="T5" fmla="*/ 6 h 7"/>
                <a:gd name="T6" fmla="*/ 0 w 6"/>
                <a:gd name="T7" fmla="*/ 6 h 7"/>
                <a:gd name="T8" fmla="*/ 5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3"/>
                  </a:moveTo>
                  <a:lnTo>
                    <a:pt x="3" y="0"/>
                  </a:lnTo>
                  <a:cubicBezTo>
                    <a:pt x="3" y="3"/>
                    <a:pt x="0" y="3"/>
                    <a:pt x="0" y="6"/>
                  </a:cubicBezTo>
                  <a:lnTo>
                    <a:pt x="0" y="6"/>
                  </a:lnTo>
                  <a:cubicBezTo>
                    <a:pt x="3" y="3"/>
                    <a:pt x="5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2" name="Freeform 363"/>
            <p:cNvSpPr>
              <a:spLocks noChangeArrowheads="1"/>
            </p:cNvSpPr>
            <p:nvPr/>
          </p:nvSpPr>
          <p:spPr bwMode="auto">
            <a:xfrm>
              <a:off x="3619500" y="2597150"/>
              <a:ext cx="3175" cy="1588"/>
            </a:xfrm>
            <a:custGeom>
              <a:avLst/>
              <a:gdLst>
                <a:gd name="T0" fmla="*/ 8 w 9"/>
                <a:gd name="T1" fmla="*/ 2 h 6"/>
                <a:gd name="T2" fmla="*/ 2 w 9"/>
                <a:gd name="T3" fmla="*/ 0 h 6"/>
                <a:gd name="T4" fmla="*/ 2 w 9"/>
                <a:gd name="T5" fmla="*/ 0 h 6"/>
                <a:gd name="T6" fmla="*/ 2 w 9"/>
                <a:gd name="T7" fmla="*/ 0 h 6"/>
                <a:gd name="T8" fmla="*/ 0 w 9"/>
                <a:gd name="T9" fmla="*/ 2 h 6"/>
                <a:gd name="T10" fmla="*/ 5 w 9"/>
                <a:gd name="T11" fmla="*/ 5 h 6"/>
                <a:gd name="T12" fmla="*/ 8 w 9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8" y="2"/>
                  </a:moveTo>
                  <a:cubicBezTo>
                    <a:pt x="5" y="2"/>
                    <a:pt x="5" y="0"/>
                    <a:pt x="2" y="0"/>
                  </a:cubicBez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ubicBezTo>
                    <a:pt x="2" y="2"/>
                    <a:pt x="2" y="5"/>
                    <a:pt x="5" y="5"/>
                  </a:cubicBezTo>
                  <a:cubicBezTo>
                    <a:pt x="5" y="5"/>
                    <a:pt x="5" y="5"/>
                    <a:pt x="8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3" name="Freeform 364"/>
            <p:cNvSpPr>
              <a:spLocks noChangeArrowheads="1"/>
            </p:cNvSpPr>
            <p:nvPr/>
          </p:nvSpPr>
          <p:spPr bwMode="auto">
            <a:xfrm>
              <a:off x="3619500" y="2605088"/>
              <a:ext cx="3175" cy="3175"/>
            </a:xfrm>
            <a:custGeom>
              <a:avLst/>
              <a:gdLst>
                <a:gd name="T0" fmla="*/ 0 w 9"/>
                <a:gd name="T1" fmla="*/ 3 h 9"/>
                <a:gd name="T2" fmla="*/ 2 w 9"/>
                <a:gd name="T3" fmla="*/ 6 h 9"/>
                <a:gd name="T4" fmla="*/ 2 w 9"/>
                <a:gd name="T5" fmla="*/ 6 h 9"/>
                <a:gd name="T6" fmla="*/ 8 w 9"/>
                <a:gd name="T7" fmla="*/ 8 h 9"/>
                <a:gd name="T8" fmla="*/ 8 w 9"/>
                <a:gd name="T9" fmla="*/ 3 h 9"/>
                <a:gd name="T10" fmla="*/ 5 w 9"/>
                <a:gd name="T11" fmla="*/ 0 h 9"/>
                <a:gd name="T12" fmla="*/ 0 w 9"/>
                <a:gd name="T1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9">
                  <a:moveTo>
                    <a:pt x="0" y="3"/>
                  </a:moveTo>
                  <a:cubicBezTo>
                    <a:pt x="2" y="3"/>
                    <a:pt x="2" y="3"/>
                    <a:pt x="2" y="6"/>
                  </a:cubicBezTo>
                  <a:lnTo>
                    <a:pt x="2" y="6"/>
                  </a:lnTo>
                  <a:cubicBezTo>
                    <a:pt x="5" y="6"/>
                    <a:pt x="5" y="8"/>
                    <a:pt x="8" y="8"/>
                  </a:cubicBezTo>
                  <a:lnTo>
                    <a:pt x="8" y="3"/>
                  </a:lnTo>
                  <a:lnTo>
                    <a:pt x="5" y="0"/>
                  </a:lnTo>
                  <a:cubicBezTo>
                    <a:pt x="2" y="0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4" name="Freeform 365"/>
            <p:cNvSpPr>
              <a:spLocks noChangeArrowheads="1"/>
            </p:cNvSpPr>
            <p:nvPr/>
          </p:nvSpPr>
          <p:spPr bwMode="auto">
            <a:xfrm>
              <a:off x="4592638" y="2411413"/>
              <a:ext cx="4762" cy="3175"/>
            </a:xfrm>
            <a:custGeom>
              <a:avLst/>
              <a:gdLst>
                <a:gd name="T0" fmla="*/ 9 w 13"/>
                <a:gd name="T1" fmla="*/ 9 h 10"/>
                <a:gd name="T2" fmla="*/ 12 w 13"/>
                <a:gd name="T3" fmla="*/ 0 h 10"/>
                <a:gd name="T4" fmla="*/ 0 w 13"/>
                <a:gd name="T5" fmla="*/ 0 h 10"/>
                <a:gd name="T6" fmla="*/ 9 w 13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9" y="9"/>
                  </a:moveTo>
                  <a:cubicBezTo>
                    <a:pt x="9" y="6"/>
                    <a:pt x="12" y="3"/>
                    <a:pt x="12" y="0"/>
                  </a:cubicBezTo>
                  <a:lnTo>
                    <a:pt x="0" y="0"/>
                  </a:lnTo>
                  <a:cubicBezTo>
                    <a:pt x="0" y="3"/>
                    <a:pt x="3" y="9"/>
                    <a:pt x="9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5" name="Freeform 366"/>
            <p:cNvSpPr>
              <a:spLocks noChangeArrowheads="1"/>
            </p:cNvSpPr>
            <p:nvPr/>
          </p:nvSpPr>
          <p:spPr bwMode="auto">
            <a:xfrm>
              <a:off x="4600575" y="2528888"/>
              <a:ext cx="1588" cy="1587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5 h 6"/>
                <a:gd name="T4" fmla="*/ 3 w 4"/>
                <a:gd name="T5" fmla="*/ 0 h 6"/>
                <a:gd name="T6" fmla="*/ 0 w 4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cubicBezTo>
                    <a:pt x="0" y="2"/>
                    <a:pt x="0" y="2"/>
                    <a:pt x="0" y="5"/>
                  </a:cubicBezTo>
                  <a:cubicBezTo>
                    <a:pt x="3" y="5"/>
                    <a:pt x="3" y="2"/>
                    <a:pt x="3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6" name="Freeform 367"/>
            <p:cNvSpPr>
              <a:spLocks noChangeArrowheads="1"/>
            </p:cNvSpPr>
            <p:nvPr/>
          </p:nvSpPr>
          <p:spPr bwMode="auto">
            <a:xfrm>
              <a:off x="4602163" y="2417763"/>
              <a:ext cx="6350" cy="4762"/>
            </a:xfrm>
            <a:custGeom>
              <a:avLst/>
              <a:gdLst>
                <a:gd name="T0" fmla="*/ 17 w 18"/>
                <a:gd name="T1" fmla="*/ 9 h 15"/>
                <a:gd name="T2" fmla="*/ 3 w 18"/>
                <a:gd name="T3" fmla="*/ 0 h 15"/>
                <a:gd name="T4" fmla="*/ 17 w 18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7" y="9"/>
                  </a:moveTo>
                  <a:cubicBezTo>
                    <a:pt x="17" y="0"/>
                    <a:pt x="11" y="0"/>
                    <a:pt x="3" y="0"/>
                  </a:cubicBezTo>
                  <a:cubicBezTo>
                    <a:pt x="0" y="12"/>
                    <a:pt x="11" y="14"/>
                    <a:pt x="17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7" name="Freeform 368"/>
            <p:cNvSpPr>
              <a:spLocks noChangeArrowheads="1"/>
            </p:cNvSpPr>
            <p:nvPr/>
          </p:nvSpPr>
          <p:spPr bwMode="auto">
            <a:xfrm>
              <a:off x="4491038" y="2397125"/>
              <a:ext cx="3175" cy="3175"/>
            </a:xfrm>
            <a:custGeom>
              <a:avLst/>
              <a:gdLst>
                <a:gd name="T0" fmla="*/ 0 w 7"/>
                <a:gd name="T1" fmla="*/ 3 h 9"/>
                <a:gd name="T2" fmla="*/ 3 w 7"/>
                <a:gd name="T3" fmla="*/ 8 h 9"/>
                <a:gd name="T4" fmla="*/ 6 w 7"/>
                <a:gd name="T5" fmla="*/ 8 h 9"/>
                <a:gd name="T6" fmla="*/ 6 w 7"/>
                <a:gd name="T7" fmla="*/ 5 h 9"/>
                <a:gd name="T8" fmla="*/ 0 w 7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0" y="3"/>
                  </a:moveTo>
                  <a:cubicBezTo>
                    <a:pt x="0" y="5"/>
                    <a:pt x="3" y="5"/>
                    <a:pt x="3" y="8"/>
                  </a:cubicBezTo>
                  <a:lnTo>
                    <a:pt x="6" y="8"/>
                  </a:lnTo>
                  <a:lnTo>
                    <a:pt x="6" y="5"/>
                  </a:lnTo>
                  <a:cubicBezTo>
                    <a:pt x="3" y="0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8" name="Freeform 369"/>
            <p:cNvSpPr>
              <a:spLocks noChangeArrowheads="1"/>
            </p:cNvSpPr>
            <p:nvPr/>
          </p:nvSpPr>
          <p:spPr bwMode="auto">
            <a:xfrm>
              <a:off x="4579938" y="2417763"/>
              <a:ext cx="4762" cy="3175"/>
            </a:xfrm>
            <a:custGeom>
              <a:avLst/>
              <a:gdLst>
                <a:gd name="T0" fmla="*/ 5 w 15"/>
                <a:gd name="T1" fmla="*/ 6 h 7"/>
                <a:gd name="T2" fmla="*/ 14 w 15"/>
                <a:gd name="T3" fmla="*/ 0 h 7"/>
                <a:gd name="T4" fmla="*/ 0 w 15"/>
                <a:gd name="T5" fmla="*/ 6 h 7"/>
                <a:gd name="T6" fmla="*/ 5 w 15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5" y="6"/>
                  </a:moveTo>
                  <a:cubicBezTo>
                    <a:pt x="8" y="6"/>
                    <a:pt x="14" y="3"/>
                    <a:pt x="14" y="0"/>
                  </a:cubicBezTo>
                  <a:cubicBezTo>
                    <a:pt x="8" y="0"/>
                    <a:pt x="5" y="3"/>
                    <a:pt x="0" y="6"/>
                  </a:cubicBezTo>
                  <a:cubicBezTo>
                    <a:pt x="3" y="6"/>
                    <a:pt x="3" y="6"/>
                    <a:pt x="5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9" name="Freeform 370"/>
            <p:cNvSpPr>
              <a:spLocks noChangeArrowheads="1"/>
            </p:cNvSpPr>
            <p:nvPr/>
          </p:nvSpPr>
          <p:spPr bwMode="auto">
            <a:xfrm>
              <a:off x="4603750" y="2449513"/>
              <a:ext cx="6350" cy="11112"/>
            </a:xfrm>
            <a:custGeom>
              <a:avLst/>
              <a:gdLst>
                <a:gd name="T0" fmla="*/ 11 w 18"/>
                <a:gd name="T1" fmla="*/ 2 h 32"/>
                <a:gd name="T2" fmla="*/ 2 w 18"/>
                <a:gd name="T3" fmla="*/ 19 h 32"/>
                <a:gd name="T4" fmla="*/ 0 w 18"/>
                <a:gd name="T5" fmla="*/ 31 h 32"/>
                <a:gd name="T6" fmla="*/ 5 w 18"/>
                <a:gd name="T7" fmla="*/ 31 h 32"/>
                <a:gd name="T8" fmla="*/ 11 w 18"/>
                <a:gd name="T9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32">
                  <a:moveTo>
                    <a:pt x="11" y="2"/>
                  </a:moveTo>
                  <a:cubicBezTo>
                    <a:pt x="8" y="8"/>
                    <a:pt x="5" y="14"/>
                    <a:pt x="2" y="19"/>
                  </a:cubicBezTo>
                  <a:cubicBezTo>
                    <a:pt x="2" y="22"/>
                    <a:pt x="0" y="28"/>
                    <a:pt x="0" y="31"/>
                  </a:cubicBezTo>
                  <a:cubicBezTo>
                    <a:pt x="2" y="31"/>
                    <a:pt x="5" y="31"/>
                    <a:pt x="5" y="31"/>
                  </a:cubicBezTo>
                  <a:cubicBezTo>
                    <a:pt x="11" y="14"/>
                    <a:pt x="17" y="0"/>
                    <a:pt x="11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0" name="Freeform 371"/>
            <p:cNvSpPr>
              <a:spLocks noChangeArrowheads="1"/>
            </p:cNvSpPr>
            <p:nvPr/>
          </p:nvSpPr>
          <p:spPr bwMode="auto">
            <a:xfrm>
              <a:off x="4610100" y="2444750"/>
              <a:ext cx="1588" cy="3175"/>
            </a:xfrm>
            <a:custGeom>
              <a:avLst/>
              <a:gdLst>
                <a:gd name="T0" fmla="*/ 5 w 6"/>
                <a:gd name="T1" fmla="*/ 0 h 7"/>
                <a:gd name="T2" fmla="*/ 5 w 6"/>
                <a:gd name="T3" fmla="*/ 0 h 7"/>
                <a:gd name="T4" fmla="*/ 0 w 6"/>
                <a:gd name="T5" fmla="*/ 6 h 7"/>
                <a:gd name="T6" fmla="*/ 0 w 6"/>
                <a:gd name="T7" fmla="*/ 6 h 7"/>
                <a:gd name="T8" fmla="*/ 5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0"/>
                  </a:moveTo>
                  <a:lnTo>
                    <a:pt x="5" y="0"/>
                  </a:lnTo>
                  <a:cubicBezTo>
                    <a:pt x="5" y="0"/>
                    <a:pt x="2" y="3"/>
                    <a:pt x="0" y="6"/>
                  </a:cubicBezTo>
                  <a:lnTo>
                    <a:pt x="0" y="6"/>
                  </a:lnTo>
                  <a:cubicBezTo>
                    <a:pt x="2" y="6"/>
                    <a:pt x="5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1" name="Freeform 372"/>
            <p:cNvSpPr>
              <a:spLocks noChangeArrowheads="1"/>
            </p:cNvSpPr>
            <p:nvPr/>
          </p:nvSpPr>
          <p:spPr bwMode="auto">
            <a:xfrm>
              <a:off x="4502150" y="2398713"/>
              <a:ext cx="3175" cy="1587"/>
            </a:xfrm>
            <a:custGeom>
              <a:avLst/>
              <a:gdLst>
                <a:gd name="T0" fmla="*/ 6 w 7"/>
                <a:gd name="T1" fmla="*/ 2 h 3"/>
                <a:gd name="T2" fmla="*/ 0 w 7"/>
                <a:gd name="T3" fmla="*/ 2 h 3"/>
                <a:gd name="T4" fmla="*/ 6 w 7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6" y="2"/>
                  </a:moveTo>
                  <a:cubicBezTo>
                    <a:pt x="3" y="0"/>
                    <a:pt x="3" y="0"/>
                    <a:pt x="0" y="2"/>
                  </a:cubicBezTo>
                  <a:lnTo>
                    <a:pt x="6" y="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2" name="Freeform 373"/>
            <p:cNvSpPr>
              <a:spLocks noChangeArrowheads="1"/>
            </p:cNvSpPr>
            <p:nvPr/>
          </p:nvSpPr>
          <p:spPr bwMode="auto">
            <a:xfrm>
              <a:off x="4606925" y="2538413"/>
              <a:ext cx="3175" cy="4762"/>
            </a:xfrm>
            <a:custGeom>
              <a:avLst/>
              <a:gdLst>
                <a:gd name="T0" fmla="*/ 0 w 9"/>
                <a:gd name="T1" fmla="*/ 8 h 12"/>
                <a:gd name="T2" fmla="*/ 6 w 9"/>
                <a:gd name="T3" fmla="*/ 11 h 12"/>
                <a:gd name="T4" fmla="*/ 8 w 9"/>
                <a:gd name="T5" fmla="*/ 3 h 12"/>
                <a:gd name="T6" fmla="*/ 0 w 9"/>
                <a:gd name="T7" fmla="*/ 0 h 12"/>
                <a:gd name="T8" fmla="*/ 0 w 9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8"/>
                  </a:moveTo>
                  <a:cubicBezTo>
                    <a:pt x="3" y="8"/>
                    <a:pt x="3" y="11"/>
                    <a:pt x="6" y="11"/>
                  </a:cubicBezTo>
                  <a:cubicBezTo>
                    <a:pt x="8" y="8"/>
                    <a:pt x="8" y="5"/>
                    <a:pt x="8" y="3"/>
                  </a:cubicBezTo>
                  <a:cubicBezTo>
                    <a:pt x="6" y="3"/>
                    <a:pt x="3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3" name="Freeform 374"/>
            <p:cNvSpPr>
              <a:spLocks noChangeArrowheads="1"/>
            </p:cNvSpPr>
            <p:nvPr/>
          </p:nvSpPr>
          <p:spPr bwMode="auto">
            <a:xfrm>
              <a:off x="4008438" y="2305050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6 h 7"/>
                <a:gd name="T4" fmla="*/ 3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lnTo>
                    <a:pt x="3" y="6"/>
                  </a:lnTo>
                  <a:cubicBezTo>
                    <a:pt x="3" y="3"/>
                    <a:pt x="3" y="3"/>
                    <a:pt x="3" y="0"/>
                  </a:cubicBezTo>
                  <a:cubicBezTo>
                    <a:pt x="3" y="0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4" name="Freeform 375"/>
            <p:cNvSpPr>
              <a:spLocks noChangeArrowheads="1"/>
            </p:cNvSpPr>
            <p:nvPr/>
          </p:nvSpPr>
          <p:spPr bwMode="auto">
            <a:xfrm>
              <a:off x="4005263" y="2979738"/>
              <a:ext cx="1587" cy="4762"/>
            </a:xfrm>
            <a:custGeom>
              <a:avLst/>
              <a:gdLst>
                <a:gd name="T0" fmla="*/ 0 w 6"/>
                <a:gd name="T1" fmla="*/ 0 h 12"/>
                <a:gd name="T2" fmla="*/ 2 w 6"/>
                <a:gd name="T3" fmla="*/ 11 h 12"/>
                <a:gd name="T4" fmla="*/ 5 w 6"/>
                <a:gd name="T5" fmla="*/ 6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cubicBezTo>
                    <a:pt x="0" y="8"/>
                    <a:pt x="0" y="8"/>
                    <a:pt x="2" y="11"/>
                  </a:cubicBezTo>
                  <a:cubicBezTo>
                    <a:pt x="5" y="8"/>
                    <a:pt x="5" y="8"/>
                    <a:pt x="5" y="6"/>
                  </a:cubicBezTo>
                  <a:cubicBezTo>
                    <a:pt x="5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5" name="Freeform 376"/>
            <p:cNvSpPr>
              <a:spLocks noChangeArrowheads="1"/>
            </p:cNvSpPr>
            <p:nvPr/>
          </p:nvSpPr>
          <p:spPr bwMode="auto">
            <a:xfrm>
              <a:off x="4002088" y="2347913"/>
              <a:ext cx="4762" cy="7937"/>
            </a:xfrm>
            <a:custGeom>
              <a:avLst/>
              <a:gdLst>
                <a:gd name="T0" fmla="*/ 0 w 13"/>
                <a:gd name="T1" fmla="*/ 14 h 23"/>
                <a:gd name="T2" fmla="*/ 3 w 13"/>
                <a:gd name="T3" fmla="*/ 22 h 23"/>
                <a:gd name="T4" fmla="*/ 6 w 13"/>
                <a:gd name="T5" fmla="*/ 19 h 23"/>
                <a:gd name="T6" fmla="*/ 6 w 13"/>
                <a:gd name="T7" fmla="*/ 17 h 23"/>
                <a:gd name="T8" fmla="*/ 9 w 13"/>
                <a:gd name="T9" fmla="*/ 5 h 23"/>
                <a:gd name="T10" fmla="*/ 9 w 13"/>
                <a:gd name="T11" fmla="*/ 0 h 23"/>
                <a:gd name="T12" fmla="*/ 0 w 13"/>
                <a:gd name="T13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3">
                  <a:moveTo>
                    <a:pt x="0" y="14"/>
                  </a:moveTo>
                  <a:cubicBezTo>
                    <a:pt x="3" y="17"/>
                    <a:pt x="6" y="17"/>
                    <a:pt x="3" y="22"/>
                  </a:cubicBezTo>
                  <a:lnTo>
                    <a:pt x="6" y="19"/>
                  </a:lnTo>
                  <a:lnTo>
                    <a:pt x="6" y="17"/>
                  </a:lnTo>
                  <a:cubicBezTo>
                    <a:pt x="12" y="8"/>
                    <a:pt x="9" y="14"/>
                    <a:pt x="9" y="5"/>
                  </a:cubicBezTo>
                  <a:cubicBezTo>
                    <a:pt x="9" y="2"/>
                    <a:pt x="9" y="2"/>
                    <a:pt x="9" y="0"/>
                  </a:cubicBezTo>
                  <a:cubicBezTo>
                    <a:pt x="6" y="2"/>
                    <a:pt x="3" y="8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6" name="Freeform 377"/>
            <p:cNvSpPr>
              <a:spLocks noChangeArrowheads="1"/>
            </p:cNvSpPr>
            <p:nvPr/>
          </p:nvSpPr>
          <p:spPr bwMode="auto">
            <a:xfrm>
              <a:off x="3994150" y="2967038"/>
              <a:ext cx="9525" cy="4762"/>
            </a:xfrm>
            <a:custGeom>
              <a:avLst/>
              <a:gdLst>
                <a:gd name="T0" fmla="*/ 8 w 26"/>
                <a:gd name="T1" fmla="*/ 0 h 15"/>
                <a:gd name="T2" fmla="*/ 25 w 26"/>
                <a:gd name="T3" fmla="*/ 14 h 15"/>
                <a:gd name="T4" fmla="*/ 8 w 26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15">
                  <a:moveTo>
                    <a:pt x="8" y="0"/>
                  </a:moveTo>
                  <a:cubicBezTo>
                    <a:pt x="0" y="11"/>
                    <a:pt x="14" y="14"/>
                    <a:pt x="25" y="14"/>
                  </a:cubicBezTo>
                  <a:cubicBezTo>
                    <a:pt x="22" y="9"/>
                    <a:pt x="17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7" name="Freeform 378"/>
            <p:cNvSpPr>
              <a:spLocks noChangeArrowheads="1"/>
            </p:cNvSpPr>
            <p:nvPr/>
          </p:nvSpPr>
          <p:spPr bwMode="auto">
            <a:xfrm>
              <a:off x="4000500" y="2546350"/>
              <a:ext cx="3175" cy="4763"/>
            </a:xfrm>
            <a:custGeom>
              <a:avLst/>
              <a:gdLst>
                <a:gd name="T0" fmla="*/ 0 w 9"/>
                <a:gd name="T1" fmla="*/ 6 h 15"/>
                <a:gd name="T2" fmla="*/ 2 w 9"/>
                <a:gd name="T3" fmla="*/ 12 h 15"/>
                <a:gd name="T4" fmla="*/ 8 w 9"/>
                <a:gd name="T5" fmla="*/ 14 h 15"/>
                <a:gd name="T6" fmla="*/ 0 w 9"/>
                <a:gd name="T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5">
                  <a:moveTo>
                    <a:pt x="0" y="6"/>
                  </a:moveTo>
                  <a:cubicBezTo>
                    <a:pt x="2" y="6"/>
                    <a:pt x="2" y="9"/>
                    <a:pt x="2" y="12"/>
                  </a:cubicBezTo>
                  <a:cubicBezTo>
                    <a:pt x="5" y="12"/>
                    <a:pt x="5" y="14"/>
                    <a:pt x="8" y="14"/>
                  </a:cubicBezTo>
                  <a:cubicBezTo>
                    <a:pt x="8" y="6"/>
                    <a:pt x="2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8" name="Freeform 379"/>
            <p:cNvSpPr>
              <a:spLocks noChangeArrowheads="1"/>
            </p:cNvSpPr>
            <p:nvPr/>
          </p:nvSpPr>
          <p:spPr bwMode="auto">
            <a:xfrm>
              <a:off x="4002088" y="2895600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3 h 7"/>
                <a:gd name="T4" fmla="*/ 3 w 10"/>
                <a:gd name="T5" fmla="*/ 6 h 7"/>
                <a:gd name="T6" fmla="*/ 9 w 10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6" y="0"/>
                    <a:pt x="3" y="3"/>
                    <a:pt x="0" y="3"/>
                  </a:cubicBezTo>
                  <a:cubicBezTo>
                    <a:pt x="0" y="3"/>
                    <a:pt x="0" y="6"/>
                    <a:pt x="3" y="6"/>
                  </a:cubicBezTo>
                  <a:cubicBezTo>
                    <a:pt x="6" y="3"/>
                    <a:pt x="6" y="0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9" name="Freeform 380"/>
            <p:cNvSpPr>
              <a:spLocks noChangeArrowheads="1"/>
            </p:cNvSpPr>
            <p:nvPr/>
          </p:nvSpPr>
          <p:spPr bwMode="auto">
            <a:xfrm>
              <a:off x="4005263" y="2892425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3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lnTo>
                    <a:pt x="3" y="3"/>
                  </a:lnTo>
                  <a:lnTo>
                    <a:pt x="0" y="0"/>
                  </a:lnTo>
                  <a:cubicBezTo>
                    <a:pt x="0" y="3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0" name="Freeform 381"/>
            <p:cNvSpPr>
              <a:spLocks noChangeArrowheads="1"/>
            </p:cNvSpPr>
            <p:nvPr/>
          </p:nvSpPr>
          <p:spPr bwMode="auto">
            <a:xfrm>
              <a:off x="3995738" y="2386013"/>
              <a:ext cx="11112" cy="7937"/>
            </a:xfrm>
            <a:custGeom>
              <a:avLst/>
              <a:gdLst>
                <a:gd name="T0" fmla="*/ 6 w 29"/>
                <a:gd name="T1" fmla="*/ 2 h 23"/>
                <a:gd name="T2" fmla="*/ 0 w 29"/>
                <a:gd name="T3" fmla="*/ 11 h 23"/>
                <a:gd name="T4" fmla="*/ 6 w 29"/>
                <a:gd name="T5" fmla="*/ 14 h 23"/>
                <a:gd name="T6" fmla="*/ 3 w 29"/>
                <a:gd name="T7" fmla="*/ 22 h 23"/>
                <a:gd name="T8" fmla="*/ 12 w 29"/>
                <a:gd name="T9" fmla="*/ 19 h 23"/>
                <a:gd name="T10" fmla="*/ 26 w 29"/>
                <a:gd name="T11" fmla="*/ 19 h 23"/>
                <a:gd name="T12" fmla="*/ 26 w 29"/>
                <a:gd name="T13" fmla="*/ 17 h 23"/>
                <a:gd name="T14" fmla="*/ 28 w 29"/>
                <a:gd name="T15" fmla="*/ 11 h 23"/>
                <a:gd name="T16" fmla="*/ 14 w 29"/>
                <a:gd name="T17" fmla="*/ 2 h 23"/>
                <a:gd name="T18" fmla="*/ 9 w 29"/>
                <a:gd name="T19" fmla="*/ 14 h 23"/>
                <a:gd name="T20" fmla="*/ 6 w 29"/>
                <a:gd name="T21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23">
                  <a:moveTo>
                    <a:pt x="6" y="2"/>
                  </a:moveTo>
                  <a:cubicBezTo>
                    <a:pt x="6" y="5"/>
                    <a:pt x="0" y="8"/>
                    <a:pt x="0" y="11"/>
                  </a:cubicBezTo>
                  <a:lnTo>
                    <a:pt x="6" y="14"/>
                  </a:lnTo>
                  <a:cubicBezTo>
                    <a:pt x="6" y="14"/>
                    <a:pt x="0" y="19"/>
                    <a:pt x="3" y="22"/>
                  </a:cubicBezTo>
                  <a:cubicBezTo>
                    <a:pt x="6" y="22"/>
                    <a:pt x="9" y="22"/>
                    <a:pt x="12" y="19"/>
                  </a:cubicBezTo>
                  <a:lnTo>
                    <a:pt x="26" y="19"/>
                  </a:lnTo>
                  <a:lnTo>
                    <a:pt x="26" y="17"/>
                  </a:lnTo>
                  <a:cubicBezTo>
                    <a:pt x="26" y="17"/>
                    <a:pt x="28" y="17"/>
                    <a:pt x="28" y="11"/>
                  </a:cubicBezTo>
                  <a:cubicBezTo>
                    <a:pt x="26" y="5"/>
                    <a:pt x="23" y="0"/>
                    <a:pt x="14" y="2"/>
                  </a:cubicBezTo>
                  <a:cubicBezTo>
                    <a:pt x="14" y="8"/>
                    <a:pt x="17" y="17"/>
                    <a:pt x="9" y="14"/>
                  </a:cubicBezTo>
                  <a:cubicBezTo>
                    <a:pt x="0" y="14"/>
                    <a:pt x="12" y="5"/>
                    <a:pt x="6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1" name="Freeform 382"/>
            <p:cNvSpPr>
              <a:spLocks noChangeArrowheads="1"/>
            </p:cNvSpPr>
            <p:nvPr/>
          </p:nvSpPr>
          <p:spPr bwMode="auto">
            <a:xfrm>
              <a:off x="3975100" y="2381250"/>
              <a:ext cx="22225" cy="19050"/>
            </a:xfrm>
            <a:custGeom>
              <a:avLst/>
              <a:gdLst>
                <a:gd name="T0" fmla="*/ 20 w 60"/>
                <a:gd name="T1" fmla="*/ 19 h 51"/>
                <a:gd name="T2" fmla="*/ 11 w 60"/>
                <a:gd name="T3" fmla="*/ 31 h 51"/>
                <a:gd name="T4" fmla="*/ 6 w 60"/>
                <a:gd name="T5" fmla="*/ 22 h 51"/>
                <a:gd name="T6" fmla="*/ 8 w 60"/>
                <a:gd name="T7" fmla="*/ 19 h 51"/>
                <a:gd name="T8" fmla="*/ 0 w 60"/>
                <a:gd name="T9" fmla="*/ 25 h 51"/>
                <a:gd name="T10" fmla="*/ 0 w 60"/>
                <a:gd name="T11" fmla="*/ 28 h 51"/>
                <a:gd name="T12" fmla="*/ 6 w 60"/>
                <a:gd name="T13" fmla="*/ 31 h 51"/>
                <a:gd name="T14" fmla="*/ 3 w 60"/>
                <a:gd name="T15" fmla="*/ 33 h 51"/>
                <a:gd name="T16" fmla="*/ 11 w 60"/>
                <a:gd name="T17" fmla="*/ 50 h 51"/>
                <a:gd name="T18" fmla="*/ 14 w 60"/>
                <a:gd name="T19" fmla="*/ 50 h 51"/>
                <a:gd name="T20" fmla="*/ 31 w 60"/>
                <a:gd name="T21" fmla="*/ 36 h 51"/>
                <a:gd name="T22" fmla="*/ 31 w 60"/>
                <a:gd name="T23" fmla="*/ 45 h 51"/>
                <a:gd name="T24" fmla="*/ 37 w 60"/>
                <a:gd name="T25" fmla="*/ 42 h 51"/>
                <a:gd name="T26" fmla="*/ 51 w 60"/>
                <a:gd name="T27" fmla="*/ 45 h 51"/>
                <a:gd name="T28" fmla="*/ 59 w 60"/>
                <a:gd name="T29" fmla="*/ 36 h 51"/>
                <a:gd name="T30" fmla="*/ 45 w 60"/>
                <a:gd name="T31" fmla="*/ 25 h 51"/>
                <a:gd name="T32" fmla="*/ 45 w 60"/>
                <a:gd name="T33" fmla="*/ 25 h 51"/>
                <a:gd name="T34" fmla="*/ 42 w 60"/>
                <a:gd name="T35" fmla="*/ 31 h 51"/>
                <a:gd name="T36" fmla="*/ 51 w 60"/>
                <a:gd name="T37" fmla="*/ 39 h 51"/>
                <a:gd name="T38" fmla="*/ 42 w 60"/>
                <a:gd name="T39" fmla="*/ 42 h 51"/>
                <a:gd name="T40" fmla="*/ 37 w 60"/>
                <a:gd name="T41" fmla="*/ 33 h 51"/>
                <a:gd name="T42" fmla="*/ 37 w 60"/>
                <a:gd name="T43" fmla="*/ 31 h 51"/>
                <a:gd name="T44" fmla="*/ 31 w 60"/>
                <a:gd name="T45" fmla="*/ 14 h 51"/>
                <a:gd name="T46" fmla="*/ 34 w 60"/>
                <a:gd name="T47" fmla="*/ 14 h 51"/>
                <a:gd name="T48" fmla="*/ 31 w 60"/>
                <a:gd name="T49" fmla="*/ 2 h 51"/>
                <a:gd name="T50" fmla="*/ 34 w 60"/>
                <a:gd name="T51" fmla="*/ 2 h 51"/>
                <a:gd name="T52" fmla="*/ 28 w 60"/>
                <a:gd name="T53" fmla="*/ 0 h 51"/>
                <a:gd name="T54" fmla="*/ 20 w 60"/>
                <a:gd name="T55" fmla="*/ 1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0" h="51">
                  <a:moveTo>
                    <a:pt x="20" y="19"/>
                  </a:moveTo>
                  <a:cubicBezTo>
                    <a:pt x="20" y="19"/>
                    <a:pt x="20" y="33"/>
                    <a:pt x="11" y="31"/>
                  </a:cubicBezTo>
                  <a:cubicBezTo>
                    <a:pt x="11" y="25"/>
                    <a:pt x="8" y="25"/>
                    <a:pt x="6" y="22"/>
                  </a:cubicBezTo>
                  <a:cubicBezTo>
                    <a:pt x="6" y="22"/>
                    <a:pt x="8" y="22"/>
                    <a:pt x="8" y="19"/>
                  </a:cubicBezTo>
                  <a:cubicBezTo>
                    <a:pt x="6" y="22"/>
                    <a:pt x="3" y="22"/>
                    <a:pt x="0" y="25"/>
                  </a:cubicBezTo>
                  <a:lnTo>
                    <a:pt x="0" y="28"/>
                  </a:lnTo>
                  <a:cubicBezTo>
                    <a:pt x="3" y="28"/>
                    <a:pt x="3" y="31"/>
                    <a:pt x="6" y="31"/>
                  </a:cubicBezTo>
                  <a:cubicBezTo>
                    <a:pt x="3" y="31"/>
                    <a:pt x="3" y="31"/>
                    <a:pt x="3" y="33"/>
                  </a:cubicBezTo>
                  <a:cubicBezTo>
                    <a:pt x="6" y="39"/>
                    <a:pt x="11" y="42"/>
                    <a:pt x="11" y="50"/>
                  </a:cubicBezTo>
                  <a:lnTo>
                    <a:pt x="14" y="50"/>
                  </a:lnTo>
                  <a:cubicBezTo>
                    <a:pt x="14" y="39"/>
                    <a:pt x="23" y="39"/>
                    <a:pt x="31" y="36"/>
                  </a:cubicBezTo>
                  <a:cubicBezTo>
                    <a:pt x="31" y="39"/>
                    <a:pt x="31" y="42"/>
                    <a:pt x="31" y="45"/>
                  </a:cubicBezTo>
                  <a:cubicBezTo>
                    <a:pt x="34" y="45"/>
                    <a:pt x="37" y="42"/>
                    <a:pt x="37" y="42"/>
                  </a:cubicBezTo>
                  <a:cubicBezTo>
                    <a:pt x="42" y="45"/>
                    <a:pt x="45" y="45"/>
                    <a:pt x="51" y="45"/>
                  </a:cubicBezTo>
                  <a:cubicBezTo>
                    <a:pt x="54" y="42"/>
                    <a:pt x="56" y="39"/>
                    <a:pt x="59" y="36"/>
                  </a:cubicBezTo>
                  <a:cubicBezTo>
                    <a:pt x="54" y="33"/>
                    <a:pt x="51" y="28"/>
                    <a:pt x="45" y="25"/>
                  </a:cubicBezTo>
                  <a:lnTo>
                    <a:pt x="45" y="25"/>
                  </a:lnTo>
                  <a:cubicBezTo>
                    <a:pt x="45" y="28"/>
                    <a:pt x="42" y="28"/>
                    <a:pt x="42" y="31"/>
                  </a:cubicBezTo>
                  <a:cubicBezTo>
                    <a:pt x="45" y="33"/>
                    <a:pt x="51" y="31"/>
                    <a:pt x="51" y="39"/>
                  </a:cubicBezTo>
                  <a:cubicBezTo>
                    <a:pt x="48" y="39"/>
                    <a:pt x="45" y="39"/>
                    <a:pt x="42" y="42"/>
                  </a:cubicBezTo>
                  <a:cubicBezTo>
                    <a:pt x="42" y="39"/>
                    <a:pt x="37" y="39"/>
                    <a:pt x="37" y="33"/>
                  </a:cubicBezTo>
                  <a:cubicBezTo>
                    <a:pt x="37" y="33"/>
                    <a:pt x="37" y="33"/>
                    <a:pt x="37" y="31"/>
                  </a:cubicBezTo>
                  <a:cubicBezTo>
                    <a:pt x="31" y="25"/>
                    <a:pt x="28" y="19"/>
                    <a:pt x="31" y="14"/>
                  </a:cubicBezTo>
                  <a:lnTo>
                    <a:pt x="34" y="14"/>
                  </a:lnTo>
                  <a:cubicBezTo>
                    <a:pt x="31" y="11"/>
                    <a:pt x="31" y="8"/>
                    <a:pt x="31" y="2"/>
                  </a:cubicBezTo>
                  <a:cubicBezTo>
                    <a:pt x="31" y="2"/>
                    <a:pt x="31" y="2"/>
                    <a:pt x="34" y="2"/>
                  </a:cubicBezTo>
                  <a:cubicBezTo>
                    <a:pt x="34" y="0"/>
                    <a:pt x="31" y="0"/>
                    <a:pt x="28" y="0"/>
                  </a:cubicBezTo>
                  <a:cubicBezTo>
                    <a:pt x="31" y="14"/>
                    <a:pt x="23" y="14"/>
                    <a:pt x="20" y="1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2" name="Freeform 383"/>
            <p:cNvSpPr>
              <a:spLocks noChangeArrowheads="1"/>
            </p:cNvSpPr>
            <p:nvPr/>
          </p:nvSpPr>
          <p:spPr bwMode="auto">
            <a:xfrm>
              <a:off x="3990975" y="2154238"/>
              <a:ext cx="3175" cy="4762"/>
            </a:xfrm>
            <a:custGeom>
              <a:avLst/>
              <a:gdLst>
                <a:gd name="T0" fmla="*/ 9 w 10"/>
                <a:gd name="T1" fmla="*/ 0 h 13"/>
                <a:gd name="T2" fmla="*/ 9 w 10"/>
                <a:gd name="T3" fmla="*/ 0 h 13"/>
                <a:gd name="T4" fmla="*/ 0 w 10"/>
                <a:gd name="T5" fmla="*/ 12 h 13"/>
                <a:gd name="T6" fmla="*/ 9 w 1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9" y="0"/>
                  </a:moveTo>
                  <a:lnTo>
                    <a:pt x="9" y="0"/>
                  </a:lnTo>
                  <a:cubicBezTo>
                    <a:pt x="6" y="3"/>
                    <a:pt x="0" y="6"/>
                    <a:pt x="0" y="12"/>
                  </a:cubicBezTo>
                  <a:cubicBezTo>
                    <a:pt x="6" y="12"/>
                    <a:pt x="9" y="6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3" name="Freeform 384"/>
            <p:cNvSpPr>
              <a:spLocks noChangeArrowheads="1"/>
            </p:cNvSpPr>
            <p:nvPr/>
          </p:nvSpPr>
          <p:spPr bwMode="auto">
            <a:xfrm>
              <a:off x="3995738" y="2341563"/>
              <a:ext cx="4762" cy="3175"/>
            </a:xfrm>
            <a:custGeom>
              <a:avLst/>
              <a:gdLst>
                <a:gd name="T0" fmla="*/ 3 w 13"/>
                <a:gd name="T1" fmla="*/ 8 h 9"/>
                <a:gd name="T2" fmla="*/ 12 w 13"/>
                <a:gd name="T3" fmla="*/ 0 h 9"/>
                <a:gd name="T4" fmla="*/ 0 w 13"/>
                <a:gd name="T5" fmla="*/ 2 h 9"/>
                <a:gd name="T6" fmla="*/ 3 w 13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3" y="8"/>
                  </a:moveTo>
                  <a:cubicBezTo>
                    <a:pt x="6" y="5"/>
                    <a:pt x="9" y="2"/>
                    <a:pt x="12" y="0"/>
                  </a:cubicBezTo>
                  <a:cubicBezTo>
                    <a:pt x="9" y="0"/>
                    <a:pt x="6" y="2"/>
                    <a:pt x="0" y="2"/>
                  </a:cubicBezTo>
                  <a:cubicBezTo>
                    <a:pt x="0" y="2"/>
                    <a:pt x="3" y="5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4" name="Freeform 385"/>
            <p:cNvSpPr>
              <a:spLocks noChangeArrowheads="1"/>
            </p:cNvSpPr>
            <p:nvPr/>
          </p:nvSpPr>
          <p:spPr bwMode="auto">
            <a:xfrm>
              <a:off x="3900488" y="2466975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3"/>
                    <a:pt x="0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5" name="Freeform 386"/>
            <p:cNvSpPr>
              <a:spLocks noChangeArrowheads="1"/>
            </p:cNvSpPr>
            <p:nvPr/>
          </p:nvSpPr>
          <p:spPr bwMode="auto">
            <a:xfrm>
              <a:off x="3995738" y="2155825"/>
              <a:ext cx="3175" cy="3175"/>
            </a:xfrm>
            <a:custGeom>
              <a:avLst/>
              <a:gdLst>
                <a:gd name="T0" fmla="*/ 6 w 7"/>
                <a:gd name="T1" fmla="*/ 6 h 10"/>
                <a:gd name="T2" fmla="*/ 3 w 7"/>
                <a:gd name="T3" fmla="*/ 0 h 10"/>
                <a:gd name="T4" fmla="*/ 0 w 7"/>
                <a:gd name="T5" fmla="*/ 3 h 10"/>
                <a:gd name="T6" fmla="*/ 0 w 7"/>
                <a:gd name="T7" fmla="*/ 9 h 10"/>
                <a:gd name="T8" fmla="*/ 3 w 7"/>
                <a:gd name="T9" fmla="*/ 9 h 10"/>
                <a:gd name="T10" fmla="*/ 6 w 7"/>
                <a:gd name="T1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0">
                  <a:moveTo>
                    <a:pt x="6" y="6"/>
                  </a:moveTo>
                  <a:cubicBezTo>
                    <a:pt x="6" y="3"/>
                    <a:pt x="6" y="0"/>
                    <a:pt x="3" y="0"/>
                  </a:cubicBezTo>
                  <a:cubicBezTo>
                    <a:pt x="3" y="3"/>
                    <a:pt x="3" y="3"/>
                    <a:pt x="0" y="3"/>
                  </a:cubicBezTo>
                  <a:lnTo>
                    <a:pt x="0" y="9"/>
                  </a:lnTo>
                  <a:cubicBezTo>
                    <a:pt x="0" y="9"/>
                    <a:pt x="0" y="9"/>
                    <a:pt x="3" y="9"/>
                  </a:cubicBezTo>
                  <a:cubicBezTo>
                    <a:pt x="6" y="6"/>
                    <a:pt x="6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6" name="Freeform 387"/>
            <p:cNvSpPr>
              <a:spLocks noChangeArrowheads="1"/>
            </p:cNvSpPr>
            <p:nvPr/>
          </p:nvSpPr>
          <p:spPr bwMode="auto">
            <a:xfrm>
              <a:off x="3987800" y="2424113"/>
              <a:ext cx="4763" cy="4762"/>
            </a:xfrm>
            <a:custGeom>
              <a:avLst/>
              <a:gdLst>
                <a:gd name="T0" fmla="*/ 8 w 12"/>
                <a:gd name="T1" fmla="*/ 3 h 15"/>
                <a:gd name="T2" fmla="*/ 3 w 12"/>
                <a:gd name="T3" fmla="*/ 0 h 15"/>
                <a:gd name="T4" fmla="*/ 0 w 12"/>
                <a:gd name="T5" fmla="*/ 11 h 15"/>
                <a:gd name="T6" fmla="*/ 11 w 12"/>
                <a:gd name="T7" fmla="*/ 14 h 15"/>
                <a:gd name="T8" fmla="*/ 8 w 12"/>
                <a:gd name="T9" fmla="*/ 11 h 15"/>
                <a:gd name="T10" fmla="*/ 8 w 12"/>
                <a:gd name="T11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5">
                  <a:moveTo>
                    <a:pt x="8" y="3"/>
                  </a:moveTo>
                  <a:cubicBezTo>
                    <a:pt x="8" y="3"/>
                    <a:pt x="5" y="3"/>
                    <a:pt x="3" y="0"/>
                  </a:cubicBezTo>
                  <a:cubicBezTo>
                    <a:pt x="0" y="3"/>
                    <a:pt x="0" y="8"/>
                    <a:pt x="0" y="11"/>
                  </a:cubicBezTo>
                  <a:cubicBezTo>
                    <a:pt x="3" y="11"/>
                    <a:pt x="5" y="14"/>
                    <a:pt x="11" y="14"/>
                  </a:cubicBezTo>
                  <a:cubicBezTo>
                    <a:pt x="11" y="14"/>
                    <a:pt x="11" y="11"/>
                    <a:pt x="8" y="11"/>
                  </a:cubicBezTo>
                  <a:cubicBezTo>
                    <a:pt x="11" y="8"/>
                    <a:pt x="11" y="6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7" name="Freeform 388"/>
            <p:cNvSpPr>
              <a:spLocks noChangeArrowheads="1"/>
            </p:cNvSpPr>
            <p:nvPr/>
          </p:nvSpPr>
          <p:spPr bwMode="auto">
            <a:xfrm>
              <a:off x="3987800" y="2566988"/>
              <a:ext cx="3175" cy="3175"/>
            </a:xfrm>
            <a:custGeom>
              <a:avLst/>
              <a:gdLst>
                <a:gd name="T0" fmla="*/ 8 w 9"/>
                <a:gd name="T1" fmla="*/ 5 h 9"/>
                <a:gd name="T2" fmla="*/ 8 w 9"/>
                <a:gd name="T3" fmla="*/ 0 h 9"/>
                <a:gd name="T4" fmla="*/ 0 w 9"/>
                <a:gd name="T5" fmla="*/ 3 h 9"/>
                <a:gd name="T6" fmla="*/ 2 w 9"/>
                <a:gd name="T7" fmla="*/ 5 h 9"/>
                <a:gd name="T8" fmla="*/ 6 w 9"/>
                <a:gd name="T9" fmla="*/ 6 h 9"/>
                <a:gd name="T10" fmla="*/ 8 w 9"/>
                <a:gd name="T11" fmla="*/ 5 h 9"/>
                <a:gd name="T12" fmla="*/ 8 w 9"/>
                <a:gd name="T13" fmla="*/ 5 h 9"/>
                <a:gd name="T14" fmla="*/ 6 w 9"/>
                <a:gd name="T15" fmla="*/ 6 h 9"/>
                <a:gd name="T16" fmla="*/ 8 w 9"/>
                <a:gd name="T1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8" y="5"/>
                  </a:moveTo>
                  <a:lnTo>
                    <a:pt x="8" y="0"/>
                  </a:lnTo>
                  <a:cubicBezTo>
                    <a:pt x="5" y="0"/>
                    <a:pt x="0" y="0"/>
                    <a:pt x="0" y="3"/>
                  </a:cubicBezTo>
                  <a:cubicBezTo>
                    <a:pt x="2" y="3"/>
                    <a:pt x="2" y="3"/>
                    <a:pt x="2" y="5"/>
                  </a:cubicBezTo>
                  <a:cubicBezTo>
                    <a:pt x="2" y="8"/>
                    <a:pt x="2" y="8"/>
                    <a:pt x="6" y="6"/>
                  </a:cubicBezTo>
                  <a:cubicBezTo>
                    <a:pt x="6" y="6"/>
                    <a:pt x="7" y="5"/>
                    <a:pt x="8" y="5"/>
                  </a:cubicBezTo>
                  <a:close/>
                  <a:moveTo>
                    <a:pt x="8" y="5"/>
                  </a:moveTo>
                  <a:cubicBezTo>
                    <a:pt x="7" y="7"/>
                    <a:pt x="6" y="7"/>
                    <a:pt x="6" y="6"/>
                  </a:cubicBezTo>
                  <a:cubicBezTo>
                    <a:pt x="7" y="6"/>
                    <a:pt x="7" y="6"/>
                    <a:pt x="8" y="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8" name="Freeform 389"/>
            <p:cNvSpPr>
              <a:spLocks noChangeArrowheads="1"/>
            </p:cNvSpPr>
            <p:nvPr/>
          </p:nvSpPr>
          <p:spPr bwMode="auto">
            <a:xfrm>
              <a:off x="3986213" y="2444750"/>
              <a:ext cx="3175" cy="6350"/>
            </a:xfrm>
            <a:custGeom>
              <a:avLst/>
              <a:gdLst>
                <a:gd name="T0" fmla="*/ 6 w 9"/>
                <a:gd name="T1" fmla="*/ 0 h 16"/>
                <a:gd name="T2" fmla="*/ 3 w 9"/>
                <a:gd name="T3" fmla="*/ 0 h 16"/>
                <a:gd name="T4" fmla="*/ 0 w 9"/>
                <a:gd name="T5" fmla="*/ 6 h 16"/>
                <a:gd name="T6" fmla="*/ 3 w 9"/>
                <a:gd name="T7" fmla="*/ 6 h 16"/>
                <a:gd name="T8" fmla="*/ 8 w 9"/>
                <a:gd name="T9" fmla="*/ 12 h 16"/>
                <a:gd name="T10" fmla="*/ 6 w 9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6">
                  <a:moveTo>
                    <a:pt x="6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0" y="3"/>
                    <a:pt x="0" y="6"/>
                  </a:cubicBezTo>
                  <a:lnTo>
                    <a:pt x="3" y="6"/>
                  </a:lnTo>
                  <a:cubicBezTo>
                    <a:pt x="3" y="6"/>
                    <a:pt x="3" y="15"/>
                    <a:pt x="8" y="12"/>
                  </a:cubicBezTo>
                  <a:cubicBezTo>
                    <a:pt x="8" y="9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9" name="Freeform 390"/>
            <p:cNvSpPr>
              <a:spLocks noChangeArrowheads="1"/>
            </p:cNvSpPr>
            <p:nvPr/>
          </p:nvSpPr>
          <p:spPr bwMode="auto">
            <a:xfrm>
              <a:off x="3973513" y="2376488"/>
              <a:ext cx="3175" cy="4762"/>
            </a:xfrm>
            <a:custGeom>
              <a:avLst/>
              <a:gdLst>
                <a:gd name="T0" fmla="*/ 0 w 10"/>
                <a:gd name="T1" fmla="*/ 6 h 13"/>
                <a:gd name="T2" fmla="*/ 6 w 10"/>
                <a:gd name="T3" fmla="*/ 12 h 13"/>
                <a:gd name="T4" fmla="*/ 3 w 10"/>
                <a:gd name="T5" fmla="*/ 0 h 13"/>
                <a:gd name="T6" fmla="*/ 0 w 10"/>
                <a:gd name="T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0" y="6"/>
                  </a:moveTo>
                  <a:cubicBezTo>
                    <a:pt x="0" y="9"/>
                    <a:pt x="0" y="12"/>
                    <a:pt x="6" y="12"/>
                  </a:cubicBezTo>
                  <a:cubicBezTo>
                    <a:pt x="9" y="9"/>
                    <a:pt x="6" y="3"/>
                    <a:pt x="3" y="0"/>
                  </a:cubicBezTo>
                  <a:cubicBezTo>
                    <a:pt x="3" y="3"/>
                    <a:pt x="3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0" name="Freeform 391"/>
            <p:cNvSpPr>
              <a:spLocks noChangeArrowheads="1"/>
            </p:cNvSpPr>
            <p:nvPr/>
          </p:nvSpPr>
          <p:spPr bwMode="auto">
            <a:xfrm>
              <a:off x="3997325" y="2863850"/>
              <a:ext cx="7938" cy="3175"/>
            </a:xfrm>
            <a:custGeom>
              <a:avLst/>
              <a:gdLst>
                <a:gd name="T0" fmla="*/ 9 w 21"/>
                <a:gd name="T1" fmla="*/ 0 h 10"/>
                <a:gd name="T2" fmla="*/ 9 w 21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0">
                  <a:moveTo>
                    <a:pt x="9" y="0"/>
                  </a:moveTo>
                  <a:cubicBezTo>
                    <a:pt x="0" y="9"/>
                    <a:pt x="20" y="9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1" name="Freeform 392"/>
            <p:cNvSpPr>
              <a:spLocks noChangeArrowheads="1"/>
            </p:cNvSpPr>
            <p:nvPr/>
          </p:nvSpPr>
          <p:spPr bwMode="auto">
            <a:xfrm>
              <a:off x="3979863" y="2735263"/>
              <a:ext cx="6350" cy="4762"/>
            </a:xfrm>
            <a:custGeom>
              <a:avLst/>
              <a:gdLst>
                <a:gd name="T0" fmla="*/ 0 w 18"/>
                <a:gd name="T1" fmla="*/ 8 h 12"/>
                <a:gd name="T2" fmla="*/ 17 w 18"/>
                <a:gd name="T3" fmla="*/ 6 h 12"/>
                <a:gd name="T4" fmla="*/ 6 w 18"/>
                <a:gd name="T5" fmla="*/ 0 h 12"/>
                <a:gd name="T6" fmla="*/ 0 w 18"/>
                <a:gd name="T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2">
                  <a:moveTo>
                    <a:pt x="0" y="8"/>
                  </a:moveTo>
                  <a:cubicBezTo>
                    <a:pt x="9" y="11"/>
                    <a:pt x="12" y="6"/>
                    <a:pt x="17" y="6"/>
                  </a:cubicBezTo>
                  <a:cubicBezTo>
                    <a:pt x="14" y="6"/>
                    <a:pt x="9" y="3"/>
                    <a:pt x="6" y="0"/>
                  </a:cubicBezTo>
                  <a:cubicBezTo>
                    <a:pt x="3" y="3"/>
                    <a:pt x="0" y="6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2" name="Freeform 393"/>
            <p:cNvSpPr>
              <a:spLocks noChangeArrowheads="1"/>
            </p:cNvSpPr>
            <p:nvPr/>
          </p:nvSpPr>
          <p:spPr bwMode="auto">
            <a:xfrm>
              <a:off x="3979863" y="2516188"/>
              <a:ext cx="1587" cy="1587"/>
            </a:xfrm>
            <a:custGeom>
              <a:avLst/>
              <a:gdLst>
                <a:gd name="T0" fmla="*/ 3 w 4"/>
                <a:gd name="T1" fmla="*/ 0 h 6"/>
                <a:gd name="T2" fmla="*/ 0 w 4"/>
                <a:gd name="T3" fmla="*/ 5 h 6"/>
                <a:gd name="T4" fmla="*/ 3 w 4"/>
                <a:gd name="T5" fmla="*/ 3 h 6"/>
                <a:gd name="T6" fmla="*/ 3 w 4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0"/>
                  </a:moveTo>
                  <a:cubicBezTo>
                    <a:pt x="0" y="3"/>
                    <a:pt x="0" y="5"/>
                    <a:pt x="0" y="5"/>
                  </a:cubicBezTo>
                  <a:cubicBezTo>
                    <a:pt x="0" y="5"/>
                    <a:pt x="3" y="5"/>
                    <a:pt x="3" y="3"/>
                  </a:cubicBezTo>
                  <a:lnTo>
                    <a:pt x="3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3" name="Freeform 394"/>
            <p:cNvSpPr>
              <a:spLocks noChangeArrowheads="1"/>
            </p:cNvSpPr>
            <p:nvPr/>
          </p:nvSpPr>
          <p:spPr bwMode="auto">
            <a:xfrm>
              <a:off x="3976688" y="2416175"/>
              <a:ext cx="3175" cy="3175"/>
            </a:xfrm>
            <a:custGeom>
              <a:avLst/>
              <a:gdLst>
                <a:gd name="T0" fmla="*/ 1 w 7"/>
                <a:gd name="T1" fmla="*/ 3 h 7"/>
                <a:gd name="T2" fmla="*/ 3 w 7"/>
                <a:gd name="T3" fmla="*/ 6 h 7"/>
                <a:gd name="T4" fmla="*/ 6 w 7"/>
                <a:gd name="T5" fmla="*/ 0 h 7"/>
                <a:gd name="T6" fmla="*/ 6 w 7"/>
                <a:gd name="T7" fmla="*/ 0 h 7"/>
                <a:gd name="T8" fmla="*/ 1 w 7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3"/>
                  </a:moveTo>
                  <a:cubicBezTo>
                    <a:pt x="1" y="6"/>
                    <a:pt x="0" y="6"/>
                    <a:pt x="3" y="6"/>
                  </a:cubicBezTo>
                  <a:cubicBezTo>
                    <a:pt x="5" y="6"/>
                    <a:pt x="6" y="3"/>
                    <a:pt x="6" y="0"/>
                  </a:cubicBezTo>
                  <a:lnTo>
                    <a:pt x="6" y="0"/>
                  </a:lnTo>
                  <a:cubicBezTo>
                    <a:pt x="3" y="3"/>
                    <a:pt x="1" y="3"/>
                    <a:pt x="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4" name="Freeform 395"/>
            <p:cNvSpPr>
              <a:spLocks noChangeArrowheads="1"/>
            </p:cNvSpPr>
            <p:nvPr/>
          </p:nvSpPr>
          <p:spPr bwMode="auto">
            <a:xfrm>
              <a:off x="3978275" y="2406650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0 h 7"/>
                <a:gd name="T4" fmla="*/ 0 w 10"/>
                <a:gd name="T5" fmla="*/ 6 h 7"/>
                <a:gd name="T6" fmla="*/ 9 w 10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6" y="0"/>
                    <a:pt x="3" y="0"/>
                    <a:pt x="0" y="0"/>
                  </a:cubicBezTo>
                  <a:cubicBezTo>
                    <a:pt x="0" y="3"/>
                    <a:pt x="0" y="3"/>
                    <a:pt x="0" y="6"/>
                  </a:cubicBezTo>
                  <a:cubicBezTo>
                    <a:pt x="3" y="6"/>
                    <a:pt x="6" y="3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5" name="Freeform 396"/>
            <p:cNvSpPr>
              <a:spLocks noChangeArrowheads="1"/>
            </p:cNvSpPr>
            <p:nvPr/>
          </p:nvSpPr>
          <p:spPr bwMode="auto">
            <a:xfrm>
              <a:off x="3983038" y="2378075"/>
              <a:ext cx="4762" cy="4763"/>
            </a:xfrm>
            <a:custGeom>
              <a:avLst/>
              <a:gdLst>
                <a:gd name="T0" fmla="*/ 2 w 12"/>
                <a:gd name="T1" fmla="*/ 0 h 15"/>
                <a:gd name="T2" fmla="*/ 0 w 12"/>
                <a:gd name="T3" fmla="*/ 14 h 15"/>
                <a:gd name="T4" fmla="*/ 8 w 12"/>
                <a:gd name="T5" fmla="*/ 11 h 15"/>
                <a:gd name="T6" fmla="*/ 11 w 12"/>
                <a:gd name="T7" fmla="*/ 0 h 15"/>
                <a:gd name="T8" fmla="*/ 2 w 1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2" y="0"/>
                  </a:moveTo>
                  <a:cubicBezTo>
                    <a:pt x="2" y="6"/>
                    <a:pt x="2" y="9"/>
                    <a:pt x="0" y="14"/>
                  </a:cubicBezTo>
                  <a:cubicBezTo>
                    <a:pt x="2" y="11"/>
                    <a:pt x="2" y="9"/>
                    <a:pt x="8" y="11"/>
                  </a:cubicBezTo>
                  <a:cubicBezTo>
                    <a:pt x="8" y="9"/>
                    <a:pt x="8" y="3"/>
                    <a:pt x="11" y="0"/>
                  </a:cubicBezTo>
                  <a:cubicBezTo>
                    <a:pt x="5" y="0"/>
                    <a:pt x="2" y="0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6" name="Freeform 397"/>
            <p:cNvSpPr>
              <a:spLocks noChangeArrowheads="1"/>
            </p:cNvSpPr>
            <p:nvPr/>
          </p:nvSpPr>
          <p:spPr bwMode="auto">
            <a:xfrm>
              <a:off x="3997325" y="2398713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0 w 7"/>
                <a:gd name="T3" fmla="*/ 0 h 7"/>
                <a:gd name="T4" fmla="*/ 0 w 7"/>
                <a:gd name="T5" fmla="*/ 3 h 7"/>
                <a:gd name="T6" fmla="*/ 6 w 7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cubicBezTo>
                    <a:pt x="6" y="3"/>
                    <a:pt x="3" y="0"/>
                    <a:pt x="0" y="0"/>
                  </a:cubicBezTo>
                  <a:lnTo>
                    <a:pt x="0" y="3"/>
                  </a:lnTo>
                  <a:cubicBezTo>
                    <a:pt x="3" y="3"/>
                    <a:pt x="6" y="3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7" name="Freeform 398"/>
            <p:cNvSpPr>
              <a:spLocks noChangeArrowheads="1"/>
            </p:cNvSpPr>
            <p:nvPr/>
          </p:nvSpPr>
          <p:spPr bwMode="auto">
            <a:xfrm>
              <a:off x="3997325" y="2428875"/>
              <a:ext cx="1588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3 w 4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0"/>
                    <a:pt x="0" y="0"/>
                  </a:cubicBezTo>
                  <a:cubicBezTo>
                    <a:pt x="0" y="3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8" name="Freeform 399"/>
            <p:cNvSpPr>
              <a:spLocks noChangeArrowheads="1"/>
            </p:cNvSpPr>
            <p:nvPr/>
          </p:nvSpPr>
          <p:spPr bwMode="auto">
            <a:xfrm>
              <a:off x="4002088" y="2395538"/>
              <a:ext cx="4762" cy="9525"/>
            </a:xfrm>
            <a:custGeom>
              <a:avLst/>
              <a:gdLst>
                <a:gd name="T0" fmla="*/ 0 w 15"/>
                <a:gd name="T1" fmla="*/ 20 h 26"/>
                <a:gd name="T2" fmla="*/ 6 w 15"/>
                <a:gd name="T3" fmla="*/ 25 h 26"/>
                <a:gd name="T4" fmla="*/ 12 w 15"/>
                <a:gd name="T5" fmla="*/ 14 h 26"/>
                <a:gd name="T6" fmla="*/ 12 w 15"/>
                <a:gd name="T7" fmla="*/ 14 h 26"/>
                <a:gd name="T8" fmla="*/ 14 w 15"/>
                <a:gd name="T9" fmla="*/ 0 h 26"/>
                <a:gd name="T10" fmla="*/ 9 w 15"/>
                <a:gd name="T11" fmla="*/ 6 h 26"/>
                <a:gd name="T12" fmla="*/ 9 w 15"/>
                <a:gd name="T13" fmla="*/ 11 h 26"/>
                <a:gd name="T14" fmla="*/ 3 w 15"/>
                <a:gd name="T15" fmla="*/ 11 h 26"/>
                <a:gd name="T16" fmla="*/ 0 w 15"/>
                <a:gd name="T17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26">
                  <a:moveTo>
                    <a:pt x="0" y="20"/>
                  </a:moveTo>
                  <a:cubicBezTo>
                    <a:pt x="3" y="23"/>
                    <a:pt x="3" y="23"/>
                    <a:pt x="6" y="25"/>
                  </a:cubicBezTo>
                  <a:cubicBezTo>
                    <a:pt x="9" y="23"/>
                    <a:pt x="12" y="17"/>
                    <a:pt x="12" y="14"/>
                  </a:cubicBezTo>
                  <a:lnTo>
                    <a:pt x="12" y="14"/>
                  </a:lnTo>
                  <a:cubicBezTo>
                    <a:pt x="14" y="8"/>
                    <a:pt x="14" y="6"/>
                    <a:pt x="14" y="0"/>
                  </a:cubicBezTo>
                  <a:cubicBezTo>
                    <a:pt x="12" y="3"/>
                    <a:pt x="12" y="3"/>
                    <a:pt x="9" y="6"/>
                  </a:cubicBezTo>
                  <a:cubicBezTo>
                    <a:pt x="9" y="8"/>
                    <a:pt x="9" y="8"/>
                    <a:pt x="9" y="11"/>
                  </a:cubicBezTo>
                  <a:cubicBezTo>
                    <a:pt x="6" y="11"/>
                    <a:pt x="6" y="11"/>
                    <a:pt x="3" y="11"/>
                  </a:cubicBezTo>
                  <a:cubicBezTo>
                    <a:pt x="0" y="14"/>
                    <a:pt x="0" y="17"/>
                    <a:pt x="0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9" name="Freeform 400"/>
            <p:cNvSpPr>
              <a:spLocks noChangeArrowheads="1"/>
            </p:cNvSpPr>
            <p:nvPr/>
          </p:nvSpPr>
          <p:spPr bwMode="auto">
            <a:xfrm>
              <a:off x="3990975" y="2760663"/>
              <a:ext cx="3175" cy="4762"/>
            </a:xfrm>
            <a:custGeom>
              <a:avLst/>
              <a:gdLst>
                <a:gd name="T0" fmla="*/ 3 w 10"/>
                <a:gd name="T1" fmla="*/ 0 h 12"/>
                <a:gd name="T2" fmla="*/ 0 w 10"/>
                <a:gd name="T3" fmla="*/ 11 h 12"/>
                <a:gd name="T4" fmla="*/ 3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3" y="0"/>
                  </a:moveTo>
                  <a:cubicBezTo>
                    <a:pt x="3" y="2"/>
                    <a:pt x="0" y="5"/>
                    <a:pt x="0" y="11"/>
                  </a:cubicBezTo>
                  <a:cubicBezTo>
                    <a:pt x="9" y="11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0" name="Freeform 401"/>
            <p:cNvSpPr>
              <a:spLocks noChangeArrowheads="1"/>
            </p:cNvSpPr>
            <p:nvPr/>
          </p:nvSpPr>
          <p:spPr bwMode="auto">
            <a:xfrm>
              <a:off x="3995738" y="2570163"/>
              <a:ext cx="4762" cy="3175"/>
            </a:xfrm>
            <a:custGeom>
              <a:avLst/>
              <a:gdLst>
                <a:gd name="T0" fmla="*/ 0 w 13"/>
                <a:gd name="T1" fmla="*/ 0 h 10"/>
                <a:gd name="T2" fmla="*/ 0 w 13"/>
                <a:gd name="T3" fmla="*/ 3 h 10"/>
                <a:gd name="T4" fmla="*/ 12 w 13"/>
                <a:gd name="T5" fmla="*/ 9 h 10"/>
                <a:gd name="T6" fmla="*/ 0 w 1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0" y="0"/>
                  </a:moveTo>
                  <a:lnTo>
                    <a:pt x="0" y="3"/>
                  </a:lnTo>
                  <a:cubicBezTo>
                    <a:pt x="3" y="6"/>
                    <a:pt x="9" y="9"/>
                    <a:pt x="12" y="9"/>
                  </a:cubicBezTo>
                  <a:cubicBezTo>
                    <a:pt x="9" y="6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1" name="Freeform 402"/>
            <p:cNvSpPr>
              <a:spLocks noChangeArrowheads="1"/>
            </p:cNvSpPr>
            <p:nvPr/>
          </p:nvSpPr>
          <p:spPr bwMode="auto">
            <a:xfrm>
              <a:off x="3990975" y="2509838"/>
              <a:ext cx="3175" cy="4762"/>
            </a:xfrm>
            <a:custGeom>
              <a:avLst/>
              <a:gdLst>
                <a:gd name="T0" fmla="*/ 3 w 10"/>
                <a:gd name="T1" fmla="*/ 11 h 12"/>
                <a:gd name="T2" fmla="*/ 9 w 10"/>
                <a:gd name="T3" fmla="*/ 3 h 12"/>
                <a:gd name="T4" fmla="*/ 3 w 10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3" y="11"/>
                  </a:moveTo>
                  <a:cubicBezTo>
                    <a:pt x="6" y="11"/>
                    <a:pt x="9" y="6"/>
                    <a:pt x="9" y="3"/>
                  </a:cubicBezTo>
                  <a:cubicBezTo>
                    <a:pt x="3" y="0"/>
                    <a:pt x="0" y="6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2" name="Freeform 403"/>
            <p:cNvSpPr>
              <a:spLocks noChangeArrowheads="1"/>
            </p:cNvSpPr>
            <p:nvPr/>
          </p:nvSpPr>
          <p:spPr bwMode="auto">
            <a:xfrm>
              <a:off x="3990975" y="2443163"/>
              <a:ext cx="4763" cy="6350"/>
            </a:xfrm>
            <a:custGeom>
              <a:avLst/>
              <a:gdLst>
                <a:gd name="T0" fmla="*/ 14 w 15"/>
                <a:gd name="T1" fmla="*/ 2 h 18"/>
                <a:gd name="T2" fmla="*/ 0 w 15"/>
                <a:gd name="T3" fmla="*/ 2 h 18"/>
                <a:gd name="T4" fmla="*/ 9 w 15"/>
                <a:gd name="T5" fmla="*/ 17 h 18"/>
                <a:gd name="T6" fmla="*/ 11 w 15"/>
                <a:gd name="T7" fmla="*/ 17 h 18"/>
                <a:gd name="T8" fmla="*/ 9 w 15"/>
                <a:gd name="T9" fmla="*/ 5 h 18"/>
                <a:gd name="T10" fmla="*/ 14 w 15"/>
                <a:gd name="T1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8">
                  <a:moveTo>
                    <a:pt x="14" y="2"/>
                  </a:moveTo>
                  <a:cubicBezTo>
                    <a:pt x="9" y="0"/>
                    <a:pt x="6" y="0"/>
                    <a:pt x="0" y="2"/>
                  </a:cubicBezTo>
                  <a:cubicBezTo>
                    <a:pt x="3" y="8"/>
                    <a:pt x="3" y="17"/>
                    <a:pt x="9" y="17"/>
                  </a:cubicBezTo>
                  <a:cubicBezTo>
                    <a:pt x="9" y="17"/>
                    <a:pt x="9" y="17"/>
                    <a:pt x="11" y="17"/>
                  </a:cubicBezTo>
                  <a:cubicBezTo>
                    <a:pt x="11" y="11"/>
                    <a:pt x="9" y="11"/>
                    <a:pt x="9" y="5"/>
                  </a:cubicBezTo>
                  <a:cubicBezTo>
                    <a:pt x="9" y="0"/>
                    <a:pt x="11" y="2"/>
                    <a:pt x="14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3" name="Freeform 404"/>
            <p:cNvSpPr>
              <a:spLocks noChangeArrowheads="1"/>
            </p:cNvSpPr>
            <p:nvPr/>
          </p:nvSpPr>
          <p:spPr bwMode="auto">
            <a:xfrm>
              <a:off x="3922713" y="2335213"/>
              <a:ext cx="3175" cy="1587"/>
            </a:xfrm>
            <a:custGeom>
              <a:avLst/>
              <a:gdLst>
                <a:gd name="T0" fmla="*/ 6 w 7"/>
                <a:gd name="T1" fmla="*/ 3 h 4"/>
                <a:gd name="T2" fmla="*/ 0 w 7"/>
                <a:gd name="T3" fmla="*/ 0 h 4"/>
                <a:gd name="T4" fmla="*/ 0 w 7"/>
                <a:gd name="T5" fmla="*/ 3 h 4"/>
                <a:gd name="T6" fmla="*/ 6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3"/>
                  </a:moveTo>
                  <a:cubicBezTo>
                    <a:pt x="6" y="3"/>
                    <a:pt x="3" y="3"/>
                    <a:pt x="0" y="0"/>
                  </a:cubicBezTo>
                  <a:lnTo>
                    <a:pt x="0" y="3"/>
                  </a:lnTo>
                  <a:cubicBezTo>
                    <a:pt x="3" y="3"/>
                    <a:pt x="6" y="3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4" name="Freeform 405"/>
            <p:cNvSpPr>
              <a:spLocks noChangeArrowheads="1"/>
            </p:cNvSpPr>
            <p:nvPr/>
          </p:nvSpPr>
          <p:spPr bwMode="auto">
            <a:xfrm>
              <a:off x="3925888" y="3040063"/>
              <a:ext cx="4762" cy="4762"/>
            </a:xfrm>
            <a:custGeom>
              <a:avLst/>
              <a:gdLst>
                <a:gd name="T0" fmla="*/ 14 w 15"/>
                <a:gd name="T1" fmla="*/ 6 h 15"/>
                <a:gd name="T2" fmla="*/ 0 w 15"/>
                <a:gd name="T3" fmla="*/ 6 h 15"/>
                <a:gd name="T4" fmla="*/ 14 w 15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6"/>
                  </a:moveTo>
                  <a:cubicBezTo>
                    <a:pt x="11" y="6"/>
                    <a:pt x="0" y="0"/>
                    <a:pt x="0" y="6"/>
                  </a:cubicBezTo>
                  <a:cubicBezTo>
                    <a:pt x="5" y="9"/>
                    <a:pt x="11" y="14"/>
                    <a:pt x="14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5" name="Freeform 406"/>
            <p:cNvSpPr>
              <a:spLocks noChangeArrowheads="1"/>
            </p:cNvSpPr>
            <p:nvPr/>
          </p:nvSpPr>
          <p:spPr bwMode="auto">
            <a:xfrm>
              <a:off x="3929063" y="2124075"/>
              <a:ext cx="3175" cy="3175"/>
            </a:xfrm>
            <a:custGeom>
              <a:avLst/>
              <a:gdLst>
                <a:gd name="T0" fmla="*/ 3 w 7"/>
                <a:gd name="T1" fmla="*/ 3 h 10"/>
                <a:gd name="T2" fmla="*/ 0 w 7"/>
                <a:gd name="T3" fmla="*/ 9 h 10"/>
                <a:gd name="T4" fmla="*/ 6 w 7"/>
                <a:gd name="T5" fmla="*/ 6 h 10"/>
                <a:gd name="T6" fmla="*/ 3 w 7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3" y="3"/>
                  </a:moveTo>
                  <a:cubicBezTo>
                    <a:pt x="3" y="6"/>
                    <a:pt x="3" y="6"/>
                    <a:pt x="0" y="9"/>
                  </a:cubicBezTo>
                  <a:cubicBezTo>
                    <a:pt x="3" y="9"/>
                    <a:pt x="6" y="6"/>
                    <a:pt x="6" y="6"/>
                  </a:cubicBezTo>
                  <a:cubicBezTo>
                    <a:pt x="6" y="3"/>
                    <a:pt x="6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6" name="Freeform 407"/>
            <p:cNvSpPr>
              <a:spLocks noChangeArrowheads="1"/>
            </p:cNvSpPr>
            <p:nvPr/>
          </p:nvSpPr>
          <p:spPr bwMode="auto">
            <a:xfrm>
              <a:off x="3900488" y="2278063"/>
              <a:ext cx="3175" cy="1587"/>
            </a:xfrm>
            <a:custGeom>
              <a:avLst/>
              <a:gdLst>
                <a:gd name="T0" fmla="*/ 6 w 7"/>
                <a:gd name="T1" fmla="*/ 3 h 6"/>
                <a:gd name="T2" fmla="*/ 0 w 7"/>
                <a:gd name="T3" fmla="*/ 0 h 6"/>
                <a:gd name="T4" fmla="*/ 0 w 7"/>
                <a:gd name="T5" fmla="*/ 5 h 6"/>
                <a:gd name="T6" fmla="*/ 6 w 7"/>
                <a:gd name="T7" fmla="*/ 5 h 6"/>
                <a:gd name="T8" fmla="*/ 6 w 7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3"/>
                  </a:moveTo>
                  <a:cubicBezTo>
                    <a:pt x="3" y="3"/>
                    <a:pt x="3" y="3"/>
                    <a:pt x="0" y="0"/>
                  </a:cubicBezTo>
                  <a:lnTo>
                    <a:pt x="0" y="5"/>
                  </a:lnTo>
                  <a:lnTo>
                    <a:pt x="6" y="5"/>
                  </a:lnTo>
                  <a:lnTo>
                    <a:pt x="6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7" name="Freeform 408"/>
            <p:cNvSpPr>
              <a:spLocks noChangeArrowheads="1"/>
            </p:cNvSpPr>
            <p:nvPr/>
          </p:nvSpPr>
          <p:spPr bwMode="auto">
            <a:xfrm>
              <a:off x="3900488" y="2540000"/>
              <a:ext cx="4762" cy="7938"/>
            </a:xfrm>
            <a:custGeom>
              <a:avLst/>
              <a:gdLst>
                <a:gd name="T0" fmla="*/ 3 w 12"/>
                <a:gd name="T1" fmla="*/ 22 h 23"/>
                <a:gd name="T2" fmla="*/ 11 w 12"/>
                <a:gd name="T3" fmla="*/ 17 h 23"/>
                <a:gd name="T4" fmla="*/ 9 w 12"/>
                <a:gd name="T5" fmla="*/ 0 h 23"/>
                <a:gd name="T6" fmla="*/ 3 w 12"/>
                <a:gd name="T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3">
                  <a:moveTo>
                    <a:pt x="3" y="22"/>
                  </a:moveTo>
                  <a:cubicBezTo>
                    <a:pt x="9" y="22"/>
                    <a:pt x="9" y="19"/>
                    <a:pt x="11" y="17"/>
                  </a:cubicBezTo>
                  <a:cubicBezTo>
                    <a:pt x="11" y="11"/>
                    <a:pt x="11" y="5"/>
                    <a:pt x="9" y="0"/>
                  </a:cubicBezTo>
                  <a:cubicBezTo>
                    <a:pt x="3" y="5"/>
                    <a:pt x="0" y="14"/>
                    <a:pt x="3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8" name="Freeform 409"/>
            <p:cNvSpPr>
              <a:spLocks noChangeArrowheads="1"/>
            </p:cNvSpPr>
            <p:nvPr/>
          </p:nvSpPr>
          <p:spPr bwMode="auto">
            <a:xfrm>
              <a:off x="3903663" y="2536825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6 h 7"/>
                <a:gd name="T4" fmla="*/ 0 w 10"/>
                <a:gd name="T5" fmla="*/ 6 h 7"/>
                <a:gd name="T6" fmla="*/ 9 w 10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6" y="3"/>
                    <a:pt x="3" y="6"/>
                    <a:pt x="0" y="6"/>
                  </a:cubicBezTo>
                  <a:lnTo>
                    <a:pt x="0" y="6"/>
                  </a:lnTo>
                  <a:cubicBezTo>
                    <a:pt x="6" y="6"/>
                    <a:pt x="9" y="3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9" name="Freeform 410"/>
            <p:cNvSpPr>
              <a:spLocks noChangeArrowheads="1"/>
            </p:cNvSpPr>
            <p:nvPr/>
          </p:nvSpPr>
          <p:spPr bwMode="auto">
            <a:xfrm>
              <a:off x="3917950" y="2127250"/>
              <a:ext cx="4763" cy="1588"/>
            </a:xfrm>
            <a:custGeom>
              <a:avLst/>
              <a:gdLst>
                <a:gd name="T0" fmla="*/ 14 w 15"/>
                <a:gd name="T1" fmla="*/ 2 h 6"/>
                <a:gd name="T2" fmla="*/ 14 w 15"/>
                <a:gd name="T3" fmla="*/ 2 h 6"/>
                <a:gd name="T4" fmla="*/ 0 w 15"/>
                <a:gd name="T5" fmla="*/ 2 h 6"/>
                <a:gd name="T6" fmla="*/ 0 w 15"/>
                <a:gd name="T7" fmla="*/ 5 h 6"/>
                <a:gd name="T8" fmla="*/ 14 w 15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14" y="2"/>
                  </a:moveTo>
                  <a:cubicBezTo>
                    <a:pt x="14" y="2"/>
                    <a:pt x="14" y="0"/>
                    <a:pt x="14" y="2"/>
                  </a:cubicBezTo>
                  <a:cubicBezTo>
                    <a:pt x="8" y="2"/>
                    <a:pt x="6" y="2"/>
                    <a:pt x="0" y="2"/>
                  </a:cubicBezTo>
                  <a:lnTo>
                    <a:pt x="0" y="5"/>
                  </a:lnTo>
                  <a:cubicBezTo>
                    <a:pt x="6" y="2"/>
                    <a:pt x="11" y="2"/>
                    <a:pt x="14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0" name="Freeform 411"/>
            <p:cNvSpPr>
              <a:spLocks noChangeArrowheads="1"/>
            </p:cNvSpPr>
            <p:nvPr/>
          </p:nvSpPr>
          <p:spPr bwMode="auto">
            <a:xfrm>
              <a:off x="3910013" y="2203450"/>
              <a:ext cx="1587" cy="4763"/>
            </a:xfrm>
            <a:custGeom>
              <a:avLst/>
              <a:gdLst>
                <a:gd name="T0" fmla="*/ 2 w 3"/>
                <a:gd name="T1" fmla="*/ 0 h 12"/>
                <a:gd name="T2" fmla="*/ 0 w 3"/>
                <a:gd name="T3" fmla="*/ 11 h 12"/>
                <a:gd name="T4" fmla="*/ 0 w 3"/>
                <a:gd name="T5" fmla="*/ 11 h 12"/>
                <a:gd name="T6" fmla="*/ 2 w 3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2">
                  <a:moveTo>
                    <a:pt x="2" y="0"/>
                  </a:moveTo>
                  <a:cubicBezTo>
                    <a:pt x="0" y="0"/>
                    <a:pt x="0" y="6"/>
                    <a:pt x="0" y="11"/>
                  </a:cubicBezTo>
                  <a:lnTo>
                    <a:pt x="0" y="11"/>
                  </a:lnTo>
                  <a:cubicBezTo>
                    <a:pt x="0" y="6"/>
                    <a:pt x="0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1" name="Freeform 412"/>
            <p:cNvSpPr>
              <a:spLocks noChangeArrowheads="1"/>
            </p:cNvSpPr>
            <p:nvPr/>
          </p:nvSpPr>
          <p:spPr bwMode="auto">
            <a:xfrm>
              <a:off x="3959225" y="2327275"/>
              <a:ext cx="14288" cy="9525"/>
            </a:xfrm>
            <a:custGeom>
              <a:avLst/>
              <a:gdLst>
                <a:gd name="T0" fmla="*/ 22 w 40"/>
                <a:gd name="T1" fmla="*/ 26 h 27"/>
                <a:gd name="T2" fmla="*/ 32 w 40"/>
                <a:gd name="T3" fmla="*/ 11 h 27"/>
                <a:gd name="T4" fmla="*/ 28 w 40"/>
                <a:gd name="T5" fmla="*/ 12 h 27"/>
                <a:gd name="T6" fmla="*/ 14 w 40"/>
                <a:gd name="T7" fmla="*/ 3 h 27"/>
                <a:gd name="T8" fmla="*/ 14 w 40"/>
                <a:gd name="T9" fmla="*/ 17 h 27"/>
                <a:gd name="T10" fmla="*/ 3 w 40"/>
                <a:gd name="T11" fmla="*/ 20 h 27"/>
                <a:gd name="T12" fmla="*/ 22 w 40"/>
                <a:gd name="T13" fmla="*/ 26 h 27"/>
                <a:gd name="T14" fmla="*/ 33 w 40"/>
                <a:gd name="T15" fmla="*/ 9 h 27"/>
                <a:gd name="T16" fmla="*/ 32 w 40"/>
                <a:gd name="T17" fmla="*/ 11 h 27"/>
                <a:gd name="T18" fmla="*/ 33 w 40"/>
                <a:gd name="T19" fmla="*/ 9 h 27"/>
                <a:gd name="T20" fmla="*/ 39 w 40"/>
                <a:gd name="T21" fmla="*/ 0 h 27"/>
                <a:gd name="T22" fmla="*/ 34 w 40"/>
                <a:gd name="T23" fmla="*/ 0 h 27"/>
                <a:gd name="T24" fmla="*/ 33 w 40"/>
                <a:gd name="T25" fmla="*/ 9 h 27"/>
                <a:gd name="T26" fmla="*/ 39 w 40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27">
                  <a:moveTo>
                    <a:pt x="22" y="26"/>
                  </a:moveTo>
                  <a:lnTo>
                    <a:pt x="32" y="11"/>
                  </a:lnTo>
                  <a:cubicBezTo>
                    <a:pt x="31" y="11"/>
                    <a:pt x="30" y="12"/>
                    <a:pt x="28" y="12"/>
                  </a:cubicBezTo>
                  <a:cubicBezTo>
                    <a:pt x="20" y="12"/>
                    <a:pt x="25" y="0"/>
                    <a:pt x="14" y="3"/>
                  </a:cubicBezTo>
                  <a:lnTo>
                    <a:pt x="14" y="17"/>
                  </a:lnTo>
                  <a:cubicBezTo>
                    <a:pt x="11" y="14"/>
                    <a:pt x="0" y="12"/>
                    <a:pt x="3" y="20"/>
                  </a:cubicBezTo>
                  <a:cubicBezTo>
                    <a:pt x="11" y="20"/>
                    <a:pt x="17" y="23"/>
                    <a:pt x="22" y="26"/>
                  </a:cubicBezTo>
                  <a:close/>
                  <a:moveTo>
                    <a:pt x="33" y="9"/>
                  </a:moveTo>
                  <a:cubicBezTo>
                    <a:pt x="33" y="10"/>
                    <a:pt x="33" y="11"/>
                    <a:pt x="32" y="11"/>
                  </a:cubicBezTo>
                  <a:lnTo>
                    <a:pt x="33" y="9"/>
                  </a:lnTo>
                  <a:close/>
                  <a:moveTo>
                    <a:pt x="39" y="0"/>
                  </a:moveTo>
                  <a:lnTo>
                    <a:pt x="34" y="0"/>
                  </a:lnTo>
                  <a:cubicBezTo>
                    <a:pt x="30" y="4"/>
                    <a:pt x="33" y="7"/>
                    <a:pt x="33" y="9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2" name="Freeform 413"/>
            <p:cNvSpPr>
              <a:spLocks noChangeArrowheads="1"/>
            </p:cNvSpPr>
            <p:nvPr/>
          </p:nvSpPr>
          <p:spPr bwMode="auto">
            <a:xfrm>
              <a:off x="3978275" y="2103438"/>
              <a:ext cx="4763" cy="3175"/>
            </a:xfrm>
            <a:custGeom>
              <a:avLst/>
              <a:gdLst>
                <a:gd name="T0" fmla="*/ 12 w 13"/>
                <a:gd name="T1" fmla="*/ 2 h 9"/>
                <a:gd name="T2" fmla="*/ 9 w 13"/>
                <a:gd name="T3" fmla="*/ 0 h 9"/>
                <a:gd name="T4" fmla="*/ 0 w 13"/>
                <a:gd name="T5" fmla="*/ 5 h 9"/>
                <a:gd name="T6" fmla="*/ 12 w 13"/>
                <a:gd name="T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12" y="2"/>
                  </a:moveTo>
                  <a:cubicBezTo>
                    <a:pt x="9" y="2"/>
                    <a:pt x="9" y="2"/>
                    <a:pt x="9" y="0"/>
                  </a:cubicBezTo>
                  <a:cubicBezTo>
                    <a:pt x="6" y="2"/>
                    <a:pt x="3" y="5"/>
                    <a:pt x="0" y="5"/>
                  </a:cubicBezTo>
                  <a:cubicBezTo>
                    <a:pt x="6" y="8"/>
                    <a:pt x="9" y="5"/>
                    <a:pt x="12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3" name="Freeform 414"/>
            <p:cNvSpPr>
              <a:spLocks noChangeArrowheads="1"/>
            </p:cNvSpPr>
            <p:nvPr/>
          </p:nvSpPr>
          <p:spPr bwMode="auto">
            <a:xfrm>
              <a:off x="3971925" y="2098675"/>
              <a:ext cx="11113" cy="11113"/>
            </a:xfrm>
            <a:custGeom>
              <a:avLst/>
              <a:gdLst>
                <a:gd name="T0" fmla="*/ 19 w 29"/>
                <a:gd name="T1" fmla="*/ 22 h 32"/>
                <a:gd name="T2" fmla="*/ 19 w 29"/>
                <a:gd name="T3" fmla="*/ 22 h 32"/>
                <a:gd name="T4" fmla="*/ 28 w 29"/>
                <a:gd name="T5" fmla="*/ 16 h 32"/>
                <a:gd name="T6" fmla="*/ 22 w 29"/>
                <a:gd name="T7" fmla="*/ 0 h 32"/>
                <a:gd name="T8" fmla="*/ 0 w 29"/>
                <a:gd name="T9" fmla="*/ 19 h 32"/>
                <a:gd name="T10" fmla="*/ 5 w 29"/>
                <a:gd name="T11" fmla="*/ 31 h 32"/>
                <a:gd name="T12" fmla="*/ 19 w 29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2">
                  <a:moveTo>
                    <a:pt x="19" y="22"/>
                  </a:moveTo>
                  <a:lnTo>
                    <a:pt x="19" y="22"/>
                  </a:lnTo>
                  <a:cubicBezTo>
                    <a:pt x="22" y="19"/>
                    <a:pt x="25" y="19"/>
                    <a:pt x="28" y="16"/>
                  </a:cubicBezTo>
                  <a:cubicBezTo>
                    <a:pt x="25" y="11"/>
                    <a:pt x="22" y="5"/>
                    <a:pt x="22" y="0"/>
                  </a:cubicBezTo>
                  <a:cubicBezTo>
                    <a:pt x="11" y="2"/>
                    <a:pt x="3" y="8"/>
                    <a:pt x="0" y="19"/>
                  </a:cubicBezTo>
                  <a:cubicBezTo>
                    <a:pt x="3" y="22"/>
                    <a:pt x="5" y="28"/>
                    <a:pt x="5" y="31"/>
                  </a:cubicBezTo>
                  <a:cubicBezTo>
                    <a:pt x="11" y="28"/>
                    <a:pt x="17" y="25"/>
                    <a:pt x="19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4" name="Freeform 415"/>
            <p:cNvSpPr>
              <a:spLocks noChangeArrowheads="1"/>
            </p:cNvSpPr>
            <p:nvPr/>
          </p:nvSpPr>
          <p:spPr bwMode="auto">
            <a:xfrm>
              <a:off x="3970338" y="2132013"/>
              <a:ext cx="4762" cy="4762"/>
            </a:xfrm>
            <a:custGeom>
              <a:avLst/>
              <a:gdLst>
                <a:gd name="T0" fmla="*/ 8 w 12"/>
                <a:gd name="T1" fmla="*/ 0 h 12"/>
                <a:gd name="T2" fmla="*/ 0 w 12"/>
                <a:gd name="T3" fmla="*/ 11 h 12"/>
                <a:gd name="T4" fmla="*/ 11 w 12"/>
                <a:gd name="T5" fmla="*/ 2 h 12"/>
                <a:gd name="T6" fmla="*/ 8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cubicBezTo>
                    <a:pt x="6" y="2"/>
                    <a:pt x="3" y="8"/>
                    <a:pt x="0" y="11"/>
                  </a:cubicBezTo>
                  <a:cubicBezTo>
                    <a:pt x="3" y="8"/>
                    <a:pt x="8" y="8"/>
                    <a:pt x="11" y="2"/>
                  </a:cubicBezTo>
                  <a:cubicBezTo>
                    <a:pt x="8" y="2"/>
                    <a:pt x="8" y="2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5" name="Freeform 416"/>
            <p:cNvSpPr>
              <a:spLocks noChangeArrowheads="1"/>
            </p:cNvSpPr>
            <p:nvPr/>
          </p:nvSpPr>
          <p:spPr bwMode="auto">
            <a:xfrm>
              <a:off x="3983038" y="2114550"/>
              <a:ext cx="3175" cy="1588"/>
            </a:xfrm>
            <a:custGeom>
              <a:avLst/>
              <a:gdLst>
                <a:gd name="T0" fmla="*/ 8 w 9"/>
                <a:gd name="T1" fmla="*/ 0 h 6"/>
                <a:gd name="T2" fmla="*/ 0 w 9"/>
                <a:gd name="T3" fmla="*/ 5 h 6"/>
                <a:gd name="T4" fmla="*/ 8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8" y="0"/>
                  </a:moveTo>
                  <a:cubicBezTo>
                    <a:pt x="5" y="0"/>
                    <a:pt x="3" y="2"/>
                    <a:pt x="0" y="5"/>
                  </a:cubicBezTo>
                  <a:cubicBezTo>
                    <a:pt x="5" y="5"/>
                    <a:pt x="8" y="2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6" name="Freeform 417"/>
            <p:cNvSpPr>
              <a:spLocks noChangeArrowheads="1"/>
            </p:cNvSpPr>
            <p:nvPr/>
          </p:nvSpPr>
          <p:spPr bwMode="auto">
            <a:xfrm>
              <a:off x="3965575" y="2319338"/>
              <a:ext cx="4763" cy="6350"/>
            </a:xfrm>
            <a:custGeom>
              <a:avLst/>
              <a:gdLst>
                <a:gd name="T0" fmla="*/ 11 w 12"/>
                <a:gd name="T1" fmla="*/ 8 h 18"/>
                <a:gd name="T2" fmla="*/ 11 w 12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11" y="8"/>
                  </a:moveTo>
                  <a:cubicBezTo>
                    <a:pt x="0" y="0"/>
                    <a:pt x="5" y="17"/>
                    <a:pt x="11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7" name="Freeform 418"/>
            <p:cNvSpPr>
              <a:spLocks noChangeArrowheads="1"/>
            </p:cNvSpPr>
            <p:nvPr/>
          </p:nvSpPr>
          <p:spPr bwMode="auto">
            <a:xfrm>
              <a:off x="3984625" y="2157413"/>
              <a:ext cx="1588" cy="3175"/>
            </a:xfrm>
            <a:custGeom>
              <a:avLst/>
              <a:gdLst>
                <a:gd name="T0" fmla="*/ 0 w 4"/>
                <a:gd name="T1" fmla="*/ 6 h 7"/>
                <a:gd name="T2" fmla="*/ 0 w 4"/>
                <a:gd name="T3" fmla="*/ 6 h 7"/>
                <a:gd name="T4" fmla="*/ 3 w 4"/>
                <a:gd name="T5" fmla="*/ 0 h 7"/>
                <a:gd name="T6" fmla="*/ 0 w 4"/>
                <a:gd name="T7" fmla="*/ 0 h 7"/>
                <a:gd name="T8" fmla="*/ 0 w 4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0" y="6"/>
                  </a:moveTo>
                  <a:lnTo>
                    <a:pt x="0" y="6"/>
                  </a:lnTo>
                  <a:cubicBezTo>
                    <a:pt x="3" y="3"/>
                    <a:pt x="3" y="3"/>
                    <a:pt x="3" y="0"/>
                  </a:cubicBez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8" name="Freeform 419"/>
            <p:cNvSpPr>
              <a:spLocks noChangeArrowheads="1"/>
            </p:cNvSpPr>
            <p:nvPr/>
          </p:nvSpPr>
          <p:spPr bwMode="auto">
            <a:xfrm>
              <a:off x="3875088" y="2641600"/>
              <a:ext cx="1587" cy="1588"/>
            </a:xfrm>
            <a:custGeom>
              <a:avLst/>
              <a:gdLst>
                <a:gd name="T0" fmla="*/ 0 w 4"/>
                <a:gd name="T1" fmla="*/ 4 h 5"/>
                <a:gd name="T2" fmla="*/ 3 w 4"/>
                <a:gd name="T3" fmla="*/ 0 h 5"/>
                <a:gd name="T4" fmla="*/ 0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0" y="4"/>
                  </a:moveTo>
                  <a:cubicBezTo>
                    <a:pt x="2" y="3"/>
                    <a:pt x="3" y="1"/>
                    <a:pt x="3" y="0"/>
                  </a:cubicBezTo>
                  <a:cubicBezTo>
                    <a:pt x="3" y="2"/>
                    <a:pt x="0" y="2"/>
                    <a:pt x="0" y="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9" name="Freeform 420"/>
            <p:cNvSpPr>
              <a:spLocks noChangeArrowheads="1"/>
            </p:cNvSpPr>
            <p:nvPr/>
          </p:nvSpPr>
          <p:spPr bwMode="auto">
            <a:xfrm>
              <a:off x="3948113" y="2328863"/>
              <a:ext cx="1587" cy="3175"/>
            </a:xfrm>
            <a:custGeom>
              <a:avLst/>
              <a:gdLst>
                <a:gd name="T0" fmla="*/ 0 w 6"/>
                <a:gd name="T1" fmla="*/ 6 h 7"/>
                <a:gd name="T2" fmla="*/ 5 w 6"/>
                <a:gd name="T3" fmla="*/ 6 h 7"/>
                <a:gd name="T4" fmla="*/ 5 w 6"/>
                <a:gd name="T5" fmla="*/ 0 h 7"/>
                <a:gd name="T6" fmla="*/ 0 w 6"/>
                <a:gd name="T7" fmla="*/ 0 h 7"/>
                <a:gd name="T8" fmla="*/ 0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6"/>
                  </a:moveTo>
                  <a:lnTo>
                    <a:pt x="5" y="6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0" name="Freeform 421"/>
            <p:cNvSpPr>
              <a:spLocks noChangeArrowheads="1"/>
            </p:cNvSpPr>
            <p:nvPr/>
          </p:nvSpPr>
          <p:spPr bwMode="auto">
            <a:xfrm>
              <a:off x="3979863" y="2320925"/>
              <a:ext cx="6350" cy="4763"/>
            </a:xfrm>
            <a:custGeom>
              <a:avLst/>
              <a:gdLst>
                <a:gd name="T0" fmla="*/ 0 w 18"/>
                <a:gd name="T1" fmla="*/ 3 h 13"/>
                <a:gd name="T2" fmla="*/ 0 w 18"/>
                <a:gd name="T3" fmla="*/ 3 h 13"/>
                <a:gd name="T4" fmla="*/ 17 w 18"/>
                <a:gd name="T5" fmla="*/ 12 h 13"/>
                <a:gd name="T6" fmla="*/ 17 w 18"/>
                <a:gd name="T7" fmla="*/ 9 h 13"/>
                <a:gd name="T8" fmla="*/ 14 w 18"/>
                <a:gd name="T9" fmla="*/ 3 h 13"/>
                <a:gd name="T10" fmla="*/ 0 w 18"/>
                <a:gd name="T11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3">
                  <a:moveTo>
                    <a:pt x="0" y="3"/>
                  </a:moveTo>
                  <a:cubicBezTo>
                    <a:pt x="0" y="3"/>
                    <a:pt x="0" y="6"/>
                    <a:pt x="0" y="3"/>
                  </a:cubicBezTo>
                  <a:cubicBezTo>
                    <a:pt x="3" y="9"/>
                    <a:pt x="12" y="6"/>
                    <a:pt x="17" y="12"/>
                  </a:cubicBezTo>
                  <a:lnTo>
                    <a:pt x="17" y="9"/>
                  </a:lnTo>
                  <a:cubicBezTo>
                    <a:pt x="17" y="6"/>
                    <a:pt x="14" y="6"/>
                    <a:pt x="14" y="3"/>
                  </a:cubicBezTo>
                  <a:cubicBezTo>
                    <a:pt x="9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1" name="Freeform 422"/>
            <p:cNvSpPr>
              <a:spLocks noChangeArrowheads="1"/>
            </p:cNvSpPr>
            <p:nvPr/>
          </p:nvSpPr>
          <p:spPr bwMode="auto">
            <a:xfrm>
              <a:off x="3956050" y="2109788"/>
              <a:ext cx="3175" cy="1587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3" y="0"/>
                    <a:pt x="0" y="0"/>
                  </a:cubicBezTo>
                  <a:cubicBezTo>
                    <a:pt x="3" y="3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2" name="Freeform 423"/>
            <p:cNvSpPr>
              <a:spLocks noChangeArrowheads="1"/>
            </p:cNvSpPr>
            <p:nvPr/>
          </p:nvSpPr>
          <p:spPr bwMode="auto">
            <a:xfrm>
              <a:off x="3941763" y="2328863"/>
              <a:ext cx="17462" cy="28575"/>
            </a:xfrm>
            <a:custGeom>
              <a:avLst/>
              <a:gdLst>
                <a:gd name="T0" fmla="*/ 22 w 49"/>
                <a:gd name="T1" fmla="*/ 8 h 80"/>
                <a:gd name="T2" fmla="*/ 8 w 49"/>
                <a:gd name="T3" fmla="*/ 17 h 80"/>
                <a:gd name="T4" fmla="*/ 8 w 49"/>
                <a:gd name="T5" fmla="*/ 17 h 80"/>
                <a:gd name="T6" fmla="*/ 6 w 49"/>
                <a:gd name="T7" fmla="*/ 22 h 80"/>
                <a:gd name="T8" fmla="*/ 6 w 49"/>
                <a:gd name="T9" fmla="*/ 22 h 80"/>
                <a:gd name="T10" fmla="*/ 8 w 49"/>
                <a:gd name="T11" fmla="*/ 34 h 80"/>
                <a:gd name="T12" fmla="*/ 11 w 49"/>
                <a:gd name="T13" fmla="*/ 34 h 80"/>
                <a:gd name="T14" fmla="*/ 11 w 49"/>
                <a:gd name="T15" fmla="*/ 39 h 80"/>
                <a:gd name="T16" fmla="*/ 8 w 49"/>
                <a:gd name="T17" fmla="*/ 39 h 80"/>
                <a:gd name="T18" fmla="*/ 3 w 49"/>
                <a:gd name="T19" fmla="*/ 70 h 80"/>
                <a:gd name="T20" fmla="*/ 0 w 49"/>
                <a:gd name="T21" fmla="*/ 70 h 80"/>
                <a:gd name="T22" fmla="*/ 0 w 49"/>
                <a:gd name="T23" fmla="*/ 73 h 80"/>
                <a:gd name="T24" fmla="*/ 14 w 49"/>
                <a:gd name="T25" fmla="*/ 73 h 80"/>
                <a:gd name="T26" fmla="*/ 8 w 49"/>
                <a:gd name="T27" fmla="*/ 70 h 80"/>
                <a:gd name="T28" fmla="*/ 11 w 49"/>
                <a:gd name="T29" fmla="*/ 65 h 80"/>
                <a:gd name="T30" fmla="*/ 6 w 49"/>
                <a:gd name="T31" fmla="*/ 56 h 80"/>
                <a:gd name="T32" fmla="*/ 25 w 49"/>
                <a:gd name="T33" fmla="*/ 59 h 80"/>
                <a:gd name="T34" fmla="*/ 20 w 49"/>
                <a:gd name="T35" fmla="*/ 37 h 80"/>
                <a:gd name="T36" fmla="*/ 39 w 49"/>
                <a:gd name="T37" fmla="*/ 22 h 80"/>
                <a:gd name="T38" fmla="*/ 48 w 49"/>
                <a:gd name="T39" fmla="*/ 8 h 80"/>
                <a:gd name="T40" fmla="*/ 39 w 49"/>
                <a:gd name="T41" fmla="*/ 0 h 80"/>
                <a:gd name="T42" fmla="*/ 22 w 49"/>
                <a:gd name="T43" fmla="*/ 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9" h="80">
                  <a:moveTo>
                    <a:pt x="22" y="8"/>
                  </a:moveTo>
                  <a:cubicBezTo>
                    <a:pt x="20" y="17"/>
                    <a:pt x="17" y="22"/>
                    <a:pt x="8" y="17"/>
                  </a:cubicBezTo>
                  <a:lnTo>
                    <a:pt x="8" y="17"/>
                  </a:lnTo>
                  <a:cubicBezTo>
                    <a:pt x="8" y="20"/>
                    <a:pt x="8" y="22"/>
                    <a:pt x="6" y="22"/>
                  </a:cubicBezTo>
                  <a:lnTo>
                    <a:pt x="6" y="22"/>
                  </a:lnTo>
                  <a:cubicBezTo>
                    <a:pt x="6" y="25"/>
                    <a:pt x="8" y="31"/>
                    <a:pt x="8" y="34"/>
                  </a:cubicBezTo>
                  <a:lnTo>
                    <a:pt x="11" y="34"/>
                  </a:lnTo>
                  <a:lnTo>
                    <a:pt x="11" y="39"/>
                  </a:lnTo>
                  <a:lnTo>
                    <a:pt x="8" y="39"/>
                  </a:lnTo>
                  <a:cubicBezTo>
                    <a:pt x="3" y="48"/>
                    <a:pt x="0" y="59"/>
                    <a:pt x="3" y="70"/>
                  </a:cubicBezTo>
                  <a:lnTo>
                    <a:pt x="0" y="70"/>
                  </a:lnTo>
                  <a:lnTo>
                    <a:pt x="0" y="73"/>
                  </a:lnTo>
                  <a:cubicBezTo>
                    <a:pt x="6" y="73"/>
                    <a:pt x="11" y="79"/>
                    <a:pt x="14" y="73"/>
                  </a:cubicBezTo>
                  <a:cubicBezTo>
                    <a:pt x="11" y="73"/>
                    <a:pt x="11" y="70"/>
                    <a:pt x="8" y="70"/>
                  </a:cubicBezTo>
                  <a:cubicBezTo>
                    <a:pt x="8" y="68"/>
                    <a:pt x="8" y="68"/>
                    <a:pt x="11" y="65"/>
                  </a:cubicBezTo>
                  <a:cubicBezTo>
                    <a:pt x="8" y="62"/>
                    <a:pt x="6" y="62"/>
                    <a:pt x="6" y="56"/>
                  </a:cubicBezTo>
                  <a:cubicBezTo>
                    <a:pt x="11" y="51"/>
                    <a:pt x="20" y="56"/>
                    <a:pt x="25" y="59"/>
                  </a:cubicBezTo>
                  <a:cubicBezTo>
                    <a:pt x="28" y="48"/>
                    <a:pt x="20" y="45"/>
                    <a:pt x="20" y="37"/>
                  </a:cubicBezTo>
                  <a:cubicBezTo>
                    <a:pt x="25" y="31"/>
                    <a:pt x="31" y="25"/>
                    <a:pt x="39" y="22"/>
                  </a:cubicBezTo>
                  <a:cubicBezTo>
                    <a:pt x="39" y="14"/>
                    <a:pt x="39" y="8"/>
                    <a:pt x="48" y="8"/>
                  </a:cubicBezTo>
                  <a:cubicBezTo>
                    <a:pt x="48" y="3"/>
                    <a:pt x="42" y="0"/>
                    <a:pt x="39" y="0"/>
                  </a:cubicBezTo>
                  <a:cubicBezTo>
                    <a:pt x="42" y="11"/>
                    <a:pt x="28" y="6"/>
                    <a:pt x="22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3" name="Freeform 424"/>
            <p:cNvSpPr>
              <a:spLocks noChangeArrowheads="1"/>
            </p:cNvSpPr>
            <p:nvPr/>
          </p:nvSpPr>
          <p:spPr bwMode="auto">
            <a:xfrm>
              <a:off x="3994150" y="2336800"/>
              <a:ext cx="1588" cy="1588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5 h 6"/>
                <a:gd name="T4" fmla="*/ 5 w 6"/>
                <a:gd name="T5" fmla="*/ 2 h 6"/>
                <a:gd name="T6" fmla="*/ 0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cubicBezTo>
                    <a:pt x="0" y="2"/>
                    <a:pt x="0" y="2"/>
                    <a:pt x="0" y="5"/>
                  </a:cubicBezTo>
                  <a:cubicBezTo>
                    <a:pt x="2" y="5"/>
                    <a:pt x="5" y="5"/>
                    <a:pt x="5" y="2"/>
                  </a:cubicBezTo>
                  <a:cubicBezTo>
                    <a:pt x="5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4" name="Freeform 425"/>
            <p:cNvSpPr>
              <a:spLocks noChangeArrowheads="1"/>
            </p:cNvSpPr>
            <p:nvPr/>
          </p:nvSpPr>
          <p:spPr bwMode="auto">
            <a:xfrm>
              <a:off x="3919538" y="2589213"/>
              <a:ext cx="3175" cy="3175"/>
            </a:xfrm>
            <a:custGeom>
              <a:avLst/>
              <a:gdLst>
                <a:gd name="T0" fmla="*/ 0 w 9"/>
                <a:gd name="T1" fmla="*/ 0 h 9"/>
                <a:gd name="T2" fmla="*/ 5 w 9"/>
                <a:gd name="T3" fmla="*/ 8 h 9"/>
                <a:gd name="T4" fmla="*/ 8 w 9"/>
                <a:gd name="T5" fmla="*/ 3 h 9"/>
                <a:gd name="T6" fmla="*/ 0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cubicBezTo>
                    <a:pt x="0" y="3"/>
                    <a:pt x="3" y="8"/>
                    <a:pt x="5" y="8"/>
                  </a:cubicBezTo>
                  <a:cubicBezTo>
                    <a:pt x="5" y="5"/>
                    <a:pt x="8" y="5"/>
                    <a:pt x="8" y="3"/>
                  </a:cubicBezTo>
                  <a:cubicBezTo>
                    <a:pt x="5" y="3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5" name="Freeform 426"/>
            <p:cNvSpPr>
              <a:spLocks noChangeArrowheads="1"/>
            </p:cNvSpPr>
            <p:nvPr/>
          </p:nvSpPr>
          <p:spPr bwMode="auto">
            <a:xfrm>
              <a:off x="3910013" y="2541588"/>
              <a:ext cx="7937" cy="4762"/>
            </a:xfrm>
            <a:custGeom>
              <a:avLst/>
              <a:gdLst>
                <a:gd name="T0" fmla="*/ 2 w 20"/>
                <a:gd name="T1" fmla="*/ 12 h 13"/>
                <a:gd name="T2" fmla="*/ 19 w 20"/>
                <a:gd name="T3" fmla="*/ 0 h 13"/>
                <a:gd name="T4" fmla="*/ 2 w 20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3">
                  <a:moveTo>
                    <a:pt x="2" y="12"/>
                  </a:moveTo>
                  <a:cubicBezTo>
                    <a:pt x="11" y="12"/>
                    <a:pt x="19" y="12"/>
                    <a:pt x="19" y="0"/>
                  </a:cubicBezTo>
                  <a:cubicBezTo>
                    <a:pt x="11" y="0"/>
                    <a:pt x="0" y="0"/>
                    <a:pt x="2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6" name="Freeform 427"/>
            <p:cNvSpPr>
              <a:spLocks noChangeArrowheads="1"/>
            </p:cNvSpPr>
            <p:nvPr/>
          </p:nvSpPr>
          <p:spPr bwMode="auto">
            <a:xfrm>
              <a:off x="3917950" y="2368550"/>
              <a:ext cx="4763" cy="6350"/>
            </a:xfrm>
            <a:custGeom>
              <a:avLst/>
              <a:gdLst>
                <a:gd name="T0" fmla="*/ 6 w 15"/>
                <a:gd name="T1" fmla="*/ 0 h 18"/>
                <a:gd name="T2" fmla="*/ 0 w 15"/>
                <a:gd name="T3" fmla="*/ 14 h 18"/>
                <a:gd name="T4" fmla="*/ 6 w 15"/>
                <a:gd name="T5" fmla="*/ 17 h 18"/>
                <a:gd name="T6" fmla="*/ 9 w 15"/>
                <a:gd name="T7" fmla="*/ 17 h 18"/>
                <a:gd name="T8" fmla="*/ 9 w 15"/>
                <a:gd name="T9" fmla="*/ 17 h 18"/>
                <a:gd name="T10" fmla="*/ 9 w 15"/>
                <a:gd name="T11" fmla="*/ 0 h 18"/>
                <a:gd name="T12" fmla="*/ 6 w 15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8">
                  <a:moveTo>
                    <a:pt x="6" y="0"/>
                  </a:moveTo>
                  <a:cubicBezTo>
                    <a:pt x="6" y="6"/>
                    <a:pt x="0" y="6"/>
                    <a:pt x="0" y="14"/>
                  </a:cubicBezTo>
                  <a:cubicBezTo>
                    <a:pt x="3" y="14"/>
                    <a:pt x="3" y="17"/>
                    <a:pt x="6" y="17"/>
                  </a:cubicBezTo>
                  <a:lnTo>
                    <a:pt x="9" y="17"/>
                  </a:lnTo>
                  <a:lnTo>
                    <a:pt x="9" y="17"/>
                  </a:lnTo>
                  <a:cubicBezTo>
                    <a:pt x="14" y="11"/>
                    <a:pt x="14" y="6"/>
                    <a:pt x="9" y="0"/>
                  </a:cubicBez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7" name="Freeform 428"/>
            <p:cNvSpPr>
              <a:spLocks noChangeArrowheads="1"/>
            </p:cNvSpPr>
            <p:nvPr/>
          </p:nvSpPr>
          <p:spPr bwMode="auto">
            <a:xfrm>
              <a:off x="3914775" y="2544763"/>
              <a:ext cx="4763" cy="6350"/>
            </a:xfrm>
            <a:custGeom>
              <a:avLst/>
              <a:gdLst>
                <a:gd name="T0" fmla="*/ 14 w 15"/>
                <a:gd name="T1" fmla="*/ 0 h 18"/>
                <a:gd name="T2" fmla="*/ 5 w 15"/>
                <a:gd name="T3" fmla="*/ 17 h 18"/>
                <a:gd name="T4" fmla="*/ 14 w 15"/>
                <a:gd name="T5" fmla="*/ 14 h 18"/>
                <a:gd name="T6" fmla="*/ 14 w 15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8">
                  <a:moveTo>
                    <a:pt x="14" y="0"/>
                  </a:moveTo>
                  <a:cubicBezTo>
                    <a:pt x="5" y="0"/>
                    <a:pt x="0" y="11"/>
                    <a:pt x="5" y="17"/>
                  </a:cubicBezTo>
                  <a:cubicBezTo>
                    <a:pt x="11" y="17"/>
                    <a:pt x="11" y="14"/>
                    <a:pt x="14" y="14"/>
                  </a:cubicBezTo>
                  <a:lnTo>
                    <a:pt x="14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8" name="Freeform 429"/>
            <p:cNvSpPr>
              <a:spLocks noChangeArrowheads="1"/>
            </p:cNvSpPr>
            <p:nvPr/>
          </p:nvSpPr>
          <p:spPr bwMode="auto">
            <a:xfrm>
              <a:off x="3919538" y="2414588"/>
              <a:ext cx="4762" cy="1587"/>
            </a:xfrm>
            <a:custGeom>
              <a:avLst/>
              <a:gdLst>
                <a:gd name="T0" fmla="*/ 0 w 12"/>
                <a:gd name="T1" fmla="*/ 5 h 6"/>
                <a:gd name="T2" fmla="*/ 11 w 12"/>
                <a:gd name="T3" fmla="*/ 5 h 6"/>
                <a:gd name="T4" fmla="*/ 8 w 12"/>
                <a:gd name="T5" fmla="*/ 0 h 6"/>
                <a:gd name="T6" fmla="*/ 0 w 12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0" y="5"/>
                  </a:moveTo>
                  <a:lnTo>
                    <a:pt x="11" y="5"/>
                  </a:lnTo>
                  <a:cubicBezTo>
                    <a:pt x="8" y="5"/>
                    <a:pt x="5" y="5"/>
                    <a:pt x="8" y="0"/>
                  </a:cubicBezTo>
                  <a:cubicBezTo>
                    <a:pt x="5" y="0"/>
                    <a:pt x="3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9" name="Freeform 430"/>
            <p:cNvSpPr>
              <a:spLocks noChangeArrowheads="1"/>
            </p:cNvSpPr>
            <p:nvPr/>
          </p:nvSpPr>
          <p:spPr bwMode="auto">
            <a:xfrm>
              <a:off x="3930650" y="2914650"/>
              <a:ext cx="1588" cy="3175"/>
            </a:xfrm>
            <a:custGeom>
              <a:avLst/>
              <a:gdLst>
                <a:gd name="T0" fmla="*/ 0 w 6"/>
                <a:gd name="T1" fmla="*/ 6 h 7"/>
                <a:gd name="T2" fmla="*/ 0 w 6"/>
                <a:gd name="T3" fmla="*/ 6 h 7"/>
                <a:gd name="T4" fmla="*/ 5 w 6"/>
                <a:gd name="T5" fmla="*/ 3 h 7"/>
                <a:gd name="T6" fmla="*/ 3 w 6"/>
                <a:gd name="T7" fmla="*/ 0 h 7"/>
                <a:gd name="T8" fmla="*/ 0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6"/>
                  </a:moveTo>
                  <a:lnTo>
                    <a:pt x="0" y="6"/>
                  </a:lnTo>
                  <a:cubicBezTo>
                    <a:pt x="3" y="6"/>
                    <a:pt x="5" y="6"/>
                    <a:pt x="5" y="3"/>
                  </a:cubicBezTo>
                  <a:cubicBezTo>
                    <a:pt x="5" y="3"/>
                    <a:pt x="3" y="3"/>
                    <a:pt x="3" y="0"/>
                  </a:cubicBezTo>
                  <a:cubicBezTo>
                    <a:pt x="3" y="3"/>
                    <a:pt x="0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0" name="Freeform 431"/>
            <p:cNvSpPr>
              <a:spLocks noChangeArrowheads="1"/>
            </p:cNvSpPr>
            <p:nvPr/>
          </p:nvSpPr>
          <p:spPr bwMode="auto">
            <a:xfrm>
              <a:off x="3933825" y="2730500"/>
              <a:ext cx="6350" cy="6350"/>
            </a:xfrm>
            <a:custGeom>
              <a:avLst/>
              <a:gdLst>
                <a:gd name="T0" fmla="*/ 14 w 18"/>
                <a:gd name="T1" fmla="*/ 6 h 18"/>
                <a:gd name="T2" fmla="*/ 3 w 18"/>
                <a:gd name="T3" fmla="*/ 11 h 18"/>
                <a:gd name="T4" fmla="*/ 14 w 18"/>
                <a:gd name="T5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8">
                  <a:moveTo>
                    <a:pt x="14" y="6"/>
                  </a:moveTo>
                  <a:cubicBezTo>
                    <a:pt x="12" y="0"/>
                    <a:pt x="0" y="3"/>
                    <a:pt x="3" y="11"/>
                  </a:cubicBezTo>
                  <a:cubicBezTo>
                    <a:pt x="6" y="17"/>
                    <a:pt x="17" y="17"/>
                    <a:pt x="14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1" name="Freeform 432"/>
            <p:cNvSpPr>
              <a:spLocks noChangeArrowheads="1"/>
            </p:cNvSpPr>
            <p:nvPr/>
          </p:nvSpPr>
          <p:spPr bwMode="auto">
            <a:xfrm>
              <a:off x="3932238" y="2800350"/>
              <a:ext cx="3175" cy="4763"/>
            </a:xfrm>
            <a:custGeom>
              <a:avLst/>
              <a:gdLst>
                <a:gd name="T0" fmla="*/ 0 w 10"/>
                <a:gd name="T1" fmla="*/ 2 h 15"/>
                <a:gd name="T2" fmla="*/ 6 w 10"/>
                <a:gd name="T3" fmla="*/ 14 h 15"/>
                <a:gd name="T4" fmla="*/ 9 w 10"/>
                <a:gd name="T5" fmla="*/ 5 h 15"/>
                <a:gd name="T6" fmla="*/ 6 w 10"/>
                <a:gd name="T7" fmla="*/ 0 h 15"/>
                <a:gd name="T8" fmla="*/ 0 w 10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0" y="2"/>
                  </a:moveTo>
                  <a:cubicBezTo>
                    <a:pt x="0" y="5"/>
                    <a:pt x="3" y="11"/>
                    <a:pt x="6" y="14"/>
                  </a:cubicBezTo>
                  <a:cubicBezTo>
                    <a:pt x="9" y="11"/>
                    <a:pt x="9" y="8"/>
                    <a:pt x="9" y="5"/>
                  </a:cubicBezTo>
                  <a:cubicBezTo>
                    <a:pt x="9" y="2"/>
                    <a:pt x="6" y="2"/>
                    <a:pt x="6" y="0"/>
                  </a:cubicBezTo>
                  <a:cubicBezTo>
                    <a:pt x="3" y="2"/>
                    <a:pt x="0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2" name="Freeform 433"/>
            <p:cNvSpPr>
              <a:spLocks noChangeArrowheads="1"/>
            </p:cNvSpPr>
            <p:nvPr/>
          </p:nvSpPr>
          <p:spPr bwMode="auto">
            <a:xfrm>
              <a:off x="3937000" y="2897188"/>
              <a:ext cx="3175" cy="4762"/>
            </a:xfrm>
            <a:custGeom>
              <a:avLst/>
              <a:gdLst>
                <a:gd name="T0" fmla="*/ 0 w 9"/>
                <a:gd name="T1" fmla="*/ 11 h 12"/>
                <a:gd name="T2" fmla="*/ 8 w 9"/>
                <a:gd name="T3" fmla="*/ 8 h 12"/>
                <a:gd name="T4" fmla="*/ 3 w 9"/>
                <a:gd name="T5" fmla="*/ 0 h 12"/>
                <a:gd name="T6" fmla="*/ 0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3" y="11"/>
                    <a:pt x="5" y="11"/>
                    <a:pt x="8" y="8"/>
                  </a:cubicBezTo>
                  <a:cubicBezTo>
                    <a:pt x="8" y="5"/>
                    <a:pt x="5" y="2"/>
                    <a:pt x="3" y="0"/>
                  </a:cubicBezTo>
                  <a:cubicBezTo>
                    <a:pt x="3" y="2"/>
                    <a:pt x="0" y="8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3" name="Freeform 434"/>
            <p:cNvSpPr>
              <a:spLocks noChangeArrowheads="1"/>
            </p:cNvSpPr>
            <p:nvPr/>
          </p:nvSpPr>
          <p:spPr bwMode="auto">
            <a:xfrm>
              <a:off x="3930650" y="2892425"/>
              <a:ext cx="4763" cy="7938"/>
            </a:xfrm>
            <a:custGeom>
              <a:avLst/>
              <a:gdLst>
                <a:gd name="T0" fmla="*/ 8 w 12"/>
                <a:gd name="T1" fmla="*/ 0 h 24"/>
                <a:gd name="T2" fmla="*/ 3 w 12"/>
                <a:gd name="T3" fmla="*/ 14 h 24"/>
                <a:gd name="T4" fmla="*/ 8 w 12"/>
                <a:gd name="T5" fmla="*/ 23 h 24"/>
                <a:gd name="T6" fmla="*/ 11 w 12"/>
                <a:gd name="T7" fmla="*/ 23 h 24"/>
                <a:gd name="T8" fmla="*/ 8 w 12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4">
                  <a:moveTo>
                    <a:pt x="8" y="0"/>
                  </a:moveTo>
                  <a:cubicBezTo>
                    <a:pt x="0" y="3"/>
                    <a:pt x="3" y="9"/>
                    <a:pt x="3" y="14"/>
                  </a:cubicBezTo>
                  <a:cubicBezTo>
                    <a:pt x="5" y="17"/>
                    <a:pt x="8" y="20"/>
                    <a:pt x="8" y="23"/>
                  </a:cubicBezTo>
                  <a:lnTo>
                    <a:pt x="11" y="23"/>
                  </a:lnTo>
                  <a:cubicBezTo>
                    <a:pt x="8" y="14"/>
                    <a:pt x="8" y="6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4" name="Freeform 435"/>
            <p:cNvSpPr>
              <a:spLocks noChangeArrowheads="1"/>
            </p:cNvSpPr>
            <p:nvPr/>
          </p:nvSpPr>
          <p:spPr bwMode="auto">
            <a:xfrm>
              <a:off x="3927475" y="2347913"/>
              <a:ext cx="11113" cy="9525"/>
            </a:xfrm>
            <a:custGeom>
              <a:avLst/>
              <a:gdLst>
                <a:gd name="T0" fmla="*/ 12 w 32"/>
                <a:gd name="T1" fmla="*/ 22 h 26"/>
                <a:gd name="T2" fmla="*/ 14 w 32"/>
                <a:gd name="T3" fmla="*/ 17 h 26"/>
                <a:gd name="T4" fmla="*/ 14 w 32"/>
                <a:gd name="T5" fmla="*/ 19 h 26"/>
                <a:gd name="T6" fmla="*/ 14 w 32"/>
                <a:gd name="T7" fmla="*/ 19 h 26"/>
                <a:gd name="T8" fmla="*/ 31 w 32"/>
                <a:gd name="T9" fmla="*/ 17 h 26"/>
                <a:gd name="T10" fmla="*/ 29 w 32"/>
                <a:gd name="T11" fmla="*/ 14 h 26"/>
                <a:gd name="T12" fmla="*/ 0 w 32"/>
                <a:gd name="T13" fmla="*/ 19 h 26"/>
                <a:gd name="T14" fmla="*/ 12 w 32"/>
                <a:gd name="T15" fmla="*/ 2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26">
                  <a:moveTo>
                    <a:pt x="12" y="22"/>
                  </a:moveTo>
                  <a:cubicBezTo>
                    <a:pt x="12" y="22"/>
                    <a:pt x="14" y="19"/>
                    <a:pt x="14" y="17"/>
                  </a:cubicBezTo>
                  <a:cubicBezTo>
                    <a:pt x="14" y="19"/>
                    <a:pt x="14" y="19"/>
                    <a:pt x="14" y="19"/>
                  </a:cubicBezTo>
                  <a:lnTo>
                    <a:pt x="14" y="19"/>
                  </a:lnTo>
                  <a:cubicBezTo>
                    <a:pt x="20" y="19"/>
                    <a:pt x="29" y="22"/>
                    <a:pt x="31" y="17"/>
                  </a:cubicBezTo>
                  <a:lnTo>
                    <a:pt x="29" y="14"/>
                  </a:lnTo>
                  <a:cubicBezTo>
                    <a:pt x="17" y="14"/>
                    <a:pt x="3" y="0"/>
                    <a:pt x="0" y="19"/>
                  </a:cubicBezTo>
                  <a:cubicBezTo>
                    <a:pt x="3" y="25"/>
                    <a:pt x="9" y="22"/>
                    <a:pt x="12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5" name="Freeform 436"/>
            <p:cNvSpPr>
              <a:spLocks noChangeArrowheads="1"/>
            </p:cNvSpPr>
            <p:nvPr/>
          </p:nvSpPr>
          <p:spPr bwMode="auto">
            <a:xfrm>
              <a:off x="3937000" y="2381250"/>
              <a:ext cx="7938" cy="4763"/>
            </a:xfrm>
            <a:custGeom>
              <a:avLst/>
              <a:gdLst>
                <a:gd name="T0" fmla="*/ 11 w 21"/>
                <a:gd name="T1" fmla="*/ 0 h 15"/>
                <a:gd name="T2" fmla="*/ 0 w 21"/>
                <a:gd name="T3" fmla="*/ 5 h 15"/>
                <a:gd name="T4" fmla="*/ 0 w 21"/>
                <a:gd name="T5" fmla="*/ 11 h 15"/>
                <a:gd name="T6" fmla="*/ 11 w 21"/>
                <a:gd name="T7" fmla="*/ 14 h 15"/>
                <a:gd name="T8" fmla="*/ 20 w 21"/>
                <a:gd name="T9" fmla="*/ 8 h 15"/>
                <a:gd name="T10" fmla="*/ 11 w 21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5">
                  <a:moveTo>
                    <a:pt x="11" y="0"/>
                  </a:moveTo>
                  <a:cubicBezTo>
                    <a:pt x="11" y="5"/>
                    <a:pt x="0" y="0"/>
                    <a:pt x="0" y="5"/>
                  </a:cubicBezTo>
                  <a:cubicBezTo>
                    <a:pt x="0" y="8"/>
                    <a:pt x="0" y="8"/>
                    <a:pt x="0" y="11"/>
                  </a:cubicBezTo>
                  <a:cubicBezTo>
                    <a:pt x="3" y="14"/>
                    <a:pt x="5" y="14"/>
                    <a:pt x="11" y="14"/>
                  </a:cubicBezTo>
                  <a:cubicBezTo>
                    <a:pt x="14" y="11"/>
                    <a:pt x="17" y="8"/>
                    <a:pt x="20" y="8"/>
                  </a:cubicBezTo>
                  <a:cubicBezTo>
                    <a:pt x="14" y="3"/>
                    <a:pt x="14" y="0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6" name="Freeform 437"/>
            <p:cNvSpPr>
              <a:spLocks noChangeArrowheads="1"/>
            </p:cNvSpPr>
            <p:nvPr/>
          </p:nvSpPr>
          <p:spPr bwMode="auto">
            <a:xfrm>
              <a:off x="3932238" y="2436813"/>
              <a:ext cx="3175" cy="3175"/>
            </a:xfrm>
            <a:custGeom>
              <a:avLst/>
              <a:gdLst>
                <a:gd name="T0" fmla="*/ 0 w 9"/>
                <a:gd name="T1" fmla="*/ 6 h 7"/>
                <a:gd name="T2" fmla="*/ 5 w 9"/>
                <a:gd name="T3" fmla="*/ 0 h 7"/>
                <a:gd name="T4" fmla="*/ 0 w 9"/>
                <a:gd name="T5" fmla="*/ 0 h 7"/>
                <a:gd name="T6" fmla="*/ 0 w 9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0" y="6"/>
                  </a:moveTo>
                  <a:cubicBezTo>
                    <a:pt x="2" y="6"/>
                    <a:pt x="8" y="6"/>
                    <a:pt x="5" y="0"/>
                  </a:cubicBezTo>
                  <a:cubicBezTo>
                    <a:pt x="2" y="0"/>
                    <a:pt x="0" y="0"/>
                    <a:pt x="0" y="0"/>
                  </a:cubicBezTo>
                  <a:cubicBezTo>
                    <a:pt x="0" y="3"/>
                    <a:pt x="0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7" name="Freeform 438"/>
            <p:cNvSpPr>
              <a:spLocks noChangeArrowheads="1"/>
            </p:cNvSpPr>
            <p:nvPr/>
          </p:nvSpPr>
          <p:spPr bwMode="auto">
            <a:xfrm>
              <a:off x="3895725" y="2838450"/>
              <a:ext cx="9525" cy="4763"/>
            </a:xfrm>
            <a:custGeom>
              <a:avLst/>
              <a:gdLst>
                <a:gd name="T0" fmla="*/ 22 w 26"/>
                <a:gd name="T1" fmla="*/ 8 h 12"/>
                <a:gd name="T2" fmla="*/ 25 w 26"/>
                <a:gd name="T3" fmla="*/ 3 h 12"/>
                <a:gd name="T4" fmla="*/ 25 w 26"/>
                <a:gd name="T5" fmla="*/ 3 h 12"/>
                <a:gd name="T6" fmla="*/ 8 w 26"/>
                <a:gd name="T7" fmla="*/ 0 h 12"/>
                <a:gd name="T8" fmla="*/ 3 w 26"/>
                <a:gd name="T9" fmla="*/ 3 h 12"/>
                <a:gd name="T10" fmla="*/ 0 w 26"/>
                <a:gd name="T11" fmla="*/ 6 h 12"/>
                <a:gd name="T12" fmla="*/ 0 w 26"/>
                <a:gd name="T13" fmla="*/ 11 h 12"/>
                <a:gd name="T14" fmla="*/ 22 w 26"/>
                <a:gd name="T1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2">
                  <a:moveTo>
                    <a:pt x="22" y="8"/>
                  </a:moveTo>
                  <a:cubicBezTo>
                    <a:pt x="22" y="6"/>
                    <a:pt x="22" y="6"/>
                    <a:pt x="25" y="3"/>
                  </a:cubicBezTo>
                  <a:lnTo>
                    <a:pt x="25" y="3"/>
                  </a:lnTo>
                  <a:cubicBezTo>
                    <a:pt x="17" y="6"/>
                    <a:pt x="17" y="3"/>
                    <a:pt x="8" y="0"/>
                  </a:cubicBezTo>
                  <a:cubicBezTo>
                    <a:pt x="6" y="0"/>
                    <a:pt x="6" y="3"/>
                    <a:pt x="3" y="3"/>
                  </a:cubicBezTo>
                  <a:lnTo>
                    <a:pt x="0" y="6"/>
                  </a:lnTo>
                  <a:cubicBezTo>
                    <a:pt x="0" y="8"/>
                    <a:pt x="0" y="8"/>
                    <a:pt x="0" y="11"/>
                  </a:cubicBezTo>
                  <a:cubicBezTo>
                    <a:pt x="6" y="11"/>
                    <a:pt x="17" y="8"/>
                    <a:pt x="22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8" name="Freeform 439"/>
            <p:cNvSpPr>
              <a:spLocks noChangeArrowheads="1"/>
            </p:cNvSpPr>
            <p:nvPr/>
          </p:nvSpPr>
          <p:spPr bwMode="auto">
            <a:xfrm>
              <a:off x="3900488" y="2692400"/>
              <a:ext cx="6350" cy="1588"/>
            </a:xfrm>
            <a:custGeom>
              <a:avLst/>
              <a:gdLst>
                <a:gd name="T0" fmla="*/ 0 w 18"/>
                <a:gd name="T1" fmla="*/ 5 h 6"/>
                <a:gd name="T2" fmla="*/ 17 w 18"/>
                <a:gd name="T3" fmla="*/ 2 h 6"/>
                <a:gd name="T4" fmla="*/ 3 w 18"/>
                <a:gd name="T5" fmla="*/ 0 h 6"/>
                <a:gd name="T6" fmla="*/ 0 w 18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0" y="5"/>
                  </a:moveTo>
                  <a:cubicBezTo>
                    <a:pt x="6" y="5"/>
                    <a:pt x="14" y="5"/>
                    <a:pt x="17" y="2"/>
                  </a:cubicBezTo>
                  <a:cubicBezTo>
                    <a:pt x="14" y="0"/>
                    <a:pt x="8" y="0"/>
                    <a:pt x="3" y="0"/>
                  </a:cubicBezTo>
                  <a:cubicBezTo>
                    <a:pt x="0" y="0"/>
                    <a:pt x="0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9" name="Freeform 440"/>
            <p:cNvSpPr>
              <a:spLocks noChangeArrowheads="1"/>
            </p:cNvSpPr>
            <p:nvPr/>
          </p:nvSpPr>
          <p:spPr bwMode="auto">
            <a:xfrm>
              <a:off x="3886200" y="2282825"/>
              <a:ext cx="6350" cy="7938"/>
            </a:xfrm>
            <a:custGeom>
              <a:avLst/>
              <a:gdLst>
                <a:gd name="T0" fmla="*/ 0 w 16"/>
                <a:gd name="T1" fmla="*/ 0 h 21"/>
                <a:gd name="T2" fmla="*/ 0 w 16"/>
                <a:gd name="T3" fmla="*/ 6 h 21"/>
                <a:gd name="T4" fmla="*/ 6 w 16"/>
                <a:gd name="T5" fmla="*/ 9 h 21"/>
                <a:gd name="T6" fmla="*/ 6 w 16"/>
                <a:gd name="T7" fmla="*/ 20 h 21"/>
                <a:gd name="T8" fmla="*/ 15 w 16"/>
                <a:gd name="T9" fmla="*/ 14 h 21"/>
                <a:gd name="T10" fmla="*/ 0 w 16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1">
                  <a:moveTo>
                    <a:pt x="0" y="0"/>
                  </a:moveTo>
                  <a:cubicBezTo>
                    <a:pt x="0" y="3"/>
                    <a:pt x="0" y="6"/>
                    <a:pt x="0" y="6"/>
                  </a:cubicBezTo>
                  <a:lnTo>
                    <a:pt x="6" y="9"/>
                  </a:lnTo>
                  <a:cubicBezTo>
                    <a:pt x="6" y="11"/>
                    <a:pt x="6" y="17"/>
                    <a:pt x="6" y="20"/>
                  </a:cubicBezTo>
                  <a:cubicBezTo>
                    <a:pt x="9" y="20"/>
                    <a:pt x="12" y="17"/>
                    <a:pt x="15" y="14"/>
                  </a:cubicBezTo>
                  <a:cubicBezTo>
                    <a:pt x="9" y="9"/>
                    <a:pt x="6" y="6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0" name="Freeform 441"/>
            <p:cNvSpPr>
              <a:spLocks noChangeArrowheads="1"/>
            </p:cNvSpPr>
            <p:nvPr/>
          </p:nvSpPr>
          <p:spPr bwMode="auto">
            <a:xfrm>
              <a:off x="3886200" y="2363788"/>
              <a:ext cx="3175" cy="4762"/>
            </a:xfrm>
            <a:custGeom>
              <a:avLst/>
              <a:gdLst>
                <a:gd name="T0" fmla="*/ 0 w 10"/>
                <a:gd name="T1" fmla="*/ 0 h 12"/>
                <a:gd name="T2" fmla="*/ 3 w 10"/>
                <a:gd name="T3" fmla="*/ 11 h 12"/>
                <a:gd name="T4" fmla="*/ 9 w 10"/>
                <a:gd name="T5" fmla="*/ 5 h 12"/>
                <a:gd name="T6" fmla="*/ 0 w 10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0" y="0"/>
                  </a:moveTo>
                  <a:cubicBezTo>
                    <a:pt x="0" y="2"/>
                    <a:pt x="3" y="5"/>
                    <a:pt x="3" y="11"/>
                  </a:cubicBezTo>
                  <a:cubicBezTo>
                    <a:pt x="6" y="11"/>
                    <a:pt x="9" y="8"/>
                    <a:pt x="9" y="5"/>
                  </a:cubicBezTo>
                  <a:cubicBezTo>
                    <a:pt x="3" y="5"/>
                    <a:pt x="0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1" name="Freeform 442"/>
            <p:cNvSpPr>
              <a:spLocks noChangeArrowheads="1"/>
            </p:cNvSpPr>
            <p:nvPr/>
          </p:nvSpPr>
          <p:spPr bwMode="auto">
            <a:xfrm>
              <a:off x="3889375" y="3014663"/>
              <a:ext cx="1588" cy="3175"/>
            </a:xfrm>
            <a:custGeom>
              <a:avLst/>
              <a:gdLst>
                <a:gd name="T0" fmla="*/ 0 w 4"/>
                <a:gd name="T1" fmla="*/ 0 h 9"/>
                <a:gd name="T2" fmla="*/ 0 w 4"/>
                <a:gd name="T3" fmla="*/ 8 h 9"/>
                <a:gd name="T4" fmla="*/ 3 w 4"/>
                <a:gd name="T5" fmla="*/ 8 h 9"/>
                <a:gd name="T6" fmla="*/ 0 w 4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0" y="0"/>
                  </a:moveTo>
                  <a:cubicBezTo>
                    <a:pt x="0" y="3"/>
                    <a:pt x="0" y="6"/>
                    <a:pt x="0" y="8"/>
                  </a:cubicBezTo>
                  <a:lnTo>
                    <a:pt x="3" y="8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2" name="Freeform 443"/>
            <p:cNvSpPr>
              <a:spLocks noChangeArrowheads="1"/>
            </p:cNvSpPr>
            <p:nvPr/>
          </p:nvSpPr>
          <p:spPr bwMode="auto">
            <a:xfrm>
              <a:off x="3900488" y="3019425"/>
              <a:ext cx="4762" cy="3175"/>
            </a:xfrm>
            <a:custGeom>
              <a:avLst/>
              <a:gdLst>
                <a:gd name="T0" fmla="*/ 6 w 12"/>
                <a:gd name="T1" fmla="*/ 0 h 7"/>
                <a:gd name="T2" fmla="*/ 0 w 12"/>
                <a:gd name="T3" fmla="*/ 3 h 7"/>
                <a:gd name="T4" fmla="*/ 8 w 12"/>
                <a:gd name="T5" fmla="*/ 6 h 7"/>
                <a:gd name="T6" fmla="*/ 11 w 12"/>
                <a:gd name="T7" fmla="*/ 6 h 7"/>
                <a:gd name="T8" fmla="*/ 6 w 12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6" y="0"/>
                  </a:moveTo>
                  <a:cubicBezTo>
                    <a:pt x="3" y="0"/>
                    <a:pt x="3" y="3"/>
                    <a:pt x="0" y="3"/>
                  </a:cubicBezTo>
                  <a:cubicBezTo>
                    <a:pt x="0" y="6"/>
                    <a:pt x="3" y="6"/>
                    <a:pt x="8" y="6"/>
                  </a:cubicBezTo>
                  <a:lnTo>
                    <a:pt x="11" y="6"/>
                  </a:lnTo>
                  <a:cubicBezTo>
                    <a:pt x="11" y="3"/>
                    <a:pt x="8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3" name="Freeform 444"/>
            <p:cNvSpPr>
              <a:spLocks noChangeArrowheads="1"/>
            </p:cNvSpPr>
            <p:nvPr/>
          </p:nvSpPr>
          <p:spPr bwMode="auto">
            <a:xfrm>
              <a:off x="3910013" y="3027363"/>
              <a:ext cx="1587" cy="1587"/>
            </a:xfrm>
            <a:custGeom>
              <a:avLst/>
              <a:gdLst>
                <a:gd name="T0" fmla="*/ 0 w 6"/>
                <a:gd name="T1" fmla="*/ 5 h 6"/>
                <a:gd name="T2" fmla="*/ 5 w 6"/>
                <a:gd name="T3" fmla="*/ 2 h 6"/>
                <a:gd name="T4" fmla="*/ 0 w 6"/>
                <a:gd name="T5" fmla="*/ 0 h 6"/>
                <a:gd name="T6" fmla="*/ 0 w 6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5"/>
                  </a:moveTo>
                  <a:cubicBezTo>
                    <a:pt x="2" y="5"/>
                    <a:pt x="5" y="2"/>
                    <a:pt x="5" y="2"/>
                  </a:cubicBezTo>
                  <a:cubicBezTo>
                    <a:pt x="2" y="0"/>
                    <a:pt x="2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4" name="Freeform 445"/>
            <p:cNvSpPr>
              <a:spLocks noChangeArrowheads="1"/>
            </p:cNvSpPr>
            <p:nvPr/>
          </p:nvSpPr>
          <p:spPr bwMode="auto">
            <a:xfrm>
              <a:off x="3911600" y="2882900"/>
              <a:ext cx="3175" cy="1588"/>
            </a:xfrm>
            <a:custGeom>
              <a:avLst/>
              <a:gdLst>
                <a:gd name="T0" fmla="*/ 3 w 10"/>
                <a:gd name="T1" fmla="*/ 3 h 4"/>
                <a:gd name="T2" fmla="*/ 9 w 10"/>
                <a:gd name="T3" fmla="*/ 3 h 4"/>
                <a:gd name="T4" fmla="*/ 0 w 10"/>
                <a:gd name="T5" fmla="*/ 0 h 4"/>
                <a:gd name="T6" fmla="*/ 3 w 10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4">
                  <a:moveTo>
                    <a:pt x="3" y="3"/>
                  </a:moveTo>
                  <a:lnTo>
                    <a:pt x="9" y="3"/>
                  </a:lnTo>
                  <a:cubicBezTo>
                    <a:pt x="6" y="3"/>
                    <a:pt x="3" y="0"/>
                    <a:pt x="0" y="0"/>
                  </a:cubicBezTo>
                  <a:cubicBezTo>
                    <a:pt x="0" y="3"/>
                    <a:pt x="0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5" name="Freeform 446"/>
            <p:cNvSpPr>
              <a:spLocks noChangeArrowheads="1"/>
            </p:cNvSpPr>
            <p:nvPr/>
          </p:nvSpPr>
          <p:spPr bwMode="auto">
            <a:xfrm>
              <a:off x="3910013" y="3030538"/>
              <a:ext cx="1587" cy="1587"/>
            </a:xfrm>
            <a:custGeom>
              <a:avLst/>
              <a:gdLst>
                <a:gd name="T0" fmla="*/ 0 w 6"/>
                <a:gd name="T1" fmla="*/ 3 h 4"/>
                <a:gd name="T2" fmla="*/ 2 w 6"/>
                <a:gd name="T3" fmla="*/ 3 h 4"/>
                <a:gd name="T4" fmla="*/ 5 w 6"/>
                <a:gd name="T5" fmla="*/ 0 h 4"/>
                <a:gd name="T6" fmla="*/ 5 w 6"/>
                <a:gd name="T7" fmla="*/ 0 h 4"/>
                <a:gd name="T8" fmla="*/ 0 w 6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3"/>
                  </a:moveTo>
                  <a:lnTo>
                    <a:pt x="2" y="3"/>
                  </a:lnTo>
                  <a:lnTo>
                    <a:pt x="5" y="0"/>
                  </a:lnTo>
                  <a:lnTo>
                    <a:pt x="5" y="0"/>
                  </a:lnTo>
                  <a:cubicBezTo>
                    <a:pt x="2" y="3"/>
                    <a:pt x="2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6" name="Freeform 447"/>
            <p:cNvSpPr>
              <a:spLocks noChangeArrowheads="1"/>
            </p:cNvSpPr>
            <p:nvPr/>
          </p:nvSpPr>
          <p:spPr bwMode="auto">
            <a:xfrm>
              <a:off x="3903663" y="2757488"/>
              <a:ext cx="6350" cy="4762"/>
            </a:xfrm>
            <a:custGeom>
              <a:avLst/>
              <a:gdLst>
                <a:gd name="T0" fmla="*/ 3 w 16"/>
                <a:gd name="T1" fmla="*/ 12 h 13"/>
                <a:gd name="T2" fmla="*/ 12 w 16"/>
                <a:gd name="T3" fmla="*/ 0 h 13"/>
                <a:gd name="T4" fmla="*/ 3 w 16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3" y="12"/>
                  </a:moveTo>
                  <a:cubicBezTo>
                    <a:pt x="9" y="12"/>
                    <a:pt x="15" y="9"/>
                    <a:pt x="12" y="0"/>
                  </a:cubicBezTo>
                  <a:cubicBezTo>
                    <a:pt x="6" y="0"/>
                    <a:pt x="0" y="0"/>
                    <a:pt x="3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7" name="Freeform 448"/>
            <p:cNvSpPr>
              <a:spLocks noChangeArrowheads="1"/>
            </p:cNvSpPr>
            <p:nvPr/>
          </p:nvSpPr>
          <p:spPr bwMode="auto">
            <a:xfrm>
              <a:off x="3910013" y="2238375"/>
              <a:ext cx="6350" cy="11113"/>
            </a:xfrm>
            <a:custGeom>
              <a:avLst/>
              <a:gdLst>
                <a:gd name="T0" fmla="*/ 17 w 18"/>
                <a:gd name="T1" fmla="*/ 8 h 29"/>
                <a:gd name="T2" fmla="*/ 14 w 18"/>
                <a:gd name="T3" fmla="*/ 0 h 29"/>
                <a:gd name="T4" fmla="*/ 8 w 18"/>
                <a:gd name="T5" fmla="*/ 0 h 29"/>
                <a:gd name="T6" fmla="*/ 0 w 18"/>
                <a:gd name="T7" fmla="*/ 17 h 29"/>
                <a:gd name="T8" fmla="*/ 2 w 18"/>
                <a:gd name="T9" fmla="*/ 17 h 29"/>
                <a:gd name="T10" fmla="*/ 14 w 18"/>
                <a:gd name="T11" fmla="*/ 8 h 29"/>
                <a:gd name="T12" fmla="*/ 5 w 18"/>
                <a:gd name="T13" fmla="*/ 25 h 29"/>
                <a:gd name="T14" fmla="*/ 17 w 18"/>
                <a:gd name="T15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9">
                  <a:moveTo>
                    <a:pt x="17" y="8"/>
                  </a:moveTo>
                  <a:cubicBezTo>
                    <a:pt x="17" y="5"/>
                    <a:pt x="17" y="3"/>
                    <a:pt x="14" y="0"/>
                  </a:cubicBezTo>
                  <a:lnTo>
                    <a:pt x="8" y="0"/>
                  </a:lnTo>
                  <a:cubicBezTo>
                    <a:pt x="5" y="5"/>
                    <a:pt x="2" y="11"/>
                    <a:pt x="0" y="17"/>
                  </a:cubicBezTo>
                  <a:cubicBezTo>
                    <a:pt x="0" y="17"/>
                    <a:pt x="0" y="17"/>
                    <a:pt x="2" y="17"/>
                  </a:cubicBezTo>
                  <a:cubicBezTo>
                    <a:pt x="5" y="14"/>
                    <a:pt x="5" y="8"/>
                    <a:pt x="14" y="8"/>
                  </a:cubicBezTo>
                  <a:cubicBezTo>
                    <a:pt x="14" y="14"/>
                    <a:pt x="11" y="20"/>
                    <a:pt x="5" y="25"/>
                  </a:cubicBezTo>
                  <a:cubicBezTo>
                    <a:pt x="11" y="28"/>
                    <a:pt x="14" y="17"/>
                    <a:pt x="17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8" name="Freeform 449"/>
            <p:cNvSpPr>
              <a:spLocks noChangeArrowheads="1"/>
            </p:cNvSpPr>
            <p:nvPr/>
          </p:nvSpPr>
          <p:spPr bwMode="auto">
            <a:xfrm>
              <a:off x="3960813" y="2740025"/>
              <a:ext cx="7937" cy="4763"/>
            </a:xfrm>
            <a:custGeom>
              <a:avLst/>
              <a:gdLst>
                <a:gd name="T0" fmla="*/ 12 w 21"/>
                <a:gd name="T1" fmla="*/ 14 h 15"/>
                <a:gd name="T2" fmla="*/ 17 w 21"/>
                <a:gd name="T3" fmla="*/ 9 h 15"/>
                <a:gd name="T4" fmla="*/ 20 w 21"/>
                <a:gd name="T5" fmla="*/ 3 h 15"/>
                <a:gd name="T6" fmla="*/ 15 w 21"/>
                <a:gd name="T7" fmla="*/ 0 h 15"/>
                <a:gd name="T8" fmla="*/ 12 w 21"/>
                <a:gd name="T9" fmla="*/ 3 h 15"/>
                <a:gd name="T10" fmla="*/ 12 w 21"/>
                <a:gd name="T11" fmla="*/ 3 h 15"/>
                <a:gd name="T12" fmla="*/ 6 w 21"/>
                <a:gd name="T13" fmla="*/ 6 h 15"/>
                <a:gd name="T14" fmla="*/ 0 w 21"/>
                <a:gd name="T15" fmla="*/ 0 h 15"/>
                <a:gd name="T16" fmla="*/ 0 w 21"/>
                <a:gd name="T17" fmla="*/ 9 h 15"/>
                <a:gd name="T18" fmla="*/ 3 w 21"/>
                <a:gd name="T19" fmla="*/ 9 h 15"/>
                <a:gd name="T20" fmla="*/ 12 w 21"/>
                <a:gd name="T21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5">
                  <a:moveTo>
                    <a:pt x="12" y="14"/>
                  </a:moveTo>
                  <a:cubicBezTo>
                    <a:pt x="12" y="11"/>
                    <a:pt x="15" y="9"/>
                    <a:pt x="17" y="9"/>
                  </a:cubicBezTo>
                  <a:cubicBezTo>
                    <a:pt x="17" y="6"/>
                    <a:pt x="20" y="6"/>
                    <a:pt x="20" y="3"/>
                  </a:cubicBezTo>
                  <a:cubicBezTo>
                    <a:pt x="17" y="3"/>
                    <a:pt x="17" y="0"/>
                    <a:pt x="15" y="0"/>
                  </a:cubicBezTo>
                  <a:cubicBezTo>
                    <a:pt x="15" y="0"/>
                    <a:pt x="15" y="3"/>
                    <a:pt x="12" y="3"/>
                  </a:cubicBezTo>
                  <a:lnTo>
                    <a:pt x="12" y="3"/>
                  </a:lnTo>
                  <a:cubicBezTo>
                    <a:pt x="9" y="3"/>
                    <a:pt x="9" y="6"/>
                    <a:pt x="6" y="6"/>
                  </a:cubicBezTo>
                  <a:cubicBezTo>
                    <a:pt x="3" y="6"/>
                    <a:pt x="3" y="3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0" y="9"/>
                    <a:pt x="0" y="9"/>
                    <a:pt x="3" y="9"/>
                  </a:cubicBezTo>
                  <a:cubicBezTo>
                    <a:pt x="6" y="9"/>
                    <a:pt x="6" y="11"/>
                    <a:pt x="12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9" name="Freeform 450"/>
            <p:cNvSpPr>
              <a:spLocks noChangeArrowheads="1"/>
            </p:cNvSpPr>
            <p:nvPr/>
          </p:nvSpPr>
          <p:spPr bwMode="auto">
            <a:xfrm>
              <a:off x="3959225" y="2587625"/>
              <a:ext cx="4763" cy="3175"/>
            </a:xfrm>
            <a:custGeom>
              <a:avLst/>
              <a:gdLst>
                <a:gd name="T0" fmla="*/ 11 w 12"/>
                <a:gd name="T1" fmla="*/ 3 h 10"/>
                <a:gd name="T2" fmla="*/ 5 w 12"/>
                <a:gd name="T3" fmla="*/ 0 h 10"/>
                <a:gd name="T4" fmla="*/ 11 w 12"/>
                <a:gd name="T5" fmla="*/ 6 h 10"/>
                <a:gd name="T6" fmla="*/ 11 w 12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1" y="3"/>
                  </a:moveTo>
                  <a:cubicBezTo>
                    <a:pt x="11" y="3"/>
                    <a:pt x="8" y="0"/>
                    <a:pt x="5" y="0"/>
                  </a:cubicBezTo>
                  <a:cubicBezTo>
                    <a:pt x="2" y="3"/>
                    <a:pt x="0" y="9"/>
                    <a:pt x="11" y="6"/>
                  </a:cubicBezTo>
                  <a:lnTo>
                    <a:pt x="11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0" name="Freeform 451"/>
            <p:cNvSpPr>
              <a:spLocks noChangeArrowheads="1"/>
            </p:cNvSpPr>
            <p:nvPr/>
          </p:nvSpPr>
          <p:spPr bwMode="auto">
            <a:xfrm>
              <a:off x="3965575" y="2511425"/>
              <a:ext cx="3175" cy="4763"/>
            </a:xfrm>
            <a:custGeom>
              <a:avLst/>
              <a:gdLst>
                <a:gd name="T0" fmla="*/ 0 w 9"/>
                <a:gd name="T1" fmla="*/ 11 h 15"/>
                <a:gd name="T2" fmla="*/ 0 w 9"/>
                <a:gd name="T3" fmla="*/ 11 h 15"/>
                <a:gd name="T4" fmla="*/ 3 w 9"/>
                <a:gd name="T5" fmla="*/ 0 h 15"/>
                <a:gd name="T6" fmla="*/ 0 w 9"/>
                <a:gd name="T7" fmla="*/ 0 h 15"/>
                <a:gd name="T8" fmla="*/ 0 w 9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0" y="11"/>
                  </a:moveTo>
                  <a:lnTo>
                    <a:pt x="0" y="11"/>
                  </a:lnTo>
                  <a:cubicBezTo>
                    <a:pt x="8" y="14"/>
                    <a:pt x="8" y="2"/>
                    <a:pt x="3" y="0"/>
                  </a:cubicBezTo>
                  <a:cubicBezTo>
                    <a:pt x="3" y="0"/>
                    <a:pt x="3" y="0"/>
                    <a:pt x="0" y="0"/>
                  </a:cubicBezTo>
                  <a:cubicBezTo>
                    <a:pt x="0" y="2"/>
                    <a:pt x="3" y="8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1" name="Freeform 452"/>
            <p:cNvSpPr>
              <a:spLocks noChangeArrowheads="1"/>
            </p:cNvSpPr>
            <p:nvPr/>
          </p:nvSpPr>
          <p:spPr bwMode="auto">
            <a:xfrm>
              <a:off x="3959225" y="270033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0 h 4"/>
                <a:gd name="T4" fmla="*/ 0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0"/>
                    <a:pt x="0" y="0"/>
                    <a:pt x="0" y="0"/>
                  </a:cubicBezTo>
                  <a:lnTo>
                    <a:pt x="0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2" name="Freeform 453"/>
            <p:cNvSpPr>
              <a:spLocks noChangeArrowheads="1"/>
            </p:cNvSpPr>
            <p:nvPr/>
          </p:nvSpPr>
          <p:spPr bwMode="auto">
            <a:xfrm>
              <a:off x="3952875" y="3033713"/>
              <a:ext cx="3175" cy="3175"/>
            </a:xfrm>
            <a:custGeom>
              <a:avLst/>
              <a:gdLst>
                <a:gd name="T0" fmla="*/ 3 w 7"/>
                <a:gd name="T1" fmla="*/ 6 h 7"/>
                <a:gd name="T2" fmla="*/ 6 w 7"/>
                <a:gd name="T3" fmla="*/ 0 h 7"/>
                <a:gd name="T4" fmla="*/ 0 w 7"/>
                <a:gd name="T5" fmla="*/ 0 h 7"/>
                <a:gd name="T6" fmla="*/ 3 w 7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3" y="6"/>
                  </a:moveTo>
                  <a:cubicBezTo>
                    <a:pt x="6" y="3"/>
                    <a:pt x="6" y="0"/>
                    <a:pt x="6" y="0"/>
                  </a:cubicBezTo>
                  <a:cubicBezTo>
                    <a:pt x="3" y="0"/>
                    <a:pt x="3" y="0"/>
                    <a:pt x="0" y="0"/>
                  </a:cubicBezTo>
                  <a:cubicBezTo>
                    <a:pt x="0" y="0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3" name="Freeform 454"/>
            <p:cNvSpPr>
              <a:spLocks noChangeArrowheads="1"/>
            </p:cNvSpPr>
            <p:nvPr/>
          </p:nvSpPr>
          <p:spPr bwMode="auto">
            <a:xfrm>
              <a:off x="3956050" y="2590800"/>
              <a:ext cx="3175" cy="3175"/>
            </a:xfrm>
            <a:custGeom>
              <a:avLst/>
              <a:gdLst>
                <a:gd name="T0" fmla="*/ 0 w 7"/>
                <a:gd name="T1" fmla="*/ 9 h 10"/>
                <a:gd name="T2" fmla="*/ 3 w 7"/>
                <a:gd name="T3" fmla="*/ 0 h 10"/>
                <a:gd name="T4" fmla="*/ 0 w 7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0">
                  <a:moveTo>
                    <a:pt x="0" y="9"/>
                  </a:moveTo>
                  <a:cubicBezTo>
                    <a:pt x="6" y="6"/>
                    <a:pt x="6" y="3"/>
                    <a:pt x="3" y="0"/>
                  </a:cubicBezTo>
                  <a:cubicBezTo>
                    <a:pt x="3" y="3"/>
                    <a:pt x="0" y="6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4" name="Freeform 455"/>
            <p:cNvSpPr>
              <a:spLocks noChangeArrowheads="1"/>
            </p:cNvSpPr>
            <p:nvPr/>
          </p:nvSpPr>
          <p:spPr bwMode="auto">
            <a:xfrm>
              <a:off x="3973513" y="2719388"/>
              <a:ext cx="3175" cy="3175"/>
            </a:xfrm>
            <a:custGeom>
              <a:avLst/>
              <a:gdLst>
                <a:gd name="T0" fmla="*/ 3 w 10"/>
                <a:gd name="T1" fmla="*/ 6 h 7"/>
                <a:gd name="T2" fmla="*/ 9 w 10"/>
                <a:gd name="T3" fmla="*/ 0 h 7"/>
                <a:gd name="T4" fmla="*/ 3 w 10"/>
                <a:gd name="T5" fmla="*/ 0 h 7"/>
                <a:gd name="T6" fmla="*/ 3 w 10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3" y="6"/>
                  </a:moveTo>
                  <a:cubicBezTo>
                    <a:pt x="3" y="3"/>
                    <a:pt x="6" y="3"/>
                    <a:pt x="9" y="0"/>
                  </a:cubicBezTo>
                  <a:lnTo>
                    <a:pt x="3" y="0"/>
                  </a:lnTo>
                  <a:cubicBezTo>
                    <a:pt x="0" y="0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5" name="Freeform 456"/>
            <p:cNvSpPr>
              <a:spLocks noChangeArrowheads="1"/>
            </p:cNvSpPr>
            <p:nvPr/>
          </p:nvSpPr>
          <p:spPr bwMode="auto">
            <a:xfrm>
              <a:off x="3946525" y="2928938"/>
              <a:ext cx="6350" cy="4762"/>
            </a:xfrm>
            <a:custGeom>
              <a:avLst/>
              <a:gdLst>
                <a:gd name="T0" fmla="*/ 8 w 18"/>
                <a:gd name="T1" fmla="*/ 11 h 12"/>
                <a:gd name="T2" fmla="*/ 17 w 18"/>
                <a:gd name="T3" fmla="*/ 3 h 12"/>
                <a:gd name="T4" fmla="*/ 11 w 18"/>
                <a:gd name="T5" fmla="*/ 0 h 12"/>
                <a:gd name="T6" fmla="*/ 8 w 18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2">
                  <a:moveTo>
                    <a:pt x="8" y="11"/>
                  </a:moveTo>
                  <a:cubicBezTo>
                    <a:pt x="17" y="11"/>
                    <a:pt x="17" y="6"/>
                    <a:pt x="17" y="3"/>
                  </a:cubicBezTo>
                  <a:cubicBezTo>
                    <a:pt x="14" y="0"/>
                    <a:pt x="14" y="0"/>
                    <a:pt x="11" y="0"/>
                  </a:cubicBezTo>
                  <a:cubicBezTo>
                    <a:pt x="8" y="3"/>
                    <a:pt x="0" y="6"/>
                    <a:pt x="8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6" name="Freeform 457"/>
            <p:cNvSpPr>
              <a:spLocks noChangeArrowheads="1"/>
            </p:cNvSpPr>
            <p:nvPr/>
          </p:nvSpPr>
          <p:spPr bwMode="auto">
            <a:xfrm>
              <a:off x="3973513" y="2370138"/>
              <a:ext cx="4762" cy="1587"/>
            </a:xfrm>
            <a:custGeom>
              <a:avLst/>
              <a:gdLst>
                <a:gd name="T0" fmla="*/ 3 w 15"/>
                <a:gd name="T1" fmla="*/ 5 h 6"/>
                <a:gd name="T2" fmla="*/ 14 w 15"/>
                <a:gd name="T3" fmla="*/ 3 h 6"/>
                <a:gd name="T4" fmla="*/ 12 w 15"/>
                <a:gd name="T5" fmla="*/ 0 h 6"/>
                <a:gd name="T6" fmla="*/ 3 w 15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6">
                  <a:moveTo>
                    <a:pt x="3" y="5"/>
                  </a:moveTo>
                  <a:cubicBezTo>
                    <a:pt x="9" y="5"/>
                    <a:pt x="12" y="5"/>
                    <a:pt x="14" y="3"/>
                  </a:cubicBezTo>
                  <a:lnTo>
                    <a:pt x="12" y="0"/>
                  </a:lnTo>
                  <a:cubicBezTo>
                    <a:pt x="6" y="0"/>
                    <a:pt x="0" y="0"/>
                    <a:pt x="3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7" name="Freeform 458"/>
            <p:cNvSpPr>
              <a:spLocks noChangeArrowheads="1"/>
            </p:cNvSpPr>
            <p:nvPr/>
          </p:nvSpPr>
          <p:spPr bwMode="auto">
            <a:xfrm>
              <a:off x="3965575" y="2987675"/>
              <a:ext cx="6350" cy="6350"/>
            </a:xfrm>
            <a:custGeom>
              <a:avLst/>
              <a:gdLst>
                <a:gd name="T0" fmla="*/ 8 w 18"/>
                <a:gd name="T1" fmla="*/ 0 h 18"/>
                <a:gd name="T2" fmla="*/ 8 w 18"/>
                <a:gd name="T3" fmla="*/ 0 h 18"/>
                <a:gd name="T4" fmla="*/ 8 w 18"/>
                <a:gd name="T5" fmla="*/ 17 h 18"/>
                <a:gd name="T6" fmla="*/ 14 w 18"/>
                <a:gd name="T7" fmla="*/ 0 h 18"/>
                <a:gd name="T8" fmla="*/ 14 w 18"/>
                <a:gd name="T9" fmla="*/ 0 h 18"/>
                <a:gd name="T10" fmla="*/ 8 w 18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cubicBezTo>
                    <a:pt x="0" y="5"/>
                    <a:pt x="5" y="11"/>
                    <a:pt x="8" y="17"/>
                  </a:cubicBezTo>
                  <a:cubicBezTo>
                    <a:pt x="14" y="14"/>
                    <a:pt x="17" y="5"/>
                    <a:pt x="14" y="0"/>
                  </a:cubicBezTo>
                  <a:lnTo>
                    <a:pt x="14" y="0"/>
                  </a:lnTo>
                  <a:cubicBezTo>
                    <a:pt x="11" y="0"/>
                    <a:pt x="8" y="0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8" name="Freeform 459"/>
            <p:cNvSpPr>
              <a:spLocks noChangeArrowheads="1"/>
            </p:cNvSpPr>
            <p:nvPr/>
          </p:nvSpPr>
          <p:spPr bwMode="auto">
            <a:xfrm>
              <a:off x="3965575" y="2778125"/>
              <a:ext cx="3175" cy="4763"/>
            </a:xfrm>
            <a:custGeom>
              <a:avLst/>
              <a:gdLst>
                <a:gd name="T0" fmla="*/ 5 w 9"/>
                <a:gd name="T1" fmla="*/ 0 h 15"/>
                <a:gd name="T2" fmla="*/ 0 w 9"/>
                <a:gd name="T3" fmla="*/ 5 h 15"/>
                <a:gd name="T4" fmla="*/ 3 w 9"/>
                <a:gd name="T5" fmla="*/ 11 h 15"/>
                <a:gd name="T6" fmla="*/ 5 w 9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5">
                  <a:moveTo>
                    <a:pt x="5" y="0"/>
                  </a:moveTo>
                  <a:cubicBezTo>
                    <a:pt x="3" y="0"/>
                    <a:pt x="8" y="11"/>
                    <a:pt x="0" y="5"/>
                  </a:cubicBezTo>
                  <a:cubicBezTo>
                    <a:pt x="0" y="8"/>
                    <a:pt x="0" y="11"/>
                    <a:pt x="3" y="11"/>
                  </a:cubicBezTo>
                  <a:cubicBezTo>
                    <a:pt x="5" y="14"/>
                    <a:pt x="5" y="8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9" name="Freeform 460"/>
            <p:cNvSpPr>
              <a:spLocks noChangeArrowheads="1"/>
            </p:cNvSpPr>
            <p:nvPr/>
          </p:nvSpPr>
          <p:spPr bwMode="auto">
            <a:xfrm>
              <a:off x="3959225" y="2408238"/>
              <a:ext cx="14288" cy="22225"/>
            </a:xfrm>
            <a:custGeom>
              <a:avLst/>
              <a:gdLst>
                <a:gd name="T0" fmla="*/ 31 w 38"/>
                <a:gd name="T1" fmla="*/ 6 h 63"/>
                <a:gd name="T2" fmla="*/ 25 w 38"/>
                <a:gd name="T3" fmla="*/ 20 h 63"/>
                <a:gd name="T4" fmla="*/ 22 w 38"/>
                <a:gd name="T5" fmla="*/ 20 h 63"/>
                <a:gd name="T6" fmla="*/ 20 w 38"/>
                <a:gd name="T7" fmla="*/ 20 h 63"/>
                <a:gd name="T8" fmla="*/ 14 w 38"/>
                <a:gd name="T9" fmla="*/ 25 h 63"/>
                <a:gd name="T10" fmla="*/ 3 w 38"/>
                <a:gd name="T11" fmla="*/ 25 h 63"/>
                <a:gd name="T12" fmla="*/ 0 w 38"/>
                <a:gd name="T13" fmla="*/ 53 h 63"/>
                <a:gd name="T14" fmla="*/ 0 w 38"/>
                <a:gd name="T15" fmla="*/ 59 h 63"/>
                <a:gd name="T16" fmla="*/ 8 w 38"/>
                <a:gd name="T17" fmla="*/ 62 h 63"/>
                <a:gd name="T18" fmla="*/ 20 w 38"/>
                <a:gd name="T19" fmla="*/ 45 h 63"/>
                <a:gd name="T20" fmla="*/ 28 w 38"/>
                <a:gd name="T21" fmla="*/ 42 h 63"/>
                <a:gd name="T22" fmla="*/ 22 w 38"/>
                <a:gd name="T23" fmla="*/ 25 h 63"/>
                <a:gd name="T24" fmla="*/ 31 w 38"/>
                <a:gd name="T25" fmla="*/ 17 h 63"/>
                <a:gd name="T26" fmla="*/ 31 w 38"/>
                <a:gd name="T27" fmla="*/ 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63">
                  <a:moveTo>
                    <a:pt x="31" y="6"/>
                  </a:moveTo>
                  <a:cubicBezTo>
                    <a:pt x="31" y="11"/>
                    <a:pt x="31" y="17"/>
                    <a:pt x="25" y="20"/>
                  </a:cubicBezTo>
                  <a:lnTo>
                    <a:pt x="22" y="20"/>
                  </a:lnTo>
                  <a:lnTo>
                    <a:pt x="20" y="20"/>
                  </a:lnTo>
                  <a:cubicBezTo>
                    <a:pt x="20" y="22"/>
                    <a:pt x="17" y="25"/>
                    <a:pt x="14" y="25"/>
                  </a:cubicBezTo>
                  <a:cubicBezTo>
                    <a:pt x="11" y="25"/>
                    <a:pt x="3" y="28"/>
                    <a:pt x="3" y="25"/>
                  </a:cubicBezTo>
                  <a:cubicBezTo>
                    <a:pt x="0" y="34"/>
                    <a:pt x="0" y="42"/>
                    <a:pt x="0" y="53"/>
                  </a:cubicBezTo>
                  <a:lnTo>
                    <a:pt x="0" y="59"/>
                  </a:lnTo>
                  <a:cubicBezTo>
                    <a:pt x="3" y="59"/>
                    <a:pt x="5" y="62"/>
                    <a:pt x="8" y="62"/>
                  </a:cubicBezTo>
                  <a:cubicBezTo>
                    <a:pt x="14" y="56"/>
                    <a:pt x="11" y="48"/>
                    <a:pt x="20" y="45"/>
                  </a:cubicBezTo>
                  <a:cubicBezTo>
                    <a:pt x="22" y="45"/>
                    <a:pt x="25" y="45"/>
                    <a:pt x="28" y="42"/>
                  </a:cubicBezTo>
                  <a:cubicBezTo>
                    <a:pt x="28" y="37"/>
                    <a:pt x="25" y="34"/>
                    <a:pt x="22" y="25"/>
                  </a:cubicBezTo>
                  <a:lnTo>
                    <a:pt x="31" y="17"/>
                  </a:lnTo>
                  <a:cubicBezTo>
                    <a:pt x="31" y="11"/>
                    <a:pt x="37" y="0"/>
                    <a:pt x="31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0" name="Freeform 461"/>
            <p:cNvSpPr>
              <a:spLocks noChangeArrowheads="1"/>
            </p:cNvSpPr>
            <p:nvPr/>
          </p:nvSpPr>
          <p:spPr bwMode="auto">
            <a:xfrm>
              <a:off x="3965575" y="2430463"/>
              <a:ext cx="1588" cy="3175"/>
            </a:xfrm>
            <a:custGeom>
              <a:avLst/>
              <a:gdLst>
                <a:gd name="T0" fmla="*/ 0 w 3"/>
                <a:gd name="T1" fmla="*/ 0 h 7"/>
                <a:gd name="T2" fmla="*/ 0 w 3"/>
                <a:gd name="T3" fmla="*/ 6 h 7"/>
                <a:gd name="T4" fmla="*/ 2 w 3"/>
                <a:gd name="T5" fmla="*/ 0 h 7"/>
                <a:gd name="T6" fmla="*/ 0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0" y="3"/>
                    <a:pt x="2" y="3"/>
                    <a:pt x="2" y="0"/>
                  </a:cubicBezTo>
                  <a:cubicBezTo>
                    <a:pt x="2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1" name="Freeform 462"/>
            <p:cNvSpPr>
              <a:spLocks noChangeArrowheads="1"/>
            </p:cNvSpPr>
            <p:nvPr/>
          </p:nvSpPr>
          <p:spPr bwMode="auto">
            <a:xfrm>
              <a:off x="3971925" y="2863850"/>
              <a:ext cx="1588" cy="1588"/>
            </a:xfrm>
            <a:custGeom>
              <a:avLst/>
              <a:gdLst>
                <a:gd name="T0" fmla="*/ 2 w 3"/>
                <a:gd name="T1" fmla="*/ 3 h 4"/>
                <a:gd name="T2" fmla="*/ 2 w 3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3"/>
                  </a:moveTo>
                  <a:cubicBezTo>
                    <a:pt x="2" y="3"/>
                    <a:pt x="0" y="0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2" name="Freeform 463"/>
            <p:cNvSpPr>
              <a:spLocks noChangeArrowheads="1"/>
            </p:cNvSpPr>
            <p:nvPr/>
          </p:nvSpPr>
          <p:spPr bwMode="auto">
            <a:xfrm>
              <a:off x="3957638" y="2344738"/>
              <a:ext cx="12700" cy="11112"/>
            </a:xfrm>
            <a:custGeom>
              <a:avLst/>
              <a:gdLst>
                <a:gd name="T0" fmla="*/ 0 w 35"/>
                <a:gd name="T1" fmla="*/ 9 h 29"/>
                <a:gd name="T2" fmla="*/ 3 w 35"/>
                <a:gd name="T3" fmla="*/ 26 h 29"/>
                <a:gd name="T4" fmla="*/ 14 w 35"/>
                <a:gd name="T5" fmla="*/ 9 h 29"/>
                <a:gd name="T6" fmla="*/ 20 w 35"/>
                <a:gd name="T7" fmla="*/ 20 h 29"/>
                <a:gd name="T8" fmla="*/ 23 w 35"/>
                <a:gd name="T9" fmla="*/ 20 h 29"/>
                <a:gd name="T10" fmla="*/ 31 w 35"/>
                <a:gd name="T11" fmla="*/ 28 h 29"/>
                <a:gd name="T12" fmla="*/ 34 w 35"/>
                <a:gd name="T13" fmla="*/ 17 h 29"/>
                <a:gd name="T14" fmla="*/ 28 w 35"/>
                <a:gd name="T15" fmla="*/ 6 h 29"/>
                <a:gd name="T16" fmla="*/ 20 w 35"/>
                <a:gd name="T17" fmla="*/ 3 h 29"/>
                <a:gd name="T18" fmla="*/ 17 w 35"/>
                <a:gd name="T19" fmla="*/ 0 h 29"/>
                <a:gd name="T20" fmla="*/ 17 w 35"/>
                <a:gd name="T21" fmla="*/ 0 h 29"/>
                <a:gd name="T22" fmla="*/ 20 w 35"/>
                <a:gd name="T23" fmla="*/ 9 h 29"/>
                <a:gd name="T24" fmla="*/ 0 w 35"/>
                <a:gd name="T25" fmla="*/ 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29">
                  <a:moveTo>
                    <a:pt x="0" y="9"/>
                  </a:moveTo>
                  <a:cubicBezTo>
                    <a:pt x="0" y="14"/>
                    <a:pt x="0" y="23"/>
                    <a:pt x="3" y="26"/>
                  </a:cubicBezTo>
                  <a:cubicBezTo>
                    <a:pt x="8" y="20"/>
                    <a:pt x="11" y="14"/>
                    <a:pt x="14" y="9"/>
                  </a:cubicBezTo>
                  <a:cubicBezTo>
                    <a:pt x="17" y="11"/>
                    <a:pt x="20" y="14"/>
                    <a:pt x="20" y="20"/>
                  </a:cubicBezTo>
                  <a:cubicBezTo>
                    <a:pt x="20" y="20"/>
                    <a:pt x="20" y="20"/>
                    <a:pt x="23" y="20"/>
                  </a:cubicBezTo>
                  <a:cubicBezTo>
                    <a:pt x="28" y="20"/>
                    <a:pt x="25" y="28"/>
                    <a:pt x="31" y="28"/>
                  </a:cubicBezTo>
                  <a:cubicBezTo>
                    <a:pt x="31" y="26"/>
                    <a:pt x="31" y="20"/>
                    <a:pt x="34" y="17"/>
                  </a:cubicBezTo>
                  <a:cubicBezTo>
                    <a:pt x="31" y="14"/>
                    <a:pt x="31" y="9"/>
                    <a:pt x="28" y="6"/>
                  </a:cubicBezTo>
                  <a:cubicBezTo>
                    <a:pt x="28" y="6"/>
                    <a:pt x="23" y="3"/>
                    <a:pt x="20" y="3"/>
                  </a:cubicBezTo>
                  <a:lnTo>
                    <a:pt x="17" y="0"/>
                  </a:lnTo>
                  <a:lnTo>
                    <a:pt x="17" y="0"/>
                  </a:lnTo>
                  <a:cubicBezTo>
                    <a:pt x="14" y="3"/>
                    <a:pt x="20" y="6"/>
                    <a:pt x="20" y="9"/>
                  </a:cubicBezTo>
                  <a:cubicBezTo>
                    <a:pt x="14" y="9"/>
                    <a:pt x="8" y="9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3" name="Freeform 464"/>
            <p:cNvSpPr>
              <a:spLocks noChangeArrowheads="1"/>
            </p:cNvSpPr>
            <p:nvPr/>
          </p:nvSpPr>
          <p:spPr bwMode="auto">
            <a:xfrm>
              <a:off x="3956050" y="2386013"/>
              <a:ext cx="12700" cy="19050"/>
            </a:xfrm>
            <a:custGeom>
              <a:avLst/>
              <a:gdLst>
                <a:gd name="T0" fmla="*/ 9 w 35"/>
                <a:gd name="T1" fmla="*/ 51 h 52"/>
                <a:gd name="T2" fmla="*/ 23 w 35"/>
                <a:gd name="T3" fmla="*/ 48 h 52"/>
                <a:gd name="T4" fmla="*/ 23 w 35"/>
                <a:gd name="T5" fmla="*/ 31 h 52"/>
                <a:gd name="T6" fmla="*/ 31 w 35"/>
                <a:gd name="T7" fmla="*/ 36 h 52"/>
                <a:gd name="T8" fmla="*/ 34 w 35"/>
                <a:gd name="T9" fmla="*/ 22 h 52"/>
                <a:gd name="T10" fmla="*/ 29 w 35"/>
                <a:gd name="T11" fmla="*/ 14 h 52"/>
                <a:gd name="T12" fmla="*/ 34 w 35"/>
                <a:gd name="T13" fmla="*/ 0 h 52"/>
                <a:gd name="T14" fmla="*/ 6 w 35"/>
                <a:gd name="T15" fmla="*/ 8 h 52"/>
                <a:gd name="T16" fmla="*/ 3 w 35"/>
                <a:gd name="T17" fmla="*/ 11 h 52"/>
                <a:gd name="T18" fmla="*/ 12 w 35"/>
                <a:gd name="T19" fmla="*/ 20 h 52"/>
                <a:gd name="T20" fmla="*/ 9 w 35"/>
                <a:gd name="T21" fmla="*/ 22 h 52"/>
                <a:gd name="T22" fmla="*/ 14 w 35"/>
                <a:gd name="T23" fmla="*/ 25 h 52"/>
                <a:gd name="T24" fmla="*/ 17 w 35"/>
                <a:gd name="T25" fmla="*/ 34 h 52"/>
                <a:gd name="T26" fmla="*/ 6 w 35"/>
                <a:gd name="T27" fmla="*/ 31 h 52"/>
                <a:gd name="T28" fmla="*/ 0 w 35"/>
                <a:gd name="T29" fmla="*/ 42 h 52"/>
                <a:gd name="T30" fmla="*/ 9 w 35"/>
                <a:gd name="T31" fmla="*/ 5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52">
                  <a:moveTo>
                    <a:pt x="9" y="51"/>
                  </a:moveTo>
                  <a:cubicBezTo>
                    <a:pt x="14" y="51"/>
                    <a:pt x="14" y="45"/>
                    <a:pt x="23" y="48"/>
                  </a:cubicBezTo>
                  <a:cubicBezTo>
                    <a:pt x="23" y="42"/>
                    <a:pt x="17" y="34"/>
                    <a:pt x="23" y="31"/>
                  </a:cubicBezTo>
                  <a:cubicBezTo>
                    <a:pt x="31" y="28"/>
                    <a:pt x="26" y="39"/>
                    <a:pt x="31" y="36"/>
                  </a:cubicBezTo>
                  <a:cubicBezTo>
                    <a:pt x="31" y="31"/>
                    <a:pt x="31" y="28"/>
                    <a:pt x="34" y="22"/>
                  </a:cubicBezTo>
                  <a:cubicBezTo>
                    <a:pt x="31" y="20"/>
                    <a:pt x="31" y="17"/>
                    <a:pt x="29" y="14"/>
                  </a:cubicBezTo>
                  <a:cubicBezTo>
                    <a:pt x="29" y="8"/>
                    <a:pt x="34" y="5"/>
                    <a:pt x="34" y="0"/>
                  </a:cubicBezTo>
                  <a:cubicBezTo>
                    <a:pt x="23" y="3"/>
                    <a:pt x="17" y="11"/>
                    <a:pt x="6" y="8"/>
                  </a:cubicBezTo>
                  <a:lnTo>
                    <a:pt x="3" y="11"/>
                  </a:lnTo>
                  <a:cubicBezTo>
                    <a:pt x="6" y="14"/>
                    <a:pt x="9" y="14"/>
                    <a:pt x="12" y="20"/>
                  </a:cubicBezTo>
                  <a:cubicBezTo>
                    <a:pt x="12" y="20"/>
                    <a:pt x="9" y="20"/>
                    <a:pt x="9" y="22"/>
                  </a:cubicBezTo>
                  <a:cubicBezTo>
                    <a:pt x="9" y="22"/>
                    <a:pt x="14" y="22"/>
                    <a:pt x="14" y="25"/>
                  </a:cubicBezTo>
                  <a:cubicBezTo>
                    <a:pt x="17" y="28"/>
                    <a:pt x="14" y="31"/>
                    <a:pt x="17" y="34"/>
                  </a:cubicBezTo>
                  <a:cubicBezTo>
                    <a:pt x="12" y="34"/>
                    <a:pt x="12" y="31"/>
                    <a:pt x="6" y="31"/>
                  </a:cubicBezTo>
                  <a:cubicBezTo>
                    <a:pt x="6" y="36"/>
                    <a:pt x="3" y="39"/>
                    <a:pt x="0" y="42"/>
                  </a:cubicBezTo>
                  <a:cubicBezTo>
                    <a:pt x="6" y="45"/>
                    <a:pt x="9" y="48"/>
                    <a:pt x="9" y="5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4" name="Freeform 465"/>
            <p:cNvSpPr>
              <a:spLocks noChangeArrowheads="1"/>
            </p:cNvSpPr>
            <p:nvPr/>
          </p:nvSpPr>
          <p:spPr bwMode="auto">
            <a:xfrm>
              <a:off x="3963988" y="2338388"/>
              <a:ext cx="1587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3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5" name="Freeform 466"/>
            <p:cNvSpPr>
              <a:spLocks noChangeArrowheads="1"/>
            </p:cNvSpPr>
            <p:nvPr/>
          </p:nvSpPr>
          <p:spPr bwMode="auto">
            <a:xfrm>
              <a:off x="3946525" y="2932113"/>
              <a:ext cx="6350" cy="4762"/>
            </a:xfrm>
            <a:custGeom>
              <a:avLst/>
              <a:gdLst>
                <a:gd name="T0" fmla="*/ 0 w 18"/>
                <a:gd name="T1" fmla="*/ 3 h 15"/>
                <a:gd name="T2" fmla="*/ 0 w 18"/>
                <a:gd name="T3" fmla="*/ 12 h 15"/>
                <a:gd name="T4" fmla="*/ 14 w 18"/>
                <a:gd name="T5" fmla="*/ 9 h 15"/>
                <a:gd name="T6" fmla="*/ 17 w 18"/>
                <a:gd name="T7" fmla="*/ 6 h 15"/>
                <a:gd name="T8" fmla="*/ 0 w 18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0" y="3"/>
                  </a:moveTo>
                  <a:cubicBezTo>
                    <a:pt x="0" y="6"/>
                    <a:pt x="0" y="9"/>
                    <a:pt x="0" y="12"/>
                  </a:cubicBezTo>
                  <a:cubicBezTo>
                    <a:pt x="6" y="14"/>
                    <a:pt x="11" y="12"/>
                    <a:pt x="14" y="9"/>
                  </a:cubicBezTo>
                  <a:cubicBezTo>
                    <a:pt x="14" y="9"/>
                    <a:pt x="14" y="6"/>
                    <a:pt x="17" y="6"/>
                  </a:cubicBezTo>
                  <a:cubicBezTo>
                    <a:pt x="11" y="0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6" name="Freeform 467"/>
            <p:cNvSpPr>
              <a:spLocks noChangeArrowheads="1"/>
            </p:cNvSpPr>
            <p:nvPr/>
          </p:nvSpPr>
          <p:spPr bwMode="auto">
            <a:xfrm>
              <a:off x="3962400" y="2400300"/>
              <a:ext cx="7938" cy="9525"/>
            </a:xfrm>
            <a:custGeom>
              <a:avLst/>
              <a:gdLst>
                <a:gd name="T0" fmla="*/ 20 w 24"/>
                <a:gd name="T1" fmla="*/ 3 h 27"/>
                <a:gd name="T2" fmla="*/ 3 w 24"/>
                <a:gd name="T3" fmla="*/ 17 h 27"/>
                <a:gd name="T4" fmla="*/ 0 w 24"/>
                <a:gd name="T5" fmla="*/ 20 h 27"/>
                <a:gd name="T6" fmla="*/ 6 w 24"/>
                <a:gd name="T7" fmla="*/ 26 h 27"/>
                <a:gd name="T8" fmla="*/ 20 w 24"/>
                <a:gd name="T9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7">
                  <a:moveTo>
                    <a:pt x="20" y="3"/>
                  </a:moveTo>
                  <a:cubicBezTo>
                    <a:pt x="9" y="0"/>
                    <a:pt x="9" y="11"/>
                    <a:pt x="3" y="17"/>
                  </a:cubicBezTo>
                  <a:lnTo>
                    <a:pt x="0" y="20"/>
                  </a:lnTo>
                  <a:cubicBezTo>
                    <a:pt x="3" y="23"/>
                    <a:pt x="3" y="23"/>
                    <a:pt x="6" y="26"/>
                  </a:cubicBezTo>
                  <a:cubicBezTo>
                    <a:pt x="14" y="20"/>
                    <a:pt x="23" y="14"/>
                    <a:pt x="2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7" name="Freeform 468"/>
            <p:cNvSpPr>
              <a:spLocks noChangeArrowheads="1"/>
            </p:cNvSpPr>
            <p:nvPr/>
          </p:nvSpPr>
          <p:spPr bwMode="auto">
            <a:xfrm>
              <a:off x="3944938" y="2406650"/>
              <a:ext cx="4762" cy="4763"/>
            </a:xfrm>
            <a:custGeom>
              <a:avLst/>
              <a:gdLst>
                <a:gd name="T0" fmla="*/ 6 w 13"/>
                <a:gd name="T1" fmla="*/ 14 h 15"/>
                <a:gd name="T2" fmla="*/ 12 w 13"/>
                <a:gd name="T3" fmla="*/ 12 h 15"/>
                <a:gd name="T4" fmla="*/ 6 w 13"/>
                <a:gd name="T5" fmla="*/ 0 h 15"/>
                <a:gd name="T6" fmla="*/ 0 w 13"/>
                <a:gd name="T7" fmla="*/ 9 h 15"/>
                <a:gd name="T8" fmla="*/ 6 w 13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6" y="14"/>
                  </a:moveTo>
                  <a:cubicBezTo>
                    <a:pt x="9" y="14"/>
                    <a:pt x="12" y="12"/>
                    <a:pt x="12" y="12"/>
                  </a:cubicBezTo>
                  <a:cubicBezTo>
                    <a:pt x="9" y="9"/>
                    <a:pt x="9" y="3"/>
                    <a:pt x="6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3" y="12"/>
                    <a:pt x="3" y="12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8" name="Freeform 469"/>
            <p:cNvSpPr>
              <a:spLocks noChangeArrowheads="1"/>
            </p:cNvSpPr>
            <p:nvPr/>
          </p:nvSpPr>
          <p:spPr bwMode="auto">
            <a:xfrm>
              <a:off x="3965575" y="2355850"/>
              <a:ext cx="3175" cy="3175"/>
            </a:xfrm>
            <a:custGeom>
              <a:avLst/>
              <a:gdLst>
                <a:gd name="T0" fmla="*/ 0 w 9"/>
                <a:gd name="T1" fmla="*/ 0 h 9"/>
                <a:gd name="T2" fmla="*/ 0 w 9"/>
                <a:gd name="T3" fmla="*/ 6 h 9"/>
                <a:gd name="T4" fmla="*/ 0 w 9"/>
                <a:gd name="T5" fmla="*/ 8 h 9"/>
                <a:gd name="T6" fmla="*/ 8 w 9"/>
                <a:gd name="T7" fmla="*/ 3 h 9"/>
                <a:gd name="T8" fmla="*/ 0 w 9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0" y="6"/>
                    <a:pt x="0" y="6"/>
                    <a:pt x="0" y="8"/>
                  </a:cubicBezTo>
                  <a:cubicBezTo>
                    <a:pt x="3" y="8"/>
                    <a:pt x="5" y="6"/>
                    <a:pt x="8" y="3"/>
                  </a:cubicBezTo>
                  <a:cubicBezTo>
                    <a:pt x="5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9" name="Freeform 470"/>
            <p:cNvSpPr>
              <a:spLocks noChangeArrowheads="1"/>
            </p:cNvSpPr>
            <p:nvPr/>
          </p:nvSpPr>
          <p:spPr bwMode="auto">
            <a:xfrm>
              <a:off x="3944938" y="2724150"/>
              <a:ext cx="3175" cy="3175"/>
            </a:xfrm>
            <a:custGeom>
              <a:avLst/>
              <a:gdLst>
                <a:gd name="T0" fmla="*/ 0 w 7"/>
                <a:gd name="T1" fmla="*/ 6 h 7"/>
                <a:gd name="T2" fmla="*/ 6 w 7"/>
                <a:gd name="T3" fmla="*/ 3 h 7"/>
                <a:gd name="T4" fmla="*/ 6 w 7"/>
                <a:gd name="T5" fmla="*/ 0 h 7"/>
                <a:gd name="T6" fmla="*/ 0 w 7"/>
                <a:gd name="T7" fmla="*/ 0 h 7"/>
                <a:gd name="T8" fmla="*/ 0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6"/>
                  </a:moveTo>
                  <a:cubicBezTo>
                    <a:pt x="3" y="6"/>
                    <a:pt x="3" y="6"/>
                    <a:pt x="6" y="3"/>
                  </a:cubicBez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0" name="Freeform 471"/>
            <p:cNvSpPr>
              <a:spLocks noChangeArrowheads="1"/>
            </p:cNvSpPr>
            <p:nvPr/>
          </p:nvSpPr>
          <p:spPr bwMode="auto">
            <a:xfrm>
              <a:off x="3944938" y="2687638"/>
              <a:ext cx="4762" cy="4762"/>
            </a:xfrm>
            <a:custGeom>
              <a:avLst/>
              <a:gdLst>
                <a:gd name="T0" fmla="*/ 6 w 12"/>
                <a:gd name="T1" fmla="*/ 0 h 13"/>
                <a:gd name="T2" fmla="*/ 0 w 12"/>
                <a:gd name="T3" fmla="*/ 9 h 13"/>
                <a:gd name="T4" fmla="*/ 6 w 12"/>
                <a:gd name="T5" fmla="*/ 12 h 13"/>
                <a:gd name="T6" fmla="*/ 9 w 12"/>
                <a:gd name="T7" fmla="*/ 6 h 13"/>
                <a:gd name="T8" fmla="*/ 6 w 12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6" y="0"/>
                  </a:moveTo>
                  <a:cubicBezTo>
                    <a:pt x="3" y="3"/>
                    <a:pt x="3" y="6"/>
                    <a:pt x="0" y="9"/>
                  </a:cubicBezTo>
                  <a:cubicBezTo>
                    <a:pt x="3" y="9"/>
                    <a:pt x="3" y="9"/>
                    <a:pt x="6" y="12"/>
                  </a:cubicBezTo>
                  <a:cubicBezTo>
                    <a:pt x="9" y="12"/>
                    <a:pt x="9" y="9"/>
                    <a:pt x="9" y="6"/>
                  </a:cubicBezTo>
                  <a:cubicBezTo>
                    <a:pt x="11" y="6"/>
                    <a:pt x="9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1" name="Freeform 472"/>
            <p:cNvSpPr>
              <a:spLocks noChangeArrowheads="1"/>
            </p:cNvSpPr>
            <p:nvPr/>
          </p:nvSpPr>
          <p:spPr bwMode="auto">
            <a:xfrm>
              <a:off x="3952875" y="2366963"/>
              <a:ext cx="9525" cy="7937"/>
            </a:xfrm>
            <a:custGeom>
              <a:avLst/>
              <a:gdLst>
                <a:gd name="T0" fmla="*/ 0 w 26"/>
                <a:gd name="T1" fmla="*/ 20 h 24"/>
                <a:gd name="T2" fmla="*/ 14 w 26"/>
                <a:gd name="T3" fmla="*/ 23 h 24"/>
                <a:gd name="T4" fmla="*/ 25 w 26"/>
                <a:gd name="T5" fmla="*/ 11 h 24"/>
                <a:gd name="T6" fmla="*/ 17 w 26"/>
                <a:gd name="T7" fmla="*/ 0 h 24"/>
                <a:gd name="T8" fmla="*/ 0 w 26"/>
                <a:gd name="T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4">
                  <a:moveTo>
                    <a:pt x="0" y="20"/>
                  </a:moveTo>
                  <a:cubicBezTo>
                    <a:pt x="3" y="23"/>
                    <a:pt x="11" y="20"/>
                    <a:pt x="14" y="23"/>
                  </a:cubicBezTo>
                  <a:cubicBezTo>
                    <a:pt x="17" y="17"/>
                    <a:pt x="20" y="14"/>
                    <a:pt x="25" y="11"/>
                  </a:cubicBezTo>
                  <a:cubicBezTo>
                    <a:pt x="25" y="6"/>
                    <a:pt x="22" y="3"/>
                    <a:pt x="17" y="0"/>
                  </a:cubicBezTo>
                  <a:cubicBezTo>
                    <a:pt x="8" y="6"/>
                    <a:pt x="6" y="14"/>
                    <a:pt x="0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2" name="Freeform 473"/>
            <p:cNvSpPr>
              <a:spLocks noChangeArrowheads="1"/>
            </p:cNvSpPr>
            <p:nvPr/>
          </p:nvSpPr>
          <p:spPr bwMode="auto">
            <a:xfrm>
              <a:off x="3948113" y="2352675"/>
              <a:ext cx="6350" cy="4763"/>
            </a:xfrm>
            <a:custGeom>
              <a:avLst/>
              <a:gdLst>
                <a:gd name="T0" fmla="*/ 0 w 18"/>
                <a:gd name="T1" fmla="*/ 8 h 12"/>
                <a:gd name="T2" fmla="*/ 11 w 18"/>
                <a:gd name="T3" fmla="*/ 11 h 12"/>
                <a:gd name="T4" fmla="*/ 14 w 18"/>
                <a:gd name="T5" fmla="*/ 0 h 12"/>
                <a:gd name="T6" fmla="*/ 0 w 18"/>
                <a:gd name="T7" fmla="*/ 0 h 12"/>
                <a:gd name="T8" fmla="*/ 0 w 18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0" y="8"/>
                  </a:moveTo>
                  <a:cubicBezTo>
                    <a:pt x="2" y="11"/>
                    <a:pt x="8" y="11"/>
                    <a:pt x="11" y="11"/>
                  </a:cubicBezTo>
                  <a:cubicBezTo>
                    <a:pt x="11" y="5"/>
                    <a:pt x="17" y="5"/>
                    <a:pt x="14" y="0"/>
                  </a:cubicBez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3" name="Freeform 474"/>
            <p:cNvSpPr>
              <a:spLocks noChangeArrowheads="1"/>
            </p:cNvSpPr>
            <p:nvPr/>
          </p:nvSpPr>
          <p:spPr bwMode="auto">
            <a:xfrm>
              <a:off x="3948113" y="2752725"/>
              <a:ext cx="1587" cy="1588"/>
            </a:xfrm>
            <a:custGeom>
              <a:avLst/>
              <a:gdLst>
                <a:gd name="T0" fmla="*/ 5 w 6"/>
                <a:gd name="T1" fmla="*/ 0 h 4"/>
                <a:gd name="T2" fmla="*/ 0 w 6"/>
                <a:gd name="T3" fmla="*/ 0 h 4"/>
                <a:gd name="T4" fmla="*/ 0 w 6"/>
                <a:gd name="T5" fmla="*/ 3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2" y="0"/>
                    <a:pt x="2" y="0"/>
                    <a:pt x="0" y="0"/>
                  </a:cubicBezTo>
                  <a:lnTo>
                    <a:pt x="0" y="3"/>
                  </a:lnTo>
                  <a:cubicBezTo>
                    <a:pt x="2" y="3"/>
                    <a:pt x="2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4" name="Freeform 475"/>
            <p:cNvSpPr>
              <a:spLocks noChangeArrowheads="1"/>
            </p:cNvSpPr>
            <p:nvPr/>
          </p:nvSpPr>
          <p:spPr bwMode="auto">
            <a:xfrm>
              <a:off x="3948113" y="2357438"/>
              <a:ext cx="4762" cy="4762"/>
            </a:xfrm>
            <a:custGeom>
              <a:avLst/>
              <a:gdLst>
                <a:gd name="T0" fmla="*/ 0 w 12"/>
                <a:gd name="T1" fmla="*/ 5 h 15"/>
                <a:gd name="T2" fmla="*/ 11 w 12"/>
                <a:gd name="T3" fmla="*/ 11 h 15"/>
                <a:gd name="T4" fmla="*/ 0 w 12"/>
                <a:gd name="T5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0" y="5"/>
                  </a:moveTo>
                  <a:cubicBezTo>
                    <a:pt x="5" y="5"/>
                    <a:pt x="3" y="14"/>
                    <a:pt x="11" y="11"/>
                  </a:cubicBezTo>
                  <a:cubicBezTo>
                    <a:pt x="11" y="5"/>
                    <a:pt x="0" y="0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5" name="Freeform 476"/>
            <p:cNvSpPr>
              <a:spLocks noChangeArrowheads="1"/>
            </p:cNvSpPr>
            <p:nvPr/>
          </p:nvSpPr>
          <p:spPr bwMode="auto">
            <a:xfrm>
              <a:off x="3759200" y="2627313"/>
              <a:ext cx="4763" cy="4762"/>
            </a:xfrm>
            <a:custGeom>
              <a:avLst/>
              <a:gdLst>
                <a:gd name="T0" fmla="*/ 0 w 12"/>
                <a:gd name="T1" fmla="*/ 11 h 12"/>
                <a:gd name="T2" fmla="*/ 0 w 12"/>
                <a:gd name="T3" fmla="*/ 9 h 12"/>
                <a:gd name="T4" fmla="*/ 0 w 12"/>
                <a:gd name="T5" fmla="*/ 11 h 12"/>
                <a:gd name="T6" fmla="*/ 6 w 12"/>
                <a:gd name="T7" fmla="*/ 9 h 12"/>
                <a:gd name="T8" fmla="*/ 3 w 12"/>
                <a:gd name="T9" fmla="*/ 11 h 12"/>
                <a:gd name="T10" fmla="*/ 11 w 12"/>
                <a:gd name="T11" fmla="*/ 11 h 12"/>
                <a:gd name="T12" fmla="*/ 11 w 12"/>
                <a:gd name="T13" fmla="*/ 6 h 12"/>
                <a:gd name="T14" fmla="*/ 8 w 12"/>
                <a:gd name="T15" fmla="*/ 3 h 12"/>
                <a:gd name="T16" fmla="*/ 0 w 12"/>
                <a:gd name="T17" fmla="*/ 9 h 12"/>
                <a:gd name="T18" fmla="*/ 6 w 12"/>
                <a:gd name="T1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0" y="11"/>
                  </a:moveTo>
                  <a:cubicBezTo>
                    <a:pt x="0" y="11"/>
                    <a:pt x="0" y="10"/>
                    <a:pt x="0" y="9"/>
                  </a:cubicBezTo>
                  <a:cubicBezTo>
                    <a:pt x="0" y="10"/>
                    <a:pt x="0" y="11"/>
                    <a:pt x="0" y="11"/>
                  </a:cubicBezTo>
                  <a:close/>
                  <a:moveTo>
                    <a:pt x="6" y="9"/>
                  </a:moveTo>
                  <a:lnTo>
                    <a:pt x="3" y="11"/>
                  </a:lnTo>
                  <a:lnTo>
                    <a:pt x="11" y="11"/>
                  </a:lnTo>
                  <a:lnTo>
                    <a:pt x="11" y="6"/>
                  </a:lnTo>
                  <a:lnTo>
                    <a:pt x="8" y="3"/>
                  </a:lnTo>
                  <a:cubicBezTo>
                    <a:pt x="6" y="0"/>
                    <a:pt x="1" y="2"/>
                    <a:pt x="0" y="9"/>
                  </a:cubicBezTo>
                  <a:cubicBezTo>
                    <a:pt x="1" y="7"/>
                    <a:pt x="2" y="7"/>
                    <a:pt x="6" y="9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6" name="Freeform 477"/>
            <p:cNvSpPr>
              <a:spLocks noChangeArrowheads="1"/>
            </p:cNvSpPr>
            <p:nvPr/>
          </p:nvSpPr>
          <p:spPr bwMode="auto">
            <a:xfrm>
              <a:off x="3756025" y="2757488"/>
              <a:ext cx="4763" cy="4762"/>
            </a:xfrm>
            <a:custGeom>
              <a:avLst/>
              <a:gdLst>
                <a:gd name="T0" fmla="*/ 2 w 12"/>
                <a:gd name="T1" fmla="*/ 11 h 12"/>
                <a:gd name="T2" fmla="*/ 11 w 12"/>
                <a:gd name="T3" fmla="*/ 11 h 12"/>
                <a:gd name="T4" fmla="*/ 11 w 12"/>
                <a:gd name="T5" fmla="*/ 3 h 12"/>
                <a:gd name="T6" fmla="*/ 2 w 12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2" y="11"/>
                  </a:moveTo>
                  <a:cubicBezTo>
                    <a:pt x="5" y="11"/>
                    <a:pt x="8" y="11"/>
                    <a:pt x="11" y="11"/>
                  </a:cubicBezTo>
                  <a:cubicBezTo>
                    <a:pt x="11" y="9"/>
                    <a:pt x="11" y="6"/>
                    <a:pt x="11" y="3"/>
                  </a:cubicBezTo>
                  <a:cubicBezTo>
                    <a:pt x="5" y="0"/>
                    <a:pt x="0" y="3"/>
                    <a:pt x="2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7" name="Freeform 478"/>
            <p:cNvSpPr>
              <a:spLocks noChangeArrowheads="1"/>
            </p:cNvSpPr>
            <p:nvPr/>
          </p:nvSpPr>
          <p:spPr bwMode="auto">
            <a:xfrm>
              <a:off x="3703638" y="2319338"/>
              <a:ext cx="1587" cy="3175"/>
            </a:xfrm>
            <a:custGeom>
              <a:avLst/>
              <a:gdLst>
                <a:gd name="T0" fmla="*/ 0 w 4"/>
                <a:gd name="T1" fmla="*/ 0 h 7"/>
                <a:gd name="T2" fmla="*/ 0 w 4"/>
                <a:gd name="T3" fmla="*/ 6 h 7"/>
                <a:gd name="T4" fmla="*/ 0 w 4"/>
                <a:gd name="T5" fmla="*/ 6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lnTo>
                    <a:pt x="0" y="6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8" name="Freeform 479"/>
            <p:cNvSpPr>
              <a:spLocks noChangeArrowheads="1"/>
            </p:cNvSpPr>
            <p:nvPr/>
          </p:nvSpPr>
          <p:spPr bwMode="auto">
            <a:xfrm>
              <a:off x="3759200" y="2900363"/>
              <a:ext cx="4763" cy="4762"/>
            </a:xfrm>
            <a:custGeom>
              <a:avLst/>
              <a:gdLst>
                <a:gd name="T0" fmla="*/ 11 w 12"/>
                <a:gd name="T1" fmla="*/ 3 h 12"/>
                <a:gd name="T2" fmla="*/ 0 w 12"/>
                <a:gd name="T3" fmla="*/ 0 h 12"/>
                <a:gd name="T4" fmla="*/ 11 w 12"/>
                <a:gd name="T5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11" y="3"/>
                  </a:moveTo>
                  <a:cubicBezTo>
                    <a:pt x="6" y="3"/>
                    <a:pt x="6" y="0"/>
                    <a:pt x="0" y="0"/>
                  </a:cubicBezTo>
                  <a:cubicBezTo>
                    <a:pt x="0" y="8"/>
                    <a:pt x="11" y="11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9" name="Freeform 480"/>
            <p:cNvSpPr>
              <a:spLocks noChangeArrowheads="1"/>
            </p:cNvSpPr>
            <p:nvPr/>
          </p:nvSpPr>
          <p:spPr bwMode="auto">
            <a:xfrm>
              <a:off x="3759200" y="2892425"/>
              <a:ext cx="3175" cy="3175"/>
            </a:xfrm>
            <a:custGeom>
              <a:avLst/>
              <a:gdLst>
                <a:gd name="T0" fmla="*/ 5 w 9"/>
                <a:gd name="T1" fmla="*/ 9 h 10"/>
                <a:gd name="T2" fmla="*/ 3 w 9"/>
                <a:gd name="T3" fmla="*/ 0 h 10"/>
                <a:gd name="T4" fmla="*/ 5 w 9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5" y="9"/>
                  </a:moveTo>
                  <a:cubicBezTo>
                    <a:pt x="8" y="6"/>
                    <a:pt x="8" y="0"/>
                    <a:pt x="3" y="0"/>
                  </a:cubicBezTo>
                  <a:cubicBezTo>
                    <a:pt x="0" y="3"/>
                    <a:pt x="0" y="9"/>
                    <a:pt x="5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0" name="Freeform 481"/>
            <p:cNvSpPr>
              <a:spLocks noChangeArrowheads="1"/>
            </p:cNvSpPr>
            <p:nvPr/>
          </p:nvSpPr>
          <p:spPr bwMode="auto">
            <a:xfrm>
              <a:off x="3756025" y="2887663"/>
              <a:ext cx="4763" cy="4762"/>
            </a:xfrm>
            <a:custGeom>
              <a:avLst/>
              <a:gdLst>
                <a:gd name="T0" fmla="*/ 0 w 12"/>
                <a:gd name="T1" fmla="*/ 11 h 15"/>
                <a:gd name="T2" fmla="*/ 11 w 12"/>
                <a:gd name="T3" fmla="*/ 11 h 15"/>
                <a:gd name="T4" fmla="*/ 11 w 12"/>
                <a:gd name="T5" fmla="*/ 3 h 15"/>
                <a:gd name="T6" fmla="*/ 8 w 12"/>
                <a:gd name="T7" fmla="*/ 0 h 15"/>
                <a:gd name="T8" fmla="*/ 0 w 12"/>
                <a:gd name="T9" fmla="*/ 6 h 15"/>
                <a:gd name="T10" fmla="*/ 0 w 12"/>
                <a:gd name="T11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5">
                  <a:moveTo>
                    <a:pt x="0" y="11"/>
                  </a:moveTo>
                  <a:cubicBezTo>
                    <a:pt x="2" y="11"/>
                    <a:pt x="5" y="14"/>
                    <a:pt x="11" y="11"/>
                  </a:cubicBezTo>
                  <a:cubicBezTo>
                    <a:pt x="8" y="9"/>
                    <a:pt x="11" y="6"/>
                    <a:pt x="11" y="3"/>
                  </a:cubicBezTo>
                  <a:lnTo>
                    <a:pt x="8" y="0"/>
                  </a:lnTo>
                  <a:cubicBezTo>
                    <a:pt x="8" y="3"/>
                    <a:pt x="5" y="6"/>
                    <a:pt x="0" y="6"/>
                  </a:cubicBezTo>
                  <a:cubicBezTo>
                    <a:pt x="0" y="9"/>
                    <a:pt x="0" y="9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1" name="Freeform 482"/>
            <p:cNvSpPr>
              <a:spLocks noChangeArrowheads="1"/>
            </p:cNvSpPr>
            <p:nvPr/>
          </p:nvSpPr>
          <p:spPr bwMode="auto">
            <a:xfrm>
              <a:off x="3762375" y="2863850"/>
              <a:ext cx="1588" cy="1588"/>
            </a:xfrm>
            <a:custGeom>
              <a:avLst/>
              <a:gdLst>
                <a:gd name="T0" fmla="*/ 0 w 4"/>
                <a:gd name="T1" fmla="*/ 3 h 4"/>
                <a:gd name="T2" fmla="*/ 3 w 4"/>
                <a:gd name="T3" fmla="*/ 0 h 4"/>
                <a:gd name="T4" fmla="*/ 0 w 4"/>
                <a:gd name="T5" fmla="*/ 0 h 4"/>
                <a:gd name="T6" fmla="*/ 0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3"/>
                    <a:pt x="0" y="0"/>
                    <a:pt x="3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2" name="Freeform 483"/>
            <p:cNvSpPr>
              <a:spLocks noChangeArrowheads="1"/>
            </p:cNvSpPr>
            <p:nvPr/>
          </p:nvSpPr>
          <p:spPr bwMode="auto">
            <a:xfrm>
              <a:off x="3756025" y="2728913"/>
              <a:ext cx="3175" cy="3175"/>
            </a:xfrm>
            <a:custGeom>
              <a:avLst/>
              <a:gdLst>
                <a:gd name="T0" fmla="*/ 0 w 10"/>
                <a:gd name="T1" fmla="*/ 0 h 10"/>
                <a:gd name="T2" fmla="*/ 0 w 10"/>
                <a:gd name="T3" fmla="*/ 0 h 10"/>
                <a:gd name="T4" fmla="*/ 3 w 10"/>
                <a:gd name="T5" fmla="*/ 6 h 10"/>
                <a:gd name="T6" fmla="*/ 3 w 10"/>
                <a:gd name="T7" fmla="*/ 9 h 10"/>
                <a:gd name="T8" fmla="*/ 6 w 10"/>
                <a:gd name="T9" fmla="*/ 9 h 10"/>
                <a:gd name="T10" fmla="*/ 9 w 10"/>
                <a:gd name="T11" fmla="*/ 6 h 10"/>
                <a:gd name="T12" fmla="*/ 0 w 10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0" y="0"/>
                  </a:moveTo>
                  <a:lnTo>
                    <a:pt x="0" y="0"/>
                  </a:lnTo>
                  <a:cubicBezTo>
                    <a:pt x="0" y="3"/>
                    <a:pt x="3" y="3"/>
                    <a:pt x="3" y="6"/>
                  </a:cubicBezTo>
                  <a:cubicBezTo>
                    <a:pt x="3" y="6"/>
                    <a:pt x="3" y="6"/>
                    <a:pt x="3" y="9"/>
                  </a:cubicBezTo>
                  <a:cubicBezTo>
                    <a:pt x="3" y="9"/>
                    <a:pt x="3" y="9"/>
                    <a:pt x="6" y="9"/>
                  </a:cubicBezTo>
                  <a:cubicBezTo>
                    <a:pt x="6" y="6"/>
                    <a:pt x="6" y="6"/>
                    <a:pt x="9" y="6"/>
                  </a:cubicBezTo>
                  <a:cubicBezTo>
                    <a:pt x="6" y="3"/>
                    <a:pt x="6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3" name="Freeform 484"/>
            <p:cNvSpPr>
              <a:spLocks noChangeArrowheads="1"/>
            </p:cNvSpPr>
            <p:nvPr/>
          </p:nvSpPr>
          <p:spPr bwMode="auto">
            <a:xfrm>
              <a:off x="3759200" y="2228850"/>
              <a:ext cx="3175" cy="4763"/>
            </a:xfrm>
            <a:custGeom>
              <a:avLst/>
              <a:gdLst>
                <a:gd name="T0" fmla="*/ 6 w 7"/>
                <a:gd name="T1" fmla="*/ 0 h 12"/>
                <a:gd name="T2" fmla="*/ 3 w 7"/>
                <a:gd name="T3" fmla="*/ 0 h 12"/>
                <a:gd name="T4" fmla="*/ 0 w 7"/>
                <a:gd name="T5" fmla="*/ 2 h 12"/>
                <a:gd name="T6" fmla="*/ 6 w 7"/>
                <a:gd name="T7" fmla="*/ 11 h 12"/>
                <a:gd name="T8" fmla="*/ 6 w 7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2">
                  <a:moveTo>
                    <a:pt x="6" y="0"/>
                  </a:moveTo>
                  <a:lnTo>
                    <a:pt x="3" y="0"/>
                  </a:lnTo>
                  <a:cubicBezTo>
                    <a:pt x="3" y="2"/>
                    <a:pt x="3" y="2"/>
                    <a:pt x="0" y="2"/>
                  </a:cubicBezTo>
                  <a:cubicBezTo>
                    <a:pt x="0" y="5"/>
                    <a:pt x="3" y="8"/>
                    <a:pt x="6" y="11"/>
                  </a:cubicBezTo>
                  <a:cubicBezTo>
                    <a:pt x="6" y="5"/>
                    <a:pt x="6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4" name="Freeform 485"/>
            <p:cNvSpPr>
              <a:spLocks noChangeArrowheads="1"/>
            </p:cNvSpPr>
            <p:nvPr/>
          </p:nvSpPr>
          <p:spPr bwMode="auto">
            <a:xfrm>
              <a:off x="3751263" y="2619375"/>
              <a:ext cx="11112" cy="12700"/>
            </a:xfrm>
            <a:custGeom>
              <a:avLst/>
              <a:gdLst>
                <a:gd name="T0" fmla="*/ 20 w 29"/>
                <a:gd name="T1" fmla="*/ 36 h 37"/>
                <a:gd name="T2" fmla="*/ 9 w 29"/>
                <a:gd name="T3" fmla="*/ 0 h 37"/>
                <a:gd name="T4" fmla="*/ 20 w 29"/>
                <a:gd name="T5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37">
                  <a:moveTo>
                    <a:pt x="20" y="36"/>
                  </a:moveTo>
                  <a:cubicBezTo>
                    <a:pt x="14" y="25"/>
                    <a:pt x="28" y="0"/>
                    <a:pt x="9" y="0"/>
                  </a:cubicBezTo>
                  <a:cubicBezTo>
                    <a:pt x="0" y="14"/>
                    <a:pt x="3" y="36"/>
                    <a:pt x="20" y="3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5" name="Freeform 486"/>
            <p:cNvSpPr>
              <a:spLocks noChangeArrowheads="1"/>
            </p:cNvSpPr>
            <p:nvPr/>
          </p:nvSpPr>
          <p:spPr bwMode="auto">
            <a:xfrm>
              <a:off x="3706813" y="2543175"/>
              <a:ext cx="9525" cy="11113"/>
            </a:xfrm>
            <a:custGeom>
              <a:avLst/>
              <a:gdLst>
                <a:gd name="T0" fmla="*/ 14 w 26"/>
                <a:gd name="T1" fmla="*/ 0 h 29"/>
                <a:gd name="T2" fmla="*/ 6 w 26"/>
                <a:gd name="T3" fmla="*/ 6 h 29"/>
                <a:gd name="T4" fmla="*/ 0 w 26"/>
                <a:gd name="T5" fmla="*/ 20 h 29"/>
                <a:gd name="T6" fmla="*/ 11 w 26"/>
                <a:gd name="T7" fmla="*/ 25 h 29"/>
                <a:gd name="T8" fmla="*/ 23 w 26"/>
                <a:gd name="T9" fmla="*/ 20 h 29"/>
                <a:gd name="T10" fmla="*/ 25 w 26"/>
                <a:gd name="T11" fmla="*/ 9 h 29"/>
                <a:gd name="T12" fmla="*/ 25 w 26"/>
                <a:gd name="T13" fmla="*/ 9 h 29"/>
                <a:gd name="T14" fmla="*/ 14 w 26"/>
                <a:gd name="T1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9">
                  <a:moveTo>
                    <a:pt x="14" y="0"/>
                  </a:moveTo>
                  <a:cubicBezTo>
                    <a:pt x="11" y="3"/>
                    <a:pt x="9" y="6"/>
                    <a:pt x="6" y="6"/>
                  </a:cubicBezTo>
                  <a:cubicBezTo>
                    <a:pt x="6" y="11"/>
                    <a:pt x="3" y="14"/>
                    <a:pt x="0" y="20"/>
                  </a:cubicBezTo>
                  <a:cubicBezTo>
                    <a:pt x="6" y="23"/>
                    <a:pt x="3" y="28"/>
                    <a:pt x="11" y="25"/>
                  </a:cubicBezTo>
                  <a:cubicBezTo>
                    <a:pt x="14" y="23"/>
                    <a:pt x="17" y="20"/>
                    <a:pt x="23" y="20"/>
                  </a:cubicBezTo>
                  <a:cubicBezTo>
                    <a:pt x="23" y="17"/>
                    <a:pt x="23" y="14"/>
                    <a:pt x="25" y="9"/>
                  </a:cubicBezTo>
                  <a:lnTo>
                    <a:pt x="25" y="9"/>
                  </a:lnTo>
                  <a:cubicBezTo>
                    <a:pt x="20" y="6"/>
                    <a:pt x="20" y="3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6" name="Freeform 487"/>
            <p:cNvSpPr>
              <a:spLocks noChangeArrowheads="1"/>
            </p:cNvSpPr>
            <p:nvPr/>
          </p:nvSpPr>
          <p:spPr bwMode="auto">
            <a:xfrm>
              <a:off x="3716338" y="2562225"/>
              <a:ext cx="11112" cy="4763"/>
            </a:xfrm>
            <a:custGeom>
              <a:avLst/>
              <a:gdLst>
                <a:gd name="T0" fmla="*/ 20 w 30"/>
                <a:gd name="T1" fmla="*/ 8 h 15"/>
                <a:gd name="T2" fmla="*/ 12 w 30"/>
                <a:gd name="T3" fmla="*/ 0 h 15"/>
                <a:gd name="T4" fmla="*/ 3 w 30"/>
                <a:gd name="T5" fmla="*/ 8 h 15"/>
                <a:gd name="T6" fmla="*/ 15 w 30"/>
                <a:gd name="T7" fmla="*/ 8 h 15"/>
                <a:gd name="T8" fmla="*/ 15 w 30"/>
                <a:gd name="T9" fmla="*/ 8 h 15"/>
                <a:gd name="T10" fmla="*/ 20 w 30"/>
                <a:gd name="T11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5">
                  <a:moveTo>
                    <a:pt x="20" y="8"/>
                  </a:moveTo>
                  <a:cubicBezTo>
                    <a:pt x="15" y="11"/>
                    <a:pt x="15" y="2"/>
                    <a:pt x="12" y="0"/>
                  </a:cubicBezTo>
                  <a:cubicBezTo>
                    <a:pt x="6" y="0"/>
                    <a:pt x="0" y="0"/>
                    <a:pt x="3" y="8"/>
                  </a:cubicBezTo>
                  <a:cubicBezTo>
                    <a:pt x="6" y="11"/>
                    <a:pt x="12" y="11"/>
                    <a:pt x="15" y="8"/>
                  </a:cubicBezTo>
                  <a:lnTo>
                    <a:pt x="15" y="8"/>
                  </a:lnTo>
                  <a:cubicBezTo>
                    <a:pt x="12" y="14"/>
                    <a:pt x="29" y="8"/>
                    <a:pt x="2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7" name="Freeform 488"/>
            <p:cNvSpPr>
              <a:spLocks noChangeArrowheads="1"/>
            </p:cNvSpPr>
            <p:nvPr/>
          </p:nvSpPr>
          <p:spPr bwMode="auto">
            <a:xfrm>
              <a:off x="3716338" y="2587625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3 h 7"/>
                <a:gd name="T4" fmla="*/ 0 w 10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cubicBezTo>
                    <a:pt x="3" y="6"/>
                    <a:pt x="6" y="3"/>
                    <a:pt x="9" y="3"/>
                  </a:cubicBezTo>
                  <a:cubicBezTo>
                    <a:pt x="3" y="3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8" name="Freeform 489"/>
            <p:cNvSpPr>
              <a:spLocks noChangeArrowheads="1"/>
            </p:cNvSpPr>
            <p:nvPr/>
          </p:nvSpPr>
          <p:spPr bwMode="auto">
            <a:xfrm>
              <a:off x="3725863" y="2884488"/>
              <a:ext cx="4762" cy="4762"/>
            </a:xfrm>
            <a:custGeom>
              <a:avLst/>
              <a:gdLst>
                <a:gd name="T0" fmla="*/ 8 w 15"/>
                <a:gd name="T1" fmla="*/ 5 h 12"/>
                <a:gd name="T2" fmla="*/ 8 w 15"/>
                <a:gd name="T3" fmla="*/ 0 h 12"/>
                <a:gd name="T4" fmla="*/ 0 w 15"/>
                <a:gd name="T5" fmla="*/ 8 h 12"/>
                <a:gd name="T6" fmla="*/ 11 w 15"/>
                <a:gd name="T7" fmla="*/ 11 h 12"/>
                <a:gd name="T8" fmla="*/ 14 w 15"/>
                <a:gd name="T9" fmla="*/ 0 h 12"/>
                <a:gd name="T10" fmla="*/ 11 w 15"/>
                <a:gd name="T11" fmla="*/ 0 h 12"/>
                <a:gd name="T12" fmla="*/ 8 w 15"/>
                <a:gd name="T1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2">
                  <a:moveTo>
                    <a:pt x="8" y="5"/>
                  </a:moveTo>
                  <a:cubicBezTo>
                    <a:pt x="8" y="2"/>
                    <a:pt x="8" y="2"/>
                    <a:pt x="8" y="0"/>
                  </a:cubicBezTo>
                  <a:cubicBezTo>
                    <a:pt x="2" y="0"/>
                    <a:pt x="0" y="2"/>
                    <a:pt x="0" y="8"/>
                  </a:cubicBezTo>
                  <a:cubicBezTo>
                    <a:pt x="2" y="11"/>
                    <a:pt x="5" y="11"/>
                    <a:pt x="11" y="11"/>
                  </a:cubicBezTo>
                  <a:cubicBezTo>
                    <a:pt x="11" y="8"/>
                    <a:pt x="11" y="2"/>
                    <a:pt x="14" y="0"/>
                  </a:cubicBezTo>
                  <a:cubicBezTo>
                    <a:pt x="14" y="0"/>
                    <a:pt x="14" y="0"/>
                    <a:pt x="11" y="0"/>
                  </a:cubicBezTo>
                  <a:cubicBezTo>
                    <a:pt x="11" y="2"/>
                    <a:pt x="11" y="2"/>
                    <a:pt x="8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9" name="Freeform 490"/>
            <p:cNvSpPr>
              <a:spLocks noChangeArrowheads="1"/>
            </p:cNvSpPr>
            <p:nvPr/>
          </p:nvSpPr>
          <p:spPr bwMode="auto">
            <a:xfrm>
              <a:off x="3724275" y="2535238"/>
              <a:ext cx="3175" cy="4762"/>
            </a:xfrm>
            <a:custGeom>
              <a:avLst/>
              <a:gdLst>
                <a:gd name="T0" fmla="*/ 6 w 9"/>
                <a:gd name="T1" fmla="*/ 0 h 13"/>
                <a:gd name="T2" fmla="*/ 6 w 9"/>
                <a:gd name="T3" fmla="*/ 0 h 13"/>
                <a:gd name="T4" fmla="*/ 0 w 9"/>
                <a:gd name="T5" fmla="*/ 12 h 13"/>
                <a:gd name="T6" fmla="*/ 6 w 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6" y="0"/>
                  </a:moveTo>
                  <a:lnTo>
                    <a:pt x="6" y="0"/>
                  </a:lnTo>
                  <a:cubicBezTo>
                    <a:pt x="3" y="3"/>
                    <a:pt x="3" y="9"/>
                    <a:pt x="0" y="12"/>
                  </a:cubicBezTo>
                  <a:cubicBezTo>
                    <a:pt x="6" y="12"/>
                    <a:pt x="8" y="9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0" name="Freeform 491"/>
            <p:cNvSpPr>
              <a:spLocks noChangeArrowheads="1"/>
            </p:cNvSpPr>
            <p:nvPr/>
          </p:nvSpPr>
          <p:spPr bwMode="auto">
            <a:xfrm>
              <a:off x="3706813" y="2625725"/>
              <a:ext cx="1587" cy="1588"/>
            </a:xfrm>
            <a:custGeom>
              <a:avLst/>
              <a:gdLst>
                <a:gd name="T0" fmla="*/ 3 w 4"/>
                <a:gd name="T1" fmla="*/ 5 h 6"/>
                <a:gd name="T2" fmla="*/ 3 w 4"/>
                <a:gd name="T3" fmla="*/ 0 h 6"/>
                <a:gd name="T4" fmla="*/ 0 w 4"/>
                <a:gd name="T5" fmla="*/ 0 h 6"/>
                <a:gd name="T6" fmla="*/ 3 w 4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5"/>
                  </a:moveTo>
                  <a:lnTo>
                    <a:pt x="3" y="0"/>
                  </a:lnTo>
                  <a:lnTo>
                    <a:pt x="0" y="0"/>
                  </a:lnTo>
                  <a:cubicBezTo>
                    <a:pt x="3" y="0"/>
                    <a:pt x="3" y="2"/>
                    <a:pt x="3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1" name="Freeform 492"/>
            <p:cNvSpPr>
              <a:spLocks noChangeArrowheads="1"/>
            </p:cNvSpPr>
            <p:nvPr/>
          </p:nvSpPr>
          <p:spPr bwMode="auto">
            <a:xfrm>
              <a:off x="3705225" y="2673350"/>
              <a:ext cx="3175" cy="4763"/>
            </a:xfrm>
            <a:custGeom>
              <a:avLst/>
              <a:gdLst>
                <a:gd name="T0" fmla="*/ 0 w 7"/>
                <a:gd name="T1" fmla="*/ 3 h 15"/>
                <a:gd name="T2" fmla="*/ 3 w 7"/>
                <a:gd name="T3" fmla="*/ 14 h 15"/>
                <a:gd name="T4" fmla="*/ 6 w 7"/>
                <a:gd name="T5" fmla="*/ 6 h 15"/>
                <a:gd name="T6" fmla="*/ 3 w 7"/>
                <a:gd name="T7" fmla="*/ 0 h 15"/>
                <a:gd name="T8" fmla="*/ 0 w 7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cubicBezTo>
                    <a:pt x="0" y="8"/>
                    <a:pt x="0" y="14"/>
                    <a:pt x="3" y="14"/>
                  </a:cubicBezTo>
                  <a:cubicBezTo>
                    <a:pt x="3" y="11"/>
                    <a:pt x="6" y="8"/>
                    <a:pt x="6" y="6"/>
                  </a:cubicBezTo>
                  <a:cubicBezTo>
                    <a:pt x="6" y="3"/>
                    <a:pt x="3" y="3"/>
                    <a:pt x="3" y="0"/>
                  </a:cubicBezTo>
                  <a:cubicBezTo>
                    <a:pt x="3" y="3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2" name="Freeform 493"/>
            <p:cNvSpPr>
              <a:spLocks noChangeArrowheads="1"/>
            </p:cNvSpPr>
            <p:nvPr/>
          </p:nvSpPr>
          <p:spPr bwMode="auto">
            <a:xfrm>
              <a:off x="3705225" y="2727325"/>
              <a:ext cx="4763" cy="4763"/>
            </a:xfrm>
            <a:custGeom>
              <a:avLst/>
              <a:gdLst>
                <a:gd name="T0" fmla="*/ 9 w 15"/>
                <a:gd name="T1" fmla="*/ 11 h 12"/>
                <a:gd name="T2" fmla="*/ 9 w 15"/>
                <a:gd name="T3" fmla="*/ 0 h 12"/>
                <a:gd name="T4" fmla="*/ 9 w 15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9" y="11"/>
                  </a:moveTo>
                  <a:cubicBezTo>
                    <a:pt x="9" y="8"/>
                    <a:pt x="14" y="0"/>
                    <a:pt x="9" y="0"/>
                  </a:cubicBezTo>
                  <a:cubicBezTo>
                    <a:pt x="6" y="0"/>
                    <a:pt x="0" y="8"/>
                    <a:pt x="9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3" name="Freeform 494"/>
            <p:cNvSpPr>
              <a:spLocks noChangeArrowheads="1"/>
            </p:cNvSpPr>
            <p:nvPr/>
          </p:nvSpPr>
          <p:spPr bwMode="auto">
            <a:xfrm>
              <a:off x="3740150" y="2595563"/>
              <a:ext cx="6350" cy="4762"/>
            </a:xfrm>
            <a:custGeom>
              <a:avLst/>
              <a:gdLst>
                <a:gd name="T0" fmla="*/ 0 w 18"/>
                <a:gd name="T1" fmla="*/ 5 h 15"/>
                <a:gd name="T2" fmla="*/ 9 w 18"/>
                <a:gd name="T3" fmla="*/ 14 h 15"/>
                <a:gd name="T4" fmla="*/ 14 w 18"/>
                <a:gd name="T5" fmla="*/ 14 h 15"/>
                <a:gd name="T6" fmla="*/ 1 w 18"/>
                <a:gd name="T7" fmla="*/ 0 h 15"/>
                <a:gd name="T8" fmla="*/ 0 w 18"/>
                <a:gd name="T9" fmla="*/ 5 h 15"/>
                <a:gd name="T10" fmla="*/ 0 w 18"/>
                <a:gd name="T11" fmla="*/ 0 h 15"/>
                <a:gd name="T12" fmla="*/ 1 w 18"/>
                <a:gd name="T13" fmla="*/ 0 h 15"/>
                <a:gd name="T14" fmla="*/ 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0" y="5"/>
                  </a:moveTo>
                  <a:cubicBezTo>
                    <a:pt x="3" y="8"/>
                    <a:pt x="9" y="8"/>
                    <a:pt x="9" y="14"/>
                  </a:cubicBezTo>
                  <a:lnTo>
                    <a:pt x="14" y="14"/>
                  </a:lnTo>
                  <a:cubicBezTo>
                    <a:pt x="17" y="3"/>
                    <a:pt x="9" y="3"/>
                    <a:pt x="1" y="0"/>
                  </a:cubicBezTo>
                  <a:cubicBezTo>
                    <a:pt x="2" y="1"/>
                    <a:pt x="0" y="3"/>
                    <a:pt x="0" y="5"/>
                  </a:cubicBezTo>
                  <a:close/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4" name="Freeform 495"/>
            <p:cNvSpPr>
              <a:spLocks noChangeArrowheads="1"/>
            </p:cNvSpPr>
            <p:nvPr/>
          </p:nvSpPr>
          <p:spPr bwMode="auto">
            <a:xfrm>
              <a:off x="3744913" y="2586038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0 w 7"/>
                <a:gd name="T3" fmla="*/ 0 h 6"/>
                <a:gd name="T4" fmla="*/ 0 w 7"/>
                <a:gd name="T5" fmla="*/ 2 h 6"/>
                <a:gd name="T6" fmla="*/ 0 w 7"/>
                <a:gd name="T7" fmla="*/ 2 h 6"/>
                <a:gd name="T8" fmla="*/ 6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cubicBezTo>
                    <a:pt x="6" y="2"/>
                    <a:pt x="6" y="0"/>
                    <a:pt x="0" y="0"/>
                  </a:cubicBezTo>
                  <a:lnTo>
                    <a:pt x="0" y="2"/>
                  </a:lnTo>
                  <a:lnTo>
                    <a:pt x="0" y="2"/>
                  </a:lnTo>
                  <a:cubicBezTo>
                    <a:pt x="3" y="2"/>
                    <a:pt x="3" y="5"/>
                    <a:pt x="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5" name="Freeform 496"/>
            <p:cNvSpPr>
              <a:spLocks noChangeArrowheads="1"/>
            </p:cNvSpPr>
            <p:nvPr/>
          </p:nvSpPr>
          <p:spPr bwMode="auto">
            <a:xfrm>
              <a:off x="3748088" y="2857500"/>
              <a:ext cx="3175" cy="1588"/>
            </a:xfrm>
            <a:custGeom>
              <a:avLst/>
              <a:gdLst>
                <a:gd name="T0" fmla="*/ 0 w 9"/>
                <a:gd name="T1" fmla="*/ 2 h 6"/>
                <a:gd name="T2" fmla="*/ 8 w 9"/>
                <a:gd name="T3" fmla="*/ 2 h 6"/>
                <a:gd name="T4" fmla="*/ 0 w 9"/>
                <a:gd name="T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0" y="2"/>
                  </a:moveTo>
                  <a:cubicBezTo>
                    <a:pt x="3" y="5"/>
                    <a:pt x="5" y="5"/>
                    <a:pt x="8" y="2"/>
                  </a:cubicBezTo>
                  <a:cubicBezTo>
                    <a:pt x="5" y="0"/>
                    <a:pt x="3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6" name="Freeform 497"/>
            <p:cNvSpPr>
              <a:spLocks noChangeArrowheads="1"/>
            </p:cNvSpPr>
            <p:nvPr/>
          </p:nvSpPr>
          <p:spPr bwMode="auto">
            <a:xfrm>
              <a:off x="3749675" y="2909888"/>
              <a:ext cx="9525" cy="11112"/>
            </a:xfrm>
            <a:custGeom>
              <a:avLst/>
              <a:gdLst>
                <a:gd name="T0" fmla="*/ 19 w 26"/>
                <a:gd name="T1" fmla="*/ 6 h 30"/>
                <a:gd name="T2" fmla="*/ 19 w 26"/>
                <a:gd name="T3" fmla="*/ 6 h 30"/>
                <a:gd name="T4" fmla="*/ 0 w 26"/>
                <a:gd name="T5" fmla="*/ 6 h 30"/>
                <a:gd name="T6" fmla="*/ 25 w 26"/>
                <a:gd name="T7" fmla="*/ 29 h 30"/>
                <a:gd name="T8" fmla="*/ 22 w 26"/>
                <a:gd name="T9" fmla="*/ 20 h 30"/>
                <a:gd name="T10" fmla="*/ 19 w 26"/>
                <a:gd name="T11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0">
                  <a:moveTo>
                    <a:pt x="19" y="6"/>
                  </a:moveTo>
                  <a:lnTo>
                    <a:pt x="19" y="6"/>
                  </a:lnTo>
                  <a:cubicBezTo>
                    <a:pt x="8" y="9"/>
                    <a:pt x="5" y="0"/>
                    <a:pt x="0" y="6"/>
                  </a:cubicBezTo>
                  <a:cubicBezTo>
                    <a:pt x="2" y="17"/>
                    <a:pt x="14" y="26"/>
                    <a:pt x="25" y="29"/>
                  </a:cubicBezTo>
                  <a:cubicBezTo>
                    <a:pt x="25" y="26"/>
                    <a:pt x="25" y="23"/>
                    <a:pt x="22" y="20"/>
                  </a:cubicBezTo>
                  <a:cubicBezTo>
                    <a:pt x="19" y="17"/>
                    <a:pt x="17" y="12"/>
                    <a:pt x="19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7" name="Freeform 498"/>
            <p:cNvSpPr>
              <a:spLocks noChangeArrowheads="1"/>
            </p:cNvSpPr>
            <p:nvPr/>
          </p:nvSpPr>
          <p:spPr bwMode="auto">
            <a:xfrm>
              <a:off x="3738563" y="2863850"/>
              <a:ext cx="7937" cy="4763"/>
            </a:xfrm>
            <a:custGeom>
              <a:avLst/>
              <a:gdLst>
                <a:gd name="T0" fmla="*/ 0 w 23"/>
                <a:gd name="T1" fmla="*/ 6 h 13"/>
                <a:gd name="T2" fmla="*/ 0 w 23"/>
                <a:gd name="T3" fmla="*/ 12 h 13"/>
                <a:gd name="T4" fmla="*/ 16 w 23"/>
                <a:gd name="T5" fmla="*/ 12 h 13"/>
                <a:gd name="T6" fmla="*/ 22 w 23"/>
                <a:gd name="T7" fmla="*/ 3 h 13"/>
                <a:gd name="T8" fmla="*/ 19 w 23"/>
                <a:gd name="T9" fmla="*/ 3 h 13"/>
                <a:gd name="T10" fmla="*/ 0 w 23"/>
                <a:gd name="T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3">
                  <a:moveTo>
                    <a:pt x="0" y="6"/>
                  </a:moveTo>
                  <a:cubicBezTo>
                    <a:pt x="0" y="9"/>
                    <a:pt x="0" y="9"/>
                    <a:pt x="0" y="12"/>
                  </a:cubicBezTo>
                  <a:cubicBezTo>
                    <a:pt x="5" y="12"/>
                    <a:pt x="11" y="12"/>
                    <a:pt x="16" y="12"/>
                  </a:cubicBezTo>
                  <a:cubicBezTo>
                    <a:pt x="19" y="9"/>
                    <a:pt x="22" y="6"/>
                    <a:pt x="22" y="3"/>
                  </a:cubicBezTo>
                  <a:cubicBezTo>
                    <a:pt x="22" y="3"/>
                    <a:pt x="22" y="3"/>
                    <a:pt x="19" y="3"/>
                  </a:cubicBezTo>
                  <a:cubicBezTo>
                    <a:pt x="16" y="0"/>
                    <a:pt x="8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8" name="Freeform 499"/>
            <p:cNvSpPr>
              <a:spLocks noChangeArrowheads="1"/>
            </p:cNvSpPr>
            <p:nvPr/>
          </p:nvSpPr>
          <p:spPr bwMode="auto">
            <a:xfrm>
              <a:off x="3730625" y="2582863"/>
              <a:ext cx="4763" cy="4762"/>
            </a:xfrm>
            <a:custGeom>
              <a:avLst/>
              <a:gdLst>
                <a:gd name="T0" fmla="*/ 8 w 15"/>
                <a:gd name="T1" fmla="*/ 14 h 15"/>
                <a:gd name="T2" fmla="*/ 8 w 15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8" y="14"/>
                  </a:moveTo>
                  <a:cubicBezTo>
                    <a:pt x="14" y="0"/>
                    <a:pt x="0" y="6"/>
                    <a:pt x="8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9" name="Freeform 500"/>
            <p:cNvSpPr>
              <a:spLocks noChangeArrowheads="1"/>
            </p:cNvSpPr>
            <p:nvPr/>
          </p:nvSpPr>
          <p:spPr bwMode="auto">
            <a:xfrm>
              <a:off x="3733800" y="2586038"/>
              <a:ext cx="4763" cy="4762"/>
            </a:xfrm>
            <a:custGeom>
              <a:avLst/>
              <a:gdLst>
                <a:gd name="T0" fmla="*/ 6 w 15"/>
                <a:gd name="T1" fmla="*/ 0 h 15"/>
                <a:gd name="T2" fmla="*/ 6 w 15"/>
                <a:gd name="T3" fmla="*/ 14 h 15"/>
                <a:gd name="T4" fmla="*/ 6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6" y="0"/>
                  </a:moveTo>
                  <a:cubicBezTo>
                    <a:pt x="9" y="5"/>
                    <a:pt x="0" y="14"/>
                    <a:pt x="6" y="14"/>
                  </a:cubicBezTo>
                  <a:cubicBezTo>
                    <a:pt x="9" y="8"/>
                    <a:pt x="14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0" name="Freeform 501"/>
            <p:cNvSpPr>
              <a:spLocks noChangeArrowheads="1"/>
            </p:cNvSpPr>
            <p:nvPr/>
          </p:nvSpPr>
          <p:spPr bwMode="auto">
            <a:xfrm>
              <a:off x="3762375" y="2228850"/>
              <a:ext cx="3175" cy="3175"/>
            </a:xfrm>
            <a:custGeom>
              <a:avLst/>
              <a:gdLst>
                <a:gd name="T0" fmla="*/ 6 w 7"/>
                <a:gd name="T1" fmla="*/ 6 h 10"/>
                <a:gd name="T2" fmla="*/ 3 w 7"/>
                <a:gd name="T3" fmla="*/ 0 h 10"/>
                <a:gd name="T4" fmla="*/ 0 w 7"/>
                <a:gd name="T5" fmla="*/ 9 h 10"/>
                <a:gd name="T6" fmla="*/ 6 w 7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6"/>
                  </a:moveTo>
                  <a:cubicBezTo>
                    <a:pt x="6" y="3"/>
                    <a:pt x="6" y="3"/>
                    <a:pt x="3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0" y="9"/>
                    <a:pt x="3" y="9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1" name="Freeform 502"/>
            <p:cNvSpPr>
              <a:spLocks noChangeArrowheads="1"/>
            </p:cNvSpPr>
            <p:nvPr/>
          </p:nvSpPr>
          <p:spPr bwMode="auto">
            <a:xfrm>
              <a:off x="3681413" y="2425700"/>
              <a:ext cx="3175" cy="4763"/>
            </a:xfrm>
            <a:custGeom>
              <a:avLst/>
              <a:gdLst>
                <a:gd name="T0" fmla="*/ 5 w 9"/>
                <a:gd name="T1" fmla="*/ 14 h 15"/>
                <a:gd name="T2" fmla="*/ 8 w 9"/>
                <a:gd name="T3" fmla="*/ 0 h 15"/>
                <a:gd name="T4" fmla="*/ 0 w 9"/>
                <a:gd name="T5" fmla="*/ 2 h 15"/>
                <a:gd name="T6" fmla="*/ 0 w 9"/>
                <a:gd name="T7" fmla="*/ 11 h 15"/>
                <a:gd name="T8" fmla="*/ 5 w 9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5" y="14"/>
                  </a:moveTo>
                  <a:cubicBezTo>
                    <a:pt x="8" y="11"/>
                    <a:pt x="8" y="5"/>
                    <a:pt x="8" y="0"/>
                  </a:cubicBezTo>
                  <a:cubicBezTo>
                    <a:pt x="5" y="0"/>
                    <a:pt x="2" y="2"/>
                    <a:pt x="0" y="2"/>
                  </a:cubicBezTo>
                  <a:cubicBezTo>
                    <a:pt x="0" y="5"/>
                    <a:pt x="2" y="8"/>
                    <a:pt x="0" y="11"/>
                  </a:cubicBezTo>
                  <a:cubicBezTo>
                    <a:pt x="2" y="11"/>
                    <a:pt x="2" y="14"/>
                    <a:pt x="5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2" name="Freeform 503"/>
            <p:cNvSpPr>
              <a:spLocks noChangeArrowheads="1"/>
            </p:cNvSpPr>
            <p:nvPr/>
          </p:nvSpPr>
          <p:spPr bwMode="auto">
            <a:xfrm>
              <a:off x="3673475" y="2436813"/>
              <a:ext cx="4763" cy="3175"/>
            </a:xfrm>
            <a:custGeom>
              <a:avLst/>
              <a:gdLst>
                <a:gd name="T0" fmla="*/ 3 w 12"/>
                <a:gd name="T1" fmla="*/ 8 h 9"/>
                <a:gd name="T2" fmla="*/ 11 w 12"/>
                <a:gd name="T3" fmla="*/ 3 h 9"/>
                <a:gd name="T4" fmla="*/ 3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3" y="8"/>
                  </a:moveTo>
                  <a:cubicBezTo>
                    <a:pt x="8" y="8"/>
                    <a:pt x="11" y="8"/>
                    <a:pt x="11" y="3"/>
                  </a:cubicBezTo>
                  <a:cubicBezTo>
                    <a:pt x="8" y="0"/>
                    <a:pt x="0" y="0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3" name="Freeform 504"/>
            <p:cNvSpPr>
              <a:spLocks noChangeArrowheads="1"/>
            </p:cNvSpPr>
            <p:nvPr/>
          </p:nvSpPr>
          <p:spPr bwMode="auto">
            <a:xfrm>
              <a:off x="3703638" y="2298700"/>
              <a:ext cx="1587" cy="3175"/>
            </a:xfrm>
            <a:custGeom>
              <a:avLst/>
              <a:gdLst>
                <a:gd name="T0" fmla="*/ 3 w 6"/>
                <a:gd name="T1" fmla="*/ 3 h 7"/>
                <a:gd name="T2" fmla="*/ 5 w 6"/>
                <a:gd name="T3" fmla="*/ 6 h 7"/>
                <a:gd name="T4" fmla="*/ 3 w 6"/>
                <a:gd name="T5" fmla="*/ 3 h 7"/>
                <a:gd name="T6" fmla="*/ 0 w 6"/>
                <a:gd name="T7" fmla="*/ 3 h 7"/>
                <a:gd name="T8" fmla="*/ 3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3" y="3"/>
                  </a:moveTo>
                  <a:lnTo>
                    <a:pt x="5" y="6"/>
                  </a:lnTo>
                  <a:cubicBezTo>
                    <a:pt x="5" y="3"/>
                    <a:pt x="5" y="3"/>
                    <a:pt x="3" y="3"/>
                  </a:cubicBezTo>
                  <a:cubicBezTo>
                    <a:pt x="3" y="0"/>
                    <a:pt x="0" y="3"/>
                    <a:pt x="0" y="3"/>
                  </a:cubicBezTo>
                  <a:lnTo>
                    <a:pt x="3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4" name="Freeform 505"/>
            <p:cNvSpPr>
              <a:spLocks noChangeArrowheads="1"/>
            </p:cNvSpPr>
            <p:nvPr/>
          </p:nvSpPr>
          <p:spPr bwMode="auto">
            <a:xfrm>
              <a:off x="3683000" y="2473325"/>
              <a:ext cx="6350" cy="11113"/>
            </a:xfrm>
            <a:custGeom>
              <a:avLst/>
              <a:gdLst>
                <a:gd name="T0" fmla="*/ 17 w 18"/>
                <a:gd name="T1" fmla="*/ 26 h 29"/>
                <a:gd name="T2" fmla="*/ 14 w 18"/>
                <a:gd name="T3" fmla="*/ 14 h 29"/>
                <a:gd name="T4" fmla="*/ 11 w 18"/>
                <a:gd name="T5" fmla="*/ 12 h 29"/>
                <a:gd name="T6" fmla="*/ 9 w 18"/>
                <a:gd name="T7" fmla="*/ 0 h 29"/>
                <a:gd name="T8" fmla="*/ 6 w 18"/>
                <a:gd name="T9" fmla="*/ 0 h 29"/>
                <a:gd name="T10" fmla="*/ 6 w 18"/>
                <a:gd name="T11" fmla="*/ 3 h 29"/>
                <a:gd name="T12" fmla="*/ 17 w 18"/>
                <a:gd name="T13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9">
                  <a:moveTo>
                    <a:pt x="17" y="26"/>
                  </a:moveTo>
                  <a:cubicBezTo>
                    <a:pt x="14" y="23"/>
                    <a:pt x="14" y="17"/>
                    <a:pt x="14" y="14"/>
                  </a:cubicBezTo>
                  <a:lnTo>
                    <a:pt x="11" y="12"/>
                  </a:lnTo>
                  <a:cubicBezTo>
                    <a:pt x="11" y="9"/>
                    <a:pt x="11" y="3"/>
                    <a:pt x="9" y="0"/>
                  </a:cubicBezTo>
                  <a:cubicBezTo>
                    <a:pt x="9" y="0"/>
                    <a:pt x="9" y="0"/>
                    <a:pt x="6" y="0"/>
                  </a:cubicBezTo>
                  <a:lnTo>
                    <a:pt x="6" y="3"/>
                  </a:lnTo>
                  <a:cubicBezTo>
                    <a:pt x="6" y="12"/>
                    <a:pt x="0" y="28"/>
                    <a:pt x="17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5" name="Freeform 506"/>
            <p:cNvSpPr>
              <a:spLocks noChangeArrowheads="1"/>
            </p:cNvSpPr>
            <p:nvPr/>
          </p:nvSpPr>
          <p:spPr bwMode="auto">
            <a:xfrm>
              <a:off x="3665538" y="2403475"/>
              <a:ext cx="9525" cy="4763"/>
            </a:xfrm>
            <a:custGeom>
              <a:avLst/>
              <a:gdLst>
                <a:gd name="T0" fmla="*/ 26 w 27"/>
                <a:gd name="T1" fmla="*/ 5 h 15"/>
                <a:gd name="T2" fmla="*/ 26 w 27"/>
                <a:gd name="T3" fmla="*/ 0 h 15"/>
                <a:gd name="T4" fmla="*/ 9 w 27"/>
                <a:gd name="T5" fmla="*/ 5 h 15"/>
                <a:gd name="T6" fmla="*/ 6 w 27"/>
                <a:gd name="T7" fmla="*/ 8 h 15"/>
                <a:gd name="T8" fmla="*/ 6 w 27"/>
                <a:gd name="T9" fmla="*/ 5 h 15"/>
                <a:gd name="T10" fmla="*/ 0 w 27"/>
                <a:gd name="T11" fmla="*/ 5 h 15"/>
                <a:gd name="T12" fmla="*/ 0 w 27"/>
                <a:gd name="T13" fmla="*/ 5 h 15"/>
                <a:gd name="T14" fmla="*/ 26 w 27"/>
                <a:gd name="T15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5">
                  <a:moveTo>
                    <a:pt x="26" y="5"/>
                  </a:moveTo>
                  <a:cubicBezTo>
                    <a:pt x="26" y="3"/>
                    <a:pt x="26" y="3"/>
                    <a:pt x="26" y="0"/>
                  </a:cubicBezTo>
                  <a:cubicBezTo>
                    <a:pt x="20" y="3"/>
                    <a:pt x="14" y="3"/>
                    <a:pt x="9" y="5"/>
                  </a:cubicBezTo>
                  <a:cubicBezTo>
                    <a:pt x="9" y="5"/>
                    <a:pt x="9" y="8"/>
                    <a:pt x="6" y="8"/>
                  </a:cubicBezTo>
                  <a:lnTo>
                    <a:pt x="6" y="5"/>
                  </a:lnTo>
                  <a:cubicBezTo>
                    <a:pt x="3" y="5"/>
                    <a:pt x="3" y="5"/>
                    <a:pt x="0" y="5"/>
                  </a:cubicBezTo>
                  <a:lnTo>
                    <a:pt x="0" y="5"/>
                  </a:lnTo>
                  <a:cubicBezTo>
                    <a:pt x="9" y="11"/>
                    <a:pt x="20" y="14"/>
                    <a:pt x="2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6" name="Freeform 507"/>
            <p:cNvSpPr>
              <a:spLocks noChangeArrowheads="1"/>
            </p:cNvSpPr>
            <p:nvPr/>
          </p:nvSpPr>
          <p:spPr bwMode="auto">
            <a:xfrm>
              <a:off x="3686175" y="2714625"/>
              <a:ext cx="6350" cy="12700"/>
            </a:xfrm>
            <a:custGeom>
              <a:avLst/>
              <a:gdLst>
                <a:gd name="T0" fmla="*/ 0 w 18"/>
                <a:gd name="T1" fmla="*/ 3 h 35"/>
                <a:gd name="T2" fmla="*/ 0 w 18"/>
                <a:gd name="T3" fmla="*/ 3 h 35"/>
                <a:gd name="T4" fmla="*/ 5 w 18"/>
                <a:gd name="T5" fmla="*/ 14 h 35"/>
                <a:gd name="T6" fmla="*/ 5 w 18"/>
                <a:gd name="T7" fmla="*/ 17 h 35"/>
                <a:gd name="T8" fmla="*/ 11 w 18"/>
                <a:gd name="T9" fmla="*/ 31 h 35"/>
                <a:gd name="T10" fmla="*/ 17 w 18"/>
                <a:gd name="T11" fmla="*/ 14 h 35"/>
                <a:gd name="T12" fmla="*/ 5 w 18"/>
                <a:gd name="T13" fmla="*/ 11 h 35"/>
                <a:gd name="T14" fmla="*/ 0 w 18"/>
                <a:gd name="T15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5">
                  <a:moveTo>
                    <a:pt x="0" y="3"/>
                  </a:moveTo>
                  <a:lnTo>
                    <a:pt x="0" y="3"/>
                  </a:lnTo>
                  <a:cubicBezTo>
                    <a:pt x="0" y="5"/>
                    <a:pt x="2" y="8"/>
                    <a:pt x="5" y="14"/>
                  </a:cubicBezTo>
                  <a:lnTo>
                    <a:pt x="5" y="17"/>
                  </a:lnTo>
                  <a:cubicBezTo>
                    <a:pt x="8" y="22"/>
                    <a:pt x="5" y="34"/>
                    <a:pt x="11" y="31"/>
                  </a:cubicBezTo>
                  <a:cubicBezTo>
                    <a:pt x="17" y="28"/>
                    <a:pt x="17" y="22"/>
                    <a:pt x="17" y="14"/>
                  </a:cubicBezTo>
                  <a:cubicBezTo>
                    <a:pt x="14" y="14"/>
                    <a:pt x="11" y="14"/>
                    <a:pt x="5" y="11"/>
                  </a:cubicBezTo>
                  <a:cubicBezTo>
                    <a:pt x="5" y="8"/>
                    <a:pt x="8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7" name="Freeform 508"/>
            <p:cNvSpPr>
              <a:spLocks noChangeArrowheads="1"/>
            </p:cNvSpPr>
            <p:nvPr/>
          </p:nvSpPr>
          <p:spPr bwMode="auto">
            <a:xfrm>
              <a:off x="3668713" y="2360613"/>
              <a:ext cx="4762" cy="3175"/>
            </a:xfrm>
            <a:custGeom>
              <a:avLst/>
              <a:gdLst>
                <a:gd name="T0" fmla="*/ 11 w 12"/>
                <a:gd name="T1" fmla="*/ 0 h 10"/>
                <a:gd name="T2" fmla="*/ 0 w 12"/>
                <a:gd name="T3" fmla="*/ 6 h 10"/>
                <a:gd name="T4" fmla="*/ 11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0"/>
                  </a:moveTo>
                  <a:cubicBezTo>
                    <a:pt x="5" y="0"/>
                    <a:pt x="0" y="0"/>
                    <a:pt x="0" y="6"/>
                  </a:cubicBezTo>
                  <a:cubicBezTo>
                    <a:pt x="2" y="9"/>
                    <a:pt x="11" y="9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8" name="Freeform 509"/>
            <p:cNvSpPr>
              <a:spLocks noChangeArrowheads="1"/>
            </p:cNvSpPr>
            <p:nvPr/>
          </p:nvSpPr>
          <p:spPr bwMode="auto">
            <a:xfrm>
              <a:off x="3654425" y="2392363"/>
              <a:ext cx="3175" cy="1587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3 h 6"/>
                <a:gd name="T4" fmla="*/ 3 w 7"/>
                <a:gd name="T5" fmla="*/ 0 h 6"/>
                <a:gd name="T6" fmla="*/ 0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cubicBezTo>
                    <a:pt x="3" y="5"/>
                    <a:pt x="6" y="3"/>
                    <a:pt x="6" y="3"/>
                  </a:cubicBezTo>
                  <a:lnTo>
                    <a:pt x="3" y="0"/>
                  </a:lnTo>
                  <a:cubicBezTo>
                    <a:pt x="0" y="0"/>
                    <a:pt x="0" y="0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9" name="Freeform 510"/>
            <p:cNvSpPr>
              <a:spLocks noChangeArrowheads="1"/>
            </p:cNvSpPr>
            <p:nvPr/>
          </p:nvSpPr>
          <p:spPr bwMode="auto">
            <a:xfrm>
              <a:off x="3656013" y="2376488"/>
              <a:ext cx="4762" cy="6350"/>
            </a:xfrm>
            <a:custGeom>
              <a:avLst/>
              <a:gdLst>
                <a:gd name="T0" fmla="*/ 8 w 15"/>
                <a:gd name="T1" fmla="*/ 15 h 16"/>
                <a:gd name="T2" fmla="*/ 8 w 15"/>
                <a:gd name="T3" fmla="*/ 0 h 16"/>
                <a:gd name="T4" fmla="*/ 8 w 15"/>
                <a:gd name="T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8" y="15"/>
                  </a:moveTo>
                  <a:cubicBezTo>
                    <a:pt x="8" y="12"/>
                    <a:pt x="14" y="0"/>
                    <a:pt x="8" y="0"/>
                  </a:cubicBezTo>
                  <a:cubicBezTo>
                    <a:pt x="6" y="6"/>
                    <a:pt x="0" y="12"/>
                    <a:pt x="8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0" name="Freeform 511"/>
            <p:cNvSpPr>
              <a:spLocks noChangeArrowheads="1"/>
            </p:cNvSpPr>
            <p:nvPr/>
          </p:nvSpPr>
          <p:spPr bwMode="auto">
            <a:xfrm>
              <a:off x="3660775" y="2670175"/>
              <a:ext cx="3175" cy="6350"/>
            </a:xfrm>
            <a:custGeom>
              <a:avLst/>
              <a:gdLst>
                <a:gd name="T0" fmla="*/ 9 w 10"/>
                <a:gd name="T1" fmla="*/ 12 h 16"/>
                <a:gd name="T2" fmla="*/ 0 w 10"/>
                <a:gd name="T3" fmla="*/ 0 h 16"/>
                <a:gd name="T4" fmla="*/ 9 w 10"/>
                <a:gd name="T5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9" y="12"/>
                  </a:moveTo>
                  <a:cubicBezTo>
                    <a:pt x="9" y="3"/>
                    <a:pt x="9" y="0"/>
                    <a:pt x="0" y="0"/>
                  </a:cubicBezTo>
                  <a:cubicBezTo>
                    <a:pt x="0" y="9"/>
                    <a:pt x="0" y="15"/>
                    <a:pt x="9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1" name="Freeform 512"/>
            <p:cNvSpPr>
              <a:spLocks noChangeArrowheads="1"/>
            </p:cNvSpPr>
            <p:nvPr/>
          </p:nvSpPr>
          <p:spPr bwMode="auto">
            <a:xfrm>
              <a:off x="3665538" y="2435225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2" name="Freeform 513"/>
            <p:cNvSpPr>
              <a:spLocks noChangeArrowheads="1"/>
            </p:cNvSpPr>
            <p:nvPr/>
          </p:nvSpPr>
          <p:spPr bwMode="auto">
            <a:xfrm>
              <a:off x="3659188" y="2427288"/>
              <a:ext cx="6350" cy="6350"/>
            </a:xfrm>
            <a:custGeom>
              <a:avLst/>
              <a:gdLst>
                <a:gd name="T0" fmla="*/ 3 w 18"/>
                <a:gd name="T1" fmla="*/ 15 h 16"/>
                <a:gd name="T2" fmla="*/ 9 w 18"/>
                <a:gd name="T3" fmla="*/ 15 h 16"/>
                <a:gd name="T4" fmla="*/ 3 w 18"/>
                <a:gd name="T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6">
                  <a:moveTo>
                    <a:pt x="3" y="15"/>
                  </a:moveTo>
                  <a:lnTo>
                    <a:pt x="9" y="15"/>
                  </a:lnTo>
                  <a:cubicBezTo>
                    <a:pt x="17" y="9"/>
                    <a:pt x="0" y="0"/>
                    <a:pt x="3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3" name="Freeform 514"/>
            <p:cNvSpPr>
              <a:spLocks noChangeArrowheads="1"/>
            </p:cNvSpPr>
            <p:nvPr/>
          </p:nvSpPr>
          <p:spPr bwMode="auto">
            <a:xfrm>
              <a:off x="3719513" y="2374900"/>
              <a:ext cx="6350" cy="4763"/>
            </a:xfrm>
            <a:custGeom>
              <a:avLst/>
              <a:gdLst>
                <a:gd name="T0" fmla="*/ 8 w 18"/>
                <a:gd name="T1" fmla="*/ 0 h 12"/>
                <a:gd name="T2" fmla="*/ 8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cubicBezTo>
                    <a:pt x="0" y="11"/>
                    <a:pt x="17" y="8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4" name="Freeform 515"/>
            <p:cNvSpPr>
              <a:spLocks noChangeArrowheads="1"/>
            </p:cNvSpPr>
            <p:nvPr/>
          </p:nvSpPr>
          <p:spPr bwMode="auto">
            <a:xfrm>
              <a:off x="3703638" y="2374900"/>
              <a:ext cx="4762" cy="6350"/>
            </a:xfrm>
            <a:custGeom>
              <a:avLst/>
              <a:gdLst>
                <a:gd name="T0" fmla="*/ 0 w 15"/>
                <a:gd name="T1" fmla="*/ 8 h 18"/>
                <a:gd name="T2" fmla="*/ 11 w 15"/>
                <a:gd name="T3" fmla="*/ 14 h 18"/>
                <a:gd name="T4" fmla="*/ 0 w 15"/>
                <a:gd name="T5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8">
                  <a:moveTo>
                    <a:pt x="0" y="8"/>
                  </a:moveTo>
                  <a:cubicBezTo>
                    <a:pt x="5" y="8"/>
                    <a:pt x="5" y="17"/>
                    <a:pt x="11" y="14"/>
                  </a:cubicBezTo>
                  <a:cubicBezTo>
                    <a:pt x="14" y="5"/>
                    <a:pt x="3" y="0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5" name="Freeform 516"/>
            <p:cNvSpPr>
              <a:spLocks noChangeArrowheads="1"/>
            </p:cNvSpPr>
            <p:nvPr/>
          </p:nvSpPr>
          <p:spPr bwMode="auto">
            <a:xfrm>
              <a:off x="3732213" y="2386013"/>
              <a:ext cx="1587" cy="1587"/>
            </a:xfrm>
            <a:custGeom>
              <a:avLst/>
              <a:gdLst>
                <a:gd name="T0" fmla="*/ 5 w 6"/>
                <a:gd name="T1" fmla="*/ 0 h 6"/>
                <a:gd name="T2" fmla="*/ 0 w 6"/>
                <a:gd name="T3" fmla="*/ 0 h 6"/>
                <a:gd name="T4" fmla="*/ 0 w 6"/>
                <a:gd name="T5" fmla="*/ 5 h 6"/>
                <a:gd name="T6" fmla="*/ 5 w 6"/>
                <a:gd name="T7" fmla="*/ 5 h 6"/>
                <a:gd name="T8" fmla="*/ 5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5" y="5"/>
                  </a:lnTo>
                  <a:lnTo>
                    <a:pt x="5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6" name="Freeform 517"/>
            <p:cNvSpPr>
              <a:spLocks noChangeArrowheads="1"/>
            </p:cNvSpPr>
            <p:nvPr/>
          </p:nvSpPr>
          <p:spPr bwMode="auto">
            <a:xfrm>
              <a:off x="3724275" y="2266950"/>
              <a:ext cx="6350" cy="7938"/>
            </a:xfrm>
            <a:custGeom>
              <a:avLst/>
              <a:gdLst>
                <a:gd name="T0" fmla="*/ 17 w 18"/>
                <a:gd name="T1" fmla="*/ 8 h 21"/>
                <a:gd name="T2" fmla="*/ 17 w 18"/>
                <a:gd name="T3" fmla="*/ 3 h 21"/>
                <a:gd name="T4" fmla="*/ 3 w 18"/>
                <a:gd name="T5" fmla="*/ 0 h 21"/>
                <a:gd name="T6" fmla="*/ 0 w 18"/>
                <a:gd name="T7" fmla="*/ 17 h 21"/>
                <a:gd name="T8" fmla="*/ 17 w 18"/>
                <a:gd name="T9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1">
                  <a:moveTo>
                    <a:pt x="17" y="8"/>
                  </a:moveTo>
                  <a:lnTo>
                    <a:pt x="17" y="3"/>
                  </a:lnTo>
                  <a:cubicBezTo>
                    <a:pt x="11" y="0"/>
                    <a:pt x="8" y="0"/>
                    <a:pt x="3" y="0"/>
                  </a:cubicBezTo>
                  <a:cubicBezTo>
                    <a:pt x="0" y="5"/>
                    <a:pt x="0" y="11"/>
                    <a:pt x="0" y="17"/>
                  </a:cubicBezTo>
                  <a:cubicBezTo>
                    <a:pt x="8" y="20"/>
                    <a:pt x="8" y="11"/>
                    <a:pt x="17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7" name="Freeform 518"/>
            <p:cNvSpPr>
              <a:spLocks noChangeArrowheads="1"/>
            </p:cNvSpPr>
            <p:nvPr/>
          </p:nvSpPr>
          <p:spPr bwMode="auto">
            <a:xfrm>
              <a:off x="3841750" y="2760663"/>
              <a:ext cx="12700" cy="7937"/>
            </a:xfrm>
            <a:custGeom>
              <a:avLst/>
              <a:gdLst>
                <a:gd name="T0" fmla="*/ 33 w 34"/>
                <a:gd name="T1" fmla="*/ 11 h 23"/>
                <a:gd name="T2" fmla="*/ 33 w 34"/>
                <a:gd name="T3" fmla="*/ 5 h 23"/>
                <a:gd name="T4" fmla="*/ 31 w 34"/>
                <a:gd name="T5" fmla="*/ 8 h 23"/>
                <a:gd name="T6" fmla="*/ 25 w 34"/>
                <a:gd name="T7" fmla="*/ 0 h 23"/>
                <a:gd name="T8" fmla="*/ 0 w 34"/>
                <a:gd name="T9" fmla="*/ 22 h 23"/>
                <a:gd name="T10" fmla="*/ 33 w 34"/>
                <a:gd name="T11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3" y="8"/>
                    <a:pt x="33" y="8"/>
                    <a:pt x="33" y="5"/>
                  </a:cubicBezTo>
                  <a:lnTo>
                    <a:pt x="31" y="8"/>
                  </a:lnTo>
                  <a:cubicBezTo>
                    <a:pt x="31" y="5"/>
                    <a:pt x="28" y="3"/>
                    <a:pt x="25" y="0"/>
                  </a:cubicBezTo>
                  <a:cubicBezTo>
                    <a:pt x="14" y="5"/>
                    <a:pt x="8" y="17"/>
                    <a:pt x="0" y="22"/>
                  </a:cubicBezTo>
                  <a:cubicBezTo>
                    <a:pt x="16" y="22"/>
                    <a:pt x="19" y="8"/>
                    <a:pt x="3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8" name="Freeform 519"/>
            <p:cNvSpPr>
              <a:spLocks noChangeArrowheads="1"/>
            </p:cNvSpPr>
            <p:nvPr/>
          </p:nvSpPr>
          <p:spPr bwMode="auto">
            <a:xfrm>
              <a:off x="3846513" y="2160588"/>
              <a:ext cx="1587" cy="3175"/>
            </a:xfrm>
            <a:custGeom>
              <a:avLst/>
              <a:gdLst>
                <a:gd name="T0" fmla="*/ 5 w 6"/>
                <a:gd name="T1" fmla="*/ 0 h 10"/>
                <a:gd name="T2" fmla="*/ 2 w 6"/>
                <a:gd name="T3" fmla="*/ 0 h 10"/>
                <a:gd name="T4" fmla="*/ 0 w 6"/>
                <a:gd name="T5" fmla="*/ 6 h 10"/>
                <a:gd name="T6" fmla="*/ 2 w 6"/>
                <a:gd name="T7" fmla="*/ 9 h 10"/>
                <a:gd name="T8" fmla="*/ 5 w 6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5" y="0"/>
                  </a:moveTo>
                  <a:lnTo>
                    <a:pt x="2" y="0"/>
                  </a:lnTo>
                  <a:cubicBezTo>
                    <a:pt x="2" y="3"/>
                    <a:pt x="2" y="3"/>
                    <a:pt x="0" y="6"/>
                  </a:cubicBezTo>
                  <a:lnTo>
                    <a:pt x="2" y="9"/>
                  </a:lnTo>
                  <a:cubicBezTo>
                    <a:pt x="2" y="3"/>
                    <a:pt x="2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9" name="Freeform 520"/>
            <p:cNvSpPr>
              <a:spLocks noChangeArrowheads="1"/>
            </p:cNvSpPr>
            <p:nvPr/>
          </p:nvSpPr>
          <p:spPr bwMode="auto">
            <a:xfrm>
              <a:off x="3838575" y="2730500"/>
              <a:ext cx="3175" cy="3175"/>
            </a:xfrm>
            <a:custGeom>
              <a:avLst/>
              <a:gdLst>
                <a:gd name="T0" fmla="*/ 3 w 7"/>
                <a:gd name="T1" fmla="*/ 0 h 9"/>
                <a:gd name="T2" fmla="*/ 0 w 7"/>
                <a:gd name="T3" fmla="*/ 8 h 9"/>
                <a:gd name="T4" fmla="*/ 6 w 7"/>
                <a:gd name="T5" fmla="*/ 6 h 9"/>
                <a:gd name="T6" fmla="*/ 3 w 7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cubicBezTo>
                    <a:pt x="3" y="3"/>
                    <a:pt x="0" y="6"/>
                    <a:pt x="0" y="8"/>
                  </a:cubicBezTo>
                  <a:cubicBezTo>
                    <a:pt x="3" y="8"/>
                    <a:pt x="3" y="6"/>
                    <a:pt x="6" y="6"/>
                  </a:cubicBezTo>
                  <a:cubicBezTo>
                    <a:pt x="6" y="0"/>
                    <a:pt x="6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0" name="Freeform 521"/>
            <p:cNvSpPr>
              <a:spLocks noChangeArrowheads="1"/>
            </p:cNvSpPr>
            <p:nvPr/>
          </p:nvSpPr>
          <p:spPr bwMode="auto">
            <a:xfrm>
              <a:off x="3836988" y="2765425"/>
              <a:ext cx="4762" cy="4763"/>
            </a:xfrm>
            <a:custGeom>
              <a:avLst/>
              <a:gdLst>
                <a:gd name="T0" fmla="*/ 0 w 13"/>
                <a:gd name="T1" fmla="*/ 8 h 15"/>
                <a:gd name="T2" fmla="*/ 0 w 13"/>
                <a:gd name="T3" fmla="*/ 14 h 15"/>
                <a:gd name="T4" fmla="*/ 6 w 13"/>
                <a:gd name="T5" fmla="*/ 14 h 15"/>
                <a:gd name="T6" fmla="*/ 12 w 13"/>
                <a:gd name="T7" fmla="*/ 0 h 15"/>
                <a:gd name="T8" fmla="*/ 0 w 13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0" y="8"/>
                  </a:moveTo>
                  <a:cubicBezTo>
                    <a:pt x="0" y="11"/>
                    <a:pt x="0" y="11"/>
                    <a:pt x="0" y="14"/>
                  </a:cubicBezTo>
                  <a:lnTo>
                    <a:pt x="6" y="14"/>
                  </a:lnTo>
                  <a:cubicBezTo>
                    <a:pt x="9" y="11"/>
                    <a:pt x="9" y="3"/>
                    <a:pt x="12" y="0"/>
                  </a:cubicBezTo>
                  <a:cubicBezTo>
                    <a:pt x="9" y="0"/>
                    <a:pt x="3" y="3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1" name="Freeform 522"/>
            <p:cNvSpPr>
              <a:spLocks noChangeArrowheads="1"/>
            </p:cNvSpPr>
            <p:nvPr/>
          </p:nvSpPr>
          <p:spPr bwMode="auto">
            <a:xfrm>
              <a:off x="3849688" y="2547938"/>
              <a:ext cx="3175" cy="3175"/>
            </a:xfrm>
            <a:custGeom>
              <a:avLst/>
              <a:gdLst>
                <a:gd name="T0" fmla="*/ 9 w 10"/>
                <a:gd name="T1" fmla="*/ 9 h 10"/>
                <a:gd name="T2" fmla="*/ 9 w 10"/>
                <a:gd name="T3" fmla="*/ 0 h 10"/>
                <a:gd name="T4" fmla="*/ 0 w 10"/>
                <a:gd name="T5" fmla="*/ 0 h 10"/>
                <a:gd name="T6" fmla="*/ 3 w 10"/>
                <a:gd name="T7" fmla="*/ 9 h 10"/>
                <a:gd name="T8" fmla="*/ 9 w 10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9" y="9"/>
                  </a:moveTo>
                  <a:cubicBezTo>
                    <a:pt x="9" y="6"/>
                    <a:pt x="9" y="3"/>
                    <a:pt x="9" y="0"/>
                  </a:cubicBezTo>
                  <a:cubicBezTo>
                    <a:pt x="6" y="0"/>
                    <a:pt x="3" y="0"/>
                    <a:pt x="0" y="0"/>
                  </a:cubicBezTo>
                  <a:cubicBezTo>
                    <a:pt x="0" y="3"/>
                    <a:pt x="0" y="6"/>
                    <a:pt x="3" y="9"/>
                  </a:cubicBezTo>
                  <a:cubicBezTo>
                    <a:pt x="6" y="9"/>
                    <a:pt x="6" y="9"/>
                    <a:pt x="9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2" name="Freeform 523"/>
            <p:cNvSpPr>
              <a:spLocks noChangeArrowheads="1"/>
            </p:cNvSpPr>
            <p:nvPr/>
          </p:nvSpPr>
          <p:spPr bwMode="auto">
            <a:xfrm>
              <a:off x="3703638" y="2389188"/>
              <a:ext cx="3175" cy="3175"/>
            </a:xfrm>
            <a:custGeom>
              <a:avLst/>
              <a:gdLst>
                <a:gd name="T0" fmla="*/ 3 w 9"/>
                <a:gd name="T1" fmla="*/ 0 h 10"/>
                <a:gd name="T2" fmla="*/ 0 w 9"/>
                <a:gd name="T3" fmla="*/ 6 h 10"/>
                <a:gd name="T4" fmla="*/ 5 w 9"/>
                <a:gd name="T5" fmla="*/ 9 h 10"/>
                <a:gd name="T6" fmla="*/ 8 w 9"/>
                <a:gd name="T7" fmla="*/ 3 h 10"/>
                <a:gd name="T8" fmla="*/ 3 w 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3" y="0"/>
                  </a:moveTo>
                  <a:cubicBezTo>
                    <a:pt x="3" y="3"/>
                    <a:pt x="0" y="3"/>
                    <a:pt x="0" y="6"/>
                  </a:cubicBezTo>
                  <a:cubicBezTo>
                    <a:pt x="3" y="6"/>
                    <a:pt x="3" y="9"/>
                    <a:pt x="5" y="9"/>
                  </a:cubicBezTo>
                  <a:cubicBezTo>
                    <a:pt x="5" y="6"/>
                    <a:pt x="8" y="6"/>
                    <a:pt x="8" y="3"/>
                  </a:cubicBezTo>
                  <a:cubicBezTo>
                    <a:pt x="5" y="3"/>
                    <a:pt x="5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3" name="Freeform 524"/>
            <p:cNvSpPr>
              <a:spLocks noChangeArrowheads="1"/>
            </p:cNvSpPr>
            <p:nvPr/>
          </p:nvSpPr>
          <p:spPr bwMode="auto">
            <a:xfrm>
              <a:off x="3836988" y="2336800"/>
              <a:ext cx="4762" cy="3175"/>
            </a:xfrm>
            <a:custGeom>
              <a:avLst/>
              <a:gdLst>
                <a:gd name="T0" fmla="*/ 3 w 13"/>
                <a:gd name="T1" fmla="*/ 0 h 10"/>
                <a:gd name="T2" fmla="*/ 0 w 13"/>
                <a:gd name="T3" fmla="*/ 9 h 10"/>
                <a:gd name="T4" fmla="*/ 9 w 13"/>
                <a:gd name="T5" fmla="*/ 6 h 10"/>
                <a:gd name="T6" fmla="*/ 12 w 13"/>
                <a:gd name="T7" fmla="*/ 6 h 10"/>
                <a:gd name="T8" fmla="*/ 12 w 13"/>
                <a:gd name="T9" fmla="*/ 6 h 10"/>
                <a:gd name="T10" fmla="*/ 3 w 13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0">
                  <a:moveTo>
                    <a:pt x="3" y="0"/>
                  </a:moveTo>
                  <a:cubicBezTo>
                    <a:pt x="0" y="3"/>
                    <a:pt x="0" y="6"/>
                    <a:pt x="0" y="9"/>
                  </a:cubicBezTo>
                  <a:cubicBezTo>
                    <a:pt x="3" y="9"/>
                    <a:pt x="6" y="9"/>
                    <a:pt x="9" y="6"/>
                  </a:cubicBezTo>
                  <a:lnTo>
                    <a:pt x="12" y="6"/>
                  </a:lnTo>
                  <a:lnTo>
                    <a:pt x="12" y="6"/>
                  </a:lnTo>
                  <a:cubicBezTo>
                    <a:pt x="6" y="6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4" name="Freeform 525"/>
            <p:cNvSpPr>
              <a:spLocks noChangeArrowheads="1"/>
            </p:cNvSpPr>
            <p:nvPr/>
          </p:nvSpPr>
          <p:spPr bwMode="auto">
            <a:xfrm>
              <a:off x="3822700" y="2598738"/>
              <a:ext cx="3175" cy="4762"/>
            </a:xfrm>
            <a:custGeom>
              <a:avLst/>
              <a:gdLst>
                <a:gd name="T0" fmla="*/ 8 w 9"/>
                <a:gd name="T1" fmla="*/ 3 h 15"/>
                <a:gd name="T2" fmla="*/ 0 w 9"/>
                <a:gd name="T3" fmla="*/ 11 h 15"/>
                <a:gd name="T4" fmla="*/ 8 w 9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3" y="0"/>
                    <a:pt x="3" y="9"/>
                    <a:pt x="0" y="11"/>
                  </a:cubicBezTo>
                  <a:cubicBezTo>
                    <a:pt x="8" y="14"/>
                    <a:pt x="8" y="11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5" name="Freeform 526"/>
            <p:cNvSpPr>
              <a:spLocks noChangeArrowheads="1"/>
            </p:cNvSpPr>
            <p:nvPr/>
          </p:nvSpPr>
          <p:spPr bwMode="auto">
            <a:xfrm>
              <a:off x="3827463" y="2498725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  <a:gd name="T4" fmla="*/ 0 w 4"/>
                <a:gd name="T5" fmla="*/ 3 h 4"/>
                <a:gd name="T6" fmla="*/ 3 w 4"/>
                <a:gd name="T7" fmla="*/ 3 h 4"/>
                <a:gd name="T8" fmla="*/ 3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lnTo>
                    <a:pt x="3" y="0"/>
                  </a:lnTo>
                  <a:cubicBezTo>
                    <a:pt x="0" y="0"/>
                    <a:pt x="0" y="3"/>
                    <a:pt x="0" y="3"/>
                  </a:cubicBezTo>
                  <a:cubicBezTo>
                    <a:pt x="0" y="3"/>
                    <a:pt x="0" y="3"/>
                    <a:pt x="3" y="3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6" name="Freeform 527"/>
            <p:cNvSpPr>
              <a:spLocks noChangeArrowheads="1"/>
            </p:cNvSpPr>
            <p:nvPr/>
          </p:nvSpPr>
          <p:spPr bwMode="auto">
            <a:xfrm>
              <a:off x="3825875" y="2476500"/>
              <a:ext cx="1588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0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7" name="Freeform 528"/>
            <p:cNvSpPr>
              <a:spLocks noChangeArrowheads="1"/>
            </p:cNvSpPr>
            <p:nvPr/>
          </p:nvSpPr>
          <p:spPr bwMode="auto">
            <a:xfrm>
              <a:off x="3838575" y="2235200"/>
              <a:ext cx="3175" cy="1588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0 h 6"/>
                <a:gd name="T4" fmla="*/ 0 w 7"/>
                <a:gd name="T5" fmla="*/ 2 h 6"/>
                <a:gd name="T6" fmla="*/ 3 w 7"/>
                <a:gd name="T7" fmla="*/ 5 h 6"/>
                <a:gd name="T8" fmla="*/ 6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lnTo>
                    <a:pt x="0" y="0"/>
                  </a:lnTo>
                  <a:lnTo>
                    <a:pt x="0" y="2"/>
                  </a:lnTo>
                  <a:cubicBezTo>
                    <a:pt x="0" y="2"/>
                    <a:pt x="3" y="2"/>
                    <a:pt x="3" y="5"/>
                  </a:cubicBezTo>
                  <a:cubicBezTo>
                    <a:pt x="3" y="5"/>
                    <a:pt x="6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8" name="Freeform 529"/>
            <p:cNvSpPr>
              <a:spLocks noChangeArrowheads="1"/>
            </p:cNvSpPr>
            <p:nvPr/>
          </p:nvSpPr>
          <p:spPr bwMode="auto">
            <a:xfrm>
              <a:off x="3835400" y="2195513"/>
              <a:ext cx="3175" cy="4762"/>
            </a:xfrm>
            <a:custGeom>
              <a:avLst/>
              <a:gdLst>
                <a:gd name="T0" fmla="*/ 5 w 9"/>
                <a:gd name="T1" fmla="*/ 12 h 13"/>
                <a:gd name="T2" fmla="*/ 8 w 9"/>
                <a:gd name="T3" fmla="*/ 3 h 13"/>
                <a:gd name="T4" fmla="*/ 0 w 9"/>
                <a:gd name="T5" fmla="*/ 0 h 13"/>
                <a:gd name="T6" fmla="*/ 2 w 9"/>
                <a:gd name="T7" fmla="*/ 9 h 13"/>
                <a:gd name="T8" fmla="*/ 5 w 9"/>
                <a:gd name="T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3">
                  <a:moveTo>
                    <a:pt x="5" y="12"/>
                  </a:moveTo>
                  <a:cubicBezTo>
                    <a:pt x="5" y="9"/>
                    <a:pt x="8" y="6"/>
                    <a:pt x="8" y="3"/>
                  </a:cubicBezTo>
                  <a:cubicBezTo>
                    <a:pt x="5" y="0"/>
                    <a:pt x="2" y="0"/>
                    <a:pt x="0" y="0"/>
                  </a:cubicBezTo>
                  <a:cubicBezTo>
                    <a:pt x="0" y="3"/>
                    <a:pt x="0" y="6"/>
                    <a:pt x="2" y="9"/>
                  </a:cubicBezTo>
                  <a:lnTo>
                    <a:pt x="5" y="1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9" name="Freeform 530"/>
            <p:cNvSpPr>
              <a:spLocks noChangeArrowheads="1"/>
            </p:cNvSpPr>
            <p:nvPr/>
          </p:nvSpPr>
          <p:spPr bwMode="auto">
            <a:xfrm>
              <a:off x="3832225" y="2746375"/>
              <a:ext cx="3175" cy="4763"/>
            </a:xfrm>
            <a:custGeom>
              <a:avLst/>
              <a:gdLst>
                <a:gd name="T0" fmla="*/ 9 w 10"/>
                <a:gd name="T1" fmla="*/ 0 h 13"/>
                <a:gd name="T2" fmla="*/ 3 w 10"/>
                <a:gd name="T3" fmla="*/ 0 h 13"/>
                <a:gd name="T4" fmla="*/ 0 w 10"/>
                <a:gd name="T5" fmla="*/ 12 h 13"/>
                <a:gd name="T6" fmla="*/ 9 w 1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9" y="0"/>
                  </a:moveTo>
                  <a:cubicBezTo>
                    <a:pt x="6" y="0"/>
                    <a:pt x="6" y="0"/>
                    <a:pt x="3" y="0"/>
                  </a:cubicBezTo>
                  <a:cubicBezTo>
                    <a:pt x="3" y="3"/>
                    <a:pt x="0" y="9"/>
                    <a:pt x="0" y="12"/>
                  </a:cubicBezTo>
                  <a:cubicBezTo>
                    <a:pt x="6" y="12"/>
                    <a:pt x="9" y="6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0" name="Freeform 531"/>
            <p:cNvSpPr>
              <a:spLocks noChangeArrowheads="1"/>
            </p:cNvSpPr>
            <p:nvPr/>
          </p:nvSpPr>
          <p:spPr bwMode="auto">
            <a:xfrm>
              <a:off x="3892550" y="2209800"/>
              <a:ext cx="3175" cy="4763"/>
            </a:xfrm>
            <a:custGeom>
              <a:avLst/>
              <a:gdLst>
                <a:gd name="T0" fmla="*/ 8 w 9"/>
                <a:gd name="T1" fmla="*/ 3 h 12"/>
                <a:gd name="T2" fmla="*/ 5 w 9"/>
                <a:gd name="T3" fmla="*/ 3 h 12"/>
                <a:gd name="T4" fmla="*/ 0 w 9"/>
                <a:gd name="T5" fmla="*/ 5 h 12"/>
                <a:gd name="T6" fmla="*/ 8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3"/>
                  </a:moveTo>
                  <a:lnTo>
                    <a:pt x="5" y="3"/>
                  </a:lnTo>
                  <a:cubicBezTo>
                    <a:pt x="0" y="0"/>
                    <a:pt x="0" y="3"/>
                    <a:pt x="0" y="5"/>
                  </a:cubicBezTo>
                  <a:cubicBezTo>
                    <a:pt x="2" y="11"/>
                    <a:pt x="5" y="5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1" name="Freeform 532"/>
            <p:cNvSpPr>
              <a:spLocks noChangeArrowheads="1"/>
            </p:cNvSpPr>
            <p:nvPr/>
          </p:nvSpPr>
          <p:spPr bwMode="auto">
            <a:xfrm>
              <a:off x="3895725" y="2386013"/>
              <a:ext cx="3175" cy="1587"/>
            </a:xfrm>
            <a:custGeom>
              <a:avLst/>
              <a:gdLst>
                <a:gd name="T0" fmla="*/ 3 w 7"/>
                <a:gd name="T1" fmla="*/ 5 h 6"/>
                <a:gd name="T2" fmla="*/ 0 w 7"/>
                <a:gd name="T3" fmla="*/ 0 h 6"/>
                <a:gd name="T4" fmla="*/ 0 w 7"/>
                <a:gd name="T5" fmla="*/ 3 h 6"/>
                <a:gd name="T6" fmla="*/ 3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3" y="5"/>
                  </a:moveTo>
                  <a:cubicBezTo>
                    <a:pt x="6" y="3"/>
                    <a:pt x="3" y="0"/>
                    <a:pt x="0" y="0"/>
                  </a:cubicBezTo>
                  <a:lnTo>
                    <a:pt x="0" y="3"/>
                  </a:lnTo>
                  <a:lnTo>
                    <a:pt x="3" y="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2" name="Freeform 533"/>
            <p:cNvSpPr>
              <a:spLocks noChangeArrowheads="1"/>
            </p:cNvSpPr>
            <p:nvPr/>
          </p:nvSpPr>
          <p:spPr bwMode="auto">
            <a:xfrm>
              <a:off x="3819525" y="2767013"/>
              <a:ext cx="4763" cy="4762"/>
            </a:xfrm>
            <a:custGeom>
              <a:avLst/>
              <a:gdLst>
                <a:gd name="T0" fmla="*/ 6 w 15"/>
                <a:gd name="T1" fmla="*/ 0 h 13"/>
                <a:gd name="T2" fmla="*/ 6 w 15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6" y="0"/>
                  </a:moveTo>
                  <a:cubicBezTo>
                    <a:pt x="0" y="12"/>
                    <a:pt x="14" y="9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3" name="Freeform 534"/>
            <p:cNvSpPr>
              <a:spLocks noChangeArrowheads="1"/>
            </p:cNvSpPr>
            <p:nvPr/>
          </p:nvSpPr>
          <p:spPr bwMode="auto">
            <a:xfrm>
              <a:off x="3894138" y="2805113"/>
              <a:ext cx="3175" cy="1587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0 h 6"/>
                <a:gd name="T4" fmla="*/ 3 w 7"/>
                <a:gd name="T5" fmla="*/ 0 h 6"/>
                <a:gd name="T6" fmla="*/ 0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cubicBezTo>
                    <a:pt x="0" y="3"/>
                    <a:pt x="3" y="3"/>
                    <a:pt x="6" y="0"/>
                  </a:cubicBezTo>
                  <a:lnTo>
                    <a:pt x="3" y="0"/>
                  </a:lnTo>
                  <a:cubicBezTo>
                    <a:pt x="0" y="0"/>
                    <a:pt x="0" y="3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4" name="Freeform 535"/>
            <p:cNvSpPr>
              <a:spLocks noChangeArrowheads="1"/>
            </p:cNvSpPr>
            <p:nvPr/>
          </p:nvSpPr>
          <p:spPr bwMode="auto">
            <a:xfrm>
              <a:off x="3890963" y="2276475"/>
              <a:ext cx="1587" cy="1588"/>
            </a:xfrm>
            <a:custGeom>
              <a:avLst/>
              <a:gdLst>
                <a:gd name="T0" fmla="*/ 3 w 4"/>
                <a:gd name="T1" fmla="*/ 3 h 4"/>
                <a:gd name="T2" fmla="*/ 0 w 4"/>
                <a:gd name="T3" fmla="*/ 0 h 4"/>
                <a:gd name="T4" fmla="*/ 3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lnTo>
                    <a:pt x="0" y="0"/>
                  </a:lnTo>
                  <a:cubicBezTo>
                    <a:pt x="0" y="0"/>
                    <a:pt x="0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5" name="Freeform 536"/>
            <p:cNvSpPr>
              <a:spLocks noChangeArrowheads="1"/>
            </p:cNvSpPr>
            <p:nvPr/>
          </p:nvSpPr>
          <p:spPr bwMode="auto">
            <a:xfrm>
              <a:off x="3897313" y="2457450"/>
              <a:ext cx="1587" cy="1588"/>
            </a:xfrm>
            <a:custGeom>
              <a:avLst/>
              <a:gdLst>
                <a:gd name="T0" fmla="*/ 3 w 4"/>
                <a:gd name="T1" fmla="*/ 3 h 4"/>
                <a:gd name="T2" fmla="*/ 3 w 4"/>
                <a:gd name="T3" fmla="*/ 0 h 4"/>
                <a:gd name="T4" fmla="*/ 0 w 4"/>
                <a:gd name="T5" fmla="*/ 0 h 4"/>
                <a:gd name="T6" fmla="*/ 3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6" name="Freeform 537"/>
            <p:cNvSpPr>
              <a:spLocks noChangeArrowheads="1"/>
            </p:cNvSpPr>
            <p:nvPr/>
          </p:nvSpPr>
          <p:spPr bwMode="auto">
            <a:xfrm>
              <a:off x="3898900" y="2724150"/>
              <a:ext cx="1588" cy="1588"/>
            </a:xfrm>
            <a:custGeom>
              <a:avLst/>
              <a:gdLst>
                <a:gd name="T0" fmla="*/ 3 w 4"/>
                <a:gd name="T1" fmla="*/ 3 h 4"/>
                <a:gd name="T2" fmla="*/ 3 w 4"/>
                <a:gd name="T3" fmla="*/ 0 h 4"/>
                <a:gd name="T4" fmla="*/ 3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lnTo>
                    <a:pt x="3" y="0"/>
                  </a:lnTo>
                  <a:cubicBezTo>
                    <a:pt x="3" y="3"/>
                    <a:pt x="0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7" name="Freeform 538"/>
            <p:cNvSpPr>
              <a:spLocks noChangeArrowheads="1"/>
            </p:cNvSpPr>
            <p:nvPr/>
          </p:nvSpPr>
          <p:spPr bwMode="auto">
            <a:xfrm>
              <a:off x="3897313" y="2728913"/>
              <a:ext cx="3175" cy="4762"/>
            </a:xfrm>
            <a:custGeom>
              <a:avLst/>
              <a:gdLst>
                <a:gd name="T0" fmla="*/ 0 w 9"/>
                <a:gd name="T1" fmla="*/ 9 h 12"/>
                <a:gd name="T2" fmla="*/ 8 w 9"/>
                <a:gd name="T3" fmla="*/ 3 h 12"/>
                <a:gd name="T4" fmla="*/ 3 w 9"/>
                <a:gd name="T5" fmla="*/ 0 h 12"/>
                <a:gd name="T6" fmla="*/ 0 w 9"/>
                <a:gd name="T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9"/>
                  </a:moveTo>
                  <a:cubicBezTo>
                    <a:pt x="5" y="11"/>
                    <a:pt x="8" y="6"/>
                    <a:pt x="8" y="3"/>
                  </a:cubicBezTo>
                  <a:cubicBezTo>
                    <a:pt x="5" y="3"/>
                    <a:pt x="5" y="3"/>
                    <a:pt x="3" y="0"/>
                  </a:cubicBezTo>
                  <a:cubicBezTo>
                    <a:pt x="5" y="6"/>
                    <a:pt x="3" y="9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8" name="Freeform 539"/>
            <p:cNvSpPr>
              <a:spLocks noChangeArrowheads="1"/>
            </p:cNvSpPr>
            <p:nvPr/>
          </p:nvSpPr>
          <p:spPr bwMode="auto">
            <a:xfrm>
              <a:off x="3884613" y="2255838"/>
              <a:ext cx="6350" cy="6350"/>
            </a:xfrm>
            <a:custGeom>
              <a:avLst/>
              <a:gdLst>
                <a:gd name="T0" fmla="*/ 11 w 18"/>
                <a:gd name="T1" fmla="*/ 0 h 18"/>
                <a:gd name="T2" fmla="*/ 0 w 18"/>
                <a:gd name="T3" fmla="*/ 11 h 18"/>
                <a:gd name="T4" fmla="*/ 8 w 18"/>
                <a:gd name="T5" fmla="*/ 17 h 18"/>
                <a:gd name="T6" fmla="*/ 11 w 18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cubicBezTo>
                    <a:pt x="3" y="0"/>
                    <a:pt x="0" y="3"/>
                    <a:pt x="0" y="11"/>
                  </a:cubicBezTo>
                  <a:cubicBezTo>
                    <a:pt x="3" y="11"/>
                    <a:pt x="5" y="14"/>
                    <a:pt x="8" y="17"/>
                  </a:cubicBezTo>
                  <a:cubicBezTo>
                    <a:pt x="11" y="11"/>
                    <a:pt x="17" y="5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9" name="Freeform 540"/>
            <p:cNvSpPr>
              <a:spLocks noChangeArrowheads="1"/>
            </p:cNvSpPr>
            <p:nvPr/>
          </p:nvSpPr>
          <p:spPr bwMode="auto">
            <a:xfrm>
              <a:off x="3868738" y="2430463"/>
              <a:ext cx="4762" cy="6350"/>
            </a:xfrm>
            <a:custGeom>
              <a:avLst/>
              <a:gdLst>
                <a:gd name="T0" fmla="*/ 5 w 15"/>
                <a:gd name="T1" fmla="*/ 0 h 18"/>
                <a:gd name="T2" fmla="*/ 0 w 15"/>
                <a:gd name="T3" fmla="*/ 11 h 18"/>
                <a:gd name="T4" fmla="*/ 14 w 15"/>
                <a:gd name="T5" fmla="*/ 17 h 18"/>
                <a:gd name="T6" fmla="*/ 5 w 15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8">
                  <a:moveTo>
                    <a:pt x="5" y="0"/>
                  </a:moveTo>
                  <a:cubicBezTo>
                    <a:pt x="3" y="3"/>
                    <a:pt x="0" y="6"/>
                    <a:pt x="0" y="11"/>
                  </a:cubicBezTo>
                  <a:cubicBezTo>
                    <a:pt x="3" y="14"/>
                    <a:pt x="8" y="17"/>
                    <a:pt x="14" y="17"/>
                  </a:cubicBezTo>
                  <a:cubicBezTo>
                    <a:pt x="8" y="8"/>
                    <a:pt x="5" y="6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0" name="Freeform 541"/>
            <p:cNvSpPr>
              <a:spLocks noChangeArrowheads="1"/>
            </p:cNvSpPr>
            <p:nvPr/>
          </p:nvSpPr>
          <p:spPr bwMode="auto">
            <a:xfrm>
              <a:off x="3873500" y="2433638"/>
              <a:ext cx="4763" cy="3175"/>
            </a:xfrm>
            <a:custGeom>
              <a:avLst/>
              <a:gdLst>
                <a:gd name="T0" fmla="*/ 0 w 12"/>
                <a:gd name="T1" fmla="*/ 6 h 7"/>
                <a:gd name="T2" fmla="*/ 11 w 12"/>
                <a:gd name="T3" fmla="*/ 3 h 7"/>
                <a:gd name="T4" fmla="*/ 0 w 12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7">
                  <a:moveTo>
                    <a:pt x="0" y="6"/>
                  </a:moveTo>
                  <a:cubicBezTo>
                    <a:pt x="5" y="6"/>
                    <a:pt x="8" y="6"/>
                    <a:pt x="11" y="3"/>
                  </a:cubicBezTo>
                  <a:cubicBezTo>
                    <a:pt x="8" y="0"/>
                    <a:pt x="3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1" name="Freeform 542"/>
            <p:cNvSpPr>
              <a:spLocks noChangeArrowheads="1"/>
            </p:cNvSpPr>
            <p:nvPr/>
          </p:nvSpPr>
          <p:spPr bwMode="auto">
            <a:xfrm>
              <a:off x="3862388" y="2568575"/>
              <a:ext cx="4762" cy="4763"/>
            </a:xfrm>
            <a:custGeom>
              <a:avLst/>
              <a:gdLst>
                <a:gd name="T0" fmla="*/ 11 w 12"/>
                <a:gd name="T1" fmla="*/ 9 h 13"/>
                <a:gd name="T2" fmla="*/ 8 w 12"/>
                <a:gd name="T3" fmla="*/ 0 h 13"/>
                <a:gd name="T4" fmla="*/ 5 w 12"/>
                <a:gd name="T5" fmla="*/ 6 h 13"/>
                <a:gd name="T6" fmla="*/ 0 w 12"/>
                <a:gd name="T7" fmla="*/ 6 h 13"/>
                <a:gd name="T8" fmla="*/ 0 w 12"/>
                <a:gd name="T9" fmla="*/ 12 h 13"/>
                <a:gd name="T10" fmla="*/ 11 w 12"/>
                <a:gd name="T1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3">
                  <a:moveTo>
                    <a:pt x="11" y="9"/>
                  </a:moveTo>
                  <a:cubicBezTo>
                    <a:pt x="11" y="6"/>
                    <a:pt x="11" y="3"/>
                    <a:pt x="8" y="0"/>
                  </a:cubicBezTo>
                  <a:cubicBezTo>
                    <a:pt x="8" y="3"/>
                    <a:pt x="5" y="3"/>
                    <a:pt x="5" y="6"/>
                  </a:cubicBezTo>
                  <a:lnTo>
                    <a:pt x="0" y="6"/>
                  </a:lnTo>
                  <a:cubicBezTo>
                    <a:pt x="0" y="9"/>
                    <a:pt x="0" y="9"/>
                    <a:pt x="0" y="12"/>
                  </a:cubicBezTo>
                  <a:lnTo>
                    <a:pt x="11" y="9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2" name="Freeform 543"/>
            <p:cNvSpPr>
              <a:spLocks noChangeArrowheads="1"/>
            </p:cNvSpPr>
            <p:nvPr/>
          </p:nvSpPr>
          <p:spPr bwMode="auto">
            <a:xfrm>
              <a:off x="3878263" y="2776538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6 w 7"/>
                <a:gd name="T3" fmla="*/ 0 h 6"/>
                <a:gd name="T4" fmla="*/ 3 w 7"/>
                <a:gd name="T5" fmla="*/ 0 h 6"/>
                <a:gd name="T6" fmla="*/ 6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lnTo>
                    <a:pt x="6" y="0"/>
                  </a:lnTo>
                  <a:lnTo>
                    <a:pt x="3" y="0"/>
                  </a:lnTo>
                  <a:cubicBezTo>
                    <a:pt x="0" y="3"/>
                    <a:pt x="0" y="5"/>
                    <a:pt x="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3" name="Freeform 544"/>
            <p:cNvSpPr>
              <a:spLocks noChangeArrowheads="1"/>
            </p:cNvSpPr>
            <p:nvPr/>
          </p:nvSpPr>
          <p:spPr bwMode="auto">
            <a:xfrm>
              <a:off x="3878263" y="2913063"/>
              <a:ext cx="1587" cy="1587"/>
            </a:xfrm>
            <a:custGeom>
              <a:avLst/>
              <a:gdLst>
                <a:gd name="T0" fmla="*/ 3 w 4"/>
                <a:gd name="T1" fmla="*/ 0 h 3"/>
                <a:gd name="T2" fmla="*/ 0 w 4"/>
                <a:gd name="T3" fmla="*/ 0 h 3"/>
                <a:gd name="T4" fmla="*/ 0 w 4"/>
                <a:gd name="T5" fmla="*/ 2 h 3"/>
                <a:gd name="T6" fmla="*/ 3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2"/>
                  </a:cubicBezTo>
                  <a:cubicBezTo>
                    <a:pt x="0" y="0"/>
                    <a:pt x="0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4" name="Freeform 545"/>
            <p:cNvSpPr>
              <a:spLocks noChangeArrowheads="1"/>
            </p:cNvSpPr>
            <p:nvPr/>
          </p:nvSpPr>
          <p:spPr bwMode="auto">
            <a:xfrm>
              <a:off x="3646488" y="2722563"/>
              <a:ext cx="9525" cy="9525"/>
            </a:xfrm>
            <a:custGeom>
              <a:avLst/>
              <a:gdLst>
                <a:gd name="T0" fmla="*/ 14 w 26"/>
                <a:gd name="T1" fmla="*/ 3 h 27"/>
                <a:gd name="T2" fmla="*/ 11 w 26"/>
                <a:gd name="T3" fmla="*/ 9 h 27"/>
                <a:gd name="T4" fmla="*/ 8 w 26"/>
                <a:gd name="T5" fmla="*/ 0 h 27"/>
                <a:gd name="T6" fmla="*/ 0 w 26"/>
                <a:gd name="T7" fmla="*/ 3 h 27"/>
                <a:gd name="T8" fmla="*/ 20 w 26"/>
                <a:gd name="T9" fmla="*/ 26 h 27"/>
                <a:gd name="T10" fmla="*/ 25 w 26"/>
                <a:gd name="T11" fmla="*/ 23 h 27"/>
                <a:gd name="T12" fmla="*/ 14 w 26"/>
                <a:gd name="T13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7">
                  <a:moveTo>
                    <a:pt x="14" y="3"/>
                  </a:moveTo>
                  <a:cubicBezTo>
                    <a:pt x="14" y="6"/>
                    <a:pt x="14" y="14"/>
                    <a:pt x="11" y="9"/>
                  </a:cubicBezTo>
                  <a:cubicBezTo>
                    <a:pt x="11" y="6"/>
                    <a:pt x="8" y="3"/>
                    <a:pt x="8" y="0"/>
                  </a:cubicBezTo>
                  <a:cubicBezTo>
                    <a:pt x="5" y="0"/>
                    <a:pt x="3" y="3"/>
                    <a:pt x="0" y="3"/>
                  </a:cubicBezTo>
                  <a:cubicBezTo>
                    <a:pt x="3" y="14"/>
                    <a:pt x="8" y="23"/>
                    <a:pt x="20" y="26"/>
                  </a:cubicBezTo>
                  <a:cubicBezTo>
                    <a:pt x="22" y="26"/>
                    <a:pt x="22" y="23"/>
                    <a:pt x="25" y="23"/>
                  </a:cubicBezTo>
                  <a:cubicBezTo>
                    <a:pt x="22" y="14"/>
                    <a:pt x="22" y="9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5" name="Freeform 546"/>
            <p:cNvSpPr>
              <a:spLocks noChangeArrowheads="1"/>
            </p:cNvSpPr>
            <p:nvPr/>
          </p:nvSpPr>
          <p:spPr bwMode="auto">
            <a:xfrm>
              <a:off x="3651250" y="2586038"/>
              <a:ext cx="6350" cy="4762"/>
            </a:xfrm>
            <a:custGeom>
              <a:avLst/>
              <a:gdLst>
                <a:gd name="T0" fmla="*/ 8 w 18"/>
                <a:gd name="T1" fmla="*/ 0 h 12"/>
                <a:gd name="T2" fmla="*/ 0 w 18"/>
                <a:gd name="T3" fmla="*/ 0 h 12"/>
                <a:gd name="T4" fmla="*/ 17 w 18"/>
                <a:gd name="T5" fmla="*/ 11 h 12"/>
                <a:gd name="T6" fmla="*/ 17 w 18"/>
                <a:gd name="T7" fmla="*/ 11 h 12"/>
                <a:gd name="T8" fmla="*/ 8 w 18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cubicBezTo>
                    <a:pt x="6" y="0"/>
                    <a:pt x="3" y="0"/>
                    <a:pt x="0" y="0"/>
                  </a:cubicBezTo>
                  <a:cubicBezTo>
                    <a:pt x="3" y="5"/>
                    <a:pt x="8" y="11"/>
                    <a:pt x="17" y="11"/>
                  </a:cubicBezTo>
                  <a:lnTo>
                    <a:pt x="17" y="11"/>
                  </a:lnTo>
                  <a:cubicBezTo>
                    <a:pt x="14" y="8"/>
                    <a:pt x="8" y="2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6" name="Freeform 547"/>
            <p:cNvSpPr>
              <a:spLocks noChangeArrowheads="1"/>
            </p:cNvSpPr>
            <p:nvPr/>
          </p:nvSpPr>
          <p:spPr bwMode="auto">
            <a:xfrm>
              <a:off x="3816350" y="2633663"/>
              <a:ext cx="4763" cy="4762"/>
            </a:xfrm>
            <a:custGeom>
              <a:avLst/>
              <a:gdLst>
                <a:gd name="T0" fmla="*/ 11 w 15"/>
                <a:gd name="T1" fmla="*/ 11 h 12"/>
                <a:gd name="T2" fmla="*/ 14 w 15"/>
                <a:gd name="T3" fmla="*/ 3 h 12"/>
                <a:gd name="T4" fmla="*/ 5 w 15"/>
                <a:gd name="T5" fmla="*/ 0 h 12"/>
                <a:gd name="T6" fmla="*/ 0 w 15"/>
                <a:gd name="T7" fmla="*/ 6 h 12"/>
                <a:gd name="T8" fmla="*/ 11 w 15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2">
                  <a:moveTo>
                    <a:pt x="11" y="11"/>
                  </a:moveTo>
                  <a:cubicBezTo>
                    <a:pt x="11" y="9"/>
                    <a:pt x="14" y="6"/>
                    <a:pt x="14" y="3"/>
                  </a:cubicBezTo>
                  <a:cubicBezTo>
                    <a:pt x="11" y="0"/>
                    <a:pt x="7" y="0"/>
                    <a:pt x="5" y="0"/>
                  </a:cubicBezTo>
                  <a:cubicBezTo>
                    <a:pt x="2" y="0"/>
                    <a:pt x="3" y="3"/>
                    <a:pt x="0" y="6"/>
                  </a:cubicBezTo>
                  <a:cubicBezTo>
                    <a:pt x="5" y="9"/>
                    <a:pt x="8" y="9"/>
                    <a:pt x="11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7" name="Freeform 548"/>
            <p:cNvSpPr>
              <a:spLocks noChangeArrowheads="1"/>
            </p:cNvSpPr>
            <p:nvPr/>
          </p:nvSpPr>
          <p:spPr bwMode="auto">
            <a:xfrm>
              <a:off x="3644900" y="2582863"/>
              <a:ext cx="3175" cy="3175"/>
            </a:xfrm>
            <a:custGeom>
              <a:avLst/>
              <a:gdLst>
                <a:gd name="T0" fmla="*/ 8 w 9"/>
                <a:gd name="T1" fmla="*/ 0 h 7"/>
                <a:gd name="T2" fmla="*/ 0 w 9"/>
                <a:gd name="T3" fmla="*/ 6 h 7"/>
                <a:gd name="T4" fmla="*/ 8 w 9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8" y="0"/>
                  </a:moveTo>
                  <a:cubicBezTo>
                    <a:pt x="3" y="0"/>
                    <a:pt x="0" y="0"/>
                    <a:pt x="0" y="6"/>
                  </a:cubicBezTo>
                  <a:cubicBezTo>
                    <a:pt x="6" y="6"/>
                    <a:pt x="8" y="6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8" name="Freeform 549"/>
            <p:cNvSpPr>
              <a:spLocks noChangeArrowheads="1"/>
            </p:cNvSpPr>
            <p:nvPr/>
          </p:nvSpPr>
          <p:spPr bwMode="auto">
            <a:xfrm>
              <a:off x="3702050" y="2305050"/>
              <a:ext cx="3175" cy="3175"/>
            </a:xfrm>
            <a:custGeom>
              <a:avLst/>
              <a:gdLst>
                <a:gd name="T0" fmla="*/ 8 w 9"/>
                <a:gd name="T1" fmla="*/ 6 h 10"/>
                <a:gd name="T2" fmla="*/ 8 w 9"/>
                <a:gd name="T3" fmla="*/ 0 h 10"/>
                <a:gd name="T4" fmla="*/ 6 w 9"/>
                <a:gd name="T5" fmla="*/ 0 h 10"/>
                <a:gd name="T6" fmla="*/ 0 w 9"/>
                <a:gd name="T7" fmla="*/ 9 h 10"/>
                <a:gd name="T8" fmla="*/ 8 w 9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8" y="6"/>
                  </a:moveTo>
                  <a:cubicBezTo>
                    <a:pt x="8" y="6"/>
                    <a:pt x="8" y="3"/>
                    <a:pt x="8" y="0"/>
                  </a:cubicBezTo>
                  <a:lnTo>
                    <a:pt x="6" y="0"/>
                  </a:lnTo>
                  <a:cubicBezTo>
                    <a:pt x="6" y="3"/>
                    <a:pt x="0" y="3"/>
                    <a:pt x="0" y="9"/>
                  </a:cubicBezTo>
                  <a:cubicBezTo>
                    <a:pt x="3" y="9"/>
                    <a:pt x="6" y="9"/>
                    <a:pt x="8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9" name="Freeform 550"/>
            <p:cNvSpPr>
              <a:spLocks noChangeArrowheads="1"/>
            </p:cNvSpPr>
            <p:nvPr/>
          </p:nvSpPr>
          <p:spPr bwMode="auto">
            <a:xfrm>
              <a:off x="3700463" y="2397125"/>
              <a:ext cx="3175" cy="4763"/>
            </a:xfrm>
            <a:custGeom>
              <a:avLst/>
              <a:gdLst>
                <a:gd name="T0" fmla="*/ 0 w 10"/>
                <a:gd name="T1" fmla="*/ 14 h 15"/>
                <a:gd name="T2" fmla="*/ 9 w 10"/>
                <a:gd name="T3" fmla="*/ 3 h 15"/>
                <a:gd name="T4" fmla="*/ 0 w 10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0" y="14"/>
                  </a:moveTo>
                  <a:cubicBezTo>
                    <a:pt x="6" y="14"/>
                    <a:pt x="9" y="11"/>
                    <a:pt x="9" y="3"/>
                  </a:cubicBezTo>
                  <a:cubicBezTo>
                    <a:pt x="0" y="0"/>
                    <a:pt x="0" y="5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0" name="Freeform 551"/>
            <p:cNvSpPr>
              <a:spLocks noChangeArrowheads="1"/>
            </p:cNvSpPr>
            <p:nvPr/>
          </p:nvSpPr>
          <p:spPr bwMode="auto">
            <a:xfrm>
              <a:off x="3641725" y="2584450"/>
              <a:ext cx="4763" cy="4763"/>
            </a:xfrm>
            <a:custGeom>
              <a:avLst/>
              <a:gdLst>
                <a:gd name="T0" fmla="*/ 0 w 12"/>
                <a:gd name="T1" fmla="*/ 8 h 15"/>
                <a:gd name="T2" fmla="*/ 8 w 12"/>
                <a:gd name="T3" fmla="*/ 14 h 15"/>
                <a:gd name="T4" fmla="*/ 11 w 12"/>
                <a:gd name="T5" fmla="*/ 0 h 15"/>
                <a:gd name="T6" fmla="*/ 0 w 12"/>
                <a:gd name="T7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0" y="8"/>
                  </a:moveTo>
                  <a:cubicBezTo>
                    <a:pt x="2" y="11"/>
                    <a:pt x="5" y="11"/>
                    <a:pt x="8" y="14"/>
                  </a:cubicBezTo>
                  <a:cubicBezTo>
                    <a:pt x="11" y="11"/>
                    <a:pt x="11" y="8"/>
                    <a:pt x="11" y="0"/>
                  </a:cubicBezTo>
                  <a:cubicBezTo>
                    <a:pt x="5" y="3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1" name="Freeform 552"/>
            <p:cNvSpPr>
              <a:spLocks noChangeArrowheads="1"/>
            </p:cNvSpPr>
            <p:nvPr/>
          </p:nvSpPr>
          <p:spPr bwMode="auto">
            <a:xfrm>
              <a:off x="3806825" y="2706688"/>
              <a:ext cx="3175" cy="4762"/>
            </a:xfrm>
            <a:custGeom>
              <a:avLst/>
              <a:gdLst>
                <a:gd name="T0" fmla="*/ 8 w 9"/>
                <a:gd name="T1" fmla="*/ 6 h 15"/>
                <a:gd name="T2" fmla="*/ 0 w 9"/>
                <a:gd name="T3" fmla="*/ 0 h 15"/>
                <a:gd name="T4" fmla="*/ 8 w 9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8" y="6"/>
                  </a:moveTo>
                  <a:cubicBezTo>
                    <a:pt x="5" y="6"/>
                    <a:pt x="2" y="3"/>
                    <a:pt x="0" y="0"/>
                  </a:cubicBezTo>
                  <a:cubicBezTo>
                    <a:pt x="0" y="6"/>
                    <a:pt x="8" y="14"/>
                    <a:pt x="8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2" name="Freeform 553"/>
            <p:cNvSpPr>
              <a:spLocks noChangeArrowheads="1"/>
            </p:cNvSpPr>
            <p:nvPr/>
          </p:nvSpPr>
          <p:spPr bwMode="auto">
            <a:xfrm>
              <a:off x="3800475" y="2209800"/>
              <a:ext cx="1588" cy="1588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0 h 4"/>
                <a:gd name="T4" fmla="*/ 0 w 3"/>
                <a:gd name="T5" fmla="*/ 0 h 4"/>
                <a:gd name="T6" fmla="*/ 2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2" y="0"/>
                    <a:pt x="0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3" name="Freeform 554"/>
            <p:cNvSpPr>
              <a:spLocks noChangeArrowheads="1"/>
            </p:cNvSpPr>
            <p:nvPr/>
          </p:nvSpPr>
          <p:spPr bwMode="auto">
            <a:xfrm>
              <a:off x="3802063" y="2951163"/>
              <a:ext cx="1587" cy="3175"/>
            </a:xfrm>
            <a:custGeom>
              <a:avLst/>
              <a:gdLst>
                <a:gd name="T0" fmla="*/ 0 w 4"/>
                <a:gd name="T1" fmla="*/ 0 h 7"/>
                <a:gd name="T2" fmla="*/ 0 w 4"/>
                <a:gd name="T3" fmla="*/ 6 h 7"/>
                <a:gd name="T4" fmla="*/ 3 w 4"/>
                <a:gd name="T5" fmla="*/ 6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cubicBezTo>
                    <a:pt x="0" y="3"/>
                    <a:pt x="0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4" name="Freeform 555"/>
            <p:cNvSpPr>
              <a:spLocks noChangeArrowheads="1"/>
            </p:cNvSpPr>
            <p:nvPr/>
          </p:nvSpPr>
          <p:spPr bwMode="auto">
            <a:xfrm>
              <a:off x="3813175" y="2487613"/>
              <a:ext cx="3175" cy="1587"/>
            </a:xfrm>
            <a:custGeom>
              <a:avLst/>
              <a:gdLst>
                <a:gd name="T0" fmla="*/ 8 w 9"/>
                <a:gd name="T1" fmla="*/ 0 h 4"/>
                <a:gd name="T2" fmla="*/ 0 w 9"/>
                <a:gd name="T3" fmla="*/ 0 h 4"/>
                <a:gd name="T4" fmla="*/ 0 w 9"/>
                <a:gd name="T5" fmla="*/ 3 h 4"/>
                <a:gd name="T6" fmla="*/ 5 w 9"/>
                <a:gd name="T7" fmla="*/ 3 h 4"/>
                <a:gd name="T8" fmla="*/ 8 w 9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8" y="0"/>
                  </a:moveTo>
                  <a:lnTo>
                    <a:pt x="0" y="0"/>
                  </a:lnTo>
                  <a:lnTo>
                    <a:pt x="0" y="3"/>
                  </a:lnTo>
                  <a:cubicBezTo>
                    <a:pt x="2" y="3"/>
                    <a:pt x="5" y="3"/>
                    <a:pt x="5" y="3"/>
                  </a:cubicBezTo>
                  <a:cubicBezTo>
                    <a:pt x="8" y="3"/>
                    <a:pt x="8" y="0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5" name="Freeform 556"/>
            <p:cNvSpPr>
              <a:spLocks noChangeArrowheads="1"/>
            </p:cNvSpPr>
            <p:nvPr/>
          </p:nvSpPr>
          <p:spPr bwMode="auto">
            <a:xfrm>
              <a:off x="3816350" y="2622550"/>
              <a:ext cx="1588" cy="1588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3 h 4"/>
                <a:gd name="T4" fmla="*/ 0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3"/>
                  </a:lnTo>
                  <a:cubicBezTo>
                    <a:pt x="0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6" name="Freeform 557"/>
            <p:cNvSpPr>
              <a:spLocks noChangeArrowheads="1"/>
            </p:cNvSpPr>
            <p:nvPr/>
          </p:nvSpPr>
          <p:spPr bwMode="auto">
            <a:xfrm>
              <a:off x="3816350" y="2479675"/>
              <a:ext cx="3175" cy="4763"/>
            </a:xfrm>
            <a:custGeom>
              <a:avLst/>
              <a:gdLst>
                <a:gd name="T0" fmla="*/ 8 w 9"/>
                <a:gd name="T1" fmla="*/ 14 h 15"/>
                <a:gd name="T2" fmla="*/ 3 w 9"/>
                <a:gd name="T3" fmla="*/ 0 h 15"/>
                <a:gd name="T4" fmla="*/ 3 w 9"/>
                <a:gd name="T5" fmla="*/ 0 h 15"/>
                <a:gd name="T6" fmla="*/ 3 w 9"/>
                <a:gd name="T7" fmla="*/ 12 h 15"/>
                <a:gd name="T8" fmla="*/ 8 w 9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8" y="14"/>
                  </a:moveTo>
                  <a:cubicBezTo>
                    <a:pt x="3" y="12"/>
                    <a:pt x="3" y="6"/>
                    <a:pt x="3" y="0"/>
                  </a:cubicBezTo>
                  <a:lnTo>
                    <a:pt x="3" y="0"/>
                  </a:lnTo>
                  <a:cubicBezTo>
                    <a:pt x="0" y="3"/>
                    <a:pt x="0" y="9"/>
                    <a:pt x="3" y="12"/>
                  </a:cubicBezTo>
                  <a:cubicBezTo>
                    <a:pt x="3" y="12"/>
                    <a:pt x="6" y="14"/>
                    <a:pt x="8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7" name="Freeform 558"/>
            <p:cNvSpPr>
              <a:spLocks noChangeArrowheads="1"/>
            </p:cNvSpPr>
            <p:nvPr/>
          </p:nvSpPr>
          <p:spPr bwMode="auto">
            <a:xfrm>
              <a:off x="3811588" y="2636838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3 w 4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0" y="0"/>
                    <a:pt x="0" y="0"/>
                  </a:cubicBezTo>
                  <a:cubicBezTo>
                    <a:pt x="0" y="3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8" name="Freeform 559"/>
            <p:cNvSpPr>
              <a:spLocks noChangeArrowheads="1"/>
            </p:cNvSpPr>
            <p:nvPr/>
          </p:nvSpPr>
          <p:spPr bwMode="auto">
            <a:xfrm>
              <a:off x="3783013" y="2200275"/>
              <a:ext cx="9525" cy="12700"/>
            </a:xfrm>
            <a:custGeom>
              <a:avLst/>
              <a:gdLst>
                <a:gd name="T0" fmla="*/ 22 w 26"/>
                <a:gd name="T1" fmla="*/ 20 h 35"/>
                <a:gd name="T2" fmla="*/ 22 w 26"/>
                <a:gd name="T3" fmla="*/ 0 h 35"/>
                <a:gd name="T4" fmla="*/ 0 w 26"/>
                <a:gd name="T5" fmla="*/ 31 h 35"/>
                <a:gd name="T6" fmla="*/ 22 w 26"/>
                <a:gd name="T7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5">
                  <a:moveTo>
                    <a:pt x="22" y="20"/>
                  </a:moveTo>
                  <a:cubicBezTo>
                    <a:pt x="19" y="9"/>
                    <a:pt x="25" y="6"/>
                    <a:pt x="22" y="0"/>
                  </a:cubicBezTo>
                  <a:cubicBezTo>
                    <a:pt x="8" y="6"/>
                    <a:pt x="0" y="17"/>
                    <a:pt x="0" y="31"/>
                  </a:cubicBezTo>
                  <a:cubicBezTo>
                    <a:pt x="8" y="34"/>
                    <a:pt x="5" y="17"/>
                    <a:pt x="22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9" name="Freeform 560"/>
            <p:cNvSpPr>
              <a:spLocks noChangeArrowheads="1"/>
            </p:cNvSpPr>
            <p:nvPr/>
          </p:nvSpPr>
          <p:spPr bwMode="auto">
            <a:xfrm>
              <a:off x="3900488" y="2662238"/>
              <a:ext cx="4762" cy="4762"/>
            </a:xfrm>
            <a:custGeom>
              <a:avLst/>
              <a:gdLst>
                <a:gd name="T0" fmla="*/ 11 w 12"/>
                <a:gd name="T1" fmla="*/ 6 h 12"/>
                <a:gd name="T2" fmla="*/ 9 w 12"/>
                <a:gd name="T3" fmla="*/ 0 h 12"/>
                <a:gd name="T4" fmla="*/ 0 w 12"/>
                <a:gd name="T5" fmla="*/ 3 h 12"/>
                <a:gd name="T6" fmla="*/ 11 w 12"/>
                <a:gd name="T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11" y="6"/>
                  </a:moveTo>
                  <a:cubicBezTo>
                    <a:pt x="9" y="6"/>
                    <a:pt x="9" y="3"/>
                    <a:pt x="9" y="0"/>
                  </a:cubicBezTo>
                  <a:cubicBezTo>
                    <a:pt x="6" y="0"/>
                    <a:pt x="3" y="3"/>
                    <a:pt x="0" y="3"/>
                  </a:cubicBezTo>
                  <a:cubicBezTo>
                    <a:pt x="6" y="3"/>
                    <a:pt x="9" y="11"/>
                    <a:pt x="11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0" name="Freeform 561"/>
            <p:cNvSpPr>
              <a:spLocks noChangeArrowheads="1"/>
            </p:cNvSpPr>
            <p:nvPr/>
          </p:nvSpPr>
          <p:spPr bwMode="auto">
            <a:xfrm>
              <a:off x="3798888" y="2203450"/>
              <a:ext cx="1587" cy="3175"/>
            </a:xfrm>
            <a:custGeom>
              <a:avLst/>
              <a:gdLst>
                <a:gd name="T0" fmla="*/ 0 w 4"/>
                <a:gd name="T1" fmla="*/ 8 h 9"/>
                <a:gd name="T2" fmla="*/ 3 w 4"/>
                <a:gd name="T3" fmla="*/ 3 h 9"/>
                <a:gd name="T4" fmla="*/ 0 w 4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9">
                  <a:moveTo>
                    <a:pt x="0" y="8"/>
                  </a:moveTo>
                  <a:cubicBezTo>
                    <a:pt x="0" y="6"/>
                    <a:pt x="3" y="6"/>
                    <a:pt x="3" y="3"/>
                  </a:cubicBezTo>
                  <a:cubicBezTo>
                    <a:pt x="3" y="0"/>
                    <a:pt x="0" y="3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1" name="Freeform 562"/>
            <p:cNvSpPr>
              <a:spLocks noChangeArrowheads="1"/>
            </p:cNvSpPr>
            <p:nvPr/>
          </p:nvSpPr>
          <p:spPr bwMode="auto">
            <a:xfrm>
              <a:off x="3789363" y="2490788"/>
              <a:ext cx="1587" cy="3175"/>
            </a:xfrm>
            <a:custGeom>
              <a:avLst/>
              <a:gdLst>
                <a:gd name="T0" fmla="*/ 0 w 6"/>
                <a:gd name="T1" fmla="*/ 3 h 10"/>
                <a:gd name="T2" fmla="*/ 0 w 6"/>
                <a:gd name="T3" fmla="*/ 9 h 10"/>
                <a:gd name="T4" fmla="*/ 5 w 6"/>
                <a:gd name="T5" fmla="*/ 3 h 10"/>
                <a:gd name="T6" fmla="*/ 5 w 6"/>
                <a:gd name="T7" fmla="*/ 3 h 10"/>
                <a:gd name="T8" fmla="*/ 0 w 6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0" y="3"/>
                  </a:moveTo>
                  <a:cubicBezTo>
                    <a:pt x="0" y="6"/>
                    <a:pt x="0" y="6"/>
                    <a:pt x="0" y="9"/>
                  </a:cubicBezTo>
                  <a:cubicBezTo>
                    <a:pt x="2" y="9"/>
                    <a:pt x="2" y="6"/>
                    <a:pt x="5" y="3"/>
                  </a:cubicBezTo>
                  <a:lnTo>
                    <a:pt x="5" y="3"/>
                  </a:lnTo>
                  <a:cubicBezTo>
                    <a:pt x="5" y="3"/>
                    <a:pt x="2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2" name="Freeform 563"/>
            <p:cNvSpPr>
              <a:spLocks noChangeArrowheads="1"/>
            </p:cNvSpPr>
            <p:nvPr/>
          </p:nvSpPr>
          <p:spPr bwMode="auto">
            <a:xfrm>
              <a:off x="4192588" y="2154238"/>
              <a:ext cx="3175" cy="3175"/>
            </a:xfrm>
            <a:custGeom>
              <a:avLst/>
              <a:gdLst>
                <a:gd name="T0" fmla="*/ 8 w 9"/>
                <a:gd name="T1" fmla="*/ 0 h 9"/>
                <a:gd name="T2" fmla="*/ 2 w 9"/>
                <a:gd name="T3" fmla="*/ 0 h 9"/>
                <a:gd name="T4" fmla="*/ 0 w 9"/>
                <a:gd name="T5" fmla="*/ 8 h 9"/>
                <a:gd name="T6" fmla="*/ 8 w 9"/>
                <a:gd name="T7" fmla="*/ 8 h 9"/>
                <a:gd name="T8" fmla="*/ 8 w 9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0"/>
                  </a:moveTo>
                  <a:lnTo>
                    <a:pt x="2" y="0"/>
                  </a:lnTo>
                  <a:cubicBezTo>
                    <a:pt x="2" y="2"/>
                    <a:pt x="0" y="2"/>
                    <a:pt x="0" y="8"/>
                  </a:cubicBezTo>
                  <a:lnTo>
                    <a:pt x="8" y="8"/>
                  </a:lnTo>
                  <a:lnTo>
                    <a:pt x="8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3" name="Freeform 564"/>
            <p:cNvSpPr>
              <a:spLocks noChangeArrowheads="1"/>
            </p:cNvSpPr>
            <p:nvPr/>
          </p:nvSpPr>
          <p:spPr bwMode="auto">
            <a:xfrm>
              <a:off x="4133850" y="2317750"/>
              <a:ext cx="1588" cy="1588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3 h 4"/>
                <a:gd name="T4" fmla="*/ 0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3"/>
                  </a:lnTo>
                  <a:cubicBezTo>
                    <a:pt x="0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4" name="Freeform 565"/>
            <p:cNvSpPr>
              <a:spLocks noChangeArrowheads="1"/>
            </p:cNvSpPr>
            <p:nvPr/>
          </p:nvSpPr>
          <p:spPr bwMode="auto">
            <a:xfrm>
              <a:off x="4133850" y="3076575"/>
              <a:ext cx="4763" cy="1588"/>
            </a:xfrm>
            <a:custGeom>
              <a:avLst/>
              <a:gdLst>
                <a:gd name="T0" fmla="*/ 0 w 15"/>
                <a:gd name="T1" fmla="*/ 3 h 6"/>
                <a:gd name="T2" fmla="*/ 14 w 15"/>
                <a:gd name="T3" fmla="*/ 5 h 6"/>
                <a:gd name="T4" fmla="*/ 0 w 15"/>
                <a:gd name="T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6">
                  <a:moveTo>
                    <a:pt x="0" y="3"/>
                  </a:moveTo>
                  <a:cubicBezTo>
                    <a:pt x="6" y="3"/>
                    <a:pt x="8" y="5"/>
                    <a:pt x="14" y="5"/>
                  </a:cubicBezTo>
                  <a:cubicBezTo>
                    <a:pt x="11" y="3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5" name="Freeform 566"/>
            <p:cNvSpPr>
              <a:spLocks noChangeArrowheads="1"/>
            </p:cNvSpPr>
            <p:nvPr/>
          </p:nvSpPr>
          <p:spPr bwMode="auto">
            <a:xfrm>
              <a:off x="4149725" y="2662238"/>
              <a:ext cx="4763" cy="3175"/>
            </a:xfrm>
            <a:custGeom>
              <a:avLst/>
              <a:gdLst>
                <a:gd name="T0" fmla="*/ 6 w 13"/>
                <a:gd name="T1" fmla="*/ 9 h 10"/>
                <a:gd name="T2" fmla="*/ 12 w 13"/>
                <a:gd name="T3" fmla="*/ 6 h 10"/>
                <a:gd name="T4" fmla="*/ 12 w 13"/>
                <a:gd name="T5" fmla="*/ 0 h 10"/>
                <a:gd name="T6" fmla="*/ 0 w 13"/>
                <a:gd name="T7" fmla="*/ 0 h 10"/>
                <a:gd name="T8" fmla="*/ 6 w 13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0">
                  <a:moveTo>
                    <a:pt x="6" y="9"/>
                  </a:moveTo>
                  <a:cubicBezTo>
                    <a:pt x="9" y="9"/>
                    <a:pt x="9" y="6"/>
                    <a:pt x="12" y="6"/>
                  </a:cubicBezTo>
                  <a:lnTo>
                    <a:pt x="12" y="0"/>
                  </a:lnTo>
                  <a:lnTo>
                    <a:pt x="0" y="0"/>
                  </a:lnTo>
                  <a:cubicBezTo>
                    <a:pt x="0" y="6"/>
                    <a:pt x="3" y="9"/>
                    <a:pt x="6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6" name="Freeform 567"/>
            <p:cNvSpPr>
              <a:spLocks noChangeArrowheads="1"/>
            </p:cNvSpPr>
            <p:nvPr/>
          </p:nvSpPr>
          <p:spPr bwMode="auto">
            <a:xfrm>
              <a:off x="4151313" y="2590800"/>
              <a:ext cx="3175" cy="4763"/>
            </a:xfrm>
            <a:custGeom>
              <a:avLst/>
              <a:gdLst>
                <a:gd name="T0" fmla="*/ 0 w 7"/>
                <a:gd name="T1" fmla="*/ 9 h 13"/>
                <a:gd name="T2" fmla="*/ 6 w 7"/>
                <a:gd name="T3" fmla="*/ 3 h 13"/>
                <a:gd name="T4" fmla="*/ 6 w 7"/>
                <a:gd name="T5" fmla="*/ 0 h 13"/>
                <a:gd name="T6" fmla="*/ 0 w 7"/>
                <a:gd name="T7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0" y="9"/>
                  </a:moveTo>
                  <a:cubicBezTo>
                    <a:pt x="6" y="12"/>
                    <a:pt x="6" y="6"/>
                    <a:pt x="6" y="3"/>
                  </a:cubicBezTo>
                  <a:cubicBezTo>
                    <a:pt x="6" y="3"/>
                    <a:pt x="6" y="3"/>
                    <a:pt x="6" y="0"/>
                  </a:cubicBezTo>
                  <a:cubicBezTo>
                    <a:pt x="3" y="0"/>
                    <a:pt x="0" y="3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7" name="Freeform 568"/>
            <p:cNvSpPr>
              <a:spLocks noChangeArrowheads="1"/>
            </p:cNvSpPr>
            <p:nvPr/>
          </p:nvSpPr>
          <p:spPr bwMode="auto">
            <a:xfrm>
              <a:off x="4152900" y="2674938"/>
              <a:ext cx="4763" cy="3175"/>
            </a:xfrm>
            <a:custGeom>
              <a:avLst/>
              <a:gdLst>
                <a:gd name="T0" fmla="*/ 14 w 15"/>
                <a:gd name="T1" fmla="*/ 0 h 9"/>
                <a:gd name="T2" fmla="*/ 5 w 15"/>
                <a:gd name="T3" fmla="*/ 0 h 9"/>
                <a:gd name="T4" fmla="*/ 2 w 15"/>
                <a:gd name="T5" fmla="*/ 5 h 9"/>
                <a:gd name="T6" fmla="*/ 2 w 15"/>
                <a:gd name="T7" fmla="*/ 5 h 9"/>
                <a:gd name="T8" fmla="*/ 14 w 1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9">
                  <a:moveTo>
                    <a:pt x="14" y="0"/>
                  </a:moveTo>
                  <a:cubicBezTo>
                    <a:pt x="11" y="0"/>
                    <a:pt x="8" y="0"/>
                    <a:pt x="5" y="0"/>
                  </a:cubicBezTo>
                  <a:cubicBezTo>
                    <a:pt x="2" y="0"/>
                    <a:pt x="0" y="3"/>
                    <a:pt x="2" y="5"/>
                  </a:cubicBezTo>
                  <a:lnTo>
                    <a:pt x="2" y="5"/>
                  </a:lnTo>
                  <a:cubicBezTo>
                    <a:pt x="5" y="8"/>
                    <a:pt x="11" y="5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8" name="Freeform 569"/>
            <p:cNvSpPr>
              <a:spLocks noChangeArrowheads="1"/>
            </p:cNvSpPr>
            <p:nvPr/>
          </p:nvSpPr>
          <p:spPr bwMode="auto">
            <a:xfrm>
              <a:off x="4156075" y="277653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3 w 4"/>
                <a:gd name="T3" fmla="*/ 3 h 4"/>
                <a:gd name="T4" fmla="*/ 3 w 4"/>
                <a:gd name="T5" fmla="*/ 0 h 4"/>
                <a:gd name="T6" fmla="*/ 0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9" name="Freeform 570"/>
            <p:cNvSpPr>
              <a:spLocks noChangeArrowheads="1"/>
            </p:cNvSpPr>
            <p:nvPr/>
          </p:nvSpPr>
          <p:spPr bwMode="auto">
            <a:xfrm>
              <a:off x="4133850" y="2990850"/>
              <a:ext cx="3175" cy="3175"/>
            </a:xfrm>
            <a:custGeom>
              <a:avLst/>
              <a:gdLst>
                <a:gd name="T0" fmla="*/ 8 w 9"/>
                <a:gd name="T1" fmla="*/ 6 h 7"/>
                <a:gd name="T2" fmla="*/ 0 w 9"/>
                <a:gd name="T3" fmla="*/ 0 h 7"/>
                <a:gd name="T4" fmla="*/ 8 w 9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8" y="6"/>
                  </a:moveTo>
                  <a:cubicBezTo>
                    <a:pt x="8" y="0"/>
                    <a:pt x="3" y="0"/>
                    <a:pt x="0" y="0"/>
                  </a:cubicBezTo>
                  <a:cubicBezTo>
                    <a:pt x="3" y="0"/>
                    <a:pt x="6" y="3"/>
                    <a:pt x="8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0" name="Freeform 571"/>
            <p:cNvSpPr>
              <a:spLocks noChangeArrowheads="1"/>
            </p:cNvSpPr>
            <p:nvPr/>
          </p:nvSpPr>
          <p:spPr bwMode="auto">
            <a:xfrm>
              <a:off x="4146550" y="2587625"/>
              <a:ext cx="4763" cy="1588"/>
            </a:xfrm>
            <a:custGeom>
              <a:avLst/>
              <a:gdLst>
                <a:gd name="T0" fmla="*/ 11 w 12"/>
                <a:gd name="T1" fmla="*/ 3 h 4"/>
                <a:gd name="T2" fmla="*/ 0 w 12"/>
                <a:gd name="T3" fmla="*/ 0 h 4"/>
                <a:gd name="T4" fmla="*/ 11 w 12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4">
                  <a:moveTo>
                    <a:pt x="11" y="3"/>
                  </a:moveTo>
                  <a:cubicBezTo>
                    <a:pt x="8" y="3"/>
                    <a:pt x="3" y="0"/>
                    <a:pt x="0" y="0"/>
                  </a:cubicBezTo>
                  <a:cubicBezTo>
                    <a:pt x="5" y="3"/>
                    <a:pt x="8" y="3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1" name="Freeform 572"/>
            <p:cNvSpPr>
              <a:spLocks noChangeArrowheads="1"/>
            </p:cNvSpPr>
            <p:nvPr/>
          </p:nvSpPr>
          <p:spPr bwMode="auto">
            <a:xfrm>
              <a:off x="4148138" y="2625725"/>
              <a:ext cx="4762" cy="3175"/>
            </a:xfrm>
            <a:custGeom>
              <a:avLst/>
              <a:gdLst>
                <a:gd name="T0" fmla="*/ 11 w 12"/>
                <a:gd name="T1" fmla="*/ 3 h 7"/>
                <a:gd name="T2" fmla="*/ 0 w 12"/>
                <a:gd name="T3" fmla="*/ 3 h 7"/>
                <a:gd name="T4" fmla="*/ 5 w 12"/>
                <a:gd name="T5" fmla="*/ 6 h 7"/>
                <a:gd name="T6" fmla="*/ 11 w 12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7">
                  <a:moveTo>
                    <a:pt x="11" y="3"/>
                  </a:moveTo>
                  <a:cubicBezTo>
                    <a:pt x="5" y="3"/>
                    <a:pt x="2" y="0"/>
                    <a:pt x="0" y="3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8" y="6"/>
                    <a:pt x="8" y="6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2" name="Freeform 573"/>
            <p:cNvSpPr>
              <a:spLocks noChangeArrowheads="1"/>
            </p:cNvSpPr>
            <p:nvPr/>
          </p:nvSpPr>
          <p:spPr bwMode="auto">
            <a:xfrm>
              <a:off x="4256088" y="2279650"/>
              <a:ext cx="4762" cy="4763"/>
            </a:xfrm>
            <a:custGeom>
              <a:avLst/>
              <a:gdLst>
                <a:gd name="T0" fmla="*/ 14 w 15"/>
                <a:gd name="T1" fmla="*/ 8 h 15"/>
                <a:gd name="T2" fmla="*/ 0 w 15"/>
                <a:gd name="T3" fmla="*/ 8 h 15"/>
                <a:gd name="T4" fmla="*/ 14 w 15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8"/>
                  </a:moveTo>
                  <a:cubicBezTo>
                    <a:pt x="11" y="5"/>
                    <a:pt x="2" y="0"/>
                    <a:pt x="0" y="8"/>
                  </a:cubicBezTo>
                  <a:cubicBezTo>
                    <a:pt x="0" y="8"/>
                    <a:pt x="11" y="14"/>
                    <a:pt x="14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3" name="Freeform 574"/>
            <p:cNvSpPr>
              <a:spLocks noChangeArrowheads="1"/>
            </p:cNvSpPr>
            <p:nvPr/>
          </p:nvSpPr>
          <p:spPr bwMode="auto">
            <a:xfrm>
              <a:off x="4159250" y="2157413"/>
              <a:ext cx="1588" cy="3175"/>
            </a:xfrm>
            <a:custGeom>
              <a:avLst/>
              <a:gdLst>
                <a:gd name="T0" fmla="*/ 0 w 4"/>
                <a:gd name="T1" fmla="*/ 3 h 10"/>
                <a:gd name="T2" fmla="*/ 3 w 4"/>
                <a:gd name="T3" fmla="*/ 0 h 10"/>
                <a:gd name="T4" fmla="*/ 0 w 4"/>
                <a:gd name="T5" fmla="*/ 0 h 10"/>
                <a:gd name="T6" fmla="*/ 0 w 4"/>
                <a:gd name="T7" fmla="*/ 9 h 10"/>
                <a:gd name="T8" fmla="*/ 3 w 4"/>
                <a:gd name="T9" fmla="*/ 9 h 10"/>
                <a:gd name="T10" fmla="*/ 0 w 4"/>
                <a:gd name="T1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0">
                  <a:moveTo>
                    <a:pt x="0" y="3"/>
                  </a:moveTo>
                  <a:cubicBezTo>
                    <a:pt x="0" y="3"/>
                    <a:pt x="0" y="0"/>
                    <a:pt x="3" y="0"/>
                  </a:cubicBezTo>
                  <a:lnTo>
                    <a:pt x="0" y="0"/>
                  </a:lnTo>
                  <a:lnTo>
                    <a:pt x="0" y="9"/>
                  </a:lnTo>
                  <a:lnTo>
                    <a:pt x="3" y="9"/>
                  </a:lnTo>
                  <a:cubicBezTo>
                    <a:pt x="0" y="6"/>
                    <a:pt x="0" y="6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4" name="Freeform 575"/>
            <p:cNvSpPr>
              <a:spLocks noChangeArrowheads="1"/>
            </p:cNvSpPr>
            <p:nvPr/>
          </p:nvSpPr>
          <p:spPr bwMode="auto">
            <a:xfrm>
              <a:off x="3873500" y="2511425"/>
              <a:ext cx="1588" cy="1588"/>
            </a:xfrm>
            <a:custGeom>
              <a:avLst/>
              <a:gdLst>
                <a:gd name="T0" fmla="*/ 5 w 6"/>
                <a:gd name="T1" fmla="*/ 0 h 6"/>
                <a:gd name="T2" fmla="*/ 0 w 6"/>
                <a:gd name="T3" fmla="*/ 2 h 6"/>
                <a:gd name="T4" fmla="*/ 3 w 6"/>
                <a:gd name="T5" fmla="*/ 5 h 6"/>
                <a:gd name="T6" fmla="*/ 5 w 6"/>
                <a:gd name="T7" fmla="*/ 5 h 6"/>
                <a:gd name="T8" fmla="*/ 5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0"/>
                  </a:moveTo>
                  <a:cubicBezTo>
                    <a:pt x="3" y="0"/>
                    <a:pt x="0" y="0"/>
                    <a:pt x="0" y="2"/>
                  </a:cubicBezTo>
                  <a:cubicBezTo>
                    <a:pt x="3" y="2"/>
                    <a:pt x="3" y="2"/>
                    <a:pt x="3" y="5"/>
                  </a:cubicBezTo>
                  <a:cubicBezTo>
                    <a:pt x="3" y="5"/>
                    <a:pt x="3" y="5"/>
                    <a:pt x="5" y="5"/>
                  </a:cubicBezTo>
                  <a:cubicBezTo>
                    <a:pt x="5" y="5"/>
                    <a:pt x="5" y="2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5" name="Freeform 576"/>
            <p:cNvSpPr>
              <a:spLocks noChangeArrowheads="1"/>
            </p:cNvSpPr>
            <p:nvPr/>
          </p:nvSpPr>
          <p:spPr bwMode="auto">
            <a:xfrm>
              <a:off x="4249738" y="2287588"/>
              <a:ext cx="1587" cy="1587"/>
            </a:xfrm>
            <a:custGeom>
              <a:avLst/>
              <a:gdLst>
                <a:gd name="T0" fmla="*/ 5 w 6"/>
                <a:gd name="T1" fmla="*/ 3 h 4"/>
                <a:gd name="T2" fmla="*/ 5 w 6"/>
                <a:gd name="T3" fmla="*/ 3 h 4"/>
                <a:gd name="T4" fmla="*/ 0 w 6"/>
                <a:gd name="T5" fmla="*/ 0 h 4"/>
                <a:gd name="T6" fmla="*/ 0 w 6"/>
                <a:gd name="T7" fmla="*/ 0 h 4"/>
                <a:gd name="T8" fmla="*/ 5 w 6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3" y="3"/>
                    <a:pt x="3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6" name="Freeform 577"/>
            <p:cNvSpPr>
              <a:spLocks noChangeArrowheads="1"/>
            </p:cNvSpPr>
            <p:nvPr/>
          </p:nvSpPr>
          <p:spPr bwMode="auto">
            <a:xfrm>
              <a:off x="4232275" y="3052763"/>
              <a:ext cx="7938" cy="3175"/>
            </a:xfrm>
            <a:custGeom>
              <a:avLst/>
              <a:gdLst>
                <a:gd name="T0" fmla="*/ 3 w 21"/>
                <a:gd name="T1" fmla="*/ 8 h 9"/>
                <a:gd name="T2" fmla="*/ 8 w 21"/>
                <a:gd name="T3" fmla="*/ 8 h 9"/>
                <a:gd name="T4" fmla="*/ 19 w 21"/>
                <a:gd name="T5" fmla="*/ 6 h 9"/>
                <a:gd name="T6" fmla="*/ 17 w 21"/>
                <a:gd name="T7" fmla="*/ 3 h 9"/>
                <a:gd name="T8" fmla="*/ 8 w 21"/>
                <a:gd name="T9" fmla="*/ 3 h 9"/>
                <a:gd name="T10" fmla="*/ 0 w 21"/>
                <a:gd name="T11" fmla="*/ 3 h 9"/>
                <a:gd name="T12" fmla="*/ 3 w 21"/>
                <a:gd name="T1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9">
                  <a:moveTo>
                    <a:pt x="3" y="8"/>
                  </a:moveTo>
                  <a:cubicBezTo>
                    <a:pt x="5" y="8"/>
                    <a:pt x="8" y="8"/>
                    <a:pt x="8" y="8"/>
                  </a:cubicBezTo>
                  <a:cubicBezTo>
                    <a:pt x="5" y="0"/>
                    <a:pt x="8" y="6"/>
                    <a:pt x="19" y="6"/>
                  </a:cubicBezTo>
                  <a:cubicBezTo>
                    <a:pt x="19" y="6"/>
                    <a:pt x="20" y="3"/>
                    <a:pt x="17" y="3"/>
                  </a:cubicBezTo>
                  <a:cubicBezTo>
                    <a:pt x="15" y="3"/>
                    <a:pt x="11" y="3"/>
                    <a:pt x="8" y="3"/>
                  </a:cubicBezTo>
                  <a:cubicBezTo>
                    <a:pt x="5" y="3"/>
                    <a:pt x="3" y="3"/>
                    <a:pt x="0" y="3"/>
                  </a:cubicBezTo>
                  <a:cubicBezTo>
                    <a:pt x="0" y="3"/>
                    <a:pt x="0" y="6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7" name="Freeform 578"/>
            <p:cNvSpPr>
              <a:spLocks noChangeArrowheads="1"/>
            </p:cNvSpPr>
            <p:nvPr/>
          </p:nvSpPr>
          <p:spPr bwMode="auto">
            <a:xfrm>
              <a:off x="4238625" y="2330450"/>
              <a:ext cx="4763" cy="3175"/>
            </a:xfrm>
            <a:custGeom>
              <a:avLst/>
              <a:gdLst>
                <a:gd name="T0" fmla="*/ 14 w 15"/>
                <a:gd name="T1" fmla="*/ 2 h 9"/>
                <a:gd name="T2" fmla="*/ 0 w 15"/>
                <a:gd name="T3" fmla="*/ 0 h 9"/>
                <a:gd name="T4" fmla="*/ 14 w 15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2"/>
                  </a:moveTo>
                  <a:cubicBezTo>
                    <a:pt x="11" y="0"/>
                    <a:pt x="5" y="0"/>
                    <a:pt x="0" y="0"/>
                  </a:cubicBezTo>
                  <a:cubicBezTo>
                    <a:pt x="0" y="5"/>
                    <a:pt x="14" y="8"/>
                    <a:pt x="14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8" name="Freeform 579"/>
            <p:cNvSpPr>
              <a:spLocks noChangeArrowheads="1"/>
            </p:cNvSpPr>
            <p:nvPr/>
          </p:nvSpPr>
          <p:spPr bwMode="auto">
            <a:xfrm>
              <a:off x="4248150" y="2432050"/>
              <a:ext cx="7938" cy="6350"/>
            </a:xfrm>
            <a:custGeom>
              <a:avLst/>
              <a:gdLst>
                <a:gd name="T0" fmla="*/ 20 w 21"/>
                <a:gd name="T1" fmla="*/ 8 h 18"/>
                <a:gd name="T2" fmla="*/ 20 w 21"/>
                <a:gd name="T3" fmla="*/ 8 h 18"/>
                <a:gd name="T4" fmla="*/ 3 w 21"/>
                <a:gd name="T5" fmla="*/ 0 h 18"/>
                <a:gd name="T6" fmla="*/ 0 w 21"/>
                <a:gd name="T7" fmla="*/ 11 h 18"/>
                <a:gd name="T8" fmla="*/ 3 w 21"/>
                <a:gd name="T9" fmla="*/ 17 h 18"/>
                <a:gd name="T10" fmla="*/ 20 w 21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8">
                  <a:moveTo>
                    <a:pt x="20" y="8"/>
                  </a:moveTo>
                  <a:lnTo>
                    <a:pt x="20" y="8"/>
                  </a:lnTo>
                  <a:cubicBezTo>
                    <a:pt x="17" y="3"/>
                    <a:pt x="8" y="0"/>
                    <a:pt x="3" y="0"/>
                  </a:cubicBezTo>
                  <a:cubicBezTo>
                    <a:pt x="3" y="3"/>
                    <a:pt x="3" y="8"/>
                    <a:pt x="0" y="11"/>
                  </a:cubicBezTo>
                  <a:cubicBezTo>
                    <a:pt x="0" y="14"/>
                    <a:pt x="3" y="14"/>
                    <a:pt x="3" y="17"/>
                  </a:cubicBezTo>
                  <a:cubicBezTo>
                    <a:pt x="8" y="14"/>
                    <a:pt x="14" y="11"/>
                    <a:pt x="2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9" name="Freeform 580"/>
            <p:cNvSpPr>
              <a:spLocks noChangeArrowheads="1"/>
            </p:cNvSpPr>
            <p:nvPr/>
          </p:nvSpPr>
          <p:spPr bwMode="auto">
            <a:xfrm>
              <a:off x="4187825" y="3073400"/>
              <a:ext cx="1588" cy="3175"/>
            </a:xfrm>
            <a:custGeom>
              <a:avLst/>
              <a:gdLst>
                <a:gd name="T0" fmla="*/ 0 w 6"/>
                <a:gd name="T1" fmla="*/ 5 h 9"/>
                <a:gd name="T2" fmla="*/ 2 w 6"/>
                <a:gd name="T3" fmla="*/ 8 h 9"/>
                <a:gd name="T4" fmla="*/ 5 w 6"/>
                <a:gd name="T5" fmla="*/ 2 h 9"/>
                <a:gd name="T6" fmla="*/ 0 w 6"/>
                <a:gd name="T7" fmla="*/ 0 h 9"/>
                <a:gd name="T8" fmla="*/ 0 w 6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0" y="5"/>
                  </a:moveTo>
                  <a:cubicBezTo>
                    <a:pt x="2" y="5"/>
                    <a:pt x="2" y="8"/>
                    <a:pt x="2" y="8"/>
                  </a:cubicBezTo>
                  <a:cubicBezTo>
                    <a:pt x="2" y="5"/>
                    <a:pt x="5" y="5"/>
                    <a:pt x="5" y="2"/>
                  </a:cubicBezTo>
                  <a:cubicBezTo>
                    <a:pt x="2" y="2"/>
                    <a:pt x="2" y="0"/>
                    <a:pt x="0" y="0"/>
                  </a:cubicBezTo>
                  <a:cubicBezTo>
                    <a:pt x="2" y="2"/>
                    <a:pt x="2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0" name="Freeform 581"/>
            <p:cNvSpPr>
              <a:spLocks noChangeArrowheads="1"/>
            </p:cNvSpPr>
            <p:nvPr/>
          </p:nvSpPr>
          <p:spPr bwMode="auto">
            <a:xfrm>
              <a:off x="4159250" y="2374900"/>
              <a:ext cx="1588" cy="3175"/>
            </a:xfrm>
            <a:custGeom>
              <a:avLst/>
              <a:gdLst>
                <a:gd name="T0" fmla="*/ 0 w 6"/>
                <a:gd name="T1" fmla="*/ 2 h 9"/>
                <a:gd name="T2" fmla="*/ 0 w 6"/>
                <a:gd name="T3" fmla="*/ 8 h 9"/>
                <a:gd name="T4" fmla="*/ 5 w 6"/>
                <a:gd name="T5" fmla="*/ 5 h 9"/>
                <a:gd name="T6" fmla="*/ 5 w 6"/>
                <a:gd name="T7" fmla="*/ 0 h 9"/>
                <a:gd name="T8" fmla="*/ 0 w 6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0" y="2"/>
                  </a:moveTo>
                  <a:cubicBezTo>
                    <a:pt x="0" y="5"/>
                    <a:pt x="0" y="8"/>
                    <a:pt x="0" y="8"/>
                  </a:cubicBezTo>
                  <a:cubicBezTo>
                    <a:pt x="3" y="8"/>
                    <a:pt x="5" y="5"/>
                    <a:pt x="5" y="5"/>
                  </a:cubicBezTo>
                  <a:lnTo>
                    <a:pt x="5" y="0"/>
                  </a:lnTo>
                  <a:cubicBezTo>
                    <a:pt x="5" y="2"/>
                    <a:pt x="3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1" name="Freeform 582"/>
            <p:cNvSpPr>
              <a:spLocks noChangeArrowheads="1"/>
            </p:cNvSpPr>
            <p:nvPr/>
          </p:nvSpPr>
          <p:spPr bwMode="auto">
            <a:xfrm>
              <a:off x="4167188" y="2455863"/>
              <a:ext cx="4762" cy="4762"/>
            </a:xfrm>
            <a:custGeom>
              <a:avLst/>
              <a:gdLst>
                <a:gd name="T0" fmla="*/ 0 w 12"/>
                <a:gd name="T1" fmla="*/ 9 h 15"/>
                <a:gd name="T2" fmla="*/ 3 w 12"/>
                <a:gd name="T3" fmla="*/ 14 h 15"/>
                <a:gd name="T4" fmla="*/ 3 w 12"/>
                <a:gd name="T5" fmla="*/ 14 h 15"/>
                <a:gd name="T6" fmla="*/ 11 w 12"/>
                <a:gd name="T7" fmla="*/ 9 h 15"/>
                <a:gd name="T8" fmla="*/ 11 w 12"/>
                <a:gd name="T9" fmla="*/ 6 h 15"/>
                <a:gd name="T10" fmla="*/ 3 w 12"/>
                <a:gd name="T11" fmla="*/ 0 h 15"/>
                <a:gd name="T12" fmla="*/ 0 w 12"/>
                <a:gd name="T13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">
                  <a:moveTo>
                    <a:pt x="0" y="9"/>
                  </a:moveTo>
                  <a:cubicBezTo>
                    <a:pt x="3" y="12"/>
                    <a:pt x="0" y="14"/>
                    <a:pt x="3" y="14"/>
                  </a:cubicBezTo>
                  <a:lnTo>
                    <a:pt x="3" y="14"/>
                  </a:lnTo>
                  <a:cubicBezTo>
                    <a:pt x="6" y="14"/>
                    <a:pt x="9" y="12"/>
                    <a:pt x="11" y="9"/>
                  </a:cubicBezTo>
                  <a:lnTo>
                    <a:pt x="11" y="6"/>
                  </a:lnTo>
                  <a:cubicBezTo>
                    <a:pt x="9" y="6"/>
                    <a:pt x="3" y="3"/>
                    <a:pt x="3" y="0"/>
                  </a:cubicBezTo>
                  <a:cubicBezTo>
                    <a:pt x="0" y="6"/>
                    <a:pt x="0" y="6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2" name="Freeform 583"/>
            <p:cNvSpPr>
              <a:spLocks noChangeArrowheads="1"/>
            </p:cNvSpPr>
            <p:nvPr/>
          </p:nvSpPr>
          <p:spPr bwMode="auto">
            <a:xfrm>
              <a:off x="4162425" y="2982913"/>
              <a:ext cx="7938" cy="6350"/>
            </a:xfrm>
            <a:custGeom>
              <a:avLst/>
              <a:gdLst>
                <a:gd name="T0" fmla="*/ 3 w 21"/>
                <a:gd name="T1" fmla="*/ 0 h 18"/>
                <a:gd name="T2" fmla="*/ 8 w 21"/>
                <a:gd name="T3" fmla="*/ 17 h 18"/>
                <a:gd name="T4" fmla="*/ 14 w 21"/>
                <a:gd name="T5" fmla="*/ 17 h 18"/>
                <a:gd name="T6" fmla="*/ 20 w 21"/>
                <a:gd name="T7" fmla="*/ 14 h 18"/>
                <a:gd name="T8" fmla="*/ 20 w 21"/>
                <a:gd name="T9" fmla="*/ 12 h 18"/>
                <a:gd name="T10" fmla="*/ 3 w 21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8">
                  <a:moveTo>
                    <a:pt x="3" y="0"/>
                  </a:moveTo>
                  <a:cubicBezTo>
                    <a:pt x="0" y="6"/>
                    <a:pt x="3" y="14"/>
                    <a:pt x="8" y="17"/>
                  </a:cubicBezTo>
                  <a:cubicBezTo>
                    <a:pt x="11" y="17"/>
                    <a:pt x="11" y="17"/>
                    <a:pt x="14" y="17"/>
                  </a:cubicBezTo>
                  <a:cubicBezTo>
                    <a:pt x="14" y="12"/>
                    <a:pt x="17" y="12"/>
                    <a:pt x="20" y="14"/>
                  </a:cubicBezTo>
                  <a:cubicBezTo>
                    <a:pt x="20" y="14"/>
                    <a:pt x="20" y="14"/>
                    <a:pt x="20" y="12"/>
                  </a:cubicBezTo>
                  <a:cubicBezTo>
                    <a:pt x="17" y="6"/>
                    <a:pt x="11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3" name="Freeform 584"/>
            <p:cNvSpPr>
              <a:spLocks noChangeArrowheads="1"/>
            </p:cNvSpPr>
            <p:nvPr/>
          </p:nvSpPr>
          <p:spPr bwMode="auto">
            <a:xfrm>
              <a:off x="4156075" y="2994025"/>
              <a:ext cx="4763" cy="4763"/>
            </a:xfrm>
            <a:custGeom>
              <a:avLst/>
              <a:gdLst>
                <a:gd name="T0" fmla="*/ 6 w 15"/>
                <a:gd name="T1" fmla="*/ 0 h 12"/>
                <a:gd name="T2" fmla="*/ 0 w 15"/>
                <a:gd name="T3" fmla="*/ 8 h 12"/>
                <a:gd name="T4" fmla="*/ 14 w 15"/>
                <a:gd name="T5" fmla="*/ 8 h 12"/>
                <a:gd name="T6" fmla="*/ 6 w 15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2">
                  <a:moveTo>
                    <a:pt x="6" y="0"/>
                  </a:moveTo>
                  <a:cubicBezTo>
                    <a:pt x="3" y="2"/>
                    <a:pt x="0" y="2"/>
                    <a:pt x="0" y="8"/>
                  </a:cubicBezTo>
                  <a:cubicBezTo>
                    <a:pt x="9" y="8"/>
                    <a:pt x="12" y="11"/>
                    <a:pt x="14" y="8"/>
                  </a:cubicBezTo>
                  <a:cubicBezTo>
                    <a:pt x="12" y="5"/>
                    <a:pt x="9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4" name="Freeform 585"/>
            <p:cNvSpPr>
              <a:spLocks noChangeArrowheads="1"/>
            </p:cNvSpPr>
            <p:nvPr/>
          </p:nvSpPr>
          <p:spPr bwMode="auto">
            <a:xfrm>
              <a:off x="4167188" y="2921000"/>
              <a:ext cx="1587" cy="1588"/>
            </a:xfrm>
            <a:custGeom>
              <a:avLst/>
              <a:gdLst>
                <a:gd name="T0" fmla="*/ 0 w 4"/>
                <a:gd name="T1" fmla="*/ 0 h 4"/>
                <a:gd name="T2" fmla="*/ 3 w 4"/>
                <a:gd name="T3" fmla="*/ 3 h 4"/>
                <a:gd name="T4" fmla="*/ 0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cubicBezTo>
                    <a:pt x="0" y="3"/>
                    <a:pt x="3" y="3"/>
                    <a:pt x="3" y="3"/>
                  </a:cubicBez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5" name="Freeform 586"/>
            <p:cNvSpPr>
              <a:spLocks noChangeArrowheads="1"/>
            </p:cNvSpPr>
            <p:nvPr/>
          </p:nvSpPr>
          <p:spPr bwMode="auto">
            <a:xfrm>
              <a:off x="4164013" y="2994025"/>
              <a:ext cx="7937" cy="4763"/>
            </a:xfrm>
            <a:custGeom>
              <a:avLst/>
              <a:gdLst>
                <a:gd name="T0" fmla="*/ 0 w 21"/>
                <a:gd name="T1" fmla="*/ 3 h 13"/>
                <a:gd name="T2" fmla="*/ 14 w 21"/>
                <a:gd name="T3" fmla="*/ 12 h 13"/>
                <a:gd name="T4" fmla="*/ 20 w 21"/>
                <a:gd name="T5" fmla="*/ 6 h 13"/>
                <a:gd name="T6" fmla="*/ 17 w 21"/>
                <a:gd name="T7" fmla="*/ 3 h 13"/>
                <a:gd name="T8" fmla="*/ 0 w 21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3">
                  <a:moveTo>
                    <a:pt x="0" y="3"/>
                  </a:moveTo>
                  <a:cubicBezTo>
                    <a:pt x="3" y="9"/>
                    <a:pt x="8" y="9"/>
                    <a:pt x="14" y="12"/>
                  </a:cubicBezTo>
                  <a:cubicBezTo>
                    <a:pt x="17" y="12"/>
                    <a:pt x="17" y="9"/>
                    <a:pt x="20" y="6"/>
                  </a:cubicBezTo>
                  <a:cubicBezTo>
                    <a:pt x="20" y="6"/>
                    <a:pt x="20" y="3"/>
                    <a:pt x="17" y="3"/>
                  </a:cubicBezTo>
                  <a:cubicBezTo>
                    <a:pt x="8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6" name="Freeform 587"/>
            <p:cNvSpPr>
              <a:spLocks noChangeArrowheads="1"/>
            </p:cNvSpPr>
            <p:nvPr/>
          </p:nvSpPr>
          <p:spPr bwMode="auto">
            <a:xfrm>
              <a:off x="4168775" y="2546350"/>
              <a:ext cx="9525" cy="11113"/>
            </a:xfrm>
            <a:custGeom>
              <a:avLst/>
              <a:gdLst>
                <a:gd name="T0" fmla="*/ 0 w 26"/>
                <a:gd name="T1" fmla="*/ 20 h 30"/>
                <a:gd name="T2" fmla="*/ 14 w 26"/>
                <a:gd name="T3" fmla="*/ 26 h 30"/>
                <a:gd name="T4" fmla="*/ 20 w 26"/>
                <a:gd name="T5" fmla="*/ 26 h 30"/>
                <a:gd name="T6" fmla="*/ 25 w 26"/>
                <a:gd name="T7" fmla="*/ 17 h 30"/>
                <a:gd name="T8" fmla="*/ 0 w 26"/>
                <a:gd name="T9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0">
                  <a:moveTo>
                    <a:pt x="0" y="20"/>
                  </a:moveTo>
                  <a:cubicBezTo>
                    <a:pt x="8" y="23"/>
                    <a:pt x="11" y="29"/>
                    <a:pt x="14" y="26"/>
                  </a:cubicBezTo>
                  <a:cubicBezTo>
                    <a:pt x="17" y="23"/>
                    <a:pt x="20" y="23"/>
                    <a:pt x="20" y="26"/>
                  </a:cubicBezTo>
                  <a:cubicBezTo>
                    <a:pt x="22" y="26"/>
                    <a:pt x="25" y="23"/>
                    <a:pt x="25" y="17"/>
                  </a:cubicBezTo>
                  <a:cubicBezTo>
                    <a:pt x="20" y="0"/>
                    <a:pt x="6" y="9"/>
                    <a:pt x="0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7" name="Freeform 588"/>
            <p:cNvSpPr>
              <a:spLocks noChangeArrowheads="1"/>
            </p:cNvSpPr>
            <p:nvPr/>
          </p:nvSpPr>
          <p:spPr bwMode="auto">
            <a:xfrm>
              <a:off x="4175125" y="3008313"/>
              <a:ext cx="1588" cy="3175"/>
            </a:xfrm>
            <a:custGeom>
              <a:avLst/>
              <a:gdLst>
                <a:gd name="T0" fmla="*/ 0 w 6"/>
                <a:gd name="T1" fmla="*/ 0 h 7"/>
                <a:gd name="T2" fmla="*/ 5 w 6"/>
                <a:gd name="T3" fmla="*/ 6 h 7"/>
                <a:gd name="T4" fmla="*/ 5 w 6"/>
                <a:gd name="T5" fmla="*/ 0 h 7"/>
                <a:gd name="T6" fmla="*/ 0 w 6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cubicBezTo>
                    <a:pt x="0" y="3"/>
                    <a:pt x="3" y="6"/>
                    <a:pt x="5" y="6"/>
                  </a:cubicBezTo>
                  <a:cubicBezTo>
                    <a:pt x="5" y="3"/>
                    <a:pt x="5" y="3"/>
                    <a:pt x="5" y="0"/>
                  </a:cubicBez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8" name="Freeform 589"/>
            <p:cNvSpPr>
              <a:spLocks noChangeArrowheads="1"/>
            </p:cNvSpPr>
            <p:nvPr/>
          </p:nvSpPr>
          <p:spPr bwMode="auto">
            <a:xfrm>
              <a:off x="4159250" y="2917825"/>
              <a:ext cx="4763" cy="4763"/>
            </a:xfrm>
            <a:custGeom>
              <a:avLst/>
              <a:gdLst>
                <a:gd name="T0" fmla="*/ 3 w 15"/>
                <a:gd name="T1" fmla="*/ 3 h 15"/>
                <a:gd name="T2" fmla="*/ 11 w 15"/>
                <a:gd name="T3" fmla="*/ 14 h 15"/>
                <a:gd name="T4" fmla="*/ 11 w 15"/>
                <a:gd name="T5" fmla="*/ 11 h 15"/>
                <a:gd name="T6" fmla="*/ 5 w 15"/>
                <a:gd name="T7" fmla="*/ 8 h 15"/>
                <a:gd name="T8" fmla="*/ 14 w 15"/>
                <a:gd name="T9" fmla="*/ 0 h 15"/>
                <a:gd name="T10" fmla="*/ 3 w 15"/>
                <a:gd name="T11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5">
                  <a:moveTo>
                    <a:pt x="3" y="3"/>
                  </a:moveTo>
                  <a:cubicBezTo>
                    <a:pt x="0" y="11"/>
                    <a:pt x="5" y="14"/>
                    <a:pt x="11" y="14"/>
                  </a:cubicBezTo>
                  <a:cubicBezTo>
                    <a:pt x="11" y="14"/>
                    <a:pt x="11" y="14"/>
                    <a:pt x="11" y="11"/>
                  </a:cubicBezTo>
                  <a:cubicBezTo>
                    <a:pt x="8" y="11"/>
                    <a:pt x="5" y="11"/>
                    <a:pt x="5" y="8"/>
                  </a:cubicBezTo>
                  <a:cubicBezTo>
                    <a:pt x="8" y="6"/>
                    <a:pt x="11" y="3"/>
                    <a:pt x="14" y="0"/>
                  </a:cubicBezTo>
                  <a:cubicBezTo>
                    <a:pt x="8" y="3"/>
                    <a:pt x="5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9" name="Freeform 590"/>
            <p:cNvSpPr>
              <a:spLocks noChangeArrowheads="1"/>
            </p:cNvSpPr>
            <p:nvPr/>
          </p:nvSpPr>
          <p:spPr bwMode="auto">
            <a:xfrm>
              <a:off x="4184650" y="3036888"/>
              <a:ext cx="3175" cy="1587"/>
            </a:xfrm>
            <a:custGeom>
              <a:avLst/>
              <a:gdLst>
                <a:gd name="T0" fmla="*/ 6 w 7"/>
                <a:gd name="T1" fmla="*/ 3 h 4"/>
                <a:gd name="T2" fmla="*/ 0 w 7"/>
                <a:gd name="T3" fmla="*/ 0 h 4"/>
                <a:gd name="T4" fmla="*/ 6 w 7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3"/>
                  </a:moveTo>
                  <a:cubicBezTo>
                    <a:pt x="3" y="3"/>
                    <a:pt x="3" y="0"/>
                    <a:pt x="0" y="0"/>
                  </a:cubicBezTo>
                  <a:cubicBezTo>
                    <a:pt x="0" y="0"/>
                    <a:pt x="3" y="3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0" name="Freeform 591"/>
            <p:cNvSpPr>
              <a:spLocks noChangeArrowheads="1"/>
            </p:cNvSpPr>
            <p:nvPr/>
          </p:nvSpPr>
          <p:spPr bwMode="auto">
            <a:xfrm>
              <a:off x="4181475" y="3068638"/>
              <a:ext cx="4763" cy="4762"/>
            </a:xfrm>
            <a:custGeom>
              <a:avLst/>
              <a:gdLst>
                <a:gd name="T0" fmla="*/ 5 w 12"/>
                <a:gd name="T1" fmla="*/ 3 h 15"/>
                <a:gd name="T2" fmla="*/ 3 w 12"/>
                <a:gd name="T3" fmla="*/ 14 h 15"/>
                <a:gd name="T4" fmla="*/ 11 w 12"/>
                <a:gd name="T5" fmla="*/ 3 h 15"/>
                <a:gd name="T6" fmla="*/ 5 w 12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5" y="3"/>
                  </a:moveTo>
                  <a:cubicBezTo>
                    <a:pt x="5" y="9"/>
                    <a:pt x="0" y="9"/>
                    <a:pt x="3" y="14"/>
                  </a:cubicBezTo>
                  <a:cubicBezTo>
                    <a:pt x="5" y="12"/>
                    <a:pt x="8" y="6"/>
                    <a:pt x="11" y="3"/>
                  </a:cubicBezTo>
                  <a:cubicBezTo>
                    <a:pt x="8" y="0"/>
                    <a:pt x="5" y="0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1" name="Freeform 592"/>
            <p:cNvSpPr>
              <a:spLocks noChangeArrowheads="1"/>
            </p:cNvSpPr>
            <p:nvPr/>
          </p:nvSpPr>
          <p:spPr bwMode="auto">
            <a:xfrm>
              <a:off x="4181475" y="2592388"/>
              <a:ext cx="4763" cy="3175"/>
            </a:xfrm>
            <a:custGeom>
              <a:avLst/>
              <a:gdLst>
                <a:gd name="T0" fmla="*/ 14 w 15"/>
                <a:gd name="T1" fmla="*/ 0 h 10"/>
                <a:gd name="T2" fmla="*/ 0 w 15"/>
                <a:gd name="T3" fmla="*/ 9 h 10"/>
                <a:gd name="T4" fmla="*/ 14 w 15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14" y="0"/>
                  </a:moveTo>
                  <a:cubicBezTo>
                    <a:pt x="8" y="0"/>
                    <a:pt x="2" y="3"/>
                    <a:pt x="0" y="9"/>
                  </a:cubicBezTo>
                  <a:cubicBezTo>
                    <a:pt x="8" y="9"/>
                    <a:pt x="14" y="6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2" name="Freeform 593"/>
            <p:cNvSpPr>
              <a:spLocks noChangeArrowheads="1"/>
            </p:cNvSpPr>
            <p:nvPr/>
          </p:nvSpPr>
          <p:spPr bwMode="auto">
            <a:xfrm>
              <a:off x="4179888" y="2647950"/>
              <a:ext cx="1587" cy="1588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  <a:gd name="T4" fmla="*/ 0 w 4"/>
                <a:gd name="T5" fmla="*/ 0 h 4"/>
                <a:gd name="T6" fmla="*/ 0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0" y="3"/>
                  </a:lnTo>
                  <a:cubicBezTo>
                    <a:pt x="3" y="0"/>
                    <a:pt x="0" y="0"/>
                    <a:pt x="0" y="0"/>
                  </a:cubicBezTo>
                  <a:lnTo>
                    <a:pt x="0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3" name="Freeform 594"/>
            <p:cNvSpPr>
              <a:spLocks noChangeArrowheads="1"/>
            </p:cNvSpPr>
            <p:nvPr/>
          </p:nvSpPr>
          <p:spPr bwMode="auto">
            <a:xfrm>
              <a:off x="4254500" y="2143125"/>
              <a:ext cx="3175" cy="6350"/>
            </a:xfrm>
            <a:custGeom>
              <a:avLst/>
              <a:gdLst>
                <a:gd name="T0" fmla="*/ 0 w 9"/>
                <a:gd name="T1" fmla="*/ 2 h 18"/>
                <a:gd name="T2" fmla="*/ 0 w 9"/>
                <a:gd name="T3" fmla="*/ 14 h 18"/>
                <a:gd name="T4" fmla="*/ 0 w 9"/>
                <a:gd name="T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8">
                  <a:moveTo>
                    <a:pt x="0" y="2"/>
                  </a:moveTo>
                  <a:lnTo>
                    <a:pt x="0" y="14"/>
                  </a:lnTo>
                  <a:cubicBezTo>
                    <a:pt x="8" y="17"/>
                    <a:pt x="8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4" name="Freeform 595"/>
            <p:cNvSpPr>
              <a:spLocks noChangeArrowheads="1"/>
            </p:cNvSpPr>
            <p:nvPr/>
          </p:nvSpPr>
          <p:spPr bwMode="auto">
            <a:xfrm>
              <a:off x="4305300" y="2430463"/>
              <a:ext cx="4763" cy="4762"/>
            </a:xfrm>
            <a:custGeom>
              <a:avLst/>
              <a:gdLst>
                <a:gd name="T0" fmla="*/ 11 w 12"/>
                <a:gd name="T1" fmla="*/ 14 h 15"/>
                <a:gd name="T2" fmla="*/ 6 w 12"/>
                <a:gd name="T3" fmla="*/ 0 h 15"/>
                <a:gd name="T4" fmla="*/ 11 w 12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1" y="14"/>
                  </a:moveTo>
                  <a:cubicBezTo>
                    <a:pt x="11" y="8"/>
                    <a:pt x="8" y="3"/>
                    <a:pt x="6" y="0"/>
                  </a:cubicBezTo>
                  <a:cubicBezTo>
                    <a:pt x="6" y="6"/>
                    <a:pt x="0" y="14"/>
                    <a:pt x="11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5" name="Freeform 596"/>
            <p:cNvSpPr>
              <a:spLocks noChangeArrowheads="1"/>
            </p:cNvSpPr>
            <p:nvPr/>
          </p:nvSpPr>
          <p:spPr bwMode="auto">
            <a:xfrm>
              <a:off x="4319588" y="2771775"/>
              <a:ext cx="1587" cy="3175"/>
            </a:xfrm>
            <a:custGeom>
              <a:avLst/>
              <a:gdLst>
                <a:gd name="T0" fmla="*/ 0 w 6"/>
                <a:gd name="T1" fmla="*/ 5 h 7"/>
                <a:gd name="T2" fmla="*/ 0 w 6"/>
                <a:gd name="T3" fmla="*/ 5 h 7"/>
                <a:gd name="T4" fmla="*/ 2 w 6"/>
                <a:gd name="T5" fmla="*/ 5 h 7"/>
                <a:gd name="T6" fmla="*/ 5 w 6"/>
                <a:gd name="T7" fmla="*/ 3 h 7"/>
                <a:gd name="T8" fmla="*/ 2 w 6"/>
                <a:gd name="T9" fmla="*/ 0 h 7"/>
                <a:gd name="T10" fmla="*/ 0 w 6"/>
                <a:gd name="T1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7">
                  <a:moveTo>
                    <a:pt x="0" y="5"/>
                  </a:moveTo>
                  <a:lnTo>
                    <a:pt x="0" y="5"/>
                  </a:lnTo>
                  <a:lnTo>
                    <a:pt x="2" y="5"/>
                  </a:lnTo>
                  <a:cubicBezTo>
                    <a:pt x="2" y="5"/>
                    <a:pt x="5" y="6"/>
                    <a:pt x="5" y="3"/>
                  </a:cubicBezTo>
                  <a:cubicBezTo>
                    <a:pt x="5" y="1"/>
                    <a:pt x="2" y="0"/>
                    <a:pt x="2" y="0"/>
                  </a:cubicBezTo>
                  <a:cubicBezTo>
                    <a:pt x="2" y="3"/>
                    <a:pt x="0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6" name="Freeform 597"/>
            <p:cNvSpPr>
              <a:spLocks noChangeArrowheads="1"/>
            </p:cNvSpPr>
            <p:nvPr/>
          </p:nvSpPr>
          <p:spPr bwMode="auto">
            <a:xfrm>
              <a:off x="4297363" y="2608263"/>
              <a:ext cx="3175" cy="4762"/>
            </a:xfrm>
            <a:custGeom>
              <a:avLst/>
              <a:gdLst>
                <a:gd name="T0" fmla="*/ 0 w 10"/>
                <a:gd name="T1" fmla="*/ 3 h 13"/>
                <a:gd name="T2" fmla="*/ 0 w 10"/>
                <a:gd name="T3" fmla="*/ 12 h 13"/>
                <a:gd name="T4" fmla="*/ 6 w 10"/>
                <a:gd name="T5" fmla="*/ 12 h 13"/>
                <a:gd name="T6" fmla="*/ 6 w 10"/>
                <a:gd name="T7" fmla="*/ 9 h 13"/>
                <a:gd name="T8" fmla="*/ 9 w 10"/>
                <a:gd name="T9" fmla="*/ 0 h 13"/>
                <a:gd name="T10" fmla="*/ 0 w 10"/>
                <a:gd name="T11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3">
                  <a:moveTo>
                    <a:pt x="0" y="3"/>
                  </a:moveTo>
                  <a:cubicBezTo>
                    <a:pt x="0" y="6"/>
                    <a:pt x="0" y="9"/>
                    <a:pt x="0" y="12"/>
                  </a:cubicBezTo>
                  <a:cubicBezTo>
                    <a:pt x="3" y="12"/>
                    <a:pt x="3" y="12"/>
                    <a:pt x="6" y="12"/>
                  </a:cubicBezTo>
                  <a:lnTo>
                    <a:pt x="6" y="9"/>
                  </a:lnTo>
                  <a:cubicBezTo>
                    <a:pt x="9" y="6"/>
                    <a:pt x="9" y="3"/>
                    <a:pt x="9" y="0"/>
                  </a:cubicBezTo>
                  <a:cubicBezTo>
                    <a:pt x="6" y="0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7" name="Freeform 598"/>
            <p:cNvSpPr>
              <a:spLocks noChangeArrowheads="1"/>
            </p:cNvSpPr>
            <p:nvPr/>
          </p:nvSpPr>
          <p:spPr bwMode="auto">
            <a:xfrm>
              <a:off x="4302125" y="2168525"/>
              <a:ext cx="4763" cy="4763"/>
            </a:xfrm>
            <a:custGeom>
              <a:avLst/>
              <a:gdLst>
                <a:gd name="T0" fmla="*/ 0 w 12"/>
                <a:gd name="T1" fmla="*/ 0 h 15"/>
                <a:gd name="T2" fmla="*/ 11 w 12"/>
                <a:gd name="T3" fmla="*/ 14 h 15"/>
                <a:gd name="T4" fmla="*/ 0 w 1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0" y="0"/>
                  </a:moveTo>
                  <a:cubicBezTo>
                    <a:pt x="0" y="9"/>
                    <a:pt x="2" y="14"/>
                    <a:pt x="11" y="14"/>
                  </a:cubicBezTo>
                  <a:cubicBezTo>
                    <a:pt x="11" y="3"/>
                    <a:pt x="8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8" name="Freeform 599"/>
            <p:cNvSpPr>
              <a:spLocks noChangeArrowheads="1"/>
            </p:cNvSpPr>
            <p:nvPr/>
          </p:nvSpPr>
          <p:spPr bwMode="auto">
            <a:xfrm>
              <a:off x="4289425" y="2738438"/>
              <a:ext cx="3175" cy="3175"/>
            </a:xfrm>
            <a:custGeom>
              <a:avLst/>
              <a:gdLst>
                <a:gd name="T0" fmla="*/ 0 w 9"/>
                <a:gd name="T1" fmla="*/ 8 h 9"/>
                <a:gd name="T2" fmla="*/ 8 w 9"/>
                <a:gd name="T3" fmla="*/ 0 h 9"/>
                <a:gd name="T4" fmla="*/ 0 w 9"/>
                <a:gd name="T5" fmla="*/ 0 h 9"/>
                <a:gd name="T6" fmla="*/ 0 w 9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0" y="8"/>
                  </a:moveTo>
                  <a:cubicBezTo>
                    <a:pt x="5" y="8"/>
                    <a:pt x="8" y="5"/>
                    <a:pt x="8" y="0"/>
                  </a:cubicBez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9" name="Freeform 600"/>
            <p:cNvSpPr>
              <a:spLocks noChangeArrowheads="1"/>
            </p:cNvSpPr>
            <p:nvPr/>
          </p:nvSpPr>
          <p:spPr bwMode="auto">
            <a:xfrm>
              <a:off x="4300538" y="2506663"/>
              <a:ext cx="3175" cy="4762"/>
            </a:xfrm>
            <a:custGeom>
              <a:avLst/>
              <a:gdLst>
                <a:gd name="T0" fmla="*/ 0 w 9"/>
                <a:gd name="T1" fmla="*/ 3 h 13"/>
                <a:gd name="T2" fmla="*/ 8 w 9"/>
                <a:gd name="T3" fmla="*/ 12 h 13"/>
                <a:gd name="T4" fmla="*/ 3 w 9"/>
                <a:gd name="T5" fmla="*/ 0 h 13"/>
                <a:gd name="T6" fmla="*/ 0 w 9"/>
                <a:gd name="T7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0" y="3"/>
                  </a:moveTo>
                  <a:cubicBezTo>
                    <a:pt x="0" y="9"/>
                    <a:pt x="3" y="12"/>
                    <a:pt x="8" y="12"/>
                  </a:cubicBezTo>
                  <a:cubicBezTo>
                    <a:pt x="8" y="6"/>
                    <a:pt x="6" y="3"/>
                    <a:pt x="3" y="0"/>
                  </a:cubicBezTo>
                  <a:cubicBezTo>
                    <a:pt x="0" y="0"/>
                    <a:pt x="0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0" name="Freeform 601"/>
            <p:cNvSpPr>
              <a:spLocks noChangeArrowheads="1"/>
            </p:cNvSpPr>
            <p:nvPr/>
          </p:nvSpPr>
          <p:spPr bwMode="auto">
            <a:xfrm>
              <a:off x="4300538" y="2408238"/>
              <a:ext cx="14287" cy="7937"/>
            </a:xfrm>
            <a:custGeom>
              <a:avLst/>
              <a:gdLst>
                <a:gd name="T0" fmla="*/ 14 w 40"/>
                <a:gd name="T1" fmla="*/ 22 h 23"/>
                <a:gd name="T2" fmla="*/ 31 w 40"/>
                <a:gd name="T3" fmla="*/ 14 h 23"/>
                <a:gd name="T4" fmla="*/ 30 w 40"/>
                <a:gd name="T5" fmla="*/ 8 h 23"/>
                <a:gd name="T6" fmla="*/ 28 w 40"/>
                <a:gd name="T7" fmla="*/ 11 h 23"/>
                <a:gd name="T8" fmla="*/ 25 w 40"/>
                <a:gd name="T9" fmla="*/ 8 h 23"/>
                <a:gd name="T10" fmla="*/ 22 w 40"/>
                <a:gd name="T11" fmla="*/ 14 h 23"/>
                <a:gd name="T12" fmla="*/ 14 w 40"/>
                <a:gd name="T13" fmla="*/ 17 h 23"/>
                <a:gd name="T14" fmla="*/ 17 w 40"/>
                <a:gd name="T15" fmla="*/ 6 h 23"/>
                <a:gd name="T16" fmla="*/ 8 w 40"/>
                <a:gd name="T17" fmla="*/ 3 h 23"/>
                <a:gd name="T18" fmla="*/ 0 w 40"/>
                <a:gd name="T19" fmla="*/ 8 h 23"/>
                <a:gd name="T20" fmla="*/ 14 w 40"/>
                <a:gd name="T21" fmla="*/ 22 h 23"/>
                <a:gd name="T22" fmla="*/ 32 w 40"/>
                <a:gd name="T23" fmla="*/ 6 h 23"/>
                <a:gd name="T24" fmla="*/ 30 w 40"/>
                <a:gd name="T25" fmla="*/ 8 h 23"/>
                <a:gd name="T26" fmla="*/ 32 w 40"/>
                <a:gd name="T27" fmla="*/ 6 h 23"/>
                <a:gd name="T28" fmla="*/ 39 w 40"/>
                <a:gd name="T29" fmla="*/ 3 h 23"/>
                <a:gd name="T30" fmla="*/ 39 w 40"/>
                <a:gd name="T31" fmla="*/ 0 h 23"/>
                <a:gd name="T32" fmla="*/ 37 w 40"/>
                <a:gd name="T33" fmla="*/ 0 h 23"/>
                <a:gd name="T34" fmla="*/ 32 w 40"/>
                <a:gd name="T35" fmla="*/ 6 h 23"/>
                <a:gd name="T36" fmla="*/ 39 w 40"/>
                <a:gd name="T3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23">
                  <a:moveTo>
                    <a:pt x="14" y="22"/>
                  </a:moveTo>
                  <a:cubicBezTo>
                    <a:pt x="14" y="14"/>
                    <a:pt x="25" y="20"/>
                    <a:pt x="31" y="14"/>
                  </a:cubicBezTo>
                  <a:cubicBezTo>
                    <a:pt x="30" y="12"/>
                    <a:pt x="30" y="10"/>
                    <a:pt x="30" y="8"/>
                  </a:cubicBezTo>
                  <a:cubicBezTo>
                    <a:pt x="30" y="9"/>
                    <a:pt x="29" y="10"/>
                    <a:pt x="28" y="11"/>
                  </a:cubicBezTo>
                  <a:cubicBezTo>
                    <a:pt x="28" y="11"/>
                    <a:pt x="28" y="8"/>
                    <a:pt x="25" y="8"/>
                  </a:cubicBezTo>
                  <a:cubicBezTo>
                    <a:pt x="25" y="8"/>
                    <a:pt x="25" y="14"/>
                    <a:pt x="22" y="14"/>
                  </a:cubicBezTo>
                  <a:cubicBezTo>
                    <a:pt x="20" y="17"/>
                    <a:pt x="17" y="14"/>
                    <a:pt x="14" y="17"/>
                  </a:cubicBezTo>
                  <a:cubicBezTo>
                    <a:pt x="14" y="11"/>
                    <a:pt x="17" y="11"/>
                    <a:pt x="17" y="6"/>
                  </a:cubicBezTo>
                  <a:cubicBezTo>
                    <a:pt x="14" y="6"/>
                    <a:pt x="8" y="6"/>
                    <a:pt x="8" y="3"/>
                  </a:cubicBezTo>
                  <a:cubicBezTo>
                    <a:pt x="6" y="6"/>
                    <a:pt x="3" y="6"/>
                    <a:pt x="0" y="8"/>
                  </a:cubicBezTo>
                  <a:cubicBezTo>
                    <a:pt x="0" y="17"/>
                    <a:pt x="8" y="22"/>
                    <a:pt x="14" y="22"/>
                  </a:cubicBezTo>
                  <a:close/>
                  <a:moveTo>
                    <a:pt x="32" y="6"/>
                  </a:moveTo>
                  <a:cubicBezTo>
                    <a:pt x="31" y="6"/>
                    <a:pt x="31" y="7"/>
                    <a:pt x="30" y="8"/>
                  </a:cubicBezTo>
                  <a:cubicBezTo>
                    <a:pt x="31" y="7"/>
                    <a:pt x="31" y="6"/>
                    <a:pt x="32" y="6"/>
                  </a:cubicBezTo>
                  <a:close/>
                  <a:moveTo>
                    <a:pt x="39" y="3"/>
                  </a:moveTo>
                  <a:lnTo>
                    <a:pt x="39" y="0"/>
                  </a:lnTo>
                  <a:lnTo>
                    <a:pt x="37" y="0"/>
                  </a:lnTo>
                  <a:cubicBezTo>
                    <a:pt x="33" y="0"/>
                    <a:pt x="33" y="2"/>
                    <a:pt x="32" y="6"/>
                  </a:cubicBezTo>
                  <a:cubicBezTo>
                    <a:pt x="33" y="4"/>
                    <a:pt x="36" y="3"/>
                    <a:pt x="39" y="3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1" name="Freeform 602"/>
            <p:cNvSpPr>
              <a:spLocks noChangeArrowheads="1"/>
            </p:cNvSpPr>
            <p:nvPr/>
          </p:nvSpPr>
          <p:spPr bwMode="auto">
            <a:xfrm>
              <a:off x="4292600" y="2579688"/>
              <a:ext cx="7938" cy="6350"/>
            </a:xfrm>
            <a:custGeom>
              <a:avLst/>
              <a:gdLst>
                <a:gd name="T0" fmla="*/ 20 w 21"/>
                <a:gd name="T1" fmla="*/ 9 h 16"/>
                <a:gd name="T2" fmla="*/ 3 w 21"/>
                <a:gd name="T3" fmla="*/ 6 h 16"/>
                <a:gd name="T4" fmla="*/ 20 w 21"/>
                <a:gd name="T5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6">
                  <a:moveTo>
                    <a:pt x="20" y="9"/>
                  </a:moveTo>
                  <a:cubicBezTo>
                    <a:pt x="11" y="9"/>
                    <a:pt x="9" y="0"/>
                    <a:pt x="3" y="6"/>
                  </a:cubicBezTo>
                  <a:cubicBezTo>
                    <a:pt x="0" y="15"/>
                    <a:pt x="20" y="15"/>
                    <a:pt x="2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2" name="Freeform 603"/>
            <p:cNvSpPr>
              <a:spLocks noChangeArrowheads="1"/>
            </p:cNvSpPr>
            <p:nvPr/>
          </p:nvSpPr>
          <p:spPr bwMode="auto">
            <a:xfrm>
              <a:off x="4322763" y="2574925"/>
              <a:ext cx="4762" cy="3175"/>
            </a:xfrm>
            <a:custGeom>
              <a:avLst/>
              <a:gdLst>
                <a:gd name="T0" fmla="*/ 0 w 12"/>
                <a:gd name="T1" fmla="*/ 8 h 9"/>
                <a:gd name="T2" fmla="*/ 11 w 12"/>
                <a:gd name="T3" fmla="*/ 8 h 9"/>
                <a:gd name="T4" fmla="*/ 11 w 12"/>
                <a:gd name="T5" fmla="*/ 5 h 9"/>
                <a:gd name="T6" fmla="*/ 0 w 12"/>
                <a:gd name="T7" fmla="*/ 0 h 9"/>
                <a:gd name="T8" fmla="*/ 0 w 12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lnTo>
                    <a:pt x="11" y="8"/>
                  </a:lnTo>
                  <a:lnTo>
                    <a:pt x="11" y="5"/>
                  </a:lnTo>
                  <a:cubicBezTo>
                    <a:pt x="8" y="2"/>
                    <a:pt x="3" y="0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3" name="Freeform 604"/>
            <p:cNvSpPr>
              <a:spLocks noChangeArrowheads="1"/>
            </p:cNvSpPr>
            <p:nvPr/>
          </p:nvSpPr>
          <p:spPr bwMode="auto">
            <a:xfrm>
              <a:off x="4319588" y="2265363"/>
              <a:ext cx="4762" cy="3175"/>
            </a:xfrm>
            <a:custGeom>
              <a:avLst/>
              <a:gdLst>
                <a:gd name="T0" fmla="*/ 0 w 13"/>
                <a:gd name="T1" fmla="*/ 3 h 10"/>
                <a:gd name="T2" fmla="*/ 3 w 13"/>
                <a:gd name="T3" fmla="*/ 9 h 10"/>
                <a:gd name="T4" fmla="*/ 6 w 13"/>
                <a:gd name="T5" fmla="*/ 9 h 10"/>
                <a:gd name="T6" fmla="*/ 12 w 13"/>
                <a:gd name="T7" fmla="*/ 0 h 10"/>
                <a:gd name="T8" fmla="*/ 0 w 13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0">
                  <a:moveTo>
                    <a:pt x="0" y="3"/>
                  </a:moveTo>
                  <a:cubicBezTo>
                    <a:pt x="0" y="6"/>
                    <a:pt x="0" y="9"/>
                    <a:pt x="3" y="9"/>
                  </a:cubicBezTo>
                  <a:lnTo>
                    <a:pt x="6" y="9"/>
                  </a:lnTo>
                  <a:cubicBezTo>
                    <a:pt x="9" y="9"/>
                    <a:pt x="9" y="3"/>
                    <a:pt x="12" y="0"/>
                  </a:cubicBezTo>
                  <a:cubicBezTo>
                    <a:pt x="6" y="0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4" name="Freeform 605"/>
            <p:cNvSpPr>
              <a:spLocks noChangeArrowheads="1"/>
            </p:cNvSpPr>
            <p:nvPr/>
          </p:nvSpPr>
          <p:spPr bwMode="auto">
            <a:xfrm>
              <a:off x="4302125" y="2689225"/>
              <a:ext cx="4763" cy="6350"/>
            </a:xfrm>
            <a:custGeom>
              <a:avLst/>
              <a:gdLst>
                <a:gd name="T0" fmla="*/ 6 w 13"/>
                <a:gd name="T1" fmla="*/ 14 h 18"/>
                <a:gd name="T2" fmla="*/ 0 w 13"/>
                <a:gd name="T3" fmla="*/ 17 h 18"/>
                <a:gd name="T4" fmla="*/ 9 w 13"/>
                <a:gd name="T5" fmla="*/ 17 h 18"/>
                <a:gd name="T6" fmla="*/ 12 w 13"/>
                <a:gd name="T7" fmla="*/ 9 h 18"/>
                <a:gd name="T8" fmla="*/ 0 w 13"/>
                <a:gd name="T9" fmla="*/ 0 h 18"/>
                <a:gd name="T10" fmla="*/ 6 w 13"/>
                <a:gd name="T11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8">
                  <a:moveTo>
                    <a:pt x="6" y="14"/>
                  </a:moveTo>
                  <a:cubicBezTo>
                    <a:pt x="3" y="14"/>
                    <a:pt x="0" y="14"/>
                    <a:pt x="0" y="17"/>
                  </a:cubicBezTo>
                  <a:cubicBezTo>
                    <a:pt x="3" y="17"/>
                    <a:pt x="6" y="17"/>
                    <a:pt x="9" y="17"/>
                  </a:cubicBezTo>
                  <a:cubicBezTo>
                    <a:pt x="9" y="14"/>
                    <a:pt x="12" y="14"/>
                    <a:pt x="12" y="9"/>
                  </a:cubicBezTo>
                  <a:cubicBezTo>
                    <a:pt x="9" y="6"/>
                    <a:pt x="3" y="3"/>
                    <a:pt x="0" y="0"/>
                  </a:cubicBezTo>
                  <a:cubicBezTo>
                    <a:pt x="3" y="6"/>
                    <a:pt x="6" y="12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5" name="Freeform 606"/>
            <p:cNvSpPr>
              <a:spLocks noChangeArrowheads="1"/>
            </p:cNvSpPr>
            <p:nvPr/>
          </p:nvSpPr>
          <p:spPr bwMode="auto">
            <a:xfrm>
              <a:off x="4319588" y="2711450"/>
              <a:ext cx="3175" cy="1588"/>
            </a:xfrm>
            <a:custGeom>
              <a:avLst/>
              <a:gdLst>
                <a:gd name="T0" fmla="*/ 8 w 9"/>
                <a:gd name="T1" fmla="*/ 0 h 4"/>
                <a:gd name="T2" fmla="*/ 0 w 9"/>
                <a:gd name="T3" fmla="*/ 3 h 4"/>
                <a:gd name="T4" fmla="*/ 8 w 9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4">
                  <a:moveTo>
                    <a:pt x="8" y="0"/>
                  </a:moveTo>
                  <a:cubicBezTo>
                    <a:pt x="5" y="0"/>
                    <a:pt x="2" y="0"/>
                    <a:pt x="0" y="3"/>
                  </a:cubicBezTo>
                  <a:lnTo>
                    <a:pt x="8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6" name="Freeform 607"/>
            <p:cNvSpPr>
              <a:spLocks noChangeArrowheads="1"/>
            </p:cNvSpPr>
            <p:nvPr/>
          </p:nvSpPr>
          <p:spPr bwMode="auto">
            <a:xfrm>
              <a:off x="4306888" y="2665413"/>
              <a:ext cx="11112" cy="11112"/>
            </a:xfrm>
            <a:custGeom>
              <a:avLst/>
              <a:gdLst>
                <a:gd name="T0" fmla="*/ 8 w 29"/>
                <a:gd name="T1" fmla="*/ 23 h 30"/>
                <a:gd name="T2" fmla="*/ 22 w 29"/>
                <a:gd name="T3" fmla="*/ 12 h 30"/>
                <a:gd name="T4" fmla="*/ 19 w 29"/>
                <a:gd name="T5" fmla="*/ 23 h 30"/>
                <a:gd name="T6" fmla="*/ 19 w 29"/>
                <a:gd name="T7" fmla="*/ 29 h 30"/>
                <a:gd name="T8" fmla="*/ 19 w 29"/>
                <a:gd name="T9" fmla="*/ 0 h 30"/>
                <a:gd name="T10" fmla="*/ 19 w 29"/>
                <a:gd name="T11" fmla="*/ 0 h 30"/>
                <a:gd name="T12" fmla="*/ 0 w 29"/>
                <a:gd name="T13" fmla="*/ 9 h 30"/>
                <a:gd name="T14" fmla="*/ 8 w 29"/>
                <a:gd name="T15" fmla="*/ 2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30">
                  <a:moveTo>
                    <a:pt x="8" y="23"/>
                  </a:moveTo>
                  <a:cubicBezTo>
                    <a:pt x="11" y="17"/>
                    <a:pt x="17" y="14"/>
                    <a:pt x="22" y="12"/>
                  </a:cubicBezTo>
                  <a:cubicBezTo>
                    <a:pt x="28" y="14"/>
                    <a:pt x="22" y="17"/>
                    <a:pt x="19" y="23"/>
                  </a:cubicBezTo>
                  <a:cubicBezTo>
                    <a:pt x="19" y="26"/>
                    <a:pt x="19" y="29"/>
                    <a:pt x="19" y="29"/>
                  </a:cubicBezTo>
                  <a:cubicBezTo>
                    <a:pt x="28" y="20"/>
                    <a:pt x="28" y="9"/>
                    <a:pt x="19" y="0"/>
                  </a:cubicBezTo>
                  <a:lnTo>
                    <a:pt x="19" y="0"/>
                  </a:lnTo>
                  <a:cubicBezTo>
                    <a:pt x="11" y="0"/>
                    <a:pt x="2" y="0"/>
                    <a:pt x="0" y="9"/>
                  </a:cubicBezTo>
                  <a:cubicBezTo>
                    <a:pt x="5" y="14"/>
                    <a:pt x="8" y="17"/>
                    <a:pt x="8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7" name="Freeform 608"/>
            <p:cNvSpPr>
              <a:spLocks noChangeArrowheads="1"/>
            </p:cNvSpPr>
            <p:nvPr/>
          </p:nvSpPr>
          <p:spPr bwMode="auto">
            <a:xfrm>
              <a:off x="4303713" y="2447925"/>
              <a:ext cx="1587" cy="1588"/>
            </a:xfrm>
            <a:custGeom>
              <a:avLst/>
              <a:gdLst>
                <a:gd name="T0" fmla="*/ 0 w 4"/>
                <a:gd name="T1" fmla="*/ 3 h 4"/>
                <a:gd name="T2" fmla="*/ 3 w 4"/>
                <a:gd name="T3" fmla="*/ 0 h 4"/>
                <a:gd name="T4" fmla="*/ 3 w 4"/>
                <a:gd name="T5" fmla="*/ 0 h 4"/>
                <a:gd name="T6" fmla="*/ 0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3" y="3"/>
                    <a:pt x="3" y="0"/>
                  </a:cubicBezTo>
                  <a:lnTo>
                    <a:pt x="3" y="0"/>
                  </a:lnTo>
                  <a:cubicBezTo>
                    <a:pt x="3" y="3"/>
                    <a:pt x="0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8" name="Freeform 609"/>
            <p:cNvSpPr>
              <a:spLocks noChangeArrowheads="1"/>
            </p:cNvSpPr>
            <p:nvPr/>
          </p:nvSpPr>
          <p:spPr bwMode="auto">
            <a:xfrm>
              <a:off x="4278313" y="2819400"/>
              <a:ext cx="4762" cy="3175"/>
            </a:xfrm>
            <a:custGeom>
              <a:avLst/>
              <a:gdLst>
                <a:gd name="T0" fmla="*/ 0 w 12"/>
                <a:gd name="T1" fmla="*/ 0 h 10"/>
                <a:gd name="T2" fmla="*/ 8 w 12"/>
                <a:gd name="T3" fmla="*/ 9 h 10"/>
                <a:gd name="T4" fmla="*/ 11 w 12"/>
                <a:gd name="T5" fmla="*/ 0 h 10"/>
                <a:gd name="T6" fmla="*/ 0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cubicBezTo>
                    <a:pt x="0" y="6"/>
                    <a:pt x="3" y="9"/>
                    <a:pt x="8" y="9"/>
                  </a:cubicBezTo>
                  <a:cubicBezTo>
                    <a:pt x="8" y="3"/>
                    <a:pt x="11" y="3"/>
                    <a:pt x="11" y="0"/>
                  </a:cubicBezTo>
                  <a:cubicBezTo>
                    <a:pt x="8" y="3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9" name="Freeform 610"/>
            <p:cNvSpPr>
              <a:spLocks noChangeArrowheads="1"/>
            </p:cNvSpPr>
            <p:nvPr/>
          </p:nvSpPr>
          <p:spPr bwMode="auto">
            <a:xfrm>
              <a:off x="4276725" y="2690813"/>
              <a:ext cx="3175" cy="3175"/>
            </a:xfrm>
            <a:custGeom>
              <a:avLst/>
              <a:gdLst>
                <a:gd name="T0" fmla="*/ 6 w 9"/>
                <a:gd name="T1" fmla="*/ 0 h 7"/>
                <a:gd name="T2" fmla="*/ 0 w 9"/>
                <a:gd name="T3" fmla="*/ 6 h 7"/>
                <a:gd name="T4" fmla="*/ 8 w 9"/>
                <a:gd name="T5" fmla="*/ 3 h 7"/>
                <a:gd name="T6" fmla="*/ 6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6" y="0"/>
                  </a:moveTo>
                  <a:cubicBezTo>
                    <a:pt x="3" y="0"/>
                    <a:pt x="3" y="3"/>
                    <a:pt x="0" y="6"/>
                  </a:cubicBezTo>
                  <a:cubicBezTo>
                    <a:pt x="3" y="6"/>
                    <a:pt x="6" y="6"/>
                    <a:pt x="8" y="3"/>
                  </a:cubicBezTo>
                  <a:cubicBezTo>
                    <a:pt x="8" y="0"/>
                    <a:pt x="6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0" name="Freeform 611"/>
            <p:cNvSpPr>
              <a:spLocks noChangeArrowheads="1"/>
            </p:cNvSpPr>
            <p:nvPr/>
          </p:nvSpPr>
          <p:spPr bwMode="auto">
            <a:xfrm>
              <a:off x="4279900" y="3052763"/>
              <a:ext cx="4763" cy="6350"/>
            </a:xfrm>
            <a:custGeom>
              <a:avLst/>
              <a:gdLst>
                <a:gd name="T0" fmla="*/ 6 w 15"/>
                <a:gd name="T1" fmla="*/ 17 h 18"/>
                <a:gd name="T2" fmla="*/ 14 w 15"/>
                <a:gd name="T3" fmla="*/ 3 h 18"/>
                <a:gd name="T4" fmla="*/ 6 w 15"/>
                <a:gd name="T5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8">
                  <a:moveTo>
                    <a:pt x="6" y="17"/>
                  </a:moveTo>
                  <a:cubicBezTo>
                    <a:pt x="14" y="17"/>
                    <a:pt x="14" y="11"/>
                    <a:pt x="14" y="3"/>
                  </a:cubicBezTo>
                  <a:cubicBezTo>
                    <a:pt x="3" y="0"/>
                    <a:pt x="0" y="11"/>
                    <a:pt x="6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1" name="Freeform 612"/>
            <p:cNvSpPr>
              <a:spLocks noChangeArrowheads="1"/>
            </p:cNvSpPr>
            <p:nvPr/>
          </p:nvSpPr>
          <p:spPr bwMode="auto">
            <a:xfrm>
              <a:off x="4283075" y="2581275"/>
              <a:ext cx="4763" cy="3175"/>
            </a:xfrm>
            <a:custGeom>
              <a:avLst/>
              <a:gdLst>
                <a:gd name="T0" fmla="*/ 0 w 12"/>
                <a:gd name="T1" fmla="*/ 0 h 10"/>
                <a:gd name="T2" fmla="*/ 11 w 12"/>
                <a:gd name="T3" fmla="*/ 9 h 10"/>
                <a:gd name="T4" fmla="*/ 11 w 12"/>
                <a:gd name="T5" fmla="*/ 0 h 10"/>
                <a:gd name="T6" fmla="*/ 0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cubicBezTo>
                    <a:pt x="3" y="3"/>
                    <a:pt x="8" y="6"/>
                    <a:pt x="11" y="9"/>
                  </a:cubicBezTo>
                  <a:cubicBezTo>
                    <a:pt x="11" y="6"/>
                    <a:pt x="11" y="3"/>
                    <a:pt x="11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2" name="Freeform 613"/>
            <p:cNvSpPr>
              <a:spLocks noChangeArrowheads="1"/>
            </p:cNvSpPr>
            <p:nvPr/>
          </p:nvSpPr>
          <p:spPr bwMode="auto">
            <a:xfrm>
              <a:off x="4279900" y="2674938"/>
              <a:ext cx="3175" cy="1587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5 h 6"/>
                <a:gd name="T4" fmla="*/ 6 w 7"/>
                <a:gd name="T5" fmla="*/ 5 h 6"/>
                <a:gd name="T6" fmla="*/ 6 w 7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3" y="5"/>
                    <a:pt x="6" y="5"/>
                  </a:cubicBez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3" name="Freeform 614"/>
            <p:cNvSpPr>
              <a:spLocks noChangeArrowheads="1"/>
            </p:cNvSpPr>
            <p:nvPr/>
          </p:nvSpPr>
          <p:spPr bwMode="auto">
            <a:xfrm>
              <a:off x="4283075" y="2779713"/>
              <a:ext cx="4763" cy="3175"/>
            </a:xfrm>
            <a:custGeom>
              <a:avLst/>
              <a:gdLst>
                <a:gd name="T0" fmla="*/ 0 w 12"/>
                <a:gd name="T1" fmla="*/ 3 h 7"/>
                <a:gd name="T2" fmla="*/ 5 w 12"/>
                <a:gd name="T3" fmla="*/ 6 h 7"/>
                <a:gd name="T4" fmla="*/ 11 w 12"/>
                <a:gd name="T5" fmla="*/ 0 h 7"/>
                <a:gd name="T6" fmla="*/ 0 w 12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7">
                  <a:moveTo>
                    <a:pt x="0" y="3"/>
                  </a:moveTo>
                  <a:cubicBezTo>
                    <a:pt x="3" y="3"/>
                    <a:pt x="3" y="6"/>
                    <a:pt x="5" y="6"/>
                  </a:cubicBezTo>
                  <a:cubicBezTo>
                    <a:pt x="8" y="3"/>
                    <a:pt x="8" y="0"/>
                    <a:pt x="11" y="0"/>
                  </a:cubicBezTo>
                  <a:cubicBezTo>
                    <a:pt x="5" y="0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4" name="Freeform 615"/>
            <p:cNvSpPr>
              <a:spLocks noChangeArrowheads="1"/>
            </p:cNvSpPr>
            <p:nvPr/>
          </p:nvSpPr>
          <p:spPr bwMode="auto">
            <a:xfrm>
              <a:off x="4291013" y="2393950"/>
              <a:ext cx="4762" cy="4763"/>
            </a:xfrm>
            <a:custGeom>
              <a:avLst/>
              <a:gdLst>
                <a:gd name="T0" fmla="*/ 0 w 15"/>
                <a:gd name="T1" fmla="*/ 11 h 15"/>
                <a:gd name="T2" fmla="*/ 0 w 15"/>
                <a:gd name="T3" fmla="*/ 11 h 15"/>
                <a:gd name="T4" fmla="*/ 9 w 15"/>
                <a:gd name="T5" fmla="*/ 14 h 15"/>
                <a:gd name="T6" fmla="*/ 9 w 15"/>
                <a:gd name="T7" fmla="*/ 14 h 15"/>
                <a:gd name="T8" fmla="*/ 14 w 15"/>
                <a:gd name="T9" fmla="*/ 0 h 15"/>
                <a:gd name="T10" fmla="*/ 0 w 15"/>
                <a:gd name="T11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5">
                  <a:moveTo>
                    <a:pt x="0" y="11"/>
                  </a:moveTo>
                  <a:lnTo>
                    <a:pt x="0" y="11"/>
                  </a:lnTo>
                  <a:cubicBezTo>
                    <a:pt x="0" y="14"/>
                    <a:pt x="6" y="14"/>
                    <a:pt x="9" y="14"/>
                  </a:cubicBezTo>
                  <a:lnTo>
                    <a:pt x="9" y="14"/>
                  </a:lnTo>
                  <a:cubicBezTo>
                    <a:pt x="12" y="11"/>
                    <a:pt x="12" y="3"/>
                    <a:pt x="14" y="0"/>
                  </a:cubicBezTo>
                  <a:cubicBezTo>
                    <a:pt x="9" y="3"/>
                    <a:pt x="3" y="6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5" name="Freeform 616"/>
            <p:cNvSpPr>
              <a:spLocks noChangeArrowheads="1"/>
            </p:cNvSpPr>
            <p:nvPr/>
          </p:nvSpPr>
          <p:spPr bwMode="auto">
            <a:xfrm>
              <a:off x="4289425" y="2344738"/>
              <a:ext cx="4763" cy="4762"/>
            </a:xfrm>
            <a:custGeom>
              <a:avLst/>
              <a:gdLst>
                <a:gd name="T0" fmla="*/ 0 w 15"/>
                <a:gd name="T1" fmla="*/ 11 h 15"/>
                <a:gd name="T2" fmla="*/ 11 w 15"/>
                <a:gd name="T3" fmla="*/ 14 h 15"/>
                <a:gd name="T4" fmla="*/ 14 w 15"/>
                <a:gd name="T5" fmla="*/ 9 h 15"/>
                <a:gd name="T6" fmla="*/ 11 w 15"/>
                <a:gd name="T7" fmla="*/ 0 h 15"/>
                <a:gd name="T8" fmla="*/ 0 w 15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0" y="11"/>
                  </a:moveTo>
                  <a:cubicBezTo>
                    <a:pt x="3" y="11"/>
                    <a:pt x="5" y="14"/>
                    <a:pt x="11" y="14"/>
                  </a:cubicBezTo>
                  <a:cubicBezTo>
                    <a:pt x="11" y="11"/>
                    <a:pt x="11" y="11"/>
                    <a:pt x="14" y="9"/>
                  </a:cubicBezTo>
                  <a:cubicBezTo>
                    <a:pt x="14" y="6"/>
                    <a:pt x="11" y="3"/>
                    <a:pt x="11" y="0"/>
                  </a:cubicBezTo>
                  <a:cubicBezTo>
                    <a:pt x="5" y="3"/>
                    <a:pt x="3" y="9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6" name="Freeform 617"/>
            <p:cNvSpPr>
              <a:spLocks noChangeArrowheads="1"/>
            </p:cNvSpPr>
            <p:nvPr/>
          </p:nvSpPr>
          <p:spPr bwMode="auto">
            <a:xfrm>
              <a:off x="4287838" y="2411413"/>
              <a:ext cx="3175" cy="1587"/>
            </a:xfrm>
            <a:custGeom>
              <a:avLst/>
              <a:gdLst>
                <a:gd name="T0" fmla="*/ 0 w 7"/>
                <a:gd name="T1" fmla="*/ 3 h 4"/>
                <a:gd name="T2" fmla="*/ 6 w 7"/>
                <a:gd name="T3" fmla="*/ 3 h 4"/>
                <a:gd name="T4" fmla="*/ 0 w 7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lnTo>
                    <a:pt x="6" y="3"/>
                  </a:lnTo>
                  <a:cubicBezTo>
                    <a:pt x="3" y="3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7" name="Freeform 618"/>
            <p:cNvSpPr>
              <a:spLocks noChangeArrowheads="1"/>
            </p:cNvSpPr>
            <p:nvPr/>
          </p:nvSpPr>
          <p:spPr bwMode="auto">
            <a:xfrm>
              <a:off x="4291013" y="2354263"/>
              <a:ext cx="4762" cy="3175"/>
            </a:xfrm>
            <a:custGeom>
              <a:avLst/>
              <a:gdLst>
                <a:gd name="T0" fmla="*/ 0 w 15"/>
                <a:gd name="T1" fmla="*/ 3 h 10"/>
                <a:gd name="T2" fmla="*/ 4 w 15"/>
                <a:gd name="T3" fmla="*/ 4 h 10"/>
                <a:gd name="T4" fmla="*/ 0 w 15"/>
                <a:gd name="T5" fmla="*/ 3 h 10"/>
                <a:gd name="T6" fmla="*/ 14 w 15"/>
                <a:gd name="T7" fmla="*/ 9 h 10"/>
                <a:gd name="T8" fmla="*/ 14 w 15"/>
                <a:gd name="T9" fmla="*/ 0 h 10"/>
                <a:gd name="T10" fmla="*/ 4 w 15"/>
                <a:gd name="T11" fmla="*/ 4 h 10"/>
                <a:gd name="T12" fmla="*/ 14 w 15"/>
                <a:gd name="T1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0">
                  <a:moveTo>
                    <a:pt x="0" y="3"/>
                  </a:moveTo>
                  <a:cubicBezTo>
                    <a:pt x="2" y="3"/>
                    <a:pt x="3" y="4"/>
                    <a:pt x="4" y="4"/>
                  </a:cubicBezTo>
                  <a:cubicBezTo>
                    <a:pt x="3" y="4"/>
                    <a:pt x="2" y="4"/>
                    <a:pt x="0" y="3"/>
                  </a:cubicBezTo>
                  <a:close/>
                  <a:moveTo>
                    <a:pt x="14" y="9"/>
                  </a:moveTo>
                  <a:lnTo>
                    <a:pt x="14" y="0"/>
                  </a:lnTo>
                  <a:cubicBezTo>
                    <a:pt x="7" y="0"/>
                    <a:pt x="8" y="4"/>
                    <a:pt x="4" y="4"/>
                  </a:cubicBezTo>
                  <a:cubicBezTo>
                    <a:pt x="7" y="6"/>
                    <a:pt x="10" y="9"/>
                    <a:pt x="14" y="9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8" name="Freeform 619"/>
            <p:cNvSpPr>
              <a:spLocks noChangeArrowheads="1"/>
            </p:cNvSpPr>
            <p:nvPr/>
          </p:nvSpPr>
          <p:spPr bwMode="auto">
            <a:xfrm>
              <a:off x="4283075" y="2425700"/>
              <a:ext cx="1588" cy="3175"/>
            </a:xfrm>
            <a:custGeom>
              <a:avLst/>
              <a:gdLst>
                <a:gd name="T0" fmla="*/ 0 w 6"/>
                <a:gd name="T1" fmla="*/ 2 h 9"/>
                <a:gd name="T2" fmla="*/ 5 w 6"/>
                <a:gd name="T3" fmla="*/ 8 h 9"/>
                <a:gd name="T4" fmla="*/ 0 w 6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9">
                  <a:moveTo>
                    <a:pt x="0" y="2"/>
                  </a:moveTo>
                  <a:cubicBezTo>
                    <a:pt x="0" y="5"/>
                    <a:pt x="3" y="8"/>
                    <a:pt x="5" y="8"/>
                  </a:cubicBezTo>
                  <a:cubicBezTo>
                    <a:pt x="5" y="5"/>
                    <a:pt x="5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9" name="Freeform 620"/>
            <p:cNvSpPr>
              <a:spLocks noChangeArrowheads="1"/>
            </p:cNvSpPr>
            <p:nvPr/>
          </p:nvSpPr>
          <p:spPr bwMode="auto">
            <a:xfrm>
              <a:off x="4284663" y="2717800"/>
              <a:ext cx="3175" cy="3175"/>
            </a:xfrm>
            <a:custGeom>
              <a:avLst/>
              <a:gdLst>
                <a:gd name="T0" fmla="*/ 3 w 7"/>
                <a:gd name="T1" fmla="*/ 0 h 10"/>
                <a:gd name="T2" fmla="*/ 0 w 7"/>
                <a:gd name="T3" fmla="*/ 6 h 10"/>
                <a:gd name="T4" fmla="*/ 6 w 7"/>
                <a:gd name="T5" fmla="*/ 9 h 10"/>
                <a:gd name="T6" fmla="*/ 3 w 7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3" y="0"/>
                  </a:moveTo>
                  <a:cubicBezTo>
                    <a:pt x="3" y="3"/>
                    <a:pt x="0" y="3"/>
                    <a:pt x="0" y="6"/>
                  </a:cubicBezTo>
                  <a:cubicBezTo>
                    <a:pt x="3" y="9"/>
                    <a:pt x="6" y="9"/>
                    <a:pt x="6" y="9"/>
                  </a:cubicBezTo>
                  <a:cubicBezTo>
                    <a:pt x="6" y="6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0" name="Freeform 621"/>
            <p:cNvSpPr>
              <a:spLocks noChangeArrowheads="1"/>
            </p:cNvSpPr>
            <p:nvPr/>
          </p:nvSpPr>
          <p:spPr bwMode="auto">
            <a:xfrm>
              <a:off x="4283075" y="2859088"/>
              <a:ext cx="6350" cy="4762"/>
            </a:xfrm>
            <a:custGeom>
              <a:avLst/>
              <a:gdLst>
                <a:gd name="T0" fmla="*/ 6 w 18"/>
                <a:gd name="T1" fmla="*/ 0 h 12"/>
                <a:gd name="T2" fmla="*/ 0 w 18"/>
                <a:gd name="T3" fmla="*/ 6 h 12"/>
                <a:gd name="T4" fmla="*/ 0 w 18"/>
                <a:gd name="T5" fmla="*/ 11 h 12"/>
                <a:gd name="T6" fmla="*/ 3 w 18"/>
                <a:gd name="T7" fmla="*/ 11 h 12"/>
                <a:gd name="T8" fmla="*/ 6 w 18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6" y="0"/>
                  </a:moveTo>
                  <a:cubicBezTo>
                    <a:pt x="6" y="3"/>
                    <a:pt x="3" y="3"/>
                    <a:pt x="0" y="6"/>
                  </a:cubicBezTo>
                  <a:cubicBezTo>
                    <a:pt x="0" y="9"/>
                    <a:pt x="0" y="9"/>
                    <a:pt x="0" y="11"/>
                  </a:cubicBezTo>
                  <a:lnTo>
                    <a:pt x="3" y="11"/>
                  </a:lnTo>
                  <a:cubicBezTo>
                    <a:pt x="0" y="3"/>
                    <a:pt x="17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1" name="Freeform 622"/>
            <p:cNvSpPr>
              <a:spLocks noChangeArrowheads="1"/>
            </p:cNvSpPr>
            <p:nvPr/>
          </p:nvSpPr>
          <p:spPr bwMode="auto">
            <a:xfrm>
              <a:off x="4287838" y="2560638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9 w 10"/>
                <a:gd name="T3" fmla="*/ 3 h 9"/>
                <a:gd name="T4" fmla="*/ 9 w 10"/>
                <a:gd name="T5" fmla="*/ 3 h 9"/>
                <a:gd name="T6" fmla="*/ 6 w 10"/>
                <a:gd name="T7" fmla="*/ 0 h 9"/>
                <a:gd name="T8" fmla="*/ 0 w 10"/>
                <a:gd name="T9" fmla="*/ 0 h 9"/>
                <a:gd name="T10" fmla="*/ 9 w 10"/>
                <a:gd name="T1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lnTo>
                    <a:pt x="9" y="3"/>
                  </a:lnTo>
                  <a:lnTo>
                    <a:pt x="9" y="3"/>
                  </a:lnTo>
                  <a:lnTo>
                    <a:pt x="6" y="0"/>
                  </a:lnTo>
                  <a:lnTo>
                    <a:pt x="0" y="0"/>
                  </a:lnTo>
                  <a:cubicBezTo>
                    <a:pt x="0" y="6"/>
                    <a:pt x="3" y="8"/>
                    <a:pt x="9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2" name="Freeform 623"/>
            <p:cNvSpPr>
              <a:spLocks noChangeArrowheads="1"/>
            </p:cNvSpPr>
            <p:nvPr/>
          </p:nvSpPr>
          <p:spPr bwMode="auto">
            <a:xfrm>
              <a:off x="4329113" y="2640013"/>
              <a:ext cx="4762" cy="3175"/>
            </a:xfrm>
            <a:custGeom>
              <a:avLst/>
              <a:gdLst>
                <a:gd name="T0" fmla="*/ 0 w 12"/>
                <a:gd name="T1" fmla="*/ 5 h 9"/>
                <a:gd name="T2" fmla="*/ 11 w 12"/>
                <a:gd name="T3" fmla="*/ 5 h 9"/>
                <a:gd name="T4" fmla="*/ 3 w 12"/>
                <a:gd name="T5" fmla="*/ 0 h 9"/>
                <a:gd name="T6" fmla="*/ 0 w 12"/>
                <a:gd name="T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3" y="8"/>
                    <a:pt x="8" y="8"/>
                    <a:pt x="11" y="5"/>
                  </a:cubicBezTo>
                  <a:cubicBezTo>
                    <a:pt x="8" y="3"/>
                    <a:pt x="5" y="0"/>
                    <a:pt x="3" y="0"/>
                  </a:cubicBezTo>
                  <a:cubicBezTo>
                    <a:pt x="3" y="3"/>
                    <a:pt x="0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3" name="Freeform 624"/>
            <p:cNvSpPr>
              <a:spLocks noChangeArrowheads="1"/>
            </p:cNvSpPr>
            <p:nvPr/>
          </p:nvSpPr>
          <p:spPr bwMode="auto">
            <a:xfrm>
              <a:off x="4302125" y="2138363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9 w 10"/>
                <a:gd name="T3" fmla="*/ 5 h 9"/>
                <a:gd name="T4" fmla="*/ 0 w 10"/>
                <a:gd name="T5" fmla="*/ 0 h 9"/>
                <a:gd name="T6" fmla="*/ 9 w 10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lnTo>
                    <a:pt x="9" y="5"/>
                  </a:lnTo>
                  <a:cubicBezTo>
                    <a:pt x="6" y="5"/>
                    <a:pt x="3" y="2"/>
                    <a:pt x="0" y="0"/>
                  </a:cubicBezTo>
                  <a:cubicBezTo>
                    <a:pt x="3" y="5"/>
                    <a:pt x="6" y="8"/>
                    <a:pt x="9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4" name="Freeform 625"/>
            <p:cNvSpPr>
              <a:spLocks noChangeArrowheads="1"/>
            </p:cNvSpPr>
            <p:nvPr/>
          </p:nvSpPr>
          <p:spPr bwMode="auto">
            <a:xfrm>
              <a:off x="4302125" y="2149475"/>
              <a:ext cx="23813" cy="17463"/>
            </a:xfrm>
            <a:custGeom>
              <a:avLst/>
              <a:gdLst>
                <a:gd name="T0" fmla="*/ 14 w 66"/>
                <a:gd name="T1" fmla="*/ 34 h 47"/>
                <a:gd name="T2" fmla="*/ 23 w 66"/>
                <a:gd name="T3" fmla="*/ 43 h 47"/>
                <a:gd name="T4" fmla="*/ 26 w 66"/>
                <a:gd name="T5" fmla="*/ 46 h 47"/>
                <a:gd name="T6" fmla="*/ 26 w 66"/>
                <a:gd name="T7" fmla="*/ 37 h 47"/>
                <a:gd name="T8" fmla="*/ 31 w 66"/>
                <a:gd name="T9" fmla="*/ 42 h 47"/>
                <a:gd name="T10" fmla="*/ 29 w 66"/>
                <a:gd name="T11" fmla="*/ 37 h 47"/>
                <a:gd name="T12" fmla="*/ 57 w 66"/>
                <a:gd name="T13" fmla="*/ 6 h 47"/>
                <a:gd name="T14" fmla="*/ 51 w 66"/>
                <a:gd name="T15" fmla="*/ 3 h 47"/>
                <a:gd name="T16" fmla="*/ 37 w 66"/>
                <a:gd name="T17" fmla="*/ 6 h 47"/>
                <a:gd name="T18" fmla="*/ 37 w 66"/>
                <a:gd name="T19" fmla="*/ 12 h 47"/>
                <a:gd name="T20" fmla="*/ 34 w 66"/>
                <a:gd name="T21" fmla="*/ 17 h 47"/>
                <a:gd name="T22" fmla="*/ 14 w 66"/>
                <a:gd name="T23" fmla="*/ 23 h 47"/>
                <a:gd name="T24" fmla="*/ 23 w 66"/>
                <a:gd name="T25" fmla="*/ 12 h 47"/>
                <a:gd name="T26" fmla="*/ 9 w 66"/>
                <a:gd name="T27" fmla="*/ 0 h 47"/>
                <a:gd name="T28" fmla="*/ 3 w 66"/>
                <a:gd name="T29" fmla="*/ 0 h 47"/>
                <a:gd name="T30" fmla="*/ 0 w 66"/>
                <a:gd name="T31" fmla="*/ 23 h 47"/>
                <a:gd name="T32" fmla="*/ 12 w 66"/>
                <a:gd name="T33" fmla="*/ 26 h 47"/>
                <a:gd name="T34" fmla="*/ 14 w 66"/>
                <a:gd name="T35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47">
                  <a:moveTo>
                    <a:pt x="14" y="34"/>
                  </a:moveTo>
                  <a:cubicBezTo>
                    <a:pt x="17" y="40"/>
                    <a:pt x="20" y="43"/>
                    <a:pt x="23" y="43"/>
                  </a:cubicBezTo>
                  <a:lnTo>
                    <a:pt x="26" y="46"/>
                  </a:lnTo>
                  <a:lnTo>
                    <a:pt x="26" y="37"/>
                  </a:lnTo>
                  <a:cubicBezTo>
                    <a:pt x="28" y="40"/>
                    <a:pt x="31" y="40"/>
                    <a:pt x="31" y="42"/>
                  </a:cubicBezTo>
                  <a:cubicBezTo>
                    <a:pt x="31" y="41"/>
                    <a:pt x="30" y="39"/>
                    <a:pt x="29" y="37"/>
                  </a:cubicBezTo>
                  <a:cubicBezTo>
                    <a:pt x="43" y="31"/>
                    <a:pt x="65" y="23"/>
                    <a:pt x="57" y="6"/>
                  </a:cubicBezTo>
                  <a:cubicBezTo>
                    <a:pt x="54" y="6"/>
                    <a:pt x="51" y="6"/>
                    <a:pt x="51" y="3"/>
                  </a:cubicBezTo>
                  <a:cubicBezTo>
                    <a:pt x="48" y="6"/>
                    <a:pt x="46" y="9"/>
                    <a:pt x="37" y="6"/>
                  </a:cubicBezTo>
                  <a:lnTo>
                    <a:pt x="37" y="12"/>
                  </a:lnTo>
                  <a:cubicBezTo>
                    <a:pt x="37" y="14"/>
                    <a:pt x="37" y="17"/>
                    <a:pt x="34" y="17"/>
                  </a:cubicBezTo>
                  <a:cubicBezTo>
                    <a:pt x="29" y="26"/>
                    <a:pt x="20" y="29"/>
                    <a:pt x="14" y="23"/>
                  </a:cubicBezTo>
                  <a:cubicBezTo>
                    <a:pt x="14" y="17"/>
                    <a:pt x="23" y="17"/>
                    <a:pt x="23" y="12"/>
                  </a:cubicBezTo>
                  <a:cubicBezTo>
                    <a:pt x="20" y="6"/>
                    <a:pt x="17" y="0"/>
                    <a:pt x="9" y="0"/>
                  </a:cubicBezTo>
                  <a:lnTo>
                    <a:pt x="3" y="0"/>
                  </a:lnTo>
                  <a:cubicBezTo>
                    <a:pt x="9" y="12"/>
                    <a:pt x="0" y="17"/>
                    <a:pt x="0" y="23"/>
                  </a:cubicBezTo>
                  <a:cubicBezTo>
                    <a:pt x="3" y="23"/>
                    <a:pt x="9" y="23"/>
                    <a:pt x="12" y="26"/>
                  </a:cubicBezTo>
                  <a:cubicBezTo>
                    <a:pt x="12" y="31"/>
                    <a:pt x="14" y="31"/>
                    <a:pt x="14" y="3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5" name="Freeform 626"/>
            <p:cNvSpPr>
              <a:spLocks noChangeArrowheads="1"/>
            </p:cNvSpPr>
            <p:nvPr/>
          </p:nvSpPr>
          <p:spPr bwMode="auto">
            <a:xfrm>
              <a:off x="4324350" y="2301875"/>
              <a:ext cx="3175" cy="4763"/>
            </a:xfrm>
            <a:custGeom>
              <a:avLst/>
              <a:gdLst>
                <a:gd name="T0" fmla="*/ 9 w 10"/>
                <a:gd name="T1" fmla="*/ 2 h 15"/>
                <a:gd name="T2" fmla="*/ 3 w 10"/>
                <a:gd name="T3" fmla="*/ 0 h 15"/>
                <a:gd name="T4" fmla="*/ 0 w 10"/>
                <a:gd name="T5" fmla="*/ 2 h 15"/>
                <a:gd name="T6" fmla="*/ 6 w 10"/>
                <a:gd name="T7" fmla="*/ 14 h 15"/>
                <a:gd name="T8" fmla="*/ 9 w 10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9" y="2"/>
                  </a:moveTo>
                  <a:cubicBezTo>
                    <a:pt x="9" y="2"/>
                    <a:pt x="6" y="0"/>
                    <a:pt x="3" y="0"/>
                  </a:cubicBezTo>
                  <a:lnTo>
                    <a:pt x="0" y="2"/>
                  </a:lnTo>
                  <a:cubicBezTo>
                    <a:pt x="3" y="5"/>
                    <a:pt x="6" y="11"/>
                    <a:pt x="6" y="14"/>
                  </a:cubicBezTo>
                  <a:cubicBezTo>
                    <a:pt x="9" y="8"/>
                    <a:pt x="9" y="5"/>
                    <a:pt x="9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6" name="Freeform 627"/>
            <p:cNvSpPr>
              <a:spLocks noChangeArrowheads="1"/>
            </p:cNvSpPr>
            <p:nvPr/>
          </p:nvSpPr>
          <p:spPr bwMode="auto">
            <a:xfrm>
              <a:off x="4300538" y="2146300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7" name="Freeform 628"/>
            <p:cNvSpPr>
              <a:spLocks noChangeArrowheads="1"/>
            </p:cNvSpPr>
            <p:nvPr/>
          </p:nvSpPr>
          <p:spPr bwMode="auto">
            <a:xfrm>
              <a:off x="4327525" y="2422525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0 w 7"/>
                <a:gd name="T3" fmla="*/ 3 h 7"/>
                <a:gd name="T4" fmla="*/ 6 w 7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cubicBezTo>
                    <a:pt x="6" y="0"/>
                    <a:pt x="0" y="0"/>
                    <a:pt x="0" y="3"/>
                  </a:cubicBezTo>
                  <a:cubicBezTo>
                    <a:pt x="0" y="3"/>
                    <a:pt x="3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8" name="Freeform 629"/>
            <p:cNvSpPr>
              <a:spLocks noChangeArrowheads="1"/>
            </p:cNvSpPr>
            <p:nvPr/>
          </p:nvSpPr>
          <p:spPr bwMode="auto">
            <a:xfrm>
              <a:off x="4262438" y="2324100"/>
              <a:ext cx="6350" cy="6350"/>
            </a:xfrm>
            <a:custGeom>
              <a:avLst/>
              <a:gdLst>
                <a:gd name="T0" fmla="*/ 0 w 17"/>
                <a:gd name="T1" fmla="*/ 5 h 18"/>
                <a:gd name="T2" fmla="*/ 0 w 17"/>
                <a:gd name="T3" fmla="*/ 11 h 18"/>
                <a:gd name="T4" fmla="*/ 11 w 17"/>
                <a:gd name="T5" fmla="*/ 17 h 18"/>
                <a:gd name="T6" fmla="*/ 16 w 17"/>
                <a:gd name="T7" fmla="*/ 11 h 18"/>
                <a:gd name="T8" fmla="*/ 14 w 17"/>
                <a:gd name="T9" fmla="*/ 5 h 18"/>
                <a:gd name="T10" fmla="*/ 0 w 17"/>
                <a:gd name="T11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8">
                  <a:moveTo>
                    <a:pt x="0" y="5"/>
                  </a:moveTo>
                  <a:lnTo>
                    <a:pt x="0" y="11"/>
                  </a:lnTo>
                  <a:cubicBezTo>
                    <a:pt x="5" y="17"/>
                    <a:pt x="8" y="14"/>
                    <a:pt x="11" y="17"/>
                  </a:cubicBezTo>
                  <a:cubicBezTo>
                    <a:pt x="11" y="14"/>
                    <a:pt x="14" y="11"/>
                    <a:pt x="16" y="11"/>
                  </a:cubicBezTo>
                  <a:cubicBezTo>
                    <a:pt x="16" y="8"/>
                    <a:pt x="16" y="5"/>
                    <a:pt x="14" y="5"/>
                  </a:cubicBezTo>
                  <a:cubicBezTo>
                    <a:pt x="8" y="0"/>
                    <a:pt x="5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9" name="Freeform 630"/>
            <p:cNvSpPr>
              <a:spLocks noChangeArrowheads="1"/>
            </p:cNvSpPr>
            <p:nvPr/>
          </p:nvSpPr>
          <p:spPr bwMode="auto">
            <a:xfrm>
              <a:off x="4322763" y="2852738"/>
              <a:ext cx="1587" cy="3175"/>
            </a:xfrm>
            <a:custGeom>
              <a:avLst/>
              <a:gdLst>
                <a:gd name="T0" fmla="*/ 3 w 4"/>
                <a:gd name="T1" fmla="*/ 0 h 7"/>
                <a:gd name="T2" fmla="*/ 3 w 4"/>
                <a:gd name="T3" fmla="*/ 0 h 7"/>
                <a:gd name="T4" fmla="*/ 0 w 4"/>
                <a:gd name="T5" fmla="*/ 6 h 7"/>
                <a:gd name="T6" fmla="*/ 3 w 4"/>
                <a:gd name="T7" fmla="*/ 6 h 7"/>
                <a:gd name="T8" fmla="*/ 3 w 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3" y="0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3" y="6"/>
                  </a:lnTo>
                  <a:cubicBezTo>
                    <a:pt x="3" y="3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0" name="Freeform 631"/>
            <p:cNvSpPr>
              <a:spLocks noChangeArrowheads="1"/>
            </p:cNvSpPr>
            <p:nvPr/>
          </p:nvSpPr>
          <p:spPr bwMode="auto">
            <a:xfrm>
              <a:off x="4292600" y="2146300"/>
              <a:ext cx="3175" cy="3175"/>
            </a:xfrm>
            <a:custGeom>
              <a:avLst/>
              <a:gdLst>
                <a:gd name="T0" fmla="*/ 9 w 10"/>
                <a:gd name="T1" fmla="*/ 0 h 10"/>
                <a:gd name="T2" fmla="*/ 0 w 10"/>
                <a:gd name="T3" fmla="*/ 0 h 10"/>
                <a:gd name="T4" fmla="*/ 0 w 10"/>
                <a:gd name="T5" fmla="*/ 9 h 10"/>
                <a:gd name="T6" fmla="*/ 9 w 10"/>
                <a:gd name="T7" fmla="*/ 9 h 10"/>
                <a:gd name="T8" fmla="*/ 9 w 1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9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9" y="9"/>
                  </a:lnTo>
                  <a:lnTo>
                    <a:pt x="9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1" name="Freeform 632"/>
            <p:cNvSpPr>
              <a:spLocks noChangeArrowheads="1"/>
            </p:cNvSpPr>
            <p:nvPr/>
          </p:nvSpPr>
          <p:spPr bwMode="auto">
            <a:xfrm>
              <a:off x="4294188" y="2155825"/>
              <a:ext cx="1587" cy="3175"/>
            </a:xfrm>
            <a:custGeom>
              <a:avLst/>
              <a:gdLst>
                <a:gd name="T0" fmla="*/ 0 w 4"/>
                <a:gd name="T1" fmla="*/ 0 h 7"/>
                <a:gd name="T2" fmla="*/ 0 w 4"/>
                <a:gd name="T3" fmla="*/ 6 h 7"/>
                <a:gd name="T4" fmla="*/ 0 w 4"/>
                <a:gd name="T5" fmla="*/ 6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cubicBezTo>
                    <a:pt x="0" y="0"/>
                    <a:pt x="0" y="3"/>
                    <a:pt x="0" y="6"/>
                  </a:cubicBezTo>
                  <a:lnTo>
                    <a:pt x="0" y="6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2" name="Freeform 633"/>
            <p:cNvSpPr>
              <a:spLocks noChangeArrowheads="1"/>
            </p:cNvSpPr>
            <p:nvPr/>
          </p:nvSpPr>
          <p:spPr bwMode="auto">
            <a:xfrm>
              <a:off x="4284663" y="2139950"/>
              <a:ext cx="6350" cy="4763"/>
            </a:xfrm>
            <a:custGeom>
              <a:avLst/>
              <a:gdLst>
                <a:gd name="T0" fmla="*/ 17 w 18"/>
                <a:gd name="T1" fmla="*/ 11 h 15"/>
                <a:gd name="T2" fmla="*/ 6 w 18"/>
                <a:gd name="T3" fmla="*/ 0 h 15"/>
                <a:gd name="T4" fmla="*/ 17 w 18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7" y="11"/>
                  </a:moveTo>
                  <a:cubicBezTo>
                    <a:pt x="17" y="3"/>
                    <a:pt x="15" y="0"/>
                    <a:pt x="6" y="0"/>
                  </a:cubicBezTo>
                  <a:cubicBezTo>
                    <a:pt x="0" y="3"/>
                    <a:pt x="6" y="14"/>
                    <a:pt x="17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3" name="Freeform 634"/>
            <p:cNvSpPr>
              <a:spLocks noChangeArrowheads="1"/>
            </p:cNvSpPr>
            <p:nvPr/>
          </p:nvSpPr>
          <p:spPr bwMode="auto">
            <a:xfrm>
              <a:off x="4308475" y="2965450"/>
              <a:ext cx="14288" cy="11113"/>
            </a:xfrm>
            <a:custGeom>
              <a:avLst/>
              <a:gdLst>
                <a:gd name="T0" fmla="*/ 37 w 38"/>
                <a:gd name="T1" fmla="*/ 9 h 30"/>
                <a:gd name="T2" fmla="*/ 0 w 38"/>
                <a:gd name="T3" fmla="*/ 17 h 30"/>
                <a:gd name="T4" fmla="*/ 29 w 38"/>
                <a:gd name="T5" fmla="*/ 14 h 30"/>
                <a:gd name="T6" fmla="*/ 32 w 38"/>
                <a:gd name="T7" fmla="*/ 29 h 30"/>
                <a:gd name="T8" fmla="*/ 34 w 38"/>
                <a:gd name="T9" fmla="*/ 26 h 30"/>
                <a:gd name="T10" fmla="*/ 37 w 38"/>
                <a:gd name="T11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30">
                  <a:moveTo>
                    <a:pt x="37" y="9"/>
                  </a:moveTo>
                  <a:cubicBezTo>
                    <a:pt x="23" y="0"/>
                    <a:pt x="6" y="6"/>
                    <a:pt x="0" y="17"/>
                  </a:cubicBezTo>
                  <a:cubicBezTo>
                    <a:pt x="12" y="17"/>
                    <a:pt x="17" y="12"/>
                    <a:pt x="29" y="14"/>
                  </a:cubicBezTo>
                  <a:cubicBezTo>
                    <a:pt x="29" y="17"/>
                    <a:pt x="26" y="29"/>
                    <a:pt x="32" y="29"/>
                  </a:cubicBezTo>
                  <a:cubicBezTo>
                    <a:pt x="32" y="26"/>
                    <a:pt x="34" y="26"/>
                    <a:pt x="34" y="26"/>
                  </a:cubicBezTo>
                  <a:cubicBezTo>
                    <a:pt x="32" y="20"/>
                    <a:pt x="34" y="14"/>
                    <a:pt x="37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4" name="Freeform 635"/>
            <p:cNvSpPr>
              <a:spLocks noChangeArrowheads="1"/>
            </p:cNvSpPr>
            <p:nvPr/>
          </p:nvSpPr>
          <p:spPr bwMode="auto">
            <a:xfrm>
              <a:off x="4311650" y="2709863"/>
              <a:ext cx="1588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0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0"/>
                    <a:pt x="3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5" name="Freeform 636"/>
            <p:cNvSpPr>
              <a:spLocks noChangeArrowheads="1"/>
            </p:cNvSpPr>
            <p:nvPr/>
          </p:nvSpPr>
          <p:spPr bwMode="auto">
            <a:xfrm>
              <a:off x="4306888" y="2940050"/>
              <a:ext cx="4762" cy="4763"/>
            </a:xfrm>
            <a:custGeom>
              <a:avLst/>
              <a:gdLst>
                <a:gd name="T0" fmla="*/ 11 w 12"/>
                <a:gd name="T1" fmla="*/ 11 h 15"/>
                <a:gd name="T2" fmla="*/ 2 w 12"/>
                <a:gd name="T3" fmla="*/ 3 h 15"/>
                <a:gd name="T4" fmla="*/ 11 w 12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1" y="11"/>
                  </a:moveTo>
                  <a:cubicBezTo>
                    <a:pt x="11" y="5"/>
                    <a:pt x="11" y="0"/>
                    <a:pt x="2" y="3"/>
                  </a:cubicBezTo>
                  <a:cubicBezTo>
                    <a:pt x="0" y="5"/>
                    <a:pt x="2" y="14"/>
                    <a:pt x="11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6" name="Freeform 637"/>
            <p:cNvSpPr>
              <a:spLocks noChangeArrowheads="1"/>
            </p:cNvSpPr>
            <p:nvPr/>
          </p:nvSpPr>
          <p:spPr bwMode="auto">
            <a:xfrm>
              <a:off x="4308475" y="2684463"/>
              <a:ext cx="3175" cy="4762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9 h 15"/>
                <a:gd name="T4" fmla="*/ 9 w 10"/>
                <a:gd name="T5" fmla="*/ 14 h 15"/>
                <a:gd name="T6" fmla="*/ 0 w 10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0" y="6"/>
                    <a:pt x="0" y="6"/>
                    <a:pt x="0" y="9"/>
                  </a:cubicBezTo>
                  <a:cubicBezTo>
                    <a:pt x="6" y="9"/>
                    <a:pt x="6" y="11"/>
                    <a:pt x="9" y="14"/>
                  </a:cubicBezTo>
                  <a:cubicBezTo>
                    <a:pt x="9" y="6"/>
                    <a:pt x="9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7" name="Freeform 638"/>
            <p:cNvSpPr>
              <a:spLocks noChangeArrowheads="1"/>
            </p:cNvSpPr>
            <p:nvPr/>
          </p:nvSpPr>
          <p:spPr bwMode="auto">
            <a:xfrm>
              <a:off x="4313238" y="2171700"/>
              <a:ext cx="6350" cy="4763"/>
            </a:xfrm>
            <a:custGeom>
              <a:avLst/>
              <a:gdLst>
                <a:gd name="T0" fmla="*/ 0 w 18"/>
                <a:gd name="T1" fmla="*/ 14 h 15"/>
                <a:gd name="T2" fmla="*/ 17 w 18"/>
                <a:gd name="T3" fmla="*/ 5 h 15"/>
                <a:gd name="T4" fmla="*/ 0 w 18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0" y="14"/>
                  </a:moveTo>
                  <a:cubicBezTo>
                    <a:pt x="9" y="14"/>
                    <a:pt x="17" y="14"/>
                    <a:pt x="17" y="5"/>
                  </a:cubicBezTo>
                  <a:cubicBezTo>
                    <a:pt x="9" y="0"/>
                    <a:pt x="3" y="8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8" name="Freeform 639"/>
            <p:cNvSpPr>
              <a:spLocks noChangeArrowheads="1"/>
            </p:cNvSpPr>
            <p:nvPr/>
          </p:nvSpPr>
          <p:spPr bwMode="auto">
            <a:xfrm>
              <a:off x="4316413" y="2184400"/>
              <a:ext cx="3175" cy="4763"/>
            </a:xfrm>
            <a:custGeom>
              <a:avLst/>
              <a:gdLst>
                <a:gd name="T0" fmla="*/ 8 w 9"/>
                <a:gd name="T1" fmla="*/ 12 h 13"/>
                <a:gd name="T2" fmla="*/ 0 w 9"/>
                <a:gd name="T3" fmla="*/ 0 h 13"/>
                <a:gd name="T4" fmla="*/ 8 w 9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3">
                  <a:moveTo>
                    <a:pt x="8" y="12"/>
                  </a:moveTo>
                  <a:cubicBezTo>
                    <a:pt x="8" y="3"/>
                    <a:pt x="6" y="3"/>
                    <a:pt x="0" y="0"/>
                  </a:cubicBezTo>
                  <a:cubicBezTo>
                    <a:pt x="0" y="6"/>
                    <a:pt x="3" y="9"/>
                    <a:pt x="8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9" name="Freeform 640"/>
            <p:cNvSpPr>
              <a:spLocks noChangeArrowheads="1"/>
            </p:cNvSpPr>
            <p:nvPr/>
          </p:nvSpPr>
          <p:spPr bwMode="auto">
            <a:xfrm>
              <a:off x="4313238" y="2535238"/>
              <a:ext cx="6350" cy="3175"/>
            </a:xfrm>
            <a:custGeom>
              <a:avLst/>
              <a:gdLst>
                <a:gd name="T0" fmla="*/ 9 w 16"/>
                <a:gd name="T1" fmla="*/ 9 h 10"/>
                <a:gd name="T2" fmla="*/ 15 w 16"/>
                <a:gd name="T3" fmla="*/ 3 h 10"/>
                <a:gd name="T4" fmla="*/ 9 w 16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0">
                  <a:moveTo>
                    <a:pt x="9" y="9"/>
                  </a:moveTo>
                  <a:cubicBezTo>
                    <a:pt x="9" y="6"/>
                    <a:pt x="12" y="6"/>
                    <a:pt x="15" y="3"/>
                  </a:cubicBezTo>
                  <a:cubicBezTo>
                    <a:pt x="9" y="0"/>
                    <a:pt x="0" y="9"/>
                    <a:pt x="9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0" name="Freeform 641"/>
            <p:cNvSpPr>
              <a:spLocks noChangeArrowheads="1"/>
            </p:cNvSpPr>
            <p:nvPr/>
          </p:nvSpPr>
          <p:spPr bwMode="auto">
            <a:xfrm>
              <a:off x="4332288" y="2990850"/>
              <a:ext cx="4762" cy="3175"/>
            </a:xfrm>
            <a:custGeom>
              <a:avLst/>
              <a:gdLst>
                <a:gd name="T0" fmla="*/ 3 w 12"/>
                <a:gd name="T1" fmla="*/ 0 h 10"/>
                <a:gd name="T2" fmla="*/ 11 w 12"/>
                <a:gd name="T3" fmla="*/ 9 h 10"/>
                <a:gd name="T4" fmla="*/ 3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3" y="0"/>
                  </a:moveTo>
                  <a:cubicBezTo>
                    <a:pt x="0" y="3"/>
                    <a:pt x="6" y="6"/>
                    <a:pt x="11" y="9"/>
                  </a:cubicBezTo>
                  <a:cubicBezTo>
                    <a:pt x="11" y="3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1" name="Freeform 642"/>
            <p:cNvSpPr>
              <a:spLocks noChangeArrowheads="1"/>
            </p:cNvSpPr>
            <p:nvPr/>
          </p:nvSpPr>
          <p:spPr bwMode="auto">
            <a:xfrm>
              <a:off x="4333875" y="2974975"/>
              <a:ext cx="1588" cy="317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6 h 7"/>
                <a:gd name="T4" fmla="*/ 3 w 6"/>
                <a:gd name="T5" fmla="*/ 6 h 7"/>
                <a:gd name="T6" fmla="*/ 5 w 6"/>
                <a:gd name="T7" fmla="*/ 0 h 7"/>
                <a:gd name="T8" fmla="*/ 5 w 6"/>
                <a:gd name="T9" fmla="*/ 0 h 7"/>
                <a:gd name="T10" fmla="*/ 0 w 6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cubicBezTo>
                    <a:pt x="5" y="6"/>
                    <a:pt x="5" y="3"/>
                    <a:pt x="5" y="0"/>
                  </a:cubicBez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2" name="Freeform 643"/>
            <p:cNvSpPr>
              <a:spLocks noChangeArrowheads="1"/>
            </p:cNvSpPr>
            <p:nvPr/>
          </p:nvSpPr>
          <p:spPr bwMode="auto">
            <a:xfrm>
              <a:off x="4330700" y="2965450"/>
              <a:ext cx="4763" cy="4763"/>
            </a:xfrm>
            <a:custGeom>
              <a:avLst/>
              <a:gdLst>
                <a:gd name="T0" fmla="*/ 14 w 15"/>
                <a:gd name="T1" fmla="*/ 2 h 12"/>
                <a:gd name="T2" fmla="*/ 3 w 15"/>
                <a:gd name="T3" fmla="*/ 2 h 12"/>
                <a:gd name="T4" fmla="*/ 14 w 15"/>
                <a:gd name="T5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14" y="2"/>
                  </a:moveTo>
                  <a:cubicBezTo>
                    <a:pt x="6" y="2"/>
                    <a:pt x="9" y="0"/>
                    <a:pt x="3" y="2"/>
                  </a:cubicBezTo>
                  <a:cubicBezTo>
                    <a:pt x="0" y="11"/>
                    <a:pt x="14" y="11"/>
                    <a:pt x="14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3" name="Freeform 644"/>
            <p:cNvSpPr>
              <a:spLocks noChangeArrowheads="1"/>
            </p:cNvSpPr>
            <p:nvPr/>
          </p:nvSpPr>
          <p:spPr bwMode="auto">
            <a:xfrm>
              <a:off x="4319588" y="2971800"/>
              <a:ext cx="4762" cy="3175"/>
            </a:xfrm>
            <a:custGeom>
              <a:avLst/>
              <a:gdLst>
                <a:gd name="T0" fmla="*/ 0 w 13"/>
                <a:gd name="T1" fmla="*/ 6 h 10"/>
                <a:gd name="T2" fmla="*/ 0 w 13"/>
                <a:gd name="T3" fmla="*/ 6 h 10"/>
                <a:gd name="T4" fmla="*/ 6 w 13"/>
                <a:gd name="T5" fmla="*/ 6 h 10"/>
                <a:gd name="T6" fmla="*/ 9 w 13"/>
                <a:gd name="T7" fmla="*/ 9 h 10"/>
                <a:gd name="T8" fmla="*/ 12 w 13"/>
                <a:gd name="T9" fmla="*/ 9 h 10"/>
                <a:gd name="T10" fmla="*/ 0 w 13"/>
                <a:gd name="T1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0">
                  <a:moveTo>
                    <a:pt x="0" y="6"/>
                  </a:moveTo>
                  <a:cubicBezTo>
                    <a:pt x="0" y="6"/>
                    <a:pt x="3" y="6"/>
                    <a:pt x="0" y="6"/>
                  </a:cubicBezTo>
                  <a:cubicBezTo>
                    <a:pt x="3" y="6"/>
                    <a:pt x="3" y="6"/>
                    <a:pt x="6" y="6"/>
                  </a:cubicBezTo>
                  <a:cubicBezTo>
                    <a:pt x="6" y="6"/>
                    <a:pt x="6" y="9"/>
                    <a:pt x="9" y="9"/>
                  </a:cubicBezTo>
                  <a:lnTo>
                    <a:pt x="12" y="9"/>
                  </a:lnTo>
                  <a:cubicBezTo>
                    <a:pt x="12" y="3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4" name="Freeform 645"/>
            <p:cNvSpPr>
              <a:spLocks noChangeArrowheads="1"/>
            </p:cNvSpPr>
            <p:nvPr/>
          </p:nvSpPr>
          <p:spPr bwMode="auto">
            <a:xfrm>
              <a:off x="4324350" y="2643188"/>
              <a:ext cx="1588" cy="1587"/>
            </a:xfrm>
            <a:custGeom>
              <a:avLst/>
              <a:gdLst>
                <a:gd name="T0" fmla="*/ 0 w 3"/>
                <a:gd name="T1" fmla="*/ 0 h 4"/>
                <a:gd name="T2" fmla="*/ 2 w 3"/>
                <a:gd name="T3" fmla="*/ 3 h 4"/>
                <a:gd name="T4" fmla="*/ 0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cubicBezTo>
                    <a:pt x="0" y="0"/>
                    <a:pt x="2" y="0"/>
                    <a:pt x="2" y="3"/>
                  </a:cubicBezTo>
                  <a:cubicBezTo>
                    <a:pt x="2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5" name="Freeform 646"/>
            <p:cNvSpPr>
              <a:spLocks noChangeArrowheads="1"/>
            </p:cNvSpPr>
            <p:nvPr/>
          </p:nvSpPr>
          <p:spPr bwMode="auto">
            <a:xfrm>
              <a:off x="4324350" y="2609850"/>
              <a:ext cx="3175" cy="3175"/>
            </a:xfrm>
            <a:custGeom>
              <a:avLst/>
              <a:gdLst>
                <a:gd name="T0" fmla="*/ 5 w 9"/>
                <a:gd name="T1" fmla="*/ 0 h 10"/>
                <a:gd name="T2" fmla="*/ 0 w 9"/>
                <a:gd name="T3" fmla="*/ 3 h 10"/>
                <a:gd name="T4" fmla="*/ 0 w 9"/>
                <a:gd name="T5" fmla="*/ 9 h 10"/>
                <a:gd name="T6" fmla="*/ 5 w 9"/>
                <a:gd name="T7" fmla="*/ 9 h 10"/>
                <a:gd name="T8" fmla="*/ 5 w 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cubicBezTo>
                    <a:pt x="2" y="0"/>
                    <a:pt x="0" y="0"/>
                    <a:pt x="0" y="3"/>
                  </a:cubicBezTo>
                  <a:cubicBezTo>
                    <a:pt x="0" y="6"/>
                    <a:pt x="0" y="6"/>
                    <a:pt x="0" y="9"/>
                  </a:cubicBezTo>
                  <a:lnTo>
                    <a:pt x="5" y="9"/>
                  </a:lnTo>
                  <a:cubicBezTo>
                    <a:pt x="5" y="3"/>
                    <a:pt x="8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6" name="Freeform 647"/>
            <p:cNvSpPr>
              <a:spLocks noChangeArrowheads="1"/>
            </p:cNvSpPr>
            <p:nvPr/>
          </p:nvSpPr>
          <p:spPr bwMode="auto">
            <a:xfrm>
              <a:off x="4327525" y="2720975"/>
              <a:ext cx="3175" cy="1588"/>
            </a:xfrm>
            <a:custGeom>
              <a:avLst/>
              <a:gdLst>
                <a:gd name="T0" fmla="*/ 0 w 10"/>
                <a:gd name="T1" fmla="*/ 0 h 6"/>
                <a:gd name="T2" fmla="*/ 6 w 10"/>
                <a:gd name="T3" fmla="*/ 5 h 6"/>
                <a:gd name="T4" fmla="*/ 9 w 10"/>
                <a:gd name="T5" fmla="*/ 3 h 6"/>
                <a:gd name="T6" fmla="*/ 0 w 1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6">
                  <a:moveTo>
                    <a:pt x="0" y="0"/>
                  </a:moveTo>
                  <a:cubicBezTo>
                    <a:pt x="0" y="3"/>
                    <a:pt x="0" y="5"/>
                    <a:pt x="6" y="5"/>
                  </a:cubicBezTo>
                  <a:cubicBezTo>
                    <a:pt x="6" y="5"/>
                    <a:pt x="9" y="5"/>
                    <a:pt x="9" y="3"/>
                  </a:cubicBezTo>
                  <a:cubicBezTo>
                    <a:pt x="6" y="3"/>
                    <a:pt x="6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7" name="Freeform 648"/>
            <p:cNvSpPr>
              <a:spLocks noChangeArrowheads="1"/>
            </p:cNvSpPr>
            <p:nvPr/>
          </p:nvSpPr>
          <p:spPr bwMode="auto">
            <a:xfrm>
              <a:off x="4065588" y="2649538"/>
              <a:ext cx="3175" cy="1587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0 w 7"/>
                <a:gd name="T5" fmla="*/ 3 h 4"/>
                <a:gd name="T6" fmla="*/ 6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0" y="0"/>
                    <a:pt x="0" y="0"/>
                  </a:cubicBezTo>
                  <a:lnTo>
                    <a:pt x="0" y="3"/>
                  </a:lnTo>
                  <a:cubicBezTo>
                    <a:pt x="0" y="3"/>
                    <a:pt x="3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8" name="Freeform 649"/>
            <p:cNvSpPr>
              <a:spLocks noChangeArrowheads="1"/>
            </p:cNvSpPr>
            <p:nvPr/>
          </p:nvSpPr>
          <p:spPr bwMode="auto">
            <a:xfrm>
              <a:off x="4075113" y="2495550"/>
              <a:ext cx="3175" cy="6350"/>
            </a:xfrm>
            <a:custGeom>
              <a:avLst/>
              <a:gdLst>
                <a:gd name="T0" fmla="*/ 9 w 10"/>
                <a:gd name="T1" fmla="*/ 0 h 16"/>
                <a:gd name="T2" fmla="*/ 0 w 10"/>
                <a:gd name="T3" fmla="*/ 12 h 16"/>
                <a:gd name="T4" fmla="*/ 9 w 10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9" y="0"/>
                  </a:moveTo>
                  <a:cubicBezTo>
                    <a:pt x="3" y="0"/>
                    <a:pt x="3" y="6"/>
                    <a:pt x="0" y="12"/>
                  </a:cubicBezTo>
                  <a:cubicBezTo>
                    <a:pt x="9" y="15"/>
                    <a:pt x="9" y="6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9" name="Freeform 650"/>
            <p:cNvSpPr>
              <a:spLocks noChangeArrowheads="1"/>
            </p:cNvSpPr>
            <p:nvPr/>
          </p:nvSpPr>
          <p:spPr bwMode="auto">
            <a:xfrm>
              <a:off x="4041775" y="2146300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3 w 7"/>
                <a:gd name="T3" fmla="*/ 0 h 7"/>
                <a:gd name="T4" fmla="*/ 3 w 7"/>
                <a:gd name="T5" fmla="*/ 0 h 7"/>
                <a:gd name="T6" fmla="*/ 0 w 7"/>
                <a:gd name="T7" fmla="*/ 3 h 7"/>
                <a:gd name="T8" fmla="*/ 3 w 7"/>
                <a:gd name="T9" fmla="*/ 6 h 7"/>
                <a:gd name="T10" fmla="*/ 6 w 7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cubicBezTo>
                    <a:pt x="6" y="3"/>
                    <a:pt x="6" y="0"/>
                    <a:pt x="3" y="0"/>
                  </a:cubicBezTo>
                  <a:lnTo>
                    <a:pt x="3" y="0"/>
                  </a:lnTo>
                  <a:cubicBezTo>
                    <a:pt x="3" y="3"/>
                    <a:pt x="3" y="3"/>
                    <a:pt x="0" y="3"/>
                  </a:cubicBezTo>
                  <a:cubicBezTo>
                    <a:pt x="0" y="3"/>
                    <a:pt x="0" y="6"/>
                    <a:pt x="3" y="6"/>
                  </a:cubicBezTo>
                  <a:lnTo>
                    <a:pt x="6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0" name="Freeform 651"/>
            <p:cNvSpPr>
              <a:spLocks noChangeArrowheads="1"/>
            </p:cNvSpPr>
            <p:nvPr/>
          </p:nvSpPr>
          <p:spPr bwMode="auto">
            <a:xfrm>
              <a:off x="4064000" y="2890838"/>
              <a:ext cx="3175" cy="1587"/>
            </a:xfrm>
            <a:custGeom>
              <a:avLst/>
              <a:gdLst>
                <a:gd name="T0" fmla="*/ 6 w 7"/>
                <a:gd name="T1" fmla="*/ 2 h 6"/>
                <a:gd name="T2" fmla="*/ 0 w 7"/>
                <a:gd name="T3" fmla="*/ 0 h 6"/>
                <a:gd name="T4" fmla="*/ 6 w 7"/>
                <a:gd name="T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2"/>
                  </a:moveTo>
                  <a:cubicBezTo>
                    <a:pt x="6" y="0"/>
                    <a:pt x="3" y="0"/>
                    <a:pt x="0" y="0"/>
                  </a:cubicBezTo>
                  <a:cubicBezTo>
                    <a:pt x="0" y="0"/>
                    <a:pt x="6" y="5"/>
                    <a:pt x="6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1" name="Freeform 652"/>
            <p:cNvSpPr>
              <a:spLocks noChangeArrowheads="1"/>
            </p:cNvSpPr>
            <p:nvPr/>
          </p:nvSpPr>
          <p:spPr bwMode="auto">
            <a:xfrm>
              <a:off x="4049713" y="2984500"/>
              <a:ext cx="6350" cy="7938"/>
            </a:xfrm>
            <a:custGeom>
              <a:avLst/>
              <a:gdLst>
                <a:gd name="T0" fmla="*/ 0 w 18"/>
                <a:gd name="T1" fmla="*/ 6 h 21"/>
                <a:gd name="T2" fmla="*/ 0 w 18"/>
                <a:gd name="T3" fmla="*/ 20 h 21"/>
                <a:gd name="T4" fmla="*/ 17 w 18"/>
                <a:gd name="T5" fmla="*/ 0 h 21"/>
                <a:gd name="T6" fmla="*/ 0 w 18"/>
                <a:gd name="T7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0" y="6"/>
                  </a:moveTo>
                  <a:lnTo>
                    <a:pt x="0" y="20"/>
                  </a:lnTo>
                  <a:cubicBezTo>
                    <a:pt x="8" y="17"/>
                    <a:pt x="17" y="11"/>
                    <a:pt x="17" y="0"/>
                  </a:cubicBezTo>
                  <a:cubicBezTo>
                    <a:pt x="8" y="0"/>
                    <a:pt x="11" y="9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2" name="Freeform 653"/>
            <p:cNvSpPr>
              <a:spLocks noChangeArrowheads="1"/>
            </p:cNvSpPr>
            <p:nvPr/>
          </p:nvSpPr>
          <p:spPr bwMode="auto">
            <a:xfrm>
              <a:off x="4064000" y="3065463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6 h 7"/>
                <a:gd name="T4" fmla="*/ 9 w 10"/>
                <a:gd name="T5" fmla="*/ 0 h 7"/>
                <a:gd name="T6" fmla="*/ 0 w 10"/>
                <a:gd name="T7" fmla="*/ 0 h 7"/>
                <a:gd name="T8" fmla="*/ 0 w 10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lnTo>
                    <a:pt x="9" y="6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3" name="Freeform 654"/>
            <p:cNvSpPr>
              <a:spLocks noChangeArrowheads="1"/>
            </p:cNvSpPr>
            <p:nvPr/>
          </p:nvSpPr>
          <p:spPr bwMode="auto">
            <a:xfrm>
              <a:off x="4046538" y="2649538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0 h 7"/>
                <a:gd name="T4" fmla="*/ 0 w 10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cubicBezTo>
                    <a:pt x="3" y="6"/>
                    <a:pt x="6" y="3"/>
                    <a:pt x="9" y="0"/>
                  </a:cubicBezTo>
                  <a:cubicBezTo>
                    <a:pt x="3" y="0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4" name="Freeform 655"/>
            <p:cNvSpPr>
              <a:spLocks noChangeArrowheads="1"/>
            </p:cNvSpPr>
            <p:nvPr/>
          </p:nvSpPr>
          <p:spPr bwMode="auto">
            <a:xfrm>
              <a:off x="4043363" y="2892425"/>
              <a:ext cx="3175" cy="3175"/>
            </a:xfrm>
            <a:custGeom>
              <a:avLst/>
              <a:gdLst>
                <a:gd name="T0" fmla="*/ 8 w 9"/>
                <a:gd name="T1" fmla="*/ 6 h 7"/>
                <a:gd name="T2" fmla="*/ 8 w 9"/>
                <a:gd name="T3" fmla="*/ 0 h 7"/>
                <a:gd name="T4" fmla="*/ 0 w 9"/>
                <a:gd name="T5" fmla="*/ 0 h 7"/>
                <a:gd name="T6" fmla="*/ 8 w 9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8" y="6"/>
                  </a:moveTo>
                  <a:cubicBezTo>
                    <a:pt x="8" y="3"/>
                    <a:pt x="8" y="0"/>
                    <a:pt x="8" y="0"/>
                  </a:cubicBezTo>
                  <a:cubicBezTo>
                    <a:pt x="6" y="0"/>
                    <a:pt x="3" y="0"/>
                    <a:pt x="0" y="0"/>
                  </a:cubicBezTo>
                  <a:cubicBezTo>
                    <a:pt x="0" y="3"/>
                    <a:pt x="3" y="6"/>
                    <a:pt x="8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5" name="Freeform 656"/>
            <p:cNvSpPr>
              <a:spLocks noChangeArrowheads="1"/>
            </p:cNvSpPr>
            <p:nvPr/>
          </p:nvSpPr>
          <p:spPr bwMode="auto">
            <a:xfrm>
              <a:off x="4056063" y="2273300"/>
              <a:ext cx="4762" cy="1588"/>
            </a:xfrm>
            <a:custGeom>
              <a:avLst/>
              <a:gdLst>
                <a:gd name="T0" fmla="*/ 11 w 12"/>
                <a:gd name="T1" fmla="*/ 0 h 6"/>
                <a:gd name="T2" fmla="*/ 11 w 12"/>
                <a:gd name="T3" fmla="*/ 0 h 6"/>
                <a:gd name="T4" fmla="*/ 0 w 12"/>
                <a:gd name="T5" fmla="*/ 3 h 6"/>
                <a:gd name="T6" fmla="*/ 11 w 1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1" y="0"/>
                  </a:moveTo>
                  <a:lnTo>
                    <a:pt x="11" y="0"/>
                  </a:lnTo>
                  <a:cubicBezTo>
                    <a:pt x="3" y="3"/>
                    <a:pt x="3" y="3"/>
                    <a:pt x="0" y="3"/>
                  </a:cubicBezTo>
                  <a:cubicBezTo>
                    <a:pt x="6" y="5"/>
                    <a:pt x="11" y="5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6" name="Freeform 657"/>
            <p:cNvSpPr>
              <a:spLocks noChangeArrowheads="1"/>
            </p:cNvSpPr>
            <p:nvPr/>
          </p:nvSpPr>
          <p:spPr bwMode="auto">
            <a:xfrm>
              <a:off x="4043363" y="2168525"/>
              <a:ext cx="3175" cy="3175"/>
            </a:xfrm>
            <a:custGeom>
              <a:avLst/>
              <a:gdLst>
                <a:gd name="T0" fmla="*/ 6 w 7"/>
                <a:gd name="T1" fmla="*/ 6 h 10"/>
                <a:gd name="T2" fmla="*/ 6 w 7"/>
                <a:gd name="T3" fmla="*/ 0 h 10"/>
                <a:gd name="T4" fmla="*/ 0 w 7"/>
                <a:gd name="T5" fmla="*/ 9 h 10"/>
                <a:gd name="T6" fmla="*/ 6 w 7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6"/>
                  </a:moveTo>
                  <a:cubicBezTo>
                    <a:pt x="6" y="3"/>
                    <a:pt x="6" y="0"/>
                    <a:pt x="6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0" y="6"/>
                    <a:pt x="3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7" name="Freeform 658"/>
            <p:cNvSpPr>
              <a:spLocks noChangeArrowheads="1"/>
            </p:cNvSpPr>
            <p:nvPr/>
          </p:nvSpPr>
          <p:spPr bwMode="auto">
            <a:xfrm>
              <a:off x="4046538" y="2576513"/>
              <a:ext cx="3175" cy="3175"/>
            </a:xfrm>
            <a:custGeom>
              <a:avLst/>
              <a:gdLst>
                <a:gd name="T0" fmla="*/ 6 w 10"/>
                <a:gd name="T1" fmla="*/ 0 h 7"/>
                <a:gd name="T2" fmla="*/ 0 w 10"/>
                <a:gd name="T3" fmla="*/ 6 h 7"/>
                <a:gd name="T4" fmla="*/ 9 w 10"/>
                <a:gd name="T5" fmla="*/ 6 h 7"/>
                <a:gd name="T6" fmla="*/ 6 w 10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6" y="0"/>
                  </a:moveTo>
                  <a:cubicBezTo>
                    <a:pt x="3" y="0"/>
                    <a:pt x="3" y="3"/>
                    <a:pt x="0" y="6"/>
                  </a:cubicBezTo>
                  <a:cubicBezTo>
                    <a:pt x="3" y="6"/>
                    <a:pt x="6" y="6"/>
                    <a:pt x="9" y="6"/>
                  </a:cubicBezTo>
                  <a:cubicBezTo>
                    <a:pt x="9" y="3"/>
                    <a:pt x="9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8" name="Freeform 659"/>
            <p:cNvSpPr>
              <a:spLocks noChangeArrowheads="1"/>
            </p:cNvSpPr>
            <p:nvPr/>
          </p:nvSpPr>
          <p:spPr bwMode="auto">
            <a:xfrm>
              <a:off x="4054475" y="2405063"/>
              <a:ext cx="3175" cy="4762"/>
            </a:xfrm>
            <a:custGeom>
              <a:avLst/>
              <a:gdLst>
                <a:gd name="T0" fmla="*/ 6 w 7"/>
                <a:gd name="T1" fmla="*/ 6 h 13"/>
                <a:gd name="T2" fmla="*/ 0 w 7"/>
                <a:gd name="T3" fmla="*/ 0 h 13"/>
                <a:gd name="T4" fmla="*/ 3 w 7"/>
                <a:gd name="T5" fmla="*/ 12 h 13"/>
                <a:gd name="T6" fmla="*/ 6 w 7"/>
                <a:gd name="T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6" y="6"/>
                  </a:moveTo>
                  <a:cubicBezTo>
                    <a:pt x="3" y="3"/>
                    <a:pt x="0" y="3"/>
                    <a:pt x="0" y="0"/>
                  </a:cubicBezTo>
                  <a:cubicBezTo>
                    <a:pt x="0" y="3"/>
                    <a:pt x="0" y="9"/>
                    <a:pt x="3" y="12"/>
                  </a:cubicBezTo>
                  <a:cubicBezTo>
                    <a:pt x="3" y="9"/>
                    <a:pt x="6" y="9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9" name="Freeform 660"/>
            <p:cNvSpPr>
              <a:spLocks noChangeArrowheads="1"/>
            </p:cNvSpPr>
            <p:nvPr/>
          </p:nvSpPr>
          <p:spPr bwMode="auto">
            <a:xfrm>
              <a:off x="4049713" y="2511425"/>
              <a:ext cx="4762" cy="11113"/>
            </a:xfrm>
            <a:custGeom>
              <a:avLst/>
              <a:gdLst>
                <a:gd name="T0" fmla="*/ 3 w 15"/>
                <a:gd name="T1" fmla="*/ 17 h 29"/>
                <a:gd name="T2" fmla="*/ 8 w 15"/>
                <a:gd name="T3" fmla="*/ 28 h 29"/>
                <a:gd name="T4" fmla="*/ 11 w 15"/>
                <a:gd name="T5" fmla="*/ 8 h 29"/>
                <a:gd name="T6" fmla="*/ 3 w 15"/>
                <a:gd name="T7" fmla="*/ 0 h 29"/>
                <a:gd name="T8" fmla="*/ 0 w 15"/>
                <a:gd name="T9" fmla="*/ 0 h 29"/>
                <a:gd name="T10" fmla="*/ 0 w 15"/>
                <a:gd name="T11" fmla="*/ 2 h 29"/>
                <a:gd name="T12" fmla="*/ 5 w 15"/>
                <a:gd name="T13" fmla="*/ 16 h 29"/>
                <a:gd name="T14" fmla="*/ 3 w 15"/>
                <a:gd name="T15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9">
                  <a:moveTo>
                    <a:pt x="3" y="17"/>
                  </a:moveTo>
                  <a:cubicBezTo>
                    <a:pt x="3" y="19"/>
                    <a:pt x="6" y="25"/>
                    <a:pt x="8" y="28"/>
                  </a:cubicBezTo>
                  <a:cubicBezTo>
                    <a:pt x="11" y="22"/>
                    <a:pt x="14" y="14"/>
                    <a:pt x="11" y="8"/>
                  </a:cubicBez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cubicBezTo>
                    <a:pt x="0" y="8"/>
                    <a:pt x="2" y="13"/>
                    <a:pt x="5" y="16"/>
                  </a:cubicBezTo>
                  <a:cubicBezTo>
                    <a:pt x="5" y="16"/>
                    <a:pt x="4" y="17"/>
                    <a:pt x="3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0" name="Freeform 661"/>
            <p:cNvSpPr>
              <a:spLocks noChangeArrowheads="1"/>
            </p:cNvSpPr>
            <p:nvPr/>
          </p:nvSpPr>
          <p:spPr bwMode="auto">
            <a:xfrm>
              <a:off x="4052888" y="2974975"/>
              <a:ext cx="6350" cy="6350"/>
            </a:xfrm>
            <a:custGeom>
              <a:avLst/>
              <a:gdLst>
                <a:gd name="T0" fmla="*/ 3 w 18"/>
                <a:gd name="T1" fmla="*/ 0 h 18"/>
                <a:gd name="T2" fmla="*/ 0 w 18"/>
                <a:gd name="T3" fmla="*/ 17 h 18"/>
                <a:gd name="T4" fmla="*/ 9 w 18"/>
                <a:gd name="T5" fmla="*/ 17 h 18"/>
                <a:gd name="T6" fmla="*/ 17 w 18"/>
                <a:gd name="T7" fmla="*/ 11 h 18"/>
                <a:gd name="T8" fmla="*/ 6 w 18"/>
                <a:gd name="T9" fmla="*/ 8 h 18"/>
                <a:gd name="T10" fmla="*/ 3 w 18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8">
                  <a:moveTo>
                    <a:pt x="3" y="0"/>
                  </a:moveTo>
                  <a:cubicBezTo>
                    <a:pt x="0" y="5"/>
                    <a:pt x="0" y="11"/>
                    <a:pt x="0" y="17"/>
                  </a:cubicBezTo>
                  <a:cubicBezTo>
                    <a:pt x="3" y="14"/>
                    <a:pt x="6" y="14"/>
                    <a:pt x="9" y="17"/>
                  </a:cubicBezTo>
                  <a:cubicBezTo>
                    <a:pt x="12" y="14"/>
                    <a:pt x="17" y="17"/>
                    <a:pt x="17" y="11"/>
                  </a:cubicBezTo>
                  <a:cubicBezTo>
                    <a:pt x="14" y="8"/>
                    <a:pt x="12" y="11"/>
                    <a:pt x="6" y="8"/>
                  </a:cubicBezTo>
                  <a:cubicBezTo>
                    <a:pt x="6" y="5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1" name="Freeform 662"/>
            <p:cNvSpPr>
              <a:spLocks noChangeArrowheads="1"/>
            </p:cNvSpPr>
            <p:nvPr/>
          </p:nvSpPr>
          <p:spPr bwMode="auto">
            <a:xfrm>
              <a:off x="4019550" y="2979738"/>
              <a:ext cx="12700" cy="9525"/>
            </a:xfrm>
            <a:custGeom>
              <a:avLst/>
              <a:gdLst>
                <a:gd name="T0" fmla="*/ 0 w 35"/>
                <a:gd name="T1" fmla="*/ 11 h 26"/>
                <a:gd name="T2" fmla="*/ 3 w 35"/>
                <a:gd name="T3" fmla="*/ 25 h 26"/>
                <a:gd name="T4" fmla="*/ 20 w 35"/>
                <a:gd name="T5" fmla="*/ 14 h 26"/>
                <a:gd name="T6" fmla="*/ 28 w 35"/>
                <a:gd name="T7" fmla="*/ 17 h 26"/>
                <a:gd name="T8" fmla="*/ 34 w 35"/>
                <a:gd name="T9" fmla="*/ 8 h 26"/>
                <a:gd name="T10" fmla="*/ 31 w 35"/>
                <a:gd name="T11" fmla="*/ 0 h 26"/>
                <a:gd name="T12" fmla="*/ 9 w 35"/>
                <a:gd name="T13" fmla="*/ 0 h 26"/>
                <a:gd name="T14" fmla="*/ 0 w 35"/>
                <a:gd name="T15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6">
                  <a:moveTo>
                    <a:pt x="0" y="11"/>
                  </a:moveTo>
                  <a:cubicBezTo>
                    <a:pt x="0" y="17"/>
                    <a:pt x="0" y="20"/>
                    <a:pt x="3" y="25"/>
                  </a:cubicBezTo>
                  <a:cubicBezTo>
                    <a:pt x="9" y="22"/>
                    <a:pt x="17" y="22"/>
                    <a:pt x="20" y="14"/>
                  </a:cubicBezTo>
                  <a:cubicBezTo>
                    <a:pt x="23" y="17"/>
                    <a:pt x="26" y="17"/>
                    <a:pt x="28" y="17"/>
                  </a:cubicBezTo>
                  <a:cubicBezTo>
                    <a:pt x="28" y="14"/>
                    <a:pt x="31" y="8"/>
                    <a:pt x="34" y="8"/>
                  </a:cubicBezTo>
                  <a:cubicBezTo>
                    <a:pt x="34" y="5"/>
                    <a:pt x="34" y="3"/>
                    <a:pt x="31" y="0"/>
                  </a:cubicBezTo>
                  <a:lnTo>
                    <a:pt x="9" y="0"/>
                  </a:lnTo>
                  <a:cubicBezTo>
                    <a:pt x="6" y="5"/>
                    <a:pt x="3" y="11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2" name="Freeform 663"/>
            <p:cNvSpPr>
              <a:spLocks noChangeArrowheads="1"/>
            </p:cNvSpPr>
            <p:nvPr/>
          </p:nvSpPr>
          <p:spPr bwMode="auto">
            <a:xfrm>
              <a:off x="4073525" y="2200275"/>
              <a:ext cx="3175" cy="3175"/>
            </a:xfrm>
            <a:custGeom>
              <a:avLst/>
              <a:gdLst>
                <a:gd name="T0" fmla="*/ 8 w 9"/>
                <a:gd name="T1" fmla="*/ 0 h 9"/>
                <a:gd name="T2" fmla="*/ 0 w 9"/>
                <a:gd name="T3" fmla="*/ 8 h 9"/>
                <a:gd name="T4" fmla="*/ 8 w 9"/>
                <a:gd name="T5" fmla="*/ 5 h 9"/>
                <a:gd name="T6" fmla="*/ 8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8" y="0"/>
                  </a:moveTo>
                  <a:cubicBezTo>
                    <a:pt x="5" y="2"/>
                    <a:pt x="3" y="5"/>
                    <a:pt x="0" y="8"/>
                  </a:cubicBezTo>
                  <a:cubicBezTo>
                    <a:pt x="3" y="8"/>
                    <a:pt x="5" y="8"/>
                    <a:pt x="8" y="5"/>
                  </a:cubicBezTo>
                  <a:cubicBezTo>
                    <a:pt x="8" y="2"/>
                    <a:pt x="8" y="2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3" name="Freeform 664"/>
            <p:cNvSpPr>
              <a:spLocks noChangeArrowheads="1"/>
            </p:cNvSpPr>
            <p:nvPr/>
          </p:nvSpPr>
          <p:spPr bwMode="auto">
            <a:xfrm>
              <a:off x="4025900" y="2747963"/>
              <a:ext cx="3175" cy="1587"/>
            </a:xfrm>
            <a:custGeom>
              <a:avLst/>
              <a:gdLst>
                <a:gd name="T0" fmla="*/ 0 w 7"/>
                <a:gd name="T1" fmla="*/ 0 h 4"/>
                <a:gd name="T2" fmla="*/ 6 w 7"/>
                <a:gd name="T3" fmla="*/ 3 h 4"/>
                <a:gd name="T4" fmla="*/ 6 w 7"/>
                <a:gd name="T5" fmla="*/ 0 h 4"/>
                <a:gd name="T6" fmla="*/ 0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cubicBezTo>
                    <a:pt x="0" y="3"/>
                    <a:pt x="3" y="3"/>
                    <a:pt x="6" y="3"/>
                  </a:cubicBez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4" name="Freeform 665"/>
            <p:cNvSpPr>
              <a:spLocks noChangeArrowheads="1"/>
            </p:cNvSpPr>
            <p:nvPr/>
          </p:nvSpPr>
          <p:spPr bwMode="auto">
            <a:xfrm>
              <a:off x="4017963" y="3065463"/>
              <a:ext cx="4762" cy="4762"/>
            </a:xfrm>
            <a:custGeom>
              <a:avLst/>
              <a:gdLst>
                <a:gd name="T0" fmla="*/ 0 w 13"/>
                <a:gd name="T1" fmla="*/ 3 h 15"/>
                <a:gd name="T2" fmla="*/ 9 w 13"/>
                <a:gd name="T3" fmla="*/ 14 h 15"/>
                <a:gd name="T4" fmla="*/ 12 w 13"/>
                <a:gd name="T5" fmla="*/ 3 h 15"/>
                <a:gd name="T6" fmla="*/ 0 w 13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5">
                  <a:moveTo>
                    <a:pt x="0" y="3"/>
                  </a:moveTo>
                  <a:cubicBezTo>
                    <a:pt x="0" y="8"/>
                    <a:pt x="0" y="14"/>
                    <a:pt x="9" y="14"/>
                  </a:cubicBezTo>
                  <a:cubicBezTo>
                    <a:pt x="9" y="11"/>
                    <a:pt x="9" y="6"/>
                    <a:pt x="12" y="3"/>
                  </a:cubicBezTo>
                  <a:cubicBezTo>
                    <a:pt x="9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5" name="Freeform 666"/>
            <p:cNvSpPr>
              <a:spLocks noChangeArrowheads="1"/>
            </p:cNvSpPr>
            <p:nvPr/>
          </p:nvSpPr>
          <p:spPr bwMode="auto">
            <a:xfrm>
              <a:off x="4013200" y="2586038"/>
              <a:ext cx="3175" cy="3175"/>
            </a:xfrm>
            <a:custGeom>
              <a:avLst/>
              <a:gdLst>
                <a:gd name="T0" fmla="*/ 3 w 7"/>
                <a:gd name="T1" fmla="*/ 9 h 10"/>
                <a:gd name="T2" fmla="*/ 6 w 7"/>
                <a:gd name="T3" fmla="*/ 3 h 10"/>
                <a:gd name="T4" fmla="*/ 0 w 7"/>
                <a:gd name="T5" fmla="*/ 0 h 10"/>
                <a:gd name="T6" fmla="*/ 3 w 7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3" y="9"/>
                  </a:moveTo>
                  <a:cubicBezTo>
                    <a:pt x="3" y="9"/>
                    <a:pt x="6" y="6"/>
                    <a:pt x="6" y="3"/>
                  </a:cubicBezTo>
                  <a:cubicBezTo>
                    <a:pt x="3" y="3"/>
                    <a:pt x="0" y="3"/>
                    <a:pt x="0" y="0"/>
                  </a:cubicBezTo>
                  <a:cubicBezTo>
                    <a:pt x="0" y="6"/>
                    <a:pt x="0" y="9"/>
                    <a:pt x="3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6" name="Freeform 667"/>
            <p:cNvSpPr>
              <a:spLocks noChangeArrowheads="1"/>
            </p:cNvSpPr>
            <p:nvPr/>
          </p:nvSpPr>
          <p:spPr bwMode="auto">
            <a:xfrm>
              <a:off x="4021138" y="3009900"/>
              <a:ext cx="12700" cy="9525"/>
            </a:xfrm>
            <a:custGeom>
              <a:avLst/>
              <a:gdLst>
                <a:gd name="T0" fmla="*/ 28 w 37"/>
                <a:gd name="T1" fmla="*/ 0 h 26"/>
                <a:gd name="T2" fmla="*/ 11 w 37"/>
                <a:gd name="T3" fmla="*/ 14 h 26"/>
                <a:gd name="T4" fmla="*/ 0 w 37"/>
                <a:gd name="T5" fmla="*/ 17 h 26"/>
                <a:gd name="T6" fmla="*/ 0 w 37"/>
                <a:gd name="T7" fmla="*/ 17 h 26"/>
                <a:gd name="T8" fmla="*/ 3 w 37"/>
                <a:gd name="T9" fmla="*/ 17 h 26"/>
                <a:gd name="T10" fmla="*/ 8 w 37"/>
                <a:gd name="T11" fmla="*/ 25 h 26"/>
                <a:gd name="T12" fmla="*/ 20 w 37"/>
                <a:gd name="T13" fmla="*/ 25 h 26"/>
                <a:gd name="T14" fmla="*/ 20 w 37"/>
                <a:gd name="T15" fmla="*/ 22 h 26"/>
                <a:gd name="T16" fmla="*/ 25 w 37"/>
                <a:gd name="T17" fmla="*/ 14 h 26"/>
                <a:gd name="T18" fmla="*/ 34 w 37"/>
                <a:gd name="T19" fmla="*/ 14 h 26"/>
                <a:gd name="T20" fmla="*/ 34 w 37"/>
                <a:gd name="T21" fmla="*/ 14 h 26"/>
                <a:gd name="T22" fmla="*/ 28 w 37"/>
                <a:gd name="T2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26">
                  <a:moveTo>
                    <a:pt x="28" y="0"/>
                  </a:moveTo>
                  <a:cubicBezTo>
                    <a:pt x="22" y="2"/>
                    <a:pt x="17" y="8"/>
                    <a:pt x="11" y="14"/>
                  </a:cubicBezTo>
                  <a:cubicBezTo>
                    <a:pt x="8" y="14"/>
                    <a:pt x="3" y="14"/>
                    <a:pt x="0" y="17"/>
                  </a:cubicBezTo>
                  <a:lnTo>
                    <a:pt x="0" y="17"/>
                  </a:lnTo>
                  <a:lnTo>
                    <a:pt x="3" y="17"/>
                  </a:lnTo>
                  <a:cubicBezTo>
                    <a:pt x="5" y="17"/>
                    <a:pt x="8" y="19"/>
                    <a:pt x="8" y="25"/>
                  </a:cubicBezTo>
                  <a:cubicBezTo>
                    <a:pt x="11" y="25"/>
                    <a:pt x="17" y="25"/>
                    <a:pt x="20" y="25"/>
                  </a:cubicBezTo>
                  <a:lnTo>
                    <a:pt x="20" y="22"/>
                  </a:lnTo>
                  <a:cubicBezTo>
                    <a:pt x="20" y="19"/>
                    <a:pt x="22" y="17"/>
                    <a:pt x="25" y="14"/>
                  </a:cubicBezTo>
                  <a:lnTo>
                    <a:pt x="34" y="14"/>
                  </a:lnTo>
                  <a:lnTo>
                    <a:pt x="34" y="14"/>
                  </a:lnTo>
                  <a:cubicBezTo>
                    <a:pt x="36" y="5"/>
                    <a:pt x="36" y="2"/>
                    <a:pt x="2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7" name="Freeform 668"/>
            <p:cNvSpPr>
              <a:spLocks noChangeArrowheads="1"/>
            </p:cNvSpPr>
            <p:nvPr/>
          </p:nvSpPr>
          <p:spPr bwMode="auto">
            <a:xfrm>
              <a:off x="4033838" y="2979738"/>
              <a:ext cx="4762" cy="4762"/>
            </a:xfrm>
            <a:custGeom>
              <a:avLst/>
              <a:gdLst>
                <a:gd name="T0" fmla="*/ 8 w 12"/>
                <a:gd name="T1" fmla="*/ 0 h 12"/>
                <a:gd name="T2" fmla="*/ 3 w 12"/>
                <a:gd name="T3" fmla="*/ 0 h 12"/>
                <a:gd name="T4" fmla="*/ 8 w 12"/>
                <a:gd name="T5" fmla="*/ 11 h 12"/>
                <a:gd name="T6" fmla="*/ 11 w 12"/>
                <a:gd name="T7" fmla="*/ 11 h 12"/>
                <a:gd name="T8" fmla="*/ 8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3" y="0"/>
                  </a:lnTo>
                  <a:cubicBezTo>
                    <a:pt x="0" y="8"/>
                    <a:pt x="8" y="5"/>
                    <a:pt x="8" y="11"/>
                  </a:cubicBezTo>
                  <a:cubicBezTo>
                    <a:pt x="8" y="11"/>
                    <a:pt x="8" y="11"/>
                    <a:pt x="11" y="11"/>
                  </a:cubicBezTo>
                  <a:cubicBezTo>
                    <a:pt x="8" y="5"/>
                    <a:pt x="8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8" name="Freeform 669"/>
            <p:cNvSpPr>
              <a:spLocks noChangeArrowheads="1"/>
            </p:cNvSpPr>
            <p:nvPr/>
          </p:nvSpPr>
          <p:spPr bwMode="auto">
            <a:xfrm>
              <a:off x="4037013" y="2886075"/>
              <a:ext cx="3175" cy="3175"/>
            </a:xfrm>
            <a:custGeom>
              <a:avLst/>
              <a:gdLst>
                <a:gd name="T0" fmla="*/ 0 w 7"/>
                <a:gd name="T1" fmla="*/ 0 h 10"/>
                <a:gd name="T2" fmla="*/ 0 w 7"/>
                <a:gd name="T3" fmla="*/ 0 h 10"/>
                <a:gd name="T4" fmla="*/ 0 w 7"/>
                <a:gd name="T5" fmla="*/ 9 h 10"/>
                <a:gd name="T6" fmla="*/ 6 w 7"/>
                <a:gd name="T7" fmla="*/ 9 h 10"/>
                <a:gd name="T8" fmla="*/ 3 w 7"/>
                <a:gd name="T9" fmla="*/ 3 h 10"/>
                <a:gd name="T10" fmla="*/ 0 w 7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0">
                  <a:moveTo>
                    <a:pt x="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6" y="9"/>
                  </a:lnTo>
                  <a:cubicBezTo>
                    <a:pt x="6" y="6"/>
                    <a:pt x="6" y="3"/>
                    <a:pt x="3" y="3"/>
                  </a:cubicBezTo>
                  <a:cubicBezTo>
                    <a:pt x="3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9" name="Freeform 670"/>
            <p:cNvSpPr>
              <a:spLocks noChangeArrowheads="1"/>
            </p:cNvSpPr>
            <p:nvPr/>
          </p:nvSpPr>
          <p:spPr bwMode="auto">
            <a:xfrm>
              <a:off x="4021138" y="2987675"/>
              <a:ext cx="12700" cy="7938"/>
            </a:xfrm>
            <a:custGeom>
              <a:avLst/>
              <a:gdLst>
                <a:gd name="T0" fmla="*/ 34 w 37"/>
                <a:gd name="T1" fmla="*/ 0 h 21"/>
                <a:gd name="T2" fmla="*/ 31 w 37"/>
                <a:gd name="T3" fmla="*/ 0 h 21"/>
                <a:gd name="T4" fmla="*/ 8 w 37"/>
                <a:gd name="T5" fmla="*/ 3 h 21"/>
                <a:gd name="T6" fmla="*/ 0 w 37"/>
                <a:gd name="T7" fmla="*/ 12 h 21"/>
                <a:gd name="T8" fmla="*/ 36 w 37"/>
                <a:gd name="T9" fmla="*/ 12 h 21"/>
                <a:gd name="T10" fmla="*/ 36 w 37"/>
                <a:gd name="T11" fmla="*/ 12 h 21"/>
                <a:gd name="T12" fmla="*/ 36 w 37"/>
                <a:gd name="T13" fmla="*/ 6 h 21"/>
                <a:gd name="T14" fmla="*/ 34 w 37"/>
                <a:gd name="T1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21">
                  <a:moveTo>
                    <a:pt x="34" y="0"/>
                  </a:moveTo>
                  <a:lnTo>
                    <a:pt x="31" y="0"/>
                  </a:lnTo>
                  <a:cubicBezTo>
                    <a:pt x="25" y="3"/>
                    <a:pt x="17" y="3"/>
                    <a:pt x="8" y="3"/>
                  </a:cubicBezTo>
                  <a:cubicBezTo>
                    <a:pt x="5" y="3"/>
                    <a:pt x="3" y="9"/>
                    <a:pt x="0" y="12"/>
                  </a:cubicBezTo>
                  <a:cubicBezTo>
                    <a:pt x="11" y="20"/>
                    <a:pt x="25" y="20"/>
                    <a:pt x="36" y="12"/>
                  </a:cubicBezTo>
                  <a:lnTo>
                    <a:pt x="36" y="12"/>
                  </a:lnTo>
                  <a:cubicBezTo>
                    <a:pt x="36" y="9"/>
                    <a:pt x="36" y="9"/>
                    <a:pt x="36" y="6"/>
                  </a:cubicBezTo>
                  <a:cubicBezTo>
                    <a:pt x="36" y="3"/>
                    <a:pt x="34" y="3"/>
                    <a:pt x="3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0" name="Freeform 671"/>
            <p:cNvSpPr>
              <a:spLocks noChangeArrowheads="1"/>
            </p:cNvSpPr>
            <p:nvPr/>
          </p:nvSpPr>
          <p:spPr bwMode="auto">
            <a:xfrm>
              <a:off x="4029075" y="3000375"/>
              <a:ext cx="4763" cy="3175"/>
            </a:xfrm>
            <a:custGeom>
              <a:avLst/>
              <a:gdLst>
                <a:gd name="T0" fmla="*/ 11 w 12"/>
                <a:gd name="T1" fmla="*/ 6 h 10"/>
                <a:gd name="T2" fmla="*/ 0 w 12"/>
                <a:gd name="T3" fmla="*/ 0 h 10"/>
                <a:gd name="T4" fmla="*/ 0 w 12"/>
                <a:gd name="T5" fmla="*/ 9 h 10"/>
                <a:gd name="T6" fmla="*/ 11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1" y="6"/>
                  </a:moveTo>
                  <a:cubicBezTo>
                    <a:pt x="8" y="3"/>
                    <a:pt x="2" y="3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2" y="9"/>
                    <a:pt x="11" y="9"/>
                    <a:pt x="11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1" name="Freeform 672"/>
            <p:cNvSpPr>
              <a:spLocks noChangeArrowheads="1"/>
            </p:cNvSpPr>
            <p:nvPr/>
          </p:nvSpPr>
          <p:spPr bwMode="auto">
            <a:xfrm>
              <a:off x="4062413" y="2854325"/>
              <a:ext cx="4762" cy="4763"/>
            </a:xfrm>
            <a:custGeom>
              <a:avLst/>
              <a:gdLst>
                <a:gd name="T0" fmla="*/ 5 w 12"/>
                <a:gd name="T1" fmla="*/ 0 h 12"/>
                <a:gd name="T2" fmla="*/ 2 w 12"/>
                <a:gd name="T3" fmla="*/ 11 h 12"/>
                <a:gd name="T4" fmla="*/ 11 w 12"/>
                <a:gd name="T5" fmla="*/ 9 h 12"/>
                <a:gd name="T6" fmla="*/ 5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cubicBezTo>
                    <a:pt x="2" y="3"/>
                    <a:pt x="0" y="6"/>
                    <a:pt x="2" y="11"/>
                  </a:cubicBezTo>
                  <a:cubicBezTo>
                    <a:pt x="5" y="11"/>
                    <a:pt x="8" y="11"/>
                    <a:pt x="11" y="9"/>
                  </a:cubicBezTo>
                  <a:cubicBezTo>
                    <a:pt x="8" y="6"/>
                    <a:pt x="8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2" name="Freeform 673"/>
            <p:cNvSpPr>
              <a:spLocks noChangeArrowheads="1"/>
            </p:cNvSpPr>
            <p:nvPr/>
          </p:nvSpPr>
          <p:spPr bwMode="auto">
            <a:xfrm>
              <a:off x="3778250" y="2749550"/>
              <a:ext cx="4763" cy="3175"/>
            </a:xfrm>
            <a:custGeom>
              <a:avLst/>
              <a:gdLst>
                <a:gd name="T0" fmla="*/ 3 w 13"/>
                <a:gd name="T1" fmla="*/ 8 h 9"/>
                <a:gd name="T2" fmla="*/ 12 w 13"/>
                <a:gd name="T3" fmla="*/ 0 h 9"/>
                <a:gd name="T4" fmla="*/ 3 w 13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9">
                  <a:moveTo>
                    <a:pt x="3" y="8"/>
                  </a:moveTo>
                  <a:cubicBezTo>
                    <a:pt x="9" y="8"/>
                    <a:pt x="12" y="5"/>
                    <a:pt x="12" y="0"/>
                  </a:cubicBezTo>
                  <a:cubicBezTo>
                    <a:pt x="6" y="0"/>
                    <a:pt x="0" y="0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3" name="Freeform 674"/>
            <p:cNvSpPr>
              <a:spLocks noChangeArrowheads="1"/>
            </p:cNvSpPr>
            <p:nvPr/>
          </p:nvSpPr>
          <p:spPr bwMode="auto">
            <a:xfrm>
              <a:off x="3816350" y="2968625"/>
              <a:ext cx="4763" cy="3175"/>
            </a:xfrm>
            <a:custGeom>
              <a:avLst/>
              <a:gdLst>
                <a:gd name="T0" fmla="*/ 3 w 12"/>
                <a:gd name="T1" fmla="*/ 3 h 9"/>
                <a:gd name="T2" fmla="*/ 0 w 12"/>
                <a:gd name="T3" fmla="*/ 6 h 9"/>
                <a:gd name="T4" fmla="*/ 3 w 12"/>
                <a:gd name="T5" fmla="*/ 6 h 9"/>
                <a:gd name="T6" fmla="*/ 5 w 12"/>
                <a:gd name="T7" fmla="*/ 8 h 9"/>
                <a:gd name="T8" fmla="*/ 3 w 12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3" y="3"/>
                  </a:moveTo>
                  <a:cubicBezTo>
                    <a:pt x="3" y="3"/>
                    <a:pt x="3" y="6"/>
                    <a:pt x="0" y="6"/>
                  </a:cubicBezTo>
                  <a:lnTo>
                    <a:pt x="3" y="6"/>
                  </a:lnTo>
                  <a:cubicBezTo>
                    <a:pt x="3" y="6"/>
                    <a:pt x="3" y="8"/>
                    <a:pt x="5" y="8"/>
                  </a:cubicBezTo>
                  <a:cubicBezTo>
                    <a:pt x="5" y="8"/>
                    <a:pt x="11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4" name="Freeform 675"/>
            <p:cNvSpPr>
              <a:spLocks noChangeArrowheads="1"/>
            </p:cNvSpPr>
            <p:nvPr/>
          </p:nvSpPr>
          <p:spPr bwMode="auto">
            <a:xfrm>
              <a:off x="3787775" y="2608263"/>
              <a:ext cx="1588" cy="3175"/>
            </a:xfrm>
            <a:custGeom>
              <a:avLst/>
              <a:gdLst>
                <a:gd name="T0" fmla="*/ 0 w 4"/>
                <a:gd name="T1" fmla="*/ 6 h 7"/>
                <a:gd name="T2" fmla="*/ 3 w 4"/>
                <a:gd name="T3" fmla="*/ 6 h 7"/>
                <a:gd name="T4" fmla="*/ 3 w 4"/>
                <a:gd name="T5" fmla="*/ 0 h 7"/>
                <a:gd name="T6" fmla="*/ 0 w 4"/>
                <a:gd name="T7" fmla="*/ 0 h 7"/>
                <a:gd name="T8" fmla="*/ 0 w 4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0" y="6"/>
                  </a:moveTo>
                  <a:lnTo>
                    <a:pt x="3" y="6"/>
                  </a:lnTo>
                  <a:lnTo>
                    <a:pt x="3" y="0"/>
                  </a:lnTo>
                  <a:cubicBezTo>
                    <a:pt x="3" y="0"/>
                    <a:pt x="3" y="0"/>
                    <a:pt x="0" y="0"/>
                  </a:cubicBezTo>
                  <a:cubicBezTo>
                    <a:pt x="0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5" name="Freeform 676"/>
            <p:cNvSpPr>
              <a:spLocks noChangeArrowheads="1"/>
            </p:cNvSpPr>
            <p:nvPr/>
          </p:nvSpPr>
          <p:spPr bwMode="auto">
            <a:xfrm>
              <a:off x="3786188" y="2555875"/>
              <a:ext cx="3175" cy="3175"/>
            </a:xfrm>
            <a:custGeom>
              <a:avLst/>
              <a:gdLst>
                <a:gd name="T0" fmla="*/ 6 w 7"/>
                <a:gd name="T1" fmla="*/ 3 h 9"/>
                <a:gd name="T2" fmla="*/ 3 w 7"/>
                <a:gd name="T3" fmla="*/ 0 h 9"/>
                <a:gd name="T4" fmla="*/ 3 w 7"/>
                <a:gd name="T5" fmla="*/ 5 h 9"/>
                <a:gd name="T6" fmla="*/ 3 w 7"/>
                <a:gd name="T7" fmla="*/ 5 h 9"/>
                <a:gd name="T8" fmla="*/ 6 w 7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6" y="3"/>
                  </a:moveTo>
                  <a:cubicBezTo>
                    <a:pt x="6" y="3"/>
                    <a:pt x="3" y="3"/>
                    <a:pt x="3" y="0"/>
                  </a:cubicBezTo>
                  <a:cubicBezTo>
                    <a:pt x="3" y="3"/>
                    <a:pt x="0" y="3"/>
                    <a:pt x="3" y="5"/>
                  </a:cubicBezTo>
                  <a:lnTo>
                    <a:pt x="3" y="5"/>
                  </a:lnTo>
                  <a:cubicBezTo>
                    <a:pt x="3" y="8"/>
                    <a:pt x="6" y="5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6" name="Freeform 677"/>
            <p:cNvSpPr>
              <a:spLocks noChangeArrowheads="1"/>
            </p:cNvSpPr>
            <p:nvPr/>
          </p:nvSpPr>
          <p:spPr bwMode="auto">
            <a:xfrm>
              <a:off x="3784600" y="2452688"/>
              <a:ext cx="3175" cy="3175"/>
            </a:xfrm>
            <a:custGeom>
              <a:avLst/>
              <a:gdLst>
                <a:gd name="T0" fmla="*/ 6 w 7"/>
                <a:gd name="T1" fmla="*/ 8 h 9"/>
                <a:gd name="T2" fmla="*/ 6 w 7"/>
                <a:gd name="T3" fmla="*/ 3 h 9"/>
                <a:gd name="T4" fmla="*/ 0 w 7"/>
                <a:gd name="T5" fmla="*/ 0 h 9"/>
                <a:gd name="T6" fmla="*/ 6 w 7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6" y="8"/>
                  </a:moveTo>
                  <a:lnTo>
                    <a:pt x="6" y="3"/>
                  </a:lnTo>
                  <a:cubicBezTo>
                    <a:pt x="3" y="3"/>
                    <a:pt x="3" y="0"/>
                    <a:pt x="0" y="0"/>
                  </a:cubicBezTo>
                  <a:cubicBezTo>
                    <a:pt x="3" y="3"/>
                    <a:pt x="0" y="8"/>
                    <a:pt x="6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7" name="Freeform 678"/>
            <p:cNvSpPr>
              <a:spLocks noChangeArrowheads="1"/>
            </p:cNvSpPr>
            <p:nvPr/>
          </p:nvSpPr>
          <p:spPr bwMode="auto">
            <a:xfrm>
              <a:off x="3816350" y="2971800"/>
              <a:ext cx="6350" cy="6350"/>
            </a:xfrm>
            <a:custGeom>
              <a:avLst/>
              <a:gdLst>
                <a:gd name="T0" fmla="*/ 14 w 18"/>
                <a:gd name="T1" fmla="*/ 15 h 18"/>
                <a:gd name="T2" fmla="*/ 6 w 18"/>
                <a:gd name="T3" fmla="*/ 15 h 18"/>
                <a:gd name="T4" fmla="*/ 0 w 18"/>
                <a:gd name="T5" fmla="*/ 15 h 18"/>
                <a:gd name="T6" fmla="*/ 0 w 18"/>
                <a:gd name="T7" fmla="*/ 15 h 18"/>
                <a:gd name="T8" fmla="*/ 17 w 18"/>
                <a:gd name="T9" fmla="*/ 17 h 18"/>
                <a:gd name="T10" fmla="*/ 8 w 18"/>
                <a:gd name="T11" fmla="*/ 0 h 18"/>
                <a:gd name="T12" fmla="*/ 14 w 18"/>
                <a:gd name="T13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8">
                  <a:moveTo>
                    <a:pt x="14" y="15"/>
                  </a:moveTo>
                  <a:cubicBezTo>
                    <a:pt x="11" y="15"/>
                    <a:pt x="8" y="15"/>
                    <a:pt x="6" y="15"/>
                  </a:cubicBezTo>
                  <a:cubicBezTo>
                    <a:pt x="3" y="15"/>
                    <a:pt x="3" y="15"/>
                    <a:pt x="0" y="15"/>
                  </a:cubicBezTo>
                  <a:lnTo>
                    <a:pt x="0" y="15"/>
                  </a:lnTo>
                  <a:cubicBezTo>
                    <a:pt x="6" y="17"/>
                    <a:pt x="11" y="17"/>
                    <a:pt x="17" y="17"/>
                  </a:cubicBezTo>
                  <a:cubicBezTo>
                    <a:pt x="17" y="9"/>
                    <a:pt x="11" y="6"/>
                    <a:pt x="8" y="0"/>
                  </a:cubicBezTo>
                  <a:cubicBezTo>
                    <a:pt x="11" y="6"/>
                    <a:pt x="14" y="12"/>
                    <a:pt x="14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8" name="Freeform 679"/>
            <p:cNvSpPr>
              <a:spLocks noChangeArrowheads="1"/>
            </p:cNvSpPr>
            <p:nvPr/>
          </p:nvSpPr>
          <p:spPr bwMode="auto">
            <a:xfrm>
              <a:off x="3836988" y="2643188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6 w 7"/>
                <a:gd name="T3" fmla="*/ 3 h 7"/>
                <a:gd name="T4" fmla="*/ 0 w 7"/>
                <a:gd name="T5" fmla="*/ 0 h 7"/>
                <a:gd name="T6" fmla="*/ 6 w 7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lnTo>
                    <a:pt x="6" y="3"/>
                  </a:lnTo>
                  <a:cubicBezTo>
                    <a:pt x="6" y="0"/>
                    <a:pt x="3" y="0"/>
                    <a:pt x="0" y="0"/>
                  </a:cubicBezTo>
                  <a:cubicBezTo>
                    <a:pt x="0" y="3"/>
                    <a:pt x="3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9" name="Freeform 680"/>
            <p:cNvSpPr>
              <a:spLocks noChangeArrowheads="1"/>
            </p:cNvSpPr>
            <p:nvPr/>
          </p:nvSpPr>
          <p:spPr bwMode="auto">
            <a:xfrm>
              <a:off x="3848100" y="2946400"/>
              <a:ext cx="4763" cy="3175"/>
            </a:xfrm>
            <a:custGeom>
              <a:avLst/>
              <a:gdLst>
                <a:gd name="T0" fmla="*/ 0 w 13"/>
                <a:gd name="T1" fmla="*/ 6 h 7"/>
                <a:gd name="T2" fmla="*/ 12 w 13"/>
                <a:gd name="T3" fmla="*/ 6 h 7"/>
                <a:gd name="T4" fmla="*/ 6 w 13"/>
                <a:gd name="T5" fmla="*/ 0 h 7"/>
                <a:gd name="T6" fmla="*/ 0 w 13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7">
                  <a:moveTo>
                    <a:pt x="0" y="6"/>
                  </a:moveTo>
                  <a:cubicBezTo>
                    <a:pt x="3" y="6"/>
                    <a:pt x="6" y="6"/>
                    <a:pt x="12" y="6"/>
                  </a:cubicBezTo>
                  <a:cubicBezTo>
                    <a:pt x="9" y="3"/>
                    <a:pt x="9" y="3"/>
                    <a:pt x="6" y="0"/>
                  </a:cubicBezTo>
                  <a:cubicBezTo>
                    <a:pt x="3" y="0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0" name="Freeform 681"/>
            <p:cNvSpPr>
              <a:spLocks noChangeArrowheads="1"/>
            </p:cNvSpPr>
            <p:nvPr/>
          </p:nvSpPr>
          <p:spPr bwMode="auto">
            <a:xfrm>
              <a:off x="3830638" y="2878138"/>
              <a:ext cx="6350" cy="4762"/>
            </a:xfrm>
            <a:custGeom>
              <a:avLst/>
              <a:gdLst>
                <a:gd name="T0" fmla="*/ 3 w 18"/>
                <a:gd name="T1" fmla="*/ 11 h 15"/>
                <a:gd name="T2" fmla="*/ 14 w 18"/>
                <a:gd name="T3" fmla="*/ 11 h 15"/>
                <a:gd name="T4" fmla="*/ 17 w 18"/>
                <a:gd name="T5" fmla="*/ 3 h 15"/>
                <a:gd name="T6" fmla="*/ 6 w 18"/>
                <a:gd name="T7" fmla="*/ 0 h 15"/>
                <a:gd name="T8" fmla="*/ 3 w 18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3" y="11"/>
                  </a:moveTo>
                  <a:cubicBezTo>
                    <a:pt x="6" y="14"/>
                    <a:pt x="12" y="11"/>
                    <a:pt x="14" y="11"/>
                  </a:cubicBezTo>
                  <a:cubicBezTo>
                    <a:pt x="14" y="8"/>
                    <a:pt x="14" y="6"/>
                    <a:pt x="17" y="3"/>
                  </a:cubicBezTo>
                  <a:cubicBezTo>
                    <a:pt x="17" y="0"/>
                    <a:pt x="12" y="0"/>
                    <a:pt x="6" y="0"/>
                  </a:cubicBezTo>
                  <a:cubicBezTo>
                    <a:pt x="3" y="3"/>
                    <a:pt x="0" y="6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1" name="Freeform 682"/>
            <p:cNvSpPr>
              <a:spLocks noChangeArrowheads="1"/>
            </p:cNvSpPr>
            <p:nvPr/>
          </p:nvSpPr>
          <p:spPr bwMode="auto">
            <a:xfrm>
              <a:off x="3835400" y="2449513"/>
              <a:ext cx="3175" cy="4762"/>
            </a:xfrm>
            <a:custGeom>
              <a:avLst/>
              <a:gdLst>
                <a:gd name="T0" fmla="*/ 6 w 7"/>
                <a:gd name="T1" fmla="*/ 5 h 15"/>
                <a:gd name="T2" fmla="*/ 6 w 7"/>
                <a:gd name="T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6" y="5"/>
                  </a:moveTo>
                  <a:cubicBezTo>
                    <a:pt x="0" y="0"/>
                    <a:pt x="0" y="14"/>
                    <a:pt x="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2" name="Freeform 683"/>
            <p:cNvSpPr>
              <a:spLocks noChangeArrowheads="1"/>
            </p:cNvSpPr>
            <p:nvPr/>
          </p:nvSpPr>
          <p:spPr bwMode="auto">
            <a:xfrm>
              <a:off x="4040188" y="2171700"/>
              <a:ext cx="1587" cy="1588"/>
            </a:xfrm>
            <a:custGeom>
              <a:avLst/>
              <a:gdLst>
                <a:gd name="T0" fmla="*/ 5 w 6"/>
                <a:gd name="T1" fmla="*/ 0 h 4"/>
                <a:gd name="T2" fmla="*/ 0 w 6"/>
                <a:gd name="T3" fmla="*/ 3 h 4"/>
                <a:gd name="T4" fmla="*/ 2 w 6"/>
                <a:gd name="T5" fmla="*/ 3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2" y="0"/>
                    <a:pt x="0" y="0"/>
                    <a:pt x="0" y="3"/>
                  </a:cubicBezTo>
                  <a:lnTo>
                    <a:pt x="2" y="3"/>
                  </a:lnTo>
                  <a:cubicBezTo>
                    <a:pt x="2" y="0"/>
                    <a:pt x="2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3" name="Freeform 684"/>
            <p:cNvSpPr>
              <a:spLocks noChangeArrowheads="1"/>
            </p:cNvSpPr>
            <p:nvPr/>
          </p:nvSpPr>
          <p:spPr bwMode="auto">
            <a:xfrm>
              <a:off x="3819525" y="2965450"/>
              <a:ext cx="4763" cy="3175"/>
            </a:xfrm>
            <a:custGeom>
              <a:avLst/>
              <a:gdLst>
                <a:gd name="T0" fmla="*/ 12 w 13"/>
                <a:gd name="T1" fmla="*/ 6 h 10"/>
                <a:gd name="T2" fmla="*/ 12 w 13"/>
                <a:gd name="T3" fmla="*/ 0 h 10"/>
                <a:gd name="T4" fmla="*/ 0 w 13"/>
                <a:gd name="T5" fmla="*/ 0 h 10"/>
                <a:gd name="T6" fmla="*/ 12 w 13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12" y="6"/>
                  </a:moveTo>
                  <a:cubicBezTo>
                    <a:pt x="12" y="3"/>
                    <a:pt x="12" y="3"/>
                    <a:pt x="12" y="0"/>
                  </a:cubicBezTo>
                  <a:cubicBezTo>
                    <a:pt x="9" y="0"/>
                    <a:pt x="3" y="0"/>
                    <a:pt x="0" y="0"/>
                  </a:cubicBezTo>
                  <a:cubicBezTo>
                    <a:pt x="3" y="3"/>
                    <a:pt x="3" y="9"/>
                    <a:pt x="12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4" name="Freeform 685"/>
            <p:cNvSpPr>
              <a:spLocks noChangeArrowheads="1"/>
            </p:cNvSpPr>
            <p:nvPr/>
          </p:nvSpPr>
          <p:spPr bwMode="auto">
            <a:xfrm>
              <a:off x="4029075" y="2760663"/>
              <a:ext cx="7938" cy="9525"/>
            </a:xfrm>
            <a:custGeom>
              <a:avLst/>
              <a:gdLst>
                <a:gd name="T0" fmla="*/ 11 w 23"/>
                <a:gd name="T1" fmla="*/ 22 h 26"/>
                <a:gd name="T2" fmla="*/ 22 w 23"/>
                <a:gd name="T3" fmla="*/ 14 h 26"/>
                <a:gd name="T4" fmla="*/ 22 w 23"/>
                <a:gd name="T5" fmla="*/ 5 h 26"/>
                <a:gd name="T6" fmla="*/ 8 w 23"/>
                <a:gd name="T7" fmla="*/ 0 h 26"/>
                <a:gd name="T8" fmla="*/ 5 w 23"/>
                <a:gd name="T9" fmla="*/ 5 h 26"/>
                <a:gd name="T10" fmla="*/ 8 w 23"/>
                <a:gd name="T11" fmla="*/ 14 h 26"/>
                <a:gd name="T12" fmla="*/ 2 w 23"/>
                <a:gd name="T13" fmla="*/ 14 h 26"/>
                <a:gd name="T14" fmla="*/ 0 w 23"/>
                <a:gd name="T15" fmla="*/ 19 h 26"/>
                <a:gd name="T16" fmla="*/ 11 w 23"/>
                <a:gd name="T17" fmla="*/ 2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6">
                  <a:moveTo>
                    <a:pt x="11" y="22"/>
                  </a:moveTo>
                  <a:cubicBezTo>
                    <a:pt x="16" y="19"/>
                    <a:pt x="19" y="17"/>
                    <a:pt x="22" y="14"/>
                  </a:cubicBezTo>
                  <a:cubicBezTo>
                    <a:pt x="22" y="11"/>
                    <a:pt x="22" y="8"/>
                    <a:pt x="22" y="5"/>
                  </a:cubicBezTo>
                  <a:cubicBezTo>
                    <a:pt x="19" y="3"/>
                    <a:pt x="14" y="0"/>
                    <a:pt x="8" y="0"/>
                  </a:cubicBezTo>
                  <a:cubicBezTo>
                    <a:pt x="5" y="0"/>
                    <a:pt x="5" y="3"/>
                    <a:pt x="5" y="5"/>
                  </a:cubicBezTo>
                  <a:cubicBezTo>
                    <a:pt x="8" y="8"/>
                    <a:pt x="8" y="11"/>
                    <a:pt x="8" y="14"/>
                  </a:cubicBezTo>
                  <a:cubicBezTo>
                    <a:pt x="5" y="17"/>
                    <a:pt x="5" y="17"/>
                    <a:pt x="2" y="14"/>
                  </a:cubicBezTo>
                  <a:cubicBezTo>
                    <a:pt x="2" y="17"/>
                    <a:pt x="2" y="17"/>
                    <a:pt x="0" y="19"/>
                  </a:cubicBezTo>
                  <a:cubicBezTo>
                    <a:pt x="2" y="25"/>
                    <a:pt x="8" y="25"/>
                    <a:pt x="11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5" name="Freeform 686"/>
            <p:cNvSpPr>
              <a:spLocks noChangeArrowheads="1"/>
            </p:cNvSpPr>
            <p:nvPr/>
          </p:nvSpPr>
          <p:spPr bwMode="auto">
            <a:xfrm>
              <a:off x="3776663" y="2936875"/>
              <a:ext cx="4762" cy="3175"/>
            </a:xfrm>
            <a:custGeom>
              <a:avLst/>
              <a:gdLst>
                <a:gd name="T0" fmla="*/ 0 w 12"/>
                <a:gd name="T1" fmla="*/ 0 h 7"/>
                <a:gd name="T2" fmla="*/ 11 w 12"/>
                <a:gd name="T3" fmla="*/ 6 h 7"/>
                <a:gd name="T4" fmla="*/ 3 w 12"/>
                <a:gd name="T5" fmla="*/ 0 h 7"/>
                <a:gd name="T6" fmla="*/ 0 w 12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7">
                  <a:moveTo>
                    <a:pt x="0" y="0"/>
                  </a:moveTo>
                  <a:cubicBezTo>
                    <a:pt x="0" y="0"/>
                    <a:pt x="6" y="3"/>
                    <a:pt x="11" y="6"/>
                  </a:cubicBezTo>
                  <a:cubicBezTo>
                    <a:pt x="11" y="3"/>
                    <a:pt x="8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6" name="Freeform 687"/>
            <p:cNvSpPr>
              <a:spLocks noChangeArrowheads="1"/>
            </p:cNvSpPr>
            <p:nvPr/>
          </p:nvSpPr>
          <p:spPr bwMode="auto">
            <a:xfrm>
              <a:off x="4017963" y="2247900"/>
              <a:ext cx="3175" cy="4763"/>
            </a:xfrm>
            <a:custGeom>
              <a:avLst/>
              <a:gdLst>
                <a:gd name="T0" fmla="*/ 3 w 10"/>
                <a:gd name="T1" fmla="*/ 11 h 12"/>
                <a:gd name="T2" fmla="*/ 3 w 10"/>
                <a:gd name="T3" fmla="*/ 11 h 12"/>
                <a:gd name="T4" fmla="*/ 9 w 10"/>
                <a:gd name="T5" fmla="*/ 11 h 12"/>
                <a:gd name="T6" fmla="*/ 0 w 10"/>
                <a:gd name="T7" fmla="*/ 6 h 12"/>
                <a:gd name="T8" fmla="*/ 3 w 10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3" y="11"/>
                  </a:moveTo>
                  <a:lnTo>
                    <a:pt x="3" y="11"/>
                  </a:lnTo>
                  <a:cubicBezTo>
                    <a:pt x="6" y="11"/>
                    <a:pt x="6" y="11"/>
                    <a:pt x="9" y="11"/>
                  </a:cubicBezTo>
                  <a:cubicBezTo>
                    <a:pt x="6" y="11"/>
                    <a:pt x="0" y="0"/>
                    <a:pt x="0" y="6"/>
                  </a:cubicBezTo>
                  <a:cubicBezTo>
                    <a:pt x="0" y="6"/>
                    <a:pt x="3" y="9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7" name="Freeform 688"/>
            <p:cNvSpPr>
              <a:spLocks noChangeArrowheads="1"/>
            </p:cNvSpPr>
            <p:nvPr/>
          </p:nvSpPr>
          <p:spPr bwMode="auto">
            <a:xfrm>
              <a:off x="4019550" y="2241550"/>
              <a:ext cx="4763" cy="6350"/>
            </a:xfrm>
            <a:custGeom>
              <a:avLst/>
              <a:gdLst>
                <a:gd name="T0" fmla="*/ 11 w 12"/>
                <a:gd name="T1" fmla="*/ 0 h 18"/>
                <a:gd name="T2" fmla="*/ 11 w 12"/>
                <a:gd name="T3" fmla="*/ 0 h 18"/>
                <a:gd name="T4" fmla="*/ 0 w 12"/>
                <a:gd name="T5" fmla="*/ 17 h 18"/>
                <a:gd name="T6" fmla="*/ 11 w 12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8">
                  <a:moveTo>
                    <a:pt x="11" y="0"/>
                  </a:moveTo>
                  <a:lnTo>
                    <a:pt x="11" y="0"/>
                  </a:lnTo>
                  <a:cubicBezTo>
                    <a:pt x="3" y="3"/>
                    <a:pt x="0" y="9"/>
                    <a:pt x="0" y="17"/>
                  </a:cubicBezTo>
                  <a:cubicBezTo>
                    <a:pt x="9" y="14"/>
                    <a:pt x="9" y="6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8" name="Freeform 689"/>
            <p:cNvSpPr>
              <a:spLocks noChangeArrowheads="1"/>
            </p:cNvSpPr>
            <p:nvPr/>
          </p:nvSpPr>
          <p:spPr bwMode="auto">
            <a:xfrm>
              <a:off x="4035425" y="2211388"/>
              <a:ext cx="3175" cy="3175"/>
            </a:xfrm>
            <a:custGeom>
              <a:avLst/>
              <a:gdLst>
                <a:gd name="T0" fmla="*/ 9 w 10"/>
                <a:gd name="T1" fmla="*/ 6 h 10"/>
                <a:gd name="T2" fmla="*/ 9 w 10"/>
                <a:gd name="T3" fmla="*/ 0 h 10"/>
                <a:gd name="T4" fmla="*/ 0 w 10"/>
                <a:gd name="T5" fmla="*/ 6 h 10"/>
                <a:gd name="T6" fmla="*/ 9 w 10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9" y="6"/>
                  </a:moveTo>
                  <a:cubicBezTo>
                    <a:pt x="9" y="3"/>
                    <a:pt x="9" y="3"/>
                    <a:pt x="9" y="0"/>
                  </a:cubicBezTo>
                  <a:cubicBezTo>
                    <a:pt x="6" y="3"/>
                    <a:pt x="3" y="3"/>
                    <a:pt x="0" y="6"/>
                  </a:cubicBezTo>
                  <a:cubicBezTo>
                    <a:pt x="3" y="9"/>
                    <a:pt x="6" y="9"/>
                    <a:pt x="9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9" name="Freeform 690"/>
            <p:cNvSpPr>
              <a:spLocks noChangeArrowheads="1"/>
            </p:cNvSpPr>
            <p:nvPr/>
          </p:nvSpPr>
          <p:spPr bwMode="auto">
            <a:xfrm>
              <a:off x="4032250" y="2438400"/>
              <a:ext cx="1588" cy="1588"/>
            </a:xfrm>
            <a:custGeom>
              <a:avLst/>
              <a:gdLst>
                <a:gd name="T0" fmla="*/ 0 w 4"/>
                <a:gd name="T1" fmla="*/ 2 h 3"/>
                <a:gd name="T2" fmla="*/ 3 w 4"/>
                <a:gd name="T3" fmla="*/ 0 h 3"/>
                <a:gd name="T4" fmla="*/ 0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cubicBezTo>
                    <a:pt x="3" y="2"/>
                    <a:pt x="3" y="0"/>
                    <a:pt x="3" y="0"/>
                  </a:cubicBez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0" name="Freeform 691"/>
            <p:cNvSpPr>
              <a:spLocks noChangeArrowheads="1"/>
            </p:cNvSpPr>
            <p:nvPr/>
          </p:nvSpPr>
          <p:spPr bwMode="auto">
            <a:xfrm>
              <a:off x="4024313" y="2398713"/>
              <a:ext cx="6350" cy="7937"/>
            </a:xfrm>
            <a:custGeom>
              <a:avLst/>
              <a:gdLst>
                <a:gd name="T0" fmla="*/ 9 w 16"/>
                <a:gd name="T1" fmla="*/ 22 h 23"/>
                <a:gd name="T2" fmla="*/ 9 w 16"/>
                <a:gd name="T3" fmla="*/ 0 h 23"/>
                <a:gd name="T4" fmla="*/ 6 w 16"/>
                <a:gd name="T5" fmla="*/ 0 h 23"/>
                <a:gd name="T6" fmla="*/ 6 w 16"/>
                <a:gd name="T7" fmla="*/ 5 h 23"/>
                <a:gd name="T8" fmla="*/ 0 w 16"/>
                <a:gd name="T9" fmla="*/ 8 h 23"/>
                <a:gd name="T10" fmla="*/ 0 w 16"/>
                <a:gd name="T11" fmla="*/ 14 h 23"/>
                <a:gd name="T12" fmla="*/ 9 w 16"/>
                <a:gd name="T13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3">
                  <a:moveTo>
                    <a:pt x="9" y="22"/>
                  </a:moveTo>
                  <a:cubicBezTo>
                    <a:pt x="9" y="17"/>
                    <a:pt x="15" y="8"/>
                    <a:pt x="9" y="0"/>
                  </a:cubicBezTo>
                  <a:lnTo>
                    <a:pt x="6" y="0"/>
                  </a:lnTo>
                  <a:lnTo>
                    <a:pt x="6" y="5"/>
                  </a:lnTo>
                  <a:cubicBezTo>
                    <a:pt x="6" y="5"/>
                    <a:pt x="3" y="8"/>
                    <a:pt x="0" y="8"/>
                  </a:cubicBezTo>
                  <a:cubicBezTo>
                    <a:pt x="0" y="11"/>
                    <a:pt x="0" y="11"/>
                    <a:pt x="0" y="14"/>
                  </a:cubicBezTo>
                  <a:cubicBezTo>
                    <a:pt x="3" y="19"/>
                    <a:pt x="6" y="22"/>
                    <a:pt x="9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1" name="Freeform 692"/>
            <p:cNvSpPr>
              <a:spLocks noChangeArrowheads="1"/>
            </p:cNvSpPr>
            <p:nvPr/>
          </p:nvSpPr>
          <p:spPr bwMode="auto">
            <a:xfrm>
              <a:off x="3773488" y="2705100"/>
              <a:ext cx="11112" cy="7938"/>
            </a:xfrm>
            <a:custGeom>
              <a:avLst/>
              <a:gdLst>
                <a:gd name="T0" fmla="*/ 17 w 30"/>
                <a:gd name="T1" fmla="*/ 14 h 23"/>
                <a:gd name="T2" fmla="*/ 26 w 30"/>
                <a:gd name="T3" fmla="*/ 5 h 23"/>
                <a:gd name="T4" fmla="*/ 3 w 30"/>
                <a:gd name="T5" fmla="*/ 19 h 23"/>
                <a:gd name="T6" fmla="*/ 3 w 30"/>
                <a:gd name="T7" fmla="*/ 19 h 23"/>
                <a:gd name="T8" fmla="*/ 17 w 30"/>
                <a:gd name="T9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3">
                  <a:moveTo>
                    <a:pt x="17" y="14"/>
                  </a:moveTo>
                  <a:cubicBezTo>
                    <a:pt x="20" y="11"/>
                    <a:pt x="29" y="14"/>
                    <a:pt x="26" y="5"/>
                  </a:cubicBezTo>
                  <a:cubicBezTo>
                    <a:pt x="12" y="0"/>
                    <a:pt x="0" y="5"/>
                    <a:pt x="3" y="19"/>
                  </a:cubicBezTo>
                  <a:lnTo>
                    <a:pt x="3" y="19"/>
                  </a:lnTo>
                  <a:cubicBezTo>
                    <a:pt x="12" y="22"/>
                    <a:pt x="15" y="16"/>
                    <a:pt x="17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2" name="Freeform 693"/>
            <p:cNvSpPr>
              <a:spLocks noChangeArrowheads="1"/>
            </p:cNvSpPr>
            <p:nvPr/>
          </p:nvSpPr>
          <p:spPr bwMode="auto">
            <a:xfrm>
              <a:off x="3776663" y="2940050"/>
              <a:ext cx="3175" cy="1588"/>
            </a:xfrm>
            <a:custGeom>
              <a:avLst/>
              <a:gdLst>
                <a:gd name="T0" fmla="*/ 8 w 9"/>
                <a:gd name="T1" fmla="*/ 3 h 4"/>
                <a:gd name="T2" fmla="*/ 8 w 9"/>
                <a:gd name="T3" fmla="*/ 3 h 4"/>
                <a:gd name="T4" fmla="*/ 0 w 9"/>
                <a:gd name="T5" fmla="*/ 0 h 4"/>
                <a:gd name="T6" fmla="*/ 8 w 9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4">
                  <a:moveTo>
                    <a:pt x="8" y="3"/>
                  </a:moveTo>
                  <a:lnTo>
                    <a:pt x="8" y="3"/>
                  </a:lnTo>
                  <a:cubicBezTo>
                    <a:pt x="6" y="0"/>
                    <a:pt x="3" y="0"/>
                    <a:pt x="0" y="0"/>
                  </a:cubicBezTo>
                  <a:cubicBezTo>
                    <a:pt x="3" y="3"/>
                    <a:pt x="6" y="3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3" name="Freeform 694"/>
            <p:cNvSpPr>
              <a:spLocks noChangeArrowheads="1"/>
            </p:cNvSpPr>
            <p:nvPr/>
          </p:nvSpPr>
          <p:spPr bwMode="auto">
            <a:xfrm>
              <a:off x="4016375" y="2771775"/>
              <a:ext cx="4763" cy="4763"/>
            </a:xfrm>
            <a:custGeom>
              <a:avLst/>
              <a:gdLst>
                <a:gd name="T0" fmla="*/ 11 w 15"/>
                <a:gd name="T1" fmla="*/ 0 h 12"/>
                <a:gd name="T2" fmla="*/ 0 w 15"/>
                <a:gd name="T3" fmla="*/ 3 h 12"/>
                <a:gd name="T4" fmla="*/ 2 w 15"/>
                <a:gd name="T5" fmla="*/ 11 h 12"/>
                <a:gd name="T6" fmla="*/ 11 w 15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2">
                  <a:moveTo>
                    <a:pt x="11" y="0"/>
                  </a:moveTo>
                  <a:cubicBezTo>
                    <a:pt x="8" y="0"/>
                    <a:pt x="2" y="0"/>
                    <a:pt x="0" y="3"/>
                  </a:cubicBezTo>
                  <a:cubicBezTo>
                    <a:pt x="0" y="5"/>
                    <a:pt x="0" y="8"/>
                    <a:pt x="2" y="11"/>
                  </a:cubicBezTo>
                  <a:cubicBezTo>
                    <a:pt x="11" y="11"/>
                    <a:pt x="14" y="5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4" name="Freeform 695"/>
            <p:cNvSpPr>
              <a:spLocks noChangeArrowheads="1"/>
            </p:cNvSpPr>
            <p:nvPr/>
          </p:nvSpPr>
          <p:spPr bwMode="auto">
            <a:xfrm>
              <a:off x="4013200" y="2546350"/>
              <a:ext cx="3175" cy="3175"/>
            </a:xfrm>
            <a:custGeom>
              <a:avLst/>
              <a:gdLst>
                <a:gd name="T0" fmla="*/ 9 w 10"/>
                <a:gd name="T1" fmla="*/ 0 h 10"/>
                <a:gd name="T2" fmla="*/ 9 w 10"/>
                <a:gd name="T3" fmla="*/ 0 h 10"/>
                <a:gd name="T4" fmla="*/ 9 w 10"/>
                <a:gd name="T5" fmla="*/ 0 h 10"/>
                <a:gd name="T6" fmla="*/ 0 w 10"/>
                <a:gd name="T7" fmla="*/ 6 h 10"/>
                <a:gd name="T8" fmla="*/ 9 w 1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9" y="0"/>
                  </a:moveTo>
                  <a:lnTo>
                    <a:pt x="9" y="0"/>
                  </a:lnTo>
                  <a:lnTo>
                    <a:pt x="9" y="0"/>
                  </a:lnTo>
                  <a:cubicBezTo>
                    <a:pt x="3" y="0"/>
                    <a:pt x="0" y="0"/>
                    <a:pt x="0" y="6"/>
                  </a:cubicBezTo>
                  <a:cubicBezTo>
                    <a:pt x="3" y="9"/>
                    <a:pt x="9" y="9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5" name="Freeform 696"/>
            <p:cNvSpPr>
              <a:spLocks noChangeArrowheads="1"/>
            </p:cNvSpPr>
            <p:nvPr/>
          </p:nvSpPr>
          <p:spPr bwMode="auto">
            <a:xfrm>
              <a:off x="4121150" y="2987675"/>
              <a:ext cx="6350" cy="7938"/>
            </a:xfrm>
            <a:custGeom>
              <a:avLst/>
              <a:gdLst>
                <a:gd name="T0" fmla="*/ 6 w 17"/>
                <a:gd name="T1" fmla="*/ 2 h 23"/>
                <a:gd name="T2" fmla="*/ 3 w 17"/>
                <a:gd name="T3" fmla="*/ 22 h 23"/>
                <a:gd name="T4" fmla="*/ 6 w 17"/>
                <a:gd name="T5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6" y="2"/>
                  </a:moveTo>
                  <a:cubicBezTo>
                    <a:pt x="9" y="11"/>
                    <a:pt x="0" y="14"/>
                    <a:pt x="3" y="22"/>
                  </a:cubicBezTo>
                  <a:cubicBezTo>
                    <a:pt x="12" y="19"/>
                    <a:pt x="16" y="0"/>
                    <a:pt x="6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6" name="Freeform 697"/>
            <p:cNvSpPr>
              <a:spLocks noChangeArrowheads="1"/>
            </p:cNvSpPr>
            <p:nvPr/>
          </p:nvSpPr>
          <p:spPr bwMode="auto">
            <a:xfrm>
              <a:off x="4122738" y="2406650"/>
              <a:ext cx="3175" cy="3175"/>
            </a:xfrm>
            <a:custGeom>
              <a:avLst/>
              <a:gdLst>
                <a:gd name="T0" fmla="*/ 3 w 7"/>
                <a:gd name="T1" fmla="*/ 6 h 7"/>
                <a:gd name="T2" fmla="*/ 6 w 7"/>
                <a:gd name="T3" fmla="*/ 6 h 7"/>
                <a:gd name="T4" fmla="*/ 6 w 7"/>
                <a:gd name="T5" fmla="*/ 0 h 7"/>
                <a:gd name="T6" fmla="*/ 0 w 7"/>
                <a:gd name="T7" fmla="*/ 0 h 7"/>
                <a:gd name="T8" fmla="*/ 0 w 7"/>
                <a:gd name="T9" fmla="*/ 6 h 7"/>
                <a:gd name="T10" fmla="*/ 3 w 7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3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3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7" name="Freeform 698"/>
            <p:cNvSpPr>
              <a:spLocks noChangeArrowheads="1"/>
            </p:cNvSpPr>
            <p:nvPr/>
          </p:nvSpPr>
          <p:spPr bwMode="auto">
            <a:xfrm>
              <a:off x="4086225" y="2384425"/>
              <a:ext cx="3175" cy="3175"/>
            </a:xfrm>
            <a:custGeom>
              <a:avLst/>
              <a:gdLst>
                <a:gd name="T0" fmla="*/ 2 w 9"/>
                <a:gd name="T1" fmla="*/ 0 h 9"/>
                <a:gd name="T2" fmla="*/ 8 w 9"/>
                <a:gd name="T3" fmla="*/ 6 h 9"/>
                <a:gd name="T4" fmla="*/ 5 w 9"/>
                <a:gd name="T5" fmla="*/ 3 h 9"/>
                <a:gd name="T6" fmla="*/ 2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2" y="0"/>
                  </a:moveTo>
                  <a:cubicBezTo>
                    <a:pt x="0" y="6"/>
                    <a:pt x="5" y="8"/>
                    <a:pt x="8" y="6"/>
                  </a:cubicBezTo>
                  <a:lnTo>
                    <a:pt x="5" y="3"/>
                  </a:lnTo>
                  <a:cubicBezTo>
                    <a:pt x="2" y="3"/>
                    <a:pt x="2" y="0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8" name="Freeform 699"/>
            <p:cNvSpPr>
              <a:spLocks noChangeArrowheads="1"/>
            </p:cNvSpPr>
            <p:nvPr/>
          </p:nvSpPr>
          <p:spPr bwMode="auto">
            <a:xfrm>
              <a:off x="4090988" y="3052763"/>
              <a:ext cx="1587" cy="3175"/>
            </a:xfrm>
            <a:custGeom>
              <a:avLst/>
              <a:gdLst>
                <a:gd name="T0" fmla="*/ 0 w 3"/>
                <a:gd name="T1" fmla="*/ 0 h 7"/>
                <a:gd name="T2" fmla="*/ 2 w 3"/>
                <a:gd name="T3" fmla="*/ 6 h 7"/>
                <a:gd name="T4" fmla="*/ 2 w 3"/>
                <a:gd name="T5" fmla="*/ 6 h 7"/>
                <a:gd name="T6" fmla="*/ 0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cubicBezTo>
                    <a:pt x="0" y="3"/>
                    <a:pt x="0" y="6"/>
                    <a:pt x="2" y="6"/>
                  </a:cubicBezTo>
                  <a:lnTo>
                    <a:pt x="2" y="6"/>
                  </a:lnTo>
                  <a:cubicBezTo>
                    <a:pt x="2" y="3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9" name="Freeform 700"/>
            <p:cNvSpPr>
              <a:spLocks noChangeArrowheads="1"/>
            </p:cNvSpPr>
            <p:nvPr/>
          </p:nvSpPr>
          <p:spPr bwMode="auto">
            <a:xfrm>
              <a:off x="4129088" y="2232025"/>
              <a:ext cx="3175" cy="3175"/>
            </a:xfrm>
            <a:custGeom>
              <a:avLst/>
              <a:gdLst>
                <a:gd name="T0" fmla="*/ 0 w 7"/>
                <a:gd name="T1" fmla="*/ 0 h 7"/>
                <a:gd name="T2" fmla="*/ 0 w 7"/>
                <a:gd name="T3" fmla="*/ 6 h 7"/>
                <a:gd name="T4" fmla="*/ 6 w 7"/>
                <a:gd name="T5" fmla="*/ 6 h 7"/>
                <a:gd name="T6" fmla="*/ 0 w 7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lnTo>
                    <a:pt x="6" y="6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0" name="Freeform 701"/>
            <p:cNvSpPr>
              <a:spLocks noChangeArrowheads="1"/>
            </p:cNvSpPr>
            <p:nvPr/>
          </p:nvSpPr>
          <p:spPr bwMode="auto">
            <a:xfrm>
              <a:off x="4121150" y="2444750"/>
              <a:ext cx="9525" cy="14288"/>
            </a:xfrm>
            <a:custGeom>
              <a:avLst/>
              <a:gdLst>
                <a:gd name="T0" fmla="*/ 3 w 26"/>
                <a:gd name="T1" fmla="*/ 6 h 38"/>
                <a:gd name="T2" fmla="*/ 9 w 26"/>
                <a:gd name="T3" fmla="*/ 20 h 38"/>
                <a:gd name="T4" fmla="*/ 0 w 26"/>
                <a:gd name="T5" fmla="*/ 31 h 38"/>
                <a:gd name="T6" fmla="*/ 13 w 26"/>
                <a:gd name="T7" fmla="*/ 37 h 38"/>
                <a:gd name="T8" fmla="*/ 3 w 26"/>
                <a:gd name="T9" fmla="*/ 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8">
                  <a:moveTo>
                    <a:pt x="3" y="6"/>
                  </a:moveTo>
                  <a:cubicBezTo>
                    <a:pt x="3" y="15"/>
                    <a:pt x="6" y="15"/>
                    <a:pt x="9" y="20"/>
                  </a:cubicBezTo>
                  <a:cubicBezTo>
                    <a:pt x="9" y="26"/>
                    <a:pt x="0" y="26"/>
                    <a:pt x="0" y="31"/>
                  </a:cubicBezTo>
                  <a:cubicBezTo>
                    <a:pt x="6" y="31"/>
                    <a:pt x="6" y="37"/>
                    <a:pt x="13" y="37"/>
                  </a:cubicBezTo>
                  <a:cubicBezTo>
                    <a:pt x="19" y="29"/>
                    <a:pt x="25" y="0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1" name="Freeform 702"/>
            <p:cNvSpPr>
              <a:spLocks noChangeArrowheads="1"/>
            </p:cNvSpPr>
            <p:nvPr/>
          </p:nvSpPr>
          <p:spPr bwMode="auto">
            <a:xfrm>
              <a:off x="4125913" y="2536825"/>
              <a:ext cx="4762" cy="4763"/>
            </a:xfrm>
            <a:custGeom>
              <a:avLst/>
              <a:gdLst>
                <a:gd name="T0" fmla="*/ 1 w 14"/>
                <a:gd name="T1" fmla="*/ 6 h 15"/>
                <a:gd name="T2" fmla="*/ 4 w 14"/>
                <a:gd name="T3" fmla="*/ 11 h 15"/>
                <a:gd name="T4" fmla="*/ 13 w 14"/>
                <a:gd name="T5" fmla="*/ 14 h 15"/>
                <a:gd name="T6" fmla="*/ 13 w 14"/>
                <a:gd name="T7" fmla="*/ 11 h 15"/>
                <a:gd name="T8" fmla="*/ 7 w 14"/>
                <a:gd name="T9" fmla="*/ 6 h 15"/>
                <a:gd name="T10" fmla="*/ 4 w 14"/>
                <a:gd name="T11" fmla="*/ 0 h 15"/>
                <a:gd name="T12" fmla="*/ 0 w 14"/>
                <a:gd name="T13" fmla="*/ 3 h 15"/>
                <a:gd name="T14" fmla="*/ 1 w 14"/>
                <a:gd name="T1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5">
                  <a:moveTo>
                    <a:pt x="1" y="6"/>
                  </a:moveTo>
                  <a:cubicBezTo>
                    <a:pt x="1" y="9"/>
                    <a:pt x="4" y="9"/>
                    <a:pt x="4" y="11"/>
                  </a:cubicBezTo>
                  <a:cubicBezTo>
                    <a:pt x="7" y="14"/>
                    <a:pt x="10" y="14"/>
                    <a:pt x="13" y="14"/>
                  </a:cubicBezTo>
                  <a:lnTo>
                    <a:pt x="13" y="11"/>
                  </a:lnTo>
                  <a:cubicBezTo>
                    <a:pt x="10" y="11"/>
                    <a:pt x="10" y="9"/>
                    <a:pt x="7" y="6"/>
                  </a:cubicBezTo>
                  <a:cubicBezTo>
                    <a:pt x="7" y="3"/>
                    <a:pt x="7" y="3"/>
                    <a:pt x="4" y="0"/>
                  </a:cubicBezTo>
                  <a:cubicBezTo>
                    <a:pt x="1" y="0"/>
                    <a:pt x="1" y="0"/>
                    <a:pt x="0" y="3"/>
                  </a:cubicBezTo>
                  <a:lnTo>
                    <a:pt x="1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2" name="Freeform 703"/>
            <p:cNvSpPr>
              <a:spLocks noChangeArrowheads="1"/>
            </p:cNvSpPr>
            <p:nvPr/>
          </p:nvSpPr>
          <p:spPr bwMode="auto">
            <a:xfrm>
              <a:off x="4119563" y="2500313"/>
              <a:ext cx="1587" cy="1587"/>
            </a:xfrm>
            <a:custGeom>
              <a:avLst/>
              <a:gdLst>
                <a:gd name="T0" fmla="*/ 5 w 6"/>
                <a:gd name="T1" fmla="*/ 0 h 3"/>
                <a:gd name="T2" fmla="*/ 0 w 6"/>
                <a:gd name="T3" fmla="*/ 0 h 3"/>
                <a:gd name="T4" fmla="*/ 0 w 6"/>
                <a:gd name="T5" fmla="*/ 2 h 3"/>
                <a:gd name="T6" fmla="*/ 5 w 6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5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2"/>
                  </a:cubicBezTo>
                  <a:cubicBezTo>
                    <a:pt x="0" y="0"/>
                    <a:pt x="2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3" name="Freeform 704"/>
            <p:cNvSpPr>
              <a:spLocks noChangeArrowheads="1"/>
            </p:cNvSpPr>
            <p:nvPr/>
          </p:nvSpPr>
          <p:spPr bwMode="auto">
            <a:xfrm>
              <a:off x="4117975" y="2527300"/>
              <a:ext cx="6350" cy="6350"/>
            </a:xfrm>
            <a:custGeom>
              <a:avLst/>
              <a:gdLst>
                <a:gd name="T0" fmla="*/ 6 w 18"/>
                <a:gd name="T1" fmla="*/ 17 h 18"/>
                <a:gd name="T2" fmla="*/ 11 w 18"/>
                <a:gd name="T3" fmla="*/ 5 h 18"/>
                <a:gd name="T4" fmla="*/ 17 w 18"/>
                <a:gd name="T5" fmla="*/ 11 h 18"/>
                <a:gd name="T6" fmla="*/ 8 w 18"/>
                <a:gd name="T7" fmla="*/ 0 h 18"/>
                <a:gd name="T8" fmla="*/ 6 w 18"/>
                <a:gd name="T9" fmla="*/ 0 h 18"/>
                <a:gd name="T10" fmla="*/ 6 w 18"/>
                <a:gd name="T11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8">
                  <a:moveTo>
                    <a:pt x="6" y="17"/>
                  </a:moveTo>
                  <a:cubicBezTo>
                    <a:pt x="8" y="14"/>
                    <a:pt x="6" y="5"/>
                    <a:pt x="11" y="5"/>
                  </a:cubicBezTo>
                  <a:cubicBezTo>
                    <a:pt x="11" y="11"/>
                    <a:pt x="14" y="11"/>
                    <a:pt x="17" y="11"/>
                  </a:cubicBezTo>
                  <a:cubicBezTo>
                    <a:pt x="17" y="8"/>
                    <a:pt x="14" y="3"/>
                    <a:pt x="8" y="0"/>
                  </a:cubicBezTo>
                  <a:lnTo>
                    <a:pt x="6" y="0"/>
                  </a:lnTo>
                  <a:cubicBezTo>
                    <a:pt x="8" y="5"/>
                    <a:pt x="0" y="11"/>
                    <a:pt x="6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4" name="Freeform 705"/>
            <p:cNvSpPr>
              <a:spLocks noChangeArrowheads="1"/>
            </p:cNvSpPr>
            <p:nvPr/>
          </p:nvSpPr>
          <p:spPr bwMode="auto">
            <a:xfrm>
              <a:off x="4114800" y="3000375"/>
              <a:ext cx="6350" cy="4763"/>
            </a:xfrm>
            <a:custGeom>
              <a:avLst/>
              <a:gdLst>
                <a:gd name="T0" fmla="*/ 6 w 18"/>
                <a:gd name="T1" fmla="*/ 0 h 15"/>
                <a:gd name="T2" fmla="*/ 6 w 18"/>
                <a:gd name="T3" fmla="*/ 0 h 15"/>
                <a:gd name="T4" fmla="*/ 12 w 18"/>
                <a:gd name="T5" fmla="*/ 12 h 15"/>
                <a:gd name="T6" fmla="*/ 6 w 18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6" y="0"/>
                  </a:moveTo>
                  <a:lnTo>
                    <a:pt x="6" y="0"/>
                  </a:lnTo>
                  <a:cubicBezTo>
                    <a:pt x="0" y="6"/>
                    <a:pt x="0" y="14"/>
                    <a:pt x="12" y="12"/>
                  </a:cubicBezTo>
                  <a:cubicBezTo>
                    <a:pt x="17" y="9"/>
                    <a:pt x="12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5" name="Freeform 706"/>
            <p:cNvSpPr>
              <a:spLocks noChangeArrowheads="1"/>
            </p:cNvSpPr>
            <p:nvPr/>
          </p:nvSpPr>
          <p:spPr bwMode="auto">
            <a:xfrm>
              <a:off x="4086225" y="2708275"/>
              <a:ext cx="3175" cy="1588"/>
            </a:xfrm>
            <a:custGeom>
              <a:avLst/>
              <a:gdLst>
                <a:gd name="T0" fmla="*/ 1 w 7"/>
                <a:gd name="T1" fmla="*/ 3 h 6"/>
                <a:gd name="T2" fmla="*/ 3 w 7"/>
                <a:gd name="T3" fmla="*/ 5 h 6"/>
                <a:gd name="T4" fmla="*/ 6 w 7"/>
                <a:gd name="T5" fmla="*/ 0 h 6"/>
                <a:gd name="T6" fmla="*/ 1 w 7"/>
                <a:gd name="T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1" y="3"/>
                  </a:moveTo>
                  <a:cubicBezTo>
                    <a:pt x="1" y="3"/>
                    <a:pt x="0" y="5"/>
                    <a:pt x="3" y="5"/>
                  </a:cubicBezTo>
                  <a:cubicBezTo>
                    <a:pt x="5" y="5"/>
                    <a:pt x="6" y="3"/>
                    <a:pt x="6" y="0"/>
                  </a:cubicBezTo>
                  <a:cubicBezTo>
                    <a:pt x="3" y="0"/>
                    <a:pt x="1" y="0"/>
                    <a:pt x="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6" name="Freeform 707"/>
            <p:cNvSpPr>
              <a:spLocks noChangeArrowheads="1"/>
            </p:cNvSpPr>
            <p:nvPr/>
          </p:nvSpPr>
          <p:spPr bwMode="auto">
            <a:xfrm>
              <a:off x="4098925" y="2887663"/>
              <a:ext cx="3175" cy="4762"/>
            </a:xfrm>
            <a:custGeom>
              <a:avLst/>
              <a:gdLst>
                <a:gd name="T0" fmla="*/ 0 w 10"/>
                <a:gd name="T1" fmla="*/ 3 h 12"/>
                <a:gd name="T2" fmla="*/ 9 w 10"/>
                <a:gd name="T3" fmla="*/ 11 h 12"/>
                <a:gd name="T4" fmla="*/ 0 w 10"/>
                <a:gd name="T5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0" y="3"/>
                  </a:moveTo>
                  <a:cubicBezTo>
                    <a:pt x="0" y="9"/>
                    <a:pt x="6" y="11"/>
                    <a:pt x="9" y="11"/>
                  </a:cubicBezTo>
                  <a:cubicBezTo>
                    <a:pt x="9" y="6"/>
                    <a:pt x="9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7" name="Freeform 708"/>
            <p:cNvSpPr>
              <a:spLocks noChangeArrowheads="1"/>
            </p:cNvSpPr>
            <p:nvPr/>
          </p:nvSpPr>
          <p:spPr bwMode="auto">
            <a:xfrm>
              <a:off x="4108450" y="2405063"/>
              <a:ext cx="4763" cy="6350"/>
            </a:xfrm>
            <a:custGeom>
              <a:avLst/>
              <a:gdLst>
                <a:gd name="T0" fmla="*/ 11 w 15"/>
                <a:gd name="T1" fmla="*/ 0 h 18"/>
                <a:gd name="T2" fmla="*/ 0 w 15"/>
                <a:gd name="T3" fmla="*/ 6 h 18"/>
                <a:gd name="T4" fmla="*/ 2 w 15"/>
                <a:gd name="T5" fmla="*/ 15 h 18"/>
                <a:gd name="T6" fmla="*/ 14 w 15"/>
                <a:gd name="T7" fmla="*/ 9 h 18"/>
                <a:gd name="T8" fmla="*/ 11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11" y="0"/>
                  </a:moveTo>
                  <a:cubicBezTo>
                    <a:pt x="8" y="0"/>
                    <a:pt x="2" y="0"/>
                    <a:pt x="0" y="6"/>
                  </a:cubicBezTo>
                  <a:cubicBezTo>
                    <a:pt x="0" y="9"/>
                    <a:pt x="0" y="12"/>
                    <a:pt x="2" y="15"/>
                  </a:cubicBezTo>
                  <a:cubicBezTo>
                    <a:pt x="5" y="17"/>
                    <a:pt x="8" y="12"/>
                    <a:pt x="14" y="9"/>
                  </a:cubicBezTo>
                  <a:cubicBezTo>
                    <a:pt x="14" y="3"/>
                    <a:pt x="11" y="0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8" name="Freeform 709"/>
            <p:cNvSpPr>
              <a:spLocks noChangeArrowheads="1"/>
            </p:cNvSpPr>
            <p:nvPr/>
          </p:nvSpPr>
          <p:spPr bwMode="auto">
            <a:xfrm>
              <a:off x="4111625" y="2409825"/>
              <a:ext cx="4763" cy="4763"/>
            </a:xfrm>
            <a:custGeom>
              <a:avLst/>
              <a:gdLst>
                <a:gd name="T0" fmla="*/ 3 w 15"/>
                <a:gd name="T1" fmla="*/ 14 h 15"/>
                <a:gd name="T2" fmla="*/ 8 w 15"/>
                <a:gd name="T3" fmla="*/ 14 h 15"/>
                <a:gd name="T4" fmla="*/ 3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3" y="14"/>
                  </a:moveTo>
                  <a:lnTo>
                    <a:pt x="8" y="14"/>
                  </a:lnTo>
                  <a:cubicBezTo>
                    <a:pt x="14" y="8"/>
                    <a:pt x="0" y="0"/>
                    <a:pt x="3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9" name="Freeform 710"/>
            <p:cNvSpPr>
              <a:spLocks noChangeArrowheads="1"/>
            </p:cNvSpPr>
            <p:nvPr/>
          </p:nvSpPr>
          <p:spPr bwMode="auto">
            <a:xfrm>
              <a:off x="4106863" y="2876550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0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0"/>
                    <a:pt x="3" y="0"/>
                  </a:cubicBezTo>
                  <a:lnTo>
                    <a:pt x="0" y="0"/>
                  </a:lnTo>
                  <a:cubicBezTo>
                    <a:pt x="0" y="3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0" name="Freeform 711"/>
            <p:cNvSpPr>
              <a:spLocks noChangeArrowheads="1"/>
            </p:cNvSpPr>
            <p:nvPr/>
          </p:nvSpPr>
          <p:spPr bwMode="auto">
            <a:xfrm>
              <a:off x="4127500" y="2976563"/>
              <a:ext cx="6350" cy="7937"/>
            </a:xfrm>
            <a:custGeom>
              <a:avLst/>
              <a:gdLst>
                <a:gd name="T0" fmla="*/ 6 w 18"/>
                <a:gd name="T1" fmla="*/ 0 h 21"/>
                <a:gd name="T2" fmla="*/ 0 w 18"/>
                <a:gd name="T3" fmla="*/ 6 h 21"/>
                <a:gd name="T4" fmla="*/ 3 w 18"/>
                <a:gd name="T5" fmla="*/ 20 h 21"/>
                <a:gd name="T6" fmla="*/ 14 w 18"/>
                <a:gd name="T7" fmla="*/ 14 h 21"/>
                <a:gd name="T8" fmla="*/ 6 w 18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1">
                  <a:moveTo>
                    <a:pt x="6" y="0"/>
                  </a:moveTo>
                  <a:cubicBezTo>
                    <a:pt x="3" y="0"/>
                    <a:pt x="3" y="3"/>
                    <a:pt x="0" y="6"/>
                  </a:cubicBezTo>
                  <a:cubicBezTo>
                    <a:pt x="0" y="12"/>
                    <a:pt x="0" y="14"/>
                    <a:pt x="3" y="20"/>
                  </a:cubicBezTo>
                  <a:cubicBezTo>
                    <a:pt x="6" y="17"/>
                    <a:pt x="12" y="17"/>
                    <a:pt x="14" y="14"/>
                  </a:cubicBezTo>
                  <a:cubicBezTo>
                    <a:pt x="17" y="3"/>
                    <a:pt x="6" y="9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1" name="Freeform 712"/>
            <p:cNvSpPr>
              <a:spLocks noChangeArrowheads="1"/>
            </p:cNvSpPr>
            <p:nvPr/>
          </p:nvSpPr>
          <p:spPr bwMode="auto">
            <a:xfrm>
              <a:off x="4111625" y="2981325"/>
              <a:ext cx="3175" cy="4763"/>
            </a:xfrm>
            <a:custGeom>
              <a:avLst/>
              <a:gdLst>
                <a:gd name="T0" fmla="*/ 0 w 10"/>
                <a:gd name="T1" fmla="*/ 5 h 12"/>
                <a:gd name="T2" fmla="*/ 9 w 10"/>
                <a:gd name="T3" fmla="*/ 8 h 12"/>
                <a:gd name="T4" fmla="*/ 9 w 10"/>
                <a:gd name="T5" fmla="*/ 8 h 12"/>
                <a:gd name="T6" fmla="*/ 0 w 10"/>
                <a:gd name="T7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0" y="5"/>
                  </a:moveTo>
                  <a:cubicBezTo>
                    <a:pt x="0" y="8"/>
                    <a:pt x="3" y="11"/>
                    <a:pt x="9" y="8"/>
                  </a:cubicBezTo>
                  <a:lnTo>
                    <a:pt x="9" y="8"/>
                  </a:lnTo>
                  <a:cubicBezTo>
                    <a:pt x="3" y="8"/>
                    <a:pt x="6" y="0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2" name="Freeform 713"/>
            <p:cNvSpPr>
              <a:spLocks noChangeArrowheads="1"/>
            </p:cNvSpPr>
            <p:nvPr/>
          </p:nvSpPr>
          <p:spPr bwMode="auto">
            <a:xfrm>
              <a:off x="4111625" y="3067050"/>
              <a:ext cx="4763" cy="3175"/>
            </a:xfrm>
            <a:custGeom>
              <a:avLst/>
              <a:gdLst>
                <a:gd name="T0" fmla="*/ 0 w 12"/>
                <a:gd name="T1" fmla="*/ 0 h 10"/>
                <a:gd name="T2" fmla="*/ 9 w 12"/>
                <a:gd name="T3" fmla="*/ 9 h 10"/>
                <a:gd name="T4" fmla="*/ 0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cubicBezTo>
                    <a:pt x="0" y="6"/>
                    <a:pt x="3" y="9"/>
                    <a:pt x="9" y="9"/>
                  </a:cubicBezTo>
                  <a:cubicBezTo>
                    <a:pt x="11" y="0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3" name="Freeform 714"/>
            <p:cNvSpPr>
              <a:spLocks noChangeArrowheads="1"/>
            </p:cNvSpPr>
            <p:nvPr/>
          </p:nvSpPr>
          <p:spPr bwMode="auto">
            <a:xfrm>
              <a:off x="4119563" y="2800350"/>
              <a:ext cx="1587" cy="1588"/>
            </a:xfrm>
            <a:custGeom>
              <a:avLst/>
              <a:gdLst>
                <a:gd name="T0" fmla="*/ 0 w 6"/>
                <a:gd name="T1" fmla="*/ 0 h 4"/>
                <a:gd name="T2" fmla="*/ 5 w 6"/>
                <a:gd name="T3" fmla="*/ 3 h 4"/>
                <a:gd name="T4" fmla="*/ 0 w 6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cubicBezTo>
                    <a:pt x="2" y="0"/>
                    <a:pt x="2" y="0"/>
                    <a:pt x="5" y="3"/>
                  </a:cubicBezTo>
                  <a:cubicBezTo>
                    <a:pt x="2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4" name="Freeform 715"/>
            <p:cNvSpPr>
              <a:spLocks noChangeArrowheads="1"/>
            </p:cNvSpPr>
            <p:nvPr/>
          </p:nvSpPr>
          <p:spPr bwMode="auto">
            <a:xfrm>
              <a:off x="4114800" y="2297113"/>
              <a:ext cx="3175" cy="1587"/>
            </a:xfrm>
            <a:custGeom>
              <a:avLst/>
              <a:gdLst>
                <a:gd name="T0" fmla="*/ 0 w 9"/>
                <a:gd name="T1" fmla="*/ 2 h 6"/>
                <a:gd name="T2" fmla="*/ 8 w 9"/>
                <a:gd name="T3" fmla="*/ 0 h 6"/>
                <a:gd name="T4" fmla="*/ 8 w 9"/>
                <a:gd name="T5" fmla="*/ 0 h 6"/>
                <a:gd name="T6" fmla="*/ 0 w 9"/>
                <a:gd name="T7" fmla="*/ 0 h 6"/>
                <a:gd name="T8" fmla="*/ 0 w 9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0" y="2"/>
                  </a:moveTo>
                  <a:cubicBezTo>
                    <a:pt x="2" y="5"/>
                    <a:pt x="5" y="2"/>
                    <a:pt x="8" y="0"/>
                  </a:cubicBezTo>
                  <a:lnTo>
                    <a:pt x="8" y="0"/>
                  </a:lnTo>
                  <a:cubicBezTo>
                    <a:pt x="5" y="0"/>
                    <a:pt x="2" y="0"/>
                    <a:pt x="0" y="0"/>
                  </a:cubicBezTo>
                  <a:lnTo>
                    <a:pt x="0" y="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5" name="Freeform 716"/>
            <p:cNvSpPr>
              <a:spLocks noChangeArrowheads="1"/>
            </p:cNvSpPr>
            <p:nvPr/>
          </p:nvSpPr>
          <p:spPr bwMode="auto">
            <a:xfrm>
              <a:off x="4122738" y="2900363"/>
              <a:ext cx="3175" cy="3175"/>
            </a:xfrm>
            <a:custGeom>
              <a:avLst/>
              <a:gdLst>
                <a:gd name="T0" fmla="*/ 0 w 11"/>
                <a:gd name="T1" fmla="*/ 6 h 7"/>
                <a:gd name="T2" fmla="*/ 10 w 11"/>
                <a:gd name="T3" fmla="*/ 3 h 7"/>
                <a:gd name="T4" fmla="*/ 10 w 11"/>
                <a:gd name="T5" fmla="*/ 0 h 7"/>
                <a:gd name="T6" fmla="*/ 0 w 11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7">
                  <a:moveTo>
                    <a:pt x="0" y="6"/>
                  </a:moveTo>
                  <a:cubicBezTo>
                    <a:pt x="3" y="6"/>
                    <a:pt x="6" y="3"/>
                    <a:pt x="10" y="3"/>
                  </a:cubicBezTo>
                  <a:lnTo>
                    <a:pt x="10" y="0"/>
                  </a:lnTo>
                  <a:cubicBezTo>
                    <a:pt x="6" y="0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6" name="Freeform 717"/>
            <p:cNvSpPr>
              <a:spLocks noChangeArrowheads="1"/>
            </p:cNvSpPr>
            <p:nvPr/>
          </p:nvSpPr>
          <p:spPr bwMode="auto">
            <a:xfrm>
              <a:off x="4119563" y="2795588"/>
              <a:ext cx="1587" cy="1587"/>
            </a:xfrm>
            <a:custGeom>
              <a:avLst/>
              <a:gdLst>
                <a:gd name="T0" fmla="*/ 3 w 4"/>
                <a:gd name="T1" fmla="*/ 3 h 4"/>
                <a:gd name="T2" fmla="*/ 3 w 4"/>
                <a:gd name="T3" fmla="*/ 0 h 4"/>
                <a:gd name="T4" fmla="*/ 0 w 4"/>
                <a:gd name="T5" fmla="*/ 3 h 4"/>
                <a:gd name="T6" fmla="*/ 3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lnTo>
                    <a:pt x="3" y="0"/>
                  </a:lnTo>
                  <a:lnTo>
                    <a:pt x="0" y="3"/>
                  </a:lnTo>
                  <a:cubicBezTo>
                    <a:pt x="0" y="3"/>
                    <a:pt x="0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7" name="Freeform 718"/>
            <p:cNvSpPr>
              <a:spLocks noChangeArrowheads="1"/>
            </p:cNvSpPr>
            <p:nvPr/>
          </p:nvSpPr>
          <p:spPr bwMode="auto">
            <a:xfrm>
              <a:off x="4090988" y="2986088"/>
              <a:ext cx="3175" cy="4762"/>
            </a:xfrm>
            <a:custGeom>
              <a:avLst/>
              <a:gdLst>
                <a:gd name="T0" fmla="*/ 5 w 9"/>
                <a:gd name="T1" fmla="*/ 0 h 12"/>
                <a:gd name="T2" fmla="*/ 0 w 9"/>
                <a:gd name="T3" fmla="*/ 8 h 12"/>
                <a:gd name="T4" fmla="*/ 2 w 9"/>
                <a:gd name="T5" fmla="*/ 11 h 12"/>
                <a:gd name="T6" fmla="*/ 5 w 9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5" y="0"/>
                  </a:moveTo>
                  <a:cubicBezTo>
                    <a:pt x="5" y="6"/>
                    <a:pt x="2" y="6"/>
                    <a:pt x="0" y="8"/>
                  </a:cubicBezTo>
                  <a:lnTo>
                    <a:pt x="2" y="11"/>
                  </a:lnTo>
                  <a:cubicBezTo>
                    <a:pt x="5" y="8"/>
                    <a:pt x="8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8" name="Freeform 719"/>
            <p:cNvSpPr>
              <a:spLocks noChangeArrowheads="1"/>
            </p:cNvSpPr>
            <p:nvPr/>
          </p:nvSpPr>
          <p:spPr bwMode="auto">
            <a:xfrm>
              <a:off x="4141788" y="2990850"/>
              <a:ext cx="4762" cy="7938"/>
            </a:xfrm>
            <a:custGeom>
              <a:avLst/>
              <a:gdLst>
                <a:gd name="T0" fmla="*/ 5 w 15"/>
                <a:gd name="T1" fmla="*/ 22 h 23"/>
                <a:gd name="T2" fmla="*/ 11 w 15"/>
                <a:gd name="T3" fmla="*/ 17 h 23"/>
                <a:gd name="T4" fmla="*/ 8 w 15"/>
                <a:gd name="T5" fmla="*/ 8 h 23"/>
                <a:gd name="T6" fmla="*/ 14 w 15"/>
                <a:gd name="T7" fmla="*/ 8 h 23"/>
                <a:gd name="T8" fmla="*/ 14 w 15"/>
                <a:gd name="T9" fmla="*/ 0 h 23"/>
                <a:gd name="T10" fmla="*/ 8 w 15"/>
                <a:gd name="T11" fmla="*/ 3 h 23"/>
                <a:gd name="T12" fmla="*/ 8 w 15"/>
                <a:gd name="T13" fmla="*/ 3 h 23"/>
                <a:gd name="T14" fmla="*/ 5 w 15"/>
                <a:gd name="T15" fmla="*/ 3 h 23"/>
                <a:gd name="T16" fmla="*/ 0 w 15"/>
                <a:gd name="T17" fmla="*/ 11 h 23"/>
                <a:gd name="T18" fmla="*/ 0 w 15"/>
                <a:gd name="T19" fmla="*/ 17 h 23"/>
                <a:gd name="T20" fmla="*/ 5 w 15"/>
                <a:gd name="T21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3">
                  <a:moveTo>
                    <a:pt x="5" y="22"/>
                  </a:moveTo>
                  <a:cubicBezTo>
                    <a:pt x="5" y="20"/>
                    <a:pt x="8" y="20"/>
                    <a:pt x="11" y="17"/>
                  </a:cubicBezTo>
                  <a:cubicBezTo>
                    <a:pt x="11" y="14"/>
                    <a:pt x="8" y="11"/>
                    <a:pt x="8" y="8"/>
                  </a:cubicBezTo>
                  <a:lnTo>
                    <a:pt x="14" y="8"/>
                  </a:lnTo>
                  <a:cubicBezTo>
                    <a:pt x="14" y="6"/>
                    <a:pt x="14" y="3"/>
                    <a:pt x="14" y="0"/>
                  </a:cubicBezTo>
                  <a:cubicBezTo>
                    <a:pt x="11" y="3"/>
                    <a:pt x="11" y="3"/>
                    <a:pt x="8" y="3"/>
                  </a:cubicBezTo>
                  <a:lnTo>
                    <a:pt x="8" y="3"/>
                  </a:lnTo>
                  <a:lnTo>
                    <a:pt x="5" y="3"/>
                  </a:lnTo>
                  <a:cubicBezTo>
                    <a:pt x="2" y="6"/>
                    <a:pt x="2" y="8"/>
                    <a:pt x="0" y="11"/>
                  </a:cubicBezTo>
                  <a:cubicBezTo>
                    <a:pt x="0" y="14"/>
                    <a:pt x="0" y="14"/>
                    <a:pt x="0" y="17"/>
                  </a:cubicBezTo>
                  <a:cubicBezTo>
                    <a:pt x="2" y="20"/>
                    <a:pt x="5" y="22"/>
                    <a:pt x="5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9" name="Freeform 720"/>
            <p:cNvSpPr>
              <a:spLocks noChangeArrowheads="1"/>
            </p:cNvSpPr>
            <p:nvPr/>
          </p:nvSpPr>
          <p:spPr bwMode="auto">
            <a:xfrm>
              <a:off x="4089400" y="2574925"/>
              <a:ext cx="1588" cy="1588"/>
            </a:xfrm>
            <a:custGeom>
              <a:avLst/>
              <a:gdLst>
                <a:gd name="T0" fmla="*/ 3 w 4"/>
                <a:gd name="T1" fmla="*/ 0 h 6"/>
                <a:gd name="T2" fmla="*/ 0 w 4"/>
                <a:gd name="T3" fmla="*/ 5 h 6"/>
                <a:gd name="T4" fmla="*/ 3 w 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3" y="0"/>
                  </a:moveTo>
                  <a:cubicBezTo>
                    <a:pt x="0" y="0"/>
                    <a:pt x="0" y="2"/>
                    <a:pt x="0" y="5"/>
                  </a:cubicBezTo>
                  <a:cubicBezTo>
                    <a:pt x="0" y="2"/>
                    <a:pt x="3" y="2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0" name="Freeform 721"/>
            <p:cNvSpPr>
              <a:spLocks noChangeArrowheads="1"/>
            </p:cNvSpPr>
            <p:nvPr/>
          </p:nvSpPr>
          <p:spPr bwMode="auto">
            <a:xfrm>
              <a:off x="4138613" y="2738438"/>
              <a:ext cx="3175" cy="3175"/>
            </a:xfrm>
            <a:custGeom>
              <a:avLst/>
              <a:gdLst>
                <a:gd name="T0" fmla="*/ 0 w 10"/>
                <a:gd name="T1" fmla="*/ 8 h 9"/>
                <a:gd name="T2" fmla="*/ 9 w 10"/>
                <a:gd name="T3" fmla="*/ 8 h 9"/>
                <a:gd name="T4" fmla="*/ 9 w 10"/>
                <a:gd name="T5" fmla="*/ 0 h 9"/>
                <a:gd name="T6" fmla="*/ 0 w 10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0" y="8"/>
                  </a:moveTo>
                  <a:lnTo>
                    <a:pt x="9" y="8"/>
                  </a:lnTo>
                  <a:lnTo>
                    <a:pt x="9" y="0"/>
                  </a:lnTo>
                  <a:cubicBezTo>
                    <a:pt x="0" y="0"/>
                    <a:pt x="0" y="2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1" name="Freeform 722"/>
            <p:cNvSpPr>
              <a:spLocks noChangeArrowheads="1"/>
            </p:cNvSpPr>
            <p:nvPr/>
          </p:nvSpPr>
          <p:spPr bwMode="auto">
            <a:xfrm>
              <a:off x="4138613" y="2533650"/>
              <a:ext cx="3175" cy="1588"/>
            </a:xfrm>
            <a:custGeom>
              <a:avLst/>
              <a:gdLst>
                <a:gd name="T0" fmla="*/ 0 w 10"/>
                <a:gd name="T1" fmla="*/ 0 h 3"/>
                <a:gd name="T2" fmla="*/ 0 w 10"/>
                <a:gd name="T3" fmla="*/ 2 h 3"/>
                <a:gd name="T4" fmla="*/ 9 w 10"/>
                <a:gd name="T5" fmla="*/ 0 h 3"/>
                <a:gd name="T6" fmla="*/ 0 w 10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">
                  <a:moveTo>
                    <a:pt x="0" y="0"/>
                  </a:moveTo>
                  <a:lnTo>
                    <a:pt x="0" y="2"/>
                  </a:lnTo>
                  <a:cubicBezTo>
                    <a:pt x="3" y="2"/>
                    <a:pt x="9" y="2"/>
                    <a:pt x="9" y="0"/>
                  </a:cubicBezTo>
                  <a:cubicBezTo>
                    <a:pt x="6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2" name="Freeform 723"/>
            <p:cNvSpPr>
              <a:spLocks noChangeArrowheads="1"/>
            </p:cNvSpPr>
            <p:nvPr/>
          </p:nvSpPr>
          <p:spPr bwMode="auto">
            <a:xfrm>
              <a:off x="4144963" y="2490788"/>
              <a:ext cx="11112" cy="9525"/>
            </a:xfrm>
            <a:custGeom>
              <a:avLst/>
              <a:gdLst>
                <a:gd name="T0" fmla="*/ 17 w 29"/>
                <a:gd name="T1" fmla="*/ 11 h 27"/>
                <a:gd name="T2" fmla="*/ 28 w 29"/>
                <a:gd name="T3" fmla="*/ 17 h 27"/>
                <a:gd name="T4" fmla="*/ 6 w 29"/>
                <a:gd name="T5" fmla="*/ 0 h 27"/>
                <a:gd name="T6" fmla="*/ 17 w 29"/>
                <a:gd name="T7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27">
                  <a:moveTo>
                    <a:pt x="17" y="11"/>
                  </a:moveTo>
                  <a:cubicBezTo>
                    <a:pt x="20" y="17"/>
                    <a:pt x="26" y="26"/>
                    <a:pt x="28" y="17"/>
                  </a:cubicBezTo>
                  <a:cubicBezTo>
                    <a:pt x="17" y="14"/>
                    <a:pt x="17" y="3"/>
                    <a:pt x="6" y="0"/>
                  </a:cubicBezTo>
                  <a:cubicBezTo>
                    <a:pt x="0" y="3"/>
                    <a:pt x="9" y="9"/>
                    <a:pt x="17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3" name="Freeform 724"/>
            <p:cNvSpPr>
              <a:spLocks noChangeArrowheads="1"/>
            </p:cNvSpPr>
            <p:nvPr/>
          </p:nvSpPr>
          <p:spPr bwMode="auto">
            <a:xfrm>
              <a:off x="4083050" y="2195513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8 w 9"/>
                <a:gd name="T3" fmla="*/ 8 h 9"/>
                <a:gd name="T4" fmla="*/ 8 w 9"/>
                <a:gd name="T5" fmla="*/ 0 h 9"/>
                <a:gd name="T6" fmla="*/ 0 w 9"/>
                <a:gd name="T7" fmla="*/ 0 h 9"/>
                <a:gd name="T8" fmla="*/ 8 w 9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lnTo>
                    <a:pt x="8" y="8"/>
                  </a:lnTo>
                  <a:cubicBezTo>
                    <a:pt x="8" y="5"/>
                    <a:pt x="8" y="2"/>
                    <a:pt x="8" y="0"/>
                  </a:cubicBezTo>
                  <a:cubicBezTo>
                    <a:pt x="6" y="0"/>
                    <a:pt x="3" y="2"/>
                    <a:pt x="0" y="0"/>
                  </a:cubicBezTo>
                  <a:cubicBezTo>
                    <a:pt x="0" y="5"/>
                    <a:pt x="3" y="8"/>
                    <a:pt x="8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4" name="Freeform 725"/>
            <p:cNvSpPr>
              <a:spLocks noChangeArrowheads="1"/>
            </p:cNvSpPr>
            <p:nvPr/>
          </p:nvSpPr>
          <p:spPr bwMode="auto">
            <a:xfrm>
              <a:off x="4086225" y="2284413"/>
              <a:ext cx="3175" cy="4762"/>
            </a:xfrm>
            <a:custGeom>
              <a:avLst/>
              <a:gdLst>
                <a:gd name="T0" fmla="*/ 0 w 9"/>
                <a:gd name="T1" fmla="*/ 0 h 15"/>
                <a:gd name="T2" fmla="*/ 0 w 9"/>
                <a:gd name="T3" fmla="*/ 14 h 15"/>
                <a:gd name="T4" fmla="*/ 8 w 9"/>
                <a:gd name="T5" fmla="*/ 11 h 15"/>
                <a:gd name="T6" fmla="*/ 0 w 9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5">
                  <a:moveTo>
                    <a:pt x="0" y="0"/>
                  </a:moveTo>
                  <a:cubicBezTo>
                    <a:pt x="0" y="5"/>
                    <a:pt x="0" y="8"/>
                    <a:pt x="0" y="14"/>
                  </a:cubicBezTo>
                  <a:cubicBezTo>
                    <a:pt x="2" y="14"/>
                    <a:pt x="5" y="11"/>
                    <a:pt x="8" y="11"/>
                  </a:cubicBezTo>
                  <a:cubicBezTo>
                    <a:pt x="2" y="8"/>
                    <a:pt x="5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5" name="Freeform 726"/>
            <p:cNvSpPr>
              <a:spLocks noChangeArrowheads="1"/>
            </p:cNvSpPr>
            <p:nvPr/>
          </p:nvSpPr>
          <p:spPr bwMode="auto">
            <a:xfrm>
              <a:off x="4149725" y="2462213"/>
              <a:ext cx="9525" cy="9525"/>
            </a:xfrm>
            <a:custGeom>
              <a:avLst/>
              <a:gdLst>
                <a:gd name="T0" fmla="*/ 11 w 27"/>
                <a:gd name="T1" fmla="*/ 26 h 27"/>
                <a:gd name="T2" fmla="*/ 14 w 27"/>
                <a:gd name="T3" fmla="*/ 26 h 27"/>
                <a:gd name="T4" fmla="*/ 14 w 27"/>
                <a:gd name="T5" fmla="*/ 26 h 27"/>
                <a:gd name="T6" fmla="*/ 14 w 27"/>
                <a:gd name="T7" fmla="*/ 11 h 27"/>
                <a:gd name="T8" fmla="*/ 26 w 27"/>
                <a:gd name="T9" fmla="*/ 6 h 27"/>
                <a:gd name="T10" fmla="*/ 14 w 27"/>
                <a:gd name="T11" fmla="*/ 0 h 27"/>
                <a:gd name="T12" fmla="*/ 11 w 27"/>
                <a:gd name="T13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7">
                  <a:moveTo>
                    <a:pt x="11" y="26"/>
                  </a:moveTo>
                  <a:lnTo>
                    <a:pt x="14" y="26"/>
                  </a:lnTo>
                  <a:lnTo>
                    <a:pt x="14" y="26"/>
                  </a:lnTo>
                  <a:lnTo>
                    <a:pt x="14" y="11"/>
                  </a:lnTo>
                  <a:cubicBezTo>
                    <a:pt x="17" y="9"/>
                    <a:pt x="23" y="9"/>
                    <a:pt x="26" y="6"/>
                  </a:cubicBezTo>
                  <a:cubicBezTo>
                    <a:pt x="23" y="3"/>
                    <a:pt x="17" y="3"/>
                    <a:pt x="14" y="0"/>
                  </a:cubicBezTo>
                  <a:cubicBezTo>
                    <a:pt x="6" y="3"/>
                    <a:pt x="0" y="20"/>
                    <a:pt x="11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6" name="Freeform 727"/>
            <p:cNvSpPr>
              <a:spLocks noChangeArrowheads="1"/>
            </p:cNvSpPr>
            <p:nvPr/>
          </p:nvSpPr>
          <p:spPr bwMode="auto">
            <a:xfrm>
              <a:off x="4138613" y="2460625"/>
              <a:ext cx="1587" cy="4763"/>
            </a:xfrm>
            <a:custGeom>
              <a:avLst/>
              <a:gdLst>
                <a:gd name="T0" fmla="*/ 3 w 4"/>
                <a:gd name="T1" fmla="*/ 0 h 15"/>
                <a:gd name="T2" fmla="*/ 3 w 4"/>
                <a:gd name="T3" fmla="*/ 14 h 15"/>
                <a:gd name="T4" fmla="*/ 3 w 4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5">
                  <a:moveTo>
                    <a:pt x="3" y="0"/>
                  </a:moveTo>
                  <a:cubicBezTo>
                    <a:pt x="0" y="3"/>
                    <a:pt x="0" y="8"/>
                    <a:pt x="3" y="14"/>
                  </a:cubicBezTo>
                  <a:cubicBezTo>
                    <a:pt x="3" y="8"/>
                    <a:pt x="3" y="5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7" name="Freeform 728"/>
            <p:cNvSpPr>
              <a:spLocks noChangeArrowheads="1"/>
            </p:cNvSpPr>
            <p:nvPr/>
          </p:nvSpPr>
          <p:spPr bwMode="auto">
            <a:xfrm>
              <a:off x="4086225" y="2276475"/>
              <a:ext cx="3175" cy="1588"/>
            </a:xfrm>
            <a:custGeom>
              <a:avLst/>
              <a:gdLst>
                <a:gd name="T0" fmla="*/ 6 w 7"/>
                <a:gd name="T1" fmla="*/ 3 h 4"/>
                <a:gd name="T2" fmla="*/ 0 w 7"/>
                <a:gd name="T3" fmla="*/ 0 h 4"/>
                <a:gd name="T4" fmla="*/ 6 w 7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3"/>
                  </a:moveTo>
                  <a:cubicBezTo>
                    <a:pt x="3" y="0"/>
                    <a:pt x="3" y="0"/>
                    <a:pt x="0" y="0"/>
                  </a:cubicBezTo>
                  <a:cubicBezTo>
                    <a:pt x="0" y="3"/>
                    <a:pt x="3" y="3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8" name="Freeform 729"/>
            <p:cNvSpPr>
              <a:spLocks noChangeArrowheads="1"/>
            </p:cNvSpPr>
            <p:nvPr/>
          </p:nvSpPr>
          <p:spPr bwMode="auto">
            <a:xfrm>
              <a:off x="4079875" y="2255838"/>
              <a:ext cx="6350" cy="7937"/>
            </a:xfrm>
            <a:custGeom>
              <a:avLst/>
              <a:gdLst>
                <a:gd name="T0" fmla="*/ 12 w 18"/>
                <a:gd name="T1" fmla="*/ 0 h 23"/>
                <a:gd name="T2" fmla="*/ 12 w 18"/>
                <a:gd name="T3" fmla="*/ 0 h 23"/>
                <a:gd name="T4" fmla="*/ 15 w 18"/>
                <a:gd name="T5" fmla="*/ 22 h 23"/>
                <a:gd name="T6" fmla="*/ 17 w 18"/>
                <a:gd name="T7" fmla="*/ 17 h 23"/>
                <a:gd name="T8" fmla="*/ 12 w 18"/>
                <a:gd name="T9" fmla="*/ 17 h 23"/>
                <a:gd name="T10" fmla="*/ 12 w 18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3">
                  <a:moveTo>
                    <a:pt x="12" y="0"/>
                  </a:moveTo>
                  <a:lnTo>
                    <a:pt x="12" y="0"/>
                  </a:lnTo>
                  <a:cubicBezTo>
                    <a:pt x="15" y="11"/>
                    <a:pt x="0" y="22"/>
                    <a:pt x="15" y="22"/>
                  </a:cubicBezTo>
                  <a:cubicBezTo>
                    <a:pt x="15" y="20"/>
                    <a:pt x="17" y="20"/>
                    <a:pt x="17" y="17"/>
                  </a:cubicBezTo>
                  <a:cubicBezTo>
                    <a:pt x="15" y="17"/>
                    <a:pt x="12" y="17"/>
                    <a:pt x="12" y="17"/>
                  </a:cubicBezTo>
                  <a:cubicBezTo>
                    <a:pt x="17" y="8"/>
                    <a:pt x="15" y="3"/>
                    <a:pt x="1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9" name="Freeform 730"/>
            <p:cNvSpPr>
              <a:spLocks noChangeArrowheads="1"/>
            </p:cNvSpPr>
            <p:nvPr/>
          </p:nvSpPr>
          <p:spPr bwMode="auto">
            <a:xfrm>
              <a:off x="4137025" y="2170113"/>
              <a:ext cx="4763" cy="4762"/>
            </a:xfrm>
            <a:custGeom>
              <a:avLst/>
              <a:gdLst>
                <a:gd name="T0" fmla="*/ 2 w 15"/>
                <a:gd name="T1" fmla="*/ 0 h 15"/>
                <a:gd name="T2" fmla="*/ 2 w 15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2" y="0"/>
                  </a:moveTo>
                  <a:cubicBezTo>
                    <a:pt x="0" y="14"/>
                    <a:pt x="14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0" name="Freeform 731"/>
            <p:cNvSpPr>
              <a:spLocks noChangeArrowheads="1"/>
            </p:cNvSpPr>
            <p:nvPr/>
          </p:nvSpPr>
          <p:spPr bwMode="auto">
            <a:xfrm>
              <a:off x="4098925" y="2270125"/>
              <a:ext cx="4763" cy="4763"/>
            </a:xfrm>
            <a:custGeom>
              <a:avLst/>
              <a:gdLst>
                <a:gd name="T0" fmla="*/ 12 w 13"/>
                <a:gd name="T1" fmla="*/ 9 h 15"/>
                <a:gd name="T2" fmla="*/ 12 w 13"/>
                <a:gd name="T3" fmla="*/ 0 h 15"/>
                <a:gd name="T4" fmla="*/ 6 w 13"/>
                <a:gd name="T5" fmla="*/ 3 h 15"/>
                <a:gd name="T6" fmla="*/ 0 w 13"/>
                <a:gd name="T7" fmla="*/ 9 h 15"/>
                <a:gd name="T8" fmla="*/ 12 w 13"/>
                <a:gd name="T9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12" y="9"/>
                  </a:moveTo>
                  <a:cubicBezTo>
                    <a:pt x="12" y="6"/>
                    <a:pt x="12" y="3"/>
                    <a:pt x="12" y="0"/>
                  </a:cubicBezTo>
                  <a:cubicBezTo>
                    <a:pt x="9" y="0"/>
                    <a:pt x="6" y="3"/>
                    <a:pt x="6" y="3"/>
                  </a:cubicBezTo>
                  <a:cubicBezTo>
                    <a:pt x="3" y="6"/>
                    <a:pt x="3" y="6"/>
                    <a:pt x="0" y="9"/>
                  </a:cubicBezTo>
                  <a:cubicBezTo>
                    <a:pt x="6" y="14"/>
                    <a:pt x="9" y="12"/>
                    <a:pt x="12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1" name="Freeform 732"/>
            <p:cNvSpPr>
              <a:spLocks noChangeArrowheads="1"/>
            </p:cNvSpPr>
            <p:nvPr/>
          </p:nvSpPr>
          <p:spPr bwMode="auto">
            <a:xfrm>
              <a:off x="4110038" y="2174875"/>
              <a:ext cx="1587" cy="1588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cubicBezTo>
                    <a:pt x="0" y="0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2" name="Freeform 733"/>
            <p:cNvSpPr>
              <a:spLocks noChangeArrowheads="1"/>
            </p:cNvSpPr>
            <p:nvPr/>
          </p:nvSpPr>
          <p:spPr bwMode="auto">
            <a:xfrm>
              <a:off x="4083050" y="2755900"/>
              <a:ext cx="4763" cy="3175"/>
            </a:xfrm>
            <a:custGeom>
              <a:avLst/>
              <a:gdLst>
                <a:gd name="T0" fmla="*/ 0 w 12"/>
                <a:gd name="T1" fmla="*/ 6 h 10"/>
                <a:gd name="T2" fmla="*/ 0 w 12"/>
                <a:gd name="T3" fmla="*/ 6 h 10"/>
                <a:gd name="T4" fmla="*/ 11 w 12"/>
                <a:gd name="T5" fmla="*/ 0 h 10"/>
                <a:gd name="T6" fmla="*/ 9 w 12"/>
                <a:gd name="T7" fmla="*/ 0 h 10"/>
                <a:gd name="T8" fmla="*/ 0 w 12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lnTo>
                    <a:pt x="0" y="6"/>
                  </a:lnTo>
                  <a:cubicBezTo>
                    <a:pt x="6" y="9"/>
                    <a:pt x="9" y="6"/>
                    <a:pt x="11" y="0"/>
                  </a:cubicBezTo>
                  <a:lnTo>
                    <a:pt x="9" y="0"/>
                  </a:lnTo>
                  <a:cubicBezTo>
                    <a:pt x="6" y="3"/>
                    <a:pt x="3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3" name="Freeform 734"/>
            <p:cNvSpPr>
              <a:spLocks noChangeArrowheads="1"/>
            </p:cNvSpPr>
            <p:nvPr/>
          </p:nvSpPr>
          <p:spPr bwMode="auto">
            <a:xfrm>
              <a:off x="4111625" y="2495550"/>
              <a:ext cx="3175" cy="1588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0 w 7"/>
                <a:gd name="T5" fmla="*/ 3 h 4"/>
                <a:gd name="T6" fmla="*/ 6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3" y="0"/>
                    <a:pt x="0" y="0"/>
                  </a:cubicBezTo>
                  <a:lnTo>
                    <a:pt x="0" y="3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4" name="Freeform 735"/>
            <p:cNvSpPr>
              <a:spLocks noChangeArrowheads="1"/>
            </p:cNvSpPr>
            <p:nvPr/>
          </p:nvSpPr>
          <p:spPr bwMode="auto">
            <a:xfrm>
              <a:off x="4137025" y="2524125"/>
              <a:ext cx="4763" cy="3175"/>
            </a:xfrm>
            <a:custGeom>
              <a:avLst/>
              <a:gdLst>
                <a:gd name="T0" fmla="*/ 11 w 12"/>
                <a:gd name="T1" fmla="*/ 0 h 10"/>
                <a:gd name="T2" fmla="*/ 2 w 12"/>
                <a:gd name="T3" fmla="*/ 9 h 10"/>
                <a:gd name="T4" fmla="*/ 11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0"/>
                  </a:moveTo>
                  <a:cubicBezTo>
                    <a:pt x="5" y="0"/>
                    <a:pt x="0" y="0"/>
                    <a:pt x="2" y="9"/>
                  </a:cubicBezTo>
                  <a:cubicBezTo>
                    <a:pt x="5" y="9"/>
                    <a:pt x="11" y="6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5" name="Freeform 736"/>
            <p:cNvSpPr>
              <a:spLocks noChangeArrowheads="1"/>
            </p:cNvSpPr>
            <p:nvPr/>
          </p:nvSpPr>
          <p:spPr bwMode="auto">
            <a:xfrm>
              <a:off x="4092575" y="2239963"/>
              <a:ext cx="3175" cy="3175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0 w 7"/>
                <a:gd name="T5" fmla="*/ 0 h 9"/>
                <a:gd name="T6" fmla="*/ 3 w 7"/>
                <a:gd name="T7" fmla="*/ 8 h 9"/>
                <a:gd name="T8" fmla="*/ 3 w 7"/>
                <a:gd name="T9" fmla="*/ 8 h 9"/>
                <a:gd name="T10" fmla="*/ 4 w 7"/>
                <a:gd name="T11" fmla="*/ 6 h 9"/>
                <a:gd name="T12" fmla="*/ 3 w 7"/>
                <a:gd name="T1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3" y="7"/>
                    <a:pt x="4" y="6"/>
                    <a:pt x="4" y="6"/>
                  </a:cubicBezTo>
                  <a:cubicBezTo>
                    <a:pt x="6" y="2"/>
                    <a:pt x="5" y="0"/>
                    <a:pt x="0" y="0"/>
                  </a:cubicBezTo>
                  <a:cubicBezTo>
                    <a:pt x="3" y="2"/>
                    <a:pt x="0" y="8"/>
                    <a:pt x="3" y="8"/>
                  </a:cubicBezTo>
                  <a:close/>
                  <a:moveTo>
                    <a:pt x="3" y="8"/>
                  </a:moveTo>
                  <a:cubicBezTo>
                    <a:pt x="3" y="7"/>
                    <a:pt x="4" y="7"/>
                    <a:pt x="4" y="6"/>
                  </a:cubicBezTo>
                  <a:cubicBezTo>
                    <a:pt x="5" y="6"/>
                    <a:pt x="5" y="7"/>
                    <a:pt x="3" y="8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6" name="Freeform 737"/>
            <p:cNvSpPr>
              <a:spLocks noChangeArrowheads="1"/>
            </p:cNvSpPr>
            <p:nvPr/>
          </p:nvSpPr>
          <p:spPr bwMode="auto">
            <a:xfrm>
              <a:off x="3978275" y="2103438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0 h 7"/>
                <a:gd name="T4" fmla="*/ 0 w 10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cubicBezTo>
                    <a:pt x="3" y="3"/>
                    <a:pt x="6" y="3"/>
                    <a:pt x="9" y="0"/>
                  </a:cubicBezTo>
                  <a:cubicBezTo>
                    <a:pt x="6" y="0"/>
                    <a:pt x="3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7" name="Freeform 738"/>
            <p:cNvSpPr>
              <a:spLocks noChangeArrowheads="1"/>
            </p:cNvSpPr>
            <p:nvPr/>
          </p:nvSpPr>
          <p:spPr bwMode="auto">
            <a:xfrm>
              <a:off x="4391025" y="2801938"/>
              <a:ext cx="3175" cy="3175"/>
            </a:xfrm>
            <a:custGeom>
              <a:avLst/>
              <a:gdLst>
                <a:gd name="T0" fmla="*/ 0 w 9"/>
                <a:gd name="T1" fmla="*/ 9 h 10"/>
                <a:gd name="T2" fmla="*/ 8 w 9"/>
                <a:gd name="T3" fmla="*/ 0 h 10"/>
                <a:gd name="T4" fmla="*/ 0 w 9"/>
                <a:gd name="T5" fmla="*/ 0 h 10"/>
                <a:gd name="T6" fmla="*/ 0 w 9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9"/>
                  </a:moveTo>
                  <a:cubicBezTo>
                    <a:pt x="6" y="9"/>
                    <a:pt x="8" y="6"/>
                    <a:pt x="8" y="0"/>
                  </a:cubicBez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8" name="Freeform 739"/>
            <p:cNvSpPr>
              <a:spLocks noChangeArrowheads="1"/>
            </p:cNvSpPr>
            <p:nvPr/>
          </p:nvSpPr>
          <p:spPr bwMode="auto">
            <a:xfrm>
              <a:off x="3725863" y="2413000"/>
              <a:ext cx="61912" cy="31750"/>
            </a:xfrm>
            <a:custGeom>
              <a:avLst/>
              <a:gdLst>
                <a:gd name="T0" fmla="*/ 0 w 173"/>
                <a:gd name="T1" fmla="*/ 20 h 88"/>
                <a:gd name="T2" fmla="*/ 8 w 173"/>
                <a:gd name="T3" fmla="*/ 0 h 88"/>
                <a:gd name="T4" fmla="*/ 172 w 173"/>
                <a:gd name="T5" fmla="*/ 68 h 88"/>
                <a:gd name="T6" fmla="*/ 163 w 173"/>
                <a:gd name="T7" fmla="*/ 87 h 88"/>
                <a:gd name="T8" fmla="*/ 0 w 173"/>
                <a:gd name="T9" fmla="*/ 2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88">
                  <a:moveTo>
                    <a:pt x="0" y="20"/>
                  </a:moveTo>
                  <a:lnTo>
                    <a:pt x="8" y="0"/>
                  </a:lnTo>
                  <a:lnTo>
                    <a:pt x="172" y="68"/>
                  </a:lnTo>
                  <a:lnTo>
                    <a:pt x="163" y="87"/>
                  </a:lnTo>
                  <a:lnTo>
                    <a:pt x="0" y="2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9" name="Freeform 740"/>
            <p:cNvSpPr>
              <a:spLocks noChangeArrowheads="1"/>
            </p:cNvSpPr>
            <p:nvPr/>
          </p:nvSpPr>
          <p:spPr bwMode="auto">
            <a:xfrm>
              <a:off x="3743325" y="2362200"/>
              <a:ext cx="69850" cy="53975"/>
            </a:xfrm>
            <a:custGeom>
              <a:avLst/>
              <a:gdLst>
                <a:gd name="T0" fmla="*/ 14 w 193"/>
                <a:gd name="T1" fmla="*/ 39 h 148"/>
                <a:gd name="T2" fmla="*/ 101 w 193"/>
                <a:gd name="T3" fmla="*/ 62 h 148"/>
                <a:gd name="T4" fmla="*/ 25 w 193"/>
                <a:gd name="T5" fmla="*/ 20 h 148"/>
                <a:gd name="T6" fmla="*/ 37 w 193"/>
                <a:gd name="T7" fmla="*/ 0 h 148"/>
                <a:gd name="T8" fmla="*/ 192 w 193"/>
                <a:gd name="T9" fmla="*/ 85 h 148"/>
                <a:gd name="T10" fmla="*/ 178 w 193"/>
                <a:gd name="T11" fmla="*/ 107 h 148"/>
                <a:gd name="T12" fmla="*/ 84 w 193"/>
                <a:gd name="T13" fmla="*/ 82 h 148"/>
                <a:gd name="T14" fmla="*/ 166 w 193"/>
                <a:gd name="T15" fmla="*/ 127 h 148"/>
                <a:gd name="T16" fmla="*/ 155 w 193"/>
                <a:gd name="T17" fmla="*/ 147 h 148"/>
                <a:gd name="T18" fmla="*/ 0 w 193"/>
                <a:gd name="T19" fmla="*/ 62 h 148"/>
                <a:gd name="T20" fmla="*/ 14 w 193"/>
                <a:gd name="T21" fmla="*/ 3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" h="148">
                  <a:moveTo>
                    <a:pt x="14" y="39"/>
                  </a:moveTo>
                  <a:lnTo>
                    <a:pt x="101" y="62"/>
                  </a:lnTo>
                  <a:lnTo>
                    <a:pt x="25" y="20"/>
                  </a:lnTo>
                  <a:lnTo>
                    <a:pt x="37" y="0"/>
                  </a:lnTo>
                  <a:lnTo>
                    <a:pt x="192" y="85"/>
                  </a:lnTo>
                  <a:lnTo>
                    <a:pt x="178" y="107"/>
                  </a:lnTo>
                  <a:lnTo>
                    <a:pt x="84" y="82"/>
                  </a:lnTo>
                  <a:lnTo>
                    <a:pt x="166" y="127"/>
                  </a:lnTo>
                  <a:lnTo>
                    <a:pt x="155" y="147"/>
                  </a:lnTo>
                  <a:lnTo>
                    <a:pt x="0" y="62"/>
                  </a:lnTo>
                  <a:lnTo>
                    <a:pt x="14" y="39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0" name="Freeform 741"/>
            <p:cNvSpPr>
              <a:spLocks noChangeArrowheads="1"/>
            </p:cNvSpPr>
            <p:nvPr/>
          </p:nvSpPr>
          <p:spPr bwMode="auto">
            <a:xfrm>
              <a:off x="3773488" y="2319338"/>
              <a:ext cx="65087" cy="52387"/>
            </a:xfrm>
            <a:custGeom>
              <a:avLst/>
              <a:gdLst>
                <a:gd name="T0" fmla="*/ 108 w 179"/>
                <a:gd name="T1" fmla="*/ 101 h 147"/>
                <a:gd name="T2" fmla="*/ 133 w 179"/>
                <a:gd name="T3" fmla="*/ 118 h 147"/>
                <a:gd name="T4" fmla="*/ 144 w 179"/>
                <a:gd name="T5" fmla="*/ 104 h 147"/>
                <a:gd name="T6" fmla="*/ 99 w 179"/>
                <a:gd name="T7" fmla="*/ 70 h 147"/>
                <a:gd name="T8" fmla="*/ 82 w 179"/>
                <a:gd name="T9" fmla="*/ 93 h 147"/>
                <a:gd name="T10" fmla="*/ 62 w 179"/>
                <a:gd name="T11" fmla="*/ 96 h 147"/>
                <a:gd name="T12" fmla="*/ 9 w 179"/>
                <a:gd name="T13" fmla="*/ 56 h 147"/>
                <a:gd name="T14" fmla="*/ 6 w 179"/>
                <a:gd name="T15" fmla="*/ 36 h 147"/>
                <a:gd name="T16" fmla="*/ 6 w 179"/>
                <a:gd name="T17" fmla="*/ 36 h 147"/>
                <a:gd name="T18" fmla="*/ 26 w 179"/>
                <a:gd name="T19" fmla="*/ 8 h 147"/>
                <a:gd name="T20" fmla="*/ 45 w 179"/>
                <a:gd name="T21" fmla="*/ 5 h 147"/>
                <a:gd name="T22" fmla="*/ 45 w 179"/>
                <a:gd name="T23" fmla="*/ 5 h 147"/>
                <a:gd name="T24" fmla="*/ 76 w 179"/>
                <a:gd name="T25" fmla="*/ 28 h 147"/>
                <a:gd name="T26" fmla="*/ 62 w 179"/>
                <a:gd name="T27" fmla="*/ 45 h 147"/>
                <a:gd name="T28" fmla="*/ 40 w 179"/>
                <a:gd name="T29" fmla="*/ 28 h 147"/>
                <a:gd name="T30" fmla="*/ 29 w 179"/>
                <a:gd name="T31" fmla="*/ 42 h 147"/>
                <a:gd name="T32" fmla="*/ 71 w 179"/>
                <a:gd name="T33" fmla="*/ 73 h 147"/>
                <a:gd name="T34" fmla="*/ 88 w 179"/>
                <a:gd name="T35" fmla="*/ 50 h 147"/>
                <a:gd name="T36" fmla="*/ 110 w 179"/>
                <a:gd name="T37" fmla="*/ 48 h 147"/>
                <a:gd name="T38" fmla="*/ 170 w 179"/>
                <a:gd name="T39" fmla="*/ 90 h 147"/>
                <a:gd name="T40" fmla="*/ 172 w 179"/>
                <a:gd name="T41" fmla="*/ 110 h 147"/>
                <a:gd name="T42" fmla="*/ 153 w 179"/>
                <a:gd name="T43" fmla="*/ 138 h 147"/>
                <a:gd name="T44" fmla="*/ 133 w 179"/>
                <a:gd name="T45" fmla="*/ 141 h 147"/>
                <a:gd name="T46" fmla="*/ 102 w 179"/>
                <a:gd name="T47" fmla="*/ 118 h 147"/>
                <a:gd name="T48" fmla="*/ 108 w 179"/>
                <a:gd name="T49" fmla="*/ 101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9" h="147">
                  <a:moveTo>
                    <a:pt x="108" y="101"/>
                  </a:moveTo>
                  <a:lnTo>
                    <a:pt x="133" y="118"/>
                  </a:lnTo>
                  <a:lnTo>
                    <a:pt x="144" y="104"/>
                  </a:lnTo>
                  <a:lnTo>
                    <a:pt x="99" y="70"/>
                  </a:lnTo>
                  <a:lnTo>
                    <a:pt x="82" y="93"/>
                  </a:lnTo>
                  <a:cubicBezTo>
                    <a:pt x="76" y="98"/>
                    <a:pt x="68" y="101"/>
                    <a:pt x="62" y="96"/>
                  </a:cubicBezTo>
                  <a:lnTo>
                    <a:pt x="9" y="56"/>
                  </a:lnTo>
                  <a:cubicBezTo>
                    <a:pt x="3" y="50"/>
                    <a:pt x="0" y="42"/>
                    <a:pt x="6" y="36"/>
                  </a:cubicBezTo>
                  <a:lnTo>
                    <a:pt x="6" y="36"/>
                  </a:lnTo>
                  <a:lnTo>
                    <a:pt x="26" y="8"/>
                  </a:lnTo>
                  <a:cubicBezTo>
                    <a:pt x="31" y="2"/>
                    <a:pt x="40" y="0"/>
                    <a:pt x="45" y="5"/>
                  </a:cubicBezTo>
                  <a:lnTo>
                    <a:pt x="45" y="5"/>
                  </a:lnTo>
                  <a:lnTo>
                    <a:pt x="76" y="28"/>
                  </a:lnTo>
                  <a:lnTo>
                    <a:pt x="62" y="45"/>
                  </a:lnTo>
                  <a:lnTo>
                    <a:pt x="40" y="28"/>
                  </a:lnTo>
                  <a:lnTo>
                    <a:pt x="29" y="42"/>
                  </a:lnTo>
                  <a:lnTo>
                    <a:pt x="71" y="73"/>
                  </a:lnTo>
                  <a:lnTo>
                    <a:pt x="88" y="50"/>
                  </a:lnTo>
                  <a:cubicBezTo>
                    <a:pt x="93" y="45"/>
                    <a:pt x="102" y="42"/>
                    <a:pt x="110" y="48"/>
                  </a:cubicBezTo>
                  <a:lnTo>
                    <a:pt x="170" y="90"/>
                  </a:lnTo>
                  <a:cubicBezTo>
                    <a:pt x="175" y="96"/>
                    <a:pt x="178" y="104"/>
                    <a:pt x="172" y="110"/>
                  </a:cubicBezTo>
                  <a:lnTo>
                    <a:pt x="153" y="138"/>
                  </a:lnTo>
                  <a:cubicBezTo>
                    <a:pt x="147" y="144"/>
                    <a:pt x="139" y="146"/>
                    <a:pt x="133" y="141"/>
                  </a:cubicBezTo>
                  <a:lnTo>
                    <a:pt x="102" y="118"/>
                  </a:lnTo>
                  <a:lnTo>
                    <a:pt x="108" y="101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1" name="Freeform 742"/>
            <p:cNvSpPr>
              <a:spLocks noChangeArrowheads="1"/>
            </p:cNvSpPr>
            <p:nvPr/>
          </p:nvSpPr>
          <p:spPr bwMode="auto">
            <a:xfrm>
              <a:off x="3806825" y="2276475"/>
              <a:ext cx="60325" cy="58738"/>
            </a:xfrm>
            <a:custGeom>
              <a:avLst/>
              <a:gdLst>
                <a:gd name="T0" fmla="*/ 14 w 167"/>
                <a:gd name="T1" fmla="*/ 31 h 165"/>
                <a:gd name="T2" fmla="*/ 124 w 167"/>
                <a:gd name="T3" fmla="*/ 138 h 165"/>
                <a:gd name="T4" fmla="*/ 138 w 167"/>
                <a:gd name="T5" fmla="*/ 124 h 165"/>
                <a:gd name="T6" fmla="*/ 28 w 167"/>
                <a:gd name="T7" fmla="*/ 17 h 165"/>
                <a:gd name="T8" fmla="*/ 45 w 167"/>
                <a:gd name="T9" fmla="*/ 0 h 165"/>
                <a:gd name="T10" fmla="*/ 160 w 167"/>
                <a:gd name="T11" fmla="*/ 113 h 165"/>
                <a:gd name="T12" fmla="*/ 160 w 167"/>
                <a:gd name="T13" fmla="*/ 136 h 165"/>
                <a:gd name="T14" fmla="*/ 138 w 167"/>
                <a:gd name="T15" fmla="*/ 158 h 165"/>
                <a:gd name="T16" fmla="*/ 115 w 167"/>
                <a:gd name="T17" fmla="*/ 158 h 165"/>
                <a:gd name="T18" fmla="*/ 0 w 167"/>
                <a:gd name="T19" fmla="*/ 45 h 165"/>
                <a:gd name="T20" fmla="*/ 14 w 167"/>
                <a:gd name="T21" fmla="*/ 3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7" h="165">
                  <a:moveTo>
                    <a:pt x="14" y="31"/>
                  </a:moveTo>
                  <a:lnTo>
                    <a:pt x="124" y="138"/>
                  </a:lnTo>
                  <a:lnTo>
                    <a:pt x="138" y="124"/>
                  </a:lnTo>
                  <a:lnTo>
                    <a:pt x="28" y="17"/>
                  </a:lnTo>
                  <a:lnTo>
                    <a:pt x="45" y="0"/>
                  </a:lnTo>
                  <a:lnTo>
                    <a:pt x="160" y="113"/>
                  </a:lnTo>
                  <a:cubicBezTo>
                    <a:pt x="166" y="119"/>
                    <a:pt x="166" y="127"/>
                    <a:pt x="160" y="136"/>
                  </a:cubicBezTo>
                  <a:lnTo>
                    <a:pt x="138" y="158"/>
                  </a:lnTo>
                  <a:cubicBezTo>
                    <a:pt x="132" y="164"/>
                    <a:pt x="124" y="164"/>
                    <a:pt x="115" y="158"/>
                  </a:cubicBezTo>
                  <a:lnTo>
                    <a:pt x="0" y="45"/>
                  </a:lnTo>
                  <a:lnTo>
                    <a:pt x="14" y="31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2" name="Freeform 743"/>
            <p:cNvSpPr>
              <a:spLocks noChangeArrowheads="1"/>
            </p:cNvSpPr>
            <p:nvPr/>
          </p:nvSpPr>
          <p:spPr bwMode="auto">
            <a:xfrm>
              <a:off x="3846513" y="2243138"/>
              <a:ext cx="58737" cy="61912"/>
            </a:xfrm>
            <a:custGeom>
              <a:avLst/>
              <a:gdLst>
                <a:gd name="T0" fmla="*/ 96 w 164"/>
                <a:gd name="T1" fmla="*/ 85 h 170"/>
                <a:gd name="T2" fmla="*/ 81 w 164"/>
                <a:gd name="T3" fmla="*/ 96 h 170"/>
                <a:gd name="T4" fmla="*/ 129 w 164"/>
                <a:gd name="T5" fmla="*/ 155 h 170"/>
                <a:gd name="T6" fmla="*/ 112 w 164"/>
                <a:gd name="T7" fmla="*/ 169 h 170"/>
                <a:gd name="T8" fmla="*/ 0 w 164"/>
                <a:gd name="T9" fmla="*/ 34 h 170"/>
                <a:gd name="T10" fmla="*/ 36 w 164"/>
                <a:gd name="T11" fmla="*/ 6 h 170"/>
                <a:gd name="T12" fmla="*/ 59 w 164"/>
                <a:gd name="T13" fmla="*/ 8 h 170"/>
                <a:gd name="T14" fmla="*/ 98 w 164"/>
                <a:gd name="T15" fmla="*/ 56 h 170"/>
                <a:gd name="T16" fmla="*/ 101 w 164"/>
                <a:gd name="T17" fmla="*/ 70 h 170"/>
                <a:gd name="T18" fmla="*/ 118 w 164"/>
                <a:gd name="T19" fmla="*/ 76 h 170"/>
                <a:gd name="T20" fmla="*/ 163 w 164"/>
                <a:gd name="T21" fmla="*/ 132 h 170"/>
                <a:gd name="T22" fmla="*/ 146 w 164"/>
                <a:gd name="T23" fmla="*/ 147 h 170"/>
                <a:gd name="T24" fmla="*/ 96 w 164"/>
                <a:gd name="T25" fmla="*/ 85 h 170"/>
                <a:gd name="T26" fmla="*/ 65 w 164"/>
                <a:gd name="T27" fmla="*/ 79 h 170"/>
                <a:gd name="T28" fmla="*/ 79 w 164"/>
                <a:gd name="T29" fmla="*/ 68 h 170"/>
                <a:gd name="T30" fmla="*/ 42 w 164"/>
                <a:gd name="T31" fmla="*/ 25 h 170"/>
                <a:gd name="T32" fmla="*/ 28 w 164"/>
                <a:gd name="T33" fmla="*/ 37 h 170"/>
                <a:gd name="T34" fmla="*/ 65 w 164"/>
                <a:gd name="T35" fmla="*/ 7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4" h="170">
                  <a:moveTo>
                    <a:pt x="96" y="85"/>
                  </a:moveTo>
                  <a:lnTo>
                    <a:pt x="81" y="96"/>
                  </a:lnTo>
                  <a:lnTo>
                    <a:pt x="129" y="155"/>
                  </a:lnTo>
                  <a:lnTo>
                    <a:pt x="112" y="169"/>
                  </a:lnTo>
                  <a:lnTo>
                    <a:pt x="0" y="34"/>
                  </a:lnTo>
                  <a:lnTo>
                    <a:pt x="36" y="6"/>
                  </a:lnTo>
                  <a:cubicBezTo>
                    <a:pt x="42" y="0"/>
                    <a:pt x="53" y="0"/>
                    <a:pt x="59" y="8"/>
                  </a:cubicBezTo>
                  <a:lnTo>
                    <a:pt x="98" y="56"/>
                  </a:lnTo>
                  <a:cubicBezTo>
                    <a:pt x="101" y="59"/>
                    <a:pt x="104" y="65"/>
                    <a:pt x="101" y="70"/>
                  </a:cubicBezTo>
                  <a:cubicBezTo>
                    <a:pt x="107" y="68"/>
                    <a:pt x="115" y="70"/>
                    <a:pt x="118" y="76"/>
                  </a:cubicBezTo>
                  <a:lnTo>
                    <a:pt x="163" y="132"/>
                  </a:lnTo>
                  <a:lnTo>
                    <a:pt x="146" y="147"/>
                  </a:lnTo>
                  <a:lnTo>
                    <a:pt x="96" y="85"/>
                  </a:lnTo>
                  <a:close/>
                  <a:moveTo>
                    <a:pt x="65" y="79"/>
                  </a:moveTo>
                  <a:lnTo>
                    <a:pt x="79" y="68"/>
                  </a:lnTo>
                  <a:lnTo>
                    <a:pt x="42" y="25"/>
                  </a:lnTo>
                  <a:lnTo>
                    <a:pt x="28" y="37"/>
                  </a:lnTo>
                  <a:lnTo>
                    <a:pt x="65" y="79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3" name="Freeform 744"/>
            <p:cNvSpPr>
              <a:spLocks noChangeArrowheads="1"/>
            </p:cNvSpPr>
            <p:nvPr/>
          </p:nvSpPr>
          <p:spPr bwMode="auto">
            <a:xfrm>
              <a:off x="3886200" y="2211388"/>
              <a:ext cx="47625" cy="61912"/>
            </a:xfrm>
            <a:custGeom>
              <a:avLst/>
              <a:gdLst>
                <a:gd name="T0" fmla="*/ 29 w 131"/>
                <a:gd name="T1" fmla="*/ 43 h 174"/>
                <a:gd name="T2" fmla="*/ 12 w 131"/>
                <a:gd name="T3" fmla="*/ 54 h 174"/>
                <a:gd name="T4" fmla="*/ 0 w 131"/>
                <a:gd name="T5" fmla="*/ 34 h 174"/>
                <a:gd name="T6" fmla="*/ 54 w 131"/>
                <a:gd name="T7" fmla="*/ 0 h 174"/>
                <a:gd name="T8" fmla="*/ 65 w 131"/>
                <a:gd name="T9" fmla="*/ 20 h 174"/>
                <a:gd name="T10" fmla="*/ 48 w 131"/>
                <a:gd name="T11" fmla="*/ 31 h 174"/>
                <a:gd name="T12" fmla="*/ 130 w 131"/>
                <a:gd name="T13" fmla="*/ 161 h 174"/>
                <a:gd name="T14" fmla="*/ 111 w 131"/>
                <a:gd name="T15" fmla="*/ 173 h 174"/>
                <a:gd name="T16" fmla="*/ 29 w 131"/>
                <a:gd name="T17" fmla="*/ 43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174">
                  <a:moveTo>
                    <a:pt x="29" y="43"/>
                  </a:moveTo>
                  <a:lnTo>
                    <a:pt x="12" y="54"/>
                  </a:lnTo>
                  <a:lnTo>
                    <a:pt x="0" y="34"/>
                  </a:lnTo>
                  <a:lnTo>
                    <a:pt x="54" y="0"/>
                  </a:lnTo>
                  <a:lnTo>
                    <a:pt x="65" y="20"/>
                  </a:lnTo>
                  <a:lnTo>
                    <a:pt x="48" y="31"/>
                  </a:lnTo>
                  <a:lnTo>
                    <a:pt x="130" y="161"/>
                  </a:lnTo>
                  <a:lnTo>
                    <a:pt x="111" y="173"/>
                  </a:lnTo>
                  <a:lnTo>
                    <a:pt x="29" y="4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4" name="Freeform 745"/>
            <p:cNvSpPr>
              <a:spLocks noChangeArrowheads="1"/>
            </p:cNvSpPr>
            <p:nvPr/>
          </p:nvSpPr>
          <p:spPr bwMode="auto">
            <a:xfrm>
              <a:off x="3930650" y="2189163"/>
              <a:ext cx="47625" cy="66675"/>
            </a:xfrm>
            <a:custGeom>
              <a:avLst/>
              <a:gdLst>
                <a:gd name="T0" fmla="*/ 130 w 131"/>
                <a:gd name="T1" fmla="*/ 158 h 185"/>
                <a:gd name="T2" fmla="*/ 76 w 131"/>
                <a:gd name="T3" fmla="*/ 184 h 185"/>
                <a:gd name="T4" fmla="*/ 0 w 131"/>
                <a:gd name="T5" fmla="*/ 26 h 185"/>
                <a:gd name="T6" fmla="*/ 51 w 131"/>
                <a:gd name="T7" fmla="*/ 0 h 185"/>
                <a:gd name="T8" fmla="*/ 59 w 131"/>
                <a:gd name="T9" fmla="*/ 20 h 185"/>
                <a:gd name="T10" fmla="*/ 28 w 131"/>
                <a:gd name="T11" fmla="*/ 34 h 185"/>
                <a:gd name="T12" fmla="*/ 51 w 131"/>
                <a:gd name="T13" fmla="*/ 79 h 185"/>
                <a:gd name="T14" fmla="*/ 73 w 131"/>
                <a:gd name="T15" fmla="*/ 68 h 185"/>
                <a:gd name="T16" fmla="*/ 82 w 131"/>
                <a:gd name="T17" fmla="*/ 88 h 185"/>
                <a:gd name="T18" fmla="*/ 59 w 131"/>
                <a:gd name="T19" fmla="*/ 99 h 185"/>
                <a:gd name="T20" fmla="*/ 84 w 131"/>
                <a:gd name="T21" fmla="*/ 153 h 185"/>
                <a:gd name="T22" fmla="*/ 116 w 131"/>
                <a:gd name="T23" fmla="*/ 136 h 185"/>
                <a:gd name="T24" fmla="*/ 130 w 131"/>
                <a:gd name="T25" fmla="*/ 158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1" h="185">
                  <a:moveTo>
                    <a:pt x="130" y="158"/>
                  </a:moveTo>
                  <a:lnTo>
                    <a:pt x="76" y="184"/>
                  </a:lnTo>
                  <a:lnTo>
                    <a:pt x="0" y="26"/>
                  </a:lnTo>
                  <a:lnTo>
                    <a:pt x="51" y="0"/>
                  </a:lnTo>
                  <a:lnTo>
                    <a:pt x="59" y="20"/>
                  </a:lnTo>
                  <a:lnTo>
                    <a:pt x="28" y="34"/>
                  </a:lnTo>
                  <a:lnTo>
                    <a:pt x="51" y="79"/>
                  </a:lnTo>
                  <a:lnTo>
                    <a:pt x="73" y="68"/>
                  </a:lnTo>
                  <a:lnTo>
                    <a:pt x="82" y="88"/>
                  </a:lnTo>
                  <a:lnTo>
                    <a:pt x="59" y="99"/>
                  </a:lnTo>
                  <a:lnTo>
                    <a:pt x="84" y="153"/>
                  </a:lnTo>
                  <a:lnTo>
                    <a:pt x="116" y="136"/>
                  </a:lnTo>
                  <a:lnTo>
                    <a:pt x="130" y="15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5" name="Freeform 746"/>
            <p:cNvSpPr>
              <a:spLocks noChangeArrowheads="1"/>
            </p:cNvSpPr>
            <p:nvPr/>
          </p:nvSpPr>
          <p:spPr bwMode="auto">
            <a:xfrm>
              <a:off x="3979863" y="2171700"/>
              <a:ext cx="41275" cy="66675"/>
            </a:xfrm>
            <a:custGeom>
              <a:avLst/>
              <a:gdLst>
                <a:gd name="T0" fmla="*/ 51 w 114"/>
                <a:gd name="T1" fmla="*/ 54 h 185"/>
                <a:gd name="T2" fmla="*/ 43 w 114"/>
                <a:gd name="T3" fmla="*/ 26 h 185"/>
                <a:gd name="T4" fmla="*/ 26 w 114"/>
                <a:gd name="T5" fmla="*/ 31 h 185"/>
                <a:gd name="T6" fmla="*/ 68 w 114"/>
                <a:gd name="T7" fmla="*/ 156 h 185"/>
                <a:gd name="T8" fmla="*/ 85 w 114"/>
                <a:gd name="T9" fmla="*/ 150 h 185"/>
                <a:gd name="T10" fmla="*/ 76 w 114"/>
                <a:gd name="T11" fmla="*/ 122 h 185"/>
                <a:gd name="T12" fmla="*/ 99 w 114"/>
                <a:gd name="T13" fmla="*/ 113 h 185"/>
                <a:gd name="T14" fmla="*/ 110 w 114"/>
                <a:gd name="T15" fmla="*/ 150 h 185"/>
                <a:gd name="T16" fmla="*/ 102 w 114"/>
                <a:gd name="T17" fmla="*/ 170 h 185"/>
                <a:gd name="T18" fmla="*/ 68 w 114"/>
                <a:gd name="T19" fmla="*/ 181 h 185"/>
                <a:gd name="T20" fmla="*/ 48 w 114"/>
                <a:gd name="T21" fmla="*/ 173 h 185"/>
                <a:gd name="T22" fmla="*/ 3 w 114"/>
                <a:gd name="T23" fmla="*/ 34 h 185"/>
                <a:gd name="T24" fmla="*/ 12 w 114"/>
                <a:gd name="T25" fmla="*/ 15 h 185"/>
                <a:gd name="T26" fmla="*/ 45 w 114"/>
                <a:gd name="T27" fmla="*/ 3 h 185"/>
                <a:gd name="T28" fmla="*/ 65 w 114"/>
                <a:gd name="T29" fmla="*/ 12 h 185"/>
                <a:gd name="T30" fmla="*/ 76 w 114"/>
                <a:gd name="T31" fmla="*/ 48 h 185"/>
                <a:gd name="T32" fmla="*/ 51 w 114"/>
                <a:gd name="T33" fmla="*/ 54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" h="185">
                  <a:moveTo>
                    <a:pt x="51" y="54"/>
                  </a:moveTo>
                  <a:lnTo>
                    <a:pt x="43" y="26"/>
                  </a:lnTo>
                  <a:lnTo>
                    <a:pt x="26" y="31"/>
                  </a:lnTo>
                  <a:lnTo>
                    <a:pt x="68" y="156"/>
                  </a:lnTo>
                  <a:lnTo>
                    <a:pt x="85" y="150"/>
                  </a:lnTo>
                  <a:lnTo>
                    <a:pt x="76" y="122"/>
                  </a:lnTo>
                  <a:lnTo>
                    <a:pt x="99" y="113"/>
                  </a:lnTo>
                  <a:lnTo>
                    <a:pt x="110" y="150"/>
                  </a:lnTo>
                  <a:cubicBezTo>
                    <a:pt x="113" y="158"/>
                    <a:pt x="107" y="167"/>
                    <a:pt x="102" y="170"/>
                  </a:cubicBezTo>
                  <a:lnTo>
                    <a:pt x="68" y="181"/>
                  </a:lnTo>
                  <a:cubicBezTo>
                    <a:pt x="60" y="184"/>
                    <a:pt x="51" y="178"/>
                    <a:pt x="48" y="173"/>
                  </a:cubicBezTo>
                  <a:lnTo>
                    <a:pt x="3" y="34"/>
                  </a:lnTo>
                  <a:cubicBezTo>
                    <a:pt x="0" y="26"/>
                    <a:pt x="6" y="17"/>
                    <a:pt x="12" y="15"/>
                  </a:cubicBezTo>
                  <a:lnTo>
                    <a:pt x="45" y="3"/>
                  </a:lnTo>
                  <a:cubicBezTo>
                    <a:pt x="54" y="0"/>
                    <a:pt x="62" y="6"/>
                    <a:pt x="65" y="12"/>
                  </a:cubicBezTo>
                  <a:lnTo>
                    <a:pt x="76" y="48"/>
                  </a:lnTo>
                  <a:lnTo>
                    <a:pt x="51" y="54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6" name="Freeform 747"/>
            <p:cNvSpPr>
              <a:spLocks noChangeArrowheads="1"/>
            </p:cNvSpPr>
            <p:nvPr/>
          </p:nvSpPr>
          <p:spPr bwMode="auto">
            <a:xfrm>
              <a:off x="4029075" y="2157413"/>
              <a:ext cx="34925" cy="66675"/>
            </a:xfrm>
            <a:custGeom>
              <a:avLst/>
              <a:gdLst>
                <a:gd name="T0" fmla="*/ 0 w 99"/>
                <a:gd name="T1" fmla="*/ 14 h 187"/>
                <a:gd name="T2" fmla="*/ 22 w 99"/>
                <a:gd name="T3" fmla="*/ 8 h 187"/>
                <a:gd name="T4" fmla="*/ 36 w 99"/>
                <a:gd name="T5" fmla="*/ 87 h 187"/>
                <a:gd name="T6" fmla="*/ 56 w 99"/>
                <a:gd name="T7" fmla="*/ 85 h 187"/>
                <a:gd name="T8" fmla="*/ 42 w 99"/>
                <a:gd name="T9" fmla="*/ 6 h 187"/>
                <a:gd name="T10" fmla="*/ 64 w 99"/>
                <a:gd name="T11" fmla="*/ 0 h 187"/>
                <a:gd name="T12" fmla="*/ 98 w 99"/>
                <a:gd name="T13" fmla="*/ 175 h 187"/>
                <a:gd name="T14" fmla="*/ 76 w 99"/>
                <a:gd name="T15" fmla="*/ 180 h 187"/>
                <a:gd name="T16" fmla="*/ 62 w 99"/>
                <a:gd name="T17" fmla="*/ 110 h 187"/>
                <a:gd name="T18" fmla="*/ 42 w 99"/>
                <a:gd name="T19" fmla="*/ 110 h 187"/>
                <a:gd name="T20" fmla="*/ 56 w 99"/>
                <a:gd name="T21" fmla="*/ 180 h 187"/>
                <a:gd name="T22" fmla="*/ 33 w 99"/>
                <a:gd name="T23" fmla="*/ 186 h 187"/>
                <a:gd name="T24" fmla="*/ 0 w 99"/>
                <a:gd name="T25" fmla="*/ 14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" h="187">
                  <a:moveTo>
                    <a:pt x="0" y="14"/>
                  </a:moveTo>
                  <a:lnTo>
                    <a:pt x="22" y="8"/>
                  </a:lnTo>
                  <a:lnTo>
                    <a:pt x="36" y="87"/>
                  </a:lnTo>
                  <a:lnTo>
                    <a:pt x="56" y="85"/>
                  </a:lnTo>
                  <a:lnTo>
                    <a:pt x="42" y="6"/>
                  </a:lnTo>
                  <a:lnTo>
                    <a:pt x="64" y="0"/>
                  </a:lnTo>
                  <a:lnTo>
                    <a:pt x="98" y="175"/>
                  </a:lnTo>
                  <a:lnTo>
                    <a:pt x="76" y="180"/>
                  </a:lnTo>
                  <a:lnTo>
                    <a:pt x="62" y="110"/>
                  </a:lnTo>
                  <a:lnTo>
                    <a:pt x="42" y="110"/>
                  </a:lnTo>
                  <a:lnTo>
                    <a:pt x="56" y="180"/>
                  </a:lnTo>
                  <a:lnTo>
                    <a:pt x="33" y="186"/>
                  </a:lnTo>
                  <a:lnTo>
                    <a:pt x="0" y="14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7" name="Freeform 748"/>
            <p:cNvSpPr>
              <a:spLocks noChangeArrowheads="1"/>
            </p:cNvSpPr>
            <p:nvPr/>
          </p:nvSpPr>
          <p:spPr bwMode="auto">
            <a:xfrm>
              <a:off x="4138613" y="2152650"/>
              <a:ext cx="23812" cy="65088"/>
            </a:xfrm>
            <a:custGeom>
              <a:avLst/>
              <a:gdLst>
                <a:gd name="T0" fmla="*/ 20 w 66"/>
                <a:gd name="T1" fmla="*/ 25 h 179"/>
                <a:gd name="T2" fmla="*/ 0 w 66"/>
                <a:gd name="T3" fmla="*/ 22 h 179"/>
                <a:gd name="T4" fmla="*/ 3 w 66"/>
                <a:gd name="T5" fmla="*/ 0 h 179"/>
                <a:gd name="T6" fmla="*/ 65 w 66"/>
                <a:gd name="T7" fmla="*/ 5 h 179"/>
                <a:gd name="T8" fmla="*/ 62 w 66"/>
                <a:gd name="T9" fmla="*/ 28 h 179"/>
                <a:gd name="T10" fmla="*/ 42 w 66"/>
                <a:gd name="T11" fmla="*/ 25 h 179"/>
                <a:gd name="T12" fmla="*/ 31 w 66"/>
                <a:gd name="T13" fmla="*/ 178 h 179"/>
                <a:gd name="T14" fmla="*/ 9 w 66"/>
                <a:gd name="T15" fmla="*/ 175 h 179"/>
                <a:gd name="T16" fmla="*/ 20 w 66"/>
                <a:gd name="T17" fmla="*/ 2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79">
                  <a:moveTo>
                    <a:pt x="20" y="25"/>
                  </a:moveTo>
                  <a:lnTo>
                    <a:pt x="0" y="22"/>
                  </a:lnTo>
                  <a:lnTo>
                    <a:pt x="3" y="0"/>
                  </a:lnTo>
                  <a:lnTo>
                    <a:pt x="65" y="5"/>
                  </a:lnTo>
                  <a:lnTo>
                    <a:pt x="62" y="28"/>
                  </a:lnTo>
                  <a:lnTo>
                    <a:pt x="42" y="25"/>
                  </a:lnTo>
                  <a:lnTo>
                    <a:pt x="31" y="178"/>
                  </a:lnTo>
                  <a:lnTo>
                    <a:pt x="9" y="175"/>
                  </a:lnTo>
                  <a:lnTo>
                    <a:pt x="20" y="2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8" name="Freeform 749"/>
            <p:cNvSpPr>
              <a:spLocks noChangeArrowheads="1"/>
            </p:cNvSpPr>
            <p:nvPr/>
          </p:nvSpPr>
          <p:spPr bwMode="auto">
            <a:xfrm>
              <a:off x="4178300" y="2159000"/>
              <a:ext cx="34925" cy="66675"/>
            </a:xfrm>
            <a:custGeom>
              <a:avLst/>
              <a:gdLst>
                <a:gd name="T0" fmla="*/ 31 w 97"/>
                <a:gd name="T1" fmla="*/ 14 h 184"/>
                <a:gd name="T2" fmla="*/ 48 w 97"/>
                <a:gd name="T3" fmla="*/ 3 h 184"/>
                <a:gd name="T4" fmla="*/ 82 w 97"/>
                <a:gd name="T5" fmla="*/ 8 h 184"/>
                <a:gd name="T6" fmla="*/ 93 w 97"/>
                <a:gd name="T7" fmla="*/ 25 h 184"/>
                <a:gd name="T8" fmla="*/ 65 w 97"/>
                <a:gd name="T9" fmla="*/ 169 h 184"/>
                <a:gd name="T10" fmla="*/ 48 w 97"/>
                <a:gd name="T11" fmla="*/ 180 h 184"/>
                <a:gd name="T12" fmla="*/ 14 w 97"/>
                <a:gd name="T13" fmla="*/ 175 h 184"/>
                <a:gd name="T14" fmla="*/ 3 w 97"/>
                <a:gd name="T15" fmla="*/ 158 h 184"/>
                <a:gd name="T16" fmla="*/ 31 w 97"/>
                <a:gd name="T17" fmla="*/ 14 h 184"/>
                <a:gd name="T18" fmla="*/ 71 w 97"/>
                <a:gd name="T19" fmla="*/ 28 h 184"/>
                <a:gd name="T20" fmla="*/ 51 w 97"/>
                <a:gd name="T21" fmla="*/ 25 h 184"/>
                <a:gd name="T22" fmla="*/ 26 w 97"/>
                <a:gd name="T23" fmla="*/ 155 h 184"/>
                <a:gd name="T24" fmla="*/ 45 w 97"/>
                <a:gd name="T25" fmla="*/ 158 h 184"/>
                <a:gd name="T26" fmla="*/ 71 w 97"/>
                <a:gd name="T27" fmla="*/ 2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" h="184">
                  <a:moveTo>
                    <a:pt x="31" y="14"/>
                  </a:moveTo>
                  <a:cubicBezTo>
                    <a:pt x="34" y="5"/>
                    <a:pt x="40" y="0"/>
                    <a:pt x="48" y="3"/>
                  </a:cubicBezTo>
                  <a:lnTo>
                    <a:pt x="82" y="8"/>
                  </a:lnTo>
                  <a:cubicBezTo>
                    <a:pt x="90" y="11"/>
                    <a:pt x="96" y="17"/>
                    <a:pt x="93" y="25"/>
                  </a:cubicBezTo>
                  <a:lnTo>
                    <a:pt x="65" y="169"/>
                  </a:lnTo>
                  <a:cubicBezTo>
                    <a:pt x="62" y="177"/>
                    <a:pt x="57" y="183"/>
                    <a:pt x="48" y="180"/>
                  </a:cubicBezTo>
                  <a:lnTo>
                    <a:pt x="14" y="175"/>
                  </a:lnTo>
                  <a:cubicBezTo>
                    <a:pt x="6" y="172"/>
                    <a:pt x="0" y="166"/>
                    <a:pt x="3" y="158"/>
                  </a:cubicBezTo>
                  <a:lnTo>
                    <a:pt x="31" y="14"/>
                  </a:lnTo>
                  <a:close/>
                  <a:moveTo>
                    <a:pt x="71" y="28"/>
                  </a:moveTo>
                  <a:lnTo>
                    <a:pt x="51" y="25"/>
                  </a:lnTo>
                  <a:lnTo>
                    <a:pt x="26" y="155"/>
                  </a:lnTo>
                  <a:lnTo>
                    <a:pt x="45" y="158"/>
                  </a:lnTo>
                  <a:lnTo>
                    <a:pt x="71" y="28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9" name="Freeform 750"/>
            <p:cNvSpPr>
              <a:spLocks noChangeArrowheads="1"/>
            </p:cNvSpPr>
            <p:nvPr/>
          </p:nvSpPr>
          <p:spPr bwMode="auto">
            <a:xfrm>
              <a:off x="4224338" y="2171700"/>
              <a:ext cx="41275" cy="66675"/>
            </a:xfrm>
            <a:custGeom>
              <a:avLst/>
              <a:gdLst>
                <a:gd name="T0" fmla="*/ 62 w 114"/>
                <a:gd name="T1" fmla="*/ 107 h 184"/>
                <a:gd name="T2" fmla="*/ 45 w 114"/>
                <a:gd name="T3" fmla="*/ 101 h 184"/>
                <a:gd name="T4" fmla="*/ 23 w 114"/>
                <a:gd name="T5" fmla="*/ 172 h 184"/>
                <a:gd name="T6" fmla="*/ 0 w 114"/>
                <a:gd name="T7" fmla="*/ 166 h 184"/>
                <a:gd name="T8" fmla="*/ 57 w 114"/>
                <a:gd name="T9" fmla="*/ 0 h 184"/>
                <a:gd name="T10" fmla="*/ 102 w 114"/>
                <a:gd name="T11" fmla="*/ 14 h 184"/>
                <a:gd name="T12" fmla="*/ 110 w 114"/>
                <a:gd name="T13" fmla="*/ 33 h 184"/>
                <a:gd name="T14" fmla="*/ 90 w 114"/>
                <a:gd name="T15" fmla="*/ 90 h 184"/>
                <a:gd name="T16" fmla="*/ 79 w 114"/>
                <a:gd name="T17" fmla="*/ 98 h 184"/>
                <a:gd name="T18" fmla="*/ 85 w 114"/>
                <a:gd name="T19" fmla="*/ 115 h 184"/>
                <a:gd name="T20" fmla="*/ 62 w 114"/>
                <a:gd name="T21" fmla="*/ 183 h 184"/>
                <a:gd name="T22" fmla="*/ 40 w 114"/>
                <a:gd name="T23" fmla="*/ 175 h 184"/>
                <a:gd name="T24" fmla="*/ 62 w 114"/>
                <a:gd name="T25" fmla="*/ 107 h 184"/>
                <a:gd name="T26" fmla="*/ 51 w 114"/>
                <a:gd name="T27" fmla="*/ 81 h 184"/>
                <a:gd name="T28" fmla="*/ 68 w 114"/>
                <a:gd name="T29" fmla="*/ 87 h 184"/>
                <a:gd name="T30" fmla="*/ 85 w 114"/>
                <a:gd name="T31" fmla="*/ 33 h 184"/>
                <a:gd name="T32" fmla="*/ 68 w 114"/>
                <a:gd name="T33" fmla="*/ 28 h 184"/>
                <a:gd name="T34" fmla="*/ 51 w 114"/>
                <a:gd name="T35" fmla="*/ 8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184">
                  <a:moveTo>
                    <a:pt x="62" y="107"/>
                  </a:moveTo>
                  <a:lnTo>
                    <a:pt x="45" y="101"/>
                  </a:lnTo>
                  <a:lnTo>
                    <a:pt x="23" y="172"/>
                  </a:lnTo>
                  <a:lnTo>
                    <a:pt x="0" y="166"/>
                  </a:lnTo>
                  <a:lnTo>
                    <a:pt x="57" y="0"/>
                  </a:lnTo>
                  <a:lnTo>
                    <a:pt x="102" y="14"/>
                  </a:lnTo>
                  <a:cubicBezTo>
                    <a:pt x="110" y="17"/>
                    <a:pt x="113" y="25"/>
                    <a:pt x="110" y="33"/>
                  </a:cubicBezTo>
                  <a:lnTo>
                    <a:pt x="90" y="90"/>
                  </a:lnTo>
                  <a:cubicBezTo>
                    <a:pt x="90" y="96"/>
                    <a:pt x="85" y="98"/>
                    <a:pt x="79" y="98"/>
                  </a:cubicBezTo>
                  <a:cubicBezTo>
                    <a:pt x="85" y="101"/>
                    <a:pt x="88" y="110"/>
                    <a:pt x="85" y="115"/>
                  </a:cubicBezTo>
                  <a:lnTo>
                    <a:pt x="62" y="183"/>
                  </a:lnTo>
                  <a:lnTo>
                    <a:pt x="40" y="175"/>
                  </a:lnTo>
                  <a:lnTo>
                    <a:pt x="62" y="107"/>
                  </a:lnTo>
                  <a:close/>
                  <a:moveTo>
                    <a:pt x="51" y="81"/>
                  </a:moveTo>
                  <a:lnTo>
                    <a:pt x="68" y="87"/>
                  </a:lnTo>
                  <a:lnTo>
                    <a:pt x="85" y="33"/>
                  </a:lnTo>
                  <a:lnTo>
                    <a:pt x="68" y="28"/>
                  </a:lnTo>
                  <a:lnTo>
                    <a:pt x="51" y="81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0" name="Freeform 751"/>
            <p:cNvSpPr>
              <a:spLocks noChangeArrowheads="1"/>
            </p:cNvSpPr>
            <p:nvPr/>
          </p:nvSpPr>
          <p:spPr bwMode="auto">
            <a:xfrm>
              <a:off x="4267200" y="2190750"/>
              <a:ext cx="47625" cy="66675"/>
            </a:xfrm>
            <a:custGeom>
              <a:avLst/>
              <a:gdLst>
                <a:gd name="T0" fmla="*/ 70 w 133"/>
                <a:gd name="T1" fmla="*/ 12 h 185"/>
                <a:gd name="T2" fmla="*/ 90 w 133"/>
                <a:gd name="T3" fmla="*/ 6 h 185"/>
                <a:gd name="T4" fmla="*/ 121 w 133"/>
                <a:gd name="T5" fmla="*/ 20 h 185"/>
                <a:gd name="T6" fmla="*/ 127 w 133"/>
                <a:gd name="T7" fmla="*/ 40 h 185"/>
                <a:gd name="T8" fmla="*/ 62 w 133"/>
                <a:gd name="T9" fmla="*/ 172 h 185"/>
                <a:gd name="T10" fmla="*/ 42 w 133"/>
                <a:gd name="T11" fmla="*/ 178 h 185"/>
                <a:gd name="T12" fmla="*/ 11 w 133"/>
                <a:gd name="T13" fmla="*/ 164 h 185"/>
                <a:gd name="T14" fmla="*/ 2 w 133"/>
                <a:gd name="T15" fmla="*/ 144 h 185"/>
                <a:gd name="T16" fmla="*/ 70 w 133"/>
                <a:gd name="T17" fmla="*/ 12 h 185"/>
                <a:gd name="T18" fmla="*/ 104 w 133"/>
                <a:gd name="T19" fmla="*/ 37 h 185"/>
                <a:gd name="T20" fmla="*/ 87 w 133"/>
                <a:gd name="T21" fmla="*/ 28 h 185"/>
                <a:gd name="T22" fmla="*/ 31 w 133"/>
                <a:gd name="T23" fmla="*/ 147 h 185"/>
                <a:gd name="T24" fmla="*/ 48 w 133"/>
                <a:gd name="T25" fmla="*/ 155 h 185"/>
                <a:gd name="T26" fmla="*/ 104 w 133"/>
                <a:gd name="T27" fmla="*/ 3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3" h="185">
                  <a:moveTo>
                    <a:pt x="70" y="12"/>
                  </a:moveTo>
                  <a:cubicBezTo>
                    <a:pt x="73" y="3"/>
                    <a:pt x="81" y="0"/>
                    <a:pt x="90" y="6"/>
                  </a:cubicBezTo>
                  <a:lnTo>
                    <a:pt x="121" y="20"/>
                  </a:lnTo>
                  <a:cubicBezTo>
                    <a:pt x="129" y="23"/>
                    <a:pt x="132" y="34"/>
                    <a:pt x="127" y="40"/>
                  </a:cubicBezTo>
                  <a:lnTo>
                    <a:pt x="62" y="172"/>
                  </a:lnTo>
                  <a:cubicBezTo>
                    <a:pt x="59" y="181"/>
                    <a:pt x="50" y="184"/>
                    <a:pt x="42" y="178"/>
                  </a:cubicBezTo>
                  <a:lnTo>
                    <a:pt x="11" y="164"/>
                  </a:lnTo>
                  <a:cubicBezTo>
                    <a:pt x="2" y="161"/>
                    <a:pt x="0" y="153"/>
                    <a:pt x="2" y="144"/>
                  </a:cubicBezTo>
                  <a:lnTo>
                    <a:pt x="70" y="12"/>
                  </a:lnTo>
                  <a:close/>
                  <a:moveTo>
                    <a:pt x="104" y="37"/>
                  </a:moveTo>
                  <a:lnTo>
                    <a:pt x="87" y="28"/>
                  </a:lnTo>
                  <a:lnTo>
                    <a:pt x="31" y="147"/>
                  </a:lnTo>
                  <a:lnTo>
                    <a:pt x="48" y="155"/>
                  </a:lnTo>
                  <a:lnTo>
                    <a:pt x="104" y="37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1" name="Freeform 752"/>
            <p:cNvSpPr>
              <a:spLocks noChangeArrowheads="1"/>
            </p:cNvSpPr>
            <p:nvPr/>
          </p:nvSpPr>
          <p:spPr bwMode="auto">
            <a:xfrm>
              <a:off x="4308475" y="2214563"/>
              <a:ext cx="57150" cy="66675"/>
            </a:xfrm>
            <a:custGeom>
              <a:avLst/>
              <a:gdLst>
                <a:gd name="T0" fmla="*/ 122 w 159"/>
                <a:gd name="T1" fmla="*/ 17 h 187"/>
                <a:gd name="T2" fmla="*/ 91 w 159"/>
                <a:gd name="T3" fmla="*/ 101 h 187"/>
                <a:gd name="T4" fmla="*/ 139 w 159"/>
                <a:gd name="T5" fmla="*/ 28 h 187"/>
                <a:gd name="T6" fmla="*/ 158 w 159"/>
                <a:gd name="T7" fmla="*/ 39 h 187"/>
                <a:gd name="T8" fmla="*/ 62 w 159"/>
                <a:gd name="T9" fmla="*/ 186 h 187"/>
                <a:gd name="T10" fmla="*/ 40 w 159"/>
                <a:gd name="T11" fmla="*/ 172 h 187"/>
                <a:gd name="T12" fmla="*/ 74 w 159"/>
                <a:gd name="T13" fmla="*/ 79 h 187"/>
                <a:gd name="T14" fmla="*/ 20 w 159"/>
                <a:gd name="T15" fmla="*/ 158 h 187"/>
                <a:gd name="T16" fmla="*/ 0 w 159"/>
                <a:gd name="T17" fmla="*/ 147 h 187"/>
                <a:gd name="T18" fmla="*/ 96 w 159"/>
                <a:gd name="T19" fmla="*/ 0 h 187"/>
                <a:gd name="T20" fmla="*/ 122 w 159"/>
                <a:gd name="T21" fmla="*/ 1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9" h="187">
                  <a:moveTo>
                    <a:pt x="122" y="17"/>
                  </a:moveTo>
                  <a:lnTo>
                    <a:pt x="91" y="101"/>
                  </a:lnTo>
                  <a:lnTo>
                    <a:pt x="139" y="28"/>
                  </a:lnTo>
                  <a:lnTo>
                    <a:pt x="158" y="39"/>
                  </a:lnTo>
                  <a:lnTo>
                    <a:pt x="62" y="186"/>
                  </a:lnTo>
                  <a:lnTo>
                    <a:pt x="40" y="172"/>
                  </a:lnTo>
                  <a:lnTo>
                    <a:pt x="74" y="79"/>
                  </a:lnTo>
                  <a:lnTo>
                    <a:pt x="20" y="158"/>
                  </a:lnTo>
                  <a:lnTo>
                    <a:pt x="0" y="147"/>
                  </a:lnTo>
                  <a:lnTo>
                    <a:pt x="96" y="0"/>
                  </a:lnTo>
                  <a:lnTo>
                    <a:pt x="122" y="17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2" name="Freeform 753"/>
            <p:cNvSpPr>
              <a:spLocks noChangeArrowheads="1"/>
            </p:cNvSpPr>
            <p:nvPr/>
          </p:nvSpPr>
          <p:spPr bwMode="auto">
            <a:xfrm>
              <a:off x="4352925" y="2246313"/>
              <a:ext cx="52388" cy="58737"/>
            </a:xfrm>
            <a:custGeom>
              <a:avLst/>
              <a:gdLst>
                <a:gd name="T0" fmla="*/ 98 w 147"/>
                <a:gd name="T1" fmla="*/ 31 h 165"/>
                <a:gd name="T2" fmla="*/ 84 w 147"/>
                <a:gd name="T3" fmla="*/ 17 h 165"/>
                <a:gd name="T4" fmla="*/ 98 w 147"/>
                <a:gd name="T5" fmla="*/ 0 h 165"/>
                <a:gd name="T6" fmla="*/ 146 w 147"/>
                <a:gd name="T7" fmla="*/ 43 h 165"/>
                <a:gd name="T8" fmla="*/ 132 w 147"/>
                <a:gd name="T9" fmla="*/ 60 h 165"/>
                <a:gd name="T10" fmla="*/ 118 w 147"/>
                <a:gd name="T11" fmla="*/ 46 h 165"/>
                <a:gd name="T12" fmla="*/ 17 w 147"/>
                <a:gd name="T13" fmla="*/ 164 h 165"/>
                <a:gd name="T14" fmla="*/ 0 w 147"/>
                <a:gd name="T15" fmla="*/ 150 h 165"/>
                <a:gd name="T16" fmla="*/ 98 w 147"/>
                <a:gd name="T17" fmla="*/ 3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165">
                  <a:moveTo>
                    <a:pt x="98" y="31"/>
                  </a:moveTo>
                  <a:lnTo>
                    <a:pt x="84" y="17"/>
                  </a:lnTo>
                  <a:lnTo>
                    <a:pt x="98" y="0"/>
                  </a:lnTo>
                  <a:lnTo>
                    <a:pt x="146" y="43"/>
                  </a:lnTo>
                  <a:lnTo>
                    <a:pt x="132" y="60"/>
                  </a:lnTo>
                  <a:lnTo>
                    <a:pt x="118" y="46"/>
                  </a:lnTo>
                  <a:lnTo>
                    <a:pt x="17" y="164"/>
                  </a:lnTo>
                  <a:lnTo>
                    <a:pt x="0" y="150"/>
                  </a:lnTo>
                  <a:lnTo>
                    <a:pt x="98" y="31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3" name="Freeform 754"/>
            <p:cNvSpPr>
              <a:spLocks noChangeArrowheads="1"/>
            </p:cNvSpPr>
            <p:nvPr/>
          </p:nvSpPr>
          <p:spPr bwMode="auto">
            <a:xfrm>
              <a:off x="4381500" y="2282825"/>
              <a:ext cx="58738" cy="57150"/>
            </a:xfrm>
            <a:custGeom>
              <a:avLst/>
              <a:gdLst>
                <a:gd name="T0" fmla="*/ 113 w 164"/>
                <a:gd name="T1" fmla="*/ 6 h 159"/>
                <a:gd name="T2" fmla="*/ 135 w 164"/>
                <a:gd name="T3" fmla="*/ 6 h 159"/>
                <a:gd name="T4" fmla="*/ 158 w 164"/>
                <a:gd name="T5" fmla="*/ 31 h 159"/>
                <a:gd name="T6" fmla="*/ 158 w 164"/>
                <a:gd name="T7" fmla="*/ 54 h 159"/>
                <a:gd name="T8" fmla="*/ 50 w 164"/>
                <a:gd name="T9" fmla="*/ 152 h 159"/>
                <a:gd name="T10" fmla="*/ 28 w 164"/>
                <a:gd name="T11" fmla="*/ 152 h 159"/>
                <a:gd name="T12" fmla="*/ 5 w 164"/>
                <a:gd name="T13" fmla="*/ 127 h 159"/>
                <a:gd name="T14" fmla="*/ 5 w 164"/>
                <a:gd name="T15" fmla="*/ 104 h 159"/>
                <a:gd name="T16" fmla="*/ 113 w 164"/>
                <a:gd name="T17" fmla="*/ 6 h 159"/>
                <a:gd name="T18" fmla="*/ 135 w 164"/>
                <a:gd name="T19" fmla="*/ 42 h 159"/>
                <a:gd name="T20" fmla="*/ 121 w 164"/>
                <a:gd name="T21" fmla="*/ 28 h 159"/>
                <a:gd name="T22" fmla="*/ 25 w 164"/>
                <a:gd name="T23" fmla="*/ 118 h 159"/>
                <a:gd name="T24" fmla="*/ 39 w 164"/>
                <a:gd name="T25" fmla="*/ 133 h 159"/>
                <a:gd name="T26" fmla="*/ 135 w 164"/>
                <a:gd name="T27" fmla="*/ 4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4" h="159">
                  <a:moveTo>
                    <a:pt x="113" y="6"/>
                  </a:moveTo>
                  <a:cubicBezTo>
                    <a:pt x="118" y="0"/>
                    <a:pt x="129" y="0"/>
                    <a:pt x="135" y="6"/>
                  </a:cubicBezTo>
                  <a:lnTo>
                    <a:pt x="158" y="31"/>
                  </a:lnTo>
                  <a:cubicBezTo>
                    <a:pt x="163" y="37"/>
                    <a:pt x="163" y="48"/>
                    <a:pt x="158" y="54"/>
                  </a:cubicBezTo>
                  <a:lnTo>
                    <a:pt x="50" y="152"/>
                  </a:lnTo>
                  <a:cubicBezTo>
                    <a:pt x="45" y="158"/>
                    <a:pt x="34" y="158"/>
                    <a:pt x="28" y="152"/>
                  </a:cubicBezTo>
                  <a:lnTo>
                    <a:pt x="5" y="127"/>
                  </a:lnTo>
                  <a:cubicBezTo>
                    <a:pt x="0" y="121"/>
                    <a:pt x="0" y="113"/>
                    <a:pt x="5" y="104"/>
                  </a:cubicBezTo>
                  <a:lnTo>
                    <a:pt x="113" y="6"/>
                  </a:lnTo>
                  <a:close/>
                  <a:moveTo>
                    <a:pt x="135" y="42"/>
                  </a:moveTo>
                  <a:lnTo>
                    <a:pt x="121" y="28"/>
                  </a:lnTo>
                  <a:lnTo>
                    <a:pt x="25" y="118"/>
                  </a:lnTo>
                  <a:lnTo>
                    <a:pt x="39" y="133"/>
                  </a:lnTo>
                  <a:lnTo>
                    <a:pt x="135" y="42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4" name="Freeform 755"/>
            <p:cNvSpPr>
              <a:spLocks noChangeArrowheads="1"/>
            </p:cNvSpPr>
            <p:nvPr/>
          </p:nvSpPr>
          <p:spPr bwMode="auto">
            <a:xfrm>
              <a:off x="3722688" y="2463800"/>
              <a:ext cx="19050" cy="19050"/>
            </a:xfrm>
            <a:custGeom>
              <a:avLst/>
              <a:gdLst>
                <a:gd name="T0" fmla="*/ 51 w 52"/>
                <a:gd name="T1" fmla="*/ 25 h 52"/>
                <a:gd name="T2" fmla="*/ 48 w 52"/>
                <a:gd name="T3" fmla="*/ 38 h 52"/>
                <a:gd name="T4" fmla="*/ 38 w 52"/>
                <a:gd name="T5" fmla="*/ 47 h 52"/>
                <a:gd name="T6" fmla="*/ 26 w 52"/>
                <a:gd name="T7" fmla="*/ 51 h 52"/>
                <a:gd name="T8" fmla="*/ 13 w 52"/>
                <a:gd name="T9" fmla="*/ 47 h 52"/>
                <a:gd name="T10" fmla="*/ 4 w 52"/>
                <a:gd name="T11" fmla="*/ 38 h 52"/>
                <a:gd name="T12" fmla="*/ 0 w 52"/>
                <a:gd name="T13" fmla="*/ 25 h 52"/>
                <a:gd name="T14" fmla="*/ 4 w 52"/>
                <a:gd name="T15" fmla="*/ 13 h 52"/>
                <a:gd name="T16" fmla="*/ 13 w 52"/>
                <a:gd name="T17" fmla="*/ 3 h 52"/>
                <a:gd name="T18" fmla="*/ 26 w 52"/>
                <a:gd name="T19" fmla="*/ 0 h 52"/>
                <a:gd name="T20" fmla="*/ 38 w 52"/>
                <a:gd name="T21" fmla="*/ 3 h 52"/>
                <a:gd name="T22" fmla="*/ 48 w 52"/>
                <a:gd name="T23" fmla="*/ 13 h 52"/>
                <a:gd name="T24" fmla="*/ 51 w 52"/>
                <a:gd name="T25" fmla="*/ 2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52">
                  <a:moveTo>
                    <a:pt x="51" y="25"/>
                  </a:moveTo>
                  <a:cubicBezTo>
                    <a:pt x="51" y="30"/>
                    <a:pt x="50" y="34"/>
                    <a:pt x="48" y="38"/>
                  </a:cubicBezTo>
                  <a:cubicBezTo>
                    <a:pt x="45" y="42"/>
                    <a:pt x="42" y="44"/>
                    <a:pt x="38" y="47"/>
                  </a:cubicBezTo>
                  <a:cubicBezTo>
                    <a:pt x="34" y="49"/>
                    <a:pt x="30" y="51"/>
                    <a:pt x="26" y="51"/>
                  </a:cubicBezTo>
                  <a:cubicBezTo>
                    <a:pt x="21" y="51"/>
                    <a:pt x="17" y="49"/>
                    <a:pt x="13" y="47"/>
                  </a:cubicBezTo>
                  <a:cubicBezTo>
                    <a:pt x="9" y="44"/>
                    <a:pt x="6" y="42"/>
                    <a:pt x="4" y="38"/>
                  </a:cubicBezTo>
                  <a:cubicBezTo>
                    <a:pt x="1" y="34"/>
                    <a:pt x="0" y="29"/>
                    <a:pt x="0" y="25"/>
                  </a:cubicBezTo>
                  <a:cubicBezTo>
                    <a:pt x="0" y="20"/>
                    <a:pt x="1" y="17"/>
                    <a:pt x="4" y="13"/>
                  </a:cubicBezTo>
                  <a:cubicBezTo>
                    <a:pt x="6" y="9"/>
                    <a:pt x="9" y="5"/>
                    <a:pt x="13" y="3"/>
                  </a:cubicBezTo>
                  <a:cubicBezTo>
                    <a:pt x="17" y="0"/>
                    <a:pt x="21" y="0"/>
                    <a:pt x="26" y="0"/>
                  </a:cubicBezTo>
                  <a:cubicBezTo>
                    <a:pt x="30" y="0"/>
                    <a:pt x="34" y="0"/>
                    <a:pt x="38" y="3"/>
                  </a:cubicBezTo>
                  <a:cubicBezTo>
                    <a:pt x="42" y="5"/>
                    <a:pt x="45" y="9"/>
                    <a:pt x="48" y="13"/>
                  </a:cubicBezTo>
                  <a:cubicBezTo>
                    <a:pt x="50" y="17"/>
                    <a:pt x="51" y="21"/>
                    <a:pt x="51" y="2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5" name="Freeform 756"/>
            <p:cNvSpPr>
              <a:spLocks noChangeArrowheads="1"/>
            </p:cNvSpPr>
            <p:nvPr/>
          </p:nvSpPr>
          <p:spPr bwMode="auto">
            <a:xfrm>
              <a:off x="4445000" y="2336800"/>
              <a:ext cx="19050" cy="19050"/>
            </a:xfrm>
            <a:custGeom>
              <a:avLst/>
              <a:gdLst>
                <a:gd name="T0" fmla="*/ 51 w 52"/>
                <a:gd name="T1" fmla="*/ 26 h 52"/>
                <a:gd name="T2" fmla="*/ 48 w 52"/>
                <a:gd name="T3" fmla="*/ 39 h 52"/>
                <a:gd name="T4" fmla="*/ 39 w 52"/>
                <a:gd name="T5" fmla="*/ 48 h 52"/>
                <a:gd name="T6" fmla="*/ 26 w 52"/>
                <a:gd name="T7" fmla="*/ 51 h 52"/>
                <a:gd name="T8" fmla="*/ 13 w 52"/>
                <a:gd name="T9" fmla="*/ 48 h 52"/>
                <a:gd name="T10" fmla="*/ 4 w 52"/>
                <a:gd name="T11" fmla="*/ 39 h 52"/>
                <a:gd name="T12" fmla="*/ 0 w 52"/>
                <a:gd name="T13" fmla="*/ 26 h 52"/>
                <a:gd name="T14" fmla="*/ 4 w 52"/>
                <a:gd name="T15" fmla="*/ 13 h 52"/>
                <a:gd name="T16" fmla="*/ 13 w 52"/>
                <a:gd name="T17" fmla="*/ 4 h 52"/>
                <a:gd name="T18" fmla="*/ 26 w 52"/>
                <a:gd name="T19" fmla="*/ 0 h 52"/>
                <a:gd name="T20" fmla="*/ 39 w 52"/>
                <a:gd name="T21" fmla="*/ 4 h 52"/>
                <a:gd name="T22" fmla="*/ 48 w 52"/>
                <a:gd name="T23" fmla="*/ 13 h 52"/>
                <a:gd name="T24" fmla="*/ 51 w 52"/>
                <a:gd name="T25" fmla="*/ 2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52">
                  <a:moveTo>
                    <a:pt x="51" y="26"/>
                  </a:moveTo>
                  <a:cubicBezTo>
                    <a:pt x="51" y="30"/>
                    <a:pt x="51" y="34"/>
                    <a:pt x="48" y="39"/>
                  </a:cubicBezTo>
                  <a:cubicBezTo>
                    <a:pt x="46" y="43"/>
                    <a:pt x="44" y="45"/>
                    <a:pt x="39" y="48"/>
                  </a:cubicBezTo>
                  <a:cubicBezTo>
                    <a:pt x="35" y="50"/>
                    <a:pt x="31" y="51"/>
                    <a:pt x="26" y="51"/>
                  </a:cubicBezTo>
                  <a:cubicBezTo>
                    <a:pt x="22" y="51"/>
                    <a:pt x="17" y="50"/>
                    <a:pt x="13" y="48"/>
                  </a:cubicBezTo>
                  <a:cubicBezTo>
                    <a:pt x="9" y="45"/>
                    <a:pt x="7" y="43"/>
                    <a:pt x="4" y="39"/>
                  </a:cubicBezTo>
                  <a:cubicBezTo>
                    <a:pt x="2" y="34"/>
                    <a:pt x="0" y="30"/>
                    <a:pt x="0" y="26"/>
                  </a:cubicBezTo>
                  <a:cubicBezTo>
                    <a:pt x="0" y="21"/>
                    <a:pt x="2" y="17"/>
                    <a:pt x="4" y="13"/>
                  </a:cubicBezTo>
                  <a:cubicBezTo>
                    <a:pt x="7" y="9"/>
                    <a:pt x="9" y="6"/>
                    <a:pt x="13" y="4"/>
                  </a:cubicBezTo>
                  <a:cubicBezTo>
                    <a:pt x="17" y="1"/>
                    <a:pt x="21" y="0"/>
                    <a:pt x="26" y="0"/>
                  </a:cubicBezTo>
                  <a:cubicBezTo>
                    <a:pt x="30" y="0"/>
                    <a:pt x="35" y="1"/>
                    <a:pt x="39" y="4"/>
                  </a:cubicBezTo>
                  <a:cubicBezTo>
                    <a:pt x="44" y="6"/>
                    <a:pt x="46" y="9"/>
                    <a:pt x="48" y="13"/>
                  </a:cubicBezTo>
                  <a:cubicBezTo>
                    <a:pt x="51" y="17"/>
                    <a:pt x="51" y="21"/>
                    <a:pt x="51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6" name="Freeform 757"/>
            <p:cNvSpPr>
              <a:spLocks noChangeArrowheads="1"/>
            </p:cNvSpPr>
            <p:nvPr/>
          </p:nvSpPr>
          <p:spPr bwMode="auto">
            <a:xfrm>
              <a:off x="3681413" y="2378075"/>
              <a:ext cx="917575" cy="657225"/>
            </a:xfrm>
            <a:custGeom>
              <a:avLst/>
              <a:gdLst>
                <a:gd name="T0" fmla="*/ 1237 w 2550"/>
                <a:gd name="T1" fmla="*/ 1734 h 1825"/>
                <a:gd name="T2" fmla="*/ 90 w 2550"/>
                <a:gd name="T3" fmla="*/ 583 h 1825"/>
                <a:gd name="T4" fmla="*/ 113 w 2550"/>
                <a:gd name="T5" fmla="*/ 361 h 1825"/>
                <a:gd name="T6" fmla="*/ 124 w 2550"/>
                <a:gd name="T7" fmla="*/ 364 h 1825"/>
                <a:gd name="T8" fmla="*/ 1015 w 2550"/>
                <a:gd name="T9" fmla="*/ 1700 h 1825"/>
                <a:gd name="T10" fmla="*/ 2352 w 2550"/>
                <a:gd name="T11" fmla="*/ 809 h 1825"/>
                <a:gd name="T12" fmla="*/ 2214 w 2550"/>
                <a:gd name="T13" fmla="*/ 6 h 1825"/>
                <a:gd name="T14" fmla="*/ 2225 w 2550"/>
                <a:gd name="T15" fmla="*/ 0 h 1825"/>
                <a:gd name="T16" fmla="*/ 1827 w 2550"/>
                <a:gd name="T17" fmla="*/ 1576 h 1825"/>
                <a:gd name="T18" fmla="*/ 1237 w 2550"/>
                <a:gd name="T19" fmla="*/ 173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50" h="1825">
                  <a:moveTo>
                    <a:pt x="1237" y="1734"/>
                  </a:moveTo>
                  <a:cubicBezTo>
                    <a:pt x="604" y="1734"/>
                    <a:pt x="87" y="1218"/>
                    <a:pt x="90" y="583"/>
                  </a:cubicBezTo>
                  <a:cubicBezTo>
                    <a:pt x="90" y="508"/>
                    <a:pt x="98" y="435"/>
                    <a:pt x="113" y="361"/>
                  </a:cubicBezTo>
                  <a:lnTo>
                    <a:pt x="124" y="364"/>
                  </a:lnTo>
                  <a:cubicBezTo>
                    <a:pt x="0" y="978"/>
                    <a:pt x="399" y="1576"/>
                    <a:pt x="1015" y="1700"/>
                  </a:cubicBezTo>
                  <a:cubicBezTo>
                    <a:pt x="1630" y="1824"/>
                    <a:pt x="2228" y="1424"/>
                    <a:pt x="2352" y="809"/>
                  </a:cubicBezTo>
                  <a:cubicBezTo>
                    <a:pt x="2408" y="533"/>
                    <a:pt x="2358" y="246"/>
                    <a:pt x="2214" y="6"/>
                  </a:cubicBezTo>
                  <a:lnTo>
                    <a:pt x="2225" y="0"/>
                  </a:lnTo>
                  <a:cubicBezTo>
                    <a:pt x="2549" y="545"/>
                    <a:pt x="2372" y="1249"/>
                    <a:pt x="1827" y="1576"/>
                  </a:cubicBezTo>
                  <a:cubicBezTo>
                    <a:pt x="1647" y="1678"/>
                    <a:pt x="1443" y="1734"/>
                    <a:pt x="1237" y="173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7" name="Freeform 758"/>
            <p:cNvSpPr>
              <a:spLocks noChangeArrowheads="1"/>
            </p:cNvSpPr>
            <p:nvPr/>
          </p:nvSpPr>
          <p:spPr bwMode="auto">
            <a:xfrm>
              <a:off x="4046538" y="2782888"/>
              <a:ext cx="55562" cy="120650"/>
            </a:xfrm>
            <a:custGeom>
              <a:avLst/>
              <a:gdLst>
                <a:gd name="T0" fmla="*/ 0 w 154"/>
                <a:gd name="T1" fmla="*/ 8 h 336"/>
                <a:gd name="T2" fmla="*/ 43 w 154"/>
                <a:gd name="T3" fmla="*/ 0 h 336"/>
                <a:gd name="T4" fmla="*/ 93 w 154"/>
                <a:gd name="T5" fmla="*/ 285 h 336"/>
                <a:gd name="T6" fmla="*/ 144 w 154"/>
                <a:gd name="T7" fmla="*/ 276 h 336"/>
                <a:gd name="T8" fmla="*/ 153 w 154"/>
                <a:gd name="T9" fmla="*/ 319 h 336"/>
                <a:gd name="T10" fmla="*/ 60 w 154"/>
                <a:gd name="T11" fmla="*/ 335 h 336"/>
                <a:gd name="T12" fmla="*/ 0 w 154"/>
                <a:gd name="T13" fmla="*/ 8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" h="336">
                  <a:moveTo>
                    <a:pt x="0" y="8"/>
                  </a:moveTo>
                  <a:lnTo>
                    <a:pt x="43" y="0"/>
                  </a:lnTo>
                  <a:lnTo>
                    <a:pt x="93" y="285"/>
                  </a:lnTo>
                  <a:lnTo>
                    <a:pt x="144" y="276"/>
                  </a:lnTo>
                  <a:lnTo>
                    <a:pt x="153" y="319"/>
                  </a:lnTo>
                  <a:lnTo>
                    <a:pt x="60" y="335"/>
                  </a:lnTo>
                  <a:lnTo>
                    <a:pt x="0" y="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8" name="Freeform 759"/>
            <p:cNvSpPr>
              <a:spLocks noChangeArrowheads="1"/>
            </p:cNvSpPr>
            <p:nvPr/>
          </p:nvSpPr>
          <p:spPr bwMode="auto">
            <a:xfrm>
              <a:off x="4111625" y="2768600"/>
              <a:ext cx="60325" cy="125413"/>
            </a:xfrm>
            <a:custGeom>
              <a:avLst/>
              <a:gdLst>
                <a:gd name="T0" fmla="*/ 106 w 169"/>
                <a:gd name="T1" fmla="*/ 265 h 348"/>
                <a:gd name="T2" fmla="*/ 58 w 169"/>
                <a:gd name="T3" fmla="*/ 274 h 348"/>
                <a:gd name="T4" fmla="*/ 64 w 169"/>
                <a:gd name="T5" fmla="*/ 339 h 348"/>
                <a:gd name="T6" fmla="*/ 23 w 169"/>
                <a:gd name="T7" fmla="*/ 347 h 348"/>
                <a:gd name="T8" fmla="*/ 0 w 169"/>
                <a:gd name="T9" fmla="*/ 14 h 348"/>
                <a:gd name="T10" fmla="*/ 75 w 169"/>
                <a:gd name="T11" fmla="*/ 0 h 348"/>
                <a:gd name="T12" fmla="*/ 168 w 169"/>
                <a:gd name="T13" fmla="*/ 322 h 348"/>
                <a:gd name="T14" fmla="*/ 123 w 169"/>
                <a:gd name="T15" fmla="*/ 327 h 348"/>
                <a:gd name="T16" fmla="*/ 106 w 169"/>
                <a:gd name="T17" fmla="*/ 265 h 348"/>
                <a:gd name="T18" fmla="*/ 56 w 169"/>
                <a:gd name="T19" fmla="*/ 231 h 348"/>
                <a:gd name="T20" fmla="*/ 92 w 169"/>
                <a:gd name="T21" fmla="*/ 226 h 348"/>
                <a:gd name="T22" fmla="*/ 41 w 169"/>
                <a:gd name="T23" fmla="*/ 51 h 348"/>
                <a:gd name="T24" fmla="*/ 56 w 169"/>
                <a:gd name="T25" fmla="*/ 231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" h="348">
                  <a:moveTo>
                    <a:pt x="106" y="265"/>
                  </a:moveTo>
                  <a:lnTo>
                    <a:pt x="58" y="274"/>
                  </a:lnTo>
                  <a:lnTo>
                    <a:pt x="64" y="339"/>
                  </a:lnTo>
                  <a:lnTo>
                    <a:pt x="23" y="347"/>
                  </a:lnTo>
                  <a:lnTo>
                    <a:pt x="0" y="14"/>
                  </a:lnTo>
                  <a:lnTo>
                    <a:pt x="75" y="0"/>
                  </a:lnTo>
                  <a:lnTo>
                    <a:pt x="168" y="322"/>
                  </a:lnTo>
                  <a:lnTo>
                    <a:pt x="123" y="327"/>
                  </a:lnTo>
                  <a:lnTo>
                    <a:pt x="106" y="265"/>
                  </a:lnTo>
                  <a:close/>
                  <a:moveTo>
                    <a:pt x="56" y="231"/>
                  </a:moveTo>
                  <a:lnTo>
                    <a:pt x="92" y="226"/>
                  </a:lnTo>
                  <a:lnTo>
                    <a:pt x="41" y="51"/>
                  </a:lnTo>
                  <a:lnTo>
                    <a:pt x="56" y="231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9" name="Freeform 760"/>
            <p:cNvSpPr>
              <a:spLocks noChangeArrowheads="1"/>
            </p:cNvSpPr>
            <p:nvPr/>
          </p:nvSpPr>
          <p:spPr bwMode="auto">
            <a:xfrm>
              <a:off x="4171950" y="2757488"/>
              <a:ext cx="65088" cy="123825"/>
            </a:xfrm>
            <a:custGeom>
              <a:avLst/>
              <a:gdLst>
                <a:gd name="T0" fmla="*/ 0 w 179"/>
                <a:gd name="T1" fmla="*/ 17 h 345"/>
                <a:gd name="T2" fmla="*/ 88 w 179"/>
                <a:gd name="T3" fmla="*/ 3 h 345"/>
                <a:gd name="T4" fmla="*/ 122 w 179"/>
                <a:gd name="T5" fmla="*/ 26 h 345"/>
                <a:gd name="T6" fmla="*/ 141 w 179"/>
                <a:gd name="T7" fmla="*/ 130 h 345"/>
                <a:gd name="T8" fmla="*/ 130 w 179"/>
                <a:gd name="T9" fmla="*/ 155 h 345"/>
                <a:gd name="T10" fmla="*/ 156 w 179"/>
                <a:gd name="T11" fmla="*/ 181 h 345"/>
                <a:gd name="T12" fmla="*/ 175 w 179"/>
                <a:gd name="T13" fmla="*/ 296 h 345"/>
                <a:gd name="T14" fmla="*/ 153 w 179"/>
                <a:gd name="T15" fmla="*/ 330 h 345"/>
                <a:gd name="T16" fmla="*/ 57 w 179"/>
                <a:gd name="T17" fmla="*/ 344 h 345"/>
                <a:gd name="T18" fmla="*/ 0 w 179"/>
                <a:gd name="T19" fmla="*/ 17 h 345"/>
                <a:gd name="T20" fmla="*/ 65 w 179"/>
                <a:gd name="T21" fmla="*/ 147 h 345"/>
                <a:gd name="T22" fmla="*/ 96 w 179"/>
                <a:gd name="T23" fmla="*/ 141 h 345"/>
                <a:gd name="T24" fmla="*/ 79 w 179"/>
                <a:gd name="T25" fmla="*/ 45 h 345"/>
                <a:gd name="T26" fmla="*/ 48 w 179"/>
                <a:gd name="T27" fmla="*/ 51 h 345"/>
                <a:gd name="T28" fmla="*/ 65 w 179"/>
                <a:gd name="T29" fmla="*/ 147 h 345"/>
                <a:gd name="T30" fmla="*/ 127 w 179"/>
                <a:gd name="T31" fmla="*/ 288 h 345"/>
                <a:gd name="T32" fmla="*/ 108 w 179"/>
                <a:gd name="T33" fmla="*/ 184 h 345"/>
                <a:gd name="T34" fmla="*/ 71 w 179"/>
                <a:gd name="T35" fmla="*/ 189 h 345"/>
                <a:gd name="T36" fmla="*/ 91 w 179"/>
                <a:gd name="T37" fmla="*/ 294 h 345"/>
                <a:gd name="T38" fmla="*/ 127 w 179"/>
                <a:gd name="T39" fmla="*/ 288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9" h="345">
                  <a:moveTo>
                    <a:pt x="0" y="17"/>
                  </a:moveTo>
                  <a:lnTo>
                    <a:pt x="88" y="3"/>
                  </a:lnTo>
                  <a:cubicBezTo>
                    <a:pt x="102" y="0"/>
                    <a:pt x="119" y="12"/>
                    <a:pt x="122" y="26"/>
                  </a:cubicBezTo>
                  <a:lnTo>
                    <a:pt x="141" y="130"/>
                  </a:lnTo>
                  <a:cubicBezTo>
                    <a:pt x="144" y="141"/>
                    <a:pt x="139" y="150"/>
                    <a:pt x="130" y="155"/>
                  </a:cubicBezTo>
                  <a:cubicBezTo>
                    <a:pt x="144" y="158"/>
                    <a:pt x="153" y="167"/>
                    <a:pt x="156" y="181"/>
                  </a:cubicBezTo>
                  <a:cubicBezTo>
                    <a:pt x="158" y="192"/>
                    <a:pt x="175" y="288"/>
                    <a:pt x="175" y="296"/>
                  </a:cubicBezTo>
                  <a:cubicBezTo>
                    <a:pt x="178" y="311"/>
                    <a:pt x="167" y="327"/>
                    <a:pt x="153" y="330"/>
                  </a:cubicBezTo>
                  <a:lnTo>
                    <a:pt x="57" y="344"/>
                  </a:lnTo>
                  <a:lnTo>
                    <a:pt x="0" y="17"/>
                  </a:lnTo>
                  <a:close/>
                  <a:moveTo>
                    <a:pt x="65" y="147"/>
                  </a:moveTo>
                  <a:lnTo>
                    <a:pt x="96" y="141"/>
                  </a:lnTo>
                  <a:lnTo>
                    <a:pt x="79" y="45"/>
                  </a:lnTo>
                  <a:lnTo>
                    <a:pt x="48" y="51"/>
                  </a:lnTo>
                  <a:lnTo>
                    <a:pt x="65" y="147"/>
                  </a:lnTo>
                  <a:close/>
                  <a:moveTo>
                    <a:pt x="127" y="288"/>
                  </a:moveTo>
                  <a:lnTo>
                    <a:pt x="108" y="184"/>
                  </a:lnTo>
                  <a:lnTo>
                    <a:pt x="71" y="189"/>
                  </a:lnTo>
                  <a:lnTo>
                    <a:pt x="91" y="294"/>
                  </a:lnTo>
                  <a:lnTo>
                    <a:pt x="127" y="288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0" name="Freeform 761"/>
            <p:cNvSpPr>
              <a:spLocks noChangeArrowheads="1"/>
            </p:cNvSpPr>
            <p:nvPr/>
          </p:nvSpPr>
          <p:spPr bwMode="auto">
            <a:xfrm>
              <a:off x="4240213" y="2743200"/>
              <a:ext cx="63500" cy="125413"/>
            </a:xfrm>
            <a:custGeom>
              <a:avLst/>
              <a:gdLst>
                <a:gd name="T0" fmla="*/ 82 w 176"/>
                <a:gd name="T1" fmla="*/ 242 h 348"/>
                <a:gd name="T2" fmla="*/ 93 w 176"/>
                <a:gd name="T3" fmla="*/ 299 h 348"/>
                <a:gd name="T4" fmla="*/ 130 w 176"/>
                <a:gd name="T5" fmla="*/ 293 h 348"/>
                <a:gd name="T6" fmla="*/ 110 w 176"/>
                <a:gd name="T7" fmla="*/ 186 h 348"/>
                <a:gd name="T8" fmla="*/ 60 w 176"/>
                <a:gd name="T9" fmla="*/ 194 h 348"/>
                <a:gd name="T10" fmla="*/ 26 w 176"/>
                <a:gd name="T11" fmla="*/ 172 h 348"/>
                <a:gd name="T12" fmla="*/ 3 w 176"/>
                <a:gd name="T13" fmla="*/ 48 h 348"/>
                <a:gd name="T14" fmla="*/ 23 w 176"/>
                <a:gd name="T15" fmla="*/ 14 h 348"/>
                <a:gd name="T16" fmla="*/ 26 w 176"/>
                <a:gd name="T17" fmla="*/ 14 h 348"/>
                <a:gd name="T18" fmla="*/ 91 w 176"/>
                <a:gd name="T19" fmla="*/ 3 h 348"/>
                <a:gd name="T20" fmla="*/ 124 w 176"/>
                <a:gd name="T21" fmla="*/ 25 h 348"/>
                <a:gd name="T22" fmla="*/ 124 w 176"/>
                <a:gd name="T23" fmla="*/ 25 h 348"/>
                <a:gd name="T24" fmla="*/ 136 w 176"/>
                <a:gd name="T25" fmla="*/ 93 h 348"/>
                <a:gd name="T26" fmla="*/ 93 w 176"/>
                <a:gd name="T27" fmla="*/ 101 h 348"/>
                <a:gd name="T28" fmla="*/ 85 w 176"/>
                <a:gd name="T29" fmla="*/ 48 h 348"/>
                <a:gd name="T30" fmla="*/ 48 w 176"/>
                <a:gd name="T31" fmla="*/ 53 h 348"/>
                <a:gd name="T32" fmla="*/ 65 w 176"/>
                <a:gd name="T33" fmla="*/ 149 h 348"/>
                <a:gd name="T34" fmla="*/ 116 w 176"/>
                <a:gd name="T35" fmla="*/ 141 h 348"/>
                <a:gd name="T36" fmla="*/ 150 w 176"/>
                <a:gd name="T37" fmla="*/ 163 h 348"/>
                <a:gd name="T38" fmla="*/ 172 w 176"/>
                <a:gd name="T39" fmla="*/ 299 h 348"/>
                <a:gd name="T40" fmla="*/ 150 w 176"/>
                <a:gd name="T41" fmla="*/ 333 h 348"/>
                <a:gd name="T42" fmla="*/ 85 w 176"/>
                <a:gd name="T43" fmla="*/ 344 h 348"/>
                <a:gd name="T44" fmla="*/ 51 w 176"/>
                <a:gd name="T45" fmla="*/ 321 h 348"/>
                <a:gd name="T46" fmla="*/ 40 w 176"/>
                <a:gd name="T47" fmla="*/ 251 h 348"/>
                <a:gd name="T48" fmla="*/ 82 w 176"/>
                <a:gd name="T49" fmla="*/ 242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6" h="348">
                  <a:moveTo>
                    <a:pt x="82" y="242"/>
                  </a:moveTo>
                  <a:lnTo>
                    <a:pt x="93" y="299"/>
                  </a:lnTo>
                  <a:lnTo>
                    <a:pt x="130" y="293"/>
                  </a:lnTo>
                  <a:lnTo>
                    <a:pt x="110" y="186"/>
                  </a:lnTo>
                  <a:lnTo>
                    <a:pt x="60" y="194"/>
                  </a:lnTo>
                  <a:cubicBezTo>
                    <a:pt x="45" y="197"/>
                    <a:pt x="28" y="186"/>
                    <a:pt x="26" y="172"/>
                  </a:cubicBezTo>
                  <a:lnTo>
                    <a:pt x="3" y="48"/>
                  </a:lnTo>
                  <a:cubicBezTo>
                    <a:pt x="0" y="34"/>
                    <a:pt x="9" y="20"/>
                    <a:pt x="23" y="14"/>
                  </a:cubicBezTo>
                  <a:lnTo>
                    <a:pt x="26" y="14"/>
                  </a:lnTo>
                  <a:lnTo>
                    <a:pt x="91" y="3"/>
                  </a:lnTo>
                  <a:cubicBezTo>
                    <a:pt x="105" y="0"/>
                    <a:pt x="122" y="8"/>
                    <a:pt x="124" y="25"/>
                  </a:cubicBezTo>
                  <a:lnTo>
                    <a:pt x="124" y="25"/>
                  </a:lnTo>
                  <a:lnTo>
                    <a:pt x="136" y="93"/>
                  </a:lnTo>
                  <a:lnTo>
                    <a:pt x="93" y="101"/>
                  </a:lnTo>
                  <a:lnTo>
                    <a:pt x="85" y="48"/>
                  </a:lnTo>
                  <a:lnTo>
                    <a:pt x="48" y="53"/>
                  </a:lnTo>
                  <a:lnTo>
                    <a:pt x="65" y="149"/>
                  </a:lnTo>
                  <a:lnTo>
                    <a:pt x="116" y="141"/>
                  </a:lnTo>
                  <a:cubicBezTo>
                    <a:pt x="133" y="138"/>
                    <a:pt x="147" y="149"/>
                    <a:pt x="150" y="163"/>
                  </a:cubicBezTo>
                  <a:lnTo>
                    <a:pt x="172" y="299"/>
                  </a:lnTo>
                  <a:cubicBezTo>
                    <a:pt x="175" y="313"/>
                    <a:pt x="164" y="330"/>
                    <a:pt x="150" y="333"/>
                  </a:cubicBezTo>
                  <a:lnTo>
                    <a:pt x="85" y="344"/>
                  </a:lnTo>
                  <a:cubicBezTo>
                    <a:pt x="71" y="347"/>
                    <a:pt x="54" y="335"/>
                    <a:pt x="51" y="321"/>
                  </a:cubicBezTo>
                  <a:lnTo>
                    <a:pt x="40" y="251"/>
                  </a:lnTo>
                  <a:lnTo>
                    <a:pt x="82" y="24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1" name="Freeform 762"/>
            <p:cNvSpPr>
              <a:spLocks noChangeArrowheads="1"/>
            </p:cNvSpPr>
            <p:nvPr/>
          </p:nvSpPr>
          <p:spPr bwMode="auto">
            <a:xfrm>
              <a:off x="4175125" y="2817813"/>
              <a:ext cx="1588" cy="3175"/>
            </a:xfrm>
            <a:custGeom>
              <a:avLst/>
              <a:gdLst>
                <a:gd name="T0" fmla="*/ 3 w 6"/>
                <a:gd name="T1" fmla="*/ 6 h 7"/>
                <a:gd name="T2" fmla="*/ 5 w 6"/>
                <a:gd name="T3" fmla="*/ 0 h 7"/>
                <a:gd name="T4" fmla="*/ 3 w 6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5" y="6"/>
                    <a:pt x="5" y="3"/>
                    <a:pt x="5" y="0"/>
                  </a:cubicBezTo>
                  <a:cubicBezTo>
                    <a:pt x="5" y="0"/>
                    <a:pt x="0" y="3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2" name="Freeform 763"/>
            <p:cNvSpPr>
              <a:spLocks noChangeArrowheads="1"/>
            </p:cNvSpPr>
            <p:nvPr/>
          </p:nvSpPr>
          <p:spPr bwMode="auto">
            <a:xfrm>
              <a:off x="4189413" y="2830513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6 h 7"/>
                <a:gd name="T4" fmla="*/ 6 w 7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3" y="6"/>
                    <a:pt x="6" y="3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3" name="Freeform 764"/>
            <p:cNvSpPr>
              <a:spLocks noChangeArrowheads="1"/>
            </p:cNvSpPr>
            <p:nvPr/>
          </p:nvSpPr>
          <p:spPr bwMode="auto">
            <a:xfrm>
              <a:off x="4195763" y="2828925"/>
              <a:ext cx="3175" cy="3175"/>
            </a:xfrm>
            <a:custGeom>
              <a:avLst/>
              <a:gdLst>
                <a:gd name="T0" fmla="*/ 3 w 10"/>
                <a:gd name="T1" fmla="*/ 8 h 9"/>
                <a:gd name="T2" fmla="*/ 9 w 10"/>
                <a:gd name="T3" fmla="*/ 5 h 9"/>
                <a:gd name="T4" fmla="*/ 3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3" y="8"/>
                  </a:moveTo>
                  <a:cubicBezTo>
                    <a:pt x="6" y="8"/>
                    <a:pt x="6" y="8"/>
                    <a:pt x="9" y="5"/>
                  </a:cubicBezTo>
                  <a:cubicBezTo>
                    <a:pt x="6" y="0"/>
                    <a:pt x="0" y="5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4" name="Freeform 765"/>
            <p:cNvSpPr>
              <a:spLocks noChangeArrowheads="1"/>
            </p:cNvSpPr>
            <p:nvPr/>
          </p:nvSpPr>
          <p:spPr bwMode="auto">
            <a:xfrm>
              <a:off x="4187825" y="2820988"/>
              <a:ext cx="1588" cy="3175"/>
            </a:xfrm>
            <a:custGeom>
              <a:avLst/>
              <a:gdLst>
                <a:gd name="T0" fmla="*/ 3 w 6"/>
                <a:gd name="T1" fmla="*/ 6 h 7"/>
                <a:gd name="T2" fmla="*/ 3 w 6"/>
                <a:gd name="T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5" y="3"/>
                    <a:pt x="0" y="0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5" name="Freeform 766"/>
            <p:cNvSpPr>
              <a:spLocks noChangeArrowheads="1"/>
            </p:cNvSpPr>
            <p:nvPr/>
          </p:nvSpPr>
          <p:spPr bwMode="auto">
            <a:xfrm>
              <a:off x="4178300" y="2808288"/>
              <a:ext cx="3175" cy="1587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cubicBezTo>
                    <a:pt x="6" y="0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6" name="Freeform 767"/>
            <p:cNvSpPr>
              <a:spLocks noChangeArrowheads="1"/>
            </p:cNvSpPr>
            <p:nvPr/>
          </p:nvSpPr>
          <p:spPr bwMode="auto">
            <a:xfrm>
              <a:off x="4159250" y="2778125"/>
              <a:ext cx="3175" cy="1588"/>
            </a:xfrm>
            <a:custGeom>
              <a:avLst/>
              <a:gdLst>
                <a:gd name="T0" fmla="*/ 2 w 9"/>
                <a:gd name="T1" fmla="*/ 5 h 6"/>
                <a:gd name="T2" fmla="*/ 2 w 9"/>
                <a:gd name="T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6">
                  <a:moveTo>
                    <a:pt x="2" y="5"/>
                  </a:moveTo>
                  <a:cubicBezTo>
                    <a:pt x="8" y="2"/>
                    <a:pt x="0" y="0"/>
                    <a:pt x="2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7" name="Freeform 768"/>
            <p:cNvSpPr>
              <a:spLocks noChangeArrowheads="1"/>
            </p:cNvSpPr>
            <p:nvPr/>
          </p:nvSpPr>
          <p:spPr bwMode="auto">
            <a:xfrm>
              <a:off x="4186238" y="2811463"/>
              <a:ext cx="3175" cy="1587"/>
            </a:xfrm>
            <a:custGeom>
              <a:avLst/>
              <a:gdLst>
                <a:gd name="T0" fmla="*/ 3 w 9"/>
                <a:gd name="T1" fmla="*/ 3 h 4"/>
                <a:gd name="T2" fmla="*/ 3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cubicBezTo>
                    <a:pt x="8" y="0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8" name="Freeform 769"/>
            <p:cNvSpPr>
              <a:spLocks noChangeArrowheads="1"/>
            </p:cNvSpPr>
            <p:nvPr/>
          </p:nvSpPr>
          <p:spPr bwMode="auto">
            <a:xfrm>
              <a:off x="4187825" y="2808288"/>
              <a:ext cx="1588" cy="3175"/>
            </a:xfrm>
            <a:custGeom>
              <a:avLst/>
              <a:gdLst>
                <a:gd name="T0" fmla="*/ 3 w 6"/>
                <a:gd name="T1" fmla="*/ 0 h 7"/>
                <a:gd name="T2" fmla="*/ 0 w 6"/>
                <a:gd name="T3" fmla="*/ 6 h 7"/>
                <a:gd name="T4" fmla="*/ 3 w 6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3" y="3"/>
                    <a:pt x="5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9" name="Freeform 770"/>
            <p:cNvSpPr>
              <a:spLocks noChangeArrowheads="1"/>
            </p:cNvSpPr>
            <p:nvPr/>
          </p:nvSpPr>
          <p:spPr bwMode="auto">
            <a:xfrm>
              <a:off x="4187825" y="2754313"/>
              <a:ext cx="3175" cy="4762"/>
            </a:xfrm>
            <a:custGeom>
              <a:avLst/>
              <a:gdLst>
                <a:gd name="T0" fmla="*/ 3 w 9"/>
                <a:gd name="T1" fmla="*/ 11 h 12"/>
                <a:gd name="T2" fmla="*/ 3 w 9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3" y="11"/>
                  </a:moveTo>
                  <a:cubicBezTo>
                    <a:pt x="8" y="8"/>
                    <a:pt x="0" y="0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0" name="Freeform 771"/>
            <p:cNvSpPr>
              <a:spLocks noChangeArrowheads="1"/>
            </p:cNvSpPr>
            <p:nvPr/>
          </p:nvSpPr>
          <p:spPr bwMode="auto">
            <a:xfrm>
              <a:off x="4200525" y="2776538"/>
              <a:ext cx="1588" cy="3175"/>
            </a:xfrm>
            <a:custGeom>
              <a:avLst/>
              <a:gdLst>
                <a:gd name="T0" fmla="*/ 0 w 4"/>
                <a:gd name="T1" fmla="*/ 5 h 9"/>
                <a:gd name="T2" fmla="*/ 3 w 4"/>
                <a:gd name="T3" fmla="*/ 8 h 9"/>
                <a:gd name="T4" fmla="*/ 0 w 4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9">
                  <a:moveTo>
                    <a:pt x="0" y="5"/>
                  </a:moveTo>
                  <a:lnTo>
                    <a:pt x="3" y="8"/>
                  </a:lnTo>
                  <a:cubicBezTo>
                    <a:pt x="3" y="5"/>
                    <a:pt x="3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1" name="Freeform 772"/>
            <p:cNvSpPr>
              <a:spLocks noChangeArrowheads="1"/>
            </p:cNvSpPr>
            <p:nvPr/>
          </p:nvSpPr>
          <p:spPr bwMode="auto">
            <a:xfrm>
              <a:off x="4198938" y="2770188"/>
              <a:ext cx="1587" cy="4762"/>
            </a:xfrm>
            <a:custGeom>
              <a:avLst/>
              <a:gdLst>
                <a:gd name="T0" fmla="*/ 0 w 6"/>
                <a:gd name="T1" fmla="*/ 3 h 15"/>
                <a:gd name="T2" fmla="*/ 0 w 6"/>
                <a:gd name="T3" fmla="*/ 14 h 15"/>
                <a:gd name="T4" fmla="*/ 0 w 6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5">
                  <a:moveTo>
                    <a:pt x="0" y="3"/>
                  </a:moveTo>
                  <a:cubicBezTo>
                    <a:pt x="0" y="6"/>
                    <a:pt x="0" y="8"/>
                    <a:pt x="0" y="14"/>
                  </a:cubicBezTo>
                  <a:cubicBezTo>
                    <a:pt x="5" y="8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2" name="Freeform 773"/>
            <p:cNvSpPr>
              <a:spLocks noChangeArrowheads="1"/>
            </p:cNvSpPr>
            <p:nvPr/>
          </p:nvSpPr>
          <p:spPr bwMode="auto">
            <a:xfrm>
              <a:off x="4187825" y="2762250"/>
              <a:ext cx="3175" cy="3175"/>
            </a:xfrm>
            <a:custGeom>
              <a:avLst/>
              <a:gdLst>
                <a:gd name="T0" fmla="*/ 5 w 9"/>
                <a:gd name="T1" fmla="*/ 0 h 10"/>
                <a:gd name="T2" fmla="*/ 8 w 9"/>
                <a:gd name="T3" fmla="*/ 6 h 10"/>
                <a:gd name="T4" fmla="*/ 5 w 9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cubicBezTo>
                    <a:pt x="0" y="0"/>
                    <a:pt x="5" y="9"/>
                    <a:pt x="8" y="6"/>
                  </a:cubicBezTo>
                  <a:cubicBezTo>
                    <a:pt x="5" y="6"/>
                    <a:pt x="8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3" name="Freeform 774"/>
            <p:cNvSpPr>
              <a:spLocks noChangeArrowheads="1"/>
            </p:cNvSpPr>
            <p:nvPr/>
          </p:nvSpPr>
          <p:spPr bwMode="auto">
            <a:xfrm>
              <a:off x="4237038" y="2808288"/>
              <a:ext cx="3175" cy="3175"/>
            </a:xfrm>
            <a:custGeom>
              <a:avLst/>
              <a:gdLst>
                <a:gd name="T0" fmla="*/ 3 w 7"/>
                <a:gd name="T1" fmla="*/ 6 h 7"/>
                <a:gd name="T2" fmla="*/ 3 w 7"/>
                <a:gd name="T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7">
                  <a:moveTo>
                    <a:pt x="3" y="6"/>
                  </a:moveTo>
                  <a:cubicBezTo>
                    <a:pt x="6" y="3"/>
                    <a:pt x="0" y="0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4" name="Freeform 775"/>
            <p:cNvSpPr>
              <a:spLocks noChangeArrowheads="1"/>
            </p:cNvSpPr>
            <p:nvPr/>
          </p:nvSpPr>
          <p:spPr bwMode="auto">
            <a:xfrm>
              <a:off x="4210050" y="2779713"/>
              <a:ext cx="3175" cy="1587"/>
            </a:xfrm>
            <a:custGeom>
              <a:avLst/>
              <a:gdLst>
                <a:gd name="T0" fmla="*/ 2 w 9"/>
                <a:gd name="T1" fmla="*/ 3 h 4"/>
                <a:gd name="T2" fmla="*/ 2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2" y="3"/>
                  </a:moveTo>
                  <a:cubicBezTo>
                    <a:pt x="8" y="0"/>
                    <a:pt x="0" y="0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5" name="Freeform 776"/>
            <p:cNvSpPr>
              <a:spLocks noChangeArrowheads="1"/>
            </p:cNvSpPr>
            <p:nvPr/>
          </p:nvSpPr>
          <p:spPr bwMode="auto">
            <a:xfrm>
              <a:off x="4198938" y="2765425"/>
              <a:ext cx="1587" cy="1588"/>
            </a:xfrm>
            <a:custGeom>
              <a:avLst/>
              <a:gdLst>
                <a:gd name="T0" fmla="*/ 2 w 6"/>
                <a:gd name="T1" fmla="*/ 0 h 6"/>
                <a:gd name="T2" fmla="*/ 0 w 6"/>
                <a:gd name="T3" fmla="*/ 3 h 6"/>
                <a:gd name="T4" fmla="*/ 2 w 6"/>
                <a:gd name="T5" fmla="*/ 5 h 6"/>
                <a:gd name="T6" fmla="*/ 2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0" y="3"/>
                  </a:lnTo>
                  <a:lnTo>
                    <a:pt x="2" y="5"/>
                  </a:lnTo>
                  <a:cubicBezTo>
                    <a:pt x="2" y="3"/>
                    <a:pt x="5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6" name="Freeform 777"/>
            <p:cNvSpPr>
              <a:spLocks noChangeArrowheads="1"/>
            </p:cNvSpPr>
            <p:nvPr/>
          </p:nvSpPr>
          <p:spPr bwMode="auto">
            <a:xfrm>
              <a:off x="4205288" y="2795588"/>
              <a:ext cx="1587" cy="3175"/>
            </a:xfrm>
            <a:custGeom>
              <a:avLst/>
              <a:gdLst>
                <a:gd name="T0" fmla="*/ 2 w 6"/>
                <a:gd name="T1" fmla="*/ 6 h 7"/>
                <a:gd name="T2" fmla="*/ 2 w 6"/>
                <a:gd name="T3" fmla="*/ 0 h 7"/>
                <a:gd name="T4" fmla="*/ 2 w 6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2" y="6"/>
                  </a:moveTo>
                  <a:cubicBezTo>
                    <a:pt x="5" y="3"/>
                    <a:pt x="5" y="3"/>
                    <a:pt x="2" y="0"/>
                  </a:cubicBezTo>
                  <a:cubicBezTo>
                    <a:pt x="2" y="0"/>
                    <a:pt x="0" y="3"/>
                    <a:pt x="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7" name="Freeform 778"/>
            <p:cNvSpPr>
              <a:spLocks noChangeArrowheads="1"/>
            </p:cNvSpPr>
            <p:nvPr/>
          </p:nvSpPr>
          <p:spPr bwMode="auto">
            <a:xfrm>
              <a:off x="4160838" y="2816225"/>
              <a:ext cx="3175" cy="3175"/>
            </a:xfrm>
            <a:custGeom>
              <a:avLst/>
              <a:gdLst>
                <a:gd name="T0" fmla="*/ 0 w 7"/>
                <a:gd name="T1" fmla="*/ 5 h 9"/>
                <a:gd name="T2" fmla="*/ 0 w 7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9">
                  <a:moveTo>
                    <a:pt x="0" y="5"/>
                  </a:moveTo>
                  <a:cubicBezTo>
                    <a:pt x="6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8" name="Freeform 779"/>
            <p:cNvSpPr>
              <a:spLocks noChangeArrowheads="1"/>
            </p:cNvSpPr>
            <p:nvPr/>
          </p:nvSpPr>
          <p:spPr bwMode="auto">
            <a:xfrm>
              <a:off x="4173538" y="2835275"/>
              <a:ext cx="3175" cy="1588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cubicBezTo>
                    <a:pt x="6" y="0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9" name="Freeform 780"/>
            <p:cNvSpPr>
              <a:spLocks noChangeArrowheads="1"/>
            </p:cNvSpPr>
            <p:nvPr/>
          </p:nvSpPr>
          <p:spPr bwMode="auto">
            <a:xfrm>
              <a:off x="4170363" y="2822575"/>
              <a:ext cx="1587" cy="4763"/>
            </a:xfrm>
            <a:custGeom>
              <a:avLst/>
              <a:gdLst>
                <a:gd name="T0" fmla="*/ 0 w 4"/>
                <a:gd name="T1" fmla="*/ 5 h 12"/>
                <a:gd name="T2" fmla="*/ 0 w 4"/>
                <a:gd name="T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2">
                  <a:moveTo>
                    <a:pt x="0" y="5"/>
                  </a:moveTo>
                  <a:cubicBezTo>
                    <a:pt x="0" y="11"/>
                    <a:pt x="3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0" name="Freeform 781"/>
            <p:cNvSpPr>
              <a:spLocks noChangeArrowheads="1"/>
            </p:cNvSpPr>
            <p:nvPr/>
          </p:nvSpPr>
          <p:spPr bwMode="auto">
            <a:xfrm>
              <a:off x="4152900" y="2801938"/>
              <a:ext cx="1588" cy="3175"/>
            </a:xfrm>
            <a:custGeom>
              <a:avLst/>
              <a:gdLst>
                <a:gd name="T0" fmla="*/ 0 w 6"/>
                <a:gd name="T1" fmla="*/ 0 h 10"/>
                <a:gd name="T2" fmla="*/ 3 w 6"/>
                <a:gd name="T3" fmla="*/ 9 h 10"/>
                <a:gd name="T4" fmla="*/ 5 w 6"/>
                <a:gd name="T5" fmla="*/ 3 h 10"/>
                <a:gd name="T6" fmla="*/ 0 w 6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0" y="0"/>
                  </a:moveTo>
                  <a:cubicBezTo>
                    <a:pt x="0" y="3"/>
                    <a:pt x="0" y="6"/>
                    <a:pt x="3" y="9"/>
                  </a:cubicBezTo>
                  <a:cubicBezTo>
                    <a:pt x="5" y="9"/>
                    <a:pt x="5" y="6"/>
                    <a:pt x="5" y="3"/>
                  </a:cubicBez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1" name="Freeform 782"/>
            <p:cNvSpPr>
              <a:spLocks noChangeArrowheads="1"/>
            </p:cNvSpPr>
            <p:nvPr/>
          </p:nvSpPr>
          <p:spPr bwMode="auto">
            <a:xfrm>
              <a:off x="4179888" y="2841625"/>
              <a:ext cx="3175" cy="1588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cubicBezTo>
                    <a:pt x="6" y="0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2" name="Freeform 783"/>
            <p:cNvSpPr>
              <a:spLocks noChangeArrowheads="1"/>
            </p:cNvSpPr>
            <p:nvPr/>
          </p:nvSpPr>
          <p:spPr bwMode="auto">
            <a:xfrm>
              <a:off x="4210050" y="2816225"/>
              <a:ext cx="3175" cy="1588"/>
            </a:xfrm>
            <a:custGeom>
              <a:avLst/>
              <a:gdLst>
                <a:gd name="T0" fmla="*/ 2 w 9"/>
                <a:gd name="T1" fmla="*/ 2 h 3"/>
                <a:gd name="T2" fmla="*/ 2 w 9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3">
                  <a:moveTo>
                    <a:pt x="2" y="2"/>
                  </a:moveTo>
                  <a:cubicBezTo>
                    <a:pt x="8" y="0"/>
                    <a:pt x="0" y="0"/>
                    <a:pt x="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3" name="Freeform 784"/>
            <p:cNvSpPr>
              <a:spLocks noChangeArrowheads="1"/>
            </p:cNvSpPr>
            <p:nvPr/>
          </p:nvSpPr>
          <p:spPr bwMode="auto">
            <a:xfrm>
              <a:off x="4217988" y="2830513"/>
              <a:ext cx="3175" cy="1587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3 h 4"/>
                <a:gd name="T4" fmla="*/ 6 w 7"/>
                <a:gd name="T5" fmla="*/ 3 h 4"/>
                <a:gd name="T6" fmla="*/ 0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lnTo>
                    <a:pt x="0" y="3"/>
                  </a:lnTo>
                  <a:lnTo>
                    <a:pt x="6" y="3"/>
                  </a:lnTo>
                  <a:cubicBezTo>
                    <a:pt x="3" y="0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4" name="Freeform 785"/>
            <p:cNvSpPr>
              <a:spLocks noChangeArrowheads="1"/>
            </p:cNvSpPr>
            <p:nvPr/>
          </p:nvSpPr>
          <p:spPr bwMode="auto">
            <a:xfrm>
              <a:off x="4206875" y="2816225"/>
              <a:ext cx="3175" cy="1588"/>
            </a:xfrm>
            <a:custGeom>
              <a:avLst/>
              <a:gdLst>
                <a:gd name="T0" fmla="*/ 3 w 7"/>
                <a:gd name="T1" fmla="*/ 0 h 6"/>
                <a:gd name="T2" fmla="*/ 0 w 7"/>
                <a:gd name="T3" fmla="*/ 5 h 6"/>
                <a:gd name="T4" fmla="*/ 3 w 7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cubicBezTo>
                    <a:pt x="0" y="0"/>
                    <a:pt x="0" y="2"/>
                    <a:pt x="0" y="5"/>
                  </a:cubicBezTo>
                  <a:cubicBezTo>
                    <a:pt x="3" y="5"/>
                    <a:pt x="6" y="2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5" name="Freeform 786"/>
            <p:cNvSpPr>
              <a:spLocks noChangeArrowheads="1"/>
            </p:cNvSpPr>
            <p:nvPr/>
          </p:nvSpPr>
          <p:spPr bwMode="auto">
            <a:xfrm>
              <a:off x="4213225" y="2825750"/>
              <a:ext cx="3175" cy="3175"/>
            </a:xfrm>
            <a:custGeom>
              <a:avLst/>
              <a:gdLst>
                <a:gd name="T0" fmla="*/ 3 w 10"/>
                <a:gd name="T1" fmla="*/ 6 h 7"/>
                <a:gd name="T2" fmla="*/ 3 w 10"/>
                <a:gd name="T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7">
                  <a:moveTo>
                    <a:pt x="3" y="6"/>
                  </a:moveTo>
                  <a:cubicBezTo>
                    <a:pt x="9" y="3"/>
                    <a:pt x="0" y="0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6" name="Freeform 787"/>
            <p:cNvSpPr>
              <a:spLocks noChangeArrowheads="1"/>
            </p:cNvSpPr>
            <p:nvPr/>
          </p:nvSpPr>
          <p:spPr bwMode="auto">
            <a:xfrm>
              <a:off x="4156075" y="2805113"/>
              <a:ext cx="3175" cy="1587"/>
            </a:xfrm>
            <a:custGeom>
              <a:avLst/>
              <a:gdLst>
                <a:gd name="T0" fmla="*/ 3 w 7"/>
                <a:gd name="T1" fmla="*/ 5 h 6"/>
                <a:gd name="T2" fmla="*/ 3 w 7"/>
                <a:gd name="T3" fmla="*/ 0 h 6"/>
                <a:gd name="T4" fmla="*/ 3 w 7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3" y="5"/>
                  </a:moveTo>
                  <a:cubicBezTo>
                    <a:pt x="6" y="5"/>
                    <a:pt x="6" y="3"/>
                    <a:pt x="3" y="0"/>
                  </a:cubicBezTo>
                  <a:cubicBezTo>
                    <a:pt x="3" y="3"/>
                    <a:pt x="0" y="5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7" name="Freeform 788"/>
            <p:cNvSpPr>
              <a:spLocks noChangeArrowheads="1"/>
            </p:cNvSpPr>
            <p:nvPr/>
          </p:nvSpPr>
          <p:spPr bwMode="auto">
            <a:xfrm>
              <a:off x="4206875" y="2813050"/>
              <a:ext cx="3175" cy="3175"/>
            </a:xfrm>
            <a:custGeom>
              <a:avLst/>
              <a:gdLst>
                <a:gd name="T0" fmla="*/ 3 w 7"/>
                <a:gd name="T1" fmla="*/ 0 h 7"/>
                <a:gd name="T2" fmla="*/ 3 w 7"/>
                <a:gd name="T3" fmla="*/ 6 h 7"/>
                <a:gd name="T4" fmla="*/ 3 w 7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3" y="0"/>
                  </a:moveTo>
                  <a:cubicBezTo>
                    <a:pt x="0" y="0"/>
                    <a:pt x="0" y="3"/>
                    <a:pt x="3" y="6"/>
                  </a:cubicBezTo>
                  <a:cubicBezTo>
                    <a:pt x="3" y="3"/>
                    <a:pt x="6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8" name="Freeform 789"/>
            <p:cNvSpPr>
              <a:spLocks noChangeArrowheads="1"/>
            </p:cNvSpPr>
            <p:nvPr/>
          </p:nvSpPr>
          <p:spPr bwMode="auto">
            <a:xfrm>
              <a:off x="4137025" y="2832100"/>
              <a:ext cx="3175" cy="3175"/>
            </a:xfrm>
            <a:custGeom>
              <a:avLst/>
              <a:gdLst>
                <a:gd name="T0" fmla="*/ 5 w 9"/>
                <a:gd name="T1" fmla="*/ 6 h 7"/>
                <a:gd name="T2" fmla="*/ 5 w 9"/>
                <a:gd name="T3" fmla="*/ 0 h 7"/>
                <a:gd name="T4" fmla="*/ 5 w 9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5" y="6"/>
                  </a:moveTo>
                  <a:cubicBezTo>
                    <a:pt x="5" y="3"/>
                    <a:pt x="8" y="3"/>
                    <a:pt x="5" y="0"/>
                  </a:cubicBezTo>
                  <a:cubicBezTo>
                    <a:pt x="0" y="0"/>
                    <a:pt x="0" y="6"/>
                    <a:pt x="5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9" name="Freeform 790"/>
            <p:cNvSpPr>
              <a:spLocks noChangeArrowheads="1"/>
            </p:cNvSpPr>
            <p:nvPr/>
          </p:nvSpPr>
          <p:spPr bwMode="auto">
            <a:xfrm>
              <a:off x="4230688" y="2794000"/>
              <a:ext cx="3175" cy="1588"/>
            </a:xfrm>
            <a:custGeom>
              <a:avLst/>
              <a:gdLst>
                <a:gd name="T0" fmla="*/ 3 w 10"/>
                <a:gd name="T1" fmla="*/ 5 h 6"/>
                <a:gd name="T2" fmla="*/ 3 w 10"/>
                <a:gd name="T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6">
                  <a:moveTo>
                    <a:pt x="3" y="5"/>
                  </a:moveTo>
                  <a:cubicBezTo>
                    <a:pt x="9" y="2"/>
                    <a:pt x="0" y="0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0" name="Freeform 791"/>
            <p:cNvSpPr>
              <a:spLocks noChangeArrowheads="1"/>
            </p:cNvSpPr>
            <p:nvPr/>
          </p:nvSpPr>
          <p:spPr bwMode="auto">
            <a:xfrm>
              <a:off x="4214813" y="2776538"/>
              <a:ext cx="1587" cy="4762"/>
            </a:xfrm>
            <a:custGeom>
              <a:avLst/>
              <a:gdLst>
                <a:gd name="T0" fmla="*/ 3 w 6"/>
                <a:gd name="T1" fmla="*/ 3 h 12"/>
                <a:gd name="T2" fmla="*/ 3 w 6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2">
                  <a:moveTo>
                    <a:pt x="3" y="3"/>
                  </a:moveTo>
                  <a:cubicBezTo>
                    <a:pt x="0" y="0"/>
                    <a:pt x="5" y="11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1" name="Freeform 792"/>
            <p:cNvSpPr>
              <a:spLocks noChangeArrowheads="1"/>
            </p:cNvSpPr>
            <p:nvPr/>
          </p:nvSpPr>
          <p:spPr bwMode="auto">
            <a:xfrm>
              <a:off x="4203700" y="2754313"/>
              <a:ext cx="3175" cy="1587"/>
            </a:xfrm>
            <a:custGeom>
              <a:avLst/>
              <a:gdLst>
                <a:gd name="T0" fmla="*/ 3 w 9"/>
                <a:gd name="T1" fmla="*/ 3 h 4"/>
                <a:gd name="T2" fmla="*/ 3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cubicBezTo>
                    <a:pt x="8" y="0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2" name="Freeform 793"/>
            <p:cNvSpPr>
              <a:spLocks noChangeArrowheads="1"/>
            </p:cNvSpPr>
            <p:nvPr/>
          </p:nvSpPr>
          <p:spPr bwMode="auto">
            <a:xfrm>
              <a:off x="4203700" y="2757488"/>
              <a:ext cx="1588" cy="3175"/>
            </a:xfrm>
            <a:custGeom>
              <a:avLst/>
              <a:gdLst>
                <a:gd name="T0" fmla="*/ 5 w 6"/>
                <a:gd name="T1" fmla="*/ 0 h 10"/>
                <a:gd name="T2" fmla="*/ 0 w 6"/>
                <a:gd name="T3" fmla="*/ 3 h 10"/>
                <a:gd name="T4" fmla="*/ 5 w 6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0">
                  <a:moveTo>
                    <a:pt x="5" y="0"/>
                  </a:moveTo>
                  <a:cubicBezTo>
                    <a:pt x="3" y="0"/>
                    <a:pt x="0" y="3"/>
                    <a:pt x="0" y="3"/>
                  </a:cubicBezTo>
                  <a:cubicBezTo>
                    <a:pt x="0" y="9"/>
                    <a:pt x="5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3" name="Freeform 794"/>
            <p:cNvSpPr>
              <a:spLocks noChangeArrowheads="1"/>
            </p:cNvSpPr>
            <p:nvPr/>
          </p:nvSpPr>
          <p:spPr bwMode="auto">
            <a:xfrm>
              <a:off x="4189413" y="2767013"/>
              <a:ext cx="3175" cy="4762"/>
            </a:xfrm>
            <a:custGeom>
              <a:avLst/>
              <a:gdLst>
                <a:gd name="T0" fmla="*/ 3 w 7"/>
                <a:gd name="T1" fmla="*/ 3 h 13"/>
                <a:gd name="T2" fmla="*/ 3 w 7"/>
                <a:gd name="T3" fmla="*/ 9 h 13"/>
                <a:gd name="T4" fmla="*/ 3 w 7"/>
                <a:gd name="T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3" y="3"/>
                  </a:moveTo>
                  <a:cubicBezTo>
                    <a:pt x="6" y="6"/>
                    <a:pt x="0" y="6"/>
                    <a:pt x="3" y="9"/>
                  </a:cubicBezTo>
                  <a:cubicBezTo>
                    <a:pt x="6" y="12"/>
                    <a:pt x="6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4" name="Freeform 795"/>
            <p:cNvSpPr>
              <a:spLocks noChangeArrowheads="1"/>
            </p:cNvSpPr>
            <p:nvPr/>
          </p:nvSpPr>
          <p:spPr bwMode="auto">
            <a:xfrm>
              <a:off x="4198938" y="2779713"/>
              <a:ext cx="3175" cy="1587"/>
            </a:xfrm>
            <a:custGeom>
              <a:avLst/>
              <a:gdLst>
                <a:gd name="T0" fmla="*/ 3 w 9"/>
                <a:gd name="T1" fmla="*/ 3 h 4"/>
                <a:gd name="T2" fmla="*/ 3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cubicBezTo>
                    <a:pt x="8" y="0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5" name="Freeform 796"/>
            <p:cNvSpPr>
              <a:spLocks noChangeArrowheads="1"/>
            </p:cNvSpPr>
            <p:nvPr/>
          </p:nvSpPr>
          <p:spPr bwMode="auto">
            <a:xfrm>
              <a:off x="4198938" y="2743200"/>
              <a:ext cx="3175" cy="1588"/>
            </a:xfrm>
            <a:custGeom>
              <a:avLst/>
              <a:gdLst>
                <a:gd name="T0" fmla="*/ 3 w 9"/>
                <a:gd name="T1" fmla="*/ 2 h 3"/>
                <a:gd name="T2" fmla="*/ 3 w 9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3">
                  <a:moveTo>
                    <a:pt x="3" y="2"/>
                  </a:moveTo>
                  <a:cubicBezTo>
                    <a:pt x="8" y="0"/>
                    <a:pt x="0" y="0"/>
                    <a:pt x="3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6" name="Freeform 797"/>
            <p:cNvSpPr>
              <a:spLocks noChangeArrowheads="1"/>
            </p:cNvSpPr>
            <p:nvPr/>
          </p:nvSpPr>
          <p:spPr bwMode="auto">
            <a:xfrm>
              <a:off x="4249738" y="2797175"/>
              <a:ext cx="3175" cy="3175"/>
            </a:xfrm>
            <a:custGeom>
              <a:avLst/>
              <a:gdLst>
                <a:gd name="T0" fmla="*/ 5 w 9"/>
                <a:gd name="T1" fmla="*/ 0 h 10"/>
                <a:gd name="T2" fmla="*/ 0 w 9"/>
                <a:gd name="T3" fmla="*/ 6 h 10"/>
                <a:gd name="T4" fmla="*/ 2 w 9"/>
                <a:gd name="T5" fmla="*/ 9 h 10"/>
                <a:gd name="T6" fmla="*/ 5 w 9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lnTo>
                    <a:pt x="0" y="6"/>
                  </a:lnTo>
                  <a:lnTo>
                    <a:pt x="2" y="9"/>
                  </a:lnTo>
                  <a:cubicBezTo>
                    <a:pt x="2" y="3"/>
                    <a:pt x="8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7" name="Freeform 798"/>
            <p:cNvSpPr>
              <a:spLocks noChangeArrowheads="1"/>
            </p:cNvSpPr>
            <p:nvPr/>
          </p:nvSpPr>
          <p:spPr bwMode="auto">
            <a:xfrm>
              <a:off x="4233863" y="2806700"/>
              <a:ext cx="1587" cy="3175"/>
            </a:xfrm>
            <a:custGeom>
              <a:avLst/>
              <a:gdLst>
                <a:gd name="T0" fmla="*/ 5 w 6"/>
                <a:gd name="T1" fmla="*/ 9 h 10"/>
                <a:gd name="T2" fmla="*/ 2 w 6"/>
                <a:gd name="T3" fmla="*/ 6 h 10"/>
                <a:gd name="T4" fmla="*/ 2 w 6"/>
                <a:gd name="T5" fmla="*/ 3 h 10"/>
                <a:gd name="T6" fmla="*/ 0 w 6"/>
                <a:gd name="T7" fmla="*/ 6 h 10"/>
                <a:gd name="T8" fmla="*/ 5 w 6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5" y="9"/>
                  </a:moveTo>
                  <a:lnTo>
                    <a:pt x="2" y="6"/>
                  </a:lnTo>
                  <a:cubicBezTo>
                    <a:pt x="5" y="6"/>
                    <a:pt x="5" y="0"/>
                    <a:pt x="2" y="3"/>
                  </a:cubicBezTo>
                  <a:cubicBezTo>
                    <a:pt x="2" y="3"/>
                    <a:pt x="2" y="6"/>
                    <a:pt x="0" y="6"/>
                  </a:cubicBezTo>
                  <a:cubicBezTo>
                    <a:pt x="2" y="6"/>
                    <a:pt x="2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8" name="Freeform 799"/>
            <p:cNvSpPr>
              <a:spLocks noChangeArrowheads="1"/>
            </p:cNvSpPr>
            <p:nvPr/>
          </p:nvSpPr>
          <p:spPr bwMode="auto">
            <a:xfrm>
              <a:off x="4144963" y="2825750"/>
              <a:ext cx="3175" cy="1588"/>
            </a:xfrm>
            <a:custGeom>
              <a:avLst/>
              <a:gdLst>
                <a:gd name="T0" fmla="*/ 3 w 9"/>
                <a:gd name="T1" fmla="*/ 3 h 4"/>
                <a:gd name="T2" fmla="*/ 3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cubicBezTo>
                    <a:pt x="8" y="0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9" name="Freeform 800"/>
            <p:cNvSpPr>
              <a:spLocks noChangeArrowheads="1"/>
            </p:cNvSpPr>
            <p:nvPr/>
          </p:nvSpPr>
          <p:spPr bwMode="auto">
            <a:xfrm>
              <a:off x="4137025" y="2840038"/>
              <a:ext cx="3175" cy="1587"/>
            </a:xfrm>
            <a:custGeom>
              <a:avLst/>
              <a:gdLst>
                <a:gd name="T0" fmla="*/ 2 w 9"/>
                <a:gd name="T1" fmla="*/ 2 h 3"/>
                <a:gd name="T2" fmla="*/ 2 w 9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3">
                  <a:moveTo>
                    <a:pt x="2" y="2"/>
                  </a:moveTo>
                  <a:cubicBezTo>
                    <a:pt x="8" y="0"/>
                    <a:pt x="0" y="0"/>
                    <a:pt x="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0" name="Freeform 801"/>
            <p:cNvSpPr>
              <a:spLocks noChangeArrowheads="1"/>
            </p:cNvSpPr>
            <p:nvPr/>
          </p:nvSpPr>
          <p:spPr bwMode="auto">
            <a:xfrm>
              <a:off x="4157663" y="2841625"/>
              <a:ext cx="1587" cy="3175"/>
            </a:xfrm>
            <a:custGeom>
              <a:avLst/>
              <a:gdLst>
                <a:gd name="T0" fmla="*/ 0 w 4"/>
                <a:gd name="T1" fmla="*/ 3 h 7"/>
                <a:gd name="T2" fmla="*/ 3 w 4"/>
                <a:gd name="T3" fmla="*/ 6 h 7"/>
                <a:gd name="T4" fmla="*/ 0 w 4"/>
                <a:gd name="T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0" y="3"/>
                  </a:moveTo>
                  <a:lnTo>
                    <a:pt x="3" y="6"/>
                  </a:lnTo>
                  <a:cubicBezTo>
                    <a:pt x="3" y="3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1" name="Freeform 802"/>
            <p:cNvSpPr>
              <a:spLocks noChangeArrowheads="1"/>
            </p:cNvSpPr>
            <p:nvPr/>
          </p:nvSpPr>
          <p:spPr bwMode="auto">
            <a:xfrm>
              <a:off x="4214813" y="2760663"/>
              <a:ext cx="4762" cy="4762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5 h 12"/>
                <a:gd name="T4" fmla="*/ 6 w 12"/>
                <a:gd name="T5" fmla="*/ 11 h 12"/>
                <a:gd name="T6" fmla="*/ 11 w 12"/>
                <a:gd name="T7" fmla="*/ 5 h 12"/>
                <a:gd name="T8" fmla="*/ 6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0" y="5"/>
                  </a:lnTo>
                  <a:lnTo>
                    <a:pt x="6" y="11"/>
                  </a:lnTo>
                  <a:lnTo>
                    <a:pt x="11" y="5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2" name="Freeform 803"/>
            <p:cNvSpPr>
              <a:spLocks noChangeArrowheads="1"/>
            </p:cNvSpPr>
            <p:nvPr/>
          </p:nvSpPr>
          <p:spPr bwMode="auto">
            <a:xfrm>
              <a:off x="4198938" y="2751138"/>
              <a:ext cx="4762" cy="4762"/>
            </a:xfrm>
            <a:custGeom>
              <a:avLst/>
              <a:gdLst>
                <a:gd name="T0" fmla="*/ 0 w 15"/>
                <a:gd name="T1" fmla="*/ 3 h 13"/>
                <a:gd name="T2" fmla="*/ 14 w 15"/>
                <a:gd name="T3" fmla="*/ 9 h 13"/>
                <a:gd name="T4" fmla="*/ 0 w 15"/>
                <a:gd name="T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0" y="3"/>
                  </a:moveTo>
                  <a:cubicBezTo>
                    <a:pt x="5" y="6"/>
                    <a:pt x="11" y="12"/>
                    <a:pt x="14" y="9"/>
                  </a:cubicBezTo>
                  <a:cubicBezTo>
                    <a:pt x="8" y="6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3" name="Freeform 804"/>
            <p:cNvSpPr>
              <a:spLocks noChangeArrowheads="1"/>
            </p:cNvSpPr>
            <p:nvPr/>
          </p:nvSpPr>
          <p:spPr bwMode="auto">
            <a:xfrm>
              <a:off x="4203700" y="2752725"/>
              <a:ext cx="3175" cy="7938"/>
            </a:xfrm>
            <a:custGeom>
              <a:avLst/>
              <a:gdLst>
                <a:gd name="T0" fmla="*/ 0 w 9"/>
                <a:gd name="T1" fmla="*/ 8 h 21"/>
                <a:gd name="T2" fmla="*/ 0 w 9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8"/>
                  </a:moveTo>
                  <a:cubicBezTo>
                    <a:pt x="8" y="20"/>
                    <a:pt x="8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4" name="Freeform 805"/>
            <p:cNvSpPr>
              <a:spLocks noChangeArrowheads="1"/>
            </p:cNvSpPr>
            <p:nvPr/>
          </p:nvSpPr>
          <p:spPr bwMode="auto">
            <a:xfrm>
              <a:off x="4240213" y="2794000"/>
              <a:ext cx="3175" cy="7938"/>
            </a:xfrm>
            <a:custGeom>
              <a:avLst/>
              <a:gdLst>
                <a:gd name="T0" fmla="*/ 0 w 10"/>
                <a:gd name="T1" fmla="*/ 8 h 20"/>
                <a:gd name="T2" fmla="*/ 0 w 10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0">
                  <a:moveTo>
                    <a:pt x="0" y="8"/>
                  </a:moveTo>
                  <a:cubicBezTo>
                    <a:pt x="9" y="19"/>
                    <a:pt x="9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5" name="Freeform 806"/>
            <p:cNvSpPr>
              <a:spLocks noChangeArrowheads="1"/>
            </p:cNvSpPr>
            <p:nvPr/>
          </p:nvSpPr>
          <p:spPr bwMode="auto">
            <a:xfrm>
              <a:off x="4235450" y="2800350"/>
              <a:ext cx="4763" cy="4763"/>
            </a:xfrm>
            <a:custGeom>
              <a:avLst/>
              <a:gdLst>
                <a:gd name="T0" fmla="*/ 0 w 12"/>
                <a:gd name="T1" fmla="*/ 11 h 12"/>
                <a:gd name="T2" fmla="*/ 6 w 12"/>
                <a:gd name="T3" fmla="*/ 8 h 12"/>
                <a:gd name="T4" fmla="*/ 0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0" y="11"/>
                  </a:moveTo>
                  <a:cubicBezTo>
                    <a:pt x="0" y="11"/>
                    <a:pt x="3" y="8"/>
                    <a:pt x="6" y="8"/>
                  </a:cubicBezTo>
                  <a:cubicBezTo>
                    <a:pt x="11" y="0"/>
                    <a:pt x="3" y="8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6" name="Freeform 807"/>
            <p:cNvSpPr>
              <a:spLocks noChangeArrowheads="1"/>
            </p:cNvSpPr>
            <p:nvPr/>
          </p:nvSpPr>
          <p:spPr bwMode="auto">
            <a:xfrm>
              <a:off x="4216400" y="2789238"/>
              <a:ext cx="6350" cy="7937"/>
            </a:xfrm>
            <a:custGeom>
              <a:avLst/>
              <a:gdLst>
                <a:gd name="T0" fmla="*/ 0 w 17"/>
                <a:gd name="T1" fmla="*/ 3 h 20"/>
                <a:gd name="T2" fmla="*/ 0 w 17"/>
                <a:gd name="T3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20">
                  <a:moveTo>
                    <a:pt x="0" y="3"/>
                  </a:moveTo>
                  <a:cubicBezTo>
                    <a:pt x="2" y="19"/>
                    <a:pt x="1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7" name="Freeform 808"/>
            <p:cNvSpPr>
              <a:spLocks noChangeArrowheads="1"/>
            </p:cNvSpPr>
            <p:nvPr/>
          </p:nvSpPr>
          <p:spPr bwMode="auto">
            <a:xfrm>
              <a:off x="4225925" y="2794000"/>
              <a:ext cx="4763" cy="6350"/>
            </a:xfrm>
            <a:custGeom>
              <a:avLst/>
              <a:gdLst>
                <a:gd name="T0" fmla="*/ 0 w 15"/>
                <a:gd name="T1" fmla="*/ 5 h 18"/>
                <a:gd name="T2" fmla="*/ 0 w 15"/>
                <a:gd name="T3" fmla="*/ 11 h 18"/>
                <a:gd name="T4" fmla="*/ 6 w 15"/>
                <a:gd name="T5" fmla="*/ 17 h 18"/>
                <a:gd name="T6" fmla="*/ 0 w 15"/>
                <a:gd name="T7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8">
                  <a:moveTo>
                    <a:pt x="0" y="5"/>
                  </a:moveTo>
                  <a:cubicBezTo>
                    <a:pt x="3" y="8"/>
                    <a:pt x="3" y="8"/>
                    <a:pt x="0" y="11"/>
                  </a:cubicBezTo>
                  <a:lnTo>
                    <a:pt x="6" y="17"/>
                  </a:lnTo>
                  <a:cubicBezTo>
                    <a:pt x="14" y="14"/>
                    <a:pt x="3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8" name="Freeform 809"/>
            <p:cNvSpPr>
              <a:spLocks noChangeArrowheads="1"/>
            </p:cNvSpPr>
            <p:nvPr/>
          </p:nvSpPr>
          <p:spPr bwMode="auto">
            <a:xfrm>
              <a:off x="4237038" y="2808288"/>
              <a:ext cx="4762" cy="7937"/>
            </a:xfrm>
            <a:custGeom>
              <a:avLst/>
              <a:gdLst>
                <a:gd name="T0" fmla="*/ 0 w 12"/>
                <a:gd name="T1" fmla="*/ 9 h 21"/>
                <a:gd name="T2" fmla="*/ 0 w 12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1">
                  <a:moveTo>
                    <a:pt x="0" y="9"/>
                  </a:moveTo>
                  <a:cubicBezTo>
                    <a:pt x="11" y="20"/>
                    <a:pt x="8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9" name="Freeform 810"/>
            <p:cNvSpPr>
              <a:spLocks noChangeArrowheads="1"/>
            </p:cNvSpPr>
            <p:nvPr/>
          </p:nvSpPr>
          <p:spPr bwMode="auto">
            <a:xfrm>
              <a:off x="4211638" y="2789238"/>
              <a:ext cx="7937" cy="3175"/>
            </a:xfrm>
            <a:custGeom>
              <a:avLst/>
              <a:gdLst>
                <a:gd name="T0" fmla="*/ 3 w 21"/>
                <a:gd name="T1" fmla="*/ 5 h 9"/>
                <a:gd name="T2" fmla="*/ 3 w 21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9">
                  <a:moveTo>
                    <a:pt x="3" y="5"/>
                  </a:moveTo>
                  <a:cubicBezTo>
                    <a:pt x="0" y="8"/>
                    <a:pt x="20" y="0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0" name="Freeform 811"/>
            <p:cNvSpPr>
              <a:spLocks noChangeArrowheads="1"/>
            </p:cNvSpPr>
            <p:nvPr/>
          </p:nvSpPr>
          <p:spPr bwMode="auto">
            <a:xfrm>
              <a:off x="4159250" y="2746375"/>
              <a:ext cx="4763" cy="7938"/>
            </a:xfrm>
            <a:custGeom>
              <a:avLst/>
              <a:gdLst>
                <a:gd name="T0" fmla="*/ 0 w 15"/>
                <a:gd name="T1" fmla="*/ 6 h 24"/>
                <a:gd name="T2" fmla="*/ 0 w 15"/>
                <a:gd name="T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0" y="6"/>
                  </a:moveTo>
                  <a:cubicBezTo>
                    <a:pt x="0" y="23"/>
                    <a:pt x="14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1" name="Freeform 812"/>
            <p:cNvSpPr>
              <a:spLocks noChangeArrowheads="1"/>
            </p:cNvSpPr>
            <p:nvPr/>
          </p:nvSpPr>
          <p:spPr bwMode="auto">
            <a:xfrm>
              <a:off x="4198938" y="2779713"/>
              <a:ext cx="6350" cy="7937"/>
            </a:xfrm>
            <a:custGeom>
              <a:avLst/>
              <a:gdLst>
                <a:gd name="T0" fmla="*/ 5 w 18"/>
                <a:gd name="T1" fmla="*/ 0 h 21"/>
                <a:gd name="T2" fmla="*/ 0 w 18"/>
                <a:gd name="T3" fmla="*/ 9 h 21"/>
                <a:gd name="T4" fmla="*/ 5 w 18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5" y="0"/>
                  </a:moveTo>
                  <a:lnTo>
                    <a:pt x="0" y="9"/>
                  </a:lnTo>
                  <a:cubicBezTo>
                    <a:pt x="3" y="20"/>
                    <a:pt x="17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2" name="Freeform 813"/>
            <p:cNvSpPr>
              <a:spLocks noChangeArrowheads="1"/>
            </p:cNvSpPr>
            <p:nvPr/>
          </p:nvSpPr>
          <p:spPr bwMode="auto">
            <a:xfrm>
              <a:off x="4211638" y="2797175"/>
              <a:ext cx="7937" cy="11113"/>
            </a:xfrm>
            <a:custGeom>
              <a:avLst/>
              <a:gdLst>
                <a:gd name="T0" fmla="*/ 20 w 21"/>
                <a:gd name="T1" fmla="*/ 12 h 29"/>
                <a:gd name="T2" fmla="*/ 20 w 21"/>
                <a:gd name="T3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29">
                  <a:moveTo>
                    <a:pt x="20" y="12"/>
                  </a:moveTo>
                  <a:cubicBezTo>
                    <a:pt x="0" y="0"/>
                    <a:pt x="3" y="28"/>
                    <a:pt x="2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3" name="Freeform 814"/>
            <p:cNvSpPr>
              <a:spLocks noChangeArrowheads="1"/>
            </p:cNvSpPr>
            <p:nvPr/>
          </p:nvSpPr>
          <p:spPr bwMode="auto">
            <a:xfrm>
              <a:off x="4237038" y="2813050"/>
              <a:ext cx="3175" cy="7938"/>
            </a:xfrm>
            <a:custGeom>
              <a:avLst/>
              <a:gdLst>
                <a:gd name="T0" fmla="*/ 0 w 9"/>
                <a:gd name="T1" fmla="*/ 9 h 21"/>
                <a:gd name="T2" fmla="*/ 0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9"/>
                  </a:moveTo>
                  <a:cubicBezTo>
                    <a:pt x="8" y="20"/>
                    <a:pt x="8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4" name="Freeform 815"/>
            <p:cNvSpPr>
              <a:spLocks noChangeArrowheads="1"/>
            </p:cNvSpPr>
            <p:nvPr/>
          </p:nvSpPr>
          <p:spPr bwMode="auto">
            <a:xfrm>
              <a:off x="4165600" y="2757488"/>
              <a:ext cx="3175" cy="7937"/>
            </a:xfrm>
            <a:custGeom>
              <a:avLst/>
              <a:gdLst>
                <a:gd name="T0" fmla="*/ 0 w 9"/>
                <a:gd name="T1" fmla="*/ 9 h 21"/>
                <a:gd name="T2" fmla="*/ 0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9"/>
                  </a:moveTo>
                  <a:cubicBezTo>
                    <a:pt x="8" y="20"/>
                    <a:pt x="8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5" name="Freeform 816"/>
            <p:cNvSpPr>
              <a:spLocks noChangeArrowheads="1"/>
            </p:cNvSpPr>
            <p:nvPr/>
          </p:nvSpPr>
          <p:spPr bwMode="auto">
            <a:xfrm>
              <a:off x="4227513" y="2811463"/>
              <a:ext cx="3175" cy="7937"/>
            </a:xfrm>
            <a:custGeom>
              <a:avLst/>
              <a:gdLst>
                <a:gd name="T0" fmla="*/ 0 w 9"/>
                <a:gd name="T1" fmla="*/ 8 h 23"/>
                <a:gd name="T2" fmla="*/ 0 w 9"/>
                <a:gd name="T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3">
                  <a:moveTo>
                    <a:pt x="0" y="8"/>
                  </a:moveTo>
                  <a:cubicBezTo>
                    <a:pt x="8" y="22"/>
                    <a:pt x="8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6" name="Freeform 817"/>
            <p:cNvSpPr>
              <a:spLocks noChangeArrowheads="1"/>
            </p:cNvSpPr>
            <p:nvPr/>
          </p:nvSpPr>
          <p:spPr bwMode="auto">
            <a:xfrm>
              <a:off x="4151313" y="2749550"/>
              <a:ext cx="3175" cy="7938"/>
            </a:xfrm>
            <a:custGeom>
              <a:avLst/>
              <a:gdLst>
                <a:gd name="T0" fmla="*/ 0 w 9"/>
                <a:gd name="T1" fmla="*/ 8 h 20"/>
                <a:gd name="T2" fmla="*/ 0 w 9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8"/>
                  </a:moveTo>
                  <a:cubicBezTo>
                    <a:pt x="8" y="19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7" name="Freeform 818"/>
            <p:cNvSpPr>
              <a:spLocks noChangeArrowheads="1"/>
            </p:cNvSpPr>
            <p:nvPr/>
          </p:nvSpPr>
          <p:spPr bwMode="auto">
            <a:xfrm>
              <a:off x="4210050" y="2800350"/>
              <a:ext cx="3175" cy="7938"/>
            </a:xfrm>
            <a:custGeom>
              <a:avLst/>
              <a:gdLst>
                <a:gd name="T0" fmla="*/ 0 w 9"/>
                <a:gd name="T1" fmla="*/ 5 h 20"/>
                <a:gd name="T2" fmla="*/ 0 w 9"/>
                <a:gd name="T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5"/>
                  </a:moveTo>
                  <a:cubicBezTo>
                    <a:pt x="8" y="19"/>
                    <a:pt x="5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8" name="Freeform 819"/>
            <p:cNvSpPr>
              <a:spLocks noChangeArrowheads="1"/>
            </p:cNvSpPr>
            <p:nvPr/>
          </p:nvSpPr>
          <p:spPr bwMode="auto">
            <a:xfrm>
              <a:off x="4159250" y="2760663"/>
              <a:ext cx="3175" cy="7937"/>
            </a:xfrm>
            <a:custGeom>
              <a:avLst/>
              <a:gdLst>
                <a:gd name="T0" fmla="*/ 0 w 9"/>
                <a:gd name="T1" fmla="*/ 8 h 20"/>
                <a:gd name="T2" fmla="*/ 0 w 9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8"/>
                  </a:moveTo>
                  <a:cubicBezTo>
                    <a:pt x="8" y="19"/>
                    <a:pt x="5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9" name="Freeform 820"/>
            <p:cNvSpPr>
              <a:spLocks noChangeArrowheads="1"/>
            </p:cNvSpPr>
            <p:nvPr/>
          </p:nvSpPr>
          <p:spPr bwMode="auto">
            <a:xfrm>
              <a:off x="4206875" y="2805113"/>
              <a:ext cx="4763" cy="7937"/>
            </a:xfrm>
            <a:custGeom>
              <a:avLst/>
              <a:gdLst>
                <a:gd name="T0" fmla="*/ 11 w 15"/>
                <a:gd name="T1" fmla="*/ 0 h 20"/>
                <a:gd name="T2" fmla="*/ 14 w 15"/>
                <a:gd name="T3" fmla="*/ 11 h 20"/>
                <a:gd name="T4" fmla="*/ 11 w 15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0">
                  <a:moveTo>
                    <a:pt x="11" y="0"/>
                  </a:moveTo>
                  <a:cubicBezTo>
                    <a:pt x="0" y="8"/>
                    <a:pt x="6" y="19"/>
                    <a:pt x="14" y="11"/>
                  </a:cubicBezTo>
                  <a:cubicBezTo>
                    <a:pt x="9" y="8"/>
                    <a:pt x="11" y="2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0" name="Freeform 821"/>
            <p:cNvSpPr>
              <a:spLocks noChangeArrowheads="1"/>
            </p:cNvSpPr>
            <p:nvPr/>
          </p:nvSpPr>
          <p:spPr bwMode="auto">
            <a:xfrm>
              <a:off x="4144963" y="2754313"/>
              <a:ext cx="7937" cy="6350"/>
            </a:xfrm>
            <a:custGeom>
              <a:avLst/>
              <a:gdLst>
                <a:gd name="T0" fmla="*/ 20 w 21"/>
                <a:gd name="T1" fmla="*/ 11 h 18"/>
                <a:gd name="T2" fmla="*/ 11 w 21"/>
                <a:gd name="T3" fmla="*/ 0 h 18"/>
                <a:gd name="T4" fmla="*/ 20 w 21"/>
                <a:gd name="T5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20" y="11"/>
                  </a:moveTo>
                  <a:cubicBezTo>
                    <a:pt x="14" y="8"/>
                    <a:pt x="11" y="5"/>
                    <a:pt x="11" y="0"/>
                  </a:cubicBezTo>
                  <a:cubicBezTo>
                    <a:pt x="0" y="2"/>
                    <a:pt x="17" y="17"/>
                    <a:pt x="2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1" name="Freeform 822"/>
            <p:cNvSpPr>
              <a:spLocks noChangeArrowheads="1"/>
            </p:cNvSpPr>
            <p:nvPr/>
          </p:nvSpPr>
          <p:spPr bwMode="auto">
            <a:xfrm>
              <a:off x="4171950" y="2774950"/>
              <a:ext cx="3175" cy="7938"/>
            </a:xfrm>
            <a:custGeom>
              <a:avLst/>
              <a:gdLst>
                <a:gd name="T0" fmla="*/ 0 w 10"/>
                <a:gd name="T1" fmla="*/ 9 h 21"/>
                <a:gd name="T2" fmla="*/ 0 w 10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9"/>
                  </a:moveTo>
                  <a:cubicBezTo>
                    <a:pt x="9" y="20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2" name="Freeform 823"/>
            <p:cNvSpPr>
              <a:spLocks noChangeArrowheads="1"/>
            </p:cNvSpPr>
            <p:nvPr/>
          </p:nvSpPr>
          <p:spPr bwMode="auto">
            <a:xfrm>
              <a:off x="4176713" y="2781300"/>
              <a:ext cx="3175" cy="7938"/>
            </a:xfrm>
            <a:custGeom>
              <a:avLst/>
              <a:gdLst>
                <a:gd name="T0" fmla="*/ 0 w 9"/>
                <a:gd name="T1" fmla="*/ 6 h 21"/>
                <a:gd name="T2" fmla="*/ 0 w 9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6"/>
                  </a:moveTo>
                  <a:cubicBezTo>
                    <a:pt x="8" y="20"/>
                    <a:pt x="8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3" name="Freeform 824"/>
            <p:cNvSpPr>
              <a:spLocks noChangeArrowheads="1"/>
            </p:cNvSpPr>
            <p:nvPr/>
          </p:nvSpPr>
          <p:spPr bwMode="auto">
            <a:xfrm>
              <a:off x="4187825" y="2792413"/>
              <a:ext cx="4763" cy="7937"/>
            </a:xfrm>
            <a:custGeom>
              <a:avLst/>
              <a:gdLst>
                <a:gd name="T0" fmla="*/ 0 w 12"/>
                <a:gd name="T1" fmla="*/ 6 h 24"/>
                <a:gd name="T2" fmla="*/ 0 w 12"/>
                <a:gd name="T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4">
                  <a:moveTo>
                    <a:pt x="0" y="6"/>
                  </a:moveTo>
                  <a:cubicBezTo>
                    <a:pt x="11" y="23"/>
                    <a:pt x="8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4" name="Freeform 825"/>
            <p:cNvSpPr>
              <a:spLocks noChangeArrowheads="1"/>
            </p:cNvSpPr>
            <p:nvPr/>
          </p:nvSpPr>
          <p:spPr bwMode="auto">
            <a:xfrm>
              <a:off x="4197350" y="2808288"/>
              <a:ext cx="9525" cy="9525"/>
            </a:xfrm>
            <a:custGeom>
              <a:avLst/>
              <a:gdLst>
                <a:gd name="T0" fmla="*/ 17 w 26"/>
                <a:gd name="T1" fmla="*/ 14 h 26"/>
                <a:gd name="T2" fmla="*/ 0 w 26"/>
                <a:gd name="T3" fmla="*/ 14 h 26"/>
                <a:gd name="T4" fmla="*/ 17 w 26"/>
                <a:gd name="T5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6">
                  <a:moveTo>
                    <a:pt x="17" y="14"/>
                  </a:moveTo>
                  <a:cubicBezTo>
                    <a:pt x="11" y="23"/>
                    <a:pt x="3" y="0"/>
                    <a:pt x="0" y="14"/>
                  </a:cubicBezTo>
                  <a:cubicBezTo>
                    <a:pt x="6" y="23"/>
                    <a:pt x="25" y="25"/>
                    <a:pt x="17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5" name="Freeform 826"/>
            <p:cNvSpPr>
              <a:spLocks noChangeArrowheads="1"/>
            </p:cNvSpPr>
            <p:nvPr/>
          </p:nvSpPr>
          <p:spPr bwMode="auto">
            <a:xfrm>
              <a:off x="4183063" y="2800350"/>
              <a:ext cx="4762" cy="7938"/>
            </a:xfrm>
            <a:custGeom>
              <a:avLst/>
              <a:gdLst>
                <a:gd name="T0" fmla="*/ 0 w 13"/>
                <a:gd name="T1" fmla="*/ 5 h 20"/>
                <a:gd name="T2" fmla="*/ 0 w 13"/>
                <a:gd name="T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0">
                  <a:moveTo>
                    <a:pt x="0" y="5"/>
                  </a:moveTo>
                  <a:cubicBezTo>
                    <a:pt x="12" y="19"/>
                    <a:pt x="9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6" name="Freeform 827"/>
            <p:cNvSpPr>
              <a:spLocks noChangeArrowheads="1"/>
            </p:cNvSpPr>
            <p:nvPr/>
          </p:nvSpPr>
          <p:spPr bwMode="auto">
            <a:xfrm>
              <a:off x="4149725" y="2779713"/>
              <a:ext cx="6350" cy="4762"/>
            </a:xfrm>
            <a:custGeom>
              <a:avLst/>
              <a:gdLst>
                <a:gd name="T0" fmla="*/ 12 w 18"/>
                <a:gd name="T1" fmla="*/ 0 h 15"/>
                <a:gd name="T2" fmla="*/ 6 w 18"/>
                <a:gd name="T3" fmla="*/ 14 h 15"/>
                <a:gd name="T4" fmla="*/ 12 w 18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2" y="0"/>
                  </a:moveTo>
                  <a:cubicBezTo>
                    <a:pt x="6" y="0"/>
                    <a:pt x="0" y="9"/>
                    <a:pt x="6" y="14"/>
                  </a:cubicBezTo>
                  <a:cubicBezTo>
                    <a:pt x="12" y="11"/>
                    <a:pt x="17" y="6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7" name="Freeform 828"/>
            <p:cNvSpPr>
              <a:spLocks noChangeArrowheads="1"/>
            </p:cNvSpPr>
            <p:nvPr/>
          </p:nvSpPr>
          <p:spPr bwMode="auto">
            <a:xfrm>
              <a:off x="4198938" y="2819400"/>
              <a:ext cx="4762" cy="7938"/>
            </a:xfrm>
            <a:custGeom>
              <a:avLst/>
              <a:gdLst>
                <a:gd name="T0" fmla="*/ 0 w 12"/>
                <a:gd name="T1" fmla="*/ 6 h 21"/>
                <a:gd name="T2" fmla="*/ 0 w 12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1">
                  <a:moveTo>
                    <a:pt x="0" y="6"/>
                  </a:moveTo>
                  <a:cubicBezTo>
                    <a:pt x="11" y="20"/>
                    <a:pt x="8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8" name="Freeform 829"/>
            <p:cNvSpPr>
              <a:spLocks noChangeArrowheads="1"/>
            </p:cNvSpPr>
            <p:nvPr/>
          </p:nvSpPr>
          <p:spPr bwMode="auto">
            <a:xfrm>
              <a:off x="4175125" y="2811463"/>
              <a:ext cx="11113" cy="1587"/>
            </a:xfrm>
            <a:custGeom>
              <a:avLst/>
              <a:gdLst>
                <a:gd name="T0" fmla="*/ 14 w 29"/>
                <a:gd name="T1" fmla="*/ 0 h 4"/>
                <a:gd name="T2" fmla="*/ 14 w 29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9" h="4">
                  <a:moveTo>
                    <a:pt x="14" y="0"/>
                  </a:moveTo>
                  <a:cubicBezTo>
                    <a:pt x="0" y="3"/>
                    <a:pt x="28" y="0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9" name="Freeform 830"/>
            <p:cNvSpPr>
              <a:spLocks noChangeArrowheads="1"/>
            </p:cNvSpPr>
            <p:nvPr/>
          </p:nvSpPr>
          <p:spPr bwMode="auto">
            <a:xfrm>
              <a:off x="4183063" y="2830513"/>
              <a:ext cx="6350" cy="3175"/>
            </a:xfrm>
            <a:custGeom>
              <a:avLst/>
              <a:gdLst>
                <a:gd name="T0" fmla="*/ 15 w 16"/>
                <a:gd name="T1" fmla="*/ 3 h 7"/>
                <a:gd name="T2" fmla="*/ 0 w 16"/>
                <a:gd name="T3" fmla="*/ 0 h 7"/>
                <a:gd name="T4" fmla="*/ 15 w 16"/>
                <a:gd name="T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7">
                  <a:moveTo>
                    <a:pt x="15" y="3"/>
                  </a:moveTo>
                  <a:cubicBezTo>
                    <a:pt x="12" y="0"/>
                    <a:pt x="6" y="0"/>
                    <a:pt x="0" y="0"/>
                  </a:cubicBezTo>
                  <a:cubicBezTo>
                    <a:pt x="3" y="6"/>
                    <a:pt x="9" y="6"/>
                    <a:pt x="15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0" name="Freeform 831"/>
            <p:cNvSpPr>
              <a:spLocks noChangeArrowheads="1"/>
            </p:cNvSpPr>
            <p:nvPr/>
          </p:nvSpPr>
          <p:spPr bwMode="auto">
            <a:xfrm>
              <a:off x="4156075" y="2822575"/>
              <a:ext cx="4763" cy="7938"/>
            </a:xfrm>
            <a:custGeom>
              <a:avLst/>
              <a:gdLst>
                <a:gd name="T0" fmla="*/ 0 w 13"/>
                <a:gd name="T1" fmla="*/ 8 h 23"/>
                <a:gd name="T2" fmla="*/ 0 w 13"/>
                <a:gd name="T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3">
                  <a:moveTo>
                    <a:pt x="0" y="8"/>
                  </a:moveTo>
                  <a:cubicBezTo>
                    <a:pt x="0" y="22"/>
                    <a:pt x="12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1" name="Freeform 832"/>
            <p:cNvSpPr>
              <a:spLocks noChangeArrowheads="1"/>
            </p:cNvSpPr>
            <p:nvPr/>
          </p:nvSpPr>
          <p:spPr bwMode="auto">
            <a:xfrm>
              <a:off x="4151313" y="2820988"/>
              <a:ext cx="3175" cy="7937"/>
            </a:xfrm>
            <a:custGeom>
              <a:avLst/>
              <a:gdLst>
                <a:gd name="T0" fmla="*/ 0 w 9"/>
                <a:gd name="T1" fmla="*/ 8 h 21"/>
                <a:gd name="T2" fmla="*/ 0 w 9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8"/>
                  </a:moveTo>
                  <a:cubicBezTo>
                    <a:pt x="8" y="20"/>
                    <a:pt x="8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2" name="Freeform 833"/>
            <p:cNvSpPr>
              <a:spLocks noChangeArrowheads="1"/>
            </p:cNvSpPr>
            <p:nvPr/>
          </p:nvSpPr>
          <p:spPr bwMode="auto">
            <a:xfrm>
              <a:off x="4144963" y="2822575"/>
              <a:ext cx="3175" cy="7938"/>
            </a:xfrm>
            <a:custGeom>
              <a:avLst/>
              <a:gdLst>
                <a:gd name="T0" fmla="*/ 0 w 9"/>
                <a:gd name="T1" fmla="*/ 5 h 20"/>
                <a:gd name="T2" fmla="*/ 0 w 9"/>
                <a:gd name="T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5"/>
                  </a:moveTo>
                  <a:cubicBezTo>
                    <a:pt x="8" y="19"/>
                    <a:pt x="8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3" name="Freeform 834"/>
            <p:cNvSpPr>
              <a:spLocks noChangeArrowheads="1"/>
            </p:cNvSpPr>
            <p:nvPr/>
          </p:nvSpPr>
          <p:spPr bwMode="auto">
            <a:xfrm>
              <a:off x="4151313" y="2836863"/>
              <a:ext cx="4762" cy="4762"/>
            </a:xfrm>
            <a:custGeom>
              <a:avLst/>
              <a:gdLst>
                <a:gd name="T0" fmla="*/ 0 w 12"/>
                <a:gd name="T1" fmla="*/ 9 h 15"/>
                <a:gd name="T2" fmla="*/ 11 w 12"/>
                <a:gd name="T3" fmla="*/ 11 h 15"/>
                <a:gd name="T4" fmla="*/ 8 w 12"/>
                <a:gd name="T5" fmla="*/ 0 h 15"/>
                <a:gd name="T6" fmla="*/ 0 w 12"/>
                <a:gd name="T7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0" y="9"/>
                  </a:moveTo>
                  <a:cubicBezTo>
                    <a:pt x="3" y="11"/>
                    <a:pt x="8" y="14"/>
                    <a:pt x="11" y="11"/>
                  </a:cubicBezTo>
                  <a:cubicBezTo>
                    <a:pt x="6" y="9"/>
                    <a:pt x="8" y="3"/>
                    <a:pt x="8" y="0"/>
                  </a:cubicBezTo>
                  <a:lnTo>
                    <a:pt x="0" y="9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4" name="Freeform 835"/>
            <p:cNvSpPr>
              <a:spLocks noChangeArrowheads="1"/>
            </p:cNvSpPr>
            <p:nvPr/>
          </p:nvSpPr>
          <p:spPr bwMode="auto">
            <a:xfrm>
              <a:off x="4102100" y="2795588"/>
              <a:ext cx="3175" cy="7937"/>
            </a:xfrm>
            <a:custGeom>
              <a:avLst/>
              <a:gdLst>
                <a:gd name="T0" fmla="*/ 0 w 9"/>
                <a:gd name="T1" fmla="*/ 9 h 21"/>
                <a:gd name="T2" fmla="*/ 0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9"/>
                  </a:moveTo>
                  <a:cubicBezTo>
                    <a:pt x="8" y="20"/>
                    <a:pt x="5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5" name="Freeform 836"/>
            <p:cNvSpPr>
              <a:spLocks noChangeArrowheads="1"/>
            </p:cNvSpPr>
            <p:nvPr/>
          </p:nvSpPr>
          <p:spPr bwMode="auto">
            <a:xfrm>
              <a:off x="4110038" y="2809875"/>
              <a:ext cx="3175" cy="7938"/>
            </a:xfrm>
            <a:custGeom>
              <a:avLst/>
              <a:gdLst>
                <a:gd name="T0" fmla="*/ 0 w 10"/>
                <a:gd name="T1" fmla="*/ 6 h 21"/>
                <a:gd name="T2" fmla="*/ 0 w 10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6"/>
                  </a:moveTo>
                  <a:cubicBezTo>
                    <a:pt x="9" y="20"/>
                    <a:pt x="9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6" name="Freeform 837"/>
            <p:cNvSpPr>
              <a:spLocks noChangeArrowheads="1"/>
            </p:cNvSpPr>
            <p:nvPr/>
          </p:nvSpPr>
          <p:spPr bwMode="auto">
            <a:xfrm>
              <a:off x="4108450" y="2816225"/>
              <a:ext cx="6350" cy="7938"/>
            </a:xfrm>
            <a:custGeom>
              <a:avLst/>
              <a:gdLst>
                <a:gd name="T0" fmla="*/ 0 w 16"/>
                <a:gd name="T1" fmla="*/ 5 h 20"/>
                <a:gd name="T2" fmla="*/ 0 w 16"/>
                <a:gd name="T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20">
                  <a:moveTo>
                    <a:pt x="0" y="5"/>
                  </a:moveTo>
                  <a:cubicBezTo>
                    <a:pt x="3" y="19"/>
                    <a:pt x="15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7" name="Freeform 838"/>
            <p:cNvSpPr>
              <a:spLocks noChangeArrowheads="1"/>
            </p:cNvSpPr>
            <p:nvPr/>
          </p:nvSpPr>
          <p:spPr bwMode="auto">
            <a:xfrm>
              <a:off x="4137025" y="2840038"/>
              <a:ext cx="3175" cy="7937"/>
            </a:xfrm>
            <a:custGeom>
              <a:avLst/>
              <a:gdLst>
                <a:gd name="T0" fmla="*/ 0 w 10"/>
                <a:gd name="T1" fmla="*/ 8 h 23"/>
                <a:gd name="T2" fmla="*/ 0 w 10"/>
                <a:gd name="T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3">
                  <a:moveTo>
                    <a:pt x="0" y="8"/>
                  </a:moveTo>
                  <a:cubicBezTo>
                    <a:pt x="9" y="22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8" name="Freeform 839"/>
            <p:cNvSpPr>
              <a:spLocks noChangeArrowheads="1"/>
            </p:cNvSpPr>
            <p:nvPr/>
          </p:nvSpPr>
          <p:spPr bwMode="auto">
            <a:xfrm>
              <a:off x="4122738" y="2832100"/>
              <a:ext cx="4762" cy="7938"/>
            </a:xfrm>
            <a:custGeom>
              <a:avLst/>
              <a:gdLst>
                <a:gd name="T0" fmla="*/ 0 w 14"/>
                <a:gd name="T1" fmla="*/ 6 h 21"/>
                <a:gd name="T2" fmla="*/ 0 w 14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1">
                  <a:moveTo>
                    <a:pt x="0" y="6"/>
                  </a:moveTo>
                  <a:cubicBezTo>
                    <a:pt x="3" y="20"/>
                    <a:pt x="13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9" name="Freeform 840"/>
            <p:cNvSpPr>
              <a:spLocks noChangeArrowheads="1"/>
            </p:cNvSpPr>
            <p:nvPr/>
          </p:nvSpPr>
          <p:spPr bwMode="auto">
            <a:xfrm>
              <a:off x="4102100" y="2816225"/>
              <a:ext cx="3175" cy="7938"/>
            </a:xfrm>
            <a:custGeom>
              <a:avLst/>
              <a:gdLst>
                <a:gd name="T0" fmla="*/ 0 w 9"/>
                <a:gd name="T1" fmla="*/ 8 h 20"/>
                <a:gd name="T2" fmla="*/ 0 w 9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8"/>
                  </a:moveTo>
                  <a:cubicBezTo>
                    <a:pt x="8" y="19"/>
                    <a:pt x="5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0" name="Freeform 841"/>
            <p:cNvSpPr>
              <a:spLocks noChangeArrowheads="1"/>
            </p:cNvSpPr>
            <p:nvPr/>
          </p:nvSpPr>
          <p:spPr bwMode="auto">
            <a:xfrm>
              <a:off x="4095750" y="2814638"/>
              <a:ext cx="3175" cy="7937"/>
            </a:xfrm>
            <a:custGeom>
              <a:avLst/>
              <a:gdLst>
                <a:gd name="T0" fmla="*/ 0 w 9"/>
                <a:gd name="T1" fmla="*/ 8 h 21"/>
                <a:gd name="T2" fmla="*/ 0 w 9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8"/>
                  </a:moveTo>
                  <a:cubicBezTo>
                    <a:pt x="8" y="20"/>
                    <a:pt x="8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1" name="Freeform 842"/>
            <p:cNvSpPr>
              <a:spLocks noChangeArrowheads="1"/>
            </p:cNvSpPr>
            <p:nvPr/>
          </p:nvSpPr>
          <p:spPr bwMode="auto">
            <a:xfrm>
              <a:off x="4098925" y="2819400"/>
              <a:ext cx="3175" cy="7938"/>
            </a:xfrm>
            <a:custGeom>
              <a:avLst/>
              <a:gdLst>
                <a:gd name="T0" fmla="*/ 0 w 10"/>
                <a:gd name="T1" fmla="*/ 9 h 21"/>
                <a:gd name="T2" fmla="*/ 0 w 10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9"/>
                  </a:moveTo>
                  <a:cubicBezTo>
                    <a:pt x="9" y="20"/>
                    <a:pt x="9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2" name="Freeform 843"/>
            <p:cNvSpPr>
              <a:spLocks noChangeArrowheads="1"/>
            </p:cNvSpPr>
            <p:nvPr/>
          </p:nvSpPr>
          <p:spPr bwMode="auto">
            <a:xfrm>
              <a:off x="4095750" y="2822575"/>
              <a:ext cx="3175" cy="7938"/>
            </a:xfrm>
            <a:custGeom>
              <a:avLst/>
              <a:gdLst>
                <a:gd name="T0" fmla="*/ 0 w 9"/>
                <a:gd name="T1" fmla="*/ 8 h 21"/>
                <a:gd name="T2" fmla="*/ 0 w 9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8"/>
                  </a:moveTo>
                  <a:cubicBezTo>
                    <a:pt x="8" y="20"/>
                    <a:pt x="5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3" name="Freeform 844"/>
            <p:cNvSpPr>
              <a:spLocks noChangeArrowheads="1"/>
            </p:cNvSpPr>
            <p:nvPr/>
          </p:nvSpPr>
          <p:spPr bwMode="auto">
            <a:xfrm>
              <a:off x="4102100" y="2833688"/>
              <a:ext cx="4763" cy="7937"/>
            </a:xfrm>
            <a:custGeom>
              <a:avLst/>
              <a:gdLst>
                <a:gd name="T0" fmla="*/ 0 w 12"/>
                <a:gd name="T1" fmla="*/ 5 h 23"/>
                <a:gd name="T2" fmla="*/ 0 w 12"/>
                <a:gd name="T3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3">
                  <a:moveTo>
                    <a:pt x="0" y="5"/>
                  </a:moveTo>
                  <a:cubicBezTo>
                    <a:pt x="0" y="22"/>
                    <a:pt x="11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4" name="Freeform 845"/>
            <p:cNvSpPr>
              <a:spLocks noChangeArrowheads="1"/>
            </p:cNvSpPr>
            <p:nvPr/>
          </p:nvSpPr>
          <p:spPr bwMode="auto">
            <a:xfrm>
              <a:off x="4194175" y="2820988"/>
              <a:ext cx="4763" cy="6350"/>
            </a:xfrm>
            <a:custGeom>
              <a:avLst/>
              <a:gdLst>
                <a:gd name="T0" fmla="*/ 12 w 13"/>
                <a:gd name="T1" fmla="*/ 11 h 18"/>
                <a:gd name="T2" fmla="*/ 9 w 13"/>
                <a:gd name="T3" fmla="*/ 0 h 18"/>
                <a:gd name="T4" fmla="*/ 12 w 13"/>
                <a:gd name="T5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12" y="11"/>
                  </a:moveTo>
                  <a:cubicBezTo>
                    <a:pt x="6" y="8"/>
                    <a:pt x="9" y="3"/>
                    <a:pt x="9" y="0"/>
                  </a:cubicBezTo>
                  <a:cubicBezTo>
                    <a:pt x="0" y="3"/>
                    <a:pt x="6" y="17"/>
                    <a:pt x="12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5" name="Freeform 846"/>
            <p:cNvSpPr>
              <a:spLocks noChangeArrowheads="1"/>
            </p:cNvSpPr>
            <p:nvPr/>
          </p:nvSpPr>
          <p:spPr bwMode="auto">
            <a:xfrm>
              <a:off x="4159250" y="2803525"/>
              <a:ext cx="11113" cy="11113"/>
            </a:xfrm>
            <a:custGeom>
              <a:avLst/>
              <a:gdLst>
                <a:gd name="T0" fmla="*/ 22 w 29"/>
                <a:gd name="T1" fmla="*/ 6 h 29"/>
                <a:gd name="T2" fmla="*/ 8 w 29"/>
                <a:gd name="T3" fmla="*/ 3 h 29"/>
                <a:gd name="T4" fmla="*/ 14 w 29"/>
                <a:gd name="T5" fmla="*/ 25 h 29"/>
                <a:gd name="T6" fmla="*/ 22 w 29"/>
                <a:gd name="T7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29">
                  <a:moveTo>
                    <a:pt x="22" y="6"/>
                  </a:moveTo>
                  <a:cubicBezTo>
                    <a:pt x="16" y="11"/>
                    <a:pt x="11" y="0"/>
                    <a:pt x="8" y="3"/>
                  </a:cubicBezTo>
                  <a:cubicBezTo>
                    <a:pt x="2" y="8"/>
                    <a:pt x="0" y="28"/>
                    <a:pt x="14" y="25"/>
                  </a:cubicBezTo>
                  <a:cubicBezTo>
                    <a:pt x="0" y="11"/>
                    <a:pt x="28" y="11"/>
                    <a:pt x="2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6" name="Freeform 847"/>
            <p:cNvSpPr>
              <a:spLocks noChangeArrowheads="1"/>
            </p:cNvSpPr>
            <p:nvPr/>
          </p:nvSpPr>
          <p:spPr bwMode="auto">
            <a:xfrm>
              <a:off x="4103688" y="2827338"/>
              <a:ext cx="6350" cy="6350"/>
            </a:xfrm>
            <a:custGeom>
              <a:avLst/>
              <a:gdLst>
                <a:gd name="T0" fmla="*/ 12 w 18"/>
                <a:gd name="T1" fmla="*/ 6 h 18"/>
                <a:gd name="T2" fmla="*/ 12 w 18"/>
                <a:gd name="T3" fmla="*/ 11 h 18"/>
                <a:gd name="T4" fmla="*/ 0 w 18"/>
                <a:gd name="T5" fmla="*/ 11 h 18"/>
                <a:gd name="T6" fmla="*/ 9 w 18"/>
                <a:gd name="T7" fmla="*/ 17 h 18"/>
                <a:gd name="T8" fmla="*/ 12 w 18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2" y="6"/>
                  </a:moveTo>
                  <a:cubicBezTo>
                    <a:pt x="14" y="8"/>
                    <a:pt x="14" y="8"/>
                    <a:pt x="12" y="11"/>
                  </a:cubicBezTo>
                  <a:cubicBezTo>
                    <a:pt x="9" y="8"/>
                    <a:pt x="3" y="6"/>
                    <a:pt x="0" y="11"/>
                  </a:cubicBezTo>
                  <a:lnTo>
                    <a:pt x="9" y="17"/>
                  </a:lnTo>
                  <a:cubicBezTo>
                    <a:pt x="17" y="14"/>
                    <a:pt x="17" y="0"/>
                    <a:pt x="1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7" name="Freeform 848"/>
            <p:cNvSpPr>
              <a:spLocks noChangeArrowheads="1"/>
            </p:cNvSpPr>
            <p:nvPr/>
          </p:nvSpPr>
          <p:spPr bwMode="auto">
            <a:xfrm>
              <a:off x="3857625" y="2622550"/>
              <a:ext cx="577850" cy="98425"/>
            </a:xfrm>
            <a:custGeom>
              <a:avLst/>
              <a:gdLst>
                <a:gd name="T0" fmla="*/ 3 w 1603"/>
                <a:gd name="T1" fmla="*/ 265 h 272"/>
                <a:gd name="T2" fmla="*/ 801 w 1603"/>
                <a:gd name="T3" fmla="*/ 130 h 272"/>
                <a:gd name="T4" fmla="*/ 1599 w 1603"/>
                <a:gd name="T5" fmla="*/ 0 h 272"/>
                <a:gd name="T6" fmla="*/ 1602 w 1603"/>
                <a:gd name="T7" fmla="*/ 3 h 272"/>
                <a:gd name="T8" fmla="*/ 1599 w 1603"/>
                <a:gd name="T9" fmla="*/ 6 h 272"/>
                <a:gd name="T10" fmla="*/ 1599 w 1603"/>
                <a:gd name="T11" fmla="*/ 6 h 272"/>
                <a:gd name="T12" fmla="*/ 1207 w 1603"/>
                <a:gd name="T13" fmla="*/ 107 h 272"/>
                <a:gd name="T14" fmla="*/ 1010 w 1603"/>
                <a:gd name="T15" fmla="*/ 147 h 272"/>
                <a:gd name="T16" fmla="*/ 809 w 1603"/>
                <a:gd name="T17" fmla="*/ 183 h 272"/>
                <a:gd name="T18" fmla="*/ 610 w 1603"/>
                <a:gd name="T19" fmla="*/ 212 h 272"/>
                <a:gd name="T20" fmla="*/ 410 w 1603"/>
                <a:gd name="T21" fmla="*/ 237 h 272"/>
                <a:gd name="T22" fmla="*/ 209 w 1603"/>
                <a:gd name="T23" fmla="*/ 257 h 272"/>
                <a:gd name="T24" fmla="*/ 6 w 1603"/>
                <a:gd name="T25" fmla="*/ 268 h 272"/>
                <a:gd name="T26" fmla="*/ 6 w 1603"/>
                <a:gd name="T27" fmla="*/ 268 h 272"/>
                <a:gd name="T28" fmla="*/ 3 w 1603"/>
                <a:gd name="T29" fmla="*/ 265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03" h="272">
                  <a:moveTo>
                    <a:pt x="3" y="265"/>
                  </a:moveTo>
                  <a:lnTo>
                    <a:pt x="801" y="130"/>
                  </a:lnTo>
                  <a:lnTo>
                    <a:pt x="1599" y="0"/>
                  </a:lnTo>
                  <a:cubicBezTo>
                    <a:pt x="1599" y="0"/>
                    <a:pt x="1602" y="0"/>
                    <a:pt x="1602" y="3"/>
                  </a:cubicBezTo>
                  <a:cubicBezTo>
                    <a:pt x="1602" y="3"/>
                    <a:pt x="1602" y="6"/>
                    <a:pt x="1599" y="6"/>
                  </a:cubicBezTo>
                  <a:lnTo>
                    <a:pt x="1599" y="6"/>
                  </a:lnTo>
                  <a:cubicBezTo>
                    <a:pt x="1470" y="45"/>
                    <a:pt x="1337" y="79"/>
                    <a:pt x="1207" y="107"/>
                  </a:cubicBezTo>
                  <a:cubicBezTo>
                    <a:pt x="1142" y="121"/>
                    <a:pt x="1075" y="135"/>
                    <a:pt x="1010" y="147"/>
                  </a:cubicBezTo>
                  <a:lnTo>
                    <a:pt x="809" y="183"/>
                  </a:lnTo>
                  <a:lnTo>
                    <a:pt x="610" y="212"/>
                  </a:lnTo>
                  <a:cubicBezTo>
                    <a:pt x="542" y="220"/>
                    <a:pt x="477" y="231"/>
                    <a:pt x="410" y="237"/>
                  </a:cubicBezTo>
                  <a:cubicBezTo>
                    <a:pt x="342" y="245"/>
                    <a:pt x="274" y="251"/>
                    <a:pt x="209" y="257"/>
                  </a:cubicBezTo>
                  <a:cubicBezTo>
                    <a:pt x="142" y="260"/>
                    <a:pt x="74" y="268"/>
                    <a:pt x="6" y="268"/>
                  </a:cubicBezTo>
                  <a:lnTo>
                    <a:pt x="6" y="268"/>
                  </a:lnTo>
                  <a:cubicBezTo>
                    <a:pt x="3" y="271"/>
                    <a:pt x="0" y="271"/>
                    <a:pt x="3" y="26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8" name="Freeform 849"/>
            <p:cNvSpPr>
              <a:spLocks noChangeArrowheads="1"/>
            </p:cNvSpPr>
            <p:nvPr/>
          </p:nvSpPr>
          <p:spPr bwMode="auto">
            <a:xfrm>
              <a:off x="4284663" y="2673350"/>
              <a:ext cx="7937" cy="4763"/>
            </a:xfrm>
            <a:custGeom>
              <a:avLst/>
              <a:gdLst>
                <a:gd name="T0" fmla="*/ 0 w 20"/>
                <a:gd name="T1" fmla="*/ 9 h 15"/>
                <a:gd name="T2" fmla="*/ 14 w 20"/>
                <a:gd name="T3" fmla="*/ 0 h 15"/>
                <a:gd name="T4" fmla="*/ 0 w 20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5">
                  <a:moveTo>
                    <a:pt x="0" y="9"/>
                  </a:moveTo>
                  <a:cubicBezTo>
                    <a:pt x="8" y="14"/>
                    <a:pt x="19" y="6"/>
                    <a:pt x="14" y="0"/>
                  </a:cubicBezTo>
                  <a:cubicBezTo>
                    <a:pt x="11" y="3"/>
                    <a:pt x="2" y="3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9" name="Freeform 850"/>
            <p:cNvSpPr>
              <a:spLocks noChangeArrowheads="1"/>
            </p:cNvSpPr>
            <p:nvPr/>
          </p:nvSpPr>
          <p:spPr bwMode="auto">
            <a:xfrm>
              <a:off x="4260850" y="2668588"/>
              <a:ext cx="4763" cy="3175"/>
            </a:xfrm>
            <a:custGeom>
              <a:avLst/>
              <a:gdLst>
                <a:gd name="T0" fmla="*/ 6 w 15"/>
                <a:gd name="T1" fmla="*/ 8 h 9"/>
                <a:gd name="T2" fmla="*/ 11 w 15"/>
                <a:gd name="T3" fmla="*/ 8 h 9"/>
                <a:gd name="T4" fmla="*/ 14 w 15"/>
                <a:gd name="T5" fmla="*/ 3 h 9"/>
                <a:gd name="T6" fmla="*/ 6 w 15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9">
                  <a:moveTo>
                    <a:pt x="6" y="8"/>
                  </a:moveTo>
                  <a:lnTo>
                    <a:pt x="11" y="8"/>
                  </a:lnTo>
                  <a:cubicBezTo>
                    <a:pt x="8" y="8"/>
                    <a:pt x="11" y="5"/>
                    <a:pt x="14" y="3"/>
                  </a:cubicBezTo>
                  <a:cubicBezTo>
                    <a:pt x="6" y="0"/>
                    <a:pt x="0" y="3"/>
                    <a:pt x="6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0" name="Freeform 851"/>
            <p:cNvSpPr>
              <a:spLocks noChangeArrowheads="1"/>
            </p:cNvSpPr>
            <p:nvPr/>
          </p:nvSpPr>
          <p:spPr bwMode="auto">
            <a:xfrm>
              <a:off x="4251325" y="2670175"/>
              <a:ext cx="3175" cy="1588"/>
            </a:xfrm>
            <a:custGeom>
              <a:avLst/>
              <a:gdLst>
                <a:gd name="T0" fmla="*/ 9 w 10"/>
                <a:gd name="T1" fmla="*/ 0 h 3"/>
                <a:gd name="T2" fmla="*/ 0 w 10"/>
                <a:gd name="T3" fmla="*/ 2 h 3"/>
                <a:gd name="T4" fmla="*/ 9 w 10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">
                  <a:moveTo>
                    <a:pt x="9" y="0"/>
                  </a:moveTo>
                  <a:cubicBezTo>
                    <a:pt x="6" y="0"/>
                    <a:pt x="3" y="0"/>
                    <a:pt x="0" y="2"/>
                  </a:cubicBezTo>
                  <a:cubicBezTo>
                    <a:pt x="3" y="2"/>
                    <a:pt x="9" y="2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1" name="Freeform 852"/>
            <p:cNvSpPr>
              <a:spLocks noChangeArrowheads="1"/>
            </p:cNvSpPr>
            <p:nvPr/>
          </p:nvSpPr>
          <p:spPr bwMode="auto">
            <a:xfrm>
              <a:off x="4278313" y="2673350"/>
              <a:ext cx="1587" cy="3175"/>
            </a:xfrm>
            <a:custGeom>
              <a:avLst/>
              <a:gdLst>
                <a:gd name="T0" fmla="*/ 3 w 4"/>
                <a:gd name="T1" fmla="*/ 3 h 7"/>
                <a:gd name="T2" fmla="*/ 3 w 4"/>
                <a:gd name="T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7">
                  <a:moveTo>
                    <a:pt x="3" y="3"/>
                  </a:moveTo>
                  <a:cubicBezTo>
                    <a:pt x="3" y="6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2" name="Freeform 853"/>
            <p:cNvSpPr>
              <a:spLocks noChangeArrowheads="1"/>
            </p:cNvSpPr>
            <p:nvPr/>
          </p:nvSpPr>
          <p:spPr bwMode="auto">
            <a:xfrm>
              <a:off x="4278313" y="2678113"/>
              <a:ext cx="1587" cy="3175"/>
            </a:xfrm>
            <a:custGeom>
              <a:avLst/>
              <a:gdLst>
                <a:gd name="T0" fmla="*/ 5 w 6"/>
                <a:gd name="T1" fmla="*/ 6 h 7"/>
                <a:gd name="T2" fmla="*/ 5 w 6"/>
                <a:gd name="T3" fmla="*/ 0 h 7"/>
                <a:gd name="T4" fmla="*/ 0 w 6"/>
                <a:gd name="T5" fmla="*/ 0 h 7"/>
                <a:gd name="T6" fmla="*/ 0 w 6"/>
                <a:gd name="T7" fmla="*/ 6 h 7"/>
                <a:gd name="T8" fmla="*/ 5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6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3" name="Freeform 854"/>
            <p:cNvSpPr>
              <a:spLocks noChangeArrowheads="1"/>
            </p:cNvSpPr>
            <p:nvPr/>
          </p:nvSpPr>
          <p:spPr bwMode="auto">
            <a:xfrm>
              <a:off x="4284663" y="2681288"/>
              <a:ext cx="3175" cy="1587"/>
            </a:xfrm>
            <a:custGeom>
              <a:avLst/>
              <a:gdLst>
                <a:gd name="T0" fmla="*/ 9 w 10"/>
                <a:gd name="T1" fmla="*/ 0 h 6"/>
                <a:gd name="T2" fmla="*/ 0 w 10"/>
                <a:gd name="T3" fmla="*/ 3 h 6"/>
                <a:gd name="T4" fmla="*/ 9 w 10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6">
                  <a:moveTo>
                    <a:pt x="9" y="0"/>
                  </a:moveTo>
                  <a:cubicBezTo>
                    <a:pt x="6" y="0"/>
                    <a:pt x="3" y="0"/>
                    <a:pt x="0" y="3"/>
                  </a:cubicBezTo>
                  <a:cubicBezTo>
                    <a:pt x="3" y="3"/>
                    <a:pt x="9" y="5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4" name="Freeform 855"/>
            <p:cNvSpPr>
              <a:spLocks noChangeArrowheads="1"/>
            </p:cNvSpPr>
            <p:nvPr/>
          </p:nvSpPr>
          <p:spPr bwMode="auto">
            <a:xfrm>
              <a:off x="4291013" y="2681288"/>
              <a:ext cx="3175" cy="4762"/>
            </a:xfrm>
            <a:custGeom>
              <a:avLst/>
              <a:gdLst>
                <a:gd name="T0" fmla="*/ 3 w 10"/>
                <a:gd name="T1" fmla="*/ 0 h 15"/>
                <a:gd name="T2" fmla="*/ 0 w 10"/>
                <a:gd name="T3" fmla="*/ 8 h 15"/>
                <a:gd name="T4" fmla="*/ 3 w 10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3" y="0"/>
                  </a:moveTo>
                  <a:cubicBezTo>
                    <a:pt x="3" y="2"/>
                    <a:pt x="0" y="2"/>
                    <a:pt x="0" y="8"/>
                  </a:cubicBezTo>
                  <a:cubicBezTo>
                    <a:pt x="6" y="14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5" name="Freeform 856"/>
            <p:cNvSpPr>
              <a:spLocks noChangeArrowheads="1"/>
            </p:cNvSpPr>
            <p:nvPr/>
          </p:nvSpPr>
          <p:spPr bwMode="auto">
            <a:xfrm>
              <a:off x="4229100" y="2673350"/>
              <a:ext cx="4763" cy="3175"/>
            </a:xfrm>
            <a:custGeom>
              <a:avLst/>
              <a:gdLst>
                <a:gd name="T0" fmla="*/ 0 w 13"/>
                <a:gd name="T1" fmla="*/ 6 h 7"/>
                <a:gd name="T2" fmla="*/ 12 w 13"/>
                <a:gd name="T3" fmla="*/ 3 h 7"/>
                <a:gd name="T4" fmla="*/ 0 w 13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0" y="6"/>
                  </a:moveTo>
                  <a:cubicBezTo>
                    <a:pt x="3" y="6"/>
                    <a:pt x="9" y="6"/>
                    <a:pt x="12" y="3"/>
                  </a:cubicBezTo>
                  <a:cubicBezTo>
                    <a:pt x="6" y="0"/>
                    <a:pt x="3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6" name="Freeform 857"/>
            <p:cNvSpPr>
              <a:spLocks noChangeArrowheads="1"/>
            </p:cNvSpPr>
            <p:nvPr/>
          </p:nvSpPr>
          <p:spPr bwMode="auto">
            <a:xfrm>
              <a:off x="4278313" y="2681288"/>
              <a:ext cx="3175" cy="4762"/>
            </a:xfrm>
            <a:custGeom>
              <a:avLst/>
              <a:gdLst>
                <a:gd name="T0" fmla="*/ 5 w 9"/>
                <a:gd name="T1" fmla="*/ 11 h 12"/>
                <a:gd name="T2" fmla="*/ 0 w 9"/>
                <a:gd name="T3" fmla="*/ 0 h 12"/>
                <a:gd name="T4" fmla="*/ 5 w 9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5" y="11"/>
                  </a:moveTo>
                  <a:cubicBezTo>
                    <a:pt x="8" y="5"/>
                    <a:pt x="3" y="2"/>
                    <a:pt x="0" y="0"/>
                  </a:cubicBezTo>
                  <a:cubicBezTo>
                    <a:pt x="0" y="5"/>
                    <a:pt x="3" y="8"/>
                    <a:pt x="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7" name="Freeform 858"/>
            <p:cNvSpPr>
              <a:spLocks noChangeArrowheads="1"/>
            </p:cNvSpPr>
            <p:nvPr/>
          </p:nvSpPr>
          <p:spPr bwMode="auto">
            <a:xfrm>
              <a:off x="4222750" y="2673350"/>
              <a:ext cx="3175" cy="3175"/>
            </a:xfrm>
            <a:custGeom>
              <a:avLst/>
              <a:gdLst>
                <a:gd name="T0" fmla="*/ 0 w 7"/>
                <a:gd name="T1" fmla="*/ 0 h 7"/>
                <a:gd name="T2" fmla="*/ 0 w 7"/>
                <a:gd name="T3" fmla="*/ 6 h 7"/>
                <a:gd name="T4" fmla="*/ 6 w 7"/>
                <a:gd name="T5" fmla="*/ 6 h 7"/>
                <a:gd name="T6" fmla="*/ 6 w 7"/>
                <a:gd name="T7" fmla="*/ 0 h 7"/>
                <a:gd name="T8" fmla="*/ 0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8" name="Freeform 859"/>
            <p:cNvSpPr>
              <a:spLocks noChangeArrowheads="1"/>
            </p:cNvSpPr>
            <p:nvPr/>
          </p:nvSpPr>
          <p:spPr bwMode="auto">
            <a:xfrm>
              <a:off x="4298950" y="269398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9" name="Freeform 860"/>
            <p:cNvSpPr>
              <a:spLocks noChangeArrowheads="1"/>
            </p:cNvSpPr>
            <p:nvPr/>
          </p:nvSpPr>
          <p:spPr bwMode="auto">
            <a:xfrm>
              <a:off x="4300538" y="2693988"/>
              <a:ext cx="4762" cy="4762"/>
            </a:xfrm>
            <a:custGeom>
              <a:avLst/>
              <a:gdLst>
                <a:gd name="T0" fmla="*/ 14 w 15"/>
                <a:gd name="T1" fmla="*/ 6 h 15"/>
                <a:gd name="T2" fmla="*/ 14 w 15"/>
                <a:gd name="T3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14" y="6"/>
                  </a:moveTo>
                  <a:cubicBezTo>
                    <a:pt x="0" y="0"/>
                    <a:pt x="8" y="14"/>
                    <a:pt x="14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0" name="Freeform 861"/>
            <p:cNvSpPr>
              <a:spLocks noChangeArrowheads="1"/>
            </p:cNvSpPr>
            <p:nvPr/>
          </p:nvSpPr>
          <p:spPr bwMode="auto">
            <a:xfrm>
              <a:off x="4305300" y="2695575"/>
              <a:ext cx="6350" cy="4763"/>
            </a:xfrm>
            <a:custGeom>
              <a:avLst/>
              <a:gdLst>
                <a:gd name="T0" fmla="*/ 17 w 18"/>
                <a:gd name="T1" fmla="*/ 9 h 15"/>
                <a:gd name="T2" fmla="*/ 0 w 18"/>
                <a:gd name="T3" fmla="*/ 9 h 15"/>
                <a:gd name="T4" fmla="*/ 17 w 18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7" y="9"/>
                  </a:moveTo>
                  <a:cubicBezTo>
                    <a:pt x="11" y="6"/>
                    <a:pt x="6" y="0"/>
                    <a:pt x="0" y="9"/>
                  </a:cubicBezTo>
                  <a:cubicBezTo>
                    <a:pt x="8" y="9"/>
                    <a:pt x="17" y="14"/>
                    <a:pt x="17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1" name="Freeform 862"/>
            <p:cNvSpPr>
              <a:spLocks noChangeArrowheads="1"/>
            </p:cNvSpPr>
            <p:nvPr/>
          </p:nvSpPr>
          <p:spPr bwMode="auto">
            <a:xfrm>
              <a:off x="4292600" y="2692400"/>
              <a:ext cx="3175" cy="6350"/>
            </a:xfrm>
            <a:custGeom>
              <a:avLst/>
              <a:gdLst>
                <a:gd name="T0" fmla="*/ 9 w 10"/>
                <a:gd name="T1" fmla="*/ 11 h 18"/>
                <a:gd name="T2" fmla="*/ 9 w 10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11"/>
                  </a:moveTo>
                  <a:cubicBezTo>
                    <a:pt x="0" y="0"/>
                    <a:pt x="0" y="17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2" name="Freeform 863"/>
            <p:cNvSpPr>
              <a:spLocks noChangeArrowheads="1"/>
            </p:cNvSpPr>
            <p:nvPr/>
          </p:nvSpPr>
          <p:spPr bwMode="auto">
            <a:xfrm>
              <a:off x="4297363" y="2697163"/>
              <a:ext cx="4762" cy="4762"/>
            </a:xfrm>
            <a:custGeom>
              <a:avLst/>
              <a:gdLst>
                <a:gd name="T0" fmla="*/ 0 w 13"/>
                <a:gd name="T1" fmla="*/ 8 h 12"/>
                <a:gd name="T2" fmla="*/ 0 w 13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2">
                  <a:moveTo>
                    <a:pt x="0" y="8"/>
                  </a:moveTo>
                  <a:cubicBezTo>
                    <a:pt x="12" y="11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3" name="Freeform 864"/>
            <p:cNvSpPr>
              <a:spLocks noChangeArrowheads="1"/>
            </p:cNvSpPr>
            <p:nvPr/>
          </p:nvSpPr>
          <p:spPr bwMode="auto">
            <a:xfrm>
              <a:off x="4292600" y="2698750"/>
              <a:ext cx="4763" cy="4763"/>
            </a:xfrm>
            <a:custGeom>
              <a:avLst/>
              <a:gdLst>
                <a:gd name="T0" fmla="*/ 0 w 12"/>
                <a:gd name="T1" fmla="*/ 8 h 12"/>
                <a:gd name="T2" fmla="*/ 0 w 12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0" y="8"/>
                  </a:moveTo>
                  <a:cubicBezTo>
                    <a:pt x="11" y="11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4" name="Freeform 865"/>
            <p:cNvSpPr>
              <a:spLocks noChangeArrowheads="1"/>
            </p:cNvSpPr>
            <p:nvPr/>
          </p:nvSpPr>
          <p:spPr bwMode="auto">
            <a:xfrm>
              <a:off x="4210050" y="2686050"/>
              <a:ext cx="1588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3" y="3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5" name="Freeform 866"/>
            <p:cNvSpPr>
              <a:spLocks noChangeArrowheads="1"/>
            </p:cNvSpPr>
            <p:nvPr/>
          </p:nvSpPr>
          <p:spPr bwMode="auto">
            <a:xfrm>
              <a:off x="4275138" y="2697163"/>
              <a:ext cx="3175" cy="6350"/>
            </a:xfrm>
            <a:custGeom>
              <a:avLst/>
              <a:gdLst>
                <a:gd name="T0" fmla="*/ 0 w 7"/>
                <a:gd name="T1" fmla="*/ 5 h 18"/>
                <a:gd name="T2" fmla="*/ 0 w 7"/>
                <a:gd name="T3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5"/>
                  </a:moveTo>
                  <a:cubicBezTo>
                    <a:pt x="3" y="17"/>
                    <a:pt x="6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6" name="Freeform 867"/>
            <p:cNvSpPr>
              <a:spLocks noChangeArrowheads="1"/>
            </p:cNvSpPr>
            <p:nvPr/>
          </p:nvSpPr>
          <p:spPr bwMode="auto">
            <a:xfrm>
              <a:off x="4210050" y="2689225"/>
              <a:ext cx="1588" cy="6350"/>
            </a:xfrm>
            <a:custGeom>
              <a:avLst/>
              <a:gdLst>
                <a:gd name="T0" fmla="*/ 0 w 4"/>
                <a:gd name="T1" fmla="*/ 6 h 18"/>
                <a:gd name="T2" fmla="*/ 0 w 4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8">
                  <a:moveTo>
                    <a:pt x="0" y="6"/>
                  </a:moveTo>
                  <a:cubicBezTo>
                    <a:pt x="3" y="17"/>
                    <a:pt x="3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7" name="Freeform 868"/>
            <p:cNvSpPr>
              <a:spLocks noChangeArrowheads="1"/>
            </p:cNvSpPr>
            <p:nvPr/>
          </p:nvSpPr>
          <p:spPr bwMode="auto">
            <a:xfrm>
              <a:off x="4298950" y="2686050"/>
              <a:ext cx="7938" cy="3175"/>
            </a:xfrm>
            <a:custGeom>
              <a:avLst/>
              <a:gdLst>
                <a:gd name="T0" fmla="*/ 0 w 21"/>
                <a:gd name="T1" fmla="*/ 8 h 9"/>
                <a:gd name="T2" fmla="*/ 11 w 21"/>
                <a:gd name="T3" fmla="*/ 0 h 9"/>
                <a:gd name="T4" fmla="*/ 0 w 21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9">
                  <a:moveTo>
                    <a:pt x="0" y="8"/>
                  </a:moveTo>
                  <a:cubicBezTo>
                    <a:pt x="6" y="8"/>
                    <a:pt x="20" y="5"/>
                    <a:pt x="11" y="0"/>
                  </a:cubicBezTo>
                  <a:cubicBezTo>
                    <a:pt x="9" y="5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8" name="Freeform 869"/>
            <p:cNvSpPr>
              <a:spLocks noChangeArrowheads="1"/>
            </p:cNvSpPr>
            <p:nvPr/>
          </p:nvSpPr>
          <p:spPr bwMode="auto">
            <a:xfrm>
              <a:off x="4283075" y="2689225"/>
              <a:ext cx="6350" cy="4763"/>
            </a:xfrm>
            <a:custGeom>
              <a:avLst/>
              <a:gdLst>
                <a:gd name="T0" fmla="*/ 0 w 18"/>
                <a:gd name="T1" fmla="*/ 6 h 13"/>
                <a:gd name="T2" fmla="*/ 11 w 18"/>
                <a:gd name="T3" fmla="*/ 0 h 13"/>
                <a:gd name="T4" fmla="*/ 0 w 18"/>
                <a:gd name="T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0" y="6"/>
                  </a:moveTo>
                  <a:cubicBezTo>
                    <a:pt x="8" y="12"/>
                    <a:pt x="17" y="3"/>
                    <a:pt x="11" y="0"/>
                  </a:cubicBezTo>
                  <a:cubicBezTo>
                    <a:pt x="11" y="6"/>
                    <a:pt x="3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9" name="Freeform 870"/>
            <p:cNvSpPr>
              <a:spLocks noChangeArrowheads="1"/>
            </p:cNvSpPr>
            <p:nvPr/>
          </p:nvSpPr>
          <p:spPr bwMode="auto">
            <a:xfrm>
              <a:off x="4302125" y="2698750"/>
              <a:ext cx="3175" cy="3175"/>
            </a:xfrm>
            <a:custGeom>
              <a:avLst/>
              <a:gdLst>
                <a:gd name="T0" fmla="*/ 6 w 10"/>
                <a:gd name="T1" fmla="*/ 0 h 10"/>
                <a:gd name="T2" fmla="*/ 0 w 10"/>
                <a:gd name="T3" fmla="*/ 0 h 10"/>
                <a:gd name="T4" fmla="*/ 0 w 10"/>
                <a:gd name="T5" fmla="*/ 9 h 10"/>
                <a:gd name="T6" fmla="*/ 6 w 1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6" y="0"/>
                  </a:moveTo>
                  <a:lnTo>
                    <a:pt x="0" y="0"/>
                  </a:lnTo>
                  <a:lnTo>
                    <a:pt x="0" y="9"/>
                  </a:lnTo>
                  <a:cubicBezTo>
                    <a:pt x="6" y="9"/>
                    <a:pt x="9" y="6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0" name="Freeform 871"/>
            <p:cNvSpPr>
              <a:spLocks noChangeArrowheads="1"/>
            </p:cNvSpPr>
            <p:nvPr/>
          </p:nvSpPr>
          <p:spPr bwMode="auto">
            <a:xfrm>
              <a:off x="4300538" y="2684463"/>
              <a:ext cx="3175" cy="7937"/>
            </a:xfrm>
            <a:custGeom>
              <a:avLst/>
              <a:gdLst>
                <a:gd name="T0" fmla="*/ 6 w 7"/>
                <a:gd name="T1" fmla="*/ 14 h 24"/>
                <a:gd name="T2" fmla="*/ 6 w 7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4">
                  <a:moveTo>
                    <a:pt x="6" y="14"/>
                  </a:moveTo>
                  <a:cubicBezTo>
                    <a:pt x="0" y="0"/>
                    <a:pt x="3" y="23"/>
                    <a:pt x="6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1" name="Freeform 872"/>
            <p:cNvSpPr>
              <a:spLocks noChangeArrowheads="1"/>
            </p:cNvSpPr>
            <p:nvPr/>
          </p:nvSpPr>
          <p:spPr bwMode="auto">
            <a:xfrm>
              <a:off x="4297363" y="2695575"/>
              <a:ext cx="3175" cy="6350"/>
            </a:xfrm>
            <a:custGeom>
              <a:avLst/>
              <a:gdLst>
                <a:gd name="T0" fmla="*/ 0 w 7"/>
                <a:gd name="T1" fmla="*/ 3 h 18"/>
                <a:gd name="T2" fmla="*/ 0 w 7"/>
                <a:gd name="T3" fmla="*/ 11 h 18"/>
                <a:gd name="T4" fmla="*/ 0 w 7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8">
                  <a:moveTo>
                    <a:pt x="0" y="3"/>
                  </a:moveTo>
                  <a:lnTo>
                    <a:pt x="0" y="11"/>
                  </a:lnTo>
                  <a:cubicBezTo>
                    <a:pt x="6" y="17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2" name="Freeform 873"/>
            <p:cNvSpPr>
              <a:spLocks noChangeArrowheads="1"/>
            </p:cNvSpPr>
            <p:nvPr/>
          </p:nvSpPr>
          <p:spPr bwMode="auto">
            <a:xfrm>
              <a:off x="4283075" y="2690813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0" y="11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3" name="Freeform 874"/>
            <p:cNvSpPr>
              <a:spLocks noChangeArrowheads="1"/>
            </p:cNvSpPr>
            <p:nvPr/>
          </p:nvSpPr>
          <p:spPr bwMode="auto">
            <a:xfrm>
              <a:off x="4278313" y="2681288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8 w 9"/>
                <a:gd name="T3" fmla="*/ 0 h 9"/>
                <a:gd name="T4" fmla="*/ 2 w 9"/>
                <a:gd name="T5" fmla="*/ 8 h 9"/>
                <a:gd name="T6" fmla="*/ 8 w 9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lnTo>
                    <a:pt x="8" y="0"/>
                  </a:lnTo>
                  <a:cubicBezTo>
                    <a:pt x="2" y="0"/>
                    <a:pt x="0" y="3"/>
                    <a:pt x="2" y="8"/>
                  </a:cubicBezTo>
                  <a:lnTo>
                    <a:pt x="8" y="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4" name="Freeform 875"/>
            <p:cNvSpPr>
              <a:spLocks noChangeArrowheads="1"/>
            </p:cNvSpPr>
            <p:nvPr/>
          </p:nvSpPr>
          <p:spPr bwMode="auto">
            <a:xfrm>
              <a:off x="4264025" y="2670175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5" name="Freeform 876"/>
            <p:cNvSpPr>
              <a:spLocks noChangeArrowheads="1"/>
            </p:cNvSpPr>
            <p:nvPr/>
          </p:nvSpPr>
          <p:spPr bwMode="auto">
            <a:xfrm>
              <a:off x="4246563" y="2667000"/>
              <a:ext cx="4762" cy="4763"/>
            </a:xfrm>
            <a:custGeom>
              <a:avLst/>
              <a:gdLst>
                <a:gd name="T0" fmla="*/ 9 w 15"/>
                <a:gd name="T1" fmla="*/ 14 h 15"/>
                <a:gd name="T2" fmla="*/ 9 w 15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9" y="14"/>
                  </a:moveTo>
                  <a:cubicBezTo>
                    <a:pt x="14" y="0"/>
                    <a:pt x="0" y="9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6" name="Freeform 877"/>
            <p:cNvSpPr>
              <a:spLocks noChangeArrowheads="1"/>
            </p:cNvSpPr>
            <p:nvPr/>
          </p:nvSpPr>
          <p:spPr bwMode="auto">
            <a:xfrm>
              <a:off x="4229100" y="2670175"/>
              <a:ext cx="4763" cy="4763"/>
            </a:xfrm>
            <a:custGeom>
              <a:avLst/>
              <a:gdLst>
                <a:gd name="T0" fmla="*/ 3 w 13"/>
                <a:gd name="T1" fmla="*/ 12 h 13"/>
                <a:gd name="T2" fmla="*/ 9 w 13"/>
                <a:gd name="T3" fmla="*/ 0 h 13"/>
                <a:gd name="T4" fmla="*/ 3 w 13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3" y="12"/>
                  </a:moveTo>
                  <a:cubicBezTo>
                    <a:pt x="9" y="12"/>
                    <a:pt x="12" y="6"/>
                    <a:pt x="9" y="0"/>
                  </a:cubicBezTo>
                  <a:cubicBezTo>
                    <a:pt x="3" y="0"/>
                    <a:pt x="0" y="3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7" name="Freeform 878"/>
            <p:cNvSpPr>
              <a:spLocks noChangeArrowheads="1"/>
            </p:cNvSpPr>
            <p:nvPr/>
          </p:nvSpPr>
          <p:spPr bwMode="auto">
            <a:xfrm>
              <a:off x="4195763" y="2689225"/>
              <a:ext cx="3175" cy="4763"/>
            </a:xfrm>
            <a:custGeom>
              <a:avLst/>
              <a:gdLst>
                <a:gd name="T0" fmla="*/ 0 w 10"/>
                <a:gd name="T1" fmla="*/ 0 h 13"/>
                <a:gd name="T2" fmla="*/ 0 w 10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3">
                  <a:moveTo>
                    <a:pt x="0" y="0"/>
                  </a:moveTo>
                  <a:cubicBezTo>
                    <a:pt x="0" y="12"/>
                    <a:pt x="9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8" name="Freeform 879"/>
            <p:cNvSpPr>
              <a:spLocks noChangeArrowheads="1"/>
            </p:cNvSpPr>
            <p:nvPr/>
          </p:nvSpPr>
          <p:spPr bwMode="auto">
            <a:xfrm>
              <a:off x="4291013" y="2695575"/>
              <a:ext cx="4762" cy="4763"/>
            </a:xfrm>
            <a:custGeom>
              <a:avLst/>
              <a:gdLst>
                <a:gd name="T0" fmla="*/ 6 w 15"/>
                <a:gd name="T1" fmla="*/ 8 h 12"/>
                <a:gd name="T2" fmla="*/ 3 w 15"/>
                <a:gd name="T3" fmla="*/ 3 h 12"/>
                <a:gd name="T4" fmla="*/ 6 w 15"/>
                <a:gd name="T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6" y="8"/>
                  </a:moveTo>
                  <a:cubicBezTo>
                    <a:pt x="6" y="6"/>
                    <a:pt x="3" y="0"/>
                    <a:pt x="3" y="3"/>
                  </a:cubicBezTo>
                  <a:cubicBezTo>
                    <a:pt x="0" y="11"/>
                    <a:pt x="14" y="11"/>
                    <a:pt x="6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9" name="Freeform 880"/>
            <p:cNvSpPr>
              <a:spLocks noChangeArrowheads="1"/>
            </p:cNvSpPr>
            <p:nvPr/>
          </p:nvSpPr>
          <p:spPr bwMode="auto">
            <a:xfrm>
              <a:off x="4203700" y="2676525"/>
              <a:ext cx="6350" cy="4763"/>
            </a:xfrm>
            <a:custGeom>
              <a:avLst/>
              <a:gdLst>
                <a:gd name="T0" fmla="*/ 0 w 18"/>
                <a:gd name="T1" fmla="*/ 9 h 13"/>
                <a:gd name="T2" fmla="*/ 0 w 18"/>
                <a:gd name="T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0" y="9"/>
                  </a:moveTo>
                  <a:cubicBezTo>
                    <a:pt x="17" y="12"/>
                    <a:pt x="5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0" name="Freeform 881"/>
            <p:cNvSpPr>
              <a:spLocks noChangeArrowheads="1"/>
            </p:cNvSpPr>
            <p:nvPr/>
          </p:nvSpPr>
          <p:spPr bwMode="auto">
            <a:xfrm>
              <a:off x="3863975" y="2722563"/>
              <a:ext cx="4763" cy="3175"/>
            </a:xfrm>
            <a:custGeom>
              <a:avLst/>
              <a:gdLst>
                <a:gd name="T0" fmla="*/ 0 w 13"/>
                <a:gd name="T1" fmla="*/ 6 h 10"/>
                <a:gd name="T2" fmla="*/ 0 w 13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6"/>
                  </a:moveTo>
                  <a:cubicBezTo>
                    <a:pt x="12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1" name="Freeform 882"/>
            <p:cNvSpPr>
              <a:spLocks noChangeArrowheads="1"/>
            </p:cNvSpPr>
            <p:nvPr/>
          </p:nvSpPr>
          <p:spPr bwMode="auto">
            <a:xfrm>
              <a:off x="3889375" y="2725738"/>
              <a:ext cx="3175" cy="3175"/>
            </a:xfrm>
            <a:custGeom>
              <a:avLst/>
              <a:gdLst>
                <a:gd name="T0" fmla="*/ 9 w 10"/>
                <a:gd name="T1" fmla="*/ 5 h 9"/>
                <a:gd name="T2" fmla="*/ 3 w 10"/>
                <a:gd name="T3" fmla="*/ 0 h 9"/>
                <a:gd name="T4" fmla="*/ 9 w 10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9" y="5"/>
                  </a:moveTo>
                  <a:cubicBezTo>
                    <a:pt x="9" y="3"/>
                    <a:pt x="6" y="0"/>
                    <a:pt x="3" y="0"/>
                  </a:cubicBezTo>
                  <a:cubicBezTo>
                    <a:pt x="0" y="3"/>
                    <a:pt x="0" y="8"/>
                    <a:pt x="9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2" name="Freeform 883"/>
            <p:cNvSpPr>
              <a:spLocks noChangeArrowheads="1"/>
            </p:cNvSpPr>
            <p:nvPr/>
          </p:nvSpPr>
          <p:spPr bwMode="auto">
            <a:xfrm>
              <a:off x="3900488" y="2722563"/>
              <a:ext cx="4762" cy="3175"/>
            </a:xfrm>
            <a:custGeom>
              <a:avLst/>
              <a:gdLst>
                <a:gd name="T0" fmla="*/ 0 w 15"/>
                <a:gd name="T1" fmla="*/ 9 h 10"/>
                <a:gd name="T2" fmla="*/ 0 w 15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0">
                  <a:moveTo>
                    <a:pt x="0" y="9"/>
                  </a:moveTo>
                  <a:cubicBezTo>
                    <a:pt x="14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3" name="Freeform 884"/>
            <p:cNvSpPr>
              <a:spLocks noChangeArrowheads="1"/>
            </p:cNvSpPr>
            <p:nvPr/>
          </p:nvSpPr>
          <p:spPr bwMode="auto">
            <a:xfrm>
              <a:off x="3951288" y="2716213"/>
              <a:ext cx="4762" cy="3175"/>
            </a:xfrm>
            <a:custGeom>
              <a:avLst/>
              <a:gdLst>
                <a:gd name="T0" fmla="*/ 0 w 13"/>
                <a:gd name="T1" fmla="*/ 9 h 10"/>
                <a:gd name="T2" fmla="*/ 0 w 13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9"/>
                  </a:moveTo>
                  <a:cubicBezTo>
                    <a:pt x="12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4" name="Freeform 885"/>
            <p:cNvSpPr>
              <a:spLocks noChangeArrowheads="1"/>
            </p:cNvSpPr>
            <p:nvPr/>
          </p:nvSpPr>
          <p:spPr bwMode="auto">
            <a:xfrm>
              <a:off x="3905250" y="2722563"/>
              <a:ext cx="3175" cy="7937"/>
            </a:xfrm>
            <a:custGeom>
              <a:avLst/>
              <a:gdLst>
                <a:gd name="T0" fmla="*/ 0 w 10"/>
                <a:gd name="T1" fmla="*/ 12 h 21"/>
                <a:gd name="T2" fmla="*/ 0 w 10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12"/>
                  </a:moveTo>
                  <a:cubicBezTo>
                    <a:pt x="9" y="20"/>
                    <a:pt x="3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5" name="Freeform 886"/>
            <p:cNvSpPr>
              <a:spLocks noChangeArrowheads="1"/>
            </p:cNvSpPr>
            <p:nvPr/>
          </p:nvSpPr>
          <p:spPr bwMode="auto">
            <a:xfrm>
              <a:off x="3922713" y="2722563"/>
              <a:ext cx="4762" cy="4762"/>
            </a:xfrm>
            <a:custGeom>
              <a:avLst/>
              <a:gdLst>
                <a:gd name="T0" fmla="*/ 9 w 15"/>
                <a:gd name="T1" fmla="*/ 14 h 15"/>
                <a:gd name="T2" fmla="*/ 0 w 15"/>
                <a:gd name="T3" fmla="*/ 3 h 15"/>
                <a:gd name="T4" fmla="*/ 9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14"/>
                  </a:moveTo>
                  <a:cubicBezTo>
                    <a:pt x="14" y="9"/>
                    <a:pt x="6" y="0"/>
                    <a:pt x="0" y="3"/>
                  </a:cubicBezTo>
                  <a:cubicBezTo>
                    <a:pt x="0" y="9"/>
                    <a:pt x="3" y="12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6" name="Freeform 887"/>
            <p:cNvSpPr>
              <a:spLocks noChangeArrowheads="1"/>
            </p:cNvSpPr>
            <p:nvPr/>
          </p:nvSpPr>
          <p:spPr bwMode="auto">
            <a:xfrm>
              <a:off x="3878263" y="2727325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7" name="Freeform 888"/>
            <p:cNvSpPr>
              <a:spLocks noChangeArrowheads="1"/>
            </p:cNvSpPr>
            <p:nvPr/>
          </p:nvSpPr>
          <p:spPr bwMode="auto">
            <a:xfrm>
              <a:off x="3946525" y="2719388"/>
              <a:ext cx="4763" cy="3175"/>
            </a:xfrm>
            <a:custGeom>
              <a:avLst/>
              <a:gdLst>
                <a:gd name="T0" fmla="*/ 0 w 12"/>
                <a:gd name="T1" fmla="*/ 6 h 9"/>
                <a:gd name="T2" fmla="*/ 0 w 12"/>
                <a:gd name="T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6"/>
                  </a:moveTo>
                  <a:cubicBezTo>
                    <a:pt x="11" y="8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8" name="Freeform 889"/>
            <p:cNvSpPr>
              <a:spLocks noChangeArrowheads="1"/>
            </p:cNvSpPr>
            <p:nvPr/>
          </p:nvSpPr>
          <p:spPr bwMode="auto">
            <a:xfrm>
              <a:off x="3863975" y="2732088"/>
              <a:ext cx="1588" cy="1587"/>
            </a:xfrm>
            <a:custGeom>
              <a:avLst/>
              <a:gdLst>
                <a:gd name="T0" fmla="*/ 0 w 3"/>
                <a:gd name="T1" fmla="*/ 2 h 3"/>
                <a:gd name="T2" fmla="*/ 0 w 3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2" y="2"/>
                    <a:pt x="0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9" name="Freeform 890"/>
            <p:cNvSpPr>
              <a:spLocks noChangeArrowheads="1"/>
            </p:cNvSpPr>
            <p:nvPr/>
          </p:nvSpPr>
          <p:spPr bwMode="auto">
            <a:xfrm>
              <a:off x="3897313" y="2727325"/>
              <a:ext cx="4762" cy="3175"/>
            </a:xfrm>
            <a:custGeom>
              <a:avLst/>
              <a:gdLst>
                <a:gd name="T0" fmla="*/ 0 w 12"/>
                <a:gd name="T1" fmla="*/ 5 h 9"/>
                <a:gd name="T2" fmla="*/ 0 w 12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11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0" name="Freeform 891"/>
            <p:cNvSpPr>
              <a:spLocks noChangeArrowheads="1"/>
            </p:cNvSpPr>
            <p:nvPr/>
          </p:nvSpPr>
          <p:spPr bwMode="auto">
            <a:xfrm>
              <a:off x="3951288" y="2720975"/>
              <a:ext cx="7937" cy="4763"/>
            </a:xfrm>
            <a:custGeom>
              <a:avLst/>
              <a:gdLst>
                <a:gd name="T0" fmla="*/ 9 w 21"/>
                <a:gd name="T1" fmla="*/ 14 h 15"/>
                <a:gd name="T2" fmla="*/ 9 w 21"/>
                <a:gd name="T3" fmla="*/ 0 h 15"/>
                <a:gd name="T4" fmla="*/ 9 w 21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5">
                  <a:moveTo>
                    <a:pt x="9" y="14"/>
                  </a:moveTo>
                  <a:cubicBezTo>
                    <a:pt x="9" y="8"/>
                    <a:pt x="20" y="3"/>
                    <a:pt x="9" y="0"/>
                  </a:cubicBezTo>
                  <a:cubicBezTo>
                    <a:pt x="14" y="8"/>
                    <a:pt x="0" y="11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1" name="Freeform 892"/>
            <p:cNvSpPr>
              <a:spLocks noChangeArrowheads="1"/>
            </p:cNvSpPr>
            <p:nvPr/>
          </p:nvSpPr>
          <p:spPr bwMode="auto">
            <a:xfrm>
              <a:off x="3881438" y="2728913"/>
              <a:ext cx="4762" cy="3175"/>
            </a:xfrm>
            <a:custGeom>
              <a:avLst/>
              <a:gdLst>
                <a:gd name="T0" fmla="*/ 0 w 13"/>
                <a:gd name="T1" fmla="*/ 6 h 10"/>
                <a:gd name="T2" fmla="*/ 0 w 13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6"/>
                  </a:moveTo>
                  <a:cubicBezTo>
                    <a:pt x="12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2" name="Freeform 893"/>
            <p:cNvSpPr>
              <a:spLocks noChangeArrowheads="1"/>
            </p:cNvSpPr>
            <p:nvPr/>
          </p:nvSpPr>
          <p:spPr bwMode="auto">
            <a:xfrm>
              <a:off x="3894138" y="2728913"/>
              <a:ext cx="4762" cy="3175"/>
            </a:xfrm>
            <a:custGeom>
              <a:avLst/>
              <a:gdLst>
                <a:gd name="T0" fmla="*/ 9 w 13"/>
                <a:gd name="T1" fmla="*/ 0 h 10"/>
                <a:gd name="T2" fmla="*/ 0 w 13"/>
                <a:gd name="T3" fmla="*/ 9 h 10"/>
                <a:gd name="T4" fmla="*/ 9 w 13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9" y="0"/>
                  </a:moveTo>
                  <a:cubicBezTo>
                    <a:pt x="0" y="0"/>
                    <a:pt x="0" y="6"/>
                    <a:pt x="0" y="9"/>
                  </a:cubicBezTo>
                  <a:cubicBezTo>
                    <a:pt x="9" y="9"/>
                    <a:pt x="12" y="6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3" name="Freeform 894"/>
            <p:cNvSpPr>
              <a:spLocks noChangeArrowheads="1"/>
            </p:cNvSpPr>
            <p:nvPr/>
          </p:nvSpPr>
          <p:spPr bwMode="auto">
            <a:xfrm>
              <a:off x="3929063" y="2722563"/>
              <a:ext cx="3175" cy="7937"/>
            </a:xfrm>
            <a:custGeom>
              <a:avLst/>
              <a:gdLst>
                <a:gd name="T0" fmla="*/ 0 w 9"/>
                <a:gd name="T1" fmla="*/ 9 h 21"/>
                <a:gd name="T2" fmla="*/ 0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9"/>
                  </a:moveTo>
                  <a:cubicBezTo>
                    <a:pt x="8" y="20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4" name="Freeform 895"/>
            <p:cNvSpPr>
              <a:spLocks noChangeArrowheads="1"/>
            </p:cNvSpPr>
            <p:nvPr/>
          </p:nvSpPr>
          <p:spPr bwMode="auto">
            <a:xfrm>
              <a:off x="3917950" y="2725738"/>
              <a:ext cx="4763" cy="6350"/>
            </a:xfrm>
            <a:custGeom>
              <a:avLst/>
              <a:gdLst>
                <a:gd name="T0" fmla="*/ 0 w 12"/>
                <a:gd name="T1" fmla="*/ 5 h 18"/>
                <a:gd name="T2" fmla="*/ 0 w 12"/>
                <a:gd name="T3" fmla="*/ 14 h 18"/>
                <a:gd name="T4" fmla="*/ 0 w 12"/>
                <a:gd name="T5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8">
                  <a:moveTo>
                    <a:pt x="0" y="5"/>
                  </a:moveTo>
                  <a:lnTo>
                    <a:pt x="0" y="14"/>
                  </a:lnTo>
                  <a:cubicBezTo>
                    <a:pt x="11" y="17"/>
                    <a:pt x="9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5" name="Freeform 896"/>
            <p:cNvSpPr>
              <a:spLocks noChangeArrowheads="1"/>
            </p:cNvSpPr>
            <p:nvPr/>
          </p:nvSpPr>
          <p:spPr bwMode="auto">
            <a:xfrm>
              <a:off x="3963988" y="2719388"/>
              <a:ext cx="3175" cy="6350"/>
            </a:xfrm>
            <a:custGeom>
              <a:avLst/>
              <a:gdLst>
                <a:gd name="T0" fmla="*/ 8 w 9"/>
                <a:gd name="T1" fmla="*/ 8 h 18"/>
                <a:gd name="T2" fmla="*/ 8 w 9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8"/>
                  </a:moveTo>
                  <a:cubicBezTo>
                    <a:pt x="0" y="0"/>
                    <a:pt x="3" y="17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6" name="Freeform 897"/>
            <p:cNvSpPr>
              <a:spLocks noChangeArrowheads="1"/>
            </p:cNvSpPr>
            <p:nvPr/>
          </p:nvSpPr>
          <p:spPr bwMode="auto">
            <a:xfrm>
              <a:off x="3868738" y="2732088"/>
              <a:ext cx="4762" cy="7937"/>
            </a:xfrm>
            <a:custGeom>
              <a:avLst/>
              <a:gdLst>
                <a:gd name="T0" fmla="*/ 14 w 15"/>
                <a:gd name="T1" fmla="*/ 8 h 20"/>
                <a:gd name="T2" fmla="*/ 14 w 15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0">
                  <a:moveTo>
                    <a:pt x="14" y="8"/>
                  </a:moveTo>
                  <a:cubicBezTo>
                    <a:pt x="0" y="0"/>
                    <a:pt x="5" y="19"/>
                    <a:pt x="1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7" name="Freeform 898"/>
            <p:cNvSpPr>
              <a:spLocks noChangeArrowheads="1"/>
            </p:cNvSpPr>
            <p:nvPr/>
          </p:nvSpPr>
          <p:spPr bwMode="auto">
            <a:xfrm>
              <a:off x="3897313" y="2732088"/>
              <a:ext cx="1587" cy="1587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2" y="3"/>
                    <a:pt x="0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8" name="Freeform 899"/>
            <p:cNvSpPr>
              <a:spLocks noChangeArrowheads="1"/>
            </p:cNvSpPr>
            <p:nvPr/>
          </p:nvSpPr>
          <p:spPr bwMode="auto">
            <a:xfrm>
              <a:off x="3905250" y="2728913"/>
              <a:ext cx="4763" cy="3175"/>
            </a:xfrm>
            <a:custGeom>
              <a:avLst/>
              <a:gdLst>
                <a:gd name="T0" fmla="*/ 0 w 13"/>
                <a:gd name="T1" fmla="*/ 0 h 7"/>
                <a:gd name="T2" fmla="*/ 12 w 13"/>
                <a:gd name="T3" fmla="*/ 6 h 7"/>
                <a:gd name="T4" fmla="*/ 0 w 13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0" y="0"/>
                  </a:moveTo>
                  <a:cubicBezTo>
                    <a:pt x="0" y="6"/>
                    <a:pt x="6" y="6"/>
                    <a:pt x="12" y="6"/>
                  </a:cubicBezTo>
                  <a:cubicBezTo>
                    <a:pt x="12" y="0"/>
                    <a:pt x="6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9" name="Freeform 900"/>
            <p:cNvSpPr>
              <a:spLocks noChangeArrowheads="1"/>
            </p:cNvSpPr>
            <p:nvPr/>
          </p:nvSpPr>
          <p:spPr bwMode="auto">
            <a:xfrm>
              <a:off x="3863975" y="2735263"/>
              <a:ext cx="3175" cy="6350"/>
            </a:xfrm>
            <a:custGeom>
              <a:avLst/>
              <a:gdLst>
                <a:gd name="T0" fmla="*/ 0 w 7"/>
                <a:gd name="T1" fmla="*/ 8 h 18"/>
                <a:gd name="T2" fmla="*/ 0 w 7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8"/>
                  </a:moveTo>
                  <a:cubicBezTo>
                    <a:pt x="6" y="17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0" name="Freeform 901"/>
            <p:cNvSpPr>
              <a:spLocks noChangeArrowheads="1"/>
            </p:cNvSpPr>
            <p:nvPr/>
          </p:nvSpPr>
          <p:spPr bwMode="auto">
            <a:xfrm>
              <a:off x="3895725" y="2732088"/>
              <a:ext cx="4763" cy="4762"/>
            </a:xfrm>
            <a:custGeom>
              <a:avLst/>
              <a:gdLst>
                <a:gd name="T0" fmla="*/ 0 w 12"/>
                <a:gd name="T1" fmla="*/ 8 h 12"/>
                <a:gd name="T2" fmla="*/ 0 w 12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0" y="8"/>
                  </a:moveTo>
                  <a:cubicBezTo>
                    <a:pt x="11" y="11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1" name="Freeform 902"/>
            <p:cNvSpPr>
              <a:spLocks noChangeArrowheads="1"/>
            </p:cNvSpPr>
            <p:nvPr/>
          </p:nvSpPr>
          <p:spPr bwMode="auto">
            <a:xfrm>
              <a:off x="3902075" y="2732088"/>
              <a:ext cx="4763" cy="4762"/>
            </a:xfrm>
            <a:custGeom>
              <a:avLst/>
              <a:gdLst>
                <a:gd name="T0" fmla="*/ 0 w 15"/>
                <a:gd name="T1" fmla="*/ 8 h 15"/>
                <a:gd name="T2" fmla="*/ 14 w 15"/>
                <a:gd name="T3" fmla="*/ 14 h 15"/>
                <a:gd name="T4" fmla="*/ 0 w 15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0" y="8"/>
                  </a:moveTo>
                  <a:cubicBezTo>
                    <a:pt x="5" y="11"/>
                    <a:pt x="8" y="14"/>
                    <a:pt x="14" y="14"/>
                  </a:cubicBezTo>
                  <a:cubicBezTo>
                    <a:pt x="11" y="8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2" name="Freeform 903"/>
            <p:cNvSpPr>
              <a:spLocks noChangeArrowheads="1"/>
            </p:cNvSpPr>
            <p:nvPr/>
          </p:nvSpPr>
          <p:spPr bwMode="auto">
            <a:xfrm>
              <a:off x="3948113" y="2728913"/>
              <a:ext cx="1587" cy="1587"/>
            </a:xfrm>
            <a:custGeom>
              <a:avLst/>
              <a:gdLst>
                <a:gd name="T0" fmla="*/ 0 w 3"/>
                <a:gd name="T1" fmla="*/ 3 h 4"/>
                <a:gd name="T2" fmla="*/ 0 w 3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0" y="3"/>
                  </a:moveTo>
                  <a:cubicBezTo>
                    <a:pt x="2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3" name="Freeform 904"/>
            <p:cNvSpPr>
              <a:spLocks noChangeArrowheads="1"/>
            </p:cNvSpPr>
            <p:nvPr/>
          </p:nvSpPr>
          <p:spPr bwMode="auto">
            <a:xfrm>
              <a:off x="3919538" y="2733675"/>
              <a:ext cx="4762" cy="4763"/>
            </a:xfrm>
            <a:custGeom>
              <a:avLst/>
              <a:gdLst>
                <a:gd name="T0" fmla="*/ 14 w 15"/>
                <a:gd name="T1" fmla="*/ 0 h 15"/>
                <a:gd name="T2" fmla="*/ 0 w 15"/>
                <a:gd name="T3" fmla="*/ 6 h 15"/>
                <a:gd name="T4" fmla="*/ 0 w 15"/>
                <a:gd name="T5" fmla="*/ 14 h 15"/>
                <a:gd name="T6" fmla="*/ 14 w 15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14" y="0"/>
                  </a:moveTo>
                  <a:cubicBezTo>
                    <a:pt x="8" y="0"/>
                    <a:pt x="3" y="0"/>
                    <a:pt x="0" y="6"/>
                  </a:cubicBezTo>
                  <a:lnTo>
                    <a:pt x="0" y="14"/>
                  </a:lnTo>
                  <a:cubicBezTo>
                    <a:pt x="5" y="14"/>
                    <a:pt x="14" y="9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4" name="Freeform 905"/>
            <p:cNvSpPr>
              <a:spLocks noChangeArrowheads="1"/>
            </p:cNvSpPr>
            <p:nvPr/>
          </p:nvSpPr>
          <p:spPr bwMode="auto">
            <a:xfrm>
              <a:off x="3956050" y="2727325"/>
              <a:ext cx="4763" cy="3175"/>
            </a:xfrm>
            <a:custGeom>
              <a:avLst/>
              <a:gdLst>
                <a:gd name="T0" fmla="*/ 0 w 12"/>
                <a:gd name="T1" fmla="*/ 6 h 10"/>
                <a:gd name="T2" fmla="*/ 3 w 12"/>
                <a:gd name="T3" fmla="*/ 9 h 10"/>
                <a:gd name="T4" fmla="*/ 9 w 12"/>
                <a:gd name="T5" fmla="*/ 9 h 10"/>
                <a:gd name="T6" fmla="*/ 0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3" y="6"/>
                    <a:pt x="3" y="6"/>
                    <a:pt x="3" y="9"/>
                  </a:cubicBezTo>
                  <a:lnTo>
                    <a:pt x="9" y="9"/>
                  </a:lnTo>
                  <a:cubicBezTo>
                    <a:pt x="11" y="0"/>
                    <a:pt x="0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5" name="Freeform 906"/>
            <p:cNvSpPr>
              <a:spLocks noChangeArrowheads="1"/>
            </p:cNvSpPr>
            <p:nvPr/>
          </p:nvSpPr>
          <p:spPr bwMode="auto">
            <a:xfrm>
              <a:off x="3871913" y="2740025"/>
              <a:ext cx="4762" cy="4763"/>
            </a:xfrm>
            <a:custGeom>
              <a:avLst/>
              <a:gdLst>
                <a:gd name="T0" fmla="*/ 14 w 15"/>
                <a:gd name="T1" fmla="*/ 9 h 15"/>
                <a:gd name="T2" fmla="*/ 0 w 15"/>
                <a:gd name="T3" fmla="*/ 0 h 15"/>
                <a:gd name="T4" fmla="*/ 14 w 15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9"/>
                  </a:moveTo>
                  <a:cubicBezTo>
                    <a:pt x="11" y="6"/>
                    <a:pt x="6" y="0"/>
                    <a:pt x="0" y="0"/>
                  </a:cubicBezTo>
                  <a:cubicBezTo>
                    <a:pt x="0" y="6"/>
                    <a:pt x="11" y="14"/>
                    <a:pt x="1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6" name="Freeform 907"/>
            <p:cNvSpPr>
              <a:spLocks noChangeArrowheads="1"/>
            </p:cNvSpPr>
            <p:nvPr/>
          </p:nvSpPr>
          <p:spPr bwMode="auto">
            <a:xfrm>
              <a:off x="3865563" y="2741613"/>
              <a:ext cx="4762" cy="3175"/>
            </a:xfrm>
            <a:custGeom>
              <a:avLst/>
              <a:gdLst>
                <a:gd name="T0" fmla="*/ 14 w 15"/>
                <a:gd name="T1" fmla="*/ 3 h 9"/>
                <a:gd name="T2" fmla="*/ 0 w 15"/>
                <a:gd name="T3" fmla="*/ 8 h 9"/>
                <a:gd name="T4" fmla="*/ 14 w 15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3"/>
                  </a:moveTo>
                  <a:cubicBezTo>
                    <a:pt x="9" y="0"/>
                    <a:pt x="3" y="3"/>
                    <a:pt x="0" y="8"/>
                  </a:cubicBezTo>
                  <a:cubicBezTo>
                    <a:pt x="3" y="6"/>
                    <a:pt x="14" y="8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7" name="Freeform 908"/>
            <p:cNvSpPr>
              <a:spLocks noChangeArrowheads="1"/>
            </p:cNvSpPr>
            <p:nvPr/>
          </p:nvSpPr>
          <p:spPr bwMode="auto">
            <a:xfrm>
              <a:off x="3879850" y="2740025"/>
              <a:ext cx="3175" cy="6350"/>
            </a:xfrm>
            <a:custGeom>
              <a:avLst/>
              <a:gdLst>
                <a:gd name="T0" fmla="*/ 3 w 9"/>
                <a:gd name="T1" fmla="*/ 0 h 18"/>
                <a:gd name="T2" fmla="*/ 0 w 9"/>
                <a:gd name="T3" fmla="*/ 17 h 18"/>
                <a:gd name="T4" fmla="*/ 3 w 9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8">
                  <a:moveTo>
                    <a:pt x="3" y="0"/>
                  </a:moveTo>
                  <a:cubicBezTo>
                    <a:pt x="0" y="3"/>
                    <a:pt x="3" y="11"/>
                    <a:pt x="0" y="17"/>
                  </a:cubicBezTo>
                  <a:cubicBezTo>
                    <a:pt x="5" y="17"/>
                    <a:pt x="8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8" name="Freeform 909"/>
            <p:cNvSpPr>
              <a:spLocks noChangeArrowheads="1"/>
            </p:cNvSpPr>
            <p:nvPr/>
          </p:nvSpPr>
          <p:spPr bwMode="auto">
            <a:xfrm>
              <a:off x="3894138" y="2738438"/>
              <a:ext cx="4762" cy="3175"/>
            </a:xfrm>
            <a:custGeom>
              <a:avLst/>
              <a:gdLst>
                <a:gd name="T0" fmla="*/ 14 w 15"/>
                <a:gd name="T1" fmla="*/ 0 h 9"/>
                <a:gd name="T2" fmla="*/ 14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4" y="0"/>
                  </a:moveTo>
                  <a:cubicBezTo>
                    <a:pt x="0" y="0"/>
                    <a:pt x="11" y="8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9" name="Freeform 910"/>
            <p:cNvSpPr>
              <a:spLocks noChangeArrowheads="1"/>
            </p:cNvSpPr>
            <p:nvPr/>
          </p:nvSpPr>
          <p:spPr bwMode="auto">
            <a:xfrm>
              <a:off x="3937000" y="2733675"/>
              <a:ext cx="3175" cy="3175"/>
            </a:xfrm>
            <a:custGeom>
              <a:avLst/>
              <a:gdLst>
                <a:gd name="T0" fmla="*/ 0 w 9"/>
                <a:gd name="T1" fmla="*/ 3 h 10"/>
                <a:gd name="T2" fmla="*/ 0 w 9"/>
                <a:gd name="T3" fmla="*/ 9 h 10"/>
                <a:gd name="T4" fmla="*/ 8 w 9"/>
                <a:gd name="T5" fmla="*/ 9 h 10"/>
                <a:gd name="T6" fmla="*/ 0 w 9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3"/>
                  </a:moveTo>
                  <a:lnTo>
                    <a:pt x="0" y="9"/>
                  </a:lnTo>
                  <a:lnTo>
                    <a:pt x="8" y="9"/>
                  </a:lnTo>
                  <a:cubicBezTo>
                    <a:pt x="8" y="3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0" name="Freeform 911"/>
            <p:cNvSpPr>
              <a:spLocks noChangeArrowheads="1"/>
            </p:cNvSpPr>
            <p:nvPr/>
          </p:nvSpPr>
          <p:spPr bwMode="auto">
            <a:xfrm>
              <a:off x="3856038" y="2743200"/>
              <a:ext cx="4762" cy="6350"/>
            </a:xfrm>
            <a:custGeom>
              <a:avLst/>
              <a:gdLst>
                <a:gd name="T0" fmla="*/ 0 w 12"/>
                <a:gd name="T1" fmla="*/ 11 h 18"/>
                <a:gd name="T2" fmla="*/ 0 w 12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0" y="11"/>
                  </a:moveTo>
                  <a:cubicBezTo>
                    <a:pt x="11" y="17"/>
                    <a:pt x="8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1" name="Freeform 912"/>
            <p:cNvSpPr>
              <a:spLocks noChangeArrowheads="1"/>
            </p:cNvSpPr>
            <p:nvPr/>
          </p:nvSpPr>
          <p:spPr bwMode="auto">
            <a:xfrm>
              <a:off x="3902075" y="2738438"/>
              <a:ext cx="4763" cy="3175"/>
            </a:xfrm>
            <a:custGeom>
              <a:avLst/>
              <a:gdLst>
                <a:gd name="T0" fmla="*/ 3 w 12"/>
                <a:gd name="T1" fmla="*/ 8 h 9"/>
                <a:gd name="T2" fmla="*/ 3 w 12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3" y="8"/>
                  </a:moveTo>
                  <a:cubicBezTo>
                    <a:pt x="11" y="8"/>
                    <a:pt x="0" y="0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2" name="Freeform 913"/>
            <p:cNvSpPr>
              <a:spLocks noChangeArrowheads="1"/>
            </p:cNvSpPr>
            <p:nvPr/>
          </p:nvSpPr>
          <p:spPr bwMode="auto">
            <a:xfrm>
              <a:off x="3913188" y="2738438"/>
              <a:ext cx="3175" cy="4762"/>
            </a:xfrm>
            <a:custGeom>
              <a:avLst/>
              <a:gdLst>
                <a:gd name="T0" fmla="*/ 0 w 9"/>
                <a:gd name="T1" fmla="*/ 2 h 12"/>
                <a:gd name="T2" fmla="*/ 8 w 9"/>
                <a:gd name="T3" fmla="*/ 8 h 12"/>
                <a:gd name="T4" fmla="*/ 0 w 9"/>
                <a:gd name="T5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0" y="2"/>
                  </a:moveTo>
                  <a:cubicBezTo>
                    <a:pt x="0" y="8"/>
                    <a:pt x="3" y="11"/>
                    <a:pt x="8" y="8"/>
                  </a:cubicBezTo>
                  <a:cubicBezTo>
                    <a:pt x="8" y="2"/>
                    <a:pt x="6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3" name="Freeform 914"/>
            <p:cNvSpPr>
              <a:spLocks noChangeArrowheads="1"/>
            </p:cNvSpPr>
            <p:nvPr/>
          </p:nvSpPr>
          <p:spPr bwMode="auto">
            <a:xfrm>
              <a:off x="3925888" y="2735263"/>
              <a:ext cx="4762" cy="3175"/>
            </a:xfrm>
            <a:custGeom>
              <a:avLst/>
              <a:gdLst>
                <a:gd name="T0" fmla="*/ 0 w 15"/>
                <a:gd name="T1" fmla="*/ 6 h 9"/>
                <a:gd name="T2" fmla="*/ 8 w 15"/>
                <a:gd name="T3" fmla="*/ 8 h 9"/>
                <a:gd name="T4" fmla="*/ 0 w 15"/>
                <a:gd name="T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6"/>
                  </a:moveTo>
                  <a:cubicBezTo>
                    <a:pt x="0" y="6"/>
                    <a:pt x="8" y="6"/>
                    <a:pt x="8" y="8"/>
                  </a:cubicBezTo>
                  <a:cubicBezTo>
                    <a:pt x="14" y="0"/>
                    <a:pt x="0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4" name="Freeform 915"/>
            <p:cNvSpPr>
              <a:spLocks noChangeArrowheads="1"/>
            </p:cNvSpPr>
            <p:nvPr/>
          </p:nvSpPr>
          <p:spPr bwMode="auto">
            <a:xfrm>
              <a:off x="3962400" y="2732088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6 w 7"/>
                <a:gd name="T3" fmla="*/ 0 h 6"/>
                <a:gd name="T4" fmla="*/ 0 w 7"/>
                <a:gd name="T5" fmla="*/ 0 h 6"/>
                <a:gd name="T6" fmla="*/ 0 w 7"/>
                <a:gd name="T7" fmla="*/ 5 h 6"/>
                <a:gd name="T8" fmla="*/ 6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5" name="Freeform 916"/>
            <p:cNvSpPr>
              <a:spLocks noChangeArrowheads="1"/>
            </p:cNvSpPr>
            <p:nvPr/>
          </p:nvSpPr>
          <p:spPr bwMode="auto">
            <a:xfrm>
              <a:off x="3892550" y="2744788"/>
              <a:ext cx="1588" cy="3175"/>
            </a:xfrm>
            <a:custGeom>
              <a:avLst/>
              <a:gdLst>
                <a:gd name="T0" fmla="*/ 5 w 6"/>
                <a:gd name="T1" fmla="*/ 6 h 7"/>
                <a:gd name="T2" fmla="*/ 5 w 6"/>
                <a:gd name="T3" fmla="*/ 0 h 7"/>
                <a:gd name="T4" fmla="*/ 0 w 6"/>
                <a:gd name="T5" fmla="*/ 0 h 7"/>
                <a:gd name="T6" fmla="*/ 0 w 6"/>
                <a:gd name="T7" fmla="*/ 6 h 7"/>
                <a:gd name="T8" fmla="*/ 5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6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6" name="Freeform 917"/>
            <p:cNvSpPr>
              <a:spLocks noChangeArrowheads="1"/>
            </p:cNvSpPr>
            <p:nvPr/>
          </p:nvSpPr>
          <p:spPr bwMode="auto">
            <a:xfrm>
              <a:off x="3933825" y="2740025"/>
              <a:ext cx="4763" cy="4763"/>
            </a:xfrm>
            <a:custGeom>
              <a:avLst/>
              <a:gdLst>
                <a:gd name="T0" fmla="*/ 0 w 13"/>
                <a:gd name="T1" fmla="*/ 0 h 15"/>
                <a:gd name="T2" fmla="*/ 0 w 13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0"/>
                  </a:moveTo>
                  <a:cubicBezTo>
                    <a:pt x="3" y="14"/>
                    <a:pt x="12" y="3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7" name="Freeform 918"/>
            <p:cNvSpPr>
              <a:spLocks noChangeArrowheads="1"/>
            </p:cNvSpPr>
            <p:nvPr/>
          </p:nvSpPr>
          <p:spPr bwMode="auto">
            <a:xfrm>
              <a:off x="3919538" y="2740025"/>
              <a:ext cx="4762" cy="6350"/>
            </a:xfrm>
            <a:custGeom>
              <a:avLst/>
              <a:gdLst>
                <a:gd name="T0" fmla="*/ 5 w 15"/>
                <a:gd name="T1" fmla="*/ 9 h 18"/>
                <a:gd name="T2" fmla="*/ 5 w 15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5" y="9"/>
                  </a:moveTo>
                  <a:cubicBezTo>
                    <a:pt x="0" y="17"/>
                    <a:pt x="14" y="0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8" name="Freeform 919"/>
            <p:cNvSpPr>
              <a:spLocks noChangeArrowheads="1"/>
            </p:cNvSpPr>
            <p:nvPr/>
          </p:nvSpPr>
          <p:spPr bwMode="auto">
            <a:xfrm>
              <a:off x="3925888" y="2740025"/>
              <a:ext cx="3175" cy="4763"/>
            </a:xfrm>
            <a:custGeom>
              <a:avLst/>
              <a:gdLst>
                <a:gd name="T0" fmla="*/ 8 w 9"/>
                <a:gd name="T1" fmla="*/ 6 h 15"/>
                <a:gd name="T2" fmla="*/ 3 w 9"/>
                <a:gd name="T3" fmla="*/ 0 h 15"/>
                <a:gd name="T4" fmla="*/ 8 w 9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8" y="6"/>
                  </a:moveTo>
                  <a:cubicBezTo>
                    <a:pt x="5" y="6"/>
                    <a:pt x="5" y="3"/>
                    <a:pt x="3" y="0"/>
                  </a:cubicBezTo>
                  <a:cubicBezTo>
                    <a:pt x="0" y="9"/>
                    <a:pt x="8" y="14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9" name="Freeform 920"/>
            <p:cNvSpPr>
              <a:spLocks noChangeArrowheads="1"/>
            </p:cNvSpPr>
            <p:nvPr/>
          </p:nvSpPr>
          <p:spPr bwMode="auto">
            <a:xfrm>
              <a:off x="3886200" y="2747963"/>
              <a:ext cx="3175" cy="1587"/>
            </a:xfrm>
            <a:custGeom>
              <a:avLst/>
              <a:gdLst>
                <a:gd name="T0" fmla="*/ 3 w 7"/>
                <a:gd name="T1" fmla="*/ 0 h 4"/>
                <a:gd name="T2" fmla="*/ 3 w 7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3" y="0"/>
                  </a:moveTo>
                  <a:cubicBezTo>
                    <a:pt x="6" y="3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0" name="Freeform 921"/>
            <p:cNvSpPr>
              <a:spLocks noChangeArrowheads="1"/>
            </p:cNvSpPr>
            <p:nvPr/>
          </p:nvSpPr>
          <p:spPr bwMode="auto">
            <a:xfrm>
              <a:off x="3956050" y="2738438"/>
              <a:ext cx="4763" cy="4762"/>
            </a:xfrm>
            <a:custGeom>
              <a:avLst/>
              <a:gdLst>
                <a:gd name="T0" fmla="*/ 0 w 15"/>
                <a:gd name="T1" fmla="*/ 5 h 12"/>
                <a:gd name="T2" fmla="*/ 14 w 15"/>
                <a:gd name="T3" fmla="*/ 2 h 12"/>
                <a:gd name="T4" fmla="*/ 0 w 15"/>
                <a:gd name="T5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0" y="5"/>
                  </a:moveTo>
                  <a:cubicBezTo>
                    <a:pt x="3" y="5"/>
                    <a:pt x="14" y="11"/>
                    <a:pt x="14" y="2"/>
                  </a:cubicBezTo>
                  <a:cubicBezTo>
                    <a:pt x="12" y="2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1" name="Freeform 922"/>
            <p:cNvSpPr>
              <a:spLocks noChangeArrowheads="1"/>
            </p:cNvSpPr>
            <p:nvPr/>
          </p:nvSpPr>
          <p:spPr bwMode="auto">
            <a:xfrm>
              <a:off x="3881438" y="2749550"/>
              <a:ext cx="6350" cy="3175"/>
            </a:xfrm>
            <a:custGeom>
              <a:avLst/>
              <a:gdLst>
                <a:gd name="T0" fmla="*/ 16 w 17"/>
                <a:gd name="T1" fmla="*/ 3 h 9"/>
                <a:gd name="T2" fmla="*/ 2 w 17"/>
                <a:gd name="T3" fmla="*/ 0 h 9"/>
                <a:gd name="T4" fmla="*/ 16 w 17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9">
                  <a:moveTo>
                    <a:pt x="16" y="3"/>
                  </a:moveTo>
                  <a:cubicBezTo>
                    <a:pt x="11" y="3"/>
                    <a:pt x="8" y="0"/>
                    <a:pt x="2" y="0"/>
                  </a:cubicBezTo>
                  <a:cubicBezTo>
                    <a:pt x="0" y="5"/>
                    <a:pt x="16" y="8"/>
                    <a:pt x="16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2" name="Freeform 923"/>
            <p:cNvSpPr>
              <a:spLocks noChangeArrowheads="1"/>
            </p:cNvSpPr>
            <p:nvPr/>
          </p:nvSpPr>
          <p:spPr bwMode="auto">
            <a:xfrm>
              <a:off x="3960813" y="2740025"/>
              <a:ext cx="1587" cy="1588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3" name="Freeform 924"/>
            <p:cNvSpPr>
              <a:spLocks noChangeArrowheads="1"/>
            </p:cNvSpPr>
            <p:nvPr/>
          </p:nvSpPr>
          <p:spPr bwMode="auto">
            <a:xfrm>
              <a:off x="3967163" y="2738438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6 h 7"/>
                <a:gd name="T4" fmla="*/ 9 w 10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6" y="6"/>
                    <a:pt x="9" y="3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4" name="Freeform 925"/>
            <p:cNvSpPr>
              <a:spLocks noChangeArrowheads="1"/>
            </p:cNvSpPr>
            <p:nvPr/>
          </p:nvSpPr>
          <p:spPr bwMode="auto">
            <a:xfrm>
              <a:off x="3897313" y="2749550"/>
              <a:ext cx="4762" cy="3175"/>
            </a:xfrm>
            <a:custGeom>
              <a:avLst/>
              <a:gdLst>
                <a:gd name="T0" fmla="*/ 8 w 12"/>
                <a:gd name="T1" fmla="*/ 0 h 9"/>
                <a:gd name="T2" fmla="*/ 0 w 12"/>
                <a:gd name="T3" fmla="*/ 0 h 9"/>
                <a:gd name="T4" fmla="*/ 0 w 12"/>
                <a:gd name="T5" fmla="*/ 8 h 9"/>
                <a:gd name="T6" fmla="*/ 8 w 12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8" y="0"/>
                  </a:moveTo>
                  <a:lnTo>
                    <a:pt x="0" y="0"/>
                  </a:lnTo>
                  <a:lnTo>
                    <a:pt x="0" y="8"/>
                  </a:lnTo>
                  <a:cubicBezTo>
                    <a:pt x="8" y="8"/>
                    <a:pt x="11" y="5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5" name="Freeform 926"/>
            <p:cNvSpPr>
              <a:spLocks noChangeArrowheads="1"/>
            </p:cNvSpPr>
            <p:nvPr/>
          </p:nvSpPr>
          <p:spPr bwMode="auto">
            <a:xfrm>
              <a:off x="3956050" y="2716213"/>
              <a:ext cx="3175" cy="3175"/>
            </a:xfrm>
            <a:custGeom>
              <a:avLst/>
              <a:gdLst>
                <a:gd name="T0" fmla="*/ 6 w 10"/>
                <a:gd name="T1" fmla="*/ 0 h 10"/>
                <a:gd name="T2" fmla="*/ 0 w 10"/>
                <a:gd name="T3" fmla="*/ 3 h 10"/>
                <a:gd name="T4" fmla="*/ 3 w 10"/>
                <a:gd name="T5" fmla="*/ 9 h 10"/>
                <a:gd name="T6" fmla="*/ 6 w 1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6" y="0"/>
                  </a:moveTo>
                  <a:lnTo>
                    <a:pt x="0" y="3"/>
                  </a:lnTo>
                  <a:lnTo>
                    <a:pt x="3" y="9"/>
                  </a:lnTo>
                  <a:cubicBezTo>
                    <a:pt x="9" y="9"/>
                    <a:pt x="9" y="6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6" name="Freeform 927"/>
            <p:cNvSpPr>
              <a:spLocks noChangeArrowheads="1"/>
            </p:cNvSpPr>
            <p:nvPr/>
          </p:nvSpPr>
          <p:spPr bwMode="auto">
            <a:xfrm>
              <a:off x="3949700" y="2727325"/>
              <a:ext cx="6350" cy="4763"/>
            </a:xfrm>
            <a:custGeom>
              <a:avLst/>
              <a:gdLst>
                <a:gd name="T0" fmla="*/ 6 w 18"/>
                <a:gd name="T1" fmla="*/ 0 h 13"/>
                <a:gd name="T2" fmla="*/ 6 w 18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6" y="0"/>
                  </a:moveTo>
                  <a:cubicBezTo>
                    <a:pt x="0" y="12"/>
                    <a:pt x="17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7" name="Freeform 928"/>
            <p:cNvSpPr>
              <a:spLocks noChangeArrowheads="1"/>
            </p:cNvSpPr>
            <p:nvPr/>
          </p:nvSpPr>
          <p:spPr bwMode="auto">
            <a:xfrm>
              <a:off x="3956050" y="2738438"/>
              <a:ext cx="3175" cy="4762"/>
            </a:xfrm>
            <a:custGeom>
              <a:avLst/>
              <a:gdLst>
                <a:gd name="T0" fmla="*/ 0 w 10"/>
                <a:gd name="T1" fmla="*/ 2 h 12"/>
                <a:gd name="T2" fmla="*/ 0 w 10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2">
                  <a:moveTo>
                    <a:pt x="0" y="2"/>
                  </a:moveTo>
                  <a:cubicBezTo>
                    <a:pt x="3" y="11"/>
                    <a:pt x="9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8" name="Freeform 929"/>
            <p:cNvSpPr>
              <a:spLocks noChangeArrowheads="1"/>
            </p:cNvSpPr>
            <p:nvPr/>
          </p:nvSpPr>
          <p:spPr bwMode="auto">
            <a:xfrm>
              <a:off x="3937000" y="2727325"/>
              <a:ext cx="7938" cy="3175"/>
            </a:xfrm>
            <a:custGeom>
              <a:avLst/>
              <a:gdLst>
                <a:gd name="T0" fmla="*/ 11 w 20"/>
                <a:gd name="T1" fmla="*/ 0 h 7"/>
                <a:gd name="T2" fmla="*/ 11 w 20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0" h="7">
                  <a:moveTo>
                    <a:pt x="11" y="0"/>
                  </a:moveTo>
                  <a:cubicBezTo>
                    <a:pt x="0" y="0"/>
                    <a:pt x="19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9" name="Freeform 930"/>
            <p:cNvSpPr>
              <a:spLocks noChangeArrowheads="1"/>
            </p:cNvSpPr>
            <p:nvPr/>
          </p:nvSpPr>
          <p:spPr bwMode="auto">
            <a:xfrm>
              <a:off x="3930650" y="2722563"/>
              <a:ext cx="4763" cy="4762"/>
            </a:xfrm>
            <a:custGeom>
              <a:avLst/>
              <a:gdLst>
                <a:gd name="T0" fmla="*/ 11 w 12"/>
                <a:gd name="T1" fmla="*/ 12 h 15"/>
                <a:gd name="T2" fmla="*/ 8 w 12"/>
                <a:gd name="T3" fmla="*/ 0 h 15"/>
                <a:gd name="T4" fmla="*/ 11 w 12"/>
                <a:gd name="T5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1" y="12"/>
                  </a:moveTo>
                  <a:cubicBezTo>
                    <a:pt x="8" y="9"/>
                    <a:pt x="11" y="6"/>
                    <a:pt x="8" y="0"/>
                  </a:cubicBezTo>
                  <a:cubicBezTo>
                    <a:pt x="0" y="0"/>
                    <a:pt x="8" y="14"/>
                    <a:pt x="11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0" name="Freeform 931"/>
            <p:cNvSpPr>
              <a:spLocks noChangeArrowheads="1"/>
            </p:cNvSpPr>
            <p:nvPr/>
          </p:nvSpPr>
          <p:spPr bwMode="auto">
            <a:xfrm>
              <a:off x="3932238" y="2730500"/>
              <a:ext cx="4762" cy="4763"/>
            </a:xfrm>
            <a:custGeom>
              <a:avLst/>
              <a:gdLst>
                <a:gd name="T0" fmla="*/ 9 w 13"/>
                <a:gd name="T1" fmla="*/ 0 h 12"/>
                <a:gd name="T2" fmla="*/ 9 w 13"/>
                <a:gd name="T3" fmla="*/ 8 h 12"/>
                <a:gd name="T4" fmla="*/ 9 w 13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9" y="0"/>
                  </a:moveTo>
                  <a:cubicBezTo>
                    <a:pt x="0" y="0"/>
                    <a:pt x="6" y="11"/>
                    <a:pt x="9" y="8"/>
                  </a:cubicBezTo>
                  <a:cubicBezTo>
                    <a:pt x="9" y="6"/>
                    <a:pt x="12" y="6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1" name="Freeform 932"/>
            <p:cNvSpPr>
              <a:spLocks noChangeArrowheads="1"/>
            </p:cNvSpPr>
            <p:nvPr/>
          </p:nvSpPr>
          <p:spPr bwMode="auto">
            <a:xfrm>
              <a:off x="3932238" y="2736850"/>
              <a:ext cx="4762" cy="3175"/>
            </a:xfrm>
            <a:custGeom>
              <a:avLst/>
              <a:gdLst>
                <a:gd name="T0" fmla="*/ 11 w 12"/>
                <a:gd name="T1" fmla="*/ 5 h 9"/>
                <a:gd name="T2" fmla="*/ 0 w 12"/>
                <a:gd name="T3" fmla="*/ 0 h 9"/>
                <a:gd name="T4" fmla="*/ 11 w 12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11" y="5"/>
                  </a:moveTo>
                  <a:cubicBezTo>
                    <a:pt x="8" y="0"/>
                    <a:pt x="2" y="0"/>
                    <a:pt x="0" y="0"/>
                  </a:cubicBezTo>
                  <a:cubicBezTo>
                    <a:pt x="2" y="5"/>
                    <a:pt x="5" y="8"/>
                    <a:pt x="11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2" name="Freeform 933"/>
            <p:cNvSpPr>
              <a:spLocks noChangeArrowheads="1"/>
            </p:cNvSpPr>
            <p:nvPr/>
          </p:nvSpPr>
          <p:spPr bwMode="auto">
            <a:xfrm>
              <a:off x="3922713" y="2733675"/>
              <a:ext cx="3175" cy="4763"/>
            </a:xfrm>
            <a:custGeom>
              <a:avLst/>
              <a:gdLst>
                <a:gd name="T0" fmla="*/ 0 w 10"/>
                <a:gd name="T1" fmla="*/ 6 h 15"/>
                <a:gd name="T2" fmla="*/ 0 w 10"/>
                <a:gd name="T3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0" y="6"/>
                  </a:moveTo>
                  <a:cubicBezTo>
                    <a:pt x="3" y="14"/>
                    <a:pt x="9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3" name="Freeform 934"/>
            <p:cNvSpPr>
              <a:spLocks noChangeArrowheads="1"/>
            </p:cNvSpPr>
            <p:nvPr/>
          </p:nvSpPr>
          <p:spPr bwMode="auto">
            <a:xfrm>
              <a:off x="3910013" y="2732088"/>
              <a:ext cx="3175" cy="3175"/>
            </a:xfrm>
            <a:custGeom>
              <a:avLst/>
              <a:gdLst>
                <a:gd name="T0" fmla="*/ 5 w 9"/>
                <a:gd name="T1" fmla="*/ 0 h 9"/>
                <a:gd name="T2" fmla="*/ 0 w 9"/>
                <a:gd name="T3" fmla="*/ 3 h 9"/>
                <a:gd name="T4" fmla="*/ 2 w 9"/>
                <a:gd name="T5" fmla="*/ 8 h 9"/>
                <a:gd name="T6" fmla="*/ 8 w 9"/>
                <a:gd name="T7" fmla="*/ 5 h 9"/>
                <a:gd name="T8" fmla="*/ 5 w 9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lnTo>
                    <a:pt x="0" y="3"/>
                  </a:lnTo>
                  <a:lnTo>
                    <a:pt x="2" y="8"/>
                  </a:lnTo>
                  <a:lnTo>
                    <a:pt x="8" y="5"/>
                  </a:lnTo>
                  <a:lnTo>
                    <a:pt x="5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4" name="Freeform 935"/>
            <p:cNvSpPr>
              <a:spLocks noChangeArrowheads="1"/>
            </p:cNvSpPr>
            <p:nvPr/>
          </p:nvSpPr>
          <p:spPr bwMode="auto">
            <a:xfrm>
              <a:off x="3905250" y="2724150"/>
              <a:ext cx="3175" cy="4763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6 h 15"/>
                <a:gd name="T4" fmla="*/ 3 w 10"/>
                <a:gd name="T5" fmla="*/ 11 h 15"/>
                <a:gd name="T6" fmla="*/ 0 w 10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0" y="6"/>
                    <a:pt x="0" y="6"/>
                    <a:pt x="0" y="6"/>
                  </a:cubicBezTo>
                  <a:lnTo>
                    <a:pt x="3" y="11"/>
                  </a:lnTo>
                  <a:cubicBezTo>
                    <a:pt x="9" y="14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5" name="Freeform 936"/>
            <p:cNvSpPr>
              <a:spLocks noChangeArrowheads="1"/>
            </p:cNvSpPr>
            <p:nvPr/>
          </p:nvSpPr>
          <p:spPr bwMode="auto">
            <a:xfrm>
              <a:off x="3898900" y="2733675"/>
              <a:ext cx="4763" cy="4763"/>
            </a:xfrm>
            <a:custGeom>
              <a:avLst/>
              <a:gdLst>
                <a:gd name="T0" fmla="*/ 12 w 15"/>
                <a:gd name="T1" fmla="*/ 0 h 13"/>
                <a:gd name="T2" fmla="*/ 12 w 15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12" y="0"/>
                  </a:moveTo>
                  <a:cubicBezTo>
                    <a:pt x="0" y="9"/>
                    <a:pt x="14" y="12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6" name="Freeform 937"/>
            <p:cNvSpPr>
              <a:spLocks noChangeArrowheads="1"/>
            </p:cNvSpPr>
            <p:nvPr/>
          </p:nvSpPr>
          <p:spPr bwMode="auto">
            <a:xfrm>
              <a:off x="3900488" y="2732088"/>
              <a:ext cx="3175" cy="4762"/>
            </a:xfrm>
            <a:custGeom>
              <a:avLst/>
              <a:gdLst>
                <a:gd name="T0" fmla="*/ 0 w 7"/>
                <a:gd name="T1" fmla="*/ 3 h 15"/>
                <a:gd name="T2" fmla="*/ 0 w 7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cubicBezTo>
                    <a:pt x="0" y="14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7" name="Freeform 938"/>
            <p:cNvSpPr>
              <a:spLocks noChangeArrowheads="1"/>
            </p:cNvSpPr>
            <p:nvPr/>
          </p:nvSpPr>
          <p:spPr bwMode="auto">
            <a:xfrm>
              <a:off x="3895725" y="2741613"/>
              <a:ext cx="4763" cy="3175"/>
            </a:xfrm>
            <a:custGeom>
              <a:avLst/>
              <a:gdLst>
                <a:gd name="T0" fmla="*/ 0 w 12"/>
                <a:gd name="T1" fmla="*/ 8 h 9"/>
                <a:gd name="T2" fmla="*/ 11 w 12"/>
                <a:gd name="T3" fmla="*/ 6 h 9"/>
                <a:gd name="T4" fmla="*/ 8 w 12"/>
                <a:gd name="T5" fmla="*/ 0 h 9"/>
                <a:gd name="T6" fmla="*/ 0 w 12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cubicBezTo>
                    <a:pt x="3" y="8"/>
                    <a:pt x="6" y="8"/>
                    <a:pt x="11" y="6"/>
                  </a:cubicBezTo>
                  <a:lnTo>
                    <a:pt x="8" y="0"/>
                  </a:lnTo>
                  <a:cubicBezTo>
                    <a:pt x="3" y="3"/>
                    <a:pt x="0" y="6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8" name="Freeform 939"/>
            <p:cNvSpPr>
              <a:spLocks noChangeArrowheads="1"/>
            </p:cNvSpPr>
            <p:nvPr/>
          </p:nvSpPr>
          <p:spPr bwMode="auto">
            <a:xfrm>
              <a:off x="3884613" y="2743200"/>
              <a:ext cx="4762" cy="4763"/>
            </a:xfrm>
            <a:custGeom>
              <a:avLst/>
              <a:gdLst>
                <a:gd name="T0" fmla="*/ 11 w 15"/>
                <a:gd name="T1" fmla="*/ 14 h 15"/>
                <a:gd name="T2" fmla="*/ 11 w 15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11" y="14"/>
                  </a:moveTo>
                  <a:cubicBezTo>
                    <a:pt x="14" y="0"/>
                    <a:pt x="0" y="11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9" name="Freeform 940"/>
            <p:cNvSpPr>
              <a:spLocks noChangeArrowheads="1"/>
            </p:cNvSpPr>
            <p:nvPr/>
          </p:nvSpPr>
          <p:spPr bwMode="auto">
            <a:xfrm>
              <a:off x="3854450" y="2730500"/>
              <a:ext cx="4763" cy="1588"/>
            </a:xfrm>
            <a:custGeom>
              <a:avLst/>
              <a:gdLst>
                <a:gd name="T0" fmla="*/ 0 w 15"/>
                <a:gd name="T1" fmla="*/ 3 h 4"/>
                <a:gd name="T2" fmla="*/ 6 w 15"/>
                <a:gd name="T3" fmla="*/ 0 h 4"/>
                <a:gd name="T4" fmla="*/ 0 w 15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4">
                  <a:moveTo>
                    <a:pt x="0" y="3"/>
                  </a:moveTo>
                  <a:cubicBezTo>
                    <a:pt x="0" y="3"/>
                    <a:pt x="3" y="3"/>
                    <a:pt x="6" y="0"/>
                  </a:cubicBezTo>
                  <a:cubicBezTo>
                    <a:pt x="14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0" name="Freeform 941"/>
            <p:cNvSpPr>
              <a:spLocks noChangeArrowheads="1"/>
            </p:cNvSpPr>
            <p:nvPr/>
          </p:nvSpPr>
          <p:spPr bwMode="auto">
            <a:xfrm>
              <a:off x="3851275" y="2740025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3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1" name="Freeform 942"/>
            <p:cNvSpPr>
              <a:spLocks noChangeArrowheads="1"/>
            </p:cNvSpPr>
            <p:nvPr/>
          </p:nvSpPr>
          <p:spPr bwMode="auto">
            <a:xfrm>
              <a:off x="3944938" y="2717800"/>
              <a:ext cx="4762" cy="4763"/>
            </a:xfrm>
            <a:custGeom>
              <a:avLst/>
              <a:gdLst>
                <a:gd name="T0" fmla="*/ 6 w 15"/>
                <a:gd name="T1" fmla="*/ 9 h 13"/>
                <a:gd name="T2" fmla="*/ 0 w 15"/>
                <a:gd name="T3" fmla="*/ 6 h 13"/>
                <a:gd name="T4" fmla="*/ 6 w 15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6" y="9"/>
                  </a:moveTo>
                  <a:cubicBezTo>
                    <a:pt x="3" y="6"/>
                    <a:pt x="0" y="0"/>
                    <a:pt x="0" y="6"/>
                  </a:cubicBezTo>
                  <a:cubicBezTo>
                    <a:pt x="3" y="12"/>
                    <a:pt x="14" y="9"/>
                    <a:pt x="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2" name="Freeform 943"/>
            <p:cNvSpPr>
              <a:spLocks noChangeArrowheads="1"/>
            </p:cNvSpPr>
            <p:nvPr/>
          </p:nvSpPr>
          <p:spPr bwMode="auto">
            <a:xfrm>
              <a:off x="3894138" y="2724150"/>
              <a:ext cx="4762" cy="6350"/>
            </a:xfrm>
            <a:custGeom>
              <a:avLst/>
              <a:gdLst>
                <a:gd name="T0" fmla="*/ 9 w 15"/>
                <a:gd name="T1" fmla="*/ 17 h 18"/>
                <a:gd name="T2" fmla="*/ 9 w 15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9" y="17"/>
                  </a:moveTo>
                  <a:cubicBezTo>
                    <a:pt x="14" y="0"/>
                    <a:pt x="0" y="14"/>
                    <a:pt x="9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3" name="Freeform 944"/>
            <p:cNvSpPr>
              <a:spLocks noChangeArrowheads="1"/>
            </p:cNvSpPr>
            <p:nvPr/>
          </p:nvSpPr>
          <p:spPr bwMode="auto">
            <a:xfrm>
              <a:off x="3889375" y="2732088"/>
              <a:ext cx="7938" cy="6350"/>
            </a:xfrm>
            <a:custGeom>
              <a:avLst/>
              <a:gdLst>
                <a:gd name="T0" fmla="*/ 20 w 21"/>
                <a:gd name="T1" fmla="*/ 16 h 17"/>
                <a:gd name="T2" fmla="*/ 0 w 21"/>
                <a:gd name="T3" fmla="*/ 2 h 17"/>
                <a:gd name="T4" fmla="*/ 20 w 21"/>
                <a:gd name="T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7">
                  <a:moveTo>
                    <a:pt x="20" y="16"/>
                  </a:moveTo>
                  <a:cubicBezTo>
                    <a:pt x="14" y="5"/>
                    <a:pt x="9" y="0"/>
                    <a:pt x="0" y="2"/>
                  </a:cubicBezTo>
                  <a:cubicBezTo>
                    <a:pt x="0" y="11"/>
                    <a:pt x="14" y="14"/>
                    <a:pt x="20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4" name="Freeform 945"/>
            <p:cNvSpPr>
              <a:spLocks noChangeArrowheads="1"/>
            </p:cNvSpPr>
            <p:nvPr/>
          </p:nvSpPr>
          <p:spPr bwMode="auto">
            <a:xfrm>
              <a:off x="3856038" y="2725738"/>
              <a:ext cx="6350" cy="3175"/>
            </a:xfrm>
            <a:custGeom>
              <a:avLst/>
              <a:gdLst>
                <a:gd name="T0" fmla="*/ 0 w 18"/>
                <a:gd name="T1" fmla="*/ 8 h 9"/>
                <a:gd name="T2" fmla="*/ 0 w 18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0" y="8"/>
                  </a:moveTo>
                  <a:cubicBezTo>
                    <a:pt x="17" y="8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5" name="Freeform 946"/>
            <p:cNvSpPr>
              <a:spLocks noChangeArrowheads="1"/>
            </p:cNvSpPr>
            <p:nvPr/>
          </p:nvSpPr>
          <p:spPr bwMode="auto">
            <a:xfrm>
              <a:off x="4371975" y="2655888"/>
              <a:ext cx="7938" cy="4762"/>
            </a:xfrm>
            <a:custGeom>
              <a:avLst/>
              <a:gdLst>
                <a:gd name="T0" fmla="*/ 0 w 21"/>
                <a:gd name="T1" fmla="*/ 11 h 15"/>
                <a:gd name="T2" fmla="*/ 12 w 21"/>
                <a:gd name="T3" fmla="*/ 0 h 15"/>
                <a:gd name="T4" fmla="*/ 0 w 21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5">
                  <a:moveTo>
                    <a:pt x="0" y="11"/>
                  </a:moveTo>
                  <a:cubicBezTo>
                    <a:pt x="9" y="14"/>
                    <a:pt x="20" y="3"/>
                    <a:pt x="12" y="0"/>
                  </a:cubicBezTo>
                  <a:cubicBezTo>
                    <a:pt x="9" y="6"/>
                    <a:pt x="3" y="6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6" name="Freeform 947"/>
            <p:cNvSpPr>
              <a:spLocks noChangeArrowheads="1"/>
            </p:cNvSpPr>
            <p:nvPr/>
          </p:nvSpPr>
          <p:spPr bwMode="auto">
            <a:xfrm>
              <a:off x="4348163" y="2662238"/>
              <a:ext cx="4762" cy="3175"/>
            </a:xfrm>
            <a:custGeom>
              <a:avLst/>
              <a:gdLst>
                <a:gd name="T0" fmla="*/ 5 w 12"/>
                <a:gd name="T1" fmla="*/ 9 h 10"/>
                <a:gd name="T2" fmla="*/ 11 w 12"/>
                <a:gd name="T3" fmla="*/ 9 h 10"/>
                <a:gd name="T4" fmla="*/ 11 w 12"/>
                <a:gd name="T5" fmla="*/ 0 h 10"/>
                <a:gd name="T6" fmla="*/ 5 w 12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5" y="9"/>
                  </a:moveTo>
                  <a:lnTo>
                    <a:pt x="11" y="9"/>
                  </a:lnTo>
                  <a:cubicBezTo>
                    <a:pt x="8" y="6"/>
                    <a:pt x="11" y="3"/>
                    <a:pt x="11" y="0"/>
                  </a:cubicBezTo>
                  <a:cubicBezTo>
                    <a:pt x="2" y="0"/>
                    <a:pt x="0" y="6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7" name="Freeform 948"/>
            <p:cNvSpPr>
              <a:spLocks noChangeArrowheads="1"/>
            </p:cNvSpPr>
            <p:nvPr/>
          </p:nvSpPr>
          <p:spPr bwMode="auto">
            <a:xfrm>
              <a:off x="4340225" y="2663825"/>
              <a:ext cx="3175" cy="1588"/>
            </a:xfrm>
            <a:custGeom>
              <a:avLst/>
              <a:gdLst>
                <a:gd name="T0" fmla="*/ 6 w 9"/>
                <a:gd name="T1" fmla="*/ 0 h 6"/>
                <a:gd name="T2" fmla="*/ 0 w 9"/>
                <a:gd name="T3" fmla="*/ 5 h 6"/>
                <a:gd name="T4" fmla="*/ 6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6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8" y="5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8" name="Freeform 949"/>
            <p:cNvSpPr>
              <a:spLocks noChangeArrowheads="1"/>
            </p:cNvSpPr>
            <p:nvPr/>
          </p:nvSpPr>
          <p:spPr bwMode="auto">
            <a:xfrm>
              <a:off x="4365625" y="2660650"/>
              <a:ext cx="1588" cy="1588"/>
            </a:xfrm>
            <a:custGeom>
              <a:avLst/>
              <a:gdLst>
                <a:gd name="T0" fmla="*/ 2 w 6"/>
                <a:gd name="T1" fmla="*/ 3 h 4"/>
                <a:gd name="T2" fmla="*/ 2 w 6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4">
                  <a:moveTo>
                    <a:pt x="2" y="3"/>
                  </a:moveTo>
                  <a:cubicBezTo>
                    <a:pt x="5" y="3"/>
                    <a:pt x="0" y="0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9" name="Freeform 950"/>
            <p:cNvSpPr>
              <a:spLocks noChangeArrowheads="1"/>
            </p:cNvSpPr>
            <p:nvPr/>
          </p:nvSpPr>
          <p:spPr bwMode="auto">
            <a:xfrm>
              <a:off x="4359275" y="2663825"/>
              <a:ext cx="4763" cy="3175"/>
            </a:xfrm>
            <a:custGeom>
              <a:avLst/>
              <a:gdLst>
                <a:gd name="T0" fmla="*/ 0 w 12"/>
                <a:gd name="T1" fmla="*/ 5 h 9"/>
                <a:gd name="T2" fmla="*/ 0 w 12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11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0" name="Freeform 951"/>
            <p:cNvSpPr>
              <a:spLocks noChangeArrowheads="1"/>
            </p:cNvSpPr>
            <p:nvPr/>
          </p:nvSpPr>
          <p:spPr bwMode="auto">
            <a:xfrm>
              <a:off x="4367213" y="2665413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6 w 7"/>
                <a:gd name="T3" fmla="*/ 0 h 6"/>
                <a:gd name="T4" fmla="*/ 0 w 7"/>
                <a:gd name="T5" fmla="*/ 0 h 6"/>
                <a:gd name="T6" fmla="*/ 0 w 7"/>
                <a:gd name="T7" fmla="*/ 5 h 6"/>
                <a:gd name="T8" fmla="*/ 6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1" name="Freeform 952"/>
            <p:cNvSpPr>
              <a:spLocks noChangeArrowheads="1"/>
            </p:cNvSpPr>
            <p:nvPr/>
          </p:nvSpPr>
          <p:spPr bwMode="auto">
            <a:xfrm>
              <a:off x="4375150" y="2663825"/>
              <a:ext cx="3175" cy="1588"/>
            </a:xfrm>
            <a:custGeom>
              <a:avLst/>
              <a:gdLst>
                <a:gd name="T0" fmla="*/ 5 w 9"/>
                <a:gd name="T1" fmla="*/ 0 h 6"/>
                <a:gd name="T2" fmla="*/ 0 w 9"/>
                <a:gd name="T3" fmla="*/ 5 h 6"/>
                <a:gd name="T4" fmla="*/ 5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5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8" y="5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2" name="Freeform 953"/>
            <p:cNvSpPr>
              <a:spLocks noChangeArrowheads="1"/>
            </p:cNvSpPr>
            <p:nvPr/>
          </p:nvSpPr>
          <p:spPr bwMode="auto">
            <a:xfrm>
              <a:off x="4381500" y="2663825"/>
              <a:ext cx="3175" cy="4763"/>
            </a:xfrm>
            <a:custGeom>
              <a:avLst/>
              <a:gdLst>
                <a:gd name="T0" fmla="*/ 2 w 9"/>
                <a:gd name="T1" fmla="*/ 0 h 12"/>
                <a:gd name="T2" fmla="*/ 0 w 9"/>
                <a:gd name="T3" fmla="*/ 8 h 12"/>
                <a:gd name="T4" fmla="*/ 2 w 9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2" y="0"/>
                  </a:moveTo>
                  <a:cubicBezTo>
                    <a:pt x="2" y="3"/>
                    <a:pt x="0" y="3"/>
                    <a:pt x="0" y="8"/>
                  </a:cubicBezTo>
                  <a:cubicBezTo>
                    <a:pt x="8" y="11"/>
                    <a:pt x="5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3" name="Freeform 954"/>
            <p:cNvSpPr>
              <a:spLocks noChangeArrowheads="1"/>
            </p:cNvSpPr>
            <p:nvPr/>
          </p:nvSpPr>
          <p:spPr bwMode="auto">
            <a:xfrm>
              <a:off x="4319588" y="2673350"/>
              <a:ext cx="3175" cy="3175"/>
            </a:xfrm>
            <a:custGeom>
              <a:avLst/>
              <a:gdLst>
                <a:gd name="T0" fmla="*/ 0 w 10"/>
                <a:gd name="T1" fmla="*/ 8 h 9"/>
                <a:gd name="T2" fmla="*/ 9 w 10"/>
                <a:gd name="T3" fmla="*/ 3 h 9"/>
                <a:gd name="T4" fmla="*/ 0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8"/>
                  </a:moveTo>
                  <a:cubicBezTo>
                    <a:pt x="6" y="8"/>
                    <a:pt x="9" y="6"/>
                    <a:pt x="9" y="3"/>
                  </a:cubicBezTo>
                  <a:cubicBezTo>
                    <a:pt x="3" y="0"/>
                    <a:pt x="0" y="3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4" name="Freeform 955"/>
            <p:cNvSpPr>
              <a:spLocks noChangeArrowheads="1"/>
            </p:cNvSpPr>
            <p:nvPr/>
          </p:nvSpPr>
          <p:spPr bwMode="auto">
            <a:xfrm>
              <a:off x="4367213" y="2668588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0 w 9"/>
                <a:gd name="T3" fmla="*/ 0 h 9"/>
                <a:gd name="T4" fmla="*/ 8 w 9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cubicBezTo>
                    <a:pt x="8" y="3"/>
                    <a:pt x="3" y="0"/>
                    <a:pt x="0" y="0"/>
                  </a:cubicBezTo>
                  <a:cubicBezTo>
                    <a:pt x="0" y="5"/>
                    <a:pt x="3" y="8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5" name="Freeform 956"/>
            <p:cNvSpPr>
              <a:spLocks noChangeArrowheads="1"/>
            </p:cNvSpPr>
            <p:nvPr/>
          </p:nvSpPr>
          <p:spPr bwMode="auto">
            <a:xfrm>
              <a:off x="4313238" y="2676525"/>
              <a:ext cx="1587" cy="317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6 h 7"/>
                <a:gd name="T4" fmla="*/ 5 w 6"/>
                <a:gd name="T5" fmla="*/ 6 h 7"/>
                <a:gd name="T6" fmla="*/ 5 w 6"/>
                <a:gd name="T7" fmla="*/ 0 h 7"/>
                <a:gd name="T8" fmla="*/ 0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6" name="Freeform 957"/>
            <p:cNvSpPr>
              <a:spLocks noChangeArrowheads="1"/>
            </p:cNvSpPr>
            <p:nvPr/>
          </p:nvSpPr>
          <p:spPr bwMode="auto">
            <a:xfrm>
              <a:off x="4344988" y="2673350"/>
              <a:ext cx="4762" cy="3175"/>
            </a:xfrm>
            <a:custGeom>
              <a:avLst/>
              <a:gdLst>
                <a:gd name="T0" fmla="*/ 0 w 12"/>
                <a:gd name="T1" fmla="*/ 6 h 10"/>
                <a:gd name="T2" fmla="*/ 3 w 12"/>
                <a:gd name="T3" fmla="*/ 9 h 10"/>
                <a:gd name="T4" fmla="*/ 9 w 12"/>
                <a:gd name="T5" fmla="*/ 9 h 10"/>
                <a:gd name="T6" fmla="*/ 0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3" y="6"/>
                    <a:pt x="3" y="6"/>
                    <a:pt x="3" y="9"/>
                  </a:cubicBezTo>
                  <a:lnTo>
                    <a:pt x="9" y="9"/>
                  </a:lnTo>
                  <a:cubicBezTo>
                    <a:pt x="11" y="0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7" name="Freeform 958"/>
            <p:cNvSpPr>
              <a:spLocks noChangeArrowheads="1"/>
            </p:cNvSpPr>
            <p:nvPr/>
          </p:nvSpPr>
          <p:spPr bwMode="auto">
            <a:xfrm>
              <a:off x="4362450" y="2670175"/>
              <a:ext cx="4763" cy="4763"/>
            </a:xfrm>
            <a:custGeom>
              <a:avLst/>
              <a:gdLst>
                <a:gd name="T0" fmla="*/ 0 w 12"/>
                <a:gd name="T1" fmla="*/ 9 h 13"/>
                <a:gd name="T2" fmla="*/ 0 w 12"/>
                <a:gd name="T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3">
                  <a:moveTo>
                    <a:pt x="0" y="9"/>
                  </a:moveTo>
                  <a:cubicBezTo>
                    <a:pt x="11" y="12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8" name="Freeform 959"/>
            <p:cNvSpPr>
              <a:spLocks noChangeArrowheads="1"/>
            </p:cNvSpPr>
            <p:nvPr/>
          </p:nvSpPr>
          <p:spPr bwMode="auto">
            <a:xfrm>
              <a:off x="4324350" y="2676525"/>
              <a:ext cx="3175" cy="6350"/>
            </a:xfrm>
            <a:custGeom>
              <a:avLst/>
              <a:gdLst>
                <a:gd name="T0" fmla="*/ 0 w 10"/>
                <a:gd name="T1" fmla="*/ 12 h 18"/>
                <a:gd name="T2" fmla="*/ 0 w 10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0" y="12"/>
                  </a:moveTo>
                  <a:cubicBezTo>
                    <a:pt x="9" y="17"/>
                    <a:pt x="3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9" name="Freeform 960"/>
            <p:cNvSpPr>
              <a:spLocks noChangeArrowheads="1"/>
            </p:cNvSpPr>
            <p:nvPr/>
          </p:nvSpPr>
          <p:spPr bwMode="auto">
            <a:xfrm>
              <a:off x="4343400" y="2676525"/>
              <a:ext cx="4763" cy="3175"/>
            </a:xfrm>
            <a:custGeom>
              <a:avLst/>
              <a:gdLst>
                <a:gd name="T0" fmla="*/ 3 w 15"/>
                <a:gd name="T1" fmla="*/ 0 h 10"/>
                <a:gd name="T2" fmla="*/ 14 w 15"/>
                <a:gd name="T3" fmla="*/ 6 h 10"/>
                <a:gd name="T4" fmla="*/ 3 w 15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3" y="0"/>
                  </a:moveTo>
                  <a:cubicBezTo>
                    <a:pt x="0" y="9"/>
                    <a:pt x="9" y="9"/>
                    <a:pt x="14" y="6"/>
                  </a:cubicBezTo>
                  <a:cubicBezTo>
                    <a:pt x="14" y="0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0" name="Freeform 961"/>
            <p:cNvSpPr>
              <a:spLocks noChangeArrowheads="1"/>
            </p:cNvSpPr>
            <p:nvPr/>
          </p:nvSpPr>
          <p:spPr bwMode="auto">
            <a:xfrm>
              <a:off x="4356100" y="2676525"/>
              <a:ext cx="3175" cy="3175"/>
            </a:xfrm>
            <a:custGeom>
              <a:avLst/>
              <a:gdLst>
                <a:gd name="T0" fmla="*/ 0 w 10"/>
                <a:gd name="T1" fmla="*/ 0 h 9"/>
                <a:gd name="T2" fmla="*/ 6 w 10"/>
                <a:gd name="T3" fmla="*/ 8 h 9"/>
                <a:gd name="T4" fmla="*/ 0 w 10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cubicBezTo>
                    <a:pt x="0" y="5"/>
                    <a:pt x="3" y="8"/>
                    <a:pt x="6" y="8"/>
                  </a:cubicBezTo>
                  <a:cubicBezTo>
                    <a:pt x="0" y="2"/>
                    <a:pt x="9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1" name="Freeform 962"/>
            <p:cNvSpPr>
              <a:spLocks noChangeArrowheads="1"/>
            </p:cNvSpPr>
            <p:nvPr/>
          </p:nvSpPr>
          <p:spPr bwMode="auto">
            <a:xfrm>
              <a:off x="4362450" y="2674938"/>
              <a:ext cx="4763" cy="1587"/>
            </a:xfrm>
            <a:custGeom>
              <a:avLst/>
              <a:gdLst>
                <a:gd name="T0" fmla="*/ 0 w 15"/>
                <a:gd name="T1" fmla="*/ 5 h 6"/>
                <a:gd name="T2" fmla="*/ 11 w 15"/>
                <a:gd name="T3" fmla="*/ 3 h 6"/>
                <a:gd name="T4" fmla="*/ 0 w 15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6">
                  <a:moveTo>
                    <a:pt x="0" y="5"/>
                  </a:moveTo>
                  <a:cubicBezTo>
                    <a:pt x="3" y="3"/>
                    <a:pt x="14" y="5"/>
                    <a:pt x="11" y="3"/>
                  </a:cubicBezTo>
                  <a:cubicBezTo>
                    <a:pt x="9" y="3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2" name="Freeform 963"/>
            <p:cNvSpPr>
              <a:spLocks noChangeArrowheads="1"/>
            </p:cNvSpPr>
            <p:nvPr/>
          </p:nvSpPr>
          <p:spPr bwMode="auto">
            <a:xfrm>
              <a:off x="4305300" y="2681288"/>
              <a:ext cx="4763" cy="3175"/>
            </a:xfrm>
            <a:custGeom>
              <a:avLst/>
              <a:gdLst>
                <a:gd name="T0" fmla="*/ 0 w 12"/>
                <a:gd name="T1" fmla="*/ 8 h 9"/>
                <a:gd name="T2" fmla="*/ 0 w 12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cubicBezTo>
                    <a:pt x="11" y="8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3" name="Freeform 964"/>
            <p:cNvSpPr>
              <a:spLocks noChangeArrowheads="1"/>
            </p:cNvSpPr>
            <p:nvPr/>
          </p:nvSpPr>
          <p:spPr bwMode="auto">
            <a:xfrm>
              <a:off x="4327525" y="2681288"/>
              <a:ext cx="3175" cy="1587"/>
            </a:xfrm>
            <a:custGeom>
              <a:avLst/>
              <a:gdLst>
                <a:gd name="T0" fmla="*/ 3 w 9"/>
                <a:gd name="T1" fmla="*/ 5 h 6"/>
                <a:gd name="T2" fmla="*/ 8 w 9"/>
                <a:gd name="T3" fmla="*/ 0 h 6"/>
                <a:gd name="T4" fmla="*/ 3 w 9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3" y="5"/>
                  </a:moveTo>
                  <a:cubicBezTo>
                    <a:pt x="6" y="5"/>
                    <a:pt x="8" y="3"/>
                    <a:pt x="8" y="0"/>
                  </a:cubicBezTo>
                  <a:cubicBezTo>
                    <a:pt x="6" y="0"/>
                    <a:pt x="0" y="0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4" name="Freeform 965"/>
            <p:cNvSpPr>
              <a:spLocks noChangeArrowheads="1"/>
            </p:cNvSpPr>
            <p:nvPr/>
          </p:nvSpPr>
          <p:spPr bwMode="auto">
            <a:xfrm>
              <a:off x="4316413" y="2681288"/>
              <a:ext cx="3175" cy="6350"/>
            </a:xfrm>
            <a:custGeom>
              <a:avLst/>
              <a:gdLst>
                <a:gd name="T0" fmla="*/ 0 w 7"/>
                <a:gd name="T1" fmla="*/ 11 h 18"/>
                <a:gd name="T2" fmla="*/ 0 w 7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11"/>
                  </a:moveTo>
                  <a:cubicBezTo>
                    <a:pt x="6" y="17"/>
                    <a:pt x="6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5" name="Freeform 966"/>
            <p:cNvSpPr>
              <a:spLocks noChangeArrowheads="1"/>
            </p:cNvSpPr>
            <p:nvPr/>
          </p:nvSpPr>
          <p:spPr bwMode="auto">
            <a:xfrm>
              <a:off x="4341813" y="2679700"/>
              <a:ext cx="1587" cy="3175"/>
            </a:xfrm>
            <a:custGeom>
              <a:avLst/>
              <a:gdLst>
                <a:gd name="T0" fmla="*/ 5 w 6"/>
                <a:gd name="T1" fmla="*/ 6 h 7"/>
                <a:gd name="T2" fmla="*/ 5 w 6"/>
                <a:gd name="T3" fmla="*/ 0 h 7"/>
                <a:gd name="T4" fmla="*/ 0 w 6"/>
                <a:gd name="T5" fmla="*/ 0 h 7"/>
                <a:gd name="T6" fmla="*/ 0 w 6"/>
                <a:gd name="T7" fmla="*/ 6 h 7"/>
                <a:gd name="T8" fmla="*/ 5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6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6" name="Freeform 967"/>
            <p:cNvSpPr>
              <a:spLocks noChangeArrowheads="1"/>
            </p:cNvSpPr>
            <p:nvPr/>
          </p:nvSpPr>
          <p:spPr bwMode="auto">
            <a:xfrm>
              <a:off x="4351338" y="2679700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0 w 9"/>
                <a:gd name="T3" fmla="*/ 0 h 9"/>
                <a:gd name="T4" fmla="*/ 8 w 9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cubicBezTo>
                    <a:pt x="8" y="0"/>
                    <a:pt x="3" y="0"/>
                    <a:pt x="0" y="0"/>
                  </a:cubicBezTo>
                  <a:cubicBezTo>
                    <a:pt x="0" y="6"/>
                    <a:pt x="3" y="6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7" name="Freeform 968"/>
            <p:cNvSpPr>
              <a:spLocks noChangeArrowheads="1"/>
            </p:cNvSpPr>
            <p:nvPr/>
          </p:nvSpPr>
          <p:spPr bwMode="auto">
            <a:xfrm>
              <a:off x="4392613" y="2673350"/>
              <a:ext cx="6350" cy="4763"/>
            </a:xfrm>
            <a:custGeom>
              <a:avLst/>
              <a:gdLst>
                <a:gd name="T0" fmla="*/ 17 w 18"/>
                <a:gd name="T1" fmla="*/ 0 h 12"/>
                <a:gd name="T2" fmla="*/ 17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17" y="0"/>
                  </a:moveTo>
                  <a:cubicBezTo>
                    <a:pt x="0" y="3"/>
                    <a:pt x="14" y="11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8" name="Freeform 969"/>
            <p:cNvSpPr>
              <a:spLocks noChangeArrowheads="1"/>
            </p:cNvSpPr>
            <p:nvPr/>
          </p:nvSpPr>
          <p:spPr bwMode="auto">
            <a:xfrm>
              <a:off x="4384675" y="2673350"/>
              <a:ext cx="4763" cy="6350"/>
            </a:xfrm>
            <a:custGeom>
              <a:avLst/>
              <a:gdLst>
                <a:gd name="T0" fmla="*/ 11 w 12"/>
                <a:gd name="T1" fmla="*/ 6 h 18"/>
                <a:gd name="T2" fmla="*/ 11 w 12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11" y="6"/>
                  </a:moveTo>
                  <a:cubicBezTo>
                    <a:pt x="0" y="0"/>
                    <a:pt x="6" y="17"/>
                    <a:pt x="1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9" name="Freeform 970"/>
            <p:cNvSpPr>
              <a:spLocks noChangeArrowheads="1"/>
            </p:cNvSpPr>
            <p:nvPr/>
          </p:nvSpPr>
          <p:spPr bwMode="auto">
            <a:xfrm>
              <a:off x="4329113" y="2686050"/>
              <a:ext cx="3175" cy="3175"/>
            </a:xfrm>
            <a:custGeom>
              <a:avLst/>
              <a:gdLst>
                <a:gd name="T0" fmla="*/ 8 w 9"/>
                <a:gd name="T1" fmla="*/ 5 h 9"/>
                <a:gd name="T2" fmla="*/ 3 w 9"/>
                <a:gd name="T3" fmla="*/ 0 h 9"/>
                <a:gd name="T4" fmla="*/ 8 w 9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5"/>
                  </a:moveTo>
                  <a:cubicBezTo>
                    <a:pt x="8" y="3"/>
                    <a:pt x="5" y="0"/>
                    <a:pt x="3" y="0"/>
                  </a:cubicBezTo>
                  <a:cubicBezTo>
                    <a:pt x="0" y="3"/>
                    <a:pt x="3" y="8"/>
                    <a:pt x="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0" name="Freeform 971"/>
            <p:cNvSpPr>
              <a:spLocks noChangeArrowheads="1"/>
            </p:cNvSpPr>
            <p:nvPr/>
          </p:nvSpPr>
          <p:spPr bwMode="auto">
            <a:xfrm>
              <a:off x="4340225" y="2681288"/>
              <a:ext cx="4763" cy="4762"/>
            </a:xfrm>
            <a:custGeom>
              <a:avLst/>
              <a:gdLst>
                <a:gd name="T0" fmla="*/ 0 w 15"/>
                <a:gd name="T1" fmla="*/ 8 h 12"/>
                <a:gd name="T2" fmla="*/ 0 w 15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2">
                  <a:moveTo>
                    <a:pt x="0" y="8"/>
                  </a:moveTo>
                  <a:cubicBezTo>
                    <a:pt x="14" y="11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1" name="Freeform 972"/>
            <p:cNvSpPr>
              <a:spLocks noChangeArrowheads="1"/>
            </p:cNvSpPr>
            <p:nvPr/>
          </p:nvSpPr>
          <p:spPr bwMode="auto">
            <a:xfrm>
              <a:off x="4348163" y="2682875"/>
              <a:ext cx="3175" cy="6350"/>
            </a:xfrm>
            <a:custGeom>
              <a:avLst/>
              <a:gdLst>
                <a:gd name="T0" fmla="*/ 0 w 9"/>
                <a:gd name="T1" fmla="*/ 9 h 18"/>
                <a:gd name="T2" fmla="*/ 0 w 9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9"/>
                  </a:moveTo>
                  <a:cubicBezTo>
                    <a:pt x="8" y="17"/>
                    <a:pt x="2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2" name="Freeform 973"/>
            <p:cNvSpPr>
              <a:spLocks noChangeArrowheads="1"/>
            </p:cNvSpPr>
            <p:nvPr/>
          </p:nvSpPr>
          <p:spPr bwMode="auto">
            <a:xfrm>
              <a:off x="4362450" y="2681288"/>
              <a:ext cx="4763" cy="4762"/>
            </a:xfrm>
            <a:custGeom>
              <a:avLst/>
              <a:gdLst>
                <a:gd name="T0" fmla="*/ 8 w 15"/>
                <a:gd name="T1" fmla="*/ 14 h 15"/>
                <a:gd name="T2" fmla="*/ 0 w 15"/>
                <a:gd name="T3" fmla="*/ 2 h 15"/>
                <a:gd name="T4" fmla="*/ 8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8" y="14"/>
                  </a:moveTo>
                  <a:cubicBezTo>
                    <a:pt x="14" y="8"/>
                    <a:pt x="6" y="0"/>
                    <a:pt x="0" y="2"/>
                  </a:cubicBezTo>
                  <a:cubicBezTo>
                    <a:pt x="3" y="8"/>
                    <a:pt x="6" y="14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3" name="Freeform 974"/>
            <p:cNvSpPr>
              <a:spLocks noChangeArrowheads="1"/>
            </p:cNvSpPr>
            <p:nvPr/>
          </p:nvSpPr>
          <p:spPr bwMode="auto">
            <a:xfrm>
              <a:off x="4319588" y="2687638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4" name="Freeform 975"/>
            <p:cNvSpPr>
              <a:spLocks noChangeArrowheads="1"/>
            </p:cNvSpPr>
            <p:nvPr/>
          </p:nvSpPr>
          <p:spPr bwMode="auto">
            <a:xfrm>
              <a:off x="4303713" y="2692400"/>
              <a:ext cx="1587" cy="1588"/>
            </a:xfrm>
            <a:custGeom>
              <a:avLst/>
              <a:gdLst>
                <a:gd name="T0" fmla="*/ 3 w 4"/>
                <a:gd name="T1" fmla="*/ 0 h 3"/>
                <a:gd name="T2" fmla="*/ 3 w 4"/>
                <a:gd name="T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cubicBezTo>
                    <a:pt x="3" y="2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5" name="Freeform 976"/>
            <p:cNvSpPr>
              <a:spLocks noChangeArrowheads="1"/>
            </p:cNvSpPr>
            <p:nvPr/>
          </p:nvSpPr>
          <p:spPr bwMode="auto">
            <a:xfrm>
              <a:off x="4340225" y="2686050"/>
              <a:ext cx="4763" cy="3175"/>
            </a:xfrm>
            <a:custGeom>
              <a:avLst/>
              <a:gdLst>
                <a:gd name="T0" fmla="*/ 0 w 12"/>
                <a:gd name="T1" fmla="*/ 8 h 9"/>
                <a:gd name="T2" fmla="*/ 0 w 12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cubicBezTo>
                    <a:pt x="11" y="8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6" name="Freeform 977"/>
            <p:cNvSpPr>
              <a:spLocks noChangeArrowheads="1"/>
            </p:cNvSpPr>
            <p:nvPr/>
          </p:nvSpPr>
          <p:spPr bwMode="auto">
            <a:xfrm>
              <a:off x="4322763" y="2689225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7" name="Freeform 978"/>
            <p:cNvSpPr>
              <a:spLocks noChangeArrowheads="1"/>
            </p:cNvSpPr>
            <p:nvPr/>
          </p:nvSpPr>
          <p:spPr bwMode="auto">
            <a:xfrm>
              <a:off x="4335463" y="2689225"/>
              <a:ext cx="4762" cy="3175"/>
            </a:xfrm>
            <a:custGeom>
              <a:avLst/>
              <a:gdLst>
                <a:gd name="T0" fmla="*/ 8 w 12"/>
                <a:gd name="T1" fmla="*/ 0 h 10"/>
                <a:gd name="T2" fmla="*/ 0 w 12"/>
                <a:gd name="T3" fmla="*/ 9 h 10"/>
                <a:gd name="T4" fmla="*/ 8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0" y="0"/>
                    <a:pt x="0" y="6"/>
                    <a:pt x="0" y="9"/>
                  </a:cubicBezTo>
                  <a:cubicBezTo>
                    <a:pt x="5" y="9"/>
                    <a:pt x="11" y="6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8" name="Freeform 979"/>
            <p:cNvSpPr>
              <a:spLocks noChangeArrowheads="1"/>
            </p:cNvSpPr>
            <p:nvPr/>
          </p:nvSpPr>
          <p:spPr bwMode="auto">
            <a:xfrm>
              <a:off x="4370388" y="2682875"/>
              <a:ext cx="3175" cy="6350"/>
            </a:xfrm>
            <a:custGeom>
              <a:avLst/>
              <a:gdLst>
                <a:gd name="T0" fmla="*/ 0 w 7"/>
                <a:gd name="T1" fmla="*/ 9 h 18"/>
                <a:gd name="T2" fmla="*/ 0 w 7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9"/>
                  </a:moveTo>
                  <a:cubicBezTo>
                    <a:pt x="6" y="17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9" name="Freeform 980"/>
            <p:cNvSpPr>
              <a:spLocks noChangeArrowheads="1"/>
            </p:cNvSpPr>
            <p:nvPr/>
          </p:nvSpPr>
          <p:spPr bwMode="auto">
            <a:xfrm>
              <a:off x="4359275" y="2686050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11 h 15"/>
                <a:gd name="T4" fmla="*/ 0 w 9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lnTo>
                    <a:pt x="0" y="11"/>
                  </a:lnTo>
                  <a:cubicBezTo>
                    <a:pt x="8" y="14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0" name="Freeform 981"/>
            <p:cNvSpPr>
              <a:spLocks noChangeArrowheads="1"/>
            </p:cNvSpPr>
            <p:nvPr/>
          </p:nvSpPr>
          <p:spPr bwMode="auto">
            <a:xfrm>
              <a:off x="4310063" y="2692400"/>
              <a:ext cx="4762" cy="6350"/>
            </a:xfrm>
            <a:custGeom>
              <a:avLst/>
              <a:gdLst>
                <a:gd name="T0" fmla="*/ 14 w 15"/>
                <a:gd name="T1" fmla="*/ 8 h 18"/>
                <a:gd name="T2" fmla="*/ 14 w 15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14" y="8"/>
                  </a:moveTo>
                  <a:cubicBezTo>
                    <a:pt x="0" y="0"/>
                    <a:pt x="6" y="17"/>
                    <a:pt x="1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1" name="Freeform 982"/>
            <p:cNvSpPr>
              <a:spLocks noChangeArrowheads="1"/>
            </p:cNvSpPr>
            <p:nvPr/>
          </p:nvSpPr>
          <p:spPr bwMode="auto">
            <a:xfrm>
              <a:off x="4340225" y="2690813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2" name="Freeform 983"/>
            <p:cNvSpPr>
              <a:spLocks noChangeArrowheads="1"/>
            </p:cNvSpPr>
            <p:nvPr/>
          </p:nvSpPr>
          <p:spPr bwMode="auto">
            <a:xfrm>
              <a:off x="4344988" y="2689225"/>
              <a:ext cx="4762" cy="3175"/>
            </a:xfrm>
            <a:custGeom>
              <a:avLst/>
              <a:gdLst>
                <a:gd name="T0" fmla="*/ 0 w 12"/>
                <a:gd name="T1" fmla="*/ 3 h 10"/>
                <a:gd name="T2" fmla="*/ 11 w 12"/>
                <a:gd name="T3" fmla="*/ 9 h 10"/>
                <a:gd name="T4" fmla="*/ 0 w 12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0" y="3"/>
                  </a:moveTo>
                  <a:cubicBezTo>
                    <a:pt x="0" y="9"/>
                    <a:pt x="6" y="9"/>
                    <a:pt x="11" y="9"/>
                  </a:cubicBezTo>
                  <a:cubicBezTo>
                    <a:pt x="11" y="3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3" name="Freeform 984"/>
            <p:cNvSpPr>
              <a:spLocks noChangeArrowheads="1"/>
            </p:cNvSpPr>
            <p:nvPr/>
          </p:nvSpPr>
          <p:spPr bwMode="auto">
            <a:xfrm>
              <a:off x="4305300" y="2695575"/>
              <a:ext cx="3175" cy="6350"/>
            </a:xfrm>
            <a:custGeom>
              <a:avLst/>
              <a:gdLst>
                <a:gd name="T0" fmla="*/ 0 w 9"/>
                <a:gd name="T1" fmla="*/ 8 h 18"/>
                <a:gd name="T2" fmla="*/ 0 w 9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8"/>
                  </a:moveTo>
                  <a:cubicBezTo>
                    <a:pt x="8" y="17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4" name="Freeform 985"/>
            <p:cNvSpPr>
              <a:spLocks noChangeArrowheads="1"/>
            </p:cNvSpPr>
            <p:nvPr/>
          </p:nvSpPr>
          <p:spPr bwMode="auto">
            <a:xfrm>
              <a:off x="4337050" y="2692400"/>
              <a:ext cx="4763" cy="3175"/>
            </a:xfrm>
            <a:custGeom>
              <a:avLst/>
              <a:gdLst>
                <a:gd name="T0" fmla="*/ 0 w 13"/>
                <a:gd name="T1" fmla="*/ 8 h 9"/>
                <a:gd name="T2" fmla="*/ 0 w 13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9">
                  <a:moveTo>
                    <a:pt x="0" y="8"/>
                  </a:moveTo>
                  <a:cubicBezTo>
                    <a:pt x="12" y="8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5" name="Freeform 986"/>
            <p:cNvSpPr>
              <a:spLocks noChangeArrowheads="1"/>
            </p:cNvSpPr>
            <p:nvPr/>
          </p:nvSpPr>
          <p:spPr bwMode="auto">
            <a:xfrm>
              <a:off x="4341813" y="2692400"/>
              <a:ext cx="6350" cy="4763"/>
            </a:xfrm>
            <a:custGeom>
              <a:avLst/>
              <a:gdLst>
                <a:gd name="T0" fmla="*/ 0 w 16"/>
                <a:gd name="T1" fmla="*/ 5 h 12"/>
                <a:gd name="T2" fmla="*/ 15 w 16"/>
                <a:gd name="T3" fmla="*/ 11 h 12"/>
                <a:gd name="T4" fmla="*/ 0 w 16"/>
                <a:gd name="T5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0" y="5"/>
                  </a:moveTo>
                  <a:cubicBezTo>
                    <a:pt x="6" y="8"/>
                    <a:pt x="9" y="11"/>
                    <a:pt x="15" y="11"/>
                  </a:cubicBezTo>
                  <a:cubicBezTo>
                    <a:pt x="15" y="5"/>
                    <a:pt x="3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6" name="Freeform 987"/>
            <p:cNvSpPr>
              <a:spLocks noChangeArrowheads="1"/>
            </p:cNvSpPr>
            <p:nvPr/>
          </p:nvSpPr>
          <p:spPr bwMode="auto">
            <a:xfrm>
              <a:off x="4310063" y="2698750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3" y="3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7" name="Freeform 988"/>
            <p:cNvSpPr>
              <a:spLocks noChangeArrowheads="1"/>
            </p:cNvSpPr>
            <p:nvPr/>
          </p:nvSpPr>
          <p:spPr bwMode="auto">
            <a:xfrm>
              <a:off x="4305300" y="2701925"/>
              <a:ext cx="4763" cy="3175"/>
            </a:xfrm>
            <a:custGeom>
              <a:avLst/>
              <a:gdLst>
                <a:gd name="T0" fmla="*/ 14 w 15"/>
                <a:gd name="T1" fmla="*/ 3 h 9"/>
                <a:gd name="T2" fmla="*/ 0 w 15"/>
                <a:gd name="T3" fmla="*/ 8 h 9"/>
                <a:gd name="T4" fmla="*/ 14 w 15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3"/>
                  </a:moveTo>
                  <a:cubicBezTo>
                    <a:pt x="8" y="0"/>
                    <a:pt x="3" y="3"/>
                    <a:pt x="0" y="8"/>
                  </a:cubicBezTo>
                  <a:cubicBezTo>
                    <a:pt x="3" y="6"/>
                    <a:pt x="14" y="8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8" name="Freeform 989"/>
            <p:cNvSpPr>
              <a:spLocks noChangeArrowheads="1"/>
            </p:cNvSpPr>
            <p:nvPr/>
          </p:nvSpPr>
          <p:spPr bwMode="auto">
            <a:xfrm>
              <a:off x="4335463" y="2698750"/>
              <a:ext cx="6350" cy="3175"/>
            </a:xfrm>
            <a:custGeom>
              <a:avLst/>
              <a:gdLst>
                <a:gd name="T0" fmla="*/ 17 w 18"/>
                <a:gd name="T1" fmla="*/ 0 h 9"/>
                <a:gd name="T2" fmla="*/ 17 w 18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17" y="0"/>
                  </a:moveTo>
                  <a:cubicBezTo>
                    <a:pt x="0" y="0"/>
                    <a:pt x="11" y="8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9" name="Freeform 990"/>
            <p:cNvSpPr>
              <a:spLocks noChangeArrowheads="1"/>
            </p:cNvSpPr>
            <p:nvPr/>
          </p:nvSpPr>
          <p:spPr bwMode="auto">
            <a:xfrm>
              <a:off x="4389438" y="2665413"/>
              <a:ext cx="7937" cy="4762"/>
            </a:xfrm>
            <a:custGeom>
              <a:avLst/>
              <a:gdLst>
                <a:gd name="T0" fmla="*/ 3 w 21"/>
                <a:gd name="T1" fmla="*/ 11 h 12"/>
                <a:gd name="T2" fmla="*/ 12 w 21"/>
                <a:gd name="T3" fmla="*/ 0 h 12"/>
                <a:gd name="T4" fmla="*/ 3 w 21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3" y="11"/>
                  </a:moveTo>
                  <a:cubicBezTo>
                    <a:pt x="6" y="8"/>
                    <a:pt x="20" y="2"/>
                    <a:pt x="12" y="0"/>
                  </a:cubicBezTo>
                  <a:cubicBezTo>
                    <a:pt x="12" y="5"/>
                    <a:pt x="0" y="2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0" name="Freeform 991"/>
            <p:cNvSpPr>
              <a:spLocks noChangeArrowheads="1"/>
            </p:cNvSpPr>
            <p:nvPr/>
          </p:nvSpPr>
          <p:spPr bwMode="auto">
            <a:xfrm>
              <a:off x="4376738" y="2671763"/>
              <a:ext cx="4762" cy="4762"/>
            </a:xfrm>
            <a:custGeom>
              <a:avLst/>
              <a:gdLst>
                <a:gd name="T0" fmla="*/ 0 w 15"/>
                <a:gd name="T1" fmla="*/ 9 h 13"/>
                <a:gd name="T2" fmla="*/ 8 w 15"/>
                <a:gd name="T3" fmla="*/ 0 h 13"/>
                <a:gd name="T4" fmla="*/ 0 w 15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0" y="9"/>
                  </a:moveTo>
                  <a:cubicBezTo>
                    <a:pt x="8" y="12"/>
                    <a:pt x="14" y="0"/>
                    <a:pt x="8" y="0"/>
                  </a:cubicBezTo>
                  <a:cubicBezTo>
                    <a:pt x="11" y="9"/>
                    <a:pt x="0" y="3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1" name="Freeform 992"/>
            <p:cNvSpPr>
              <a:spLocks noChangeArrowheads="1"/>
            </p:cNvSpPr>
            <p:nvPr/>
          </p:nvSpPr>
          <p:spPr bwMode="auto">
            <a:xfrm>
              <a:off x="4389438" y="2665413"/>
              <a:ext cx="4762" cy="7937"/>
            </a:xfrm>
            <a:custGeom>
              <a:avLst/>
              <a:gdLst>
                <a:gd name="T0" fmla="*/ 12 w 13"/>
                <a:gd name="T1" fmla="*/ 8 h 20"/>
                <a:gd name="T2" fmla="*/ 12 w 13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0">
                  <a:moveTo>
                    <a:pt x="12" y="8"/>
                  </a:moveTo>
                  <a:cubicBezTo>
                    <a:pt x="0" y="0"/>
                    <a:pt x="9" y="19"/>
                    <a:pt x="12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2" name="Freeform 993"/>
            <p:cNvSpPr>
              <a:spLocks noChangeArrowheads="1"/>
            </p:cNvSpPr>
            <p:nvPr/>
          </p:nvSpPr>
          <p:spPr bwMode="auto">
            <a:xfrm>
              <a:off x="4376738" y="2674938"/>
              <a:ext cx="3175" cy="4762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2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3" name="Freeform 994"/>
            <p:cNvSpPr>
              <a:spLocks noChangeArrowheads="1"/>
            </p:cNvSpPr>
            <p:nvPr/>
          </p:nvSpPr>
          <p:spPr bwMode="auto">
            <a:xfrm>
              <a:off x="4368800" y="2667000"/>
              <a:ext cx="3175" cy="3175"/>
            </a:xfrm>
            <a:custGeom>
              <a:avLst/>
              <a:gdLst>
                <a:gd name="T0" fmla="*/ 8 w 9"/>
                <a:gd name="T1" fmla="*/ 6 h 10"/>
                <a:gd name="T2" fmla="*/ 5 w 9"/>
                <a:gd name="T3" fmla="*/ 0 h 10"/>
                <a:gd name="T4" fmla="*/ 0 w 9"/>
                <a:gd name="T5" fmla="*/ 6 h 10"/>
                <a:gd name="T6" fmla="*/ 3 w 9"/>
                <a:gd name="T7" fmla="*/ 9 h 10"/>
                <a:gd name="T8" fmla="*/ 8 w 9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8" y="6"/>
                  </a:moveTo>
                  <a:lnTo>
                    <a:pt x="5" y="0"/>
                  </a:lnTo>
                  <a:cubicBezTo>
                    <a:pt x="0" y="0"/>
                    <a:pt x="0" y="3"/>
                    <a:pt x="0" y="6"/>
                  </a:cubicBezTo>
                  <a:cubicBezTo>
                    <a:pt x="0" y="6"/>
                    <a:pt x="0" y="9"/>
                    <a:pt x="3" y="9"/>
                  </a:cubicBezTo>
                  <a:lnTo>
                    <a:pt x="8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4" name="Freeform 995"/>
            <p:cNvSpPr>
              <a:spLocks noChangeArrowheads="1"/>
            </p:cNvSpPr>
            <p:nvPr/>
          </p:nvSpPr>
          <p:spPr bwMode="auto">
            <a:xfrm>
              <a:off x="4351338" y="2662238"/>
              <a:ext cx="3175" cy="3175"/>
            </a:xfrm>
            <a:custGeom>
              <a:avLst/>
              <a:gdLst>
                <a:gd name="T0" fmla="*/ 5 w 9"/>
                <a:gd name="T1" fmla="*/ 0 h 10"/>
                <a:gd name="T2" fmla="*/ 0 w 9"/>
                <a:gd name="T3" fmla="*/ 3 h 10"/>
                <a:gd name="T4" fmla="*/ 3 w 9"/>
                <a:gd name="T5" fmla="*/ 9 h 10"/>
                <a:gd name="T6" fmla="*/ 8 w 9"/>
                <a:gd name="T7" fmla="*/ 6 h 10"/>
                <a:gd name="T8" fmla="*/ 5 w 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lnTo>
                    <a:pt x="0" y="3"/>
                  </a:lnTo>
                  <a:lnTo>
                    <a:pt x="3" y="9"/>
                  </a:lnTo>
                  <a:lnTo>
                    <a:pt x="8" y="6"/>
                  </a:lnTo>
                  <a:lnTo>
                    <a:pt x="5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5" name="Freeform 996"/>
            <p:cNvSpPr>
              <a:spLocks noChangeArrowheads="1"/>
            </p:cNvSpPr>
            <p:nvPr/>
          </p:nvSpPr>
          <p:spPr bwMode="auto">
            <a:xfrm>
              <a:off x="4348163" y="2667000"/>
              <a:ext cx="3175" cy="4763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3" y="14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6" name="Freeform 997"/>
            <p:cNvSpPr>
              <a:spLocks noChangeArrowheads="1"/>
            </p:cNvSpPr>
            <p:nvPr/>
          </p:nvSpPr>
          <p:spPr bwMode="auto">
            <a:xfrm>
              <a:off x="4348163" y="2670175"/>
              <a:ext cx="1587" cy="6350"/>
            </a:xfrm>
            <a:custGeom>
              <a:avLst/>
              <a:gdLst>
                <a:gd name="T0" fmla="*/ 0 w 6"/>
                <a:gd name="T1" fmla="*/ 3 h 16"/>
                <a:gd name="T2" fmla="*/ 0 w 6"/>
                <a:gd name="T3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6">
                  <a:moveTo>
                    <a:pt x="0" y="3"/>
                  </a:moveTo>
                  <a:cubicBezTo>
                    <a:pt x="2" y="15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7" name="Freeform 998"/>
            <p:cNvSpPr>
              <a:spLocks noChangeArrowheads="1"/>
            </p:cNvSpPr>
            <p:nvPr/>
          </p:nvSpPr>
          <p:spPr bwMode="auto">
            <a:xfrm>
              <a:off x="4349750" y="2690813"/>
              <a:ext cx="3175" cy="3175"/>
            </a:xfrm>
            <a:custGeom>
              <a:avLst/>
              <a:gdLst>
                <a:gd name="T0" fmla="*/ 6 w 10"/>
                <a:gd name="T1" fmla="*/ 0 h 9"/>
                <a:gd name="T2" fmla="*/ 0 w 10"/>
                <a:gd name="T3" fmla="*/ 3 h 9"/>
                <a:gd name="T4" fmla="*/ 3 w 10"/>
                <a:gd name="T5" fmla="*/ 8 h 9"/>
                <a:gd name="T6" fmla="*/ 9 w 10"/>
                <a:gd name="T7" fmla="*/ 6 h 9"/>
                <a:gd name="T8" fmla="*/ 6 w 10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6" y="0"/>
                  </a:moveTo>
                  <a:lnTo>
                    <a:pt x="0" y="3"/>
                  </a:lnTo>
                  <a:lnTo>
                    <a:pt x="3" y="8"/>
                  </a:lnTo>
                  <a:lnTo>
                    <a:pt x="9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8" name="Freeform 999"/>
            <p:cNvSpPr>
              <a:spLocks noChangeArrowheads="1"/>
            </p:cNvSpPr>
            <p:nvPr/>
          </p:nvSpPr>
          <p:spPr bwMode="auto">
            <a:xfrm>
              <a:off x="4333875" y="2662238"/>
              <a:ext cx="4763" cy="4762"/>
            </a:xfrm>
            <a:custGeom>
              <a:avLst/>
              <a:gdLst>
                <a:gd name="T0" fmla="*/ 8 w 12"/>
                <a:gd name="T1" fmla="*/ 14 h 15"/>
                <a:gd name="T2" fmla="*/ 8 w 12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8" y="14"/>
                  </a:moveTo>
                  <a:cubicBezTo>
                    <a:pt x="11" y="0"/>
                    <a:pt x="0" y="11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9" name="Freeform 1000"/>
            <p:cNvSpPr>
              <a:spLocks noChangeArrowheads="1"/>
            </p:cNvSpPr>
            <p:nvPr/>
          </p:nvSpPr>
          <p:spPr bwMode="auto">
            <a:xfrm>
              <a:off x="4344988" y="2684463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6 h 12"/>
                <a:gd name="T4" fmla="*/ 3 w 9"/>
                <a:gd name="T5" fmla="*/ 11 h 12"/>
                <a:gd name="T6" fmla="*/ 0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0" y="6"/>
                    <a:pt x="0" y="6"/>
                    <a:pt x="0" y="6"/>
                  </a:cubicBezTo>
                  <a:lnTo>
                    <a:pt x="3" y="11"/>
                  </a:lnTo>
                  <a:cubicBezTo>
                    <a:pt x="8" y="11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0" name="Freeform 1001"/>
            <p:cNvSpPr>
              <a:spLocks noChangeArrowheads="1"/>
            </p:cNvSpPr>
            <p:nvPr/>
          </p:nvSpPr>
          <p:spPr bwMode="auto">
            <a:xfrm>
              <a:off x="4333875" y="2671763"/>
              <a:ext cx="3175" cy="3175"/>
            </a:xfrm>
            <a:custGeom>
              <a:avLst/>
              <a:gdLst>
                <a:gd name="T0" fmla="*/ 0 w 9"/>
                <a:gd name="T1" fmla="*/ 0 h 7"/>
                <a:gd name="T2" fmla="*/ 8 w 9"/>
                <a:gd name="T3" fmla="*/ 6 h 7"/>
                <a:gd name="T4" fmla="*/ 0 w 9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0" y="0"/>
                  </a:moveTo>
                  <a:cubicBezTo>
                    <a:pt x="0" y="3"/>
                    <a:pt x="6" y="6"/>
                    <a:pt x="8" y="6"/>
                  </a:cubicBezTo>
                  <a:cubicBezTo>
                    <a:pt x="6" y="3"/>
                    <a:pt x="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1" name="Freeform 1002"/>
            <p:cNvSpPr>
              <a:spLocks noChangeArrowheads="1"/>
            </p:cNvSpPr>
            <p:nvPr/>
          </p:nvSpPr>
          <p:spPr bwMode="auto">
            <a:xfrm>
              <a:off x="4340225" y="2693988"/>
              <a:ext cx="6350" cy="4762"/>
            </a:xfrm>
            <a:custGeom>
              <a:avLst/>
              <a:gdLst>
                <a:gd name="T0" fmla="*/ 14 w 18"/>
                <a:gd name="T1" fmla="*/ 0 h 13"/>
                <a:gd name="T2" fmla="*/ 14 w 18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14" y="0"/>
                  </a:moveTo>
                  <a:cubicBezTo>
                    <a:pt x="0" y="6"/>
                    <a:pt x="17" y="12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2" name="Freeform 1003"/>
            <p:cNvSpPr>
              <a:spLocks noChangeArrowheads="1"/>
            </p:cNvSpPr>
            <p:nvPr/>
          </p:nvSpPr>
          <p:spPr bwMode="auto">
            <a:xfrm>
              <a:off x="4340225" y="2692400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3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3" name="Freeform 1004"/>
            <p:cNvSpPr>
              <a:spLocks noChangeArrowheads="1"/>
            </p:cNvSpPr>
            <p:nvPr/>
          </p:nvSpPr>
          <p:spPr bwMode="auto">
            <a:xfrm>
              <a:off x="4329113" y="2674938"/>
              <a:ext cx="1587" cy="4762"/>
            </a:xfrm>
            <a:custGeom>
              <a:avLst/>
              <a:gdLst>
                <a:gd name="T0" fmla="*/ 0 w 6"/>
                <a:gd name="T1" fmla="*/ 3 h 15"/>
                <a:gd name="T2" fmla="*/ 0 w 6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5">
                  <a:moveTo>
                    <a:pt x="0" y="3"/>
                  </a:moveTo>
                  <a:cubicBezTo>
                    <a:pt x="0" y="14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4" name="Freeform 1005"/>
            <p:cNvSpPr>
              <a:spLocks noChangeArrowheads="1"/>
            </p:cNvSpPr>
            <p:nvPr/>
          </p:nvSpPr>
          <p:spPr bwMode="auto">
            <a:xfrm>
              <a:off x="4325938" y="2676525"/>
              <a:ext cx="3175" cy="4763"/>
            </a:xfrm>
            <a:custGeom>
              <a:avLst/>
              <a:gdLst>
                <a:gd name="T0" fmla="*/ 0 w 7"/>
                <a:gd name="T1" fmla="*/ 2 h 12"/>
                <a:gd name="T2" fmla="*/ 0 w 7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2">
                  <a:moveTo>
                    <a:pt x="0" y="2"/>
                  </a:moveTo>
                  <a:cubicBezTo>
                    <a:pt x="3" y="11"/>
                    <a:pt x="6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5" name="Freeform 1006"/>
            <p:cNvSpPr>
              <a:spLocks noChangeArrowheads="1"/>
            </p:cNvSpPr>
            <p:nvPr/>
          </p:nvSpPr>
          <p:spPr bwMode="auto">
            <a:xfrm>
              <a:off x="4319588" y="2671763"/>
              <a:ext cx="3175" cy="4762"/>
            </a:xfrm>
            <a:custGeom>
              <a:avLst/>
              <a:gdLst>
                <a:gd name="T0" fmla="*/ 2 w 9"/>
                <a:gd name="T1" fmla="*/ 12 h 13"/>
                <a:gd name="T2" fmla="*/ 5 w 9"/>
                <a:gd name="T3" fmla="*/ 0 h 13"/>
                <a:gd name="T4" fmla="*/ 2 w 9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3">
                  <a:moveTo>
                    <a:pt x="2" y="12"/>
                  </a:moveTo>
                  <a:cubicBezTo>
                    <a:pt x="8" y="9"/>
                    <a:pt x="8" y="6"/>
                    <a:pt x="5" y="0"/>
                  </a:cubicBezTo>
                  <a:cubicBezTo>
                    <a:pt x="0" y="3"/>
                    <a:pt x="0" y="6"/>
                    <a:pt x="2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6" name="Freeform 1007"/>
            <p:cNvSpPr>
              <a:spLocks noChangeArrowheads="1"/>
            </p:cNvSpPr>
            <p:nvPr/>
          </p:nvSpPr>
          <p:spPr bwMode="auto">
            <a:xfrm>
              <a:off x="4300538" y="2679700"/>
              <a:ext cx="9525" cy="4763"/>
            </a:xfrm>
            <a:custGeom>
              <a:avLst/>
              <a:gdLst>
                <a:gd name="T0" fmla="*/ 19 w 26"/>
                <a:gd name="T1" fmla="*/ 0 h 12"/>
                <a:gd name="T2" fmla="*/ 8 w 26"/>
                <a:gd name="T3" fmla="*/ 8 h 12"/>
                <a:gd name="T4" fmla="*/ 19 w 2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12">
                  <a:moveTo>
                    <a:pt x="19" y="0"/>
                  </a:moveTo>
                  <a:cubicBezTo>
                    <a:pt x="17" y="0"/>
                    <a:pt x="0" y="3"/>
                    <a:pt x="8" y="8"/>
                  </a:cubicBezTo>
                  <a:cubicBezTo>
                    <a:pt x="8" y="11"/>
                    <a:pt x="25" y="6"/>
                    <a:pt x="1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7" name="Freeform 1008"/>
            <p:cNvSpPr>
              <a:spLocks noChangeArrowheads="1"/>
            </p:cNvSpPr>
            <p:nvPr/>
          </p:nvSpPr>
          <p:spPr bwMode="auto">
            <a:xfrm>
              <a:off x="4297363" y="2690813"/>
              <a:ext cx="3175" cy="1587"/>
            </a:xfrm>
            <a:custGeom>
              <a:avLst/>
              <a:gdLst>
                <a:gd name="T0" fmla="*/ 3 w 10"/>
                <a:gd name="T1" fmla="*/ 4 h 6"/>
                <a:gd name="T2" fmla="*/ 0 w 10"/>
                <a:gd name="T3" fmla="*/ 5 h 6"/>
                <a:gd name="T4" fmla="*/ 3 w 10"/>
                <a:gd name="T5" fmla="*/ 4 h 6"/>
                <a:gd name="T6" fmla="*/ 5 w 10"/>
                <a:gd name="T7" fmla="*/ 2 h 6"/>
                <a:gd name="T8" fmla="*/ 3 w 10"/>
                <a:gd name="T9" fmla="*/ 4 h 6"/>
                <a:gd name="T10" fmla="*/ 5 w 10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6">
                  <a:moveTo>
                    <a:pt x="3" y="4"/>
                  </a:moveTo>
                  <a:cubicBezTo>
                    <a:pt x="2" y="4"/>
                    <a:pt x="1" y="5"/>
                    <a:pt x="0" y="5"/>
                  </a:cubicBezTo>
                  <a:cubicBezTo>
                    <a:pt x="0" y="5"/>
                    <a:pt x="2" y="4"/>
                    <a:pt x="3" y="4"/>
                  </a:cubicBezTo>
                  <a:close/>
                  <a:moveTo>
                    <a:pt x="5" y="2"/>
                  </a:moveTo>
                  <a:cubicBezTo>
                    <a:pt x="9" y="0"/>
                    <a:pt x="6" y="2"/>
                    <a:pt x="3" y="4"/>
                  </a:cubicBezTo>
                  <a:cubicBezTo>
                    <a:pt x="3" y="3"/>
                    <a:pt x="4" y="3"/>
                    <a:pt x="5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8" name="Freeform 1009"/>
            <p:cNvSpPr>
              <a:spLocks noChangeArrowheads="1"/>
            </p:cNvSpPr>
            <p:nvPr/>
          </p:nvSpPr>
          <p:spPr bwMode="auto">
            <a:xfrm>
              <a:off x="4292600" y="2698750"/>
              <a:ext cx="3175" cy="6350"/>
            </a:xfrm>
            <a:custGeom>
              <a:avLst/>
              <a:gdLst>
                <a:gd name="T0" fmla="*/ 0 w 7"/>
                <a:gd name="T1" fmla="*/ 3 h 16"/>
                <a:gd name="T2" fmla="*/ 0 w 7"/>
                <a:gd name="T3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6">
                  <a:moveTo>
                    <a:pt x="0" y="3"/>
                  </a:moveTo>
                  <a:cubicBezTo>
                    <a:pt x="3" y="15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9" name="Freeform 1010"/>
            <p:cNvSpPr>
              <a:spLocks noChangeArrowheads="1"/>
            </p:cNvSpPr>
            <p:nvPr/>
          </p:nvSpPr>
          <p:spPr bwMode="auto">
            <a:xfrm>
              <a:off x="4335463" y="2684463"/>
              <a:ext cx="4762" cy="6350"/>
            </a:xfrm>
            <a:custGeom>
              <a:avLst/>
              <a:gdLst>
                <a:gd name="T0" fmla="*/ 8 w 15"/>
                <a:gd name="T1" fmla="*/ 17 h 18"/>
                <a:gd name="T2" fmla="*/ 8 w 15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8" y="17"/>
                  </a:moveTo>
                  <a:cubicBezTo>
                    <a:pt x="14" y="0"/>
                    <a:pt x="0" y="11"/>
                    <a:pt x="8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0" name="Freeform 1011"/>
            <p:cNvSpPr>
              <a:spLocks noChangeArrowheads="1"/>
            </p:cNvSpPr>
            <p:nvPr/>
          </p:nvSpPr>
          <p:spPr bwMode="auto">
            <a:xfrm>
              <a:off x="4330700" y="2692400"/>
              <a:ext cx="7938" cy="6350"/>
            </a:xfrm>
            <a:custGeom>
              <a:avLst/>
              <a:gdLst>
                <a:gd name="T0" fmla="*/ 19 w 20"/>
                <a:gd name="T1" fmla="*/ 16 h 17"/>
                <a:gd name="T2" fmla="*/ 0 w 20"/>
                <a:gd name="T3" fmla="*/ 2 h 17"/>
                <a:gd name="T4" fmla="*/ 19 w 20"/>
                <a:gd name="T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7">
                  <a:moveTo>
                    <a:pt x="19" y="16"/>
                  </a:moveTo>
                  <a:cubicBezTo>
                    <a:pt x="14" y="5"/>
                    <a:pt x="8" y="0"/>
                    <a:pt x="0" y="2"/>
                  </a:cubicBezTo>
                  <a:cubicBezTo>
                    <a:pt x="0" y="8"/>
                    <a:pt x="14" y="11"/>
                    <a:pt x="19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1" name="Freeform 1012"/>
            <p:cNvSpPr>
              <a:spLocks noChangeArrowheads="1"/>
            </p:cNvSpPr>
            <p:nvPr/>
          </p:nvSpPr>
          <p:spPr bwMode="auto">
            <a:xfrm>
              <a:off x="4297363" y="2686050"/>
              <a:ext cx="6350" cy="3175"/>
            </a:xfrm>
            <a:custGeom>
              <a:avLst/>
              <a:gdLst>
                <a:gd name="T0" fmla="*/ 0 w 18"/>
                <a:gd name="T1" fmla="*/ 8 h 9"/>
                <a:gd name="T2" fmla="*/ 0 w 18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0" y="8"/>
                  </a:moveTo>
                  <a:cubicBezTo>
                    <a:pt x="17" y="8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2" name="Freeform 1013"/>
            <p:cNvSpPr>
              <a:spLocks noChangeArrowheads="1"/>
            </p:cNvSpPr>
            <p:nvPr/>
          </p:nvSpPr>
          <p:spPr bwMode="auto">
            <a:xfrm>
              <a:off x="4035425" y="2697163"/>
              <a:ext cx="3175" cy="1587"/>
            </a:xfrm>
            <a:custGeom>
              <a:avLst/>
              <a:gdLst>
                <a:gd name="T0" fmla="*/ 6 w 10"/>
                <a:gd name="T1" fmla="*/ 0 h 6"/>
                <a:gd name="T2" fmla="*/ 0 w 10"/>
                <a:gd name="T3" fmla="*/ 5 h 6"/>
                <a:gd name="T4" fmla="*/ 6 w 10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6">
                  <a:moveTo>
                    <a:pt x="6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9" y="5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3" name="Freeform 1014"/>
            <p:cNvSpPr>
              <a:spLocks noChangeArrowheads="1"/>
            </p:cNvSpPr>
            <p:nvPr/>
          </p:nvSpPr>
          <p:spPr bwMode="auto">
            <a:xfrm>
              <a:off x="4054475" y="2697163"/>
              <a:ext cx="4763" cy="3175"/>
            </a:xfrm>
            <a:custGeom>
              <a:avLst/>
              <a:gdLst>
                <a:gd name="T0" fmla="*/ 0 w 12"/>
                <a:gd name="T1" fmla="*/ 5 h 9"/>
                <a:gd name="T2" fmla="*/ 0 w 12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11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4" name="Freeform 1015"/>
            <p:cNvSpPr>
              <a:spLocks noChangeArrowheads="1"/>
            </p:cNvSpPr>
            <p:nvPr/>
          </p:nvSpPr>
          <p:spPr bwMode="auto">
            <a:xfrm>
              <a:off x="4064000" y="2698750"/>
              <a:ext cx="3175" cy="1588"/>
            </a:xfrm>
            <a:custGeom>
              <a:avLst/>
              <a:gdLst>
                <a:gd name="T0" fmla="*/ 6 w 7"/>
                <a:gd name="T1" fmla="*/ 5 h 6"/>
                <a:gd name="T2" fmla="*/ 6 w 7"/>
                <a:gd name="T3" fmla="*/ 0 h 6"/>
                <a:gd name="T4" fmla="*/ 0 w 7"/>
                <a:gd name="T5" fmla="*/ 0 h 6"/>
                <a:gd name="T6" fmla="*/ 0 w 7"/>
                <a:gd name="T7" fmla="*/ 5 h 6"/>
                <a:gd name="T8" fmla="*/ 6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5" name="Freeform 1016"/>
            <p:cNvSpPr>
              <a:spLocks noChangeArrowheads="1"/>
            </p:cNvSpPr>
            <p:nvPr/>
          </p:nvSpPr>
          <p:spPr bwMode="auto">
            <a:xfrm>
              <a:off x="4070350" y="2697163"/>
              <a:ext cx="3175" cy="1587"/>
            </a:xfrm>
            <a:custGeom>
              <a:avLst/>
              <a:gdLst>
                <a:gd name="T0" fmla="*/ 6 w 10"/>
                <a:gd name="T1" fmla="*/ 0 h 6"/>
                <a:gd name="T2" fmla="*/ 0 w 10"/>
                <a:gd name="T3" fmla="*/ 5 h 6"/>
                <a:gd name="T4" fmla="*/ 6 w 10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6">
                  <a:moveTo>
                    <a:pt x="6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9" y="5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6" name="Freeform 1017"/>
            <p:cNvSpPr>
              <a:spLocks noChangeArrowheads="1"/>
            </p:cNvSpPr>
            <p:nvPr/>
          </p:nvSpPr>
          <p:spPr bwMode="auto">
            <a:xfrm>
              <a:off x="4076700" y="2697163"/>
              <a:ext cx="3175" cy="4762"/>
            </a:xfrm>
            <a:custGeom>
              <a:avLst/>
              <a:gdLst>
                <a:gd name="T0" fmla="*/ 3 w 10"/>
                <a:gd name="T1" fmla="*/ 0 h 12"/>
                <a:gd name="T2" fmla="*/ 0 w 10"/>
                <a:gd name="T3" fmla="*/ 8 h 12"/>
                <a:gd name="T4" fmla="*/ 3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3" y="0"/>
                  </a:moveTo>
                  <a:cubicBezTo>
                    <a:pt x="3" y="3"/>
                    <a:pt x="0" y="3"/>
                    <a:pt x="0" y="8"/>
                  </a:cubicBezTo>
                  <a:cubicBezTo>
                    <a:pt x="9" y="11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7" name="Freeform 1018"/>
            <p:cNvSpPr>
              <a:spLocks noChangeArrowheads="1"/>
            </p:cNvSpPr>
            <p:nvPr/>
          </p:nvSpPr>
          <p:spPr bwMode="auto">
            <a:xfrm>
              <a:off x="4016375" y="2708275"/>
              <a:ext cx="3175" cy="1588"/>
            </a:xfrm>
            <a:custGeom>
              <a:avLst/>
              <a:gdLst>
                <a:gd name="T0" fmla="*/ 0 w 9"/>
                <a:gd name="T1" fmla="*/ 5 h 6"/>
                <a:gd name="T2" fmla="*/ 8 w 9"/>
                <a:gd name="T3" fmla="*/ 0 h 6"/>
                <a:gd name="T4" fmla="*/ 0 w 9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0" y="5"/>
                  </a:moveTo>
                  <a:cubicBezTo>
                    <a:pt x="5" y="5"/>
                    <a:pt x="8" y="3"/>
                    <a:pt x="8" y="0"/>
                  </a:cubicBezTo>
                  <a:cubicBezTo>
                    <a:pt x="3" y="0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8" name="Freeform 1019"/>
            <p:cNvSpPr>
              <a:spLocks noChangeArrowheads="1"/>
            </p:cNvSpPr>
            <p:nvPr/>
          </p:nvSpPr>
          <p:spPr bwMode="auto">
            <a:xfrm>
              <a:off x="4064000" y="2701925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0 w 10"/>
                <a:gd name="T3" fmla="*/ 0 h 9"/>
                <a:gd name="T4" fmla="*/ 9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cubicBezTo>
                    <a:pt x="9" y="3"/>
                    <a:pt x="3" y="0"/>
                    <a:pt x="0" y="0"/>
                  </a:cubicBezTo>
                  <a:cubicBezTo>
                    <a:pt x="0" y="6"/>
                    <a:pt x="3" y="8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9" name="Freeform 1020"/>
            <p:cNvSpPr>
              <a:spLocks noChangeArrowheads="1"/>
            </p:cNvSpPr>
            <p:nvPr/>
          </p:nvSpPr>
          <p:spPr bwMode="auto">
            <a:xfrm>
              <a:off x="4008438" y="2709863"/>
              <a:ext cx="3175" cy="3175"/>
            </a:xfrm>
            <a:custGeom>
              <a:avLst/>
              <a:gdLst>
                <a:gd name="T0" fmla="*/ 0 w 7"/>
                <a:gd name="T1" fmla="*/ 0 h 7"/>
                <a:gd name="T2" fmla="*/ 0 w 7"/>
                <a:gd name="T3" fmla="*/ 6 h 7"/>
                <a:gd name="T4" fmla="*/ 6 w 7"/>
                <a:gd name="T5" fmla="*/ 6 h 7"/>
                <a:gd name="T6" fmla="*/ 6 w 7"/>
                <a:gd name="T7" fmla="*/ 0 h 7"/>
                <a:gd name="T8" fmla="*/ 0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0" name="Freeform 1021"/>
            <p:cNvSpPr>
              <a:spLocks noChangeArrowheads="1"/>
            </p:cNvSpPr>
            <p:nvPr/>
          </p:nvSpPr>
          <p:spPr bwMode="auto">
            <a:xfrm>
              <a:off x="4040188" y="2706688"/>
              <a:ext cx="4762" cy="3175"/>
            </a:xfrm>
            <a:custGeom>
              <a:avLst/>
              <a:gdLst>
                <a:gd name="T0" fmla="*/ 0 w 12"/>
                <a:gd name="T1" fmla="*/ 6 h 10"/>
                <a:gd name="T2" fmla="*/ 2 w 12"/>
                <a:gd name="T3" fmla="*/ 9 h 10"/>
                <a:gd name="T4" fmla="*/ 8 w 12"/>
                <a:gd name="T5" fmla="*/ 9 h 10"/>
                <a:gd name="T6" fmla="*/ 0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2" y="6"/>
                    <a:pt x="2" y="6"/>
                    <a:pt x="2" y="9"/>
                  </a:cubicBezTo>
                  <a:lnTo>
                    <a:pt x="8" y="9"/>
                  </a:lnTo>
                  <a:cubicBezTo>
                    <a:pt x="11" y="0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1" name="Freeform 1022"/>
            <p:cNvSpPr>
              <a:spLocks noChangeArrowheads="1"/>
            </p:cNvSpPr>
            <p:nvPr/>
          </p:nvSpPr>
          <p:spPr bwMode="auto">
            <a:xfrm>
              <a:off x="4057650" y="2705100"/>
              <a:ext cx="4763" cy="3175"/>
            </a:xfrm>
            <a:custGeom>
              <a:avLst/>
              <a:gdLst>
                <a:gd name="T0" fmla="*/ 0 w 13"/>
                <a:gd name="T1" fmla="*/ 6 h 10"/>
                <a:gd name="T2" fmla="*/ 0 w 13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6"/>
                  </a:moveTo>
                  <a:cubicBezTo>
                    <a:pt x="12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2" name="Freeform 1023"/>
            <p:cNvSpPr>
              <a:spLocks noChangeArrowheads="1"/>
            </p:cNvSpPr>
            <p:nvPr/>
          </p:nvSpPr>
          <p:spPr bwMode="auto">
            <a:xfrm>
              <a:off x="4021138" y="2709863"/>
              <a:ext cx="3175" cy="6350"/>
            </a:xfrm>
            <a:custGeom>
              <a:avLst/>
              <a:gdLst>
                <a:gd name="T0" fmla="*/ 0 w 9"/>
                <a:gd name="T1" fmla="*/ 12 h 18"/>
                <a:gd name="T2" fmla="*/ 0 w 9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12"/>
                  </a:moveTo>
                  <a:cubicBezTo>
                    <a:pt x="8" y="17"/>
                    <a:pt x="3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3" name="Freeform 1024"/>
            <p:cNvSpPr>
              <a:spLocks noChangeArrowheads="1"/>
            </p:cNvSpPr>
            <p:nvPr/>
          </p:nvSpPr>
          <p:spPr bwMode="auto">
            <a:xfrm>
              <a:off x="4038600" y="2709863"/>
              <a:ext cx="4763" cy="3175"/>
            </a:xfrm>
            <a:custGeom>
              <a:avLst/>
              <a:gdLst>
                <a:gd name="T0" fmla="*/ 3 w 15"/>
                <a:gd name="T1" fmla="*/ 0 h 10"/>
                <a:gd name="T2" fmla="*/ 14 w 15"/>
                <a:gd name="T3" fmla="*/ 6 h 10"/>
                <a:gd name="T4" fmla="*/ 3 w 15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3" y="0"/>
                  </a:moveTo>
                  <a:cubicBezTo>
                    <a:pt x="0" y="9"/>
                    <a:pt x="8" y="9"/>
                    <a:pt x="14" y="6"/>
                  </a:cubicBezTo>
                  <a:cubicBezTo>
                    <a:pt x="14" y="0"/>
                    <a:pt x="8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4" name="Freeform 1025"/>
            <p:cNvSpPr>
              <a:spLocks noChangeArrowheads="1"/>
            </p:cNvSpPr>
            <p:nvPr/>
          </p:nvSpPr>
          <p:spPr bwMode="auto">
            <a:xfrm>
              <a:off x="4051300" y="2709863"/>
              <a:ext cx="3175" cy="3175"/>
            </a:xfrm>
            <a:custGeom>
              <a:avLst/>
              <a:gdLst>
                <a:gd name="T0" fmla="*/ 0 w 9"/>
                <a:gd name="T1" fmla="*/ 0 h 9"/>
                <a:gd name="T2" fmla="*/ 5 w 9"/>
                <a:gd name="T3" fmla="*/ 8 h 9"/>
                <a:gd name="T4" fmla="*/ 0 w 9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cubicBezTo>
                    <a:pt x="0" y="5"/>
                    <a:pt x="2" y="8"/>
                    <a:pt x="5" y="8"/>
                  </a:cubicBezTo>
                  <a:cubicBezTo>
                    <a:pt x="0" y="2"/>
                    <a:pt x="8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5" name="Freeform 1026"/>
            <p:cNvSpPr>
              <a:spLocks noChangeArrowheads="1"/>
            </p:cNvSpPr>
            <p:nvPr/>
          </p:nvSpPr>
          <p:spPr bwMode="auto">
            <a:xfrm>
              <a:off x="4057650" y="2708275"/>
              <a:ext cx="4763" cy="1588"/>
            </a:xfrm>
            <a:custGeom>
              <a:avLst/>
              <a:gdLst>
                <a:gd name="T0" fmla="*/ 0 w 15"/>
                <a:gd name="T1" fmla="*/ 5 h 6"/>
                <a:gd name="T2" fmla="*/ 11 w 15"/>
                <a:gd name="T3" fmla="*/ 3 h 6"/>
                <a:gd name="T4" fmla="*/ 0 w 15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6">
                  <a:moveTo>
                    <a:pt x="0" y="5"/>
                  </a:moveTo>
                  <a:cubicBezTo>
                    <a:pt x="2" y="3"/>
                    <a:pt x="14" y="5"/>
                    <a:pt x="11" y="3"/>
                  </a:cubicBezTo>
                  <a:cubicBezTo>
                    <a:pt x="8" y="3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6" name="Freeform 1027"/>
            <p:cNvSpPr>
              <a:spLocks noChangeArrowheads="1"/>
            </p:cNvSpPr>
            <p:nvPr/>
          </p:nvSpPr>
          <p:spPr bwMode="auto">
            <a:xfrm>
              <a:off x="3962400" y="2695575"/>
              <a:ext cx="4763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7" name="Freeform 1028"/>
            <p:cNvSpPr>
              <a:spLocks noChangeArrowheads="1"/>
            </p:cNvSpPr>
            <p:nvPr/>
          </p:nvSpPr>
          <p:spPr bwMode="auto">
            <a:xfrm>
              <a:off x="4024313" y="2714625"/>
              <a:ext cx="3175" cy="1588"/>
            </a:xfrm>
            <a:custGeom>
              <a:avLst/>
              <a:gdLst>
                <a:gd name="T0" fmla="*/ 3 w 10"/>
                <a:gd name="T1" fmla="*/ 5 h 6"/>
                <a:gd name="T2" fmla="*/ 9 w 10"/>
                <a:gd name="T3" fmla="*/ 0 h 6"/>
                <a:gd name="T4" fmla="*/ 3 w 10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6">
                  <a:moveTo>
                    <a:pt x="3" y="5"/>
                  </a:moveTo>
                  <a:cubicBezTo>
                    <a:pt x="6" y="5"/>
                    <a:pt x="9" y="3"/>
                    <a:pt x="9" y="0"/>
                  </a:cubicBezTo>
                  <a:cubicBezTo>
                    <a:pt x="6" y="0"/>
                    <a:pt x="0" y="0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8" name="Freeform 1029"/>
            <p:cNvSpPr>
              <a:spLocks noChangeArrowheads="1"/>
            </p:cNvSpPr>
            <p:nvPr/>
          </p:nvSpPr>
          <p:spPr bwMode="auto">
            <a:xfrm>
              <a:off x="3973513" y="2693988"/>
              <a:ext cx="3175" cy="6350"/>
            </a:xfrm>
            <a:custGeom>
              <a:avLst/>
              <a:gdLst>
                <a:gd name="T0" fmla="*/ 0 w 7"/>
                <a:gd name="T1" fmla="*/ 9 h 18"/>
                <a:gd name="T2" fmla="*/ 0 w 7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9"/>
                  </a:moveTo>
                  <a:cubicBezTo>
                    <a:pt x="6" y="17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9" name="Freeform 1030"/>
            <p:cNvSpPr>
              <a:spLocks noChangeArrowheads="1"/>
            </p:cNvSpPr>
            <p:nvPr/>
          </p:nvSpPr>
          <p:spPr bwMode="auto">
            <a:xfrm>
              <a:off x="4037013" y="2713038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6 w 7"/>
                <a:gd name="T3" fmla="*/ 0 h 7"/>
                <a:gd name="T4" fmla="*/ 0 w 7"/>
                <a:gd name="T5" fmla="*/ 0 h 7"/>
                <a:gd name="T6" fmla="*/ 0 w 7"/>
                <a:gd name="T7" fmla="*/ 6 h 7"/>
                <a:gd name="T8" fmla="*/ 6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0" name="Freeform 1031"/>
            <p:cNvSpPr>
              <a:spLocks noChangeArrowheads="1"/>
            </p:cNvSpPr>
            <p:nvPr/>
          </p:nvSpPr>
          <p:spPr bwMode="auto">
            <a:xfrm>
              <a:off x="4046538" y="2713038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0 w 10"/>
                <a:gd name="T3" fmla="*/ 0 h 9"/>
                <a:gd name="T4" fmla="*/ 9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cubicBezTo>
                    <a:pt x="9" y="0"/>
                    <a:pt x="3" y="0"/>
                    <a:pt x="0" y="0"/>
                  </a:cubicBezTo>
                  <a:cubicBezTo>
                    <a:pt x="0" y="6"/>
                    <a:pt x="3" y="6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1" name="Freeform 1032"/>
            <p:cNvSpPr>
              <a:spLocks noChangeArrowheads="1"/>
            </p:cNvSpPr>
            <p:nvPr/>
          </p:nvSpPr>
          <p:spPr bwMode="auto">
            <a:xfrm>
              <a:off x="4087813" y="2706688"/>
              <a:ext cx="6350" cy="4762"/>
            </a:xfrm>
            <a:custGeom>
              <a:avLst/>
              <a:gdLst>
                <a:gd name="T0" fmla="*/ 17 w 18"/>
                <a:gd name="T1" fmla="*/ 0 h 12"/>
                <a:gd name="T2" fmla="*/ 17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17" y="0"/>
                  </a:moveTo>
                  <a:cubicBezTo>
                    <a:pt x="0" y="3"/>
                    <a:pt x="14" y="11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2" name="Freeform 1033"/>
            <p:cNvSpPr>
              <a:spLocks noChangeArrowheads="1"/>
            </p:cNvSpPr>
            <p:nvPr/>
          </p:nvSpPr>
          <p:spPr bwMode="auto">
            <a:xfrm>
              <a:off x="4095750" y="2706688"/>
              <a:ext cx="4763" cy="3175"/>
            </a:xfrm>
            <a:custGeom>
              <a:avLst/>
              <a:gdLst>
                <a:gd name="T0" fmla="*/ 14 w 15"/>
                <a:gd name="T1" fmla="*/ 3 h 10"/>
                <a:gd name="T2" fmla="*/ 0 w 15"/>
                <a:gd name="T3" fmla="*/ 9 h 10"/>
                <a:gd name="T4" fmla="*/ 14 w 15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14" y="3"/>
                  </a:moveTo>
                  <a:cubicBezTo>
                    <a:pt x="8" y="3"/>
                    <a:pt x="0" y="0"/>
                    <a:pt x="0" y="9"/>
                  </a:cubicBezTo>
                  <a:cubicBezTo>
                    <a:pt x="3" y="3"/>
                    <a:pt x="14" y="9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3" name="Freeform 1034"/>
            <p:cNvSpPr>
              <a:spLocks noChangeArrowheads="1"/>
            </p:cNvSpPr>
            <p:nvPr/>
          </p:nvSpPr>
          <p:spPr bwMode="auto">
            <a:xfrm>
              <a:off x="4079875" y="2706688"/>
              <a:ext cx="4763" cy="6350"/>
            </a:xfrm>
            <a:custGeom>
              <a:avLst/>
              <a:gdLst>
                <a:gd name="T0" fmla="*/ 12 w 13"/>
                <a:gd name="T1" fmla="*/ 6 h 18"/>
                <a:gd name="T2" fmla="*/ 12 w 13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12" y="6"/>
                  </a:moveTo>
                  <a:cubicBezTo>
                    <a:pt x="0" y="0"/>
                    <a:pt x="6" y="17"/>
                    <a:pt x="1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4" name="Freeform 1035"/>
            <p:cNvSpPr>
              <a:spLocks noChangeArrowheads="1"/>
            </p:cNvSpPr>
            <p:nvPr/>
          </p:nvSpPr>
          <p:spPr bwMode="auto">
            <a:xfrm>
              <a:off x="3987800" y="2698750"/>
              <a:ext cx="3175" cy="3175"/>
            </a:xfrm>
            <a:custGeom>
              <a:avLst/>
              <a:gdLst>
                <a:gd name="T0" fmla="*/ 8 w 9"/>
                <a:gd name="T1" fmla="*/ 6 h 7"/>
                <a:gd name="T2" fmla="*/ 3 w 9"/>
                <a:gd name="T3" fmla="*/ 0 h 7"/>
                <a:gd name="T4" fmla="*/ 8 w 9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8" y="6"/>
                  </a:moveTo>
                  <a:cubicBezTo>
                    <a:pt x="8" y="3"/>
                    <a:pt x="5" y="0"/>
                    <a:pt x="3" y="0"/>
                  </a:cubicBezTo>
                  <a:cubicBezTo>
                    <a:pt x="0" y="3"/>
                    <a:pt x="3" y="6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5" name="Freeform 1036"/>
            <p:cNvSpPr>
              <a:spLocks noChangeArrowheads="1"/>
            </p:cNvSpPr>
            <p:nvPr/>
          </p:nvSpPr>
          <p:spPr bwMode="auto">
            <a:xfrm>
              <a:off x="3998913" y="2695575"/>
              <a:ext cx="4762" cy="3175"/>
            </a:xfrm>
            <a:custGeom>
              <a:avLst/>
              <a:gdLst>
                <a:gd name="T0" fmla="*/ 0 w 15"/>
                <a:gd name="T1" fmla="*/ 9 h 10"/>
                <a:gd name="T2" fmla="*/ 0 w 15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0">
                  <a:moveTo>
                    <a:pt x="0" y="9"/>
                  </a:moveTo>
                  <a:cubicBezTo>
                    <a:pt x="14" y="9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6" name="Freeform 1037"/>
            <p:cNvSpPr>
              <a:spLocks noChangeArrowheads="1"/>
            </p:cNvSpPr>
            <p:nvPr/>
          </p:nvSpPr>
          <p:spPr bwMode="auto">
            <a:xfrm>
              <a:off x="4087813" y="2709863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7" name="Freeform 1038"/>
            <p:cNvSpPr>
              <a:spLocks noChangeArrowheads="1"/>
            </p:cNvSpPr>
            <p:nvPr/>
          </p:nvSpPr>
          <p:spPr bwMode="auto">
            <a:xfrm>
              <a:off x="4005263" y="2695575"/>
              <a:ext cx="1587" cy="6350"/>
            </a:xfrm>
            <a:custGeom>
              <a:avLst/>
              <a:gdLst>
                <a:gd name="T0" fmla="*/ 0 w 6"/>
                <a:gd name="T1" fmla="*/ 8 h 18"/>
                <a:gd name="T2" fmla="*/ 0 w 6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8">
                  <a:moveTo>
                    <a:pt x="0" y="8"/>
                  </a:moveTo>
                  <a:cubicBezTo>
                    <a:pt x="5" y="17"/>
                    <a:pt x="2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8" name="Freeform 1039"/>
            <p:cNvSpPr>
              <a:spLocks noChangeArrowheads="1"/>
            </p:cNvSpPr>
            <p:nvPr/>
          </p:nvSpPr>
          <p:spPr bwMode="auto">
            <a:xfrm>
              <a:off x="4021138" y="2695575"/>
              <a:ext cx="4762" cy="4763"/>
            </a:xfrm>
            <a:custGeom>
              <a:avLst/>
              <a:gdLst>
                <a:gd name="T0" fmla="*/ 8 w 15"/>
                <a:gd name="T1" fmla="*/ 14 h 15"/>
                <a:gd name="T2" fmla="*/ 0 w 15"/>
                <a:gd name="T3" fmla="*/ 3 h 15"/>
                <a:gd name="T4" fmla="*/ 8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8" y="14"/>
                  </a:moveTo>
                  <a:cubicBezTo>
                    <a:pt x="14" y="9"/>
                    <a:pt x="6" y="0"/>
                    <a:pt x="0" y="3"/>
                  </a:cubicBezTo>
                  <a:cubicBezTo>
                    <a:pt x="3" y="9"/>
                    <a:pt x="3" y="14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9" name="Freeform 1040"/>
            <p:cNvSpPr>
              <a:spLocks noChangeArrowheads="1"/>
            </p:cNvSpPr>
            <p:nvPr/>
          </p:nvSpPr>
          <p:spPr bwMode="auto">
            <a:xfrm>
              <a:off x="3976688" y="2700338"/>
              <a:ext cx="4762" cy="3175"/>
            </a:xfrm>
            <a:custGeom>
              <a:avLst/>
              <a:gdLst>
                <a:gd name="T0" fmla="*/ 0 w 12"/>
                <a:gd name="T1" fmla="*/ 6 h 10"/>
                <a:gd name="T2" fmla="*/ 0 w 12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11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0" name="Freeform 1041"/>
            <p:cNvSpPr>
              <a:spLocks noChangeArrowheads="1"/>
            </p:cNvSpPr>
            <p:nvPr/>
          </p:nvSpPr>
          <p:spPr bwMode="auto">
            <a:xfrm>
              <a:off x="4083050" y="2711450"/>
              <a:ext cx="4763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1" name="Freeform 1042"/>
            <p:cNvSpPr>
              <a:spLocks noChangeArrowheads="1"/>
            </p:cNvSpPr>
            <p:nvPr/>
          </p:nvSpPr>
          <p:spPr bwMode="auto">
            <a:xfrm>
              <a:off x="3997325" y="2698750"/>
              <a:ext cx="4763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2" name="Freeform 1043"/>
            <p:cNvSpPr>
              <a:spLocks noChangeArrowheads="1"/>
            </p:cNvSpPr>
            <p:nvPr/>
          </p:nvSpPr>
          <p:spPr bwMode="auto">
            <a:xfrm>
              <a:off x="3979863" y="2701925"/>
              <a:ext cx="4762" cy="3175"/>
            </a:xfrm>
            <a:custGeom>
              <a:avLst/>
              <a:gdLst>
                <a:gd name="T0" fmla="*/ 3 w 12"/>
                <a:gd name="T1" fmla="*/ 8 h 9"/>
                <a:gd name="T2" fmla="*/ 3 w 12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3" y="8"/>
                  </a:moveTo>
                  <a:cubicBezTo>
                    <a:pt x="11" y="8"/>
                    <a:pt x="0" y="0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3" name="Freeform 1044"/>
            <p:cNvSpPr>
              <a:spLocks noChangeArrowheads="1"/>
            </p:cNvSpPr>
            <p:nvPr/>
          </p:nvSpPr>
          <p:spPr bwMode="auto">
            <a:xfrm>
              <a:off x="3994150" y="2701925"/>
              <a:ext cx="3175" cy="3175"/>
            </a:xfrm>
            <a:custGeom>
              <a:avLst/>
              <a:gdLst>
                <a:gd name="T0" fmla="*/ 8 w 9"/>
                <a:gd name="T1" fmla="*/ 0 h 9"/>
                <a:gd name="T2" fmla="*/ 0 w 9"/>
                <a:gd name="T3" fmla="*/ 8 h 9"/>
                <a:gd name="T4" fmla="*/ 8 w 9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0"/>
                  </a:moveTo>
                  <a:cubicBezTo>
                    <a:pt x="0" y="0"/>
                    <a:pt x="0" y="6"/>
                    <a:pt x="0" y="8"/>
                  </a:cubicBezTo>
                  <a:cubicBezTo>
                    <a:pt x="5" y="8"/>
                    <a:pt x="8" y="6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4" name="Freeform 1045"/>
            <p:cNvSpPr>
              <a:spLocks noChangeArrowheads="1"/>
            </p:cNvSpPr>
            <p:nvPr/>
          </p:nvSpPr>
          <p:spPr bwMode="auto">
            <a:xfrm>
              <a:off x="4029075" y="2695575"/>
              <a:ext cx="1588" cy="6350"/>
            </a:xfrm>
            <a:custGeom>
              <a:avLst/>
              <a:gdLst>
                <a:gd name="T0" fmla="*/ 0 w 6"/>
                <a:gd name="T1" fmla="*/ 8 h 18"/>
                <a:gd name="T2" fmla="*/ 0 w 6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8">
                  <a:moveTo>
                    <a:pt x="0" y="8"/>
                  </a:moveTo>
                  <a:cubicBezTo>
                    <a:pt x="5" y="17"/>
                    <a:pt x="2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5" name="Freeform 1046"/>
            <p:cNvSpPr>
              <a:spLocks noChangeArrowheads="1"/>
            </p:cNvSpPr>
            <p:nvPr/>
          </p:nvSpPr>
          <p:spPr bwMode="auto">
            <a:xfrm>
              <a:off x="3967163" y="2705100"/>
              <a:ext cx="4762" cy="6350"/>
            </a:xfrm>
            <a:custGeom>
              <a:avLst/>
              <a:gdLst>
                <a:gd name="T0" fmla="*/ 14 w 15"/>
                <a:gd name="T1" fmla="*/ 9 h 18"/>
                <a:gd name="T2" fmla="*/ 14 w 15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14" y="9"/>
                  </a:moveTo>
                  <a:cubicBezTo>
                    <a:pt x="0" y="0"/>
                    <a:pt x="6" y="17"/>
                    <a:pt x="1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6" name="Freeform 1047"/>
            <p:cNvSpPr>
              <a:spLocks noChangeArrowheads="1"/>
            </p:cNvSpPr>
            <p:nvPr/>
          </p:nvSpPr>
          <p:spPr bwMode="auto">
            <a:xfrm>
              <a:off x="4003675" y="2701925"/>
              <a:ext cx="4763" cy="3175"/>
            </a:xfrm>
            <a:custGeom>
              <a:avLst/>
              <a:gdLst>
                <a:gd name="T0" fmla="*/ 0 w 12"/>
                <a:gd name="T1" fmla="*/ 3 h 9"/>
                <a:gd name="T2" fmla="*/ 11 w 12"/>
                <a:gd name="T3" fmla="*/ 8 h 9"/>
                <a:gd name="T4" fmla="*/ 0 w 12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0" y="3"/>
                  </a:moveTo>
                  <a:cubicBezTo>
                    <a:pt x="0" y="8"/>
                    <a:pt x="6" y="8"/>
                    <a:pt x="11" y="8"/>
                  </a:cubicBezTo>
                  <a:cubicBezTo>
                    <a:pt x="11" y="3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7" name="Freeform 1048"/>
            <p:cNvSpPr>
              <a:spLocks noChangeArrowheads="1"/>
            </p:cNvSpPr>
            <p:nvPr/>
          </p:nvSpPr>
          <p:spPr bwMode="auto">
            <a:xfrm>
              <a:off x="3962400" y="2708275"/>
              <a:ext cx="3175" cy="7938"/>
            </a:xfrm>
            <a:custGeom>
              <a:avLst/>
              <a:gdLst>
                <a:gd name="T0" fmla="*/ 0 w 10"/>
                <a:gd name="T1" fmla="*/ 11 h 21"/>
                <a:gd name="T2" fmla="*/ 0 w 10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11"/>
                  </a:moveTo>
                  <a:cubicBezTo>
                    <a:pt x="9" y="20"/>
                    <a:pt x="3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8" name="Freeform 1049"/>
            <p:cNvSpPr>
              <a:spLocks noChangeArrowheads="1"/>
            </p:cNvSpPr>
            <p:nvPr/>
          </p:nvSpPr>
          <p:spPr bwMode="auto">
            <a:xfrm>
              <a:off x="3995738" y="2705100"/>
              <a:ext cx="4762" cy="3175"/>
            </a:xfrm>
            <a:custGeom>
              <a:avLst/>
              <a:gdLst>
                <a:gd name="T0" fmla="*/ 0 w 13"/>
                <a:gd name="T1" fmla="*/ 9 h 10"/>
                <a:gd name="T2" fmla="*/ 0 w 13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9"/>
                  </a:moveTo>
                  <a:cubicBezTo>
                    <a:pt x="12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9" name="Freeform 1050"/>
            <p:cNvSpPr>
              <a:spLocks noChangeArrowheads="1"/>
            </p:cNvSpPr>
            <p:nvPr/>
          </p:nvSpPr>
          <p:spPr bwMode="auto">
            <a:xfrm>
              <a:off x="3963988" y="2714625"/>
              <a:ext cx="4762" cy="3175"/>
            </a:xfrm>
            <a:custGeom>
              <a:avLst/>
              <a:gdLst>
                <a:gd name="T0" fmla="*/ 14 w 15"/>
                <a:gd name="T1" fmla="*/ 3 h 9"/>
                <a:gd name="T2" fmla="*/ 0 w 15"/>
                <a:gd name="T3" fmla="*/ 8 h 9"/>
                <a:gd name="T4" fmla="*/ 14 w 15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3"/>
                  </a:moveTo>
                  <a:cubicBezTo>
                    <a:pt x="8" y="0"/>
                    <a:pt x="3" y="3"/>
                    <a:pt x="0" y="8"/>
                  </a:cubicBezTo>
                  <a:cubicBezTo>
                    <a:pt x="3" y="5"/>
                    <a:pt x="14" y="8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0" name="Freeform 1051"/>
            <p:cNvSpPr>
              <a:spLocks noChangeArrowheads="1"/>
            </p:cNvSpPr>
            <p:nvPr/>
          </p:nvSpPr>
          <p:spPr bwMode="auto">
            <a:xfrm>
              <a:off x="4084638" y="2698750"/>
              <a:ext cx="7937" cy="4763"/>
            </a:xfrm>
            <a:custGeom>
              <a:avLst/>
              <a:gdLst>
                <a:gd name="T0" fmla="*/ 3 w 20"/>
                <a:gd name="T1" fmla="*/ 11 h 12"/>
                <a:gd name="T2" fmla="*/ 11 w 20"/>
                <a:gd name="T3" fmla="*/ 0 h 12"/>
                <a:gd name="T4" fmla="*/ 3 w 20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2">
                  <a:moveTo>
                    <a:pt x="3" y="11"/>
                  </a:moveTo>
                  <a:cubicBezTo>
                    <a:pt x="5" y="8"/>
                    <a:pt x="19" y="2"/>
                    <a:pt x="11" y="0"/>
                  </a:cubicBezTo>
                  <a:cubicBezTo>
                    <a:pt x="11" y="5"/>
                    <a:pt x="0" y="2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1" name="Freeform 1052"/>
            <p:cNvSpPr>
              <a:spLocks noChangeArrowheads="1"/>
            </p:cNvSpPr>
            <p:nvPr/>
          </p:nvSpPr>
          <p:spPr bwMode="auto">
            <a:xfrm>
              <a:off x="4071938" y="2705100"/>
              <a:ext cx="4762" cy="4763"/>
            </a:xfrm>
            <a:custGeom>
              <a:avLst/>
              <a:gdLst>
                <a:gd name="T0" fmla="*/ 0 w 15"/>
                <a:gd name="T1" fmla="*/ 9 h 13"/>
                <a:gd name="T2" fmla="*/ 9 w 15"/>
                <a:gd name="T3" fmla="*/ 0 h 13"/>
                <a:gd name="T4" fmla="*/ 0 w 15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0" y="9"/>
                  </a:moveTo>
                  <a:cubicBezTo>
                    <a:pt x="9" y="12"/>
                    <a:pt x="14" y="0"/>
                    <a:pt x="9" y="0"/>
                  </a:cubicBezTo>
                  <a:cubicBezTo>
                    <a:pt x="11" y="9"/>
                    <a:pt x="0" y="3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2" name="Freeform 1053"/>
            <p:cNvSpPr>
              <a:spLocks noChangeArrowheads="1"/>
            </p:cNvSpPr>
            <p:nvPr/>
          </p:nvSpPr>
          <p:spPr bwMode="auto">
            <a:xfrm>
              <a:off x="4084638" y="2698750"/>
              <a:ext cx="4762" cy="7938"/>
            </a:xfrm>
            <a:custGeom>
              <a:avLst/>
              <a:gdLst>
                <a:gd name="T0" fmla="*/ 11 w 12"/>
                <a:gd name="T1" fmla="*/ 11 h 20"/>
                <a:gd name="T2" fmla="*/ 11 w 12"/>
                <a:gd name="T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0">
                  <a:moveTo>
                    <a:pt x="11" y="11"/>
                  </a:moveTo>
                  <a:cubicBezTo>
                    <a:pt x="0" y="0"/>
                    <a:pt x="8" y="19"/>
                    <a:pt x="1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3" name="Freeform 1054"/>
            <p:cNvSpPr>
              <a:spLocks noChangeArrowheads="1"/>
            </p:cNvSpPr>
            <p:nvPr/>
          </p:nvSpPr>
          <p:spPr bwMode="auto">
            <a:xfrm>
              <a:off x="4086225" y="2708275"/>
              <a:ext cx="3175" cy="4763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11 h 15"/>
                <a:gd name="T4" fmla="*/ 0 w 10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0" y="3"/>
                    <a:pt x="3" y="11"/>
                    <a:pt x="0" y="11"/>
                  </a:cubicBezTo>
                  <a:cubicBezTo>
                    <a:pt x="9" y="14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4" name="Freeform 1055"/>
            <p:cNvSpPr>
              <a:spLocks noChangeArrowheads="1"/>
            </p:cNvSpPr>
            <p:nvPr/>
          </p:nvSpPr>
          <p:spPr bwMode="auto">
            <a:xfrm>
              <a:off x="4071938" y="2708275"/>
              <a:ext cx="3175" cy="4763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3" y="14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5" name="Freeform 1056"/>
            <p:cNvSpPr>
              <a:spLocks noChangeArrowheads="1"/>
            </p:cNvSpPr>
            <p:nvPr/>
          </p:nvSpPr>
          <p:spPr bwMode="auto">
            <a:xfrm>
              <a:off x="4064000" y="2700338"/>
              <a:ext cx="3175" cy="4762"/>
            </a:xfrm>
            <a:custGeom>
              <a:avLst/>
              <a:gdLst>
                <a:gd name="T0" fmla="*/ 9 w 10"/>
                <a:gd name="T1" fmla="*/ 6 h 13"/>
                <a:gd name="T2" fmla="*/ 6 w 10"/>
                <a:gd name="T3" fmla="*/ 0 h 13"/>
                <a:gd name="T4" fmla="*/ 0 w 10"/>
                <a:gd name="T5" fmla="*/ 9 h 13"/>
                <a:gd name="T6" fmla="*/ 3 w 10"/>
                <a:gd name="T7" fmla="*/ 12 h 13"/>
                <a:gd name="T8" fmla="*/ 9 w 10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3">
                  <a:moveTo>
                    <a:pt x="9" y="6"/>
                  </a:moveTo>
                  <a:lnTo>
                    <a:pt x="6" y="0"/>
                  </a:lnTo>
                  <a:cubicBezTo>
                    <a:pt x="3" y="0"/>
                    <a:pt x="0" y="3"/>
                    <a:pt x="0" y="9"/>
                  </a:cubicBezTo>
                  <a:cubicBezTo>
                    <a:pt x="0" y="9"/>
                    <a:pt x="0" y="12"/>
                    <a:pt x="3" y="12"/>
                  </a:cubicBezTo>
                  <a:lnTo>
                    <a:pt x="9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6" name="Freeform 1057"/>
            <p:cNvSpPr>
              <a:spLocks noChangeArrowheads="1"/>
            </p:cNvSpPr>
            <p:nvPr/>
          </p:nvSpPr>
          <p:spPr bwMode="auto">
            <a:xfrm>
              <a:off x="4044950" y="2700338"/>
              <a:ext cx="3175" cy="4762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3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7" name="Freeform 1058"/>
            <p:cNvSpPr>
              <a:spLocks noChangeArrowheads="1"/>
            </p:cNvSpPr>
            <p:nvPr/>
          </p:nvSpPr>
          <p:spPr bwMode="auto">
            <a:xfrm>
              <a:off x="4043363" y="2705100"/>
              <a:ext cx="3175" cy="4763"/>
            </a:xfrm>
            <a:custGeom>
              <a:avLst/>
              <a:gdLst>
                <a:gd name="T0" fmla="*/ 0 w 7"/>
                <a:gd name="T1" fmla="*/ 2 h 15"/>
                <a:gd name="T2" fmla="*/ 0 w 7"/>
                <a:gd name="T3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0" y="2"/>
                  </a:moveTo>
                  <a:cubicBezTo>
                    <a:pt x="3" y="14"/>
                    <a:pt x="6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8" name="Freeform 1059"/>
            <p:cNvSpPr>
              <a:spLocks noChangeArrowheads="1"/>
            </p:cNvSpPr>
            <p:nvPr/>
          </p:nvSpPr>
          <p:spPr bwMode="auto">
            <a:xfrm>
              <a:off x="4029075" y="2695575"/>
              <a:ext cx="4763" cy="4763"/>
            </a:xfrm>
            <a:custGeom>
              <a:avLst/>
              <a:gdLst>
                <a:gd name="T0" fmla="*/ 9 w 13"/>
                <a:gd name="T1" fmla="*/ 14 h 15"/>
                <a:gd name="T2" fmla="*/ 9 w 13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9" y="14"/>
                  </a:moveTo>
                  <a:cubicBezTo>
                    <a:pt x="12" y="0"/>
                    <a:pt x="0" y="11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9" name="Freeform 1060"/>
            <p:cNvSpPr>
              <a:spLocks noChangeArrowheads="1"/>
            </p:cNvSpPr>
            <p:nvPr/>
          </p:nvSpPr>
          <p:spPr bwMode="auto">
            <a:xfrm>
              <a:off x="4003675" y="2697163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5 h 12"/>
                <a:gd name="T4" fmla="*/ 3 w 9"/>
                <a:gd name="T5" fmla="*/ 11 h 12"/>
                <a:gd name="T6" fmla="*/ 0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0" y="5"/>
                    <a:pt x="0" y="5"/>
                    <a:pt x="0" y="5"/>
                  </a:cubicBezTo>
                  <a:lnTo>
                    <a:pt x="3" y="11"/>
                  </a:lnTo>
                  <a:cubicBezTo>
                    <a:pt x="8" y="11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0" name="Freeform 1061"/>
            <p:cNvSpPr>
              <a:spLocks noChangeArrowheads="1"/>
            </p:cNvSpPr>
            <p:nvPr/>
          </p:nvSpPr>
          <p:spPr bwMode="auto">
            <a:xfrm>
              <a:off x="4029075" y="2705100"/>
              <a:ext cx="3175" cy="3175"/>
            </a:xfrm>
            <a:custGeom>
              <a:avLst/>
              <a:gdLst>
                <a:gd name="T0" fmla="*/ 0 w 9"/>
                <a:gd name="T1" fmla="*/ 0 h 7"/>
                <a:gd name="T2" fmla="*/ 8 w 9"/>
                <a:gd name="T3" fmla="*/ 6 h 7"/>
                <a:gd name="T4" fmla="*/ 0 w 9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0" y="0"/>
                  </a:moveTo>
                  <a:cubicBezTo>
                    <a:pt x="0" y="3"/>
                    <a:pt x="5" y="6"/>
                    <a:pt x="8" y="6"/>
                  </a:cubicBezTo>
                  <a:cubicBezTo>
                    <a:pt x="5" y="3"/>
                    <a:pt x="2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1" name="Freeform 1062"/>
            <p:cNvSpPr>
              <a:spLocks noChangeArrowheads="1"/>
            </p:cNvSpPr>
            <p:nvPr/>
          </p:nvSpPr>
          <p:spPr bwMode="auto">
            <a:xfrm>
              <a:off x="3997325" y="2706688"/>
              <a:ext cx="4763" cy="4762"/>
            </a:xfrm>
            <a:custGeom>
              <a:avLst/>
              <a:gdLst>
                <a:gd name="T0" fmla="*/ 14 w 15"/>
                <a:gd name="T1" fmla="*/ 0 h 12"/>
                <a:gd name="T2" fmla="*/ 14 w 15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2">
                  <a:moveTo>
                    <a:pt x="14" y="0"/>
                  </a:moveTo>
                  <a:cubicBezTo>
                    <a:pt x="0" y="6"/>
                    <a:pt x="14" y="11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2" name="Freeform 1063"/>
            <p:cNvSpPr>
              <a:spLocks noChangeArrowheads="1"/>
            </p:cNvSpPr>
            <p:nvPr/>
          </p:nvSpPr>
          <p:spPr bwMode="auto">
            <a:xfrm>
              <a:off x="3998913" y="2705100"/>
              <a:ext cx="3175" cy="4763"/>
            </a:xfrm>
            <a:custGeom>
              <a:avLst/>
              <a:gdLst>
                <a:gd name="T0" fmla="*/ 0 w 7"/>
                <a:gd name="T1" fmla="*/ 3 h 13"/>
                <a:gd name="T2" fmla="*/ 0 w 7"/>
                <a:gd name="T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3">
                  <a:moveTo>
                    <a:pt x="0" y="3"/>
                  </a:moveTo>
                  <a:cubicBezTo>
                    <a:pt x="3" y="12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3" name="Freeform 1064"/>
            <p:cNvSpPr>
              <a:spLocks noChangeArrowheads="1"/>
            </p:cNvSpPr>
            <p:nvPr/>
          </p:nvSpPr>
          <p:spPr bwMode="auto">
            <a:xfrm>
              <a:off x="4024313" y="2708275"/>
              <a:ext cx="3175" cy="4763"/>
            </a:xfrm>
            <a:custGeom>
              <a:avLst/>
              <a:gdLst>
                <a:gd name="T0" fmla="*/ 0 w 7"/>
                <a:gd name="T1" fmla="*/ 3 h 15"/>
                <a:gd name="T2" fmla="*/ 0 w 7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cubicBezTo>
                    <a:pt x="0" y="14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4" name="Freeform 1065"/>
            <p:cNvSpPr>
              <a:spLocks noChangeArrowheads="1"/>
            </p:cNvSpPr>
            <p:nvPr/>
          </p:nvSpPr>
          <p:spPr bwMode="auto">
            <a:xfrm>
              <a:off x="4021138" y="2709863"/>
              <a:ext cx="1587" cy="4762"/>
            </a:xfrm>
            <a:custGeom>
              <a:avLst/>
              <a:gdLst>
                <a:gd name="T0" fmla="*/ 0 w 6"/>
                <a:gd name="T1" fmla="*/ 2 h 15"/>
                <a:gd name="T2" fmla="*/ 0 w 6"/>
                <a:gd name="T3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5">
                  <a:moveTo>
                    <a:pt x="0" y="2"/>
                  </a:moveTo>
                  <a:cubicBezTo>
                    <a:pt x="3" y="14"/>
                    <a:pt x="5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5" name="Freeform 1066"/>
            <p:cNvSpPr>
              <a:spLocks noChangeArrowheads="1"/>
            </p:cNvSpPr>
            <p:nvPr/>
          </p:nvSpPr>
          <p:spPr bwMode="auto">
            <a:xfrm>
              <a:off x="4014788" y="2705100"/>
              <a:ext cx="3175" cy="4763"/>
            </a:xfrm>
            <a:custGeom>
              <a:avLst/>
              <a:gdLst>
                <a:gd name="T0" fmla="*/ 3 w 9"/>
                <a:gd name="T1" fmla="*/ 12 h 13"/>
                <a:gd name="T2" fmla="*/ 6 w 9"/>
                <a:gd name="T3" fmla="*/ 0 h 13"/>
                <a:gd name="T4" fmla="*/ 3 w 9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3">
                  <a:moveTo>
                    <a:pt x="3" y="12"/>
                  </a:moveTo>
                  <a:cubicBezTo>
                    <a:pt x="8" y="9"/>
                    <a:pt x="8" y="6"/>
                    <a:pt x="6" y="0"/>
                  </a:cubicBezTo>
                  <a:cubicBezTo>
                    <a:pt x="0" y="3"/>
                    <a:pt x="0" y="6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6" name="Freeform 1067"/>
            <p:cNvSpPr>
              <a:spLocks noChangeArrowheads="1"/>
            </p:cNvSpPr>
            <p:nvPr/>
          </p:nvSpPr>
          <p:spPr bwMode="auto">
            <a:xfrm>
              <a:off x="3995738" y="2713038"/>
              <a:ext cx="9525" cy="4762"/>
            </a:xfrm>
            <a:custGeom>
              <a:avLst/>
              <a:gdLst>
                <a:gd name="T0" fmla="*/ 20 w 27"/>
                <a:gd name="T1" fmla="*/ 0 h 12"/>
                <a:gd name="T2" fmla="*/ 9 w 27"/>
                <a:gd name="T3" fmla="*/ 8 h 12"/>
                <a:gd name="T4" fmla="*/ 20 w 2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12">
                  <a:moveTo>
                    <a:pt x="20" y="0"/>
                  </a:moveTo>
                  <a:cubicBezTo>
                    <a:pt x="17" y="0"/>
                    <a:pt x="0" y="3"/>
                    <a:pt x="9" y="8"/>
                  </a:cubicBezTo>
                  <a:cubicBezTo>
                    <a:pt x="9" y="11"/>
                    <a:pt x="26" y="6"/>
                    <a:pt x="2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7" name="Freeform 1068"/>
            <p:cNvSpPr>
              <a:spLocks noChangeArrowheads="1"/>
            </p:cNvSpPr>
            <p:nvPr/>
          </p:nvSpPr>
          <p:spPr bwMode="auto">
            <a:xfrm>
              <a:off x="3992563" y="2724150"/>
              <a:ext cx="4762" cy="1588"/>
            </a:xfrm>
            <a:custGeom>
              <a:avLst/>
              <a:gdLst>
                <a:gd name="T0" fmla="*/ 6 w 12"/>
                <a:gd name="T1" fmla="*/ 0 h 4"/>
                <a:gd name="T2" fmla="*/ 0 w 12"/>
                <a:gd name="T3" fmla="*/ 3 h 4"/>
                <a:gd name="T4" fmla="*/ 6 w 12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4">
                  <a:moveTo>
                    <a:pt x="6" y="0"/>
                  </a:moveTo>
                  <a:cubicBezTo>
                    <a:pt x="11" y="0"/>
                    <a:pt x="3" y="3"/>
                    <a:pt x="0" y="3"/>
                  </a:cubicBezTo>
                  <a:cubicBezTo>
                    <a:pt x="0" y="3"/>
                    <a:pt x="3" y="3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8" name="Freeform 1069"/>
            <p:cNvSpPr>
              <a:spLocks noChangeArrowheads="1"/>
            </p:cNvSpPr>
            <p:nvPr/>
          </p:nvSpPr>
          <p:spPr bwMode="auto">
            <a:xfrm>
              <a:off x="3987800" y="2733675"/>
              <a:ext cx="1588" cy="4763"/>
            </a:xfrm>
            <a:custGeom>
              <a:avLst/>
              <a:gdLst>
                <a:gd name="T0" fmla="*/ 0 w 6"/>
                <a:gd name="T1" fmla="*/ 3 h 13"/>
                <a:gd name="T2" fmla="*/ 0 w 6"/>
                <a:gd name="T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3">
                  <a:moveTo>
                    <a:pt x="0" y="3"/>
                  </a:moveTo>
                  <a:cubicBezTo>
                    <a:pt x="2" y="12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9" name="Freeform 1070"/>
            <p:cNvSpPr>
              <a:spLocks noChangeArrowheads="1"/>
            </p:cNvSpPr>
            <p:nvPr/>
          </p:nvSpPr>
          <p:spPr bwMode="auto">
            <a:xfrm>
              <a:off x="4081463" y="2709863"/>
              <a:ext cx="4762" cy="6350"/>
            </a:xfrm>
            <a:custGeom>
              <a:avLst/>
              <a:gdLst>
                <a:gd name="T0" fmla="*/ 6 w 15"/>
                <a:gd name="T1" fmla="*/ 9 h 16"/>
                <a:gd name="T2" fmla="*/ 0 w 15"/>
                <a:gd name="T3" fmla="*/ 6 h 16"/>
                <a:gd name="T4" fmla="*/ 6 w 15"/>
                <a:gd name="T5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6" y="9"/>
                  </a:moveTo>
                  <a:cubicBezTo>
                    <a:pt x="3" y="6"/>
                    <a:pt x="0" y="0"/>
                    <a:pt x="0" y="6"/>
                  </a:cubicBezTo>
                  <a:cubicBezTo>
                    <a:pt x="0" y="15"/>
                    <a:pt x="14" y="9"/>
                    <a:pt x="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0" name="Freeform 1071"/>
            <p:cNvSpPr>
              <a:spLocks noChangeArrowheads="1"/>
            </p:cNvSpPr>
            <p:nvPr/>
          </p:nvSpPr>
          <p:spPr bwMode="auto">
            <a:xfrm>
              <a:off x="3992563" y="2697163"/>
              <a:ext cx="4762" cy="6350"/>
            </a:xfrm>
            <a:custGeom>
              <a:avLst/>
              <a:gdLst>
                <a:gd name="T0" fmla="*/ 8 w 15"/>
                <a:gd name="T1" fmla="*/ 17 h 18"/>
                <a:gd name="T2" fmla="*/ 8 w 15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8" y="17"/>
                  </a:moveTo>
                  <a:cubicBezTo>
                    <a:pt x="14" y="0"/>
                    <a:pt x="0" y="11"/>
                    <a:pt x="8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1" name="Freeform 1072"/>
            <p:cNvSpPr>
              <a:spLocks noChangeArrowheads="1"/>
            </p:cNvSpPr>
            <p:nvPr/>
          </p:nvSpPr>
          <p:spPr bwMode="auto">
            <a:xfrm>
              <a:off x="4300538" y="2638425"/>
              <a:ext cx="4762" cy="3175"/>
            </a:xfrm>
            <a:custGeom>
              <a:avLst/>
              <a:gdLst>
                <a:gd name="T0" fmla="*/ 0 w 12"/>
                <a:gd name="T1" fmla="*/ 6 h 9"/>
                <a:gd name="T2" fmla="*/ 0 w 12"/>
                <a:gd name="T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6"/>
                  </a:moveTo>
                  <a:cubicBezTo>
                    <a:pt x="11" y="8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2" name="Freeform 1073"/>
            <p:cNvSpPr>
              <a:spLocks noChangeArrowheads="1"/>
            </p:cNvSpPr>
            <p:nvPr/>
          </p:nvSpPr>
          <p:spPr bwMode="auto">
            <a:xfrm>
              <a:off x="4311650" y="2636838"/>
              <a:ext cx="3175" cy="7937"/>
            </a:xfrm>
            <a:custGeom>
              <a:avLst/>
              <a:gdLst>
                <a:gd name="T0" fmla="*/ 0 w 7"/>
                <a:gd name="T1" fmla="*/ 12 h 21"/>
                <a:gd name="T2" fmla="*/ 0 w 7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1">
                  <a:moveTo>
                    <a:pt x="0" y="12"/>
                  </a:moveTo>
                  <a:cubicBezTo>
                    <a:pt x="6" y="20"/>
                    <a:pt x="6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3" name="Freeform 1074"/>
            <p:cNvSpPr>
              <a:spLocks noChangeArrowheads="1"/>
            </p:cNvSpPr>
            <p:nvPr/>
          </p:nvSpPr>
          <p:spPr bwMode="auto">
            <a:xfrm>
              <a:off x="4324350" y="2641600"/>
              <a:ext cx="3175" cy="3175"/>
            </a:xfrm>
            <a:custGeom>
              <a:avLst/>
              <a:gdLst>
                <a:gd name="T0" fmla="*/ 8 w 9"/>
                <a:gd name="T1" fmla="*/ 6 h 10"/>
                <a:gd name="T2" fmla="*/ 2 w 9"/>
                <a:gd name="T3" fmla="*/ 0 h 10"/>
                <a:gd name="T4" fmla="*/ 8 w 9"/>
                <a:gd name="T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8" y="6"/>
                  </a:moveTo>
                  <a:cubicBezTo>
                    <a:pt x="8" y="3"/>
                    <a:pt x="5" y="0"/>
                    <a:pt x="2" y="0"/>
                  </a:cubicBezTo>
                  <a:cubicBezTo>
                    <a:pt x="0" y="3"/>
                    <a:pt x="2" y="9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4" name="Freeform 1075"/>
            <p:cNvSpPr>
              <a:spLocks noChangeArrowheads="1"/>
            </p:cNvSpPr>
            <p:nvPr/>
          </p:nvSpPr>
          <p:spPr bwMode="auto">
            <a:xfrm>
              <a:off x="4335463" y="2638425"/>
              <a:ext cx="4762" cy="3175"/>
            </a:xfrm>
            <a:custGeom>
              <a:avLst/>
              <a:gdLst>
                <a:gd name="T0" fmla="*/ 0 w 15"/>
                <a:gd name="T1" fmla="*/ 6 h 9"/>
                <a:gd name="T2" fmla="*/ 0 w 15"/>
                <a:gd name="T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0" y="6"/>
                  </a:moveTo>
                  <a:cubicBezTo>
                    <a:pt x="14" y="8"/>
                    <a:pt x="2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5" name="Freeform 1076"/>
            <p:cNvSpPr>
              <a:spLocks noChangeArrowheads="1"/>
            </p:cNvSpPr>
            <p:nvPr/>
          </p:nvSpPr>
          <p:spPr bwMode="auto">
            <a:xfrm>
              <a:off x="4341813" y="2638425"/>
              <a:ext cx="3175" cy="7938"/>
            </a:xfrm>
            <a:custGeom>
              <a:avLst/>
              <a:gdLst>
                <a:gd name="T0" fmla="*/ 0 w 7"/>
                <a:gd name="T1" fmla="*/ 8 h 21"/>
                <a:gd name="T2" fmla="*/ 0 w 7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1">
                  <a:moveTo>
                    <a:pt x="0" y="8"/>
                  </a:moveTo>
                  <a:cubicBezTo>
                    <a:pt x="6" y="20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6" name="Freeform 1077"/>
            <p:cNvSpPr>
              <a:spLocks noChangeArrowheads="1"/>
            </p:cNvSpPr>
            <p:nvPr/>
          </p:nvSpPr>
          <p:spPr bwMode="auto">
            <a:xfrm>
              <a:off x="4357688" y="2638425"/>
              <a:ext cx="4762" cy="4763"/>
            </a:xfrm>
            <a:custGeom>
              <a:avLst/>
              <a:gdLst>
                <a:gd name="T0" fmla="*/ 8 w 15"/>
                <a:gd name="T1" fmla="*/ 14 h 15"/>
                <a:gd name="T2" fmla="*/ 0 w 15"/>
                <a:gd name="T3" fmla="*/ 3 h 15"/>
                <a:gd name="T4" fmla="*/ 8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8" y="14"/>
                  </a:moveTo>
                  <a:cubicBezTo>
                    <a:pt x="14" y="8"/>
                    <a:pt x="5" y="0"/>
                    <a:pt x="0" y="3"/>
                  </a:cubicBezTo>
                  <a:cubicBezTo>
                    <a:pt x="3" y="8"/>
                    <a:pt x="3" y="11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7" name="Freeform 1078"/>
            <p:cNvSpPr>
              <a:spLocks noChangeArrowheads="1"/>
            </p:cNvSpPr>
            <p:nvPr/>
          </p:nvSpPr>
          <p:spPr bwMode="auto">
            <a:xfrm>
              <a:off x="4313238" y="2644775"/>
              <a:ext cx="4762" cy="3175"/>
            </a:xfrm>
            <a:custGeom>
              <a:avLst/>
              <a:gdLst>
                <a:gd name="T0" fmla="*/ 0 w 13"/>
                <a:gd name="T1" fmla="*/ 9 h 10"/>
                <a:gd name="T2" fmla="*/ 0 w 13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9"/>
                  </a:moveTo>
                  <a:cubicBezTo>
                    <a:pt x="12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8" name="Freeform 1079"/>
            <p:cNvSpPr>
              <a:spLocks noChangeArrowheads="1"/>
            </p:cNvSpPr>
            <p:nvPr/>
          </p:nvSpPr>
          <p:spPr bwMode="auto">
            <a:xfrm>
              <a:off x="4298950" y="264953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9" name="Freeform 1080"/>
            <p:cNvSpPr>
              <a:spLocks noChangeArrowheads="1"/>
            </p:cNvSpPr>
            <p:nvPr/>
          </p:nvSpPr>
          <p:spPr bwMode="auto">
            <a:xfrm>
              <a:off x="4333875" y="2643188"/>
              <a:ext cx="4763" cy="3175"/>
            </a:xfrm>
            <a:custGeom>
              <a:avLst/>
              <a:gdLst>
                <a:gd name="T0" fmla="*/ 0 w 12"/>
                <a:gd name="T1" fmla="*/ 6 h 10"/>
                <a:gd name="T2" fmla="*/ 0 w 12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11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0" name="Freeform 1081"/>
            <p:cNvSpPr>
              <a:spLocks noChangeArrowheads="1"/>
            </p:cNvSpPr>
            <p:nvPr/>
          </p:nvSpPr>
          <p:spPr bwMode="auto">
            <a:xfrm>
              <a:off x="4318000" y="2646363"/>
              <a:ext cx="4763" cy="3175"/>
            </a:xfrm>
            <a:custGeom>
              <a:avLst/>
              <a:gdLst>
                <a:gd name="T0" fmla="*/ 0 w 12"/>
                <a:gd name="T1" fmla="*/ 5 h 9"/>
                <a:gd name="T2" fmla="*/ 0 w 12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11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1" name="Freeform 1082"/>
            <p:cNvSpPr>
              <a:spLocks noChangeArrowheads="1"/>
            </p:cNvSpPr>
            <p:nvPr/>
          </p:nvSpPr>
          <p:spPr bwMode="auto">
            <a:xfrm>
              <a:off x="4330700" y="2644775"/>
              <a:ext cx="4763" cy="4763"/>
            </a:xfrm>
            <a:custGeom>
              <a:avLst/>
              <a:gdLst>
                <a:gd name="T0" fmla="*/ 8 w 12"/>
                <a:gd name="T1" fmla="*/ 0 h 12"/>
                <a:gd name="T2" fmla="*/ 0 w 12"/>
                <a:gd name="T3" fmla="*/ 8 h 12"/>
                <a:gd name="T4" fmla="*/ 8 w 12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cubicBezTo>
                    <a:pt x="0" y="0"/>
                    <a:pt x="0" y="6"/>
                    <a:pt x="0" y="8"/>
                  </a:cubicBezTo>
                  <a:cubicBezTo>
                    <a:pt x="5" y="11"/>
                    <a:pt x="11" y="8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2" name="Freeform 1083"/>
            <p:cNvSpPr>
              <a:spLocks noChangeArrowheads="1"/>
            </p:cNvSpPr>
            <p:nvPr/>
          </p:nvSpPr>
          <p:spPr bwMode="auto">
            <a:xfrm>
              <a:off x="4365625" y="2638425"/>
              <a:ext cx="3175" cy="6350"/>
            </a:xfrm>
            <a:custGeom>
              <a:avLst/>
              <a:gdLst>
                <a:gd name="T0" fmla="*/ 0 w 7"/>
                <a:gd name="T1" fmla="*/ 8 h 18"/>
                <a:gd name="T2" fmla="*/ 0 w 7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8"/>
                  </a:moveTo>
                  <a:cubicBezTo>
                    <a:pt x="6" y="17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3" name="Freeform 1084"/>
            <p:cNvSpPr>
              <a:spLocks noChangeArrowheads="1"/>
            </p:cNvSpPr>
            <p:nvPr/>
          </p:nvSpPr>
          <p:spPr bwMode="auto">
            <a:xfrm>
              <a:off x="4297363" y="2652713"/>
              <a:ext cx="1587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4" name="Freeform 1085"/>
            <p:cNvSpPr>
              <a:spLocks noChangeArrowheads="1"/>
            </p:cNvSpPr>
            <p:nvPr/>
          </p:nvSpPr>
          <p:spPr bwMode="auto">
            <a:xfrm>
              <a:off x="4305300" y="2647950"/>
              <a:ext cx="4763" cy="7938"/>
            </a:xfrm>
            <a:custGeom>
              <a:avLst/>
              <a:gdLst>
                <a:gd name="T0" fmla="*/ 14 w 15"/>
                <a:gd name="T1" fmla="*/ 9 h 21"/>
                <a:gd name="T2" fmla="*/ 14 w 15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14" y="9"/>
                  </a:moveTo>
                  <a:cubicBezTo>
                    <a:pt x="0" y="0"/>
                    <a:pt x="6" y="20"/>
                    <a:pt x="1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5" name="Freeform 1086"/>
            <p:cNvSpPr>
              <a:spLocks noChangeArrowheads="1"/>
            </p:cNvSpPr>
            <p:nvPr/>
          </p:nvSpPr>
          <p:spPr bwMode="auto">
            <a:xfrm>
              <a:off x="4340225" y="2646363"/>
              <a:ext cx="4763" cy="1587"/>
            </a:xfrm>
            <a:custGeom>
              <a:avLst/>
              <a:gdLst>
                <a:gd name="T0" fmla="*/ 0 w 12"/>
                <a:gd name="T1" fmla="*/ 0 h 6"/>
                <a:gd name="T2" fmla="*/ 11 w 12"/>
                <a:gd name="T3" fmla="*/ 5 h 6"/>
                <a:gd name="T4" fmla="*/ 0 w 12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6">
                  <a:moveTo>
                    <a:pt x="0" y="0"/>
                  </a:moveTo>
                  <a:cubicBezTo>
                    <a:pt x="0" y="5"/>
                    <a:pt x="5" y="5"/>
                    <a:pt x="11" y="5"/>
                  </a:cubicBezTo>
                  <a:cubicBezTo>
                    <a:pt x="11" y="0"/>
                    <a:pt x="8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6" name="Freeform 1087"/>
            <p:cNvSpPr>
              <a:spLocks noChangeArrowheads="1"/>
            </p:cNvSpPr>
            <p:nvPr/>
          </p:nvSpPr>
          <p:spPr bwMode="auto">
            <a:xfrm>
              <a:off x="4300538" y="2652713"/>
              <a:ext cx="3175" cy="6350"/>
            </a:xfrm>
            <a:custGeom>
              <a:avLst/>
              <a:gdLst>
                <a:gd name="T0" fmla="*/ 0 w 9"/>
                <a:gd name="T1" fmla="*/ 8 h 18"/>
                <a:gd name="T2" fmla="*/ 0 w 9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8"/>
                  </a:moveTo>
                  <a:cubicBezTo>
                    <a:pt x="8" y="17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7" name="Freeform 1088"/>
            <p:cNvSpPr>
              <a:spLocks noChangeArrowheads="1"/>
            </p:cNvSpPr>
            <p:nvPr/>
          </p:nvSpPr>
          <p:spPr bwMode="auto">
            <a:xfrm>
              <a:off x="4332288" y="2647950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8" name="Freeform 1089"/>
            <p:cNvSpPr>
              <a:spLocks noChangeArrowheads="1"/>
            </p:cNvSpPr>
            <p:nvPr/>
          </p:nvSpPr>
          <p:spPr bwMode="auto">
            <a:xfrm>
              <a:off x="4305300" y="2655888"/>
              <a:ext cx="1588" cy="1587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3" y="3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9" name="Freeform 1090"/>
            <p:cNvSpPr>
              <a:spLocks noChangeArrowheads="1"/>
            </p:cNvSpPr>
            <p:nvPr/>
          </p:nvSpPr>
          <p:spPr bwMode="auto">
            <a:xfrm>
              <a:off x="4300538" y="2659063"/>
              <a:ext cx="4762" cy="3175"/>
            </a:xfrm>
            <a:custGeom>
              <a:avLst/>
              <a:gdLst>
                <a:gd name="T0" fmla="*/ 14 w 15"/>
                <a:gd name="T1" fmla="*/ 2 h 9"/>
                <a:gd name="T2" fmla="*/ 0 w 15"/>
                <a:gd name="T3" fmla="*/ 8 h 9"/>
                <a:gd name="T4" fmla="*/ 14 w 15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2"/>
                  </a:moveTo>
                  <a:cubicBezTo>
                    <a:pt x="8" y="0"/>
                    <a:pt x="3" y="2"/>
                    <a:pt x="0" y="8"/>
                  </a:cubicBezTo>
                  <a:cubicBezTo>
                    <a:pt x="3" y="5"/>
                    <a:pt x="14" y="8"/>
                    <a:pt x="14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0" name="Freeform 1091"/>
            <p:cNvSpPr>
              <a:spLocks noChangeArrowheads="1"/>
            </p:cNvSpPr>
            <p:nvPr/>
          </p:nvSpPr>
          <p:spPr bwMode="auto">
            <a:xfrm>
              <a:off x="4340225" y="2640013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5 h 12"/>
                <a:gd name="T4" fmla="*/ 3 w 9"/>
                <a:gd name="T5" fmla="*/ 11 h 12"/>
                <a:gd name="T6" fmla="*/ 0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0" y="5"/>
                    <a:pt x="0" y="5"/>
                    <a:pt x="0" y="5"/>
                  </a:cubicBezTo>
                  <a:lnTo>
                    <a:pt x="3" y="11"/>
                  </a:lnTo>
                  <a:cubicBezTo>
                    <a:pt x="8" y="11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1" name="Freeform 1092"/>
            <p:cNvSpPr>
              <a:spLocks noChangeArrowheads="1"/>
            </p:cNvSpPr>
            <p:nvPr/>
          </p:nvSpPr>
          <p:spPr bwMode="auto">
            <a:xfrm>
              <a:off x="4333875" y="2649538"/>
              <a:ext cx="6350" cy="4762"/>
            </a:xfrm>
            <a:custGeom>
              <a:avLst/>
              <a:gdLst>
                <a:gd name="T0" fmla="*/ 14 w 18"/>
                <a:gd name="T1" fmla="*/ 0 h 12"/>
                <a:gd name="T2" fmla="*/ 14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14" y="0"/>
                  </a:moveTo>
                  <a:cubicBezTo>
                    <a:pt x="0" y="6"/>
                    <a:pt x="17" y="11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2" name="Freeform 1093"/>
            <p:cNvSpPr>
              <a:spLocks noChangeArrowheads="1"/>
            </p:cNvSpPr>
            <p:nvPr/>
          </p:nvSpPr>
          <p:spPr bwMode="auto">
            <a:xfrm>
              <a:off x="4335463" y="2647950"/>
              <a:ext cx="1587" cy="6350"/>
            </a:xfrm>
            <a:custGeom>
              <a:avLst/>
              <a:gdLst>
                <a:gd name="T0" fmla="*/ 0 w 6"/>
                <a:gd name="T1" fmla="*/ 3 h 16"/>
                <a:gd name="T2" fmla="*/ 0 w 6"/>
                <a:gd name="T3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6">
                  <a:moveTo>
                    <a:pt x="0" y="3"/>
                  </a:moveTo>
                  <a:cubicBezTo>
                    <a:pt x="2" y="15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3" name="Freeform 1094"/>
            <p:cNvSpPr>
              <a:spLocks noChangeArrowheads="1"/>
            </p:cNvSpPr>
            <p:nvPr/>
          </p:nvSpPr>
          <p:spPr bwMode="auto">
            <a:xfrm>
              <a:off x="4329113" y="2640013"/>
              <a:ext cx="6350" cy="6350"/>
            </a:xfrm>
            <a:custGeom>
              <a:avLst/>
              <a:gdLst>
                <a:gd name="T0" fmla="*/ 8 w 18"/>
                <a:gd name="T1" fmla="*/ 17 h 18"/>
                <a:gd name="T2" fmla="*/ 8 w 18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8">
                  <a:moveTo>
                    <a:pt x="8" y="17"/>
                  </a:moveTo>
                  <a:cubicBezTo>
                    <a:pt x="17" y="0"/>
                    <a:pt x="0" y="11"/>
                    <a:pt x="8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4" name="Freeform 1095"/>
            <p:cNvSpPr>
              <a:spLocks noChangeArrowheads="1"/>
            </p:cNvSpPr>
            <p:nvPr/>
          </p:nvSpPr>
          <p:spPr bwMode="auto">
            <a:xfrm>
              <a:off x="4098925" y="2684463"/>
              <a:ext cx="4763" cy="3175"/>
            </a:xfrm>
            <a:custGeom>
              <a:avLst/>
              <a:gdLst>
                <a:gd name="T0" fmla="*/ 12 w 15"/>
                <a:gd name="T1" fmla="*/ 0 h 10"/>
                <a:gd name="T2" fmla="*/ 12 w 15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0">
                  <a:moveTo>
                    <a:pt x="12" y="0"/>
                  </a:moveTo>
                  <a:cubicBezTo>
                    <a:pt x="0" y="0"/>
                    <a:pt x="14" y="9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5" name="Freeform 1096"/>
            <p:cNvSpPr>
              <a:spLocks noChangeArrowheads="1"/>
            </p:cNvSpPr>
            <p:nvPr/>
          </p:nvSpPr>
          <p:spPr bwMode="auto">
            <a:xfrm>
              <a:off x="4089400" y="2684463"/>
              <a:ext cx="1588" cy="7937"/>
            </a:xfrm>
            <a:custGeom>
              <a:avLst/>
              <a:gdLst>
                <a:gd name="T0" fmla="*/ 5 w 6"/>
                <a:gd name="T1" fmla="*/ 6 h 21"/>
                <a:gd name="T2" fmla="*/ 5 w 6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21">
                  <a:moveTo>
                    <a:pt x="5" y="6"/>
                  </a:moveTo>
                  <a:cubicBezTo>
                    <a:pt x="0" y="0"/>
                    <a:pt x="3" y="20"/>
                    <a:pt x="5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6" name="Freeform 1097"/>
            <p:cNvSpPr>
              <a:spLocks noChangeArrowheads="1"/>
            </p:cNvSpPr>
            <p:nvPr/>
          </p:nvSpPr>
          <p:spPr bwMode="auto">
            <a:xfrm>
              <a:off x="4075113" y="2684463"/>
              <a:ext cx="3175" cy="3175"/>
            </a:xfrm>
            <a:custGeom>
              <a:avLst/>
              <a:gdLst>
                <a:gd name="T0" fmla="*/ 0 w 10"/>
                <a:gd name="T1" fmla="*/ 3 h 9"/>
                <a:gd name="T2" fmla="*/ 9 w 10"/>
                <a:gd name="T3" fmla="*/ 8 h 9"/>
                <a:gd name="T4" fmla="*/ 0 w 10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3"/>
                  </a:moveTo>
                  <a:cubicBezTo>
                    <a:pt x="0" y="6"/>
                    <a:pt x="3" y="8"/>
                    <a:pt x="9" y="8"/>
                  </a:cubicBezTo>
                  <a:cubicBezTo>
                    <a:pt x="9" y="3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7" name="Freeform 1098"/>
            <p:cNvSpPr>
              <a:spLocks noChangeArrowheads="1"/>
            </p:cNvSpPr>
            <p:nvPr/>
          </p:nvSpPr>
          <p:spPr bwMode="auto">
            <a:xfrm>
              <a:off x="4064000" y="2689225"/>
              <a:ext cx="4763" cy="3175"/>
            </a:xfrm>
            <a:custGeom>
              <a:avLst/>
              <a:gdLst>
                <a:gd name="T0" fmla="*/ 12 w 13"/>
                <a:gd name="T1" fmla="*/ 0 h 10"/>
                <a:gd name="T2" fmla="*/ 12 w 13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12" y="0"/>
                  </a:moveTo>
                  <a:cubicBezTo>
                    <a:pt x="0" y="3"/>
                    <a:pt x="12" y="9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8" name="Freeform 1099"/>
            <p:cNvSpPr>
              <a:spLocks noChangeArrowheads="1"/>
            </p:cNvSpPr>
            <p:nvPr/>
          </p:nvSpPr>
          <p:spPr bwMode="auto">
            <a:xfrm>
              <a:off x="4057650" y="2687638"/>
              <a:ext cx="3175" cy="6350"/>
            </a:xfrm>
            <a:custGeom>
              <a:avLst/>
              <a:gdLst>
                <a:gd name="T0" fmla="*/ 9 w 10"/>
                <a:gd name="T1" fmla="*/ 6 h 18"/>
                <a:gd name="T2" fmla="*/ 9 w 10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6"/>
                  </a:moveTo>
                  <a:cubicBezTo>
                    <a:pt x="0" y="0"/>
                    <a:pt x="6" y="17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9" name="Freeform 1100"/>
            <p:cNvSpPr>
              <a:spLocks noChangeArrowheads="1"/>
            </p:cNvSpPr>
            <p:nvPr/>
          </p:nvSpPr>
          <p:spPr bwMode="auto">
            <a:xfrm>
              <a:off x="4041775" y="2692400"/>
              <a:ext cx="4763" cy="4763"/>
            </a:xfrm>
            <a:custGeom>
              <a:avLst/>
              <a:gdLst>
                <a:gd name="T0" fmla="*/ 3 w 15"/>
                <a:gd name="T1" fmla="*/ 0 h 12"/>
                <a:gd name="T2" fmla="*/ 14 w 15"/>
                <a:gd name="T3" fmla="*/ 11 h 12"/>
                <a:gd name="T4" fmla="*/ 3 w 15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3" y="0"/>
                  </a:moveTo>
                  <a:cubicBezTo>
                    <a:pt x="0" y="5"/>
                    <a:pt x="6" y="11"/>
                    <a:pt x="14" y="11"/>
                  </a:cubicBezTo>
                  <a:cubicBezTo>
                    <a:pt x="12" y="5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0" name="Freeform 1101"/>
            <p:cNvSpPr>
              <a:spLocks noChangeArrowheads="1"/>
            </p:cNvSpPr>
            <p:nvPr/>
          </p:nvSpPr>
          <p:spPr bwMode="auto">
            <a:xfrm>
              <a:off x="4084638" y="2681288"/>
              <a:ext cx="4762" cy="3175"/>
            </a:xfrm>
            <a:custGeom>
              <a:avLst/>
              <a:gdLst>
                <a:gd name="T0" fmla="*/ 8 w 12"/>
                <a:gd name="T1" fmla="*/ 0 h 9"/>
                <a:gd name="T2" fmla="*/ 8 w 12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8" y="0"/>
                  </a:moveTo>
                  <a:cubicBezTo>
                    <a:pt x="0" y="0"/>
                    <a:pt x="11" y="8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1" name="Freeform 1102"/>
            <p:cNvSpPr>
              <a:spLocks noChangeArrowheads="1"/>
            </p:cNvSpPr>
            <p:nvPr/>
          </p:nvSpPr>
          <p:spPr bwMode="auto">
            <a:xfrm>
              <a:off x="4100513" y="2674938"/>
              <a:ext cx="3175" cy="1587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0" y="0"/>
                    <a:pt x="6" y="3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2" name="Freeform 1103"/>
            <p:cNvSpPr>
              <a:spLocks noChangeArrowheads="1"/>
            </p:cNvSpPr>
            <p:nvPr/>
          </p:nvSpPr>
          <p:spPr bwMode="auto">
            <a:xfrm>
              <a:off x="4064000" y="2686050"/>
              <a:ext cx="4763" cy="3175"/>
            </a:xfrm>
            <a:custGeom>
              <a:avLst/>
              <a:gdLst>
                <a:gd name="T0" fmla="*/ 12 w 15"/>
                <a:gd name="T1" fmla="*/ 0 h 9"/>
                <a:gd name="T2" fmla="*/ 12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2" y="0"/>
                  </a:moveTo>
                  <a:cubicBezTo>
                    <a:pt x="0" y="0"/>
                    <a:pt x="14" y="8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3" name="Freeform 1104"/>
            <p:cNvSpPr>
              <a:spLocks noChangeArrowheads="1"/>
            </p:cNvSpPr>
            <p:nvPr/>
          </p:nvSpPr>
          <p:spPr bwMode="auto">
            <a:xfrm>
              <a:off x="4079875" y="2679700"/>
              <a:ext cx="4763" cy="3175"/>
            </a:xfrm>
            <a:custGeom>
              <a:avLst/>
              <a:gdLst>
                <a:gd name="T0" fmla="*/ 9 w 13"/>
                <a:gd name="T1" fmla="*/ 0 h 9"/>
                <a:gd name="T2" fmla="*/ 9 w 13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9">
                  <a:moveTo>
                    <a:pt x="9" y="0"/>
                  </a:moveTo>
                  <a:cubicBezTo>
                    <a:pt x="0" y="3"/>
                    <a:pt x="12" y="8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4" name="Freeform 1105"/>
            <p:cNvSpPr>
              <a:spLocks noChangeArrowheads="1"/>
            </p:cNvSpPr>
            <p:nvPr/>
          </p:nvSpPr>
          <p:spPr bwMode="auto">
            <a:xfrm>
              <a:off x="4068763" y="2681288"/>
              <a:ext cx="4762" cy="4762"/>
            </a:xfrm>
            <a:custGeom>
              <a:avLst/>
              <a:gdLst>
                <a:gd name="T0" fmla="*/ 2 w 12"/>
                <a:gd name="T1" fmla="*/ 11 h 12"/>
                <a:gd name="T2" fmla="*/ 11 w 12"/>
                <a:gd name="T3" fmla="*/ 0 h 12"/>
                <a:gd name="T4" fmla="*/ 2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2" y="11"/>
                  </a:moveTo>
                  <a:cubicBezTo>
                    <a:pt x="11" y="11"/>
                    <a:pt x="8" y="5"/>
                    <a:pt x="11" y="0"/>
                  </a:cubicBezTo>
                  <a:cubicBezTo>
                    <a:pt x="2" y="2"/>
                    <a:pt x="0" y="5"/>
                    <a:pt x="2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5" name="Freeform 1106"/>
            <p:cNvSpPr>
              <a:spLocks noChangeArrowheads="1"/>
            </p:cNvSpPr>
            <p:nvPr/>
          </p:nvSpPr>
          <p:spPr bwMode="auto">
            <a:xfrm>
              <a:off x="4035425" y="2692400"/>
              <a:ext cx="3175" cy="6350"/>
            </a:xfrm>
            <a:custGeom>
              <a:avLst/>
              <a:gdLst>
                <a:gd name="T0" fmla="*/ 9 w 10"/>
                <a:gd name="T1" fmla="*/ 8 h 18"/>
                <a:gd name="T2" fmla="*/ 9 w 10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8"/>
                  </a:moveTo>
                  <a:cubicBezTo>
                    <a:pt x="0" y="0"/>
                    <a:pt x="9" y="17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6" name="Freeform 1107"/>
            <p:cNvSpPr>
              <a:spLocks noChangeArrowheads="1"/>
            </p:cNvSpPr>
            <p:nvPr/>
          </p:nvSpPr>
          <p:spPr bwMode="auto">
            <a:xfrm>
              <a:off x="4102100" y="2671763"/>
              <a:ext cx="1588" cy="1587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0"/>
                    <a:pt x="5" y="3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7" name="Freeform 1108"/>
            <p:cNvSpPr>
              <a:spLocks noChangeArrowheads="1"/>
            </p:cNvSpPr>
            <p:nvPr/>
          </p:nvSpPr>
          <p:spPr bwMode="auto">
            <a:xfrm>
              <a:off x="4090988" y="2671763"/>
              <a:ext cx="6350" cy="6350"/>
            </a:xfrm>
            <a:custGeom>
              <a:avLst/>
              <a:gdLst>
                <a:gd name="T0" fmla="*/ 0 w 16"/>
                <a:gd name="T1" fmla="*/ 12 h 18"/>
                <a:gd name="T2" fmla="*/ 0 w 16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8">
                  <a:moveTo>
                    <a:pt x="0" y="12"/>
                  </a:moveTo>
                  <a:cubicBezTo>
                    <a:pt x="15" y="17"/>
                    <a:pt x="6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8" name="Freeform 1109"/>
            <p:cNvSpPr>
              <a:spLocks noChangeArrowheads="1"/>
            </p:cNvSpPr>
            <p:nvPr/>
          </p:nvSpPr>
          <p:spPr bwMode="auto">
            <a:xfrm>
              <a:off x="4067175" y="2682875"/>
              <a:ext cx="1588" cy="1588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9" name="Freeform 1110"/>
            <p:cNvSpPr>
              <a:spLocks noChangeArrowheads="1"/>
            </p:cNvSpPr>
            <p:nvPr/>
          </p:nvSpPr>
          <p:spPr bwMode="auto">
            <a:xfrm>
              <a:off x="4057650" y="2684463"/>
              <a:ext cx="4763" cy="3175"/>
            </a:xfrm>
            <a:custGeom>
              <a:avLst/>
              <a:gdLst>
                <a:gd name="T0" fmla="*/ 11 w 12"/>
                <a:gd name="T1" fmla="*/ 6 h 10"/>
                <a:gd name="T2" fmla="*/ 0 w 12"/>
                <a:gd name="T3" fmla="*/ 0 h 10"/>
                <a:gd name="T4" fmla="*/ 11 w 12"/>
                <a:gd name="T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6"/>
                  </a:moveTo>
                  <a:cubicBezTo>
                    <a:pt x="11" y="0"/>
                    <a:pt x="2" y="0"/>
                    <a:pt x="0" y="0"/>
                  </a:cubicBezTo>
                  <a:cubicBezTo>
                    <a:pt x="2" y="9"/>
                    <a:pt x="5" y="9"/>
                    <a:pt x="1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0" name="Freeform 1111"/>
            <p:cNvSpPr>
              <a:spLocks noChangeArrowheads="1"/>
            </p:cNvSpPr>
            <p:nvPr/>
          </p:nvSpPr>
          <p:spPr bwMode="auto">
            <a:xfrm>
              <a:off x="4097338" y="2667000"/>
              <a:ext cx="3175" cy="6350"/>
            </a:xfrm>
            <a:custGeom>
              <a:avLst/>
              <a:gdLst>
                <a:gd name="T0" fmla="*/ 8 w 9"/>
                <a:gd name="T1" fmla="*/ 6 h 18"/>
                <a:gd name="T2" fmla="*/ 8 w 9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6"/>
                  </a:moveTo>
                  <a:cubicBezTo>
                    <a:pt x="0" y="0"/>
                    <a:pt x="8" y="17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1" name="Freeform 1112"/>
            <p:cNvSpPr>
              <a:spLocks noChangeArrowheads="1"/>
            </p:cNvSpPr>
            <p:nvPr/>
          </p:nvSpPr>
          <p:spPr bwMode="auto">
            <a:xfrm>
              <a:off x="4065588" y="2679700"/>
              <a:ext cx="4762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2" name="Freeform 1113"/>
            <p:cNvSpPr>
              <a:spLocks noChangeArrowheads="1"/>
            </p:cNvSpPr>
            <p:nvPr/>
          </p:nvSpPr>
          <p:spPr bwMode="auto">
            <a:xfrm>
              <a:off x="4094163" y="2670175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3" name="Freeform 1114"/>
            <p:cNvSpPr>
              <a:spLocks noChangeArrowheads="1"/>
            </p:cNvSpPr>
            <p:nvPr/>
          </p:nvSpPr>
          <p:spPr bwMode="auto">
            <a:xfrm>
              <a:off x="4087813" y="2671763"/>
              <a:ext cx="1587" cy="1587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4" name="Freeform 1115"/>
            <p:cNvSpPr>
              <a:spLocks noChangeArrowheads="1"/>
            </p:cNvSpPr>
            <p:nvPr/>
          </p:nvSpPr>
          <p:spPr bwMode="auto">
            <a:xfrm>
              <a:off x="4092575" y="2665413"/>
              <a:ext cx="6350" cy="4762"/>
            </a:xfrm>
            <a:custGeom>
              <a:avLst/>
              <a:gdLst>
                <a:gd name="T0" fmla="*/ 3 w 18"/>
                <a:gd name="T1" fmla="*/ 8 h 12"/>
                <a:gd name="T2" fmla="*/ 17 w 18"/>
                <a:gd name="T3" fmla="*/ 0 h 12"/>
                <a:gd name="T4" fmla="*/ 3 w 18"/>
                <a:gd name="T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3" y="8"/>
                  </a:moveTo>
                  <a:cubicBezTo>
                    <a:pt x="9" y="11"/>
                    <a:pt x="14" y="5"/>
                    <a:pt x="17" y="0"/>
                  </a:cubicBezTo>
                  <a:cubicBezTo>
                    <a:pt x="12" y="2"/>
                    <a:pt x="0" y="2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5" name="Freeform 1116"/>
            <p:cNvSpPr>
              <a:spLocks noChangeArrowheads="1"/>
            </p:cNvSpPr>
            <p:nvPr/>
          </p:nvSpPr>
          <p:spPr bwMode="auto">
            <a:xfrm>
              <a:off x="4059238" y="2687638"/>
              <a:ext cx="4762" cy="6350"/>
            </a:xfrm>
            <a:custGeom>
              <a:avLst/>
              <a:gdLst>
                <a:gd name="T0" fmla="*/ 11 w 12"/>
                <a:gd name="T1" fmla="*/ 9 h 16"/>
                <a:gd name="T2" fmla="*/ 11 w 12"/>
                <a:gd name="T3" fmla="*/ 6 h 16"/>
                <a:gd name="T4" fmla="*/ 9 w 12"/>
                <a:gd name="T5" fmla="*/ 0 h 16"/>
                <a:gd name="T6" fmla="*/ 11 w 12"/>
                <a:gd name="T7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6">
                  <a:moveTo>
                    <a:pt x="11" y="9"/>
                  </a:moveTo>
                  <a:cubicBezTo>
                    <a:pt x="11" y="9"/>
                    <a:pt x="9" y="6"/>
                    <a:pt x="11" y="6"/>
                  </a:cubicBezTo>
                  <a:lnTo>
                    <a:pt x="9" y="0"/>
                  </a:lnTo>
                  <a:cubicBezTo>
                    <a:pt x="0" y="3"/>
                    <a:pt x="6" y="15"/>
                    <a:pt x="11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6" name="Freeform 1117"/>
            <p:cNvSpPr>
              <a:spLocks noChangeArrowheads="1"/>
            </p:cNvSpPr>
            <p:nvPr/>
          </p:nvSpPr>
          <p:spPr bwMode="auto">
            <a:xfrm>
              <a:off x="4060825" y="2678113"/>
              <a:ext cx="4763" cy="4762"/>
            </a:xfrm>
            <a:custGeom>
              <a:avLst/>
              <a:gdLst>
                <a:gd name="T0" fmla="*/ 3 w 15"/>
                <a:gd name="T1" fmla="*/ 12 h 13"/>
                <a:gd name="T2" fmla="*/ 3 w 15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3" y="12"/>
                  </a:moveTo>
                  <a:cubicBezTo>
                    <a:pt x="14" y="3"/>
                    <a:pt x="0" y="0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7" name="Freeform 1118"/>
            <p:cNvSpPr>
              <a:spLocks noChangeArrowheads="1"/>
            </p:cNvSpPr>
            <p:nvPr/>
          </p:nvSpPr>
          <p:spPr bwMode="auto">
            <a:xfrm>
              <a:off x="4064000" y="2678113"/>
              <a:ext cx="3175" cy="4762"/>
            </a:xfrm>
            <a:custGeom>
              <a:avLst/>
              <a:gdLst>
                <a:gd name="T0" fmla="*/ 6 w 7"/>
                <a:gd name="T1" fmla="*/ 11 h 15"/>
                <a:gd name="T2" fmla="*/ 6 w 7"/>
                <a:gd name="T3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6" y="11"/>
                  </a:moveTo>
                  <a:cubicBezTo>
                    <a:pt x="3" y="0"/>
                    <a:pt x="0" y="14"/>
                    <a:pt x="6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8" name="Freeform 1119"/>
            <p:cNvSpPr>
              <a:spLocks noChangeArrowheads="1"/>
            </p:cNvSpPr>
            <p:nvPr/>
          </p:nvSpPr>
          <p:spPr bwMode="auto">
            <a:xfrm>
              <a:off x="4068763" y="2684463"/>
              <a:ext cx="4762" cy="6350"/>
            </a:xfrm>
            <a:custGeom>
              <a:avLst/>
              <a:gdLst>
                <a:gd name="T0" fmla="*/ 2 w 15"/>
                <a:gd name="T1" fmla="*/ 0 h 18"/>
                <a:gd name="T2" fmla="*/ 2 w 15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2" y="0"/>
                  </a:moveTo>
                  <a:cubicBezTo>
                    <a:pt x="0" y="17"/>
                    <a:pt x="14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9" name="Freeform 1120"/>
            <p:cNvSpPr>
              <a:spLocks noChangeArrowheads="1"/>
            </p:cNvSpPr>
            <p:nvPr/>
          </p:nvSpPr>
          <p:spPr bwMode="auto">
            <a:xfrm>
              <a:off x="4210050" y="2689225"/>
              <a:ext cx="4763" cy="3175"/>
            </a:xfrm>
            <a:custGeom>
              <a:avLst/>
              <a:gdLst>
                <a:gd name="T0" fmla="*/ 11 w 12"/>
                <a:gd name="T1" fmla="*/ 0 h 7"/>
                <a:gd name="T2" fmla="*/ 11 w 12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0" y="0"/>
                    <a:pt x="11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0" name="Freeform 1121"/>
            <p:cNvSpPr>
              <a:spLocks noChangeArrowheads="1"/>
            </p:cNvSpPr>
            <p:nvPr/>
          </p:nvSpPr>
          <p:spPr bwMode="auto">
            <a:xfrm>
              <a:off x="4200525" y="2689225"/>
              <a:ext cx="3175" cy="6350"/>
            </a:xfrm>
            <a:custGeom>
              <a:avLst/>
              <a:gdLst>
                <a:gd name="T0" fmla="*/ 6 w 7"/>
                <a:gd name="T1" fmla="*/ 6 h 18"/>
                <a:gd name="T2" fmla="*/ 6 w 7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6" y="6"/>
                  </a:moveTo>
                  <a:cubicBezTo>
                    <a:pt x="0" y="0"/>
                    <a:pt x="3" y="17"/>
                    <a:pt x="6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1" name="Freeform 1122"/>
            <p:cNvSpPr>
              <a:spLocks noChangeArrowheads="1"/>
            </p:cNvSpPr>
            <p:nvPr/>
          </p:nvSpPr>
          <p:spPr bwMode="auto">
            <a:xfrm>
              <a:off x="4184650" y="2689225"/>
              <a:ext cx="4763" cy="3175"/>
            </a:xfrm>
            <a:custGeom>
              <a:avLst/>
              <a:gdLst>
                <a:gd name="T0" fmla="*/ 0 w 12"/>
                <a:gd name="T1" fmla="*/ 3 h 10"/>
                <a:gd name="T2" fmla="*/ 9 w 12"/>
                <a:gd name="T3" fmla="*/ 9 h 10"/>
                <a:gd name="T4" fmla="*/ 0 w 12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0" y="3"/>
                  </a:moveTo>
                  <a:cubicBezTo>
                    <a:pt x="0" y="6"/>
                    <a:pt x="3" y="9"/>
                    <a:pt x="9" y="9"/>
                  </a:cubicBezTo>
                  <a:cubicBezTo>
                    <a:pt x="11" y="3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2" name="Freeform 1123"/>
            <p:cNvSpPr>
              <a:spLocks noChangeArrowheads="1"/>
            </p:cNvSpPr>
            <p:nvPr/>
          </p:nvSpPr>
          <p:spPr bwMode="auto">
            <a:xfrm>
              <a:off x="4173538" y="2695575"/>
              <a:ext cx="4762" cy="3175"/>
            </a:xfrm>
            <a:custGeom>
              <a:avLst/>
              <a:gdLst>
                <a:gd name="T0" fmla="*/ 14 w 15"/>
                <a:gd name="T1" fmla="*/ 0 h 10"/>
                <a:gd name="T2" fmla="*/ 14 w 15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0">
                  <a:moveTo>
                    <a:pt x="14" y="0"/>
                  </a:moveTo>
                  <a:cubicBezTo>
                    <a:pt x="0" y="0"/>
                    <a:pt x="14" y="9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3" name="Freeform 1124"/>
            <p:cNvSpPr>
              <a:spLocks noChangeArrowheads="1"/>
            </p:cNvSpPr>
            <p:nvPr/>
          </p:nvSpPr>
          <p:spPr bwMode="auto">
            <a:xfrm>
              <a:off x="4167188" y="2692400"/>
              <a:ext cx="3175" cy="6350"/>
            </a:xfrm>
            <a:custGeom>
              <a:avLst/>
              <a:gdLst>
                <a:gd name="T0" fmla="*/ 9 w 10"/>
                <a:gd name="T1" fmla="*/ 8 h 18"/>
                <a:gd name="T2" fmla="*/ 9 w 10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8"/>
                  </a:moveTo>
                  <a:cubicBezTo>
                    <a:pt x="0" y="0"/>
                    <a:pt x="9" y="17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4" name="Freeform 1125"/>
            <p:cNvSpPr>
              <a:spLocks noChangeArrowheads="1"/>
            </p:cNvSpPr>
            <p:nvPr/>
          </p:nvSpPr>
          <p:spPr bwMode="auto">
            <a:xfrm>
              <a:off x="4151313" y="2697163"/>
              <a:ext cx="4762" cy="4762"/>
            </a:xfrm>
            <a:custGeom>
              <a:avLst/>
              <a:gdLst>
                <a:gd name="T0" fmla="*/ 3 w 15"/>
                <a:gd name="T1" fmla="*/ 0 h 12"/>
                <a:gd name="T2" fmla="*/ 14 w 15"/>
                <a:gd name="T3" fmla="*/ 11 h 12"/>
                <a:gd name="T4" fmla="*/ 3 w 15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3" y="0"/>
                  </a:moveTo>
                  <a:cubicBezTo>
                    <a:pt x="0" y="5"/>
                    <a:pt x="6" y="11"/>
                    <a:pt x="14" y="11"/>
                  </a:cubicBezTo>
                  <a:cubicBezTo>
                    <a:pt x="11" y="5"/>
                    <a:pt x="8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5" name="Freeform 1126"/>
            <p:cNvSpPr>
              <a:spLocks noChangeArrowheads="1"/>
            </p:cNvSpPr>
            <p:nvPr/>
          </p:nvSpPr>
          <p:spPr bwMode="auto">
            <a:xfrm>
              <a:off x="4194175" y="2686050"/>
              <a:ext cx="6350" cy="1588"/>
            </a:xfrm>
            <a:custGeom>
              <a:avLst/>
              <a:gdLst>
                <a:gd name="T0" fmla="*/ 12 w 16"/>
                <a:gd name="T1" fmla="*/ 0 h 6"/>
                <a:gd name="T2" fmla="*/ 12 w 16"/>
                <a:gd name="T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6">
                  <a:moveTo>
                    <a:pt x="12" y="0"/>
                  </a:moveTo>
                  <a:cubicBezTo>
                    <a:pt x="0" y="0"/>
                    <a:pt x="15" y="5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6" name="Freeform 1127"/>
            <p:cNvSpPr>
              <a:spLocks noChangeArrowheads="1"/>
            </p:cNvSpPr>
            <p:nvPr/>
          </p:nvSpPr>
          <p:spPr bwMode="auto">
            <a:xfrm>
              <a:off x="4211638" y="2679700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7" name="Freeform 1128"/>
            <p:cNvSpPr>
              <a:spLocks noChangeArrowheads="1"/>
            </p:cNvSpPr>
            <p:nvPr/>
          </p:nvSpPr>
          <p:spPr bwMode="auto">
            <a:xfrm>
              <a:off x="4175125" y="2690813"/>
              <a:ext cx="4763" cy="3175"/>
            </a:xfrm>
            <a:custGeom>
              <a:avLst/>
              <a:gdLst>
                <a:gd name="T0" fmla="*/ 11 w 12"/>
                <a:gd name="T1" fmla="*/ 0 h 9"/>
                <a:gd name="T2" fmla="*/ 11 w 12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11" y="0"/>
                  </a:moveTo>
                  <a:cubicBezTo>
                    <a:pt x="0" y="0"/>
                    <a:pt x="11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8" name="Freeform 1129"/>
            <p:cNvSpPr>
              <a:spLocks noChangeArrowheads="1"/>
            </p:cNvSpPr>
            <p:nvPr/>
          </p:nvSpPr>
          <p:spPr bwMode="auto">
            <a:xfrm>
              <a:off x="4189413" y="2684463"/>
              <a:ext cx="4762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9" name="Freeform 1130"/>
            <p:cNvSpPr>
              <a:spLocks noChangeArrowheads="1"/>
            </p:cNvSpPr>
            <p:nvPr/>
          </p:nvSpPr>
          <p:spPr bwMode="auto">
            <a:xfrm>
              <a:off x="4178300" y="2687638"/>
              <a:ext cx="4763" cy="4762"/>
            </a:xfrm>
            <a:custGeom>
              <a:avLst/>
              <a:gdLst>
                <a:gd name="T0" fmla="*/ 3 w 12"/>
                <a:gd name="T1" fmla="*/ 11 h 12"/>
                <a:gd name="T2" fmla="*/ 11 w 12"/>
                <a:gd name="T3" fmla="*/ 0 h 12"/>
                <a:gd name="T4" fmla="*/ 3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3" y="11"/>
                  </a:moveTo>
                  <a:cubicBezTo>
                    <a:pt x="11" y="11"/>
                    <a:pt x="9" y="5"/>
                    <a:pt x="11" y="0"/>
                  </a:cubicBezTo>
                  <a:cubicBezTo>
                    <a:pt x="3" y="0"/>
                    <a:pt x="0" y="2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0" name="Freeform 1131"/>
            <p:cNvSpPr>
              <a:spLocks noChangeArrowheads="1"/>
            </p:cNvSpPr>
            <p:nvPr/>
          </p:nvSpPr>
          <p:spPr bwMode="auto">
            <a:xfrm>
              <a:off x="4144963" y="2697163"/>
              <a:ext cx="3175" cy="6350"/>
            </a:xfrm>
            <a:custGeom>
              <a:avLst/>
              <a:gdLst>
                <a:gd name="T0" fmla="*/ 8 w 9"/>
                <a:gd name="T1" fmla="*/ 5 h 18"/>
                <a:gd name="T2" fmla="*/ 8 w 9"/>
                <a:gd name="T3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5"/>
                  </a:moveTo>
                  <a:cubicBezTo>
                    <a:pt x="0" y="0"/>
                    <a:pt x="8" y="17"/>
                    <a:pt x="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1" name="Freeform 1132"/>
            <p:cNvSpPr>
              <a:spLocks noChangeArrowheads="1"/>
            </p:cNvSpPr>
            <p:nvPr/>
          </p:nvSpPr>
          <p:spPr bwMode="auto">
            <a:xfrm>
              <a:off x="4211638" y="2676525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2" name="Freeform 1133"/>
            <p:cNvSpPr>
              <a:spLocks noChangeArrowheads="1"/>
            </p:cNvSpPr>
            <p:nvPr/>
          </p:nvSpPr>
          <p:spPr bwMode="auto">
            <a:xfrm>
              <a:off x="4200525" y="2676525"/>
              <a:ext cx="6350" cy="6350"/>
            </a:xfrm>
            <a:custGeom>
              <a:avLst/>
              <a:gdLst>
                <a:gd name="T0" fmla="*/ 0 w 18"/>
                <a:gd name="T1" fmla="*/ 12 h 18"/>
                <a:gd name="T2" fmla="*/ 0 w 18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8">
                  <a:moveTo>
                    <a:pt x="0" y="12"/>
                  </a:moveTo>
                  <a:cubicBezTo>
                    <a:pt x="17" y="17"/>
                    <a:pt x="9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3" name="Freeform 1134"/>
            <p:cNvSpPr>
              <a:spLocks noChangeArrowheads="1"/>
            </p:cNvSpPr>
            <p:nvPr/>
          </p:nvSpPr>
          <p:spPr bwMode="auto">
            <a:xfrm>
              <a:off x="4176713" y="2687638"/>
              <a:ext cx="1587" cy="1587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4" name="Freeform 1135"/>
            <p:cNvSpPr>
              <a:spLocks noChangeArrowheads="1"/>
            </p:cNvSpPr>
            <p:nvPr/>
          </p:nvSpPr>
          <p:spPr bwMode="auto">
            <a:xfrm>
              <a:off x="4167188" y="2689225"/>
              <a:ext cx="4762" cy="3175"/>
            </a:xfrm>
            <a:custGeom>
              <a:avLst/>
              <a:gdLst>
                <a:gd name="T0" fmla="*/ 11 w 12"/>
                <a:gd name="T1" fmla="*/ 6 h 10"/>
                <a:gd name="T2" fmla="*/ 0 w 12"/>
                <a:gd name="T3" fmla="*/ 0 h 10"/>
                <a:gd name="T4" fmla="*/ 11 w 12"/>
                <a:gd name="T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6"/>
                  </a:moveTo>
                  <a:cubicBezTo>
                    <a:pt x="11" y="0"/>
                    <a:pt x="3" y="0"/>
                    <a:pt x="0" y="0"/>
                  </a:cubicBezTo>
                  <a:cubicBezTo>
                    <a:pt x="0" y="9"/>
                    <a:pt x="6" y="9"/>
                    <a:pt x="1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5" name="Freeform 1136"/>
            <p:cNvSpPr>
              <a:spLocks noChangeArrowheads="1"/>
            </p:cNvSpPr>
            <p:nvPr/>
          </p:nvSpPr>
          <p:spPr bwMode="auto">
            <a:xfrm>
              <a:off x="4206875" y="2673350"/>
              <a:ext cx="3175" cy="6350"/>
            </a:xfrm>
            <a:custGeom>
              <a:avLst/>
              <a:gdLst>
                <a:gd name="T0" fmla="*/ 9 w 10"/>
                <a:gd name="T1" fmla="*/ 6 h 18"/>
                <a:gd name="T2" fmla="*/ 9 w 10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6"/>
                  </a:moveTo>
                  <a:cubicBezTo>
                    <a:pt x="0" y="0"/>
                    <a:pt x="9" y="17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6" name="Freeform 1137"/>
            <p:cNvSpPr>
              <a:spLocks noChangeArrowheads="1"/>
            </p:cNvSpPr>
            <p:nvPr/>
          </p:nvSpPr>
          <p:spPr bwMode="auto">
            <a:xfrm>
              <a:off x="4176713" y="2684463"/>
              <a:ext cx="4762" cy="3175"/>
            </a:xfrm>
            <a:custGeom>
              <a:avLst/>
              <a:gdLst>
                <a:gd name="T0" fmla="*/ 11 w 12"/>
                <a:gd name="T1" fmla="*/ 0 h 9"/>
                <a:gd name="T2" fmla="*/ 11 w 12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11" y="0"/>
                  </a:moveTo>
                  <a:cubicBezTo>
                    <a:pt x="0" y="0"/>
                    <a:pt x="11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7" name="Freeform 1138"/>
            <p:cNvSpPr>
              <a:spLocks noChangeArrowheads="1"/>
            </p:cNvSpPr>
            <p:nvPr/>
          </p:nvSpPr>
          <p:spPr bwMode="auto">
            <a:xfrm>
              <a:off x="4203700" y="2670175"/>
              <a:ext cx="6350" cy="4763"/>
            </a:xfrm>
            <a:custGeom>
              <a:avLst/>
              <a:gdLst>
                <a:gd name="T0" fmla="*/ 3 w 18"/>
                <a:gd name="T1" fmla="*/ 8 h 12"/>
                <a:gd name="T2" fmla="*/ 17 w 18"/>
                <a:gd name="T3" fmla="*/ 0 h 12"/>
                <a:gd name="T4" fmla="*/ 3 w 18"/>
                <a:gd name="T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3" y="8"/>
                  </a:moveTo>
                  <a:cubicBezTo>
                    <a:pt x="8" y="11"/>
                    <a:pt x="14" y="5"/>
                    <a:pt x="17" y="0"/>
                  </a:cubicBezTo>
                  <a:cubicBezTo>
                    <a:pt x="11" y="2"/>
                    <a:pt x="0" y="2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8" name="Freeform 1139"/>
            <p:cNvSpPr>
              <a:spLocks noChangeArrowheads="1"/>
            </p:cNvSpPr>
            <p:nvPr/>
          </p:nvSpPr>
          <p:spPr bwMode="auto">
            <a:xfrm>
              <a:off x="4170363" y="2692400"/>
              <a:ext cx="3175" cy="4763"/>
            </a:xfrm>
            <a:custGeom>
              <a:avLst/>
              <a:gdLst>
                <a:gd name="T0" fmla="*/ 8 w 9"/>
                <a:gd name="T1" fmla="*/ 8 h 12"/>
                <a:gd name="T2" fmla="*/ 8 w 9"/>
                <a:gd name="T3" fmla="*/ 5 h 12"/>
                <a:gd name="T4" fmla="*/ 5 w 9"/>
                <a:gd name="T5" fmla="*/ 2 h 12"/>
                <a:gd name="T6" fmla="*/ 8 w 9"/>
                <a:gd name="T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8"/>
                  </a:moveTo>
                  <a:cubicBezTo>
                    <a:pt x="8" y="8"/>
                    <a:pt x="5" y="5"/>
                    <a:pt x="8" y="5"/>
                  </a:cubicBezTo>
                  <a:lnTo>
                    <a:pt x="5" y="2"/>
                  </a:lnTo>
                  <a:cubicBezTo>
                    <a:pt x="0" y="0"/>
                    <a:pt x="5" y="11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9" name="Freeform 1140"/>
            <p:cNvSpPr>
              <a:spLocks noChangeArrowheads="1"/>
            </p:cNvSpPr>
            <p:nvPr/>
          </p:nvSpPr>
          <p:spPr bwMode="auto">
            <a:xfrm>
              <a:off x="4171950" y="2682875"/>
              <a:ext cx="4763" cy="4763"/>
            </a:xfrm>
            <a:custGeom>
              <a:avLst/>
              <a:gdLst>
                <a:gd name="T0" fmla="*/ 3 w 15"/>
                <a:gd name="T1" fmla="*/ 12 h 13"/>
                <a:gd name="T2" fmla="*/ 3 w 15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3" y="12"/>
                  </a:moveTo>
                  <a:cubicBezTo>
                    <a:pt x="14" y="3"/>
                    <a:pt x="0" y="0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0" name="Freeform 1141"/>
            <p:cNvSpPr>
              <a:spLocks noChangeArrowheads="1"/>
            </p:cNvSpPr>
            <p:nvPr/>
          </p:nvSpPr>
          <p:spPr bwMode="auto">
            <a:xfrm>
              <a:off x="4175125" y="2684463"/>
              <a:ext cx="1588" cy="4762"/>
            </a:xfrm>
            <a:custGeom>
              <a:avLst/>
              <a:gdLst>
                <a:gd name="T0" fmla="*/ 5 w 6"/>
                <a:gd name="T1" fmla="*/ 9 h 15"/>
                <a:gd name="T2" fmla="*/ 5 w 6"/>
                <a:gd name="T3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5">
                  <a:moveTo>
                    <a:pt x="5" y="9"/>
                  </a:moveTo>
                  <a:cubicBezTo>
                    <a:pt x="0" y="0"/>
                    <a:pt x="0" y="14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1" name="Freeform 1142"/>
            <p:cNvSpPr>
              <a:spLocks noChangeArrowheads="1"/>
            </p:cNvSpPr>
            <p:nvPr/>
          </p:nvSpPr>
          <p:spPr bwMode="auto">
            <a:xfrm>
              <a:off x="4178300" y="2689225"/>
              <a:ext cx="4763" cy="6350"/>
            </a:xfrm>
            <a:custGeom>
              <a:avLst/>
              <a:gdLst>
                <a:gd name="T0" fmla="*/ 3 w 12"/>
                <a:gd name="T1" fmla="*/ 0 h 18"/>
                <a:gd name="T2" fmla="*/ 3 w 12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3" y="0"/>
                  </a:moveTo>
                  <a:cubicBezTo>
                    <a:pt x="0" y="17"/>
                    <a:pt x="11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2" name="Freeform 1143"/>
            <p:cNvSpPr>
              <a:spLocks noChangeArrowheads="1"/>
            </p:cNvSpPr>
            <p:nvPr/>
          </p:nvSpPr>
          <p:spPr bwMode="auto">
            <a:xfrm>
              <a:off x="4276725" y="2654300"/>
              <a:ext cx="4763" cy="1588"/>
            </a:xfrm>
            <a:custGeom>
              <a:avLst/>
              <a:gdLst>
                <a:gd name="T0" fmla="*/ 8 w 12"/>
                <a:gd name="T1" fmla="*/ 0 h 6"/>
                <a:gd name="T2" fmla="*/ 8 w 12"/>
                <a:gd name="T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6">
                  <a:moveTo>
                    <a:pt x="8" y="0"/>
                  </a:moveTo>
                  <a:cubicBezTo>
                    <a:pt x="0" y="0"/>
                    <a:pt x="11" y="5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3" name="Freeform 1144"/>
            <p:cNvSpPr>
              <a:spLocks noChangeArrowheads="1"/>
            </p:cNvSpPr>
            <p:nvPr/>
          </p:nvSpPr>
          <p:spPr bwMode="auto">
            <a:xfrm>
              <a:off x="4267200" y="2654300"/>
              <a:ext cx="1588" cy="6350"/>
            </a:xfrm>
            <a:custGeom>
              <a:avLst/>
              <a:gdLst>
                <a:gd name="T0" fmla="*/ 5 w 6"/>
                <a:gd name="T1" fmla="*/ 5 h 17"/>
                <a:gd name="T2" fmla="*/ 5 w 6"/>
                <a:gd name="T3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7">
                  <a:moveTo>
                    <a:pt x="5" y="5"/>
                  </a:moveTo>
                  <a:cubicBezTo>
                    <a:pt x="0" y="0"/>
                    <a:pt x="2" y="16"/>
                    <a:pt x="5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4" name="Freeform 1145"/>
            <p:cNvSpPr>
              <a:spLocks noChangeArrowheads="1"/>
            </p:cNvSpPr>
            <p:nvPr/>
          </p:nvSpPr>
          <p:spPr bwMode="auto">
            <a:xfrm>
              <a:off x="4251325" y="2654300"/>
              <a:ext cx="4763" cy="3175"/>
            </a:xfrm>
            <a:custGeom>
              <a:avLst/>
              <a:gdLst>
                <a:gd name="T0" fmla="*/ 0 w 13"/>
                <a:gd name="T1" fmla="*/ 3 h 10"/>
                <a:gd name="T2" fmla="*/ 9 w 13"/>
                <a:gd name="T3" fmla="*/ 9 h 10"/>
                <a:gd name="T4" fmla="*/ 0 w 13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0" y="3"/>
                  </a:moveTo>
                  <a:cubicBezTo>
                    <a:pt x="0" y="6"/>
                    <a:pt x="3" y="9"/>
                    <a:pt x="9" y="9"/>
                  </a:cubicBezTo>
                  <a:cubicBezTo>
                    <a:pt x="12" y="3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5" name="Freeform 1146"/>
            <p:cNvSpPr>
              <a:spLocks noChangeArrowheads="1"/>
            </p:cNvSpPr>
            <p:nvPr/>
          </p:nvSpPr>
          <p:spPr bwMode="auto">
            <a:xfrm>
              <a:off x="4240213" y="2659063"/>
              <a:ext cx="6350" cy="3175"/>
            </a:xfrm>
            <a:custGeom>
              <a:avLst/>
              <a:gdLst>
                <a:gd name="T0" fmla="*/ 15 w 16"/>
                <a:gd name="T1" fmla="*/ 0 h 10"/>
                <a:gd name="T2" fmla="*/ 15 w 16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0">
                  <a:moveTo>
                    <a:pt x="15" y="0"/>
                  </a:moveTo>
                  <a:cubicBezTo>
                    <a:pt x="0" y="0"/>
                    <a:pt x="15" y="9"/>
                    <a:pt x="1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6" name="Freeform 1147"/>
            <p:cNvSpPr>
              <a:spLocks noChangeArrowheads="1"/>
            </p:cNvSpPr>
            <p:nvPr/>
          </p:nvSpPr>
          <p:spPr bwMode="auto">
            <a:xfrm>
              <a:off x="4235450" y="2655888"/>
              <a:ext cx="3175" cy="6350"/>
            </a:xfrm>
            <a:custGeom>
              <a:avLst/>
              <a:gdLst>
                <a:gd name="T0" fmla="*/ 9 w 10"/>
                <a:gd name="T1" fmla="*/ 8 h 18"/>
                <a:gd name="T2" fmla="*/ 9 w 10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8"/>
                  </a:moveTo>
                  <a:cubicBezTo>
                    <a:pt x="0" y="0"/>
                    <a:pt x="9" y="17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7" name="Freeform 1148"/>
            <p:cNvSpPr>
              <a:spLocks noChangeArrowheads="1"/>
            </p:cNvSpPr>
            <p:nvPr/>
          </p:nvSpPr>
          <p:spPr bwMode="auto">
            <a:xfrm>
              <a:off x="4217988" y="2662238"/>
              <a:ext cx="4762" cy="4762"/>
            </a:xfrm>
            <a:custGeom>
              <a:avLst/>
              <a:gdLst>
                <a:gd name="T0" fmla="*/ 3 w 15"/>
                <a:gd name="T1" fmla="*/ 0 h 12"/>
                <a:gd name="T2" fmla="*/ 14 w 15"/>
                <a:gd name="T3" fmla="*/ 11 h 12"/>
                <a:gd name="T4" fmla="*/ 3 w 15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3" y="0"/>
                  </a:moveTo>
                  <a:cubicBezTo>
                    <a:pt x="0" y="6"/>
                    <a:pt x="6" y="11"/>
                    <a:pt x="14" y="11"/>
                  </a:cubicBezTo>
                  <a:cubicBezTo>
                    <a:pt x="11" y="6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8" name="Freeform 1149"/>
            <p:cNvSpPr>
              <a:spLocks noChangeArrowheads="1"/>
            </p:cNvSpPr>
            <p:nvPr/>
          </p:nvSpPr>
          <p:spPr bwMode="auto">
            <a:xfrm>
              <a:off x="4260850" y="2649538"/>
              <a:ext cx="4763" cy="3175"/>
            </a:xfrm>
            <a:custGeom>
              <a:avLst/>
              <a:gdLst>
                <a:gd name="T0" fmla="*/ 11 w 15"/>
                <a:gd name="T1" fmla="*/ 0 h 7"/>
                <a:gd name="T2" fmla="*/ 11 w 15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7">
                  <a:moveTo>
                    <a:pt x="11" y="0"/>
                  </a:moveTo>
                  <a:cubicBezTo>
                    <a:pt x="0" y="0"/>
                    <a:pt x="14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9" name="Freeform 1150"/>
            <p:cNvSpPr>
              <a:spLocks noChangeArrowheads="1"/>
            </p:cNvSpPr>
            <p:nvPr/>
          </p:nvSpPr>
          <p:spPr bwMode="auto">
            <a:xfrm>
              <a:off x="4278313" y="2644775"/>
              <a:ext cx="1587" cy="1588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0" y="0"/>
                    <a:pt x="2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0" name="Freeform 1151"/>
            <p:cNvSpPr>
              <a:spLocks noChangeArrowheads="1"/>
            </p:cNvSpPr>
            <p:nvPr/>
          </p:nvSpPr>
          <p:spPr bwMode="auto">
            <a:xfrm>
              <a:off x="4241800" y="2655888"/>
              <a:ext cx="4763" cy="3175"/>
            </a:xfrm>
            <a:custGeom>
              <a:avLst/>
              <a:gdLst>
                <a:gd name="T0" fmla="*/ 11 w 12"/>
                <a:gd name="T1" fmla="*/ 0 h 7"/>
                <a:gd name="T2" fmla="*/ 11 w 12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0" y="0"/>
                    <a:pt x="11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1" name="Freeform 1152"/>
            <p:cNvSpPr>
              <a:spLocks noChangeArrowheads="1"/>
            </p:cNvSpPr>
            <p:nvPr/>
          </p:nvSpPr>
          <p:spPr bwMode="auto">
            <a:xfrm>
              <a:off x="4257675" y="2649538"/>
              <a:ext cx="6350" cy="3175"/>
            </a:xfrm>
            <a:custGeom>
              <a:avLst/>
              <a:gdLst>
                <a:gd name="T0" fmla="*/ 12 w 16"/>
                <a:gd name="T1" fmla="*/ 0 h 10"/>
                <a:gd name="T2" fmla="*/ 12 w 16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0">
                  <a:moveTo>
                    <a:pt x="12" y="0"/>
                  </a:moveTo>
                  <a:cubicBezTo>
                    <a:pt x="0" y="0"/>
                    <a:pt x="15" y="9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2" name="Freeform 1153"/>
            <p:cNvSpPr>
              <a:spLocks noChangeArrowheads="1"/>
            </p:cNvSpPr>
            <p:nvPr/>
          </p:nvSpPr>
          <p:spPr bwMode="auto">
            <a:xfrm>
              <a:off x="4246563" y="2649538"/>
              <a:ext cx="4762" cy="4762"/>
            </a:xfrm>
            <a:custGeom>
              <a:avLst/>
              <a:gdLst>
                <a:gd name="T0" fmla="*/ 3 w 13"/>
                <a:gd name="T1" fmla="*/ 11 h 12"/>
                <a:gd name="T2" fmla="*/ 12 w 13"/>
                <a:gd name="T3" fmla="*/ 0 h 12"/>
                <a:gd name="T4" fmla="*/ 3 w 13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3" y="11"/>
                  </a:moveTo>
                  <a:cubicBezTo>
                    <a:pt x="12" y="11"/>
                    <a:pt x="9" y="6"/>
                    <a:pt x="12" y="0"/>
                  </a:cubicBezTo>
                  <a:cubicBezTo>
                    <a:pt x="3" y="3"/>
                    <a:pt x="0" y="6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3" name="Freeform 1154"/>
            <p:cNvSpPr>
              <a:spLocks noChangeArrowheads="1"/>
            </p:cNvSpPr>
            <p:nvPr/>
          </p:nvSpPr>
          <p:spPr bwMode="auto">
            <a:xfrm>
              <a:off x="4211638" y="2662238"/>
              <a:ext cx="3175" cy="6350"/>
            </a:xfrm>
            <a:custGeom>
              <a:avLst/>
              <a:gdLst>
                <a:gd name="T0" fmla="*/ 9 w 10"/>
                <a:gd name="T1" fmla="*/ 6 h 18"/>
                <a:gd name="T2" fmla="*/ 9 w 10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6"/>
                  </a:moveTo>
                  <a:cubicBezTo>
                    <a:pt x="0" y="0"/>
                    <a:pt x="6" y="17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4" name="Freeform 1155"/>
            <p:cNvSpPr>
              <a:spLocks noChangeArrowheads="1"/>
            </p:cNvSpPr>
            <p:nvPr/>
          </p:nvSpPr>
          <p:spPr bwMode="auto">
            <a:xfrm>
              <a:off x="4268788" y="2641600"/>
              <a:ext cx="6350" cy="6350"/>
            </a:xfrm>
            <a:custGeom>
              <a:avLst/>
              <a:gdLst>
                <a:gd name="T0" fmla="*/ 0 w 18"/>
                <a:gd name="T1" fmla="*/ 11 h 18"/>
                <a:gd name="T2" fmla="*/ 0 w 18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8">
                  <a:moveTo>
                    <a:pt x="0" y="11"/>
                  </a:moveTo>
                  <a:cubicBezTo>
                    <a:pt x="17" y="17"/>
                    <a:pt x="9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5" name="Freeform 1156"/>
            <p:cNvSpPr>
              <a:spLocks noChangeArrowheads="1"/>
            </p:cNvSpPr>
            <p:nvPr/>
          </p:nvSpPr>
          <p:spPr bwMode="auto">
            <a:xfrm>
              <a:off x="4235450" y="2654300"/>
              <a:ext cx="4763" cy="3175"/>
            </a:xfrm>
            <a:custGeom>
              <a:avLst/>
              <a:gdLst>
                <a:gd name="T0" fmla="*/ 12 w 13"/>
                <a:gd name="T1" fmla="*/ 5 h 9"/>
                <a:gd name="T2" fmla="*/ 0 w 13"/>
                <a:gd name="T3" fmla="*/ 0 h 9"/>
                <a:gd name="T4" fmla="*/ 12 w 13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9">
                  <a:moveTo>
                    <a:pt x="12" y="5"/>
                  </a:moveTo>
                  <a:cubicBezTo>
                    <a:pt x="12" y="0"/>
                    <a:pt x="3" y="0"/>
                    <a:pt x="0" y="0"/>
                  </a:cubicBezTo>
                  <a:cubicBezTo>
                    <a:pt x="0" y="8"/>
                    <a:pt x="6" y="8"/>
                    <a:pt x="12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6" name="Freeform 1157"/>
            <p:cNvSpPr>
              <a:spLocks noChangeArrowheads="1"/>
            </p:cNvSpPr>
            <p:nvPr/>
          </p:nvSpPr>
          <p:spPr bwMode="auto">
            <a:xfrm>
              <a:off x="4273550" y="2636838"/>
              <a:ext cx="3175" cy="6350"/>
            </a:xfrm>
            <a:custGeom>
              <a:avLst/>
              <a:gdLst>
                <a:gd name="T0" fmla="*/ 9 w 10"/>
                <a:gd name="T1" fmla="*/ 8 h 17"/>
                <a:gd name="T2" fmla="*/ 9 w 10"/>
                <a:gd name="T3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7">
                  <a:moveTo>
                    <a:pt x="9" y="8"/>
                  </a:moveTo>
                  <a:cubicBezTo>
                    <a:pt x="0" y="0"/>
                    <a:pt x="9" y="16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7" name="Freeform 1158"/>
            <p:cNvSpPr>
              <a:spLocks noChangeArrowheads="1"/>
            </p:cNvSpPr>
            <p:nvPr/>
          </p:nvSpPr>
          <p:spPr bwMode="auto">
            <a:xfrm>
              <a:off x="4243388" y="2649538"/>
              <a:ext cx="4762" cy="3175"/>
            </a:xfrm>
            <a:custGeom>
              <a:avLst/>
              <a:gdLst>
                <a:gd name="T0" fmla="*/ 11 w 12"/>
                <a:gd name="T1" fmla="*/ 0 h 7"/>
                <a:gd name="T2" fmla="*/ 11 w 12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0" y="0"/>
                    <a:pt x="11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8" name="Freeform 1159"/>
            <p:cNvSpPr>
              <a:spLocks noChangeArrowheads="1"/>
            </p:cNvSpPr>
            <p:nvPr/>
          </p:nvSpPr>
          <p:spPr bwMode="auto">
            <a:xfrm>
              <a:off x="4270375" y="2633663"/>
              <a:ext cx="4763" cy="4762"/>
            </a:xfrm>
            <a:custGeom>
              <a:avLst/>
              <a:gdLst>
                <a:gd name="T0" fmla="*/ 0 w 15"/>
                <a:gd name="T1" fmla="*/ 9 h 12"/>
                <a:gd name="T2" fmla="*/ 14 w 15"/>
                <a:gd name="T3" fmla="*/ 0 h 12"/>
                <a:gd name="T4" fmla="*/ 0 w 15"/>
                <a:gd name="T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0" y="9"/>
                  </a:moveTo>
                  <a:cubicBezTo>
                    <a:pt x="6" y="11"/>
                    <a:pt x="11" y="6"/>
                    <a:pt x="14" y="0"/>
                  </a:cubicBezTo>
                  <a:cubicBezTo>
                    <a:pt x="11" y="6"/>
                    <a:pt x="0" y="3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9" name="Freeform 1160"/>
            <p:cNvSpPr>
              <a:spLocks noChangeArrowheads="1"/>
            </p:cNvSpPr>
            <p:nvPr/>
          </p:nvSpPr>
          <p:spPr bwMode="auto">
            <a:xfrm>
              <a:off x="4237038" y="2657475"/>
              <a:ext cx="3175" cy="4763"/>
            </a:xfrm>
            <a:custGeom>
              <a:avLst/>
              <a:gdLst>
                <a:gd name="T0" fmla="*/ 8 w 9"/>
                <a:gd name="T1" fmla="*/ 8 h 12"/>
                <a:gd name="T2" fmla="*/ 8 w 9"/>
                <a:gd name="T3" fmla="*/ 5 h 12"/>
                <a:gd name="T4" fmla="*/ 6 w 9"/>
                <a:gd name="T5" fmla="*/ 0 h 12"/>
                <a:gd name="T6" fmla="*/ 8 w 9"/>
                <a:gd name="T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8"/>
                  </a:moveTo>
                  <a:cubicBezTo>
                    <a:pt x="8" y="8"/>
                    <a:pt x="6" y="5"/>
                    <a:pt x="8" y="5"/>
                  </a:cubicBezTo>
                  <a:lnTo>
                    <a:pt x="6" y="0"/>
                  </a:lnTo>
                  <a:cubicBezTo>
                    <a:pt x="0" y="0"/>
                    <a:pt x="6" y="11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0" name="Freeform 1161"/>
            <p:cNvSpPr>
              <a:spLocks noChangeArrowheads="1"/>
            </p:cNvSpPr>
            <p:nvPr/>
          </p:nvSpPr>
          <p:spPr bwMode="auto">
            <a:xfrm>
              <a:off x="4238625" y="2647950"/>
              <a:ext cx="6350" cy="4763"/>
            </a:xfrm>
            <a:custGeom>
              <a:avLst/>
              <a:gdLst>
                <a:gd name="T0" fmla="*/ 5 w 18"/>
                <a:gd name="T1" fmla="*/ 11 h 12"/>
                <a:gd name="T2" fmla="*/ 5 w 18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5" y="11"/>
                  </a:moveTo>
                  <a:cubicBezTo>
                    <a:pt x="17" y="2"/>
                    <a:pt x="0" y="0"/>
                    <a:pt x="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1" name="Freeform 1162"/>
            <p:cNvSpPr>
              <a:spLocks noChangeArrowheads="1"/>
            </p:cNvSpPr>
            <p:nvPr/>
          </p:nvSpPr>
          <p:spPr bwMode="auto">
            <a:xfrm>
              <a:off x="4241800" y="2647950"/>
              <a:ext cx="3175" cy="6350"/>
            </a:xfrm>
            <a:custGeom>
              <a:avLst/>
              <a:gdLst>
                <a:gd name="T0" fmla="*/ 6 w 7"/>
                <a:gd name="T1" fmla="*/ 9 h 16"/>
                <a:gd name="T2" fmla="*/ 6 w 7"/>
                <a:gd name="T3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6">
                  <a:moveTo>
                    <a:pt x="6" y="9"/>
                  </a:moveTo>
                  <a:cubicBezTo>
                    <a:pt x="0" y="0"/>
                    <a:pt x="0" y="15"/>
                    <a:pt x="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2" name="Freeform 1163"/>
            <p:cNvSpPr>
              <a:spLocks noChangeArrowheads="1"/>
            </p:cNvSpPr>
            <p:nvPr/>
          </p:nvSpPr>
          <p:spPr bwMode="auto">
            <a:xfrm>
              <a:off x="4246563" y="2654300"/>
              <a:ext cx="4762" cy="6350"/>
            </a:xfrm>
            <a:custGeom>
              <a:avLst/>
              <a:gdLst>
                <a:gd name="T0" fmla="*/ 3 w 13"/>
                <a:gd name="T1" fmla="*/ 0 h 18"/>
                <a:gd name="T2" fmla="*/ 3 w 13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3" y="0"/>
                  </a:moveTo>
                  <a:cubicBezTo>
                    <a:pt x="0" y="17"/>
                    <a:pt x="12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3" name="Freeform 1164"/>
            <p:cNvSpPr>
              <a:spLocks noChangeArrowheads="1"/>
            </p:cNvSpPr>
            <p:nvPr/>
          </p:nvSpPr>
          <p:spPr bwMode="auto">
            <a:xfrm>
              <a:off x="4294188" y="2679700"/>
              <a:ext cx="4762" cy="3175"/>
            </a:xfrm>
            <a:custGeom>
              <a:avLst/>
              <a:gdLst>
                <a:gd name="T0" fmla="*/ 11 w 12"/>
                <a:gd name="T1" fmla="*/ 0 h 7"/>
                <a:gd name="T2" fmla="*/ 11 w 12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0" y="0"/>
                    <a:pt x="11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4" name="Freeform 1165"/>
            <p:cNvSpPr>
              <a:spLocks noChangeArrowheads="1"/>
            </p:cNvSpPr>
            <p:nvPr/>
          </p:nvSpPr>
          <p:spPr bwMode="auto">
            <a:xfrm>
              <a:off x="4284663" y="2679700"/>
              <a:ext cx="3175" cy="6350"/>
            </a:xfrm>
            <a:custGeom>
              <a:avLst/>
              <a:gdLst>
                <a:gd name="T0" fmla="*/ 6 w 7"/>
                <a:gd name="T1" fmla="*/ 6 h 18"/>
                <a:gd name="T2" fmla="*/ 6 w 7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6" y="6"/>
                  </a:moveTo>
                  <a:cubicBezTo>
                    <a:pt x="0" y="0"/>
                    <a:pt x="3" y="17"/>
                    <a:pt x="6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5" name="Freeform 1166"/>
            <p:cNvSpPr>
              <a:spLocks noChangeArrowheads="1"/>
            </p:cNvSpPr>
            <p:nvPr/>
          </p:nvSpPr>
          <p:spPr bwMode="auto">
            <a:xfrm>
              <a:off x="4271963" y="2681288"/>
              <a:ext cx="3175" cy="3175"/>
            </a:xfrm>
            <a:custGeom>
              <a:avLst/>
              <a:gdLst>
                <a:gd name="T0" fmla="*/ 0 w 9"/>
                <a:gd name="T1" fmla="*/ 3 h 9"/>
                <a:gd name="T2" fmla="*/ 8 w 9"/>
                <a:gd name="T3" fmla="*/ 8 h 9"/>
                <a:gd name="T4" fmla="*/ 0 w 9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0" y="3"/>
                  </a:moveTo>
                  <a:cubicBezTo>
                    <a:pt x="0" y="5"/>
                    <a:pt x="3" y="8"/>
                    <a:pt x="8" y="8"/>
                  </a:cubicBezTo>
                  <a:cubicBezTo>
                    <a:pt x="8" y="3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6" name="Freeform 1167"/>
            <p:cNvSpPr>
              <a:spLocks noChangeArrowheads="1"/>
            </p:cNvSpPr>
            <p:nvPr/>
          </p:nvSpPr>
          <p:spPr bwMode="auto">
            <a:xfrm>
              <a:off x="4257675" y="2686050"/>
              <a:ext cx="4763" cy="3175"/>
            </a:xfrm>
            <a:custGeom>
              <a:avLst/>
              <a:gdLst>
                <a:gd name="T0" fmla="*/ 14 w 15"/>
                <a:gd name="T1" fmla="*/ 0 h 9"/>
                <a:gd name="T2" fmla="*/ 14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4" y="0"/>
                  </a:moveTo>
                  <a:cubicBezTo>
                    <a:pt x="0" y="0"/>
                    <a:pt x="14" y="8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7" name="Freeform 1168"/>
            <p:cNvSpPr>
              <a:spLocks noChangeArrowheads="1"/>
            </p:cNvSpPr>
            <p:nvPr/>
          </p:nvSpPr>
          <p:spPr bwMode="auto">
            <a:xfrm>
              <a:off x="4252913" y="2682875"/>
              <a:ext cx="4762" cy="6350"/>
            </a:xfrm>
            <a:custGeom>
              <a:avLst/>
              <a:gdLst>
                <a:gd name="T0" fmla="*/ 11 w 12"/>
                <a:gd name="T1" fmla="*/ 9 h 18"/>
                <a:gd name="T2" fmla="*/ 11 w 12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11" y="9"/>
                  </a:moveTo>
                  <a:cubicBezTo>
                    <a:pt x="0" y="0"/>
                    <a:pt x="9" y="17"/>
                    <a:pt x="11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8" name="Freeform 1169"/>
            <p:cNvSpPr>
              <a:spLocks noChangeArrowheads="1"/>
            </p:cNvSpPr>
            <p:nvPr/>
          </p:nvSpPr>
          <p:spPr bwMode="auto">
            <a:xfrm>
              <a:off x="4237038" y="2687638"/>
              <a:ext cx="4762" cy="4762"/>
            </a:xfrm>
            <a:custGeom>
              <a:avLst/>
              <a:gdLst>
                <a:gd name="T0" fmla="*/ 3 w 15"/>
                <a:gd name="T1" fmla="*/ 0 h 13"/>
                <a:gd name="T2" fmla="*/ 14 w 15"/>
                <a:gd name="T3" fmla="*/ 12 h 13"/>
                <a:gd name="T4" fmla="*/ 3 w 15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3" y="0"/>
                  </a:moveTo>
                  <a:cubicBezTo>
                    <a:pt x="0" y="6"/>
                    <a:pt x="6" y="12"/>
                    <a:pt x="14" y="12"/>
                  </a:cubicBezTo>
                  <a:cubicBezTo>
                    <a:pt x="11" y="6"/>
                    <a:pt x="8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9" name="Freeform 1170"/>
            <p:cNvSpPr>
              <a:spLocks noChangeArrowheads="1"/>
            </p:cNvSpPr>
            <p:nvPr/>
          </p:nvSpPr>
          <p:spPr bwMode="auto">
            <a:xfrm>
              <a:off x="4279900" y="2676525"/>
              <a:ext cx="6350" cy="3175"/>
            </a:xfrm>
            <a:custGeom>
              <a:avLst/>
              <a:gdLst>
                <a:gd name="T0" fmla="*/ 12 w 16"/>
                <a:gd name="T1" fmla="*/ 0 h 7"/>
                <a:gd name="T2" fmla="*/ 12 w 16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7">
                  <a:moveTo>
                    <a:pt x="12" y="0"/>
                  </a:moveTo>
                  <a:cubicBezTo>
                    <a:pt x="0" y="0"/>
                    <a:pt x="15" y="6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0" name="Freeform 1171"/>
            <p:cNvSpPr>
              <a:spLocks noChangeArrowheads="1"/>
            </p:cNvSpPr>
            <p:nvPr/>
          </p:nvSpPr>
          <p:spPr bwMode="auto">
            <a:xfrm>
              <a:off x="4297363" y="2670175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1" name="Freeform 1172"/>
            <p:cNvSpPr>
              <a:spLocks noChangeArrowheads="1"/>
            </p:cNvSpPr>
            <p:nvPr/>
          </p:nvSpPr>
          <p:spPr bwMode="auto">
            <a:xfrm>
              <a:off x="4260850" y="2681288"/>
              <a:ext cx="4763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2" name="Freeform 1173"/>
            <p:cNvSpPr>
              <a:spLocks noChangeArrowheads="1"/>
            </p:cNvSpPr>
            <p:nvPr/>
          </p:nvSpPr>
          <p:spPr bwMode="auto">
            <a:xfrm>
              <a:off x="4275138" y="2676525"/>
              <a:ext cx="4762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3" name="Freeform 1174"/>
            <p:cNvSpPr>
              <a:spLocks noChangeArrowheads="1"/>
            </p:cNvSpPr>
            <p:nvPr/>
          </p:nvSpPr>
          <p:spPr bwMode="auto">
            <a:xfrm>
              <a:off x="4264025" y="2678113"/>
              <a:ext cx="4763" cy="4762"/>
            </a:xfrm>
            <a:custGeom>
              <a:avLst/>
              <a:gdLst>
                <a:gd name="T0" fmla="*/ 3 w 12"/>
                <a:gd name="T1" fmla="*/ 12 h 13"/>
                <a:gd name="T2" fmla="*/ 11 w 12"/>
                <a:gd name="T3" fmla="*/ 0 h 13"/>
                <a:gd name="T4" fmla="*/ 3 w 12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3">
                  <a:moveTo>
                    <a:pt x="3" y="12"/>
                  </a:moveTo>
                  <a:cubicBezTo>
                    <a:pt x="11" y="12"/>
                    <a:pt x="9" y="6"/>
                    <a:pt x="11" y="0"/>
                  </a:cubicBezTo>
                  <a:cubicBezTo>
                    <a:pt x="3" y="0"/>
                    <a:pt x="0" y="3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4" name="Freeform 1175"/>
            <p:cNvSpPr>
              <a:spLocks noChangeArrowheads="1"/>
            </p:cNvSpPr>
            <p:nvPr/>
          </p:nvSpPr>
          <p:spPr bwMode="auto">
            <a:xfrm>
              <a:off x="4230688" y="2687638"/>
              <a:ext cx="3175" cy="6350"/>
            </a:xfrm>
            <a:custGeom>
              <a:avLst/>
              <a:gdLst>
                <a:gd name="T0" fmla="*/ 9 w 10"/>
                <a:gd name="T1" fmla="*/ 6 h 18"/>
                <a:gd name="T2" fmla="*/ 9 w 10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6"/>
                  </a:moveTo>
                  <a:cubicBezTo>
                    <a:pt x="0" y="0"/>
                    <a:pt x="9" y="17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5" name="Freeform 1176"/>
            <p:cNvSpPr>
              <a:spLocks noChangeArrowheads="1"/>
            </p:cNvSpPr>
            <p:nvPr/>
          </p:nvSpPr>
          <p:spPr bwMode="auto">
            <a:xfrm>
              <a:off x="4297363" y="2667000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6" name="Freeform 1177"/>
            <p:cNvSpPr>
              <a:spLocks noChangeArrowheads="1"/>
            </p:cNvSpPr>
            <p:nvPr/>
          </p:nvSpPr>
          <p:spPr bwMode="auto">
            <a:xfrm>
              <a:off x="4287838" y="2667000"/>
              <a:ext cx="4762" cy="6350"/>
            </a:xfrm>
            <a:custGeom>
              <a:avLst/>
              <a:gdLst>
                <a:gd name="T0" fmla="*/ 0 w 15"/>
                <a:gd name="T1" fmla="*/ 11 h 18"/>
                <a:gd name="T2" fmla="*/ 0 w 15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0" y="11"/>
                  </a:moveTo>
                  <a:cubicBezTo>
                    <a:pt x="14" y="17"/>
                    <a:pt x="6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7" name="Freeform 1178"/>
            <p:cNvSpPr>
              <a:spLocks noChangeArrowheads="1"/>
            </p:cNvSpPr>
            <p:nvPr/>
          </p:nvSpPr>
          <p:spPr bwMode="auto">
            <a:xfrm>
              <a:off x="4262438" y="2678113"/>
              <a:ext cx="1587" cy="1587"/>
            </a:xfrm>
            <a:custGeom>
              <a:avLst/>
              <a:gdLst>
                <a:gd name="T0" fmla="*/ 2 w 6"/>
                <a:gd name="T1" fmla="*/ 0 h 4"/>
                <a:gd name="T2" fmla="*/ 2 w 6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4">
                  <a:moveTo>
                    <a:pt x="2" y="0"/>
                  </a:moveTo>
                  <a:cubicBezTo>
                    <a:pt x="0" y="0"/>
                    <a:pt x="5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8" name="Freeform 1179"/>
            <p:cNvSpPr>
              <a:spLocks noChangeArrowheads="1"/>
            </p:cNvSpPr>
            <p:nvPr/>
          </p:nvSpPr>
          <p:spPr bwMode="auto">
            <a:xfrm>
              <a:off x="4252913" y="2679700"/>
              <a:ext cx="4762" cy="3175"/>
            </a:xfrm>
            <a:custGeom>
              <a:avLst/>
              <a:gdLst>
                <a:gd name="T0" fmla="*/ 11 w 12"/>
                <a:gd name="T1" fmla="*/ 6 h 9"/>
                <a:gd name="T2" fmla="*/ 0 w 12"/>
                <a:gd name="T3" fmla="*/ 0 h 9"/>
                <a:gd name="T4" fmla="*/ 11 w 12"/>
                <a:gd name="T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11" y="6"/>
                  </a:moveTo>
                  <a:cubicBezTo>
                    <a:pt x="11" y="0"/>
                    <a:pt x="3" y="0"/>
                    <a:pt x="0" y="0"/>
                  </a:cubicBezTo>
                  <a:cubicBezTo>
                    <a:pt x="0" y="8"/>
                    <a:pt x="6" y="8"/>
                    <a:pt x="1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9" name="Freeform 1180"/>
            <p:cNvSpPr>
              <a:spLocks noChangeArrowheads="1"/>
            </p:cNvSpPr>
            <p:nvPr/>
          </p:nvSpPr>
          <p:spPr bwMode="auto">
            <a:xfrm>
              <a:off x="4292600" y="2663825"/>
              <a:ext cx="3175" cy="4763"/>
            </a:xfrm>
            <a:custGeom>
              <a:avLst/>
              <a:gdLst>
                <a:gd name="T0" fmla="*/ 9 w 10"/>
                <a:gd name="T1" fmla="*/ 5 h 15"/>
                <a:gd name="T2" fmla="*/ 9 w 10"/>
                <a:gd name="T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9" y="5"/>
                  </a:moveTo>
                  <a:cubicBezTo>
                    <a:pt x="0" y="0"/>
                    <a:pt x="9" y="14"/>
                    <a:pt x="9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0" name="Freeform 1181"/>
            <p:cNvSpPr>
              <a:spLocks noChangeArrowheads="1"/>
            </p:cNvSpPr>
            <p:nvPr/>
          </p:nvSpPr>
          <p:spPr bwMode="auto">
            <a:xfrm>
              <a:off x="4260850" y="2676525"/>
              <a:ext cx="4763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1" name="Freeform 1182"/>
            <p:cNvSpPr>
              <a:spLocks noChangeArrowheads="1"/>
            </p:cNvSpPr>
            <p:nvPr/>
          </p:nvSpPr>
          <p:spPr bwMode="auto">
            <a:xfrm>
              <a:off x="4289425" y="2660650"/>
              <a:ext cx="6350" cy="4763"/>
            </a:xfrm>
            <a:custGeom>
              <a:avLst/>
              <a:gdLst>
                <a:gd name="T0" fmla="*/ 3 w 18"/>
                <a:gd name="T1" fmla="*/ 9 h 13"/>
                <a:gd name="T2" fmla="*/ 17 w 18"/>
                <a:gd name="T3" fmla="*/ 0 h 13"/>
                <a:gd name="T4" fmla="*/ 3 w 18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3" y="9"/>
                  </a:moveTo>
                  <a:cubicBezTo>
                    <a:pt x="8" y="12"/>
                    <a:pt x="14" y="6"/>
                    <a:pt x="17" y="0"/>
                  </a:cubicBezTo>
                  <a:cubicBezTo>
                    <a:pt x="11" y="3"/>
                    <a:pt x="0" y="3"/>
                    <a:pt x="3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2" name="Freeform 1183"/>
            <p:cNvSpPr>
              <a:spLocks noChangeArrowheads="1"/>
            </p:cNvSpPr>
            <p:nvPr/>
          </p:nvSpPr>
          <p:spPr bwMode="auto">
            <a:xfrm>
              <a:off x="4254500" y="2684463"/>
              <a:ext cx="3175" cy="4762"/>
            </a:xfrm>
            <a:custGeom>
              <a:avLst/>
              <a:gdLst>
                <a:gd name="T0" fmla="*/ 8 w 9"/>
                <a:gd name="T1" fmla="*/ 9 h 12"/>
                <a:gd name="T2" fmla="*/ 8 w 9"/>
                <a:gd name="T3" fmla="*/ 6 h 12"/>
                <a:gd name="T4" fmla="*/ 5 w 9"/>
                <a:gd name="T5" fmla="*/ 0 h 12"/>
                <a:gd name="T6" fmla="*/ 8 w 9"/>
                <a:gd name="T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9"/>
                  </a:moveTo>
                  <a:cubicBezTo>
                    <a:pt x="8" y="9"/>
                    <a:pt x="5" y="6"/>
                    <a:pt x="8" y="6"/>
                  </a:cubicBezTo>
                  <a:lnTo>
                    <a:pt x="5" y="0"/>
                  </a:lnTo>
                  <a:cubicBezTo>
                    <a:pt x="0" y="0"/>
                    <a:pt x="5" y="11"/>
                    <a:pt x="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3" name="Freeform 1184"/>
            <p:cNvSpPr>
              <a:spLocks noChangeArrowheads="1"/>
            </p:cNvSpPr>
            <p:nvPr/>
          </p:nvSpPr>
          <p:spPr bwMode="auto">
            <a:xfrm>
              <a:off x="4257675" y="2673350"/>
              <a:ext cx="6350" cy="4763"/>
            </a:xfrm>
            <a:custGeom>
              <a:avLst/>
              <a:gdLst>
                <a:gd name="T0" fmla="*/ 3 w 16"/>
                <a:gd name="T1" fmla="*/ 11 h 12"/>
                <a:gd name="T2" fmla="*/ 3 w 16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2">
                  <a:moveTo>
                    <a:pt x="3" y="11"/>
                  </a:moveTo>
                  <a:cubicBezTo>
                    <a:pt x="15" y="3"/>
                    <a:pt x="0" y="0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4" name="Freeform 1185"/>
            <p:cNvSpPr>
              <a:spLocks noChangeArrowheads="1"/>
            </p:cNvSpPr>
            <p:nvPr/>
          </p:nvSpPr>
          <p:spPr bwMode="auto">
            <a:xfrm>
              <a:off x="4260850" y="2674938"/>
              <a:ext cx="3175" cy="4762"/>
            </a:xfrm>
            <a:custGeom>
              <a:avLst/>
              <a:gdLst>
                <a:gd name="T0" fmla="*/ 6 w 7"/>
                <a:gd name="T1" fmla="*/ 8 h 15"/>
                <a:gd name="T2" fmla="*/ 6 w 7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6" y="8"/>
                  </a:moveTo>
                  <a:cubicBezTo>
                    <a:pt x="3" y="0"/>
                    <a:pt x="0" y="14"/>
                    <a:pt x="6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5" name="Freeform 1186"/>
            <p:cNvSpPr>
              <a:spLocks noChangeArrowheads="1"/>
            </p:cNvSpPr>
            <p:nvPr/>
          </p:nvSpPr>
          <p:spPr bwMode="auto">
            <a:xfrm>
              <a:off x="4264025" y="2681288"/>
              <a:ext cx="4763" cy="6350"/>
            </a:xfrm>
            <a:custGeom>
              <a:avLst/>
              <a:gdLst>
                <a:gd name="T0" fmla="*/ 3 w 12"/>
                <a:gd name="T1" fmla="*/ 0 h 18"/>
                <a:gd name="T2" fmla="*/ 3 w 12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3" y="0"/>
                  </a:moveTo>
                  <a:cubicBezTo>
                    <a:pt x="0" y="17"/>
                    <a:pt x="11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6" name="Freeform 1187"/>
            <p:cNvSpPr>
              <a:spLocks noChangeArrowheads="1"/>
            </p:cNvSpPr>
            <p:nvPr/>
          </p:nvSpPr>
          <p:spPr bwMode="auto">
            <a:xfrm>
              <a:off x="3992563" y="2719388"/>
              <a:ext cx="6350" cy="3175"/>
            </a:xfrm>
            <a:custGeom>
              <a:avLst/>
              <a:gdLst>
                <a:gd name="T0" fmla="*/ 0 w 18"/>
                <a:gd name="T1" fmla="*/ 8 h 9"/>
                <a:gd name="T2" fmla="*/ 0 w 18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0" y="8"/>
                  </a:moveTo>
                  <a:cubicBezTo>
                    <a:pt x="17" y="8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7" name="Freeform 1188"/>
            <p:cNvSpPr>
              <a:spLocks noChangeArrowheads="1"/>
            </p:cNvSpPr>
            <p:nvPr/>
          </p:nvSpPr>
          <p:spPr bwMode="auto">
            <a:xfrm>
              <a:off x="4187825" y="2687638"/>
              <a:ext cx="4763" cy="6350"/>
            </a:xfrm>
            <a:custGeom>
              <a:avLst/>
              <a:gdLst>
                <a:gd name="T0" fmla="*/ 0 w 12"/>
                <a:gd name="T1" fmla="*/ 9 h 16"/>
                <a:gd name="T2" fmla="*/ 11 w 12"/>
                <a:gd name="T3" fmla="*/ 12 h 16"/>
                <a:gd name="T4" fmla="*/ 0 w 12"/>
                <a:gd name="T5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6">
                  <a:moveTo>
                    <a:pt x="0" y="9"/>
                  </a:moveTo>
                  <a:cubicBezTo>
                    <a:pt x="2" y="12"/>
                    <a:pt x="8" y="15"/>
                    <a:pt x="11" y="12"/>
                  </a:cubicBezTo>
                  <a:cubicBezTo>
                    <a:pt x="8" y="6"/>
                    <a:pt x="2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8" name="Freeform 1189"/>
            <p:cNvSpPr>
              <a:spLocks noChangeArrowheads="1"/>
            </p:cNvSpPr>
            <p:nvPr/>
          </p:nvSpPr>
          <p:spPr bwMode="auto">
            <a:xfrm>
              <a:off x="4181475" y="2679700"/>
              <a:ext cx="4763" cy="6350"/>
            </a:xfrm>
            <a:custGeom>
              <a:avLst/>
              <a:gdLst>
                <a:gd name="T0" fmla="*/ 5 w 15"/>
                <a:gd name="T1" fmla="*/ 17 h 18"/>
                <a:gd name="T2" fmla="*/ 14 w 15"/>
                <a:gd name="T3" fmla="*/ 11 h 18"/>
                <a:gd name="T4" fmla="*/ 5 w 15"/>
                <a:gd name="T5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8">
                  <a:moveTo>
                    <a:pt x="5" y="17"/>
                  </a:moveTo>
                  <a:cubicBezTo>
                    <a:pt x="8" y="14"/>
                    <a:pt x="11" y="17"/>
                    <a:pt x="14" y="11"/>
                  </a:cubicBezTo>
                  <a:cubicBezTo>
                    <a:pt x="11" y="0"/>
                    <a:pt x="0" y="11"/>
                    <a:pt x="5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9" name="Freeform 1190"/>
            <p:cNvSpPr>
              <a:spLocks noChangeArrowheads="1"/>
            </p:cNvSpPr>
            <p:nvPr/>
          </p:nvSpPr>
          <p:spPr bwMode="auto">
            <a:xfrm>
              <a:off x="4189413" y="2667000"/>
              <a:ext cx="4762" cy="7938"/>
            </a:xfrm>
            <a:custGeom>
              <a:avLst/>
              <a:gdLst>
                <a:gd name="T0" fmla="*/ 0 w 15"/>
                <a:gd name="T1" fmla="*/ 3 h 24"/>
                <a:gd name="T2" fmla="*/ 0 w 15"/>
                <a:gd name="T3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0" y="3"/>
                  </a:moveTo>
                  <a:cubicBezTo>
                    <a:pt x="3" y="23"/>
                    <a:pt x="14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0" name="Freeform 1191"/>
            <p:cNvSpPr>
              <a:spLocks noChangeArrowheads="1"/>
            </p:cNvSpPr>
            <p:nvPr/>
          </p:nvSpPr>
          <p:spPr bwMode="auto">
            <a:xfrm>
              <a:off x="4194175" y="2659063"/>
              <a:ext cx="3175" cy="7937"/>
            </a:xfrm>
            <a:custGeom>
              <a:avLst/>
              <a:gdLst>
                <a:gd name="T0" fmla="*/ 9 w 10"/>
                <a:gd name="T1" fmla="*/ 12 h 21"/>
                <a:gd name="T2" fmla="*/ 9 w 10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9" y="12"/>
                  </a:moveTo>
                  <a:cubicBezTo>
                    <a:pt x="0" y="0"/>
                    <a:pt x="0" y="20"/>
                    <a:pt x="9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1" name="Freeform 1192"/>
            <p:cNvSpPr>
              <a:spLocks noChangeArrowheads="1"/>
            </p:cNvSpPr>
            <p:nvPr/>
          </p:nvSpPr>
          <p:spPr bwMode="auto">
            <a:xfrm>
              <a:off x="4225925" y="2668588"/>
              <a:ext cx="6350" cy="4762"/>
            </a:xfrm>
            <a:custGeom>
              <a:avLst/>
              <a:gdLst>
                <a:gd name="T0" fmla="*/ 17 w 18"/>
                <a:gd name="T1" fmla="*/ 8 h 15"/>
                <a:gd name="T2" fmla="*/ 11 w 18"/>
                <a:gd name="T3" fmla="*/ 0 h 15"/>
                <a:gd name="T4" fmla="*/ 17 w 18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7" y="8"/>
                  </a:moveTo>
                  <a:cubicBezTo>
                    <a:pt x="17" y="8"/>
                    <a:pt x="8" y="0"/>
                    <a:pt x="11" y="0"/>
                  </a:cubicBezTo>
                  <a:cubicBezTo>
                    <a:pt x="0" y="0"/>
                    <a:pt x="14" y="14"/>
                    <a:pt x="17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2" name="Freeform 1193"/>
            <p:cNvSpPr>
              <a:spLocks noChangeArrowheads="1"/>
            </p:cNvSpPr>
            <p:nvPr/>
          </p:nvSpPr>
          <p:spPr bwMode="auto">
            <a:xfrm>
              <a:off x="4235450" y="2670175"/>
              <a:ext cx="11113" cy="1588"/>
            </a:xfrm>
            <a:custGeom>
              <a:avLst/>
              <a:gdLst>
                <a:gd name="T0" fmla="*/ 14 w 30"/>
                <a:gd name="T1" fmla="*/ 3 h 4"/>
                <a:gd name="T2" fmla="*/ 14 w 30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0" h="4">
                  <a:moveTo>
                    <a:pt x="14" y="3"/>
                  </a:moveTo>
                  <a:cubicBezTo>
                    <a:pt x="29" y="0"/>
                    <a:pt x="0" y="0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3" name="Freeform 1194"/>
            <p:cNvSpPr>
              <a:spLocks noChangeArrowheads="1"/>
            </p:cNvSpPr>
            <p:nvPr/>
          </p:nvSpPr>
          <p:spPr bwMode="auto">
            <a:xfrm>
              <a:off x="4233863" y="2662238"/>
              <a:ext cx="4762" cy="4762"/>
            </a:xfrm>
            <a:custGeom>
              <a:avLst/>
              <a:gdLst>
                <a:gd name="T0" fmla="*/ 2 w 12"/>
                <a:gd name="T1" fmla="*/ 6 h 15"/>
                <a:gd name="T2" fmla="*/ 2 w 12"/>
                <a:gd name="T3" fmla="*/ 14 h 15"/>
                <a:gd name="T4" fmla="*/ 2 w 12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2" y="6"/>
                  </a:moveTo>
                  <a:cubicBezTo>
                    <a:pt x="5" y="8"/>
                    <a:pt x="0" y="11"/>
                    <a:pt x="2" y="14"/>
                  </a:cubicBezTo>
                  <a:cubicBezTo>
                    <a:pt x="11" y="14"/>
                    <a:pt x="8" y="0"/>
                    <a:pt x="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4" name="Freeform 1195"/>
            <p:cNvSpPr>
              <a:spLocks noChangeArrowheads="1"/>
            </p:cNvSpPr>
            <p:nvPr/>
          </p:nvSpPr>
          <p:spPr bwMode="auto">
            <a:xfrm>
              <a:off x="4238625" y="2663825"/>
              <a:ext cx="11113" cy="7938"/>
            </a:xfrm>
            <a:custGeom>
              <a:avLst/>
              <a:gdLst>
                <a:gd name="T0" fmla="*/ 19 w 32"/>
                <a:gd name="T1" fmla="*/ 17 h 20"/>
                <a:gd name="T2" fmla="*/ 25 w 32"/>
                <a:gd name="T3" fmla="*/ 0 h 20"/>
                <a:gd name="T4" fmla="*/ 0 w 32"/>
                <a:gd name="T5" fmla="*/ 8 h 20"/>
                <a:gd name="T6" fmla="*/ 19 w 32"/>
                <a:gd name="T7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0">
                  <a:moveTo>
                    <a:pt x="19" y="17"/>
                  </a:moveTo>
                  <a:cubicBezTo>
                    <a:pt x="8" y="5"/>
                    <a:pt x="31" y="11"/>
                    <a:pt x="25" y="0"/>
                  </a:cubicBezTo>
                  <a:cubicBezTo>
                    <a:pt x="17" y="11"/>
                    <a:pt x="8" y="0"/>
                    <a:pt x="0" y="8"/>
                  </a:cubicBezTo>
                  <a:cubicBezTo>
                    <a:pt x="5" y="11"/>
                    <a:pt x="14" y="19"/>
                    <a:pt x="19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5" name="Freeform 1196"/>
            <p:cNvSpPr>
              <a:spLocks noChangeArrowheads="1"/>
            </p:cNvSpPr>
            <p:nvPr/>
          </p:nvSpPr>
          <p:spPr bwMode="auto">
            <a:xfrm>
              <a:off x="4278313" y="2692400"/>
              <a:ext cx="3175" cy="7938"/>
            </a:xfrm>
            <a:custGeom>
              <a:avLst/>
              <a:gdLst>
                <a:gd name="T0" fmla="*/ 8 w 9"/>
                <a:gd name="T1" fmla="*/ 11 h 20"/>
                <a:gd name="T2" fmla="*/ 8 w 9"/>
                <a:gd name="T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8" y="11"/>
                  </a:moveTo>
                  <a:cubicBezTo>
                    <a:pt x="0" y="0"/>
                    <a:pt x="0" y="19"/>
                    <a:pt x="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6" name="Freeform 1197"/>
            <p:cNvSpPr>
              <a:spLocks noChangeArrowheads="1"/>
            </p:cNvSpPr>
            <p:nvPr/>
          </p:nvSpPr>
          <p:spPr bwMode="auto">
            <a:xfrm>
              <a:off x="4256088" y="2665413"/>
              <a:ext cx="3175" cy="7937"/>
            </a:xfrm>
            <a:custGeom>
              <a:avLst/>
              <a:gdLst>
                <a:gd name="T0" fmla="*/ 8 w 9"/>
                <a:gd name="T1" fmla="*/ 14 h 21"/>
                <a:gd name="T2" fmla="*/ 8 w 9"/>
                <a:gd name="T3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8" y="14"/>
                  </a:moveTo>
                  <a:cubicBezTo>
                    <a:pt x="0" y="0"/>
                    <a:pt x="0" y="20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7" name="Freeform 1198"/>
            <p:cNvSpPr>
              <a:spLocks noChangeArrowheads="1"/>
            </p:cNvSpPr>
            <p:nvPr/>
          </p:nvSpPr>
          <p:spPr bwMode="auto">
            <a:xfrm>
              <a:off x="4289425" y="2692400"/>
              <a:ext cx="4763" cy="4763"/>
            </a:xfrm>
            <a:custGeom>
              <a:avLst/>
              <a:gdLst>
                <a:gd name="T0" fmla="*/ 6 w 12"/>
                <a:gd name="T1" fmla="*/ 11 h 12"/>
                <a:gd name="T2" fmla="*/ 11 w 12"/>
                <a:gd name="T3" fmla="*/ 5 h 12"/>
                <a:gd name="T4" fmla="*/ 6 w 12"/>
                <a:gd name="T5" fmla="*/ 0 h 12"/>
                <a:gd name="T6" fmla="*/ 0 w 12"/>
                <a:gd name="T7" fmla="*/ 5 h 12"/>
                <a:gd name="T8" fmla="*/ 6 w 12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11"/>
                  </a:moveTo>
                  <a:lnTo>
                    <a:pt x="11" y="5"/>
                  </a:lnTo>
                  <a:lnTo>
                    <a:pt x="6" y="0"/>
                  </a:lnTo>
                  <a:lnTo>
                    <a:pt x="0" y="5"/>
                  </a:lnTo>
                  <a:lnTo>
                    <a:pt x="6" y="11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8" name="Freeform 1199"/>
            <p:cNvSpPr>
              <a:spLocks noChangeArrowheads="1"/>
            </p:cNvSpPr>
            <p:nvPr/>
          </p:nvSpPr>
          <p:spPr bwMode="auto">
            <a:xfrm>
              <a:off x="4265613" y="2667000"/>
              <a:ext cx="4762" cy="4763"/>
            </a:xfrm>
            <a:custGeom>
              <a:avLst/>
              <a:gdLst>
                <a:gd name="T0" fmla="*/ 0 w 15"/>
                <a:gd name="T1" fmla="*/ 6 h 15"/>
                <a:gd name="T2" fmla="*/ 6 w 15"/>
                <a:gd name="T3" fmla="*/ 14 h 15"/>
                <a:gd name="T4" fmla="*/ 0 w 15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0" y="6"/>
                  </a:moveTo>
                  <a:cubicBezTo>
                    <a:pt x="3" y="9"/>
                    <a:pt x="0" y="11"/>
                    <a:pt x="6" y="14"/>
                  </a:cubicBezTo>
                  <a:cubicBezTo>
                    <a:pt x="14" y="14"/>
                    <a:pt x="3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9" name="Freeform 1200"/>
            <p:cNvSpPr>
              <a:spLocks noChangeArrowheads="1"/>
            </p:cNvSpPr>
            <p:nvPr/>
          </p:nvSpPr>
          <p:spPr bwMode="auto">
            <a:xfrm>
              <a:off x="4284663" y="2684463"/>
              <a:ext cx="1587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0" name="Freeform 1201"/>
            <p:cNvSpPr>
              <a:spLocks noChangeArrowheads="1"/>
            </p:cNvSpPr>
            <p:nvPr/>
          </p:nvSpPr>
          <p:spPr bwMode="auto">
            <a:xfrm>
              <a:off x="4265613" y="2659063"/>
              <a:ext cx="3175" cy="7937"/>
            </a:xfrm>
            <a:custGeom>
              <a:avLst/>
              <a:gdLst>
                <a:gd name="T0" fmla="*/ 8 w 9"/>
                <a:gd name="T1" fmla="*/ 12 h 21"/>
                <a:gd name="T2" fmla="*/ 8 w 9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8" y="12"/>
                  </a:moveTo>
                  <a:cubicBezTo>
                    <a:pt x="0" y="0"/>
                    <a:pt x="0" y="20"/>
                    <a:pt x="8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1" name="Freeform 1202"/>
            <p:cNvSpPr>
              <a:spLocks noChangeArrowheads="1"/>
            </p:cNvSpPr>
            <p:nvPr/>
          </p:nvSpPr>
          <p:spPr bwMode="auto">
            <a:xfrm>
              <a:off x="4279900" y="2673350"/>
              <a:ext cx="7938" cy="4763"/>
            </a:xfrm>
            <a:custGeom>
              <a:avLst/>
              <a:gdLst>
                <a:gd name="T0" fmla="*/ 20 w 21"/>
                <a:gd name="T1" fmla="*/ 9 h 15"/>
                <a:gd name="T2" fmla="*/ 6 w 21"/>
                <a:gd name="T3" fmla="*/ 9 h 15"/>
                <a:gd name="T4" fmla="*/ 20 w 21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5">
                  <a:moveTo>
                    <a:pt x="20" y="9"/>
                  </a:moveTo>
                  <a:cubicBezTo>
                    <a:pt x="17" y="0"/>
                    <a:pt x="0" y="0"/>
                    <a:pt x="6" y="9"/>
                  </a:cubicBezTo>
                  <a:cubicBezTo>
                    <a:pt x="9" y="3"/>
                    <a:pt x="14" y="14"/>
                    <a:pt x="2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2" name="Freeform 1203"/>
            <p:cNvSpPr>
              <a:spLocks noChangeArrowheads="1"/>
            </p:cNvSpPr>
            <p:nvPr/>
          </p:nvSpPr>
          <p:spPr bwMode="auto">
            <a:xfrm>
              <a:off x="4314825" y="2698750"/>
              <a:ext cx="7938" cy="3175"/>
            </a:xfrm>
            <a:custGeom>
              <a:avLst/>
              <a:gdLst>
                <a:gd name="T0" fmla="*/ 0 w 21"/>
                <a:gd name="T1" fmla="*/ 3 h 10"/>
                <a:gd name="T2" fmla="*/ 20 w 21"/>
                <a:gd name="T3" fmla="*/ 6 h 10"/>
                <a:gd name="T4" fmla="*/ 0 w 21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0">
                  <a:moveTo>
                    <a:pt x="0" y="3"/>
                  </a:moveTo>
                  <a:cubicBezTo>
                    <a:pt x="6" y="9"/>
                    <a:pt x="14" y="9"/>
                    <a:pt x="20" y="6"/>
                  </a:cubicBezTo>
                  <a:cubicBezTo>
                    <a:pt x="14" y="3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3" name="Freeform 1204"/>
            <p:cNvSpPr>
              <a:spLocks noChangeArrowheads="1"/>
            </p:cNvSpPr>
            <p:nvPr/>
          </p:nvSpPr>
          <p:spPr bwMode="auto">
            <a:xfrm>
              <a:off x="4294188" y="2678113"/>
              <a:ext cx="4762" cy="7937"/>
            </a:xfrm>
            <a:custGeom>
              <a:avLst/>
              <a:gdLst>
                <a:gd name="T0" fmla="*/ 11 w 15"/>
                <a:gd name="T1" fmla="*/ 14 h 21"/>
                <a:gd name="T2" fmla="*/ 11 w 15"/>
                <a:gd name="T3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11" y="14"/>
                  </a:moveTo>
                  <a:cubicBezTo>
                    <a:pt x="14" y="0"/>
                    <a:pt x="0" y="20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4" name="Freeform 1205"/>
            <p:cNvSpPr>
              <a:spLocks noChangeArrowheads="1"/>
            </p:cNvSpPr>
            <p:nvPr/>
          </p:nvSpPr>
          <p:spPr bwMode="auto">
            <a:xfrm>
              <a:off x="4268788" y="2655888"/>
              <a:ext cx="7937" cy="4762"/>
            </a:xfrm>
            <a:custGeom>
              <a:avLst/>
              <a:gdLst>
                <a:gd name="T0" fmla="*/ 9 w 24"/>
                <a:gd name="T1" fmla="*/ 14 h 15"/>
                <a:gd name="T2" fmla="*/ 9 w 24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15">
                  <a:moveTo>
                    <a:pt x="9" y="14"/>
                  </a:moveTo>
                  <a:cubicBezTo>
                    <a:pt x="23" y="0"/>
                    <a:pt x="0" y="3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5" name="Freeform 1206"/>
            <p:cNvSpPr>
              <a:spLocks noChangeArrowheads="1"/>
            </p:cNvSpPr>
            <p:nvPr/>
          </p:nvSpPr>
          <p:spPr bwMode="auto">
            <a:xfrm>
              <a:off x="4284663" y="2667000"/>
              <a:ext cx="3175" cy="7938"/>
            </a:xfrm>
            <a:custGeom>
              <a:avLst/>
              <a:gdLst>
                <a:gd name="T0" fmla="*/ 9 w 10"/>
                <a:gd name="T1" fmla="*/ 11 h 21"/>
                <a:gd name="T2" fmla="*/ 9 w 10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9" y="11"/>
                  </a:moveTo>
                  <a:cubicBezTo>
                    <a:pt x="0" y="0"/>
                    <a:pt x="3" y="20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6" name="Freeform 1207"/>
            <p:cNvSpPr>
              <a:spLocks noChangeArrowheads="1"/>
            </p:cNvSpPr>
            <p:nvPr/>
          </p:nvSpPr>
          <p:spPr bwMode="auto">
            <a:xfrm>
              <a:off x="4291013" y="2667000"/>
              <a:ext cx="3175" cy="7938"/>
            </a:xfrm>
            <a:custGeom>
              <a:avLst/>
              <a:gdLst>
                <a:gd name="T0" fmla="*/ 9 w 10"/>
                <a:gd name="T1" fmla="*/ 11 h 21"/>
                <a:gd name="T2" fmla="*/ 9 w 10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9" y="11"/>
                  </a:moveTo>
                  <a:cubicBezTo>
                    <a:pt x="0" y="0"/>
                    <a:pt x="3" y="20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7" name="Freeform 1208"/>
            <p:cNvSpPr>
              <a:spLocks noChangeArrowheads="1"/>
            </p:cNvSpPr>
            <p:nvPr/>
          </p:nvSpPr>
          <p:spPr bwMode="auto">
            <a:xfrm>
              <a:off x="4310063" y="2673350"/>
              <a:ext cx="3175" cy="7938"/>
            </a:xfrm>
            <a:custGeom>
              <a:avLst/>
              <a:gdLst>
                <a:gd name="T0" fmla="*/ 9 w 10"/>
                <a:gd name="T1" fmla="*/ 11 h 21"/>
                <a:gd name="T2" fmla="*/ 9 w 10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9" y="11"/>
                  </a:moveTo>
                  <a:cubicBezTo>
                    <a:pt x="0" y="0"/>
                    <a:pt x="0" y="20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8" name="Freeform 1209"/>
            <p:cNvSpPr>
              <a:spLocks noChangeArrowheads="1"/>
            </p:cNvSpPr>
            <p:nvPr/>
          </p:nvSpPr>
          <p:spPr bwMode="auto">
            <a:xfrm>
              <a:off x="4321175" y="2679700"/>
              <a:ext cx="4763" cy="7938"/>
            </a:xfrm>
            <a:custGeom>
              <a:avLst/>
              <a:gdLst>
                <a:gd name="T0" fmla="*/ 11 w 12"/>
                <a:gd name="T1" fmla="*/ 14 h 21"/>
                <a:gd name="T2" fmla="*/ 0 w 12"/>
                <a:gd name="T3" fmla="*/ 6 h 21"/>
                <a:gd name="T4" fmla="*/ 11 w 12"/>
                <a:gd name="T5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1">
                  <a:moveTo>
                    <a:pt x="11" y="14"/>
                  </a:moveTo>
                  <a:cubicBezTo>
                    <a:pt x="6" y="11"/>
                    <a:pt x="9" y="0"/>
                    <a:pt x="0" y="6"/>
                  </a:cubicBezTo>
                  <a:cubicBezTo>
                    <a:pt x="3" y="8"/>
                    <a:pt x="6" y="20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9" name="Freeform 1210"/>
            <p:cNvSpPr>
              <a:spLocks noChangeArrowheads="1"/>
            </p:cNvSpPr>
            <p:nvPr/>
          </p:nvSpPr>
          <p:spPr bwMode="auto">
            <a:xfrm>
              <a:off x="4305300" y="2665413"/>
              <a:ext cx="4763" cy="4762"/>
            </a:xfrm>
            <a:custGeom>
              <a:avLst/>
              <a:gdLst>
                <a:gd name="T0" fmla="*/ 14 w 15"/>
                <a:gd name="T1" fmla="*/ 8 h 15"/>
                <a:gd name="T2" fmla="*/ 11 w 15"/>
                <a:gd name="T3" fmla="*/ 0 h 15"/>
                <a:gd name="T4" fmla="*/ 14 w 15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8"/>
                  </a:moveTo>
                  <a:cubicBezTo>
                    <a:pt x="11" y="5"/>
                    <a:pt x="14" y="2"/>
                    <a:pt x="11" y="0"/>
                  </a:cubicBezTo>
                  <a:cubicBezTo>
                    <a:pt x="0" y="0"/>
                    <a:pt x="6" y="14"/>
                    <a:pt x="1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0" name="Freeform 1211"/>
            <p:cNvSpPr>
              <a:spLocks noChangeArrowheads="1"/>
            </p:cNvSpPr>
            <p:nvPr/>
          </p:nvSpPr>
          <p:spPr bwMode="auto">
            <a:xfrm>
              <a:off x="4173538" y="2670175"/>
              <a:ext cx="7937" cy="6350"/>
            </a:xfrm>
            <a:custGeom>
              <a:avLst/>
              <a:gdLst>
                <a:gd name="T0" fmla="*/ 23 w 24"/>
                <a:gd name="T1" fmla="*/ 9 h 18"/>
                <a:gd name="T2" fmla="*/ 3 w 24"/>
                <a:gd name="T3" fmla="*/ 9 h 18"/>
                <a:gd name="T4" fmla="*/ 23 w 24"/>
                <a:gd name="T5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8">
                  <a:moveTo>
                    <a:pt x="23" y="9"/>
                  </a:moveTo>
                  <a:cubicBezTo>
                    <a:pt x="17" y="6"/>
                    <a:pt x="0" y="0"/>
                    <a:pt x="3" y="9"/>
                  </a:cubicBezTo>
                  <a:cubicBezTo>
                    <a:pt x="8" y="3"/>
                    <a:pt x="17" y="17"/>
                    <a:pt x="23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1" name="Freeform 1212"/>
            <p:cNvSpPr>
              <a:spLocks noChangeArrowheads="1"/>
            </p:cNvSpPr>
            <p:nvPr/>
          </p:nvSpPr>
          <p:spPr bwMode="auto">
            <a:xfrm>
              <a:off x="4192588" y="2678113"/>
              <a:ext cx="7937" cy="6350"/>
            </a:xfrm>
            <a:custGeom>
              <a:avLst/>
              <a:gdLst>
                <a:gd name="T0" fmla="*/ 19 w 20"/>
                <a:gd name="T1" fmla="*/ 12 h 18"/>
                <a:gd name="T2" fmla="*/ 2 w 20"/>
                <a:gd name="T3" fmla="*/ 9 h 18"/>
                <a:gd name="T4" fmla="*/ 19 w 20"/>
                <a:gd name="T5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8">
                  <a:moveTo>
                    <a:pt x="19" y="12"/>
                  </a:moveTo>
                  <a:cubicBezTo>
                    <a:pt x="14" y="0"/>
                    <a:pt x="0" y="3"/>
                    <a:pt x="2" y="9"/>
                  </a:cubicBezTo>
                  <a:cubicBezTo>
                    <a:pt x="8" y="3"/>
                    <a:pt x="14" y="17"/>
                    <a:pt x="19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2" name="Freeform 1213"/>
            <p:cNvSpPr>
              <a:spLocks noChangeArrowheads="1"/>
            </p:cNvSpPr>
            <p:nvPr/>
          </p:nvSpPr>
          <p:spPr bwMode="auto">
            <a:xfrm>
              <a:off x="4273550" y="2679700"/>
              <a:ext cx="11113" cy="9525"/>
            </a:xfrm>
            <a:custGeom>
              <a:avLst/>
              <a:gdLst>
                <a:gd name="T0" fmla="*/ 0 w 29"/>
                <a:gd name="T1" fmla="*/ 6 h 26"/>
                <a:gd name="T2" fmla="*/ 5 w 29"/>
                <a:gd name="T3" fmla="*/ 14 h 26"/>
                <a:gd name="T4" fmla="*/ 25 w 29"/>
                <a:gd name="T5" fmla="*/ 17 h 26"/>
                <a:gd name="T6" fmla="*/ 28 w 29"/>
                <a:gd name="T7" fmla="*/ 8 h 26"/>
                <a:gd name="T8" fmla="*/ 0 w 29"/>
                <a:gd name="T9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6">
                  <a:moveTo>
                    <a:pt x="0" y="6"/>
                  </a:moveTo>
                  <a:cubicBezTo>
                    <a:pt x="2" y="8"/>
                    <a:pt x="5" y="11"/>
                    <a:pt x="5" y="14"/>
                  </a:cubicBezTo>
                  <a:cubicBezTo>
                    <a:pt x="11" y="0"/>
                    <a:pt x="19" y="25"/>
                    <a:pt x="25" y="17"/>
                  </a:cubicBezTo>
                  <a:cubicBezTo>
                    <a:pt x="22" y="14"/>
                    <a:pt x="25" y="11"/>
                    <a:pt x="28" y="8"/>
                  </a:cubicBezTo>
                  <a:cubicBezTo>
                    <a:pt x="19" y="3"/>
                    <a:pt x="11" y="11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3" name="Freeform 1214"/>
            <p:cNvSpPr>
              <a:spLocks noChangeArrowheads="1"/>
            </p:cNvSpPr>
            <p:nvPr/>
          </p:nvSpPr>
          <p:spPr bwMode="auto">
            <a:xfrm>
              <a:off x="4297363" y="2698750"/>
              <a:ext cx="11112" cy="7938"/>
            </a:xfrm>
            <a:custGeom>
              <a:avLst/>
              <a:gdLst>
                <a:gd name="T0" fmla="*/ 0 w 32"/>
                <a:gd name="T1" fmla="*/ 6 h 24"/>
                <a:gd name="T2" fmla="*/ 31 w 32"/>
                <a:gd name="T3" fmla="*/ 17 h 24"/>
                <a:gd name="T4" fmla="*/ 0 w 32"/>
                <a:gd name="T5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" h="24">
                  <a:moveTo>
                    <a:pt x="0" y="6"/>
                  </a:moveTo>
                  <a:cubicBezTo>
                    <a:pt x="9" y="15"/>
                    <a:pt x="31" y="23"/>
                    <a:pt x="31" y="17"/>
                  </a:cubicBezTo>
                  <a:cubicBezTo>
                    <a:pt x="20" y="17"/>
                    <a:pt x="9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4" name="Freeform 1215"/>
            <p:cNvSpPr>
              <a:spLocks noChangeArrowheads="1"/>
            </p:cNvSpPr>
            <p:nvPr/>
          </p:nvSpPr>
          <p:spPr bwMode="auto">
            <a:xfrm>
              <a:off x="4303713" y="2687638"/>
              <a:ext cx="7937" cy="7937"/>
            </a:xfrm>
            <a:custGeom>
              <a:avLst/>
              <a:gdLst>
                <a:gd name="T0" fmla="*/ 0 w 24"/>
                <a:gd name="T1" fmla="*/ 11 h 20"/>
                <a:gd name="T2" fmla="*/ 17 w 24"/>
                <a:gd name="T3" fmla="*/ 17 h 20"/>
                <a:gd name="T4" fmla="*/ 23 w 24"/>
                <a:gd name="T5" fmla="*/ 8 h 20"/>
                <a:gd name="T6" fmla="*/ 0 w 24"/>
                <a:gd name="T7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0">
                  <a:moveTo>
                    <a:pt x="0" y="11"/>
                  </a:moveTo>
                  <a:cubicBezTo>
                    <a:pt x="6" y="19"/>
                    <a:pt x="11" y="8"/>
                    <a:pt x="17" y="17"/>
                  </a:cubicBezTo>
                  <a:lnTo>
                    <a:pt x="23" y="8"/>
                  </a:lnTo>
                  <a:cubicBezTo>
                    <a:pt x="11" y="0"/>
                    <a:pt x="14" y="14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5" name="Freeform 1216"/>
            <p:cNvSpPr>
              <a:spLocks noChangeArrowheads="1"/>
            </p:cNvSpPr>
            <p:nvPr/>
          </p:nvSpPr>
          <p:spPr bwMode="auto">
            <a:xfrm>
              <a:off x="4178300" y="2667000"/>
              <a:ext cx="4763" cy="11113"/>
            </a:xfrm>
            <a:custGeom>
              <a:avLst/>
              <a:gdLst>
                <a:gd name="T0" fmla="*/ 0 w 15"/>
                <a:gd name="T1" fmla="*/ 8 h 29"/>
                <a:gd name="T2" fmla="*/ 0 w 15"/>
                <a:gd name="T3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9">
                  <a:moveTo>
                    <a:pt x="0" y="8"/>
                  </a:moveTo>
                  <a:cubicBezTo>
                    <a:pt x="3" y="28"/>
                    <a:pt x="14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6" name="Freeform 1217"/>
            <p:cNvSpPr>
              <a:spLocks noChangeArrowheads="1"/>
            </p:cNvSpPr>
            <p:nvPr/>
          </p:nvSpPr>
          <p:spPr bwMode="auto">
            <a:xfrm>
              <a:off x="4197350" y="2676525"/>
              <a:ext cx="6350" cy="4763"/>
            </a:xfrm>
            <a:custGeom>
              <a:avLst/>
              <a:gdLst>
                <a:gd name="T0" fmla="*/ 8 w 18"/>
                <a:gd name="T1" fmla="*/ 12 h 13"/>
                <a:gd name="T2" fmla="*/ 8 w 18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8" y="12"/>
                  </a:moveTo>
                  <a:cubicBezTo>
                    <a:pt x="17" y="0"/>
                    <a:pt x="0" y="9"/>
                    <a:pt x="8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7" name="Freeform 1218"/>
            <p:cNvSpPr>
              <a:spLocks noChangeArrowheads="1"/>
            </p:cNvSpPr>
            <p:nvPr/>
          </p:nvSpPr>
          <p:spPr bwMode="auto">
            <a:xfrm>
              <a:off x="4241800" y="2667000"/>
              <a:ext cx="6350" cy="4763"/>
            </a:xfrm>
            <a:custGeom>
              <a:avLst/>
              <a:gdLst>
                <a:gd name="T0" fmla="*/ 6 w 18"/>
                <a:gd name="T1" fmla="*/ 14 h 15"/>
                <a:gd name="T2" fmla="*/ 17 w 18"/>
                <a:gd name="T3" fmla="*/ 3 h 15"/>
                <a:gd name="T4" fmla="*/ 0 w 18"/>
                <a:gd name="T5" fmla="*/ 8 h 15"/>
                <a:gd name="T6" fmla="*/ 6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6" y="14"/>
                  </a:moveTo>
                  <a:cubicBezTo>
                    <a:pt x="9" y="8"/>
                    <a:pt x="17" y="14"/>
                    <a:pt x="17" y="3"/>
                  </a:cubicBezTo>
                  <a:cubicBezTo>
                    <a:pt x="9" y="0"/>
                    <a:pt x="6" y="3"/>
                    <a:pt x="0" y="8"/>
                  </a:cubicBezTo>
                  <a:cubicBezTo>
                    <a:pt x="6" y="8"/>
                    <a:pt x="3" y="11"/>
                    <a:pt x="6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8" name="Freeform 1219"/>
            <p:cNvSpPr>
              <a:spLocks noChangeArrowheads="1"/>
            </p:cNvSpPr>
            <p:nvPr/>
          </p:nvSpPr>
          <p:spPr bwMode="auto">
            <a:xfrm>
              <a:off x="4351338" y="2647950"/>
              <a:ext cx="6350" cy="4763"/>
            </a:xfrm>
            <a:custGeom>
              <a:avLst/>
              <a:gdLst>
                <a:gd name="T0" fmla="*/ 6 w 18"/>
                <a:gd name="T1" fmla="*/ 14 h 15"/>
                <a:gd name="T2" fmla="*/ 17 w 18"/>
                <a:gd name="T3" fmla="*/ 2 h 15"/>
                <a:gd name="T4" fmla="*/ 0 w 18"/>
                <a:gd name="T5" fmla="*/ 8 h 15"/>
                <a:gd name="T6" fmla="*/ 6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6" y="14"/>
                  </a:moveTo>
                  <a:cubicBezTo>
                    <a:pt x="8" y="8"/>
                    <a:pt x="17" y="14"/>
                    <a:pt x="17" y="2"/>
                  </a:cubicBezTo>
                  <a:cubicBezTo>
                    <a:pt x="8" y="0"/>
                    <a:pt x="6" y="2"/>
                    <a:pt x="0" y="8"/>
                  </a:cubicBezTo>
                  <a:cubicBezTo>
                    <a:pt x="6" y="11"/>
                    <a:pt x="3" y="14"/>
                    <a:pt x="6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9" name="Freeform 1220"/>
            <p:cNvSpPr>
              <a:spLocks noChangeArrowheads="1"/>
            </p:cNvSpPr>
            <p:nvPr/>
          </p:nvSpPr>
          <p:spPr bwMode="auto">
            <a:xfrm>
              <a:off x="4251325" y="2665413"/>
              <a:ext cx="6350" cy="4762"/>
            </a:xfrm>
            <a:custGeom>
              <a:avLst/>
              <a:gdLst>
                <a:gd name="T0" fmla="*/ 9 w 18"/>
                <a:gd name="T1" fmla="*/ 11 h 12"/>
                <a:gd name="T2" fmla="*/ 9 w 18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9" y="11"/>
                  </a:moveTo>
                  <a:cubicBezTo>
                    <a:pt x="17" y="0"/>
                    <a:pt x="0" y="5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0" name="Freeform 1221"/>
            <p:cNvSpPr>
              <a:spLocks noChangeArrowheads="1"/>
            </p:cNvSpPr>
            <p:nvPr/>
          </p:nvSpPr>
          <p:spPr bwMode="auto">
            <a:xfrm>
              <a:off x="4265613" y="2665413"/>
              <a:ext cx="7937" cy="4762"/>
            </a:xfrm>
            <a:custGeom>
              <a:avLst/>
              <a:gdLst>
                <a:gd name="T0" fmla="*/ 8 w 21"/>
                <a:gd name="T1" fmla="*/ 11 h 12"/>
                <a:gd name="T2" fmla="*/ 8 w 21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2">
                  <a:moveTo>
                    <a:pt x="8" y="11"/>
                  </a:moveTo>
                  <a:cubicBezTo>
                    <a:pt x="20" y="11"/>
                    <a:pt x="0" y="0"/>
                    <a:pt x="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1" name="Freeform 1222"/>
            <p:cNvSpPr>
              <a:spLocks noChangeArrowheads="1"/>
            </p:cNvSpPr>
            <p:nvPr/>
          </p:nvSpPr>
          <p:spPr bwMode="auto">
            <a:xfrm>
              <a:off x="4165600" y="2674938"/>
              <a:ext cx="4763" cy="4762"/>
            </a:xfrm>
            <a:custGeom>
              <a:avLst/>
              <a:gdLst>
                <a:gd name="T0" fmla="*/ 0 w 13"/>
                <a:gd name="T1" fmla="*/ 8 h 15"/>
                <a:gd name="T2" fmla="*/ 0 w 13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8"/>
                  </a:moveTo>
                  <a:cubicBezTo>
                    <a:pt x="12" y="14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2" name="Freeform 1223"/>
            <p:cNvSpPr>
              <a:spLocks noChangeArrowheads="1"/>
            </p:cNvSpPr>
            <p:nvPr/>
          </p:nvSpPr>
          <p:spPr bwMode="auto">
            <a:xfrm>
              <a:off x="4146550" y="2679700"/>
              <a:ext cx="4763" cy="4763"/>
            </a:xfrm>
            <a:custGeom>
              <a:avLst/>
              <a:gdLst>
                <a:gd name="T0" fmla="*/ 0 w 15"/>
                <a:gd name="T1" fmla="*/ 8 h 12"/>
                <a:gd name="T2" fmla="*/ 3 w 15"/>
                <a:gd name="T3" fmla="*/ 11 h 12"/>
                <a:gd name="T4" fmla="*/ 8 w 15"/>
                <a:gd name="T5" fmla="*/ 11 h 12"/>
                <a:gd name="T6" fmla="*/ 0 w 15"/>
                <a:gd name="T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2">
                  <a:moveTo>
                    <a:pt x="0" y="8"/>
                  </a:moveTo>
                  <a:cubicBezTo>
                    <a:pt x="3" y="8"/>
                    <a:pt x="3" y="8"/>
                    <a:pt x="3" y="11"/>
                  </a:cubicBezTo>
                  <a:lnTo>
                    <a:pt x="8" y="11"/>
                  </a:lnTo>
                  <a:cubicBezTo>
                    <a:pt x="14" y="6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3" name="Freeform 1224"/>
            <p:cNvSpPr>
              <a:spLocks noChangeArrowheads="1"/>
            </p:cNvSpPr>
            <p:nvPr/>
          </p:nvSpPr>
          <p:spPr bwMode="auto">
            <a:xfrm>
              <a:off x="4167188" y="2686050"/>
              <a:ext cx="4762" cy="4763"/>
            </a:xfrm>
            <a:custGeom>
              <a:avLst/>
              <a:gdLst>
                <a:gd name="T0" fmla="*/ 0 w 13"/>
                <a:gd name="T1" fmla="*/ 8 h 15"/>
                <a:gd name="T2" fmla="*/ 0 w 13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8"/>
                  </a:moveTo>
                  <a:cubicBezTo>
                    <a:pt x="12" y="14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4" name="Freeform 1225"/>
            <p:cNvSpPr>
              <a:spLocks noChangeArrowheads="1"/>
            </p:cNvSpPr>
            <p:nvPr/>
          </p:nvSpPr>
          <p:spPr bwMode="auto">
            <a:xfrm>
              <a:off x="4121150" y="2678113"/>
              <a:ext cx="3175" cy="7937"/>
            </a:xfrm>
            <a:custGeom>
              <a:avLst/>
              <a:gdLst>
                <a:gd name="T0" fmla="*/ 0 w 7"/>
                <a:gd name="T1" fmla="*/ 9 h 24"/>
                <a:gd name="T2" fmla="*/ 0 w 7"/>
                <a:gd name="T3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4">
                  <a:moveTo>
                    <a:pt x="0" y="9"/>
                  </a:moveTo>
                  <a:cubicBezTo>
                    <a:pt x="6" y="23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5" name="Freeform 1226"/>
            <p:cNvSpPr>
              <a:spLocks noChangeArrowheads="1"/>
            </p:cNvSpPr>
            <p:nvPr/>
          </p:nvSpPr>
          <p:spPr bwMode="auto">
            <a:xfrm>
              <a:off x="4141788" y="2686050"/>
              <a:ext cx="6350" cy="4763"/>
            </a:xfrm>
            <a:custGeom>
              <a:avLst/>
              <a:gdLst>
                <a:gd name="T0" fmla="*/ 5 w 17"/>
                <a:gd name="T1" fmla="*/ 0 h 12"/>
                <a:gd name="T2" fmla="*/ 16 w 17"/>
                <a:gd name="T3" fmla="*/ 11 h 12"/>
                <a:gd name="T4" fmla="*/ 5 w 1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2">
                  <a:moveTo>
                    <a:pt x="5" y="0"/>
                  </a:moveTo>
                  <a:cubicBezTo>
                    <a:pt x="0" y="8"/>
                    <a:pt x="8" y="11"/>
                    <a:pt x="16" y="11"/>
                  </a:cubicBezTo>
                  <a:cubicBezTo>
                    <a:pt x="16" y="3"/>
                    <a:pt x="14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6" name="Freeform 1227"/>
            <p:cNvSpPr>
              <a:spLocks noChangeArrowheads="1"/>
            </p:cNvSpPr>
            <p:nvPr/>
          </p:nvSpPr>
          <p:spPr bwMode="auto">
            <a:xfrm>
              <a:off x="4156075" y="2687638"/>
              <a:ext cx="4763" cy="6350"/>
            </a:xfrm>
            <a:custGeom>
              <a:avLst/>
              <a:gdLst>
                <a:gd name="T0" fmla="*/ 3 w 15"/>
                <a:gd name="T1" fmla="*/ 0 h 16"/>
                <a:gd name="T2" fmla="*/ 6 w 15"/>
                <a:gd name="T3" fmla="*/ 15 h 16"/>
                <a:gd name="T4" fmla="*/ 3 w 15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3" y="0"/>
                  </a:moveTo>
                  <a:cubicBezTo>
                    <a:pt x="0" y="6"/>
                    <a:pt x="0" y="12"/>
                    <a:pt x="6" y="15"/>
                  </a:cubicBezTo>
                  <a:cubicBezTo>
                    <a:pt x="3" y="6"/>
                    <a:pt x="14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7" name="Freeform 1228"/>
            <p:cNvSpPr>
              <a:spLocks noChangeArrowheads="1"/>
            </p:cNvSpPr>
            <p:nvPr/>
          </p:nvSpPr>
          <p:spPr bwMode="auto">
            <a:xfrm>
              <a:off x="4162425" y="2690813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8" name="Freeform 1229"/>
            <p:cNvSpPr>
              <a:spLocks noChangeArrowheads="1"/>
            </p:cNvSpPr>
            <p:nvPr/>
          </p:nvSpPr>
          <p:spPr bwMode="auto">
            <a:xfrm>
              <a:off x="4165600" y="2689225"/>
              <a:ext cx="6350" cy="4763"/>
            </a:xfrm>
            <a:custGeom>
              <a:avLst/>
              <a:gdLst>
                <a:gd name="T0" fmla="*/ 0 w 18"/>
                <a:gd name="T1" fmla="*/ 6 h 12"/>
                <a:gd name="T2" fmla="*/ 17 w 18"/>
                <a:gd name="T3" fmla="*/ 6 h 12"/>
                <a:gd name="T4" fmla="*/ 0 w 18"/>
                <a:gd name="T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0" y="6"/>
                  </a:moveTo>
                  <a:cubicBezTo>
                    <a:pt x="5" y="6"/>
                    <a:pt x="14" y="11"/>
                    <a:pt x="17" y="6"/>
                  </a:cubicBezTo>
                  <a:cubicBezTo>
                    <a:pt x="11" y="6"/>
                    <a:pt x="2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9" name="Freeform 1230"/>
            <p:cNvSpPr>
              <a:spLocks noChangeArrowheads="1"/>
            </p:cNvSpPr>
            <p:nvPr/>
          </p:nvSpPr>
          <p:spPr bwMode="auto">
            <a:xfrm>
              <a:off x="4095750" y="2676525"/>
              <a:ext cx="4763" cy="6350"/>
            </a:xfrm>
            <a:custGeom>
              <a:avLst/>
              <a:gdLst>
                <a:gd name="T0" fmla="*/ 0 w 12"/>
                <a:gd name="T1" fmla="*/ 9 h 16"/>
                <a:gd name="T2" fmla="*/ 0 w 12"/>
                <a:gd name="T3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6">
                  <a:moveTo>
                    <a:pt x="0" y="9"/>
                  </a:moveTo>
                  <a:cubicBezTo>
                    <a:pt x="11" y="15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0" name="Freeform 1231"/>
            <p:cNvSpPr>
              <a:spLocks noChangeArrowheads="1"/>
            </p:cNvSpPr>
            <p:nvPr/>
          </p:nvSpPr>
          <p:spPr bwMode="auto">
            <a:xfrm>
              <a:off x="4124325" y="2684463"/>
              <a:ext cx="3175" cy="3175"/>
            </a:xfrm>
            <a:custGeom>
              <a:avLst/>
              <a:gdLst>
                <a:gd name="T0" fmla="*/ 0 w 11"/>
                <a:gd name="T1" fmla="*/ 9 h 10"/>
                <a:gd name="T2" fmla="*/ 10 w 11"/>
                <a:gd name="T3" fmla="*/ 3 h 10"/>
                <a:gd name="T4" fmla="*/ 0 w 11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0">
                  <a:moveTo>
                    <a:pt x="0" y="9"/>
                  </a:moveTo>
                  <a:cubicBezTo>
                    <a:pt x="3" y="9"/>
                    <a:pt x="7" y="9"/>
                    <a:pt x="10" y="3"/>
                  </a:cubicBezTo>
                  <a:cubicBezTo>
                    <a:pt x="4" y="3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1" name="Freeform 1232"/>
            <p:cNvSpPr>
              <a:spLocks noChangeArrowheads="1"/>
            </p:cNvSpPr>
            <p:nvPr/>
          </p:nvSpPr>
          <p:spPr bwMode="auto">
            <a:xfrm>
              <a:off x="4137025" y="2687638"/>
              <a:ext cx="1588" cy="1587"/>
            </a:xfrm>
            <a:custGeom>
              <a:avLst/>
              <a:gdLst>
                <a:gd name="T0" fmla="*/ 2 w 3"/>
                <a:gd name="T1" fmla="*/ 2 h 6"/>
                <a:gd name="T2" fmla="*/ 2 w 3"/>
                <a:gd name="T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6">
                  <a:moveTo>
                    <a:pt x="2" y="2"/>
                  </a:moveTo>
                  <a:cubicBezTo>
                    <a:pt x="2" y="5"/>
                    <a:pt x="0" y="0"/>
                    <a:pt x="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2" name="Freeform 1233"/>
            <p:cNvSpPr>
              <a:spLocks noChangeArrowheads="1"/>
            </p:cNvSpPr>
            <p:nvPr/>
          </p:nvSpPr>
          <p:spPr bwMode="auto">
            <a:xfrm>
              <a:off x="4108450" y="2679700"/>
              <a:ext cx="4763" cy="7938"/>
            </a:xfrm>
            <a:custGeom>
              <a:avLst/>
              <a:gdLst>
                <a:gd name="T0" fmla="*/ 0 w 13"/>
                <a:gd name="T1" fmla="*/ 11 h 23"/>
                <a:gd name="T2" fmla="*/ 0 w 13"/>
                <a:gd name="T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3">
                  <a:moveTo>
                    <a:pt x="0" y="11"/>
                  </a:moveTo>
                  <a:cubicBezTo>
                    <a:pt x="3" y="22"/>
                    <a:pt x="12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3" name="Freeform 1234"/>
            <p:cNvSpPr>
              <a:spLocks noChangeArrowheads="1"/>
            </p:cNvSpPr>
            <p:nvPr/>
          </p:nvSpPr>
          <p:spPr bwMode="auto">
            <a:xfrm>
              <a:off x="4138613" y="2689225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6 w 7"/>
                <a:gd name="T3" fmla="*/ 0 h 7"/>
                <a:gd name="T4" fmla="*/ 0 w 7"/>
                <a:gd name="T5" fmla="*/ 0 h 7"/>
                <a:gd name="T6" fmla="*/ 0 w 7"/>
                <a:gd name="T7" fmla="*/ 6 h 7"/>
                <a:gd name="T8" fmla="*/ 6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4" name="Freeform 1235"/>
            <p:cNvSpPr>
              <a:spLocks noChangeArrowheads="1"/>
            </p:cNvSpPr>
            <p:nvPr/>
          </p:nvSpPr>
          <p:spPr bwMode="auto">
            <a:xfrm>
              <a:off x="4149725" y="2690813"/>
              <a:ext cx="4763" cy="4762"/>
            </a:xfrm>
            <a:custGeom>
              <a:avLst/>
              <a:gdLst>
                <a:gd name="T0" fmla="*/ 9 w 15"/>
                <a:gd name="T1" fmla="*/ 14 h 15"/>
                <a:gd name="T2" fmla="*/ 3 w 15"/>
                <a:gd name="T3" fmla="*/ 0 h 15"/>
                <a:gd name="T4" fmla="*/ 9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14"/>
                  </a:moveTo>
                  <a:cubicBezTo>
                    <a:pt x="14" y="6"/>
                    <a:pt x="6" y="3"/>
                    <a:pt x="3" y="0"/>
                  </a:cubicBezTo>
                  <a:cubicBezTo>
                    <a:pt x="0" y="6"/>
                    <a:pt x="6" y="8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5" name="Freeform 1236"/>
            <p:cNvSpPr>
              <a:spLocks noChangeArrowheads="1"/>
            </p:cNvSpPr>
            <p:nvPr/>
          </p:nvSpPr>
          <p:spPr bwMode="auto">
            <a:xfrm>
              <a:off x="4122738" y="2689225"/>
              <a:ext cx="3175" cy="4763"/>
            </a:xfrm>
            <a:custGeom>
              <a:avLst/>
              <a:gdLst>
                <a:gd name="T0" fmla="*/ 7 w 8"/>
                <a:gd name="T1" fmla="*/ 11 h 12"/>
                <a:gd name="T2" fmla="*/ 3 w 8"/>
                <a:gd name="T3" fmla="*/ 0 h 12"/>
                <a:gd name="T4" fmla="*/ 7 w 8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2">
                  <a:moveTo>
                    <a:pt x="7" y="11"/>
                  </a:moveTo>
                  <a:cubicBezTo>
                    <a:pt x="7" y="9"/>
                    <a:pt x="7" y="3"/>
                    <a:pt x="3" y="0"/>
                  </a:cubicBezTo>
                  <a:cubicBezTo>
                    <a:pt x="0" y="3"/>
                    <a:pt x="0" y="9"/>
                    <a:pt x="7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6" name="Freeform 1237"/>
            <p:cNvSpPr>
              <a:spLocks noChangeArrowheads="1"/>
            </p:cNvSpPr>
            <p:nvPr/>
          </p:nvSpPr>
          <p:spPr bwMode="auto">
            <a:xfrm>
              <a:off x="4137025" y="2689225"/>
              <a:ext cx="6350" cy="6350"/>
            </a:xfrm>
            <a:custGeom>
              <a:avLst/>
              <a:gdLst>
                <a:gd name="T0" fmla="*/ 0 w 16"/>
                <a:gd name="T1" fmla="*/ 9 h 18"/>
                <a:gd name="T2" fmla="*/ 0 w 16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8">
                  <a:moveTo>
                    <a:pt x="0" y="9"/>
                  </a:moveTo>
                  <a:cubicBezTo>
                    <a:pt x="15" y="17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7" name="Freeform 1238"/>
            <p:cNvSpPr>
              <a:spLocks noChangeArrowheads="1"/>
            </p:cNvSpPr>
            <p:nvPr/>
          </p:nvSpPr>
          <p:spPr bwMode="auto">
            <a:xfrm>
              <a:off x="4144963" y="2693988"/>
              <a:ext cx="3175" cy="7937"/>
            </a:xfrm>
            <a:custGeom>
              <a:avLst/>
              <a:gdLst>
                <a:gd name="T0" fmla="*/ 0 w 7"/>
                <a:gd name="T1" fmla="*/ 9 h 24"/>
                <a:gd name="T2" fmla="*/ 0 w 7"/>
                <a:gd name="T3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4">
                  <a:moveTo>
                    <a:pt x="0" y="9"/>
                  </a:moveTo>
                  <a:cubicBezTo>
                    <a:pt x="6" y="23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8" name="Freeform 1239"/>
            <p:cNvSpPr>
              <a:spLocks noChangeArrowheads="1"/>
            </p:cNvSpPr>
            <p:nvPr/>
          </p:nvSpPr>
          <p:spPr bwMode="auto">
            <a:xfrm>
              <a:off x="4110038" y="2687638"/>
              <a:ext cx="4762" cy="6350"/>
            </a:xfrm>
            <a:custGeom>
              <a:avLst/>
              <a:gdLst>
                <a:gd name="T0" fmla="*/ 0 w 13"/>
                <a:gd name="T1" fmla="*/ 12 h 18"/>
                <a:gd name="T2" fmla="*/ 0 w 13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0" y="12"/>
                  </a:moveTo>
                  <a:cubicBezTo>
                    <a:pt x="12" y="17"/>
                    <a:pt x="3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9" name="Freeform 1240"/>
            <p:cNvSpPr>
              <a:spLocks noChangeArrowheads="1"/>
            </p:cNvSpPr>
            <p:nvPr/>
          </p:nvSpPr>
          <p:spPr bwMode="auto">
            <a:xfrm>
              <a:off x="4098925" y="2689225"/>
              <a:ext cx="4763" cy="7938"/>
            </a:xfrm>
            <a:custGeom>
              <a:avLst/>
              <a:gdLst>
                <a:gd name="T0" fmla="*/ 12 w 13"/>
                <a:gd name="T1" fmla="*/ 14 h 24"/>
                <a:gd name="T2" fmla="*/ 12 w 13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4">
                  <a:moveTo>
                    <a:pt x="12" y="14"/>
                  </a:moveTo>
                  <a:cubicBezTo>
                    <a:pt x="0" y="0"/>
                    <a:pt x="0" y="23"/>
                    <a:pt x="1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0" name="Freeform 1241"/>
            <p:cNvSpPr>
              <a:spLocks noChangeArrowheads="1"/>
            </p:cNvSpPr>
            <p:nvPr/>
          </p:nvSpPr>
          <p:spPr bwMode="auto">
            <a:xfrm>
              <a:off x="4152900" y="2678113"/>
              <a:ext cx="4763" cy="4762"/>
            </a:xfrm>
            <a:custGeom>
              <a:avLst/>
              <a:gdLst>
                <a:gd name="T0" fmla="*/ 0 w 12"/>
                <a:gd name="T1" fmla="*/ 0 h 15"/>
                <a:gd name="T2" fmla="*/ 0 w 12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0" y="0"/>
                  </a:moveTo>
                  <a:cubicBezTo>
                    <a:pt x="0" y="14"/>
                    <a:pt x="11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1" name="Freeform 1242"/>
            <p:cNvSpPr>
              <a:spLocks noChangeArrowheads="1"/>
            </p:cNvSpPr>
            <p:nvPr/>
          </p:nvSpPr>
          <p:spPr bwMode="auto">
            <a:xfrm>
              <a:off x="4149725" y="2679700"/>
              <a:ext cx="4763" cy="4763"/>
            </a:xfrm>
            <a:custGeom>
              <a:avLst/>
              <a:gdLst>
                <a:gd name="T0" fmla="*/ 0 w 13"/>
                <a:gd name="T1" fmla="*/ 3 h 15"/>
                <a:gd name="T2" fmla="*/ 0 w 13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3"/>
                  </a:moveTo>
                  <a:cubicBezTo>
                    <a:pt x="0" y="14"/>
                    <a:pt x="12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2" name="Freeform 1243"/>
            <p:cNvSpPr>
              <a:spLocks noChangeArrowheads="1"/>
            </p:cNvSpPr>
            <p:nvPr/>
          </p:nvSpPr>
          <p:spPr bwMode="auto">
            <a:xfrm>
              <a:off x="4133850" y="2674938"/>
              <a:ext cx="3175" cy="3175"/>
            </a:xfrm>
            <a:custGeom>
              <a:avLst/>
              <a:gdLst>
                <a:gd name="T0" fmla="*/ 0 w 10"/>
                <a:gd name="T1" fmla="*/ 0 h 9"/>
                <a:gd name="T2" fmla="*/ 9 w 10"/>
                <a:gd name="T3" fmla="*/ 8 h 9"/>
                <a:gd name="T4" fmla="*/ 0 w 10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cubicBezTo>
                    <a:pt x="0" y="5"/>
                    <a:pt x="3" y="8"/>
                    <a:pt x="9" y="8"/>
                  </a:cubicBezTo>
                  <a:cubicBezTo>
                    <a:pt x="6" y="5"/>
                    <a:pt x="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3" name="Freeform 1244"/>
            <p:cNvSpPr>
              <a:spLocks noChangeArrowheads="1"/>
            </p:cNvSpPr>
            <p:nvPr/>
          </p:nvSpPr>
          <p:spPr bwMode="auto">
            <a:xfrm>
              <a:off x="4125913" y="2678113"/>
              <a:ext cx="4762" cy="4762"/>
            </a:xfrm>
            <a:custGeom>
              <a:avLst/>
              <a:gdLst>
                <a:gd name="T0" fmla="*/ 0 w 13"/>
                <a:gd name="T1" fmla="*/ 3 h 15"/>
                <a:gd name="T2" fmla="*/ 0 w 13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3"/>
                  </a:moveTo>
                  <a:cubicBezTo>
                    <a:pt x="0" y="14"/>
                    <a:pt x="12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4" name="Freeform 1245"/>
            <p:cNvSpPr>
              <a:spLocks noChangeArrowheads="1"/>
            </p:cNvSpPr>
            <p:nvPr/>
          </p:nvSpPr>
          <p:spPr bwMode="auto">
            <a:xfrm>
              <a:off x="4122738" y="2678113"/>
              <a:ext cx="3175" cy="4762"/>
            </a:xfrm>
            <a:custGeom>
              <a:avLst/>
              <a:gdLst>
                <a:gd name="T0" fmla="*/ 0 w 8"/>
                <a:gd name="T1" fmla="*/ 0 h 15"/>
                <a:gd name="T2" fmla="*/ 0 w 8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" h="15">
                  <a:moveTo>
                    <a:pt x="0" y="0"/>
                  </a:moveTo>
                  <a:cubicBezTo>
                    <a:pt x="0" y="14"/>
                    <a:pt x="7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5" name="Freeform 1246"/>
            <p:cNvSpPr>
              <a:spLocks noChangeArrowheads="1"/>
            </p:cNvSpPr>
            <p:nvPr/>
          </p:nvSpPr>
          <p:spPr bwMode="auto">
            <a:xfrm>
              <a:off x="4092575" y="2673350"/>
              <a:ext cx="11113" cy="4763"/>
            </a:xfrm>
            <a:custGeom>
              <a:avLst/>
              <a:gdLst>
                <a:gd name="T0" fmla="*/ 23 w 30"/>
                <a:gd name="T1" fmla="*/ 6 h 15"/>
                <a:gd name="T2" fmla="*/ 6 w 30"/>
                <a:gd name="T3" fmla="*/ 11 h 15"/>
                <a:gd name="T4" fmla="*/ 23 w 30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15">
                  <a:moveTo>
                    <a:pt x="23" y="6"/>
                  </a:moveTo>
                  <a:cubicBezTo>
                    <a:pt x="20" y="3"/>
                    <a:pt x="0" y="0"/>
                    <a:pt x="6" y="11"/>
                  </a:cubicBezTo>
                  <a:cubicBezTo>
                    <a:pt x="6" y="14"/>
                    <a:pt x="29" y="14"/>
                    <a:pt x="2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6" name="Freeform 1247"/>
            <p:cNvSpPr>
              <a:spLocks noChangeArrowheads="1"/>
            </p:cNvSpPr>
            <p:nvPr/>
          </p:nvSpPr>
          <p:spPr bwMode="auto">
            <a:xfrm>
              <a:off x="4100513" y="2682875"/>
              <a:ext cx="6350" cy="9525"/>
            </a:xfrm>
            <a:custGeom>
              <a:avLst/>
              <a:gdLst>
                <a:gd name="T0" fmla="*/ 14 w 18"/>
                <a:gd name="T1" fmla="*/ 0 h 27"/>
                <a:gd name="T2" fmla="*/ 8 w 18"/>
                <a:gd name="T3" fmla="*/ 26 h 27"/>
                <a:gd name="T4" fmla="*/ 14 w 1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7">
                  <a:moveTo>
                    <a:pt x="14" y="0"/>
                  </a:moveTo>
                  <a:cubicBezTo>
                    <a:pt x="3" y="0"/>
                    <a:pt x="0" y="17"/>
                    <a:pt x="8" y="26"/>
                  </a:cubicBezTo>
                  <a:cubicBezTo>
                    <a:pt x="14" y="20"/>
                    <a:pt x="17" y="9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7" name="Freeform 1248"/>
            <p:cNvSpPr>
              <a:spLocks noChangeArrowheads="1"/>
            </p:cNvSpPr>
            <p:nvPr/>
          </p:nvSpPr>
          <p:spPr bwMode="auto">
            <a:xfrm>
              <a:off x="4094163" y="2673350"/>
              <a:ext cx="6350" cy="9525"/>
            </a:xfrm>
            <a:custGeom>
              <a:avLst/>
              <a:gdLst>
                <a:gd name="T0" fmla="*/ 14 w 18"/>
                <a:gd name="T1" fmla="*/ 20 h 27"/>
                <a:gd name="T2" fmla="*/ 14 w 18"/>
                <a:gd name="T3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27">
                  <a:moveTo>
                    <a:pt x="14" y="20"/>
                  </a:moveTo>
                  <a:cubicBezTo>
                    <a:pt x="17" y="0"/>
                    <a:pt x="0" y="26"/>
                    <a:pt x="14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8" name="Freeform 1249"/>
            <p:cNvSpPr>
              <a:spLocks noChangeArrowheads="1"/>
            </p:cNvSpPr>
            <p:nvPr/>
          </p:nvSpPr>
          <p:spPr bwMode="auto">
            <a:xfrm>
              <a:off x="4108450" y="2684463"/>
              <a:ext cx="7938" cy="7937"/>
            </a:xfrm>
            <a:custGeom>
              <a:avLst/>
              <a:gdLst>
                <a:gd name="T0" fmla="*/ 12 w 21"/>
                <a:gd name="T1" fmla="*/ 20 h 21"/>
                <a:gd name="T2" fmla="*/ 20 w 21"/>
                <a:gd name="T3" fmla="*/ 11 h 21"/>
                <a:gd name="T4" fmla="*/ 12 w 21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21">
                  <a:moveTo>
                    <a:pt x="12" y="20"/>
                  </a:moveTo>
                  <a:lnTo>
                    <a:pt x="20" y="11"/>
                  </a:lnTo>
                  <a:cubicBezTo>
                    <a:pt x="17" y="0"/>
                    <a:pt x="0" y="17"/>
                    <a:pt x="12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9" name="Freeform 1250"/>
            <p:cNvSpPr>
              <a:spLocks noChangeArrowheads="1"/>
            </p:cNvSpPr>
            <p:nvPr/>
          </p:nvSpPr>
          <p:spPr bwMode="auto">
            <a:xfrm>
              <a:off x="4114800" y="2676525"/>
              <a:ext cx="11113" cy="7938"/>
            </a:xfrm>
            <a:custGeom>
              <a:avLst/>
              <a:gdLst>
                <a:gd name="T0" fmla="*/ 0 w 32"/>
                <a:gd name="T1" fmla="*/ 8 h 23"/>
                <a:gd name="T2" fmla="*/ 22 w 32"/>
                <a:gd name="T3" fmla="*/ 22 h 23"/>
                <a:gd name="T4" fmla="*/ 31 w 32"/>
                <a:gd name="T5" fmla="*/ 14 h 23"/>
                <a:gd name="T6" fmla="*/ 8 w 32"/>
                <a:gd name="T7" fmla="*/ 2 h 23"/>
                <a:gd name="T8" fmla="*/ 0 w 32"/>
                <a:gd name="T9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3">
                  <a:moveTo>
                    <a:pt x="0" y="8"/>
                  </a:moveTo>
                  <a:cubicBezTo>
                    <a:pt x="8" y="17"/>
                    <a:pt x="14" y="22"/>
                    <a:pt x="22" y="22"/>
                  </a:cubicBezTo>
                  <a:lnTo>
                    <a:pt x="31" y="14"/>
                  </a:lnTo>
                  <a:cubicBezTo>
                    <a:pt x="28" y="5"/>
                    <a:pt x="16" y="0"/>
                    <a:pt x="8" y="2"/>
                  </a:cubicBezTo>
                  <a:cubicBezTo>
                    <a:pt x="2" y="2"/>
                    <a:pt x="2" y="5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0" name="Freeform 1251"/>
            <p:cNvSpPr>
              <a:spLocks noChangeArrowheads="1"/>
            </p:cNvSpPr>
            <p:nvPr/>
          </p:nvSpPr>
          <p:spPr bwMode="auto">
            <a:xfrm>
              <a:off x="4141788" y="2692400"/>
              <a:ext cx="3175" cy="7938"/>
            </a:xfrm>
            <a:custGeom>
              <a:avLst/>
              <a:gdLst>
                <a:gd name="T0" fmla="*/ 8 w 9"/>
                <a:gd name="T1" fmla="*/ 14 h 23"/>
                <a:gd name="T2" fmla="*/ 8 w 9"/>
                <a:gd name="T3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3">
                  <a:moveTo>
                    <a:pt x="8" y="14"/>
                  </a:moveTo>
                  <a:cubicBezTo>
                    <a:pt x="0" y="0"/>
                    <a:pt x="0" y="22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1" name="Freeform 1252"/>
            <p:cNvSpPr>
              <a:spLocks noChangeArrowheads="1"/>
            </p:cNvSpPr>
            <p:nvPr/>
          </p:nvSpPr>
          <p:spPr bwMode="auto">
            <a:xfrm>
              <a:off x="4129088" y="2679700"/>
              <a:ext cx="4762" cy="6350"/>
            </a:xfrm>
            <a:custGeom>
              <a:avLst/>
              <a:gdLst>
                <a:gd name="T0" fmla="*/ 6 w 12"/>
                <a:gd name="T1" fmla="*/ 17 h 18"/>
                <a:gd name="T2" fmla="*/ 8 w 12"/>
                <a:gd name="T3" fmla="*/ 3 h 18"/>
                <a:gd name="T4" fmla="*/ 6 w 12"/>
                <a:gd name="T5" fmla="*/ 0 h 18"/>
                <a:gd name="T6" fmla="*/ 3 w 12"/>
                <a:gd name="T7" fmla="*/ 14 h 18"/>
                <a:gd name="T8" fmla="*/ 6 w 12"/>
                <a:gd name="T9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8">
                  <a:moveTo>
                    <a:pt x="6" y="17"/>
                  </a:moveTo>
                  <a:cubicBezTo>
                    <a:pt x="11" y="14"/>
                    <a:pt x="11" y="8"/>
                    <a:pt x="8" y="3"/>
                  </a:cubicBezTo>
                  <a:cubicBezTo>
                    <a:pt x="8" y="0"/>
                    <a:pt x="6" y="0"/>
                    <a:pt x="6" y="0"/>
                  </a:cubicBezTo>
                  <a:cubicBezTo>
                    <a:pt x="0" y="3"/>
                    <a:pt x="0" y="8"/>
                    <a:pt x="3" y="14"/>
                  </a:cubicBezTo>
                  <a:cubicBezTo>
                    <a:pt x="3" y="14"/>
                    <a:pt x="3" y="17"/>
                    <a:pt x="6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2" name="Freeform 1253"/>
            <p:cNvSpPr>
              <a:spLocks noChangeArrowheads="1"/>
            </p:cNvSpPr>
            <p:nvPr/>
          </p:nvSpPr>
          <p:spPr bwMode="auto">
            <a:xfrm>
              <a:off x="4146550" y="2689225"/>
              <a:ext cx="3175" cy="7938"/>
            </a:xfrm>
            <a:custGeom>
              <a:avLst/>
              <a:gdLst>
                <a:gd name="T0" fmla="*/ 8 w 9"/>
                <a:gd name="T1" fmla="*/ 14 h 24"/>
                <a:gd name="T2" fmla="*/ 8 w 9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4">
                  <a:moveTo>
                    <a:pt x="8" y="14"/>
                  </a:moveTo>
                  <a:cubicBezTo>
                    <a:pt x="0" y="0"/>
                    <a:pt x="0" y="23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3" name="Freeform 1254"/>
            <p:cNvSpPr>
              <a:spLocks noChangeArrowheads="1"/>
            </p:cNvSpPr>
            <p:nvPr/>
          </p:nvSpPr>
          <p:spPr bwMode="auto">
            <a:xfrm>
              <a:off x="4159250" y="2700338"/>
              <a:ext cx="4763" cy="4762"/>
            </a:xfrm>
            <a:custGeom>
              <a:avLst/>
              <a:gdLst>
                <a:gd name="T0" fmla="*/ 5 w 12"/>
                <a:gd name="T1" fmla="*/ 0 h 12"/>
                <a:gd name="T2" fmla="*/ 0 w 12"/>
                <a:gd name="T3" fmla="*/ 6 h 12"/>
                <a:gd name="T4" fmla="*/ 5 w 12"/>
                <a:gd name="T5" fmla="*/ 11 h 12"/>
                <a:gd name="T6" fmla="*/ 11 w 12"/>
                <a:gd name="T7" fmla="*/ 6 h 12"/>
                <a:gd name="T8" fmla="*/ 5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0" y="6"/>
                  </a:lnTo>
                  <a:lnTo>
                    <a:pt x="5" y="11"/>
                  </a:lnTo>
                  <a:lnTo>
                    <a:pt x="11" y="6"/>
                  </a:lnTo>
                  <a:lnTo>
                    <a:pt x="5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4" name="Freeform 1255"/>
            <p:cNvSpPr>
              <a:spLocks noChangeArrowheads="1"/>
            </p:cNvSpPr>
            <p:nvPr/>
          </p:nvSpPr>
          <p:spPr bwMode="auto">
            <a:xfrm>
              <a:off x="4141788" y="2684463"/>
              <a:ext cx="1587" cy="3175"/>
            </a:xfrm>
            <a:custGeom>
              <a:avLst/>
              <a:gdLst>
                <a:gd name="T0" fmla="*/ 3 w 4"/>
                <a:gd name="T1" fmla="*/ 6 h 10"/>
                <a:gd name="T2" fmla="*/ 3 w 4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0">
                  <a:moveTo>
                    <a:pt x="3" y="6"/>
                  </a:moveTo>
                  <a:cubicBezTo>
                    <a:pt x="0" y="0"/>
                    <a:pt x="3" y="9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5" name="Freeform 1256"/>
            <p:cNvSpPr>
              <a:spLocks noChangeArrowheads="1"/>
            </p:cNvSpPr>
            <p:nvPr/>
          </p:nvSpPr>
          <p:spPr bwMode="auto">
            <a:xfrm>
              <a:off x="4149725" y="2687638"/>
              <a:ext cx="4763" cy="4762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2 h 13"/>
                <a:gd name="T6" fmla="*/ 12 w 13"/>
                <a:gd name="T7" fmla="*/ 6 h 13"/>
                <a:gd name="T8" fmla="*/ 6 w 13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lnTo>
                    <a:pt x="0" y="6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6" name="Freeform 1257"/>
            <p:cNvSpPr>
              <a:spLocks noChangeArrowheads="1"/>
            </p:cNvSpPr>
            <p:nvPr/>
          </p:nvSpPr>
          <p:spPr bwMode="auto">
            <a:xfrm>
              <a:off x="4144963" y="2681288"/>
              <a:ext cx="7937" cy="4762"/>
            </a:xfrm>
            <a:custGeom>
              <a:avLst/>
              <a:gdLst>
                <a:gd name="T0" fmla="*/ 11 w 21"/>
                <a:gd name="T1" fmla="*/ 0 h 15"/>
                <a:gd name="T2" fmla="*/ 3 w 21"/>
                <a:gd name="T3" fmla="*/ 14 h 15"/>
                <a:gd name="T4" fmla="*/ 20 w 21"/>
                <a:gd name="T5" fmla="*/ 8 h 15"/>
                <a:gd name="T6" fmla="*/ 11 w 21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5">
                  <a:moveTo>
                    <a:pt x="11" y="0"/>
                  </a:moveTo>
                  <a:cubicBezTo>
                    <a:pt x="8" y="5"/>
                    <a:pt x="0" y="11"/>
                    <a:pt x="3" y="14"/>
                  </a:cubicBezTo>
                  <a:cubicBezTo>
                    <a:pt x="8" y="0"/>
                    <a:pt x="14" y="11"/>
                    <a:pt x="20" y="8"/>
                  </a:cubicBezTo>
                  <a:lnTo>
                    <a:pt x="11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7" name="Freeform 1258"/>
            <p:cNvSpPr>
              <a:spLocks noChangeArrowheads="1"/>
            </p:cNvSpPr>
            <p:nvPr/>
          </p:nvSpPr>
          <p:spPr bwMode="auto">
            <a:xfrm>
              <a:off x="4141788" y="2671763"/>
              <a:ext cx="6350" cy="9525"/>
            </a:xfrm>
            <a:custGeom>
              <a:avLst/>
              <a:gdLst>
                <a:gd name="T0" fmla="*/ 16 w 17"/>
                <a:gd name="T1" fmla="*/ 20 h 27"/>
                <a:gd name="T2" fmla="*/ 16 w 17"/>
                <a:gd name="T3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27">
                  <a:moveTo>
                    <a:pt x="16" y="20"/>
                  </a:moveTo>
                  <a:cubicBezTo>
                    <a:pt x="14" y="0"/>
                    <a:pt x="0" y="26"/>
                    <a:pt x="16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8" name="Freeform 1259"/>
            <p:cNvSpPr>
              <a:spLocks noChangeArrowheads="1"/>
            </p:cNvSpPr>
            <p:nvPr/>
          </p:nvSpPr>
          <p:spPr bwMode="auto">
            <a:xfrm>
              <a:off x="4160838" y="2687638"/>
              <a:ext cx="6350" cy="6350"/>
            </a:xfrm>
            <a:custGeom>
              <a:avLst/>
              <a:gdLst>
                <a:gd name="T0" fmla="*/ 0 w 18"/>
                <a:gd name="T1" fmla="*/ 8 h 18"/>
                <a:gd name="T2" fmla="*/ 9 w 18"/>
                <a:gd name="T3" fmla="*/ 17 h 18"/>
                <a:gd name="T4" fmla="*/ 17 w 18"/>
                <a:gd name="T5" fmla="*/ 8 h 18"/>
                <a:gd name="T6" fmla="*/ 3 w 18"/>
                <a:gd name="T7" fmla="*/ 2 h 18"/>
                <a:gd name="T8" fmla="*/ 0 w 18"/>
                <a:gd name="T9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0" y="8"/>
                  </a:moveTo>
                  <a:lnTo>
                    <a:pt x="9" y="17"/>
                  </a:lnTo>
                  <a:lnTo>
                    <a:pt x="17" y="8"/>
                  </a:lnTo>
                  <a:cubicBezTo>
                    <a:pt x="14" y="2"/>
                    <a:pt x="9" y="0"/>
                    <a:pt x="3" y="2"/>
                  </a:cubicBezTo>
                  <a:cubicBezTo>
                    <a:pt x="0" y="5"/>
                    <a:pt x="0" y="5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9" name="Freeform 1260"/>
            <p:cNvSpPr>
              <a:spLocks noChangeArrowheads="1"/>
            </p:cNvSpPr>
            <p:nvPr/>
          </p:nvSpPr>
          <p:spPr bwMode="auto">
            <a:xfrm>
              <a:off x="4154488" y="2673350"/>
              <a:ext cx="4762" cy="9525"/>
            </a:xfrm>
            <a:custGeom>
              <a:avLst/>
              <a:gdLst>
                <a:gd name="T0" fmla="*/ 12 w 13"/>
                <a:gd name="T1" fmla="*/ 14 h 27"/>
                <a:gd name="T2" fmla="*/ 12 w 13"/>
                <a:gd name="T3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7">
                  <a:moveTo>
                    <a:pt x="12" y="14"/>
                  </a:moveTo>
                  <a:cubicBezTo>
                    <a:pt x="0" y="0"/>
                    <a:pt x="3" y="26"/>
                    <a:pt x="1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0" name="Freeform 1261"/>
            <p:cNvSpPr>
              <a:spLocks noChangeArrowheads="1"/>
            </p:cNvSpPr>
            <p:nvPr/>
          </p:nvSpPr>
          <p:spPr bwMode="auto">
            <a:xfrm>
              <a:off x="4160838" y="2673350"/>
              <a:ext cx="7937" cy="6350"/>
            </a:xfrm>
            <a:custGeom>
              <a:avLst/>
              <a:gdLst>
                <a:gd name="T0" fmla="*/ 20 w 21"/>
                <a:gd name="T1" fmla="*/ 8 h 18"/>
                <a:gd name="T2" fmla="*/ 0 w 21"/>
                <a:gd name="T3" fmla="*/ 6 h 18"/>
                <a:gd name="T4" fmla="*/ 20 w 21"/>
                <a:gd name="T5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20" y="8"/>
                  </a:moveTo>
                  <a:cubicBezTo>
                    <a:pt x="12" y="0"/>
                    <a:pt x="6" y="6"/>
                    <a:pt x="0" y="6"/>
                  </a:cubicBezTo>
                  <a:cubicBezTo>
                    <a:pt x="9" y="11"/>
                    <a:pt x="14" y="17"/>
                    <a:pt x="2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1" name="Freeform 1262"/>
            <p:cNvSpPr>
              <a:spLocks noChangeArrowheads="1"/>
            </p:cNvSpPr>
            <p:nvPr/>
          </p:nvSpPr>
          <p:spPr bwMode="auto">
            <a:xfrm>
              <a:off x="4117975" y="2686050"/>
              <a:ext cx="1588" cy="4763"/>
            </a:xfrm>
            <a:custGeom>
              <a:avLst/>
              <a:gdLst>
                <a:gd name="T0" fmla="*/ 0 w 4"/>
                <a:gd name="T1" fmla="*/ 11 h 12"/>
                <a:gd name="T2" fmla="*/ 1 w 4"/>
                <a:gd name="T3" fmla="*/ 6 h 12"/>
                <a:gd name="T4" fmla="*/ 0 w 4"/>
                <a:gd name="T5" fmla="*/ 8 h 12"/>
                <a:gd name="T6" fmla="*/ 0 w 4"/>
                <a:gd name="T7" fmla="*/ 11 h 12"/>
                <a:gd name="T8" fmla="*/ 3 w 4"/>
                <a:gd name="T9" fmla="*/ 0 h 12"/>
                <a:gd name="T10" fmla="*/ 1 w 4"/>
                <a:gd name="T11" fmla="*/ 6 h 12"/>
                <a:gd name="T12" fmla="*/ 3 w 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2">
                  <a:moveTo>
                    <a:pt x="0" y="11"/>
                  </a:moveTo>
                  <a:cubicBezTo>
                    <a:pt x="0" y="10"/>
                    <a:pt x="0" y="8"/>
                    <a:pt x="1" y="6"/>
                  </a:cubicBezTo>
                  <a:cubicBezTo>
                    <a:pt x="0" y="7"/>
                    <a:pt x="0" y="8"/>
                    <a:pt x="0" y="8"/>
                  </a:cubicBezTo>
                  <a:lnTo>
                    <a:pt x="0" y="11"/>
                  </a:lnTo>
                  <a:close/>
                  <a:moveTo>
                    <a:pt x="3" y="0"/>
                  </a:moveTo>
                  <a:cubicBezTo>
                    <a:pt x="3" y="0"/>
                    <a:pt x="3" y="2"/>
                    <a:pt x="1" y="6"/>
                  </a:cubicBezTo>
                  <a:cubicBezTo>
                    <a:pt x="2" y="3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2" name="Freeform 1263"/>
            <p:cNvSpPr>
              <a:spLocks noChangeArrowheads="1"/>
            </p:cNvSpPr>
            <p:nvPr/>
          </p:nvSpPr>
          <p:spPr bwMode="auto">
            <a:xfrm>
              <a:off x="4090988" y="2673350"/>
              <a:ext cx="6350" cy="9525"/>
            </a:xfrm>
            <a:custGeom>
              <a:avLst/>
              <a:gdLst>
                <a:gd name="T0" fmla="*/ 11 w 18"/>
                <a:gd name="T1" fmla="*/ 0 h 27"/>
                <a:gd name="T2" fmla="*/ 0 w 18"/>
                <a:gd name="T3" fmla="*/ 14 h 27"/>
                <a:gd name="T4" fmla="*/ 11 w 1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7">
                  <a:moveTo>
                    <a:pt x="11" y="0"/>
                  </a:moveTo>
                  <a:cubicBezTo>
                    <a:pt x="8" y="9"/>
                    <a:pt x="2" y="6"/>
                    <a:pt x="0" y="14"/>
                  </a:cubicBezTo>
                  <a:cubicBezTo>
                    <a:pt x="8" y="26"/>
                    <a:pt x="17" y="3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3" name="Freeform 1264"/>
            <p:cNvSpPr>
              <a:spLocks noChangeArrowheads="1"/>
            </p:cNvSpPr>
            <p:nvPr/>
          </p:nvSpPr>
          <p:spPr bwMode="auto">
            <a:xfrm>
              <a:off x="4113213" y="2671763"/>
              <a:ext cx="7937" cy="4762"/>
            </a:xfrm>
            <a:custGeom>
              <a:avLst/>
              <a:gdLst>
                <a:gd name="T0" fmla="*/ 11 w 23"/>
                <a:gd name="T1" fmla="*/ 14 h 15"/>
                <a:gd name="T2" fmla="*/ 11 w 23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5">
                  <a:moveTo>
                    <a:pt x="11" y="14"/>
                  </a:moveTo>
                  <a:cubicBezTo>
                    <a:pt x="22" y="0"/>
                    <a:pt x="0" y="9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4" name="Freeform 1265"/>
            <p:cNvSpPr>
              <a:spLocks noChangeArrowheads="1"/>
            </p:cNvSpPr>
            <p:nvPr/>
          </p:nvSpPr>
          <p:spPr bwMode="auto">
            <a:xfrm>
              <a:off x="4117975" y="2671763"/>
              <a:ext cx="7938" cy="6350"/>
            </a:xfrm>
            <a:custGeom>
              <a:avLst/>
              <a:gdLst>
                <a:gd name="T0" fmla="*/ 11 w 21"/>
                <a:gd name="T1" fmla="*/ 17 h 18"/>
                <a:gd name="T2" fmla="*/ 11 w 21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8">
                  <a:moveTo>
                    <a:pt x="11" y="17"/>
                  </a:moveTo>
                  <a:cubicBezTo>
                    <a:pt x="20" y="0"/>
                    <a:pt x="0" y="12"/>
                    <a:pt x="11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5" name="Freeform 1266"/>
            <p:cNvSpPr>
              <a:spLocks noChangeArrowheads="1"/>
            </p:cNvSpPr>
            <p:nvPr/>
          </p:nvSpPr>
          <p:spPr bwMode="auto">
            <a:xfrm>
              <a:off x="4137025" y="2689225"/>
              <a:ext cx="7938" cy="4763"/>
            </a:xfrm>
            <a:custGeom>
              <a:avLst/>
              <a:gdLst>
                <a:gd name="T0" fmla="*/ 11 w 23"/>
                <a:gd name="T1" fmla="*/ 14 h 15"/>
                <a:gd name="T2" fmla="*/ 11 w 23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5">
                  <a:moveTo>
                    <a:pt x="11" y="14"/>
                  </a:moveTo>
                  <a:cubicBezTo>
                    <a:pt x="22" y="0"/>
                    <a:pt x="0" y="9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6" name="Freeform 1267"/>
            <p:cNvSpPr>
              <a:spLocks noChangeArrowheads="1"/>
            </p:cNvSpPr>
            <p:nvPr/>
          </p:nvSpPr>
          <p:spPr bwMode="auto">
            <a:xfrm>
              <a:off x="4144963" y="2681288"/>
              <a:ext cx="7937" cy="4762"/>
            </a:xfrm>
            <a:custGeom>
              <a:avLst/>
              <a:gdLst>
                <a:gd name="T0" fmla="*/ 11 w 24"/>
                <a:gd name="T1" fmla="*/ 14 h 15"/>
                <a:gd name="T2" fmla="*/ 11 w 24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15">
                  <a:moveTo>
                    <a:pt x="11" y="14"/>
                  </a:moveTo>
                  <a:cubicBezTo>
                    <a:pt x="23" y="0"/>
                    <a:pt x="0" y="8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7" name="Freeform 1268"/>
            <p:cNvSpPr>
              <a:spLocks noChangeArrowheads="1"/>
            </p:cNvSpPr>
            <p:nvPr/>
          </p:nvSpPr>
          <p:spPr bwMode="auto">
            <a:xfrm>
              <a:off x="4165600" y="2678113"/>
              <a:ext cx="4763" cy="6350"/>
            </a:xfrm>
            <a:custGeom>
              <a:avLst/>
              <a:gdLst>
                <a:gd name="T0" fmla="*/ 2 w 15"/>
                <a:gd name="T1" fmla="*/ 0 h 18"/>
                <a:gd name="T2" fmla="*/ 5 w 15"/>
                <a:gd name="T3" fmla="*/ 14 h 18"/>
                <a:gd name="T4" fmla="*/ 11 w 15"/>
                <a:gd name="T5" fmla="*/ 17 h 18"/>
                <a:gd name="T6" fmla="*/ 8 w 15"/>
                <a:gd name="T7" fmla="*/ 3 h 18"/>
                <a:gd name="T8" fmla="*/ 2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2" y="0"/>
                  </a:moveTo>
                  <a:cubicBezTo>
                    <a:pt x="0" y="6"/>
                    <a:pt x="0" y="12"/>
                    <a:pt x="5" y="14"/>
                  </a:cubicBezTo>
                  <a:cubicBezTo>
                    <a:pt x="8" y="14"/>
                    <a:pt x="8" y="17"/>
                    <a:pt x="11" y="17"/>
                  </a:cubicBezTo>
                  <a:cubicBezTo>
                    <a:pt x="14" y="12"/>
                    <a:pt x="14" y="6"/>
                    <a:pt x="8" y="3"/>
                  </a:cubicBezTo>
                  <a:cubicBezTo>
                    <a:pt x="5" y="0"/>
                    <a:pt x="5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8" name="Freeform 1269"/>
            <p:cNvSpPr>
              <a:spLocks noChangeArrowheads="1"/>
            </p:cNvSpPr>
            <p:nvPr/>
          </p:nvSpPr>
          <p:spPr bwMode="auto">
            <a:xfrm>
              <a:off x="4462463" y="2640013"/>
              <a:ext cx="4762" cy="6350"/>
            </a:xfrm>
            <a:custGeom>
              <a:avLst/>
              <a:gdLst>
                <a:gd name="T0" fmla="*/ 0 w 13"/>
                <a:gd name="T1" fmla="*/ 11 h 18"/>
                <a:gd name="T2" fmla="*/ 0 w 13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0" y="11"/>
                  </a:moveTo>
                  <a:cubicBezTo>
                    <a:pt x="12" y="17"/>
                    <a:pt x="3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9" name="Freeform 1270"/>
            <p:cNvSpPr>
              <a:spLocks noChangeArrowheads="1"/>
            </p:cNvSpPr>
            <p:nvPr/>
          </p:nvSpPr>
          <p:spPr bwMode="auto">
            <a:xfrm>
              <a:off x="4443413" y="2646363"/>
              <a:ext cx="4762" cy="3175"/>
            </a:xfrm>
            <a:custGeom>
              <a:avLst/>
              <a:gdLst>
                <a:gd name="T0" fmla="*/ 0 w 15"/>
                <a:gd name="T1" fmla="*/ 5 h 9"/>
                <a:gd name="T2" fmla="*/ 3 w 15"/>
                <a:gd name="T3" fmla="*/ 8 h 9"/>
                <a:gd name="T4" fmla="*/ 8 w 15"/>
                <a:gd name="T5" fmla="*/ 8 h 9"/>
                <a:gd name="T6" fmla="*/ 0 w 15"/>
                <a:gd name="T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9">
                  <a:moveTo>
                    <a:pt x="0" y="5"/>
                  </a:moveTo>
                  <a:cubicBezTo>
                    <a:pt x="3" y="5"/>
                    <a:pt x="3" y="5"/>
                    <a:pt x="3" y="8"/>
                  </a:cubicBezTo>
                  <a:lnTo>
                    <a:pt x="8" y="8"/>
                  </a:lnTo>
                  <a:cubicBezTo>
                    <a:pt x="14" y="3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0" name="Freeform 1271"/>
            <p:cNvSpPr>
              <a:spLocks noChangeArrowheads="1"/>
            </p:cNvSpPr>
            <p:nvPr/>
          </p:nvSpPr>
          <p:spPr bwMode="auto">
            <a:xfrm>
              <a:off x="4464050" y="2651125"/>
              <a:ext cx="4763" cy="4763"/>
            </a:xfrm>
            <a:custGeom>
              <a:avLst/>
              <a:gdLst>
                <a:gd name="T0" fmla="*/ 0 w 15"/>
                <a:gd name="T1" fmla="*/ 8 h 15"/>
                <a:gd name="T2" fmla="*/ 0 w 15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0" y="8"/>
                  </a:moveTo>
                  <a:cubicBezTo>
                    <a:pt x="14" y="14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1" name="Freeform 1272"/>
            <p:cNvSpPr>
              <a:spLocks noChangeArrowheads="1"/>
            </p:cNvSpPr>
            <p:nvPr/>
          </p:nvSpPr>
          <p:spPr bwMode="auto">
            <a:xfrm>
              <a:off x="4418013" y="2644775"/>
              <a:ext cx="3175" cy="7938"/>
            </a:xfrm>
            <a:custGeom>
              <a:avLst/>
              <a:gdLst>
                <a:gd name="T0" fmla="*/ 0 w 10"/>
                <a:gd name="T1" fmla="*/ 11 h 24"/>
                <a:gd name="T2" fmla="*/ 0 w 10"/>
                <a:gd name="T3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4">
                  <a:moveTo>
                    <a:pt x="0" y="11"/>
                  </a:moveTo>
                  <a:cubicBezTo>
                    <a:pt x="9" y="23"/>
                    <a:pt x="6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2" name="Freeform 1273"/>
            <p:cNvSpPr>
              <a:spLocks noChangeArrowheads="1"/>
            </p:cNvSpPr>
            <p:nvPr/>
          </p:nvSpPr>
          <p:spPr bwMode="auto">
            <a:xfrm>
              <a:off x="4438650" y="2651125"/>
              <a:ext cx="7938" cy="4763"/>
            </a:xfrm>
            <a:custGeom>
              <a:avLst/>
              <a:gdLst>
                <a:gd name="T0" fmla="*/ 6 w 21"/>
                <a:gd name="T1" fmla="*/ 0 h 12"/>
                <a:gd name="T2" fmla="*/ 17 w 21"/>
                <a:gd name="T3" fmla="*/ 11 h 12"/>
                <a:gd name="T4" fmla="*/ 6 w 21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6" y="0"/>
                  </a:moveTo>
                  <a:cubicBezTo>
                    <a:pt x="0" y="8"/>
                    <a:pt x="9" y="11"/>
                    <a:pt x="17" y="11"/>
                  </a:cubicBezTo>
                  <a:cubicBezTo>
                    <a:pt x="20" y="3"/>
                    <a:pt x="15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3" name="Freeform 1274"/>
            <p:cNvSpPr>
              <a:spLocks noChangeArrowheads="1"/>
            </p:cNvSpPr>
            <p:nvPr/>
          </p:nvSpPr>
          <p:spPr bwMode="auto">
            <a:xfrm>
              <a:off x="4452938" y="2654300"/>
              <a:ext cx="4762" cy="4763"/>
            </a:xfrm>
            <a:custGeom>
              <a:avLst/>
              <a:gdLst>
                <a:gd name="T0" fmla="*/ 3 w 15"/>
                <a:gd name="T1" fmla="*/ 0 h 15"/>
                <a:gd name="T2" fmla="*/ 6 w 15"/>
                <a:gd name="T3" fmla="*/ 14 h 15"/>
                <a:gd name="T4" fmla="*/ 3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3" y="0"/>
                  </a:moveTo>
                  <a:cubicBezTo>
                    <a:pt x="0" y="6"/>
                    <a:pt x="0" y="12"/>
                    <a:pt x="6" y="14"/>
                  </a:cubicBezTo>
                  <a:cubicBezTo>
                    <a:pt x="3" y="3"/>
                    <a:pt x="14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4" name="Freeform 1275"/>
            <p:cNvSpPr>
              <a:spLocks noChangeArrowheads="1"/>
            </p:cNvSpPr>
            <p:nvPr/>
          </p:nvSpPr>
          <p:spPr bwMode="auto">
            <a:xfrm>
              <a:off x="4459288" y="2655888"/>
              <a:ext cx="1587" cy="3175"/>
            </a:xfrm>
            <a:custGeom>
              <a:avLst/>
              <a:gdLst>
                <a:gd name="T0" fmla="*/ 0 w 4"/>
                <a:gd name="T1" fmla="*/ 3 h 7"/>
                <a:gd name="T2" fmla="*/ 0 w 4"/>
                <a:gd name="T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7">
                  <a:moveTo>
                    <a:pt x="0" y="3"/>
                  </a:moveTo>
                  <a:cubicBezTo>
                    <a:pt x="3" y="6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5" name="Freeform 1276"/>
            <p:cNvSpPr>
              <a:spLocks noChangeArrowheads="1"/>
            </p:cNvSpPr>
            <p:nvPr/>
          </p:nvSpPr>
          <p:spPr bwMode="auto">
            <a:xfrm>
              <a:off x="4462463" y="2655888"/>
              <a:ext cx="6350" cy="4762"/>
            </a:xfrm>
            <a:custGeom>
              <a:avLst/>
              <a:gdLst>
                <a:gd name="T0" fmla="*/ 0 w 18"/>
                <a:gd name="T1" fmla="*/ 6 h 12"/>
                <a:gd name="T2" fmla="*/ 17 w 18"/>
                <a:gd name="T3" fmla="*/ 6 h 12"/>
                <a:gd name="T4" fmla="*/ 0 w 18"/>
                <a:gd name="T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0" y="6"/>
                  </a:moveTo>
                  <a:cubicBezTo>
                    <a:pt x="6" y="6"/>
                    <a:pt x="14" y="11"/>
                    <a:pt x="17" y="6"/>
                  </a:cubicBezTo>
                  <a:cubicBezTo>
                    <a:pt x="9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6" name="Freeform 1277"/>
            <p:cNvSpPr>
              <a:spLocks noChangeArrowheads="1"/>
            </p:cNvSpPr>
            <p:nvPr/>
          </p:nvSpPr>
          <p:spPr bwMode="auto">
            <a:xfrm>
              <a:off x="4392613" y="2641600"/>
              <a:ext cx="4762" cy="6350"/>
            </a:xfrm>
            <a:custGeom>
              <a:avLst/>
              <a:gdLst>
                <a:gd name="T0" fmla="*/ 0 w 15"/>
                <a:gd name="T1" fmla="*/ 9 h 16"/>
                <a:gd name="T2" fmla="*/ 0 w 15"/>
                <a:gd name="T3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6">
                  <a:moveTo>
                    <a:pt x="0" y="9"/>
                  </a:moveTo>
                  <a:cubicBezTo>
                    <a:pt x="14" y="15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7" name="Freeform 1278"/>
            <p:cNvSpPr>
              <a:spLocks noChangeArrowheads="1"/>
            </p:cNvSpPr>
            <p:nvPr/>
          </p:nvSpPr>
          <p:spPr bwMode="auto">
            <a:xfrm>
              <a:off x="4421188" y="2649538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11 w 12"/>
                <a:gd name="T3" fmla="*/ 3 h 10"/>
                <a:gd name="T4" fmla="*/ 0 w 12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2" y="9"/>
                    <a:pt x="8" y="9"/>
                    <a:pt x="11" y="3"/>
                  </a:cubicBezTo>
                  <a:cubicBezTo>
                    <a:pt x="5" y="3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8" name="Freeform 1279"/>
            <p:cNvSpPr>
              <a:spLocks noChangeArrowheads="1"/>
            </p:cNvSpPr>
            <p:nvPr/>
          </p:nvSpPr>
          <p:spPr bwMode="auto">
            <a:xfrm>
              <a:off x="4432300" y="2654300"/>
              <a:ext cx="1588" cy="1588"/>
            </a:xfrm>
            <a:custGeom>
              <a:avLst/>
              <a:gdLst>
                <a:gd name="T0" fmla="*/ 2 w 3"/>
                <a:gd name="T1" fmla="*/ 0 h 3"/>
                <a:gd name="T2" fmla="*/ 2 w 3"/>
                <a:gd name="T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2"/>
                    <a:pt x="0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9" name="Freeform 1280"/>
            <p:cNvSpPr>
              <a:spLocks noChangeArrowheads="1"/>
            </p:cNvSpPr>
            <p:nvPr/>
          </p:nvSpPr>
          <p:spPr bwMode="auto">
            <a:xfrm>
              <a:off x="4405313" y="2644775"/>
              <a:ext cx="4762" cy="7938"/>
            </a:xfrm>
            <a:custGeom>
              <a:avLst/>
              <a:gdLst>
                <a:gd name="T0" fmla="*/ 0 w 13"/>
                <a:gd name="T1" fmla="*/ 11 h 24"/>
                <a:gd name="T2" fmla="*/ 0 w 13"/>
                <a:gd name="T3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4">
                  <a:moveTo>
                    <a:pt x="0" y="11"/>
                  </a:moveTo>
                  <a:cubicBezTo>
                    <a:pt x="3" y="23"/>
                    <a:pt x="12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0" name="Freeform 1281"/>
            <p:cNvSpPr>
              <a:spLocks noChangeArrowheads="1"/>
            </p:cNvSpPr>
            <p:nvPr/>
          </p:nvSpPr>
          <p:spPr bwMode="auto">
            <a:xfrm>
              <a:off x="4435475" y="2654300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6 w 7"/>
                <a:gd name="T3" fmla="*/ 0 h 7"/>
                <a:gd name="T4" fmla="*/ 0 w 7"/>
                <a:gd name="T5" fmla="*/ 0 h 7"/>
                <a:gd name="T6" fmla="*/ 0 w 7"/>
                <a:gd name="T7" fmla="*/ 6 h 7"/>
                <a:gd name="T8" fmla="*/ 6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1" name="Freeform 1282"/>
            <p:cNvSpPr>
              <a:spLocks noChangeArrowheads="1"/>
            </p:cNvSpPr>
            <p:nvPr/>
          </p:nvSpPr>
          <p:spPr bwMode="auto">
            <a:xfrm>
              <a:off x="4446588" y="2655888"/>
              <a:ext cx="6350" cy="4762"/>
            </a:xfrm>
            <a:custGeom>
              <a:avLst/>
              <a:gdLst>
                <a:gd name="T0" fmla="*/ 11 w 18"/>
                <a:gd name="T1" fmla="*/ 14 h 15"/>
                <a:gd name="T2" fmla="*/ 6 w 18"/>
                <a:gd name="T3" fmla="*/ 0 h 15"/>
                <a:gd name="T4" fmla="*/ 11 w 18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1" y="14"/>
                  </a:moveTo>
                  <a:cubicBezTo>
                    <a:pt x="17" y="6"/>
                    <a:pt x="9" y="3"/>
                    <a:pt x="6" y="0"/>
                  </a:cubicBezTo>
                  <a:cubicBezTo>
                    <a:pt x="0" y="8"/>
                    <a:pt x="6" y="11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2" name="Freeform 1283"/>
            <p:cNvSpPr>
              <a:spLocks noChangeArrowheads="1"/>
            </p:cNvSpPr>
            <p:nvPr/>
          </p:nvSpPr>
          <p:spPr bwMode="auto">
            <a:xfrm>
              <a:off x="4445000" y="2659063"/>
              <a:ext cx="1588" cy="1587"/>
            </a:xfrm>
            <a:custGeom>
              <a:avLst/>
              <a:gdLst>
                <a:gd name="T0" fmla="*/ 0 w 4"/>
                <a:gd name="T1" fmla="*/ 2 h 6"/>
                <a:gd name="T2" fmla="*/ 0 w 4"/>
                <a:gd name="T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6">
                  <a:moveTo>
                    <a:pt x="0" y="2"/>
                  </a:moveTo>
                  <a:cubicBezTo>
                    <a:pt x="3" y="5"/>
                    <a:pt x="0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3" name="Freeform 1284"/>
            <p:cNvSpPr>
              <a:spLocks noChangeArrowheads="1"/>
            </p:cNvSpPr>
            <p:nvPr/>
          </p:nvSpPr>
          <p:spPr bwMode="auto">
            <a:xfrm>
              <a:off x="4419600" y="2655888"/>
              <a:ext cx="4763" cy="4762"/>
            </a:xfrm>
            <a:custGeom>
              <a:avLst/>
              <a:gdLst>
                <a:gd name="T0" fmla="*/ 11 w 12"/>
                <a:gd name="T1" fmla="*/ 11 h 12"/>
                <a:gd name="T2" fmla="*/ 6 w 12"/>
                <a:gd name="T3" fmla="*/ 0 h 12"/>
                <a:gd name="T4" fmla="*/ 11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11" y="11"/>
                  </a:moveTo>
                  <a:cubicBezTo>
                    <a:pt x="11" y="9"/>
                    <a:pt x="11" y="3"/>
                    <a:pt x="6" y="0"/>
                  </a:cubicBezTo>
                  <a:cubicBezTo>
                    <a:pt x="0" y="6"/>
                    <a:pt x="3" y="11"/>
                    <a:pt x="1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4" name="Freeform 1285"/>
            <p:cNvSpPr>
              <a:spLocks noChangeArrowheads="1"/>
            </p:cNvSpPr>
            <p:nvPr/>
          </p:nvSpPr>
          <p:spPr bwMode="auto">
            <a:xfrm>
              <a:off x="4433888" y="2655888"/>
              <a:ext cx="6350" cy="4762"/>
            </a:xfrm>
            <a:custGeom>
              <a:avLst/>
              <a:gdLst>
                <a:gd name="T0" fmla="*/ 0 w 18"/>
                <a:gd name="T1" fmla="*/ 8 h 15"/>
                <a:gd name="T2" fmla="*/ 0 w 18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5">
                  <a:moveTo>
                    <a:pt x="0" y="8"/>
                  </a:moveTo>
                  <a:cubicBezTo>
                    <a:pt x="17" y="14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5" name="Freeform 1286"/>
            <p:cNvSpPr>
              <a:spLocks noChangeArrowheads="1"/>
            </p:cNvSpPr>
            <p:nvPr/>
          </p:nvSpPr>
          <p:spPr bwMode="auto">
            <a:xfrm>
              <a:off x="4440238" y="2659063"/>
              <a:ext cx="3175" cy="7937"/>
            </a:xfrm>
            <a:custGeom>
              <a:avLst/>
              <a:gdLst>
                <a:gd name="T0" fmla="*/ 0 w 7"/>
                <a:gd name="T1" fmla="*/ 12 h 24"/>
                <a:gd name="T2" fmla="*/ 0 w 7"/>
                <a:gd name="T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4">
                  <a:moveTo>
                    <a:pt x="0" y="12"/>
                  </a:moveTo>
                  <a:cubicBezTo>
                    <a:pt x="6" y="23"/>
                    <a:pt x="6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6" name="Freeform 1287"/>
            <p:cNvSpPr>
              <a:spLocks noChangeArrowheads="1"/>
            </p:cNvSpPr>
            <p:nvPr/>
          </p:nvSpPr>
          <p:spPr bwMode="auto">
            <a:xfrm>
              <a:off x="4406900" y="2654300"/>
              <a:ext cx="4763" cy="4763"/>
            </a:xfrm>
            <a:custGeom>
              <a:avLst/>
              <a:gdLst>
                <a:gd name="T0" fmla="*/ 0 w 12"/>
                <a:gd name="T1" fmla="*/ 9 h 15"/>
                <a:gd name="T2" fmla="*/ 0 w 12"/>
                <a:gd name="T3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0" y="9"/>
                  </a:moveTo>
                  <a:cubicBezTo>
                    <a:pt x="11" y="14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7" name="Freeform 1288"/>
            <p:cNvSpPr>
              <a:spLocks noChangeArrowheads="1"/>
            </p:cNvSpPr>
            <p:nvPr/>
          </p:nvSpPr>
          <p:spPr bwMode="auto">
            <a:xfrm>
              <a:off x="4395788" y="2655888"/>
              <a:ext cx="4762" cy="7937"/>
            </a:xfrm>
            <a:custGeom>
              <a:avLst/>
              <a:gdLst>
                <a:gd name="T0" fmla="*/ 14 w 15"/>
                <a:gd name="T1" fmla="*/ 14 h 24"/>
                <a:gd name="T2" fmla="*/ 14 w 15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14" y="14"/>
                  </a:moveTo>
                  <a:cubicBezTo>
                    <a:pt x="0" y="0"/>
                    <a:pt x="0" y="23"/>
                    <a:pt x="14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8" name="Freeform 1289"/>
            <p:cNvSpPr>
              <a:spLocks noChangeArrowheads="1"/>
            </p:cNvSpPr>
            <p:nvPr/>
          </p:nvSpPr>
          <p:spPr bwMode="auto">
            <a:xfrm>
              <a:off x="4449763" y="2643188"/>
              <a:ext cx="4762" cy="4762"/>
            </a:xfrm>
            <a:custGeom>
              <a:avLst/>
              <a:gdLst>
                <a:gd name="T0" fmla="*/ 3 w 12"/>
                <a:gd name="T1" fmla="*/ 0 h 15"/>
                <a:gd name="T2" fmla="*/ 3 w 12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3" y="0"/>
                  </a:moveTo>
                  <a:cubicBezTo>
                    <a:pt x="0" y="14"/>
                    <a:pt x="11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9" name="Freeform 1290"/>
            <p:cNvSpPr>
              <a:spLocks noChangeArrowheads="1"/>
            </p:cNvSpPr>
            <p:nvPr/>
          </p:nvSpPr>
          <p:spPr bwMode="auto">
            <a:xfrm>
              <a:off x="4446588" y="2646363"/>
              <a:ext cx="4762" cy="4762"/>
            </a:xfrm>
            <a:custGeom>
              <a:avLst/>
              <a:gdLst>
                <a:gd name="T0" fmla="*/ 3 w 13"/>
                <a:gd name="T1" fmla="*/ 0 h 15"/>
                <a:gd name="T2" fmla="*/ 3 w 13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3" y="0"/>
                  </a:moveTo>
                  <a:cubicBezTo>
                    <a:pt x="0" y="14"/>
                    <a:pt x="12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0" name="Freeform 1291"/>
            <p:cNvSpPr>
              <a:spLocks noChangeArrowheads="1"/>
            </p:cNvSpPr>
            <p:nvPr/>
          </p:nvSpPr>
          <p:spPr bwMode="auto">
            <a:xfrm>
              <a:off x="4429125" y="2641600"/>
              <a:ext cx="3175" cy="3175"/>
            </a:xfrm>
            <a:custGeom>
              <a:avLst/>
              <a:gdLst>
                <a:gd name="T0" fmla="*/ 0 w 10"/>
                <a:gd name="T1" fmla="*/ 0 h 9"/>
                <a:gd name="T2" fmla="*/ 9 w 10"/>
                <a:gd name="T3" fmla="*/ 8 h 9"/>
                <a:gd name="T4" fmla="*/ 0 w 10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cubicBezTo>
                    <a:pt x="0" y="5"/>
                    <a:pt x="3" y="8"/>
                    <a:pt x="9" y="8"/>
                  </a:cubicBezTo>
                  <a:cubicBezTo>
                    <a:pt x="9" y="2"/>
                    <a:pt x="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1" name="Freeform 1292"/>
            <p:cNvSpPr>
              <a:spLocks noChangeArrowheads="1"/>
            </p:cNvSpPr>
            <p:nvPr/>
          </p:nvSpPr>
          <p:spPr bwMode="auto">
            <a:xfrm>
              <a:off x="4422775" y="2644775"/>
              <a:ext cx="4763" cy="4763"/>
            </a:xfrm>
            <a:custGeom>
              <a:avLst/>
              <a:gdLst>
                <a:gd name="T0" fmla="*/ 3 w 13"/>
                <a:gd name="T1" fmla="*/ 0 h 15"/>
                <a:gd name="T2" fmla="*/ 3 w 13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3" y="0"/>
                  </a:moveTo>
                  <a:cubicBezTo>
                    <a:pt x="0" y="14"/>
                    <a:pt x="12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2" name="Freeform 1293"/>
            <p:cNvSpPr>
              <a:spLocks noChangeArrowheads="1"/>
            </p:cNvSpPr>
            <p:nvPr/>
          </p:nvSpPr>
          <p:spPr bwMode="auto">
            <a:xfrm>
              <a:off x="4419600" y="2643188"/>
              <a:ext cx="4763" cy="4762"/>
            </a:xfrm>
            <a:custGeom>
              <a:avLst/>
              <a:gdLst>
                <a:gd name="T0" fmla="*/ 0 w 12"/>
                <a:gd name="T1" fmla="*/ 0 h 15"/>
                <a:gd name="T2" fmla="*/ 0 w 12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0" y="0"/>
                  </a:moveTo>
                  <a:cubicBezTo>
                    <a:pt x="0" y="14"/>
                    <a:pt x="11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3" name="Freeform 1294"/>
            <p:cNvSpPr>
              <a:spLocks noChangeArrowheads="1"/>
            </p:cNvSpPr>
            <p:nvPr/>
          </p:nvSpPr>
          <p:spPr bwMode="auto">
            <a:xfrm>
              <a:off x="4389438" y="2638425"/>
              <a:ext cx="11112" cy="6350"/>
            </a:xfrm>
            <a:custGeom>
              <a:avLst/>
              <a:gdLst>
                <a:gd name="T0" fmla="*/ 23 w 29"/>
                <a:gd name="T1" fmla="*/ 6 h 18"/>
                <a:gd name="T2" fmla="*/ 6 w 29"/>
                <a:gd name="T3" fmla="*/ 11 h 18"/>
                <a:gd name="T4" fmla="*/ 23 w 29"/>
                <a:gd name="T5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18">
                  <a:moveTo>
                    <a:pt x="23" y="6"/>
                  </a:moveTo>
                  <a:cubicBezTo>
                    <a:pt x="20" y="3"/>
                    <a:pt x="0" y="0"/>
                    <a:pt x="6" y="11"/>
                  </a:cubicBezTo>
                  <a:cubicBezTo>
                    <a:pt x="6" y="17"/>
                    <a:pt x="28" y="14"/>
                    <a:pt x="2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4" name="Freeform 1295"/>
            <p:cNvSpPr>
              <a:spLocks noChangeArrowheads="1"/>
            </p:cNvSpPr>
            <p:nvPr/>
          </p:nvSpPr>
          <p:spPr bwMode="auto">
            <a:xfrm>
              <a:off x="4397375" y="2649538"/>
              <a:ext cx="6350" cy="9525"/>
            </a:xfrm>
            <a:custGeom>
              <a:avLst/>
              <a:gdLst>
                <a:gd name="T0" fmla="*/ 14 w 18"/>
                <a:gd name="T1" fmla="*/ 0 h 27"/>
                <a:gd name="T2" fmla="*/ 8 w 18"/>
                <a:gd name="T3" fmla="*/ 26 h 27"/>
                <a:gd name="T4" fmla="*/ 14 w 1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7">
                  <a:moveTo>
                    <a:pt x="14" y="0"/>
                  </a:moveTo>
                  <a:cubicBezTo>
                    <a:pt x="3" y="0"/>
                    <a:pt x="0" y="17"/>
                    <a:pt x="8" y="26"/>
                  </a:cubicBezTo>
                  <a:cubicBezTo>
                    <a:pt x="14" y="17"/>
                    <a:pt x="17" y="9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5" name="Freeform 1296"/>
            <p:cNvSpPr>
              <a:spLocks noChangeArrowheads="1"/>
            </p:cNvSpPr>
            <p:nvPr/>
          </p:nvSpPr>
          <p:spPr bwMode="auto">
            <a:xfrm>
              <a:off x="4389438" y="2638425"/>
              <a:ext cx="6350" cy="9525"/>
            </a:xfrm>
            <a:custGeom>
              <a:avLst/>
              <a:gdLst>
                <a:gd name="T0" fmla="*/ 14 w 18"/>
                <a:gd name="T1" fmla="*/ 20 h 27"/>
                <a:gd name="T2" fmla="*/ 14 w 18"/>
                <a:gd name="T3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27">
                  <a:moveTo>
                    <a:pt x="14" y="20"/>
                  </a:moveTo>
                  <a:cubicBezTo>
                    <a:pt x="17" y="0"/>
                    <a:pt x="0" y="26"/>
                    <a:pt x="14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6" name="Freeform 1297"/>
            <p:cNvSpPr>
              <a:spLocks noChangeArrowheads="1"/>
            </p:cNvSpPr>
            <p:nvPr/>
          </p:nvSpPr>
          <p:spPr bwMode="auto">
            <a:xfrm>
              <a:off x="4405313" y="2649538"/>
              <a:ext cx="7937" cy="7937"/>
            </a:xfrm>
            <a:custGeom>
              <a:avLst/>
              <a:gdLst>
                <a:gd name="T0" fmla="*/ 14 w 24"/>
                <a:gd name="T1" fmla="*/ 23 h 24"/>
                <a:gd name="T2" fmla="*/ 23 w 24"/>
                <a:gd name="T3" fmla="*/ 14 h 24"/>
                <a:gd name="T4" fmla="*/ 14 w 24"/>
                <a:gd name="T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24">
                  <a:moveTo>
                    <a:pt x="14" y="23"/>
                  </a:moveTo>
                  <a:lnTo>
                    <a:pt x="23" y="14"/>
                  </a:lnTo>
                  <a:cubicBezTo>
                    <a:pt x="17" y="0"/>
                    <a:pt x="0" y="20"/>
                    <a:pt x="14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7" name="Freeform 1298"/>
            <p:cNvSpPr>
              <a:spLocks noChangeArrowheads="1"/>
            </p:cNvSpPr>
            <p:nvPr/>
          </p:nvSpPr>
          <p:spPr bwMode="auto">
            <a:xfrm>
              <a:off x="4410075" y="2641600"/>
              <a:ext cx="11113" cy="7938"/>
            </a:xfrm>
            <a:custGeom>
              <a:avLst/>
              <a:gdLst>
                <a:gd name="T0" fmla="*/ 0 w 33"/>
                <a:gd name="T1" fmla="*/ 8 h 23"/>
                <a:gd name="T2" fmla="*/ 23 w 33"/>
                <a:gd name="T3" fmla="*/ 22 h 23"/>
                <a:gd name="T4" fmla="*/ 32 w 33"/>
                <a:gd name="T5" fmla="*/ 14 h 23"/>
                <a:gd name="T6" fmla="*/ 9 w 33"/>
                <a:gd name="T7" fmla="*/ 2 h 23"/>
                <a:gd name="T8" fmla="*/ 0 w 33"/>
                <a:gd name="T9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0" y="8"/>
                  </a:moveTo>
                  <a:cubicBezTo>
                    <a:pt x="9" y="17"/>
                    <a:pt x="15" y="22"/>
                    <a:pt x="23" y="22"/>
                  </a:cubicBezTo>
                  <a:lnTo>
                    <a:pt x="32" y="14"/>
                  </a:lnTo>
                  <a:cubicBezTo>
                    <a:pt x="29" y="5"/>
                    <a:pt x="17" y="0"/>
                    <a:pt x="9" y="2"/>
                  </a:cubicBezTo>
                  <a:cubicBezTo>
                    <a:pt x="6" y="2"/>
                    <a:pt x="3" y="5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8" name="Freeform 1299"/>
            <p:cNvSpPr>
              <a:spLocks noChangeArrowheads="1"/>
            </p:cNvSpPr>
            <p:nvPr/>
          </p:nvSpPr>
          <p:spPr bwMode="auto">
            <a:xfrm>
              <a:off x="4438650" y="2657475"/>
              <a:ext cx="4763" cy="9525"/>
            </a:xfrm>
            <a:custGeom>
              <a:avLst/>
              <a:gdLst>
                <a:gd name="T0" fmla="*/ 12 w 13"/>
                <a:gd name="T1" fmla="*/ 14 h 26"/>
                <a:gd name="T2" fmla="*/ 12 w 13"/>
                <a:gd name="T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6">
                  <a:moveTo>
                    <a:pt x="12" y="14"/>
                  </a:moveTo>
                  <a:cubicBezTo>
                    <a:pt x="0" y="0"/>
                    <a:pt x="0" y="25"/>
                    <a:pt x="1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9" name="Freeform 1300"/>
            <p:cNvSpPr>
              <a:spLocks noChangeArrowheads="1"/>
            </p:cNvSpPr>
            <p:nvPr/>
          </p:nvSpPr>
          <p:spPr bwMode="auto">
            <a:xfrm>
              <a:off x="4425950" y="2646363"/>
              <a:ext cx="4763" cy="6350"/>
            </a:xfrm>
            <a:custGeom>
              <a:avLst/>
              <a:gdLst>
                <a:gd name="T0" fmla="*/ 5 w 12"/>
                <a:gd name="T1" fmla="*/ 17 h 18"/>
                <a:gd name="T2" fmla="*/ 8 w 12"/>
                <a:gd name="T3" fmla="*/ 3 h 18"/>
                <a:gd name="T4" fmla="*/ 5 w 12"/>
                <a:gd name="T5" fmla="*/ 0 h 18"/>
                <a:gd name="T6" fmla="*/ 3 w 12"/>
                <a:gd name="T7" fmla="*/ 14 h 18"/>
                <a:gd name="T8" fmla="*/ 5 w 12"/>
                <a:gd name="T9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8">
                  <a:moveTo>
                    <a:pt x="5" y="17"/>
                  </a:moveTo>
                  <a:cubicBezTo>
                    <a:pt x="11" y="14"/>
                    <a:pt x="11" y="8"/>
                    <a:pt x="8" y="3"/>
                  </a:cubicBezTo>
                  <a:cubicBezTo>
                    <a:pt x="8" y="0"/>
                    <a:pt x="5" y="0"/>
                    <a:pt x="5" y="0"/>
                  </a:cubicBezTo>
                  <a:cubicBezTo>
                    <a:pt x="0" y="3"/>
                    <a:pt x="0" y="8"/>
                    <a:pt x="3" y="14"/>
                  </a:cubicBezTo>
                  <a:cubicBezTo>
                    <a:pt x="3" y="14"/>
                    <a:pt x="5" y="14"/>
                    <a:pt x="5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0" name="Freeform 1301"/>
            <p:cNvSpPr>
              <a:spLocks noChangeArrowheads="1"/>
            </p:cNvSpPr>
            <p:nvPr/>
          </p:nvSpPr>
          <p:spPr bwMode="auto">
            <a:xfrm>
              <a:off x="4443413" y="2655888"/>
              <a:ext cx="4762" cy="7937"/>
            </a:xfrm>
            <a:custGeom>
              <a:avLst/>
              <a:gdLst>
                <a:gd name="T0" fmla="*/ 11 w 12"/>
                <a:gd name="T1" fmla="*/ 14 h 24"/>
                <a:gd name="T2" fmla="*/ 11 w 12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4">
                  <a:moveTo>
                    <a:pt x="11" y="14"/>
                  </a:moveTo>
                  <a:cubicBezTo>
                    <a:pt x="0" y="0"/>
                    <a:pt x="0" y="23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1" name="Freeform 1302"/>
            <p:cNvSpPr>
              <a:spLocks noChangeArrowheads="1"/>
            </p:cNvSpPr>
            <p:nvPr/>
          </p:nvSpPr>
          <p:spPr bwMode="auto">
            <a:xfrm>
              <a:off x="4457700" y="2667000"/>
              <a:ext cx="4763" cy="4763"/>
            </a:xfrm>
            <a:custGeom>
              <a:avLst/>
              <a:gdLst>
                <a:gd name="T0" fmla="*/ 6 w 13"/>
                <a:gd name="T1" fmla="*/ 0 h 12"/>
                <a:gd name="T2" fmla="*/ 0 w 13"/>
                <a:gd name="T3" fmla="*/ 6 h 12"/>
                <a:gd name="T4" fmla="*/ 6 w 13"/>
                <a:gd name="T5" fmla="*/ 11 h 12"/>
                <a:gd name="T6" fmla="*/ 12 w 13"/>
                <a:gd name="T7" fmla="*/ 6 h 12"/>
                <a:gd name="T8" fmla="*/ 6 w 13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6" y="0"/>
                  </a:moveTo>
                  <a:lnTo>
                    <a:pt x="0" y="6"/>
                  </a:lnTo>
                  <a:lnTo>
                    <a:pt x="6" y="11"/>
                  </a:lnTo>
                  <a:lnTo>
                    <a:pt x="12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2" name="Freeform 1303"/>
            <p:cNvSpPr>
              <a:spLocks noChangeArrowheads="1"/>
            </p:cNvSpPr>
            <p:nvPr/>
          </p:nvSpPr>
          <p:spPr bwMode="auto">
            <a:xfrm>
              <a:off x="4446588" y="2654300"/>
              <a:ext cx="4762" cy="4763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2 h 13"/>
                <a:gd name="T6" fmla="*/ 12 w 13"/>
                <a:gd name="T7" fmla="*/ 6 h 13"/>
                <a:gd name="T8" fmla="*/ 6 w 13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lnTo>
                    <a:pt x="0" y="6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3" name="Freeform 1304"/>
            <p:cNvSpPr>
              <a:spLocks noChangeArrowheads="1"/>
            </p:cNvSpPr>
            <p:nvPr/>
          </p:nvSpPr>
          <p:spPr bwMode="auto">
            <a:xfrm>
              <a:off x="4441825" y="2647950"/>
              <a:ext cx="7938" cy="4763"/>
            </a:xfrm>
            <a:custGeom>
              <a:avLst/>
              <a:gdLst>
                <a:gd name="T0" fmla="*/ 11 w 21"/>
                <a:gd name="T1" fmla="*/ 0 h 15"/>
                <a:gd name="T2" fmla="*/ 3 w 21"/>
                <a:gd name="T3" fmla="*/ 14 h 15"/>
                <a:gd name="T4" fmla="*/ 20 w 21"/>
                <a:gd name="T5" fmla="*/ 8 h 15"/>
                <a:gd name="T6" fmla="*/ 11 w 21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5">
                  <a:moveTo>
                    <a:pt x="11" y="0"/>
                  </a:moveTo>
                  <a:cubicBezTo>
                    <a:pt x="8" y="5"/>
                    <a:pt x="0" y="11"/>
                    <a:pt x="3" y="14"/>
                  </a:cubicBezTo>
                  <a:cubicBezTo>
                    <a:pt x="8" y="0"/>
                    <a:pt x="14" y="11"/>
                    <a:pt x="20" y="8"/>
                  </a:cubicBezTo>
                  <a:lnTo>
                    <a:pt x="11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4" name="Freeform 1305"/>
            <p:cNvSpPr>
              <a:spLocks noChangeArrowheads="1"/>
            </p:cNvSpPr>
            <p:nvPr/>
          </p:nvSpPr>
          <p:spPr bwMode="auto">
            <a:xfrm>
              <a:off x="4438650" y="2638425"/>
              <a:ext cx="6350" cy="9525"/>
            </a:xfrm>
            <a:custGeom>
              <a:avLst/>
              <a:gdLst>
                <a:gd name="T0" fmla="*/ 17 w 18"/>
                <a:gd name="T1" fmla="*/ 17 h 27"/>
                <a:gd name="T2" fmla="*/ 17 w 18"/>
                <a:gd name="T3" fmla="*/ 1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27">
                  <a:moveTo>
                    <a:pt x="17" y="17"/>
                  </a:moveTo>
                  <a:cubicBezTo>
                    <a:pt x="17" y="0"/>
                    <a:pt x="0" y="26"/>
                    <a:pt x="17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5" name="Freeform 1306"/>
            <p:cNvSpPr>
              <a:spLocks noChangeArrowheads="1"/>
            </p:cNvSpPr>
            <p:nvPr/>
          </p:nvSpPr>
          <p:spPr bwMode="auto">
            <a:xfrm>
              <a:off x="4457700" y="2654300"/>
              <a:ext cx="6350" cy="4763"/>
            </a:xfrm>
            <a:custGeom>
              <a:avLst/>
              <a:gdLst>
                <a:gd name="T0" fmla="*/ 0 w 18"/>
                <a:gd name="T1" fmla="*/ 5 h 15"/>
                <a:gd name="T2" fmla="*/ 9 w 18"/>
                <a:gd name="T3" fmla="*/ 14 h 15"/>
                <a:gd name="T4" fmla="*/ 17 w 18"/>
                <a:gd name="T5" fmla="*/ 5 h 15"/>
                <a:gd name="T6" fmla="*/ 3 w 18"/>
                <a:gd name="T7" fmla="*/ 2 h 15"/>
                <a:gd name="T8" fmla="*/ 0 w 18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0" y="5"/>
                  </a:moveTo>
                  <a:lnTo>
                    <a:pt x="9" y="14"/>
                  </a:lnTo>
                  <a:lnTo>
                    <a:pt x="17" y="5"/>
                  </a:lnTo>
                  <a:cubicBezTo>
                    <a:pt x="14" y="0"/>
                    <a:pt x="9" y="0"/>
                    <a:pt x="3" y="2"/>
                  </a:cubicBezTo>
                  <a:lnTo>
                    <a:pt x="0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6" name="Freeform 1307"/>
            <p:cNvSpPr>
              <a:spLocks noChangeArrowheads="1"/>
            </p:cNvSpPr>
            <p:nvPr/>
          </p:nvSpPr>
          <p:spPr bwMode="auto">
            <a:xfrm>
              <a:off x="4451350" y="2638425"/>
              <a:ext cx="3175" cy="7938"/>
            </a:xfrm>
            <a:custGeom>
              <a:avLst/>
              <a:gdLst>
                <a:gd name="T0" fmla="*/ 9 w 10"/>
                <a:gd name="T1" fmla="*/ 14 h 24"/>
                <a:gd name="T2" fmla="*/ 9 w 10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4">
                  <a:moveTo>
                    <a:pt x="9" y="14"/>
                  </a:moveTo>
                  <a:cubicBezTo>
                    <a:pt x="0" y="0"/>
                    <a:pt x="0" y="23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7" name="Freeform 1308"/>
            <p:cNvSpPr>
              <a:spLocks noChangeArrowheads="1"/>
            </p:cNvSpPr>
            <p:nvPr/>
          </p:nvSpPr>
          <p:spPr bwMode="auto">
            <a:xfrm>
              <a:off x="4457700" y="2638425"/>
              <a:ext cx="7938" cy="7938"/>
            </a:xfrm>
            <a:custGeom>
              <a:avLst/>
              <a:gdLst>
                <a:gd name="T0" fmla="*/ 20 w 21"/>
                <a:gd name="T1" fmla="*/ 8 h 21"/>
                <a:gd name="T2" fmla="*/ 0 w 21"/>
                <a:gd name="T3" fmla="*/ 6 h 21"/>
                <a:gd name="T4" fmla="*/ 20 w 21"/>
                <a:gd name="T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21">
                  <a:moveTo>
                    <a:pt x="20" y="8"/>
                  </a:moveTo>
                  <a:cubicBezTo>
                    <a:pt x="11" y="0"/>
                    <a:pt x="6" y="6"/>
                    <a:pt x="0" y="6"/>
                  </a:cubicBezTo>
                  <a:cubicBezTo>
                    <a:pt x="6" y="11"/>
                    <a:pt x="11" y="20"/>
                    <a:pt x="2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8" name="Freeform 1309"/>
            <p:cNvSpPr>
              <a:spLocks noChangeArrowheads="1"/>
            </p:cNvSpPr>
            <p:nvPr/>
          </p:nvSpPr>
          <p:spPr bwMode="auto">
            <a:xfrm>
              <a:off x="4414838" y="2652713"/>
              <a:ext cx="1587" cy="4762"/>
            </a:xfrm>
            <a:custGeom>
              <a:avLst/>
              <a:gdLst>
                <a:gd name="T0" fmla="*/ 0 w 4"/>
                <a:gd name="T1" fmla="*/ 11 h 12"/>
                <a:gd name="T2" fmla="*/ 0 w 4"/>
                <a:gd name="T3" fmla="*/ 8 h 12"/>
                <a:gd name="T4" fmla="*/ 0 w 4"/>
                <a:gd name="T5" fmla="*/ 11 h 12"/>
                <a:gd name="T6" fmla="*/ 1 w 4"/>
                <a:gd name="T7" fmla="*/ 6 h 12"/>
                <a:gd name="T8" fmla="*/ 0 w 4"/>
                <a:gd name="T9" fmla="*/ 8 h 12"/>
                <a:gd name="T10" fmla="*/ 0 w 4"/>
                <a:gd name="T11" fmla="*/ 8 h 12"/>
                <a:gd name="T12" fmla="*/ 1 w 4"/>
                <a:gd name="T13" fmla="*/ 6 h 12"/>
                <a:gd name="T14" fmla="*/ 3 w 4"/>
                <a:gd name="T15" fmla="*/ 0 h 12"/>
                <a:gd name="T16" fmla="*/ 1 w 4"/>
                <a:gd name="T17" fmla="*/ 6 h 12"/>
                <a:gd name="T18" fmla="*/ 3 w 4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2">
                  <a:moveTo>
                    <a:pt x="0" y="11"/>
                  </a:moveTo>
                  <a:cubicBezTo>
                    <a:pt x="0" y="10"/>
                    <a:pt x="0" y="9"/>
                    <a:pt x="0" y="8"/>
                  </a:cubicBezTo>
                  <a:cubicBezTo>
                    <a:pt x="2" y="8"/>
                    <a:pt x="0" y="11"/>
                    <a:pt x="0" y="11"/>
                  </a:cubicBezTo>
                  <a:close/>
                  <a:moveTo>
                    <a:pt x="1" y="6"/>
                  </a:moveTo>
                  <a:cubicBezTo>
                    <a:pt x="0" y="7"/>
                    <a:pt x="0" y="8"/>
                    <a:pt x="0" y="8"/>
                  </a:cubicBezTo>
                  <a:lnTo>
                    <a:pt x="0" y="8"/>
                  </a:lnTo>
                  <a:cubicBezTo>
                    <a:pt x="0" y="8"/>
                    <a:pt x="0" y="7"/>
                    <a:pt x="1" y="6"/>
                  </a:cubicBezTo>
                  <a:close/>
                  <a:moveTo>
                    <a:pt x="3" y="0"/>
                  </a:moveTo>
                  <a:cubicBezTo>
                    <a:pt x="3" y="0"/>
                    <a:pt x="3" y="2"/>
                    <a:pt x="1" y="6"/>
                  </a:cubicBezTo>
                  <a:cubicBezTo>
                    <a:pt x="1" y="3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9" name="Freeform 1310"/>
            <p:cNvSpPr>
              <a:spLocks noChangeArrowheads="1"/>
            </p:cNvSpPr>
            <p:nvPr/>
          </p:nvSpPr>
          <p:spPr bwMode="auto">
            <a:xfrm>
              <a:off x="4387850" y="2638425"/>
              <a:ext cx="6350" cy="9525"/>
            </a:xfrm>
            <a:custGeom>
              <a:avLst/>
              <a:gdLst>
                <a:gd name="T0" fmla="*/ 11 w 18"/>
                <a:gd name="T1" fmla="*/ 0 h 27"/>
                <a:gd name="T2" fmla="*/ 0 w 18"/>
                <a:gd name="T3" fmla="*/ 14 h 27"/>
                <a:gd name="T4" fmla="*/ 11 w 1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7">
                  <a:moveTo>
                    <a:pt x="11" y="0"/>
                  </a:moveTo>
                  <a:cubicBezTo>
                    <a:pt x="8" y="9"/>
                    <a:pt x="2" y="6"/>
                    <a:pt x="0" y="14"/>
                  </a:cubicBezTo>
                  <a:cubicBezTo>
                    <a:pt x="8" y="26"/>
                    <a:pt x="17" y="3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0" name="Freeform 1311"/>
            <p:cNvSpPr>
              <a:spLocks noChangeArrowheads="1"/>
            </p:cNvSpPr>
            <p:nvPr/>
          </p:nvSpPr>
          <p:spPr bwMode="auto">
            <a:xfrm>
              <a:off x="4410075" y="2636838"/>
              <a:ext cx="7938" cy="6350"/>
            </a:xfrm>
            <a:custGeom>
              <a:avLst/>
              <a:gdLst>
                <a:gd name="T0" fmla="*/ 11 w 23"/>
                <a:gd name="T1" fmla="*/ 17 h 18"/>
                <a:gd name="T2" fmla="*/ 11 w 23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8">
                  <a:moveTo>
                    <a:pt x="11" y="17"/>
                  </a:moveTo>
                  <a:cubicBezTo>
                    <a:pt x="22" y="0"/>
                    <a:pt x="0" y="12"/>
                    <a:pt x="11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1" name="Freeform 1312"/>
            <p:cNvSpPr>
              <a:spLocks noChangeArrowheads="1"/>
            </p:cNvSpPr>
            <p:nvPr/>
          </p:nvSpPr>
          <p:spPr bwMode="auto">
            <a:xfrm>
              <a:off x="4414838" y="2638425"/>
              <a:ext cx="7937" cy="4763"/>
            </a:xfrm>
            <a:custGeom>
              <a:avLst/>
              <a:gdLst>
                <a:gd name="T0" fmla="*/ 11 w 21"/>
                <a:gd name="T1" fmla="*/ 14 h 15"/>
                <a:gd name="T2" fmla="*/ 11 w 21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5">
                  <a:moveTo>
                    <a:pt x="11" y="14"/>
                  </a:moveTo>
                  <a:cubicBezTo>
                    <a:pt x="20" y="0"/>
                    <a:pt x="0" y="9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2" name="Freeform 1313"/>
            <p:cNvSpPr>
              <a:spLocks noChangeArrowheads="1"/>
            </p:cNvSpPr>
            <p:nvPr/>
          </p:nvSpPr>
          <p:spPr bwMode="auto">
            <a:xfrm>
              <a:off x="4432300" y="2655888"/>
              <a:ext cx="7938" cy="4762"/>
            </a:xfrm>
            <a:custGeom>
              <a:avLst/>
              <a:gdLst>
                <a:gd name="T0" fmla="*/ 11 w 23"/>
                <a:gd name="T1" fmla="*/ 14 h 15"/>
                <a:gd name="T2" fmla="*/ 11 w 23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5">
                  <a:moveTo>
                    <a:pt x="11" y="14"/>
                  </a:moveTo>
                  <a:cubicBezTo>
                    <a:pt x="22" y="0"/>
                    <a:pt x="0" y="9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3" name="Freeform 1314"/>
            <p:cNvSpPr>
              <a:spLocks noChangeArrowheads="1"/>
            </p:cNvSpPr>
            <p:nvPr/>
          </p:nvSpPr>
          <p:spPr bwMode="auto">
            <a:xfrm>
              <a:off x="4441825" y="2647950"/>
              <a:ext cx="7938" cy="4763"/>
            </a:xfrm>
            <a:custGeom>
              <a:avLst/>
              <a:gdLst>
                <a:gd name="T0" fmla="*/ 11 w 21"/>
                <a:gd name="T1" fmla="*/ 14 h 15"/>
                <a:gd name="T2" fmla="*/ 11 w 21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5">
                  <a:moveTo>
                    <a:pt x="11" y="14"/>
                  </a:moveTo>
                  <a:cubicBezTo>
                    <a:pt x="20" y="0"/>
                    <a:pt x="0" y="8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4" name="Freeform 1315"/>
            <p:cNvSpPr>
              <a:spLocks noChangeArrowheads="1"/>
            </p:cNvSpPr>
            <p:nvPr/>
          </p:nvSpPr>
          <p:spPr bwMode="auto">
            <a:xfrm>
              <a:off x="4460875" y="2643188"/>
              <a:ext cx="4763" cy="6350"/>
            </a:xfrm>
            <a:custGeom>
              <a:avLst/>
              <a:gdLst>
                <a:gd name="T0" fmla="*/ 2 w 15"/>
                <a:gd name="T1" fmla="*/ 0 h 18"/>
                <a:gd name="T2" fmla="*/ 5 w 15"/>
                <a:gd name="T3" fmla="*/ 14 h 18"/>
                <a:gd name="T4" fmla="*/ 11 w 15"/>
                <a:gd name="T5" fmla="*/ 17 h 18"/>
                <a:gd name="T6" fmla="*/ 8 w 15"/>
                <a:gd name="T7" fmla="*/ 3 h 18"/>
                <a:gd name="T8" fmla="*/ 2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2" y="0"/>
                  </a:moveTo>
                  <a:cubicBezTo>
                    <a:pt x="0" y="6"/>
                    <a:pt x="0" y="12"/>
                    <a:pt x="5" y="14"/>
                  </a:cubicBezTo>
                  <a:cubicBezTo>
                    <a:pt x="8" y="14"/>
                    <a:pt x="8" y="17"/>
                    <a:pt x="11" y="17"/>
                  </a:cubicBezTo>
                  <a:cubicBezTo>
                    <a:pt x="14" y="12"/>
                    <a:pt x="14" y="6"/>
                    <a:pt x="8" y="3"/>
                  </a:cubicBezTo>
                  <a:cubicBezTo>
                    <a:pt x="5" y="0"/>
                    <a:pt x="5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5" name="Freeform 1316"/>
            <p:cNvSpPr>
              <a:spLocks noChangeArrowheads="1"/>
            </p:cNvSpPr>
            <p:nvPr/>
          </p:nvSpPr>
          <p:spPr bwMode="auto">
            <a:xfrm>
              <a:off x="3863975" y="2724150"/>
              <a:ext cx="3175" cy="3175"/>
            </a:xfrm>
            <a:custGeom>
              <a:avLst/>
              <a:gdLst>
                <a:gd name="T0" fmla="*/ 8 w 9"/>
                <a:gd name="T1" fmla="*/ 3 h 9"/>
                <a:gd name="T2" fmla="*/ 8 w 9"/>
                <a:gd name="T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9">
                  <a:moveTo>
                    <a:pt x="8" y="3"/>
                  </a:moveTo>
                  <a:cubicBezTo>
                    <a:pt x="0" y="0"/>
                    <a:pt x="8" y="8"/>
                    <a:pt x="8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6" name="Freeform 1317"/>
            <p:cNvSpPr>
              <a:spLocks noChangeArrowheads="1"/>
            </p:cNvSpPr>
            <p:nvPr/>
          </p:nvSpPr>
          <p:spPr bwMode="auto">
            <a:xfrm>
              <a:off x="3878263" y="2717800"/>
              <a:ext cx="4762" cy="3175"/>
            </a:xfrm>
            <a:custGeom>
              <a:avLst/>
              <a:gdLst>
                <a:gd name="T0" fmla="*/ 11 w 15"/>
                <a:gd name="T1" fmla="*/ 3 h 10"/>
                <a:gd name="T2" fmla="*/ 6 w 15"/>
                <a:gd name="T3" fmla="*/ 0 h 10"/>
                <a:gd name="T4" fmla="*/ 11 w 15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11" y="3"/>
                  </a:moveTo>
                  <a:lnTo>
                    <a:pt x="6" y="0"/>
                  </a:lnTo>
                  <a:cubicBezTo>
                    <a:pt x="0" y="6"/>
                    <a:pt x="14" y="9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7" name="Freeform 1318"/>
            <p:cNvSpPr>
              <a:spLocks noChangeArrowheads="1"/>
            </p:cNvSpPr>
            <p:nvPr/>
          </p:nvSpPr>
          <p:spPr bwMode="auto">
            <a:xfrm>
              <a:off x="3860800" y="2716213"/>
              <a:ext cx="3175" cy="4762"/>
            </a:xfrm>
            <a:custGeom>
              <a:avLst/>
              <a:gdLst>
                <a:gd name="T0" fmla="*/ 8 w 9"/>
                <a:gd name="T1" fmla="*/ 2 h 12"/>
                <a:gd name="T2" fmla="*/ 8 w 9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8" y="2"/>
                  </a:moveTo>
                  <a:cubicBezTo>
                    <a:pt x="0" y="0"/>
                    <a:pt x="8" y="11"/>
                    <a:pt x="8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8" name="Freeform 1319"/>
            <p:cNvSpPr>
              <a:spLocks noChangeArrowheads="1"/>
            </p:cNvSpPr>
            <p:nvPr/>
          </p:nvSpPr>
          <p:spPr bwMode="auto">
            <a:xfrm>
              <a:off x="3900488" y="2714625"/>
              <a:ext cx="3175" cy="6350"/>
            </a:xfrm>
            <a:custGeom>
              <a:avLst/>
              <a:gdLst>
                <a:gd name="T0" fmla="*/ 9 w 10"/>
                <a:gd name="T1" fmla="*/ 8 h 18"/>
                <a:gd name="T2" fmla="*/ 9 w 10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8"/>
                  </a:moveTo>
                  <a:cubicBezTo>
                    <a:pt x="0" y="0"/>
                    <a:pt x="3" y="17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9" name="Freeform 1320"/>
            <p:cNvSpPr>
              <a:spLocks noChangeArrowheads="1"/>
            </p:cNvSpPr>
            <p:nvPr/>
          </p:nvSpPr>
          <p:spPr bwMode="auto">
            <a:xfrm>
              <a:off x="3879850" y="2714625"/>
              <a:ext cx="4763" cy="3175"/>
            </a:xfrm>
            <a:custGeom>
              <a:avLst/>
              <a:gdLst>
                <a:gd name="T0" fmla="*/ 11 w 15"/>
                <a:gd name="T1" fmla="*/ 8 h 9"/>
                <a:gd name="T2" fmla="*/ 3 w 15"/>
                <a:gd name="T3" fmla="*/ 0 h 9"/>
                <a:gd name="T4" fmla="*/ 11 w 15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1" y="8"/>
                  </a:moveTo>
                  <a:cubicBezTo>
                    <a:pt x="14" y="0"/>
                    <a:pt x="8" y="0"/>
                    <a:pt x="3" y="0"/>
                  </a:cubicBezTo>
                  <a:cubicBezTo>
                    <a:pt x="0" y="5"/>
                    <a:pt x="3" y="8"/>
                    <a:pt x="11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0" name="Freeform 1321"/>
            <p:cNvSpPr>
              <a:spLocks noChangeArrowheads="1"/>
            </p:cNvSpPr>
            <p:nvPr/>
          </p:nvSpPr>
          <p:spPr bwMode="auto">
            <a:xfrm>
              <a:off x="3868738" y="2711450"/>
              <a:ext cx="4762" cy="4763"/>
            </a:xfrm>
            <a:custGeom>
              <a:avLst/>
              <a:gdLst>
                <a:gd name="T0" fmla="*/ 11 w 12"/>
                <a:gd name="T1" fmla="*/ 11 h 12"/>
                <a:gd name="T2" fmla="*/ 5 w 12"/>
                <a:gd name="T3" fmla="*/ 0 h 12"/>
                <a:gd name="T4" fmla="*/ 11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11" y="11"/>
                  </a:moveTo>
                  <a:cubicBezTo>
                    <a:pt x="11" y="6"/>
                    <a:pt x="11" y="3"/>
                    <a:pt x="5" y="0"/>
                  </a:cubicBezTo>
                  <a:cubicBezTo>
                    <a:pt x="8" y="9"/>
                    <a:pt x="0" y="11"/>
                    <a:pt x="1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1" name="Freeform 1322"/>
            <p:cNvSpPr>
              <a:spLocks noChangeArrowheads="1"/>
            </p:cNvSpPr>
            <p:nvPr/>
          </p:nvSpPr>
          <p:spPr bwMode="auto">
            <a:xfrm>
              <a:off x="3867150" y="271303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2" name="Freeform 1323"/>
            <p:cNvSpPr>
              <a:spLocks noChangeArrowheads="1"/>
            </p:cNvSpPr>
            <p:nvPr/>
          </p:nvSpPr>
          <p:spPr bwMode="auto">
            <a:xfrm>
              <a:off x="3860800" y="2713038"/>
              <a:ext cx="4763" cy="3175"/>
            </a:xfrm>
            <a:custGeom>
              <a:avLst/>
              <a:gdLst>
                <a:gd name="T0" fmla="*/ 14 w 15"/>
                <a:gd name="T1" fmla="*/ 3 h 9"/>
                <a:gd name="T2" fmla="*/ 0 w 15"/>
                <a:gd name="T3" fmla="*/ 6 h 9"/>
                <a:gd name="T4" fmla="*/ 14 w 15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3"/>
                  </a:moveTo>
                  <a:cubicBezTo>
                    <a:pt x="11" y="3"/>
                    <a:pt x="0" y="0"/>
                    <a:pt x="0" y="6"/>
                  </a:cubicBezTo>
                  <a:cubicBezTo>
                    <a:pt x="6" y="3"/>
                    <a:pt x="14" y="8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3" name="Freeform 1324"/>
            <p:cNvSpPr>
              <a:spLocks noChangeArrowheads="1"/>
            </p:cNvSpPr>
            <p:nvPr/>
          </p:nvSpPr>
          <p:spPr bwMode="auto">
            <a:xfrm>
              <a:off x="3919538" y="2716213"/>
              <a:ext cx="4762" cy="4762"/>
            </a:xfrm>
            <a:custGeom>
              <a:avLst/>
              <a:gdLst>
                <a:gd name="T0" fmla="*/ 11 w 12"/>
                <a:gd name="T1" fmla="*/ 2 h 12"/>
                <a:gd name="T2" fmla="*/ 11 w 12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11" y="2"/>
                  </a:moveTo>
                  <a:cubicBezTo>
                    <a:pt x="0" y="0"/>
                    <a:pt x="8" y="11"/>
                    <a:pt x="11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4" name="Freeform 1325"/>
            <p:cNvSpPr>
              <a:spLocks noChangeArrowheads="1"/>
            </p:cNvSpPr>
            <p:nvPr/>
          </p:nvSpPr>
          <p:spPr bwMode="auto">
            <a:xfrm>
              <a:off x="3895725" y="2714625"/>
              <a:ext cx="4763" cy="1588"/>
            </a:xfrm>
            <a:custGeom>
              <a:avLst/>
              <a:gdLst>
                <a:gd name="T0" fmla="*/ 8 w 12"/>
                <a:gd name="T1" fmla="*/ 0 h 6"/>
                <a:gd name="T2" fmla="*/ 0 w 12"/>
                <a:gd name="T3" fmla="*/ 5 h 6"/>
                <a:gd name="T4" fmla="*/ 8 w 12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6">
                  <a:moveTo>
                    <a:pt x="8" y="0"/>
                  </a:moveTo>
                  <a:cubicBezTo>
                    <a:pt x="6" y="0"/>
                    <a:pt x="3" y="0"/>
                    <a:pt x="0" y="5"/>
                  </a:cubicBezTo>
                  <a:cubicBezTo>
                    <a:pt x="6" y="5"/>
                    <a:pt x="11" y="5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5" name="Freeform 1326"/>
            <p:cNvSpPr>
              <a:spLocks noChangeArrowheads="1"/>
            </p:cNvSpPr>
            <p:nvPr/>
          </p:nvSpPr>
          <p:spPr bwMode="auto">
            <a:xfrm>
              <a:off x="3910013" y="2711450"/>
              <a:ext cx="3175" cy="6350"/>
            </a:xfrm>
            <a:custGeom>
              <a:avLst/>
              <a:gdLst>
                <a:gd name="T0" fmla="*/ 8 w 9"/>
                <a:gd name="T1" fmla="*/ 9 h 18"/>
                <a:gd name="T2" fmla="*/ 8 w 9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9"/>
                  </a:moveTo>
                  <a:cubicBezTo>
                    <a:pt x="5" y="0"/>
                    <a:pt x="0" y="17"/>
                    <a:pt x="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6" name="Freeform 1327"/>
            <p:cNvSpPr>
              <a:spLocks noChangeArrowheads="1"/>
            </p:cNvSpPr>
            <p:nvPr/>
          </p:nvSpPr>
          <p:spPr bwMode="auto">
            <a:xfrm>
              <a:off x="3886200" y="2711450"/>
              <a:ext cx="1588" cy="317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6 h 7"/>
                <a:gd name="T4" fmla="*/ 5 w 6"/>
                <a:gd name="T5" fmla="*/ 6 h 7"/>
                <a:gd name="T6" fmla="*/ 5 w 6"/>
                <a:gd name="T7" fmla="*/ 0 h 7"/>
                <a:gd name="T8" fmla="*/ 0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7" name="Freeform 1328"/>
            <p:cNvSpPr>
              <a:spLocks noChangeArrowheads="1"/>
            </p:cNvSpPr>
            <p:nvPr/>
          </p:nvSpPr>
          <p:spPr bwMode="auto">
            <a:xfrm>
              <a:off x="3873500" y="2709863"/>
              <a:ext cx="4763" cy="4762"/>
            </a:xfrm>
            <a:custGeom>
              <a:avLst/>
              <a:gdLst>
                <a:gd name="T0" fmla="*/ 3 w 12"/>
                <a:gd name="T1" fmla="*/ 0 h 13"/>
                <a:gd name="T2" fmla="*/ 8 w 12"/>
                <a:gd name="T3" fmla="*/ 12 h 13"/>
                <a:gd name="T4" fmla="*/ 3 w 12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3">
                  <a:moveTo>
                    <a:pt x="3" y="0"/>
                  </a:moveTo>
                  <a:cubicBezTo>
                    <a:pt x="0" y="9"/>
                    <a:pt x="5" y="9"/>
                    <a:pt x="8" y="12"/>
                  </a:cubicBezTo>
                  <a:cubicBezTo>
                    <a:pt x="11" y="3"/>
                    <a:pt x="5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8" name="Freeform 1329"/>
            <p:cNvSpPr>
              <a:spLocks noChangeArrowheads="1"/>
            </p:cNvSpPr>
            <p:nvPr/>
          </p:nvSpPr>
          <p:spPr bwMode="auto">
            <a:xfrm>
              <a:off x="3878263" y="2709863"/>
              <a:ext cx="1587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9" name="Freeform 1330"/>
            <p:cNvSpPr>
              <a:spLocks noChangeArrowheads="1"/>
            </p:cNvSpPr>
            <p:nvPr/>
          </p:nvSpPr>
          <p:spPr bwMode="auto">
            <a:xfrm>
              <a:off x="3897313" y="2708275"/>
              <a:ext cx="3175" cy="3175"/>
            </a:xfrm>
            <a:custGeom>
              <a:avLst/>
              <a:gdLst>
                <a:gd name="T0" fmla="*/ 0 w 9"/>
                <a:gd name="T1" fmla="*/ 0 h 9"/>
                <a:gd name="T2" fmla="*/ 5 w 9"/>
                <a:gd name="T3" fmla="*/ 8 h 9"/>
                <a:gd name="T4" fmla="*/ 0 w 9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cubicBezTo>
                    <a:pt x="0" y="3"/>
                    <a:pt x="0" y="5"/>
                    <a:pt x="5" y="8"/>
                  </a:cubicBezTo>
                  <a:cubicBezTo>
                    <a:pt x="8" y="5"/>
                    <a:pt x="5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0" name="Freeform 1331"/>
            <p:cNvSpPr>
              <a:spLocks noChangeArrowheads="1"/>
            </p:cNvSpPr>
            <p:nvPr/>
          </p:nvSpPr>
          <p:spPr bwMode="auto">
            <a:xfrm>
              <a:off x="3883025" y="2708275"/>
              <a:ext cx="4763" cy="4763"/>
            </a:xfrm>
            <a:custGeom>
              <a:avLst/>
              <a:gdLst>
                <a:gd name="T0" fmla="*/ 14 w 15"/>
                <a:gd name="T1" fmla="*/ 5 h 12"/>
                <a:gd name="T2" fmla="*/ 14 w 15"/>
                <a:gd name="T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2">
                  <a:moveTo>
                    <a:pt x="14" y="5"/>
                  </a:moveTo>
                  <a:cubicBezTo>
                    <a:pt x="0" y="0"/>
                    <a:pt x="8" y="11"/>
                    <a:pt x="14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1" name="Freeform 1332"/>
            <p:cNvSpPr>
              <a:spLocks noChangeArrowheads="1"/>
            </p:cNvSpPr>
            <p:nvPr/>
          </p:nvSpPr>
          <p:spPr bwMode="auto">
            <a:xfrm>
              <a:off x="3879850" y="2705100"/>
              <a:ext cx="1588" cy="6350"/>
            </a:xfrm>
            <a:custGeom>
              <a:avLst/>
              <a:gdLst>
                <a:gd name="T0" fmla="*/ 5 w 6"/>
                <a:gd name="T1" fmla="*/ 8 h 17"/>
                <a:gd name="T2" fmla="*/ 5 w 6"/>
                <a:gd name="T3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7">
                  <a:moveTo>
                    <a:pt x="5" y="8"/>
                  </a:moveTo>
                  <a:cubicBezTo>
                    <a:pt x="0" y="0"/>
                    <a:pt x="3" y="16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2" name="Freeform 1333"/>
            <p:cNvSpPr>
              <a:spLocks noChangeArrowheads="1"/>
            </p:cNvSpPr>
            <p:nvPr/>
          </p:nvSpPr>
          <p:spPr bwMode="auto">
            <a:xfrm>
              <a:off x="3906838" y="2706688"/>
              <a:ext cx="4762" cy="4762"/>
            </a:xfrm>
            <a:custGeom>
              <a:avLst/>
              <a:gdLst>
                <a:gd name="T0" fmla="*/ 11 w 12"/>
                <a:gd name="T1" fmla="*/ 3 h 12"/>
                <a:gd name="T2" fmla="*/ 11 w 12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11" y="3"/>
                  </a:moveTo>
                  <a:cubicBezTo>
                    <a:pt x="0" y="0"/>
                    <a:pt x="8" y="11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3" name="Freeform 1334"/>
            <p:cNvSpPr>
              <a:spLocks noChangeArrowheads="1"/>
            </p:cNvSpPr>
            <p:nvPr/>
          </p:nvSpPr>
          <p:spPr bwMode="auto">
            <a:xfrm>
              <a:off x="3914775" y="2701925"/>
              <a:ext cx="4763" cy="7938"/>
            </a:xfrm>
            <a:custGeom>
              <a:avLst/>
              <a:gdLst>
                <a:gd name="T0" fmla="*/ 0 w 15"/>
                <a:gd name="T1" fmla="*/ 8 h 21"/>
                <a:gd name="T2" fmla="*/ 0 w 15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0" y="8"/>
                  </a:moveTo>
                  <a:cubicBezTo>
                    <a:pt x="14" y="20"/>
                    <a:pt x="11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4" name="Freeform 1335"/>
            <p:cNvSpPr>
              <a:spLocks noChangeArrowheads="1"/>
            </p:cNvSpPr>
            <p:nvPr/>
          </p:nvSpPr>
          <p:spPr bwMode="auto">
            <a:xfrm>
              <a:off x="3875088" y="2720975"/>
              <a:ext cx="1587" cy="4763"/>
            </a:xfrm>
            <a:custGeom>
              <a:avLst/>
              <a:gdLst>
                <a:gd name="T0" fmla="*/ 5 w 6"/>
                <a:gd name="T1" fmla="*/ 11 h 12"/>
                <a:gd name="T2" fmla="*/ 5 w 6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2">
                  <a:moveTo>
                    <a:pt x="5" y="11"/>
                  </a:moveTo>
                  <a:cubicBezTo>
                    <a:pt x="5" y="0"/>
                    <a:pt x="0" y="11"/>
                    <a:pt x="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5" name="Freeform 1336"/>
            <p:cNvSpPr>
              <a:spLocks noChangeArrowheads="1"/>
            </p:cNvSpPr>
            <p:nvPr/>
          </p:nvSpPr>
          <p:spPr bwMode="auto">
            <a:xfrm>
              <a:off x="3876675" y="2717800"/>
              <a:ext cx="3175" cy="4763"/>
            </a:xfrm>
            <a:custGeom>
              <a:avLst/>
              <a:gdLst>
                <a:gd name="T0" fmla="*/ 9 w 10"/>
                <a:gd name="T1" fmla="*/ 12 h 15"/>
                <a:gd name="T2" fmla="*/ 9 w 10"/>
                <a:gd name="T3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9" y="12"/>
                  </a:moveTo>
                  <a:cubicBezTo>
                    <a:pt x="6" y="0"/>
                    <a:pt x="0" y="14"/>
                    <a:pt x="9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6" name="Freeform 1337"/>
            <p:cNvSpPr>
              <a:spLocks noChangeArrowheads="1"/>
            </p:cNvSpPr>
            <p:nvPr/>
          </p:nvSpPr>
          <p:spPr bwMode="auto">
            <a:xfrm>
              <a:off x="3890963" y="2722563"/>
              <a:ext cx="3175" cy="3175"/>
            </a:xfrm>
            <a:custGeom>
              <a:avLst/>
              <a:gdLst>
                <a:gd name="T0" fmla="*/ 8 w 9"/>
                <a:gd name="T1" fmla="*/ 6 h 7"/>
                <a:gd name="T2" fmla="*/ 3 w 9"/>
                <a:gd name="T3" fmla="*/ 0 h 7"/>
                <a:gd name="T4" fmla="*/ 8 w 9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8" y="6"/>
                  </a:moveTo>
                  <a:cubicBezTo>
                    <a:pt x="8" y="3"/>
                    <a:pt x="5" y="0"/>
                    <a:pt x="3" y="0"/>
                  </a:cubicBezTo>
                  <a:cubicBezTo>
                    <a:pt x="0" y="3"/>
                    <a:pt x="3" y="6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7" name="Freeform 1338"/>
            <p:cNvSpPr>
              <a:spLocks noChangeArrowheads="1"/>
            </p:cNvSpPr>
            <p:nvPr/>
          </p:nvSpPr>
          <p:spPr bwMode="auto">
            <a:xfrm>
              <a:off x="3895725" y="2717800"/>
              <a:ext cx="3175" cy="4763"/>
            </a:xfrm>
            <a:custGeom>
              <a:avLst/>
              <a:gdLst>
                <a:gd name="T0" fmla="*/ 6 w 7"/>
                <a:gd name="T1" fmla="*/ 12 h 13"/>
                <a:gd name="T2" fmla="*/ 6 w 7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3">
                  <a:moveTo>
                    <a:pt x="6" y="12"/>
                  </a:moveTo>
                  <a:cubicBezTo>
                    <a:pt x="6" y="0"/>
                    <a:pt x="0" y="12"/>
                    <a:pt x="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8" name="Freeform 1339"/>
            <p:cNvSpPr>
              <a:spLocks noChangeArrowheads="1"/>
            </p:cNvSpPr>
            <p:nvPr/>
          </p:nvSpPr>
          <p:spPr bwMode="auto">
            <a:xfrm>
              <a:off x="3898900" y="2717800"/>
              <a:ext cx="3175" cy="4763"/>
            </a:xfrm>
            <a:custGeom>
              <a:avLst/>
              <a:gdLst>
                <a:gd name="T0" fmla="*/ 6 w 7"/>
                <a:gd name="T1" fmla="*/ 12 h 13"/>
                <a:gd name="T2" fmla="*/ 6 w 7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3">
                  <a:moveTo>
                    <a:pt x="6" y="12"/>
                  </a:moveTo>
                  <a:cubicBezTo>
                    <a:pt x="6" y="0"/>
                    <a:pt x="0" y="12"/>
                    <a:pt x="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9" name="Freeform 1340"/>
            <p:cNvSpPr>
              <a:spLocks noChangeArrowheads="1"/>
            </p:cNvSpPr>
            <p:nvPr/>
          </p:nvSpPr>
          <p:spPr bwMode="auto">
            <a:xfrm>
              <a:off x="3917950" y="2717800"/>
              <a:ext cx="9525" cy="4763"/>
            </a:xfrm>
            <a:custGeom>
              <a:avLst/>
              <a:gdLst>
                <a:gd name="T0" fmla="*/ 6 w 27"/>
                <a:gd name="T1" fmla="*/ 9 h 12"/>
                <a:gd name="T2" fmla="*/ 20 w 27"/>
                <a:gd name="T3" fmla="*/ 3 h 12"/>
                <a:gd name="T4" fmla="*/ 6 w 27"/>
                <a:gd name="T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12">
                  <a:moveTo>
                    <a:pt x="6" y="9"/>
                  </a:moveTo>
                  <a:cubicBezTo>
                    <a:pt x="9" y="11"/>
                    <a:pt x="26" y="11"/>
                    <a:pt x="20" y="3"/>
                  </a:cubicBezTo>
                  <a:cubicBezTo>
                    <a:pt x="20" y="0"/>
                    <a:pt x="0" y="3"/>
                    <a:pt x="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0" name="Freeform 1341"/>
            <p:cNvSpPr>
              <a:spLocks noChangeArrowheads="1"/>
            </p:cNvSpPr>
            <p:nvPr/>
          </p:nvSpPr>
          <p:spPr bwMode="auto">
            <a:xfrm>
              <a:off x="3914775" y="2708275"/>
              <a:ext cx="4763" cy="7938"/>
            </a:xfrm>
            <a:custGeom>
              <a:avLst/>
              <a:gdLst>
                <a:gd name="T0" fmla="*/ 3 w 15"/>
                <a:gd name="T1" fmla="*/ 20 h 21"/>
                <a:gd name="T2" fmla="*/ 3 w 15"/>
                <a:gd name="T3" fmla="*/ 0 h 21"/>
                <a:gd name="T4" fmla="*/ 3 w 15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1">
                  <a:moveTo>
                    <a:pt x="3" y="20"/>
                  </a:moveTo>
                  <a:cubicBezTo>
                    <a:pt x="11" y="17"/>
                    <a:pt x="14" y="5"/>
                    <a:pt x="3" y="0"/>
                  </a:cubicBezTo>
                  <a:cubicBezTo>
                    <a:pt x="0" y="5"/>
                    <a:pt x="0" y="11"/>
                    <a:pt x="3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1" name="Freeform 1342"/>
            <p:cNvSpPr>
              <a:spLocks noChangeArrowheads="1"/>
            </p:cNvSpPr>
            <p:nvPr/>
          </p:nvSpPr>
          <p:spPr bwMode="auto">
            <a:xfrm>
              <a:off x="3921125" y="2716213"/>
              <a:ext cx="4763" cy="7937"/>
            </a:xfrm>
            <a:custGeom>
              <a:avLst/>
              <a:gdLst>
                <a:gd name="T0" fmla="*/ 0 w 12"/>
                <a:gd name="T1" fmla="*/ 5 h 23"/>
                <a:gd name="T2" fmla="*/ 0 w 12"/>
                <a:gd name="T3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3">
                  <a:moveTo>
                    <a:pt x="0" y="5"/>
                  </a:moveTo>
                  <a:cubicBezTo>
                    <a:pt x="0" y="22"/>
                    <a:pt x="11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2" name="Freeform 1343"/>
            <p:cNvSpPr>
              <a:spLocks noChangeArrowheads="1"/>
            </p:cNvSpPr>
            <p:nvPr/>
          </p:nvSpPr>
          <p:spPr bwMode="auto">
            <a:xfrm>
              <a:off x="3905250" y="2708275"/>
              <a:ext cx="6350" cy="7938"/>
            </a:xfrm>
            <a:custGeom>
              <a:avLst/>
              <a:gdLst>
                <a:gd name="T0" fmla="*/ 6 w 18"/>
                <a:gd name="T1" fmla="*/ 0 h 21"/>
                <a:gd name="T2" fmla="*/ 0 w 18"/>
                <a:gd name="T3" fmla="*/ 8 h 21"/>
                <a:gd name="T4" fmla="*/ 6 w 18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6" y="0"/>
                  </a:moveTo>
                  <a:lnTo>
                    <a:pt x="0" y="8"/>
                  </a:lnTo>
                  <a:cubicBezTo>
                    <a:pt x="6" y="20"/>
                    <a:pt x="17" y="3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3" name="Freeform 1344"/>
            <p:cNvSpPr>
              <a:spLocks noChangeArrowheads="1"/>
            </p:cNvSpPr>
            <p:nvPr/>
          </p:nvSpPr>
          <p:spPr bwMode="auto">
            <a:xfrm>
              <a:off x="3900488" y="2716213"/>
              <a:ext cx="9525" cy="6350"/>
            </a:xfrm>
            <a:custGeom>
              <a:avLst/>
              <a:gdLst>
                <a:gd name="T0" fmla="*/ 26 w 27"/>
                <a:gd name="T1" fmla="*/ 9 h 18"/>
                <a:gd name="T2" fmla="*/ 6 w 27"/>
                <a:gd name="T3" fmla="*/ 0 h 18"/>
                <a:gd name="T4" fmla="*/ 0 w 27"/>
                <a:gd name="T5" fmla="*/ 9 h 18"/>
                <a:gd name="T6" fmla="*/ 20 w 27"/>
                <a:gd name="T7" fmla="*/ 15 h 18"/>
                <a:gd name="T8" fmla="*/ 26 w 27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8">
                  <a:moveTo>
                    <a:pt x="26" y="9"/>
                  </a:moveTo>
                  <a:cubicBezTo>
                    <a:pt x="20" y="3"/>
                    <a:pt x="11" y="0"/>
                    <a:pt x="6" y="0"/>
                  </a:cubicBezTo>
                  <a:lnTo>
                    <a:pt x="0" y="9"/>
                  </a:lnTo>
                  <a:cubicBezTo>
                    <a:pt x="3" y="15"/>
                    <a:pt x="11" y="17"/>
                    <a:pt x="20" y="15"/>
                  </a:cubicBezTo>
                  <a:cubicBezTo>
                    <a:pt x="20" y="15"/>
                    <a:pt x="23" y="12"/>
                    <a:pt x="2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4" name="Freeform 1345"/>
            <p:cNvSpPr>
              <a:spLocks noChangeArrowheads="1"/>
            </p:cNvSpPr>
            <p:nvPr/>
          </p:nvSpPr>
          <p:spPr bwMode="auto">
            <a:xfrm>
              <a:off x="3881438" y="2705100"/>
              <a:ext cx="4762" cy="6350"/>
            </a:xfrm>
            <a:custGeom>
              <a:avLst/>
              <a:gdLst>
                <a:gd name="T0" fmla="*/ 0 w 12"/>
                <a:gd name="T1" fmla="*/ 9 h 18"/>
                <a:gd name="T2" fmla="*/ 0 w 12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0" y="9"/>
                  </a:moveTo>
                  <a:cubicBezTo>
                    <a:pt x="11" y="17"/>
                    <a:pt x="5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5" name="Freeform 1346"/>
            <p:cNvSpPr>
              <a:spLocks noChangeArrowheads="1"/>
            </p:cNvSpPr>
            <p:nvPr/>
          </p:nvSpPr>
          <p:spPr bwMode="auto">
            <a:xfrm>
              <a:off x="3892550" y="2716213"/>
              <a:ext cx="3175" cy="4762"/>
            </a:xfrm>
            <a:custGeom>
              <a:avLst/>
              <a:gdLst>
                <a:gd name="T0" fmla="*/ 3 w 10"/>
                <a:gd name="T1" fmla="*/ 0 h 15"/>
                <a:gd name="T2" fmla="*/ 3 w 10"/>
                <a:gd name="T3" fmla="*/ 11 h 15"/>
                <a:gd name="T4" fmla="*/ 6 w 10"/>
                <a:gd name="T5" fmla="*/ 14 h 15"/>
                <a:gd name="T6" fmla="*/ 6 w 10"/>
                <a:gd name="T7" fmla="*/ 2 h 15"/>
                <a:gd name="T8" fmla="*/ 3 w 1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3" y="0"/>
                  </a:moveTo>
                  <a:cubicBezTo>
                    <a:pt x="0" y="2"/>
                    <a:pt x="0" y="8"/>
                    <a:pt x="3" y="11"/>
                  </a:cubicBezTo>
                  <a:lnTo>
                    <a:pt x="6" y="14"/>
                  </a:lnTo>
                  <a:cubicBezTo>
                    <a:pt x="9" y="11"/>
                    <a:pt x="9" y="5"/>
                    <a:pt x="6" y="2"/>
                  </a:cubicBezTo>
                  <a:cubicBezTo>
                    <a:pt x="6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6" name="Freeform 1347"/>
            <p:cNvSpPr>
              <a:spLocks noChangeArrowheads="1"/>
            </p:cNvSpPr>
            <p:nvPr/>
          </p:nvSpPr>
          <p:spPr bwMode="auto">
            <a:xfrm>
              <a:off x="3878263" y="2706688"/>
              <a:ext cx="4762" cy="7937"/>
            </a:xfrm>
            <a:custGeom>
              <a:avLst/>
              <a:gdLst>
                <a:gd name="T0" fmla="*/ 0 w 12"/>
                <a:gd name="T1" fmla="*/ 8 h 21"/>
                <a:gd name="T2" fmla="*/ 0 w 12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1">
                  <a:moveTo>
                    <a:pt x="0" y="8"/>
                  </a:moveTo>
                  <a:cubicBezTo>
                    <a:pt x="11" y="20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7" name="Freeform 1348"/>
            <p:cNvSpPr>
              <a:spLocks noChangeArrowheads="1"/>
            </p:cNvSpPr>
            <p:nvPr/>
          </p:nvSpPr>
          <p:spPr bwMode="auto">
            <a:xfrm>
              <a:off x="3865563" y="2703513"/>
              <a:ext cx="3175" cy="3175"/>
            </a:xfrm>
            <a:custGeom>
              <a:avLst/>
              <a:gdLst>
                <a:gd name="T0" fmla="*/ 6 w 10"/>
                <a:gd name="T1" fmla="*/ 8 h 9"/>
                <a:gd name="T2" fmla="*/ 9 w 10"/>
                <a:gd name="T3" fmla="*/ 3 h 9"/>
                <a:gd name="T4" fmla="*/ 3 w 10"/>
                <a:gd name="T5" fmla="*/ 0 h 9"/>
                <a:gd name="T6" fmla="*/ 0 w 10"/>
                <a:gd name="T7" fmla="*/ 5 h 9"/>
                <a:gd name="T8" fmla="*/ 6 w 10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6" y="8"/>
                  </a:moveTo>
                  <a:lnTo>
                    <a:pt x="9" y="3"/>
                  </a:lnTo>
                  <a:lnTo>
                    <a:pt x="3" y="0"/>
                  </a:lnTo>
                  <a:lnTo>
                    <a:pt x="0" y="5"/>
                  </a:lnTo>
                  <a:lnTo>
                    <a:pt x="6" y="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8" name="Freeform 1349"/>
            <p:cNvSpPr>
              <a:spLocks noChangeArrowheads="1"/>
            </p:cNvSpPr>
            <p:nvPr/>
          </p:nvSpPr>
          <p:spPr bwMode="auto">
            <a:xfrm>
              <a:off x="3875088" y="2711450"/>
              <a:ext cx="3175" cy="3175"/>
            </a:xfrm>
            <a:custGeom>
              <a:avLst/>
              <a:gdLst>
                <a:gd name="T0" fmla="*/ 5 w 9"/>
                <a:gd name="T1" fmla="*/ 9 h 10"/>
                <a:gd name="T2" fmla="*/ 8 w 9"/>
                <a:gd name="T3" fmla="*/ 3 h 10"/>
                <a:gd name="T4" fmla="*/ 2 w 9"/>
                <a:gd name="T5" fmla="*/ 0 h 10"/>
                <a:gd name="T6" fmla="*/ 0 w 9"/>
                <a:gd name="T7" fmla="*/ 6 h 10"/>
                <a:gd name="T8" fmla="*/ 5 w 9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5" y="9"/>
                  </a:moveTo>
                  <a:lnTo>
                    <a:pt x="8" y="3"/>
                  </a:lnTo>
                  <a:lnTo>
                    <a:pt x="2" y="0"/>
                  </a:lnTo>
                  <a:lnTo>
                    <a:pt x="0" y="6"/>
                  </a:lnTo>
                  <a:lnTo>
                    <a:pt x="5" y="9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9" name="Freeform 1350"/>
            <p:cNvSpPr>
              <a:spLocks noChangeArrowheads="1"/>
            </p:cNvSpPr>
            <p:nvPr/>
          </p:nvSpPr>
          <p:spPr bwMode="auto">
            <a:xfrm>
              <a:off x="3876675" y="2716213"/>
              <a:ext cx="6350" cy="4762"/>
            </a:xfrm>
            <a:custGeom>
              <a:avLst/>
              <a:gdLst>
                <a:gd name="T0" fmla="*/ 9 w 18"/>
                <a:gd name="T1" fmla="*/ 14 h 15"/>
                <a:gd name="T2" fmla="*/ 14 w 18"/>
                <a:gd name="T3" fmla="*/ 0 h 15"/>
                <a:gd name="T4" fmla="*/ 0 w 18"/>
                <a:gd name="T5" fmla="*/ 8 h 15"/>
                <a:gd name="T6" fmla="*/ 9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9" y="14"/>
                  </a:moveTo>
                  <a:cubicBezTo>
                    <a:pt x="12" y="8"/>
                    <a:pt x="17" y="5"/>
                    <a:pt x="14" y="0"/>
                  </a:cubicBezTo>
                  <a:cubicBezTo>
                    <a:pt x="12" y="11"/>
                    <a:pt x="6" y="2"/>
                    <a:pt x="0" y="8"/>
                  </a:cubicBezTo>
                  <a:lnTo>
                    <a:pt x="9" y="14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0" name="Freeform 1351"/>
            <p:cNvSpPr>
              <a:spLocks noChangeArrowheads="1"/>
            </p:cNvSpPr>
            <p:nvPr/>
          </p:nvSpPr>
          <p:spPr bwMode="auto">
            <a:xfrm>
              <a:off x="3881438" y="2720975"/>
              <a:ext cx="4762" cy="7938"/>
            </a:xfrm>
            <a:custGeom>
              <a:avLst/>
              <a:gdLst>
                <a:gd name="T0" fmla="*/ 0 w 12"/>
                <a:gd name="T1" fmla="*/ 5 h 23"/>
                <a:gd name="T2" fmla="*/ 0 w 12"/>
                <a:gd name="T3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3">
                  <a:moveTo>
                    <a:pt x="0" y="5"/>
                  </a:moveTo>
                  <a:cubicBezTo>
                    <a:pt x="2" y="22"/>
                    <a:pt x="11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1" name="Freeform 1352"/>
            <p:cNvSpPr>
              <a:spLocks noChangeArrowheads="1"/>
            </p:cNvSpPr>
            <p:nvPr/>
          </p:nvSpPr>
          <p:spPr bwMode="auto">
            <a:xfrm>
              <a:off x="3863975" y="2713038"/>
              <a:ext cx="6350" cy="4762"/>
            </a:xfrm>
            <a:custGeom>
              <a:avLst/>
              <a:gdLst>
                <a:gd name="T0" fmla="*/ 15 w 16"/>
                <a:gd name="T1" fmla="*/ 6 h 12"/>
                <a:gd name="T2" fmla="*/ 6 w 16"/>
                <a:gd name="T3" fmla="*/ 0 h 12"/>
                <a:gd name="T4" fmla="*/ 0 w 16"/>
                <a:gd name="T5" fmla="*/ 8 h 12"/>
                <a:gd name="T6" fmla="*/ 12 w 16"/>
                <a:gd name="T7" fmla="*/ 8 h 12"/>
                <a:gd name="T8" fmla="*/ 15 w 1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15" y="6"/>
                  </a:moveTo>
                  <a:lnTo>
                    <a:pt x="6" y="0"/>
                  </a:lnTo>
                  <a:lnTo>
                    <a:pt x="0" y="8"/>
                  </a:lnTo>
                  <a:cubicBezTo>
                    <a:pt x="3" y="11"/>
                    <a:pt x="9" y="11"/>
                    <a:pt x="12" y="8"/>
                  </a:cubicBezTo>
                  <a:cubicBezTo>
                    <a:pt x="15" y="8"/>
                    <a:pt x="15" y="6"/>
                    <a:pt x="15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2" name="Freeform 1353"/>
            <p:cNvSpPr>
              <a:spLocks noChangeArrowheads="1"/>
            </p:cNvSpPr>
            <p:nvPr/>
          </p:nvSpPr>
          <p:spPr bwMode="auto">
            <a:xfrm>
              <a:off x="3871913" y="2720975"/>
              <a:ext cx="3175" cy="7938"/>
            </a:xfrm>
            <a:custGeom>
              <a:avLst/>
              <a:gdLst>
                <a:gd name="T0" fmla="*/ 0 w 9"/>
                <a:gd name="T1" fmla="*/ 8 h 20"/>
                <a:gd name="T2" fmla="*/ 0 w 9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8"/>
                  </a:moveTo>
                  <a:cubicBezTo>
                    <a:pt x="8" y="19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3" name="Freeform 1354"/>
            <p:cNvSpPr>
              <a:spLocks noChangeArrowheads="1"/>
            </p:cNvSpPr>
            <p:nvPr/>
          </p:nvSpPr>
          <p:spPr bwMode="auto">
            <a:xfrm>
              <a:off x="3863975" y="2724150"/>
              <a:ext cx="6350" cy="4763"/>
            </a:xfrm>
            <a:custGeom>
              <a:avLst/>
              <a:gdLst>
                <a:gd name="T0" fmla="*/ 0 w 18"/>
                <a:gd name="T1" fmla="*/ 9 h 15"/>
                <a:gd name="T2" fmla="*/ 17 w 18"/>
                <a:gd name="T3" fmla="*/ 9 h 15"/>
                <a:gd name="T4" fmla="*/ 0 w 18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0" y="9"/>
                  </a:moveTo>
                  <a:cubicBezTo>
                    <a:pt x="6" y="14"/>
                    <a:pt x="12" y="11"/>
                    <a:pt x="17" y="9"/>
                  </a:cubicBezTo>
                  <a:cubicBezTo>
                    <a:pt x="12" y="6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4" name="Freeform 1355"/>
            <p:cNvSpPr>
              <a:spLocks noChangeArrowheads="1"/>
            </p:cNvSpPr>
            <p:nvPr/>
          </p:nvSpPr>
          <p:spPr bwMode="auto">
            <a:xfrm>
              <a:off x="3903663" y="2709863"/>
              <a:ext cx="1587" cy="3175"/>
            </a:xfrm>
            <a:custGeom>
              <a:avLst/>
              <a:gdLst>
                <a:gd name="T0" fmla="*/ 2 w 3"/>
                <a:gd name="T1" fmla="*/ 0 h 10"/>
                <a:gd name="T2" fmla="*/ 0 w 3"/>
                <a:gd name="T3" fmla="*/ 9 h 10"/>
                <a:gd name="T4" fmla="*/ 0 w 3"/>
                <a:gd name="T5" fmla="*/ 3 h 10"/>
                <a:gd name="T6" fmla="*/ 2 w 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0">
                  <a:moveTo>
                    <a:pt x="2" y="0"/>
                  </a:moveTo>
                  <a:cubicBezTo>
                    <a:pt x="2" y="0"/>
                    <a:pt x="2" y="9"/>
                    <a:pt x="0" y="9"/>
                  </a:cubicBezTo>
                  <a:cubicBezTo>
                    <a:pt x="0" y="9"/>
                    <a:pt x="0" y="6"/>
                    <a:pt x="0" y="3"/>
                  </a:cubicBezTo>
                  <a:cubicBezTo>
                    <a:pt x="2" y="3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5" name="Freeform 1356"/>
            <p:cNvSpPr>
              <a:spLocks noChangeArrowheads="1"/>
            </p:cNvSpPr>
            <p:nvPr/>
          </p:nvSpPr>
          <p:spPr bwMode="auto">
            <a:xfrm>
              <a:off x="3922713" y="2716213"/>
              <a:ext cx="4762" cy="7937"/>
            </a:xfrm>
            <a:custGeom>
              <a:avLst/>
              <a:gdLst>
                <a:gd name="T0" fmla="*/ 6 w 12"/>
                <a:gd name="T1" fmla="*/ 19 h 20"/>
                <a:gd name="T2" fmla="*/ 11 w 12"/>
                <a:gd name="T3" fmla="*/ 8 h 20"/>
                <a:gd name="T4" fmla="*/ 6 w 12"/>
                <a:gd name="T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0">
                  <a:moveTo>
                    <a:pt x="6" y="19"/>
                  </a:moveTo>
                  <a:cubicBezTo>
                    <a:pt x="6" y="14"/>
                    <a:pt x="11" y="14"/>
                    <a:pt x="11" y="8"/>
                  </a:cubicBezTo>
                  <a:cubicBezTo>
                    <a:pt x="3" y="0"/>
                    <a:pt x="0" y="19"/>
                    <a:pt x="6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6" name="Freeform 1357"/>
            <p:cNvSpPr>
              <a:spLocks noChangeArrowheads="1"/>
            </p:cNvSpPr>
            <p:nvPr/>
          </p:nvSpPr>
          <p:spPr bwMode="auto">
            <a:xfrm>
              <a:off x="3903663" y="2720975"/>
              <a:ext cx="6350" cy="4763"/>
            </a:xfrm>
            <a:custGeom>
              <a:avLst/>
              <a:gdLst>
                <a:gd name="T0" fmla="*/ 6 w 18"/>
                <a:gd name="T1" fmla="*/ 0 h 12"/>
                <a:gd name="T2" fmla="*/ 6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6" y="0"/>
                  </a:moveTo>
                  <a:cubicBezTo>
                    <a:pt x="0" y="11"/>
                    <a:pt x="17" y="2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7" name="Freeform 1358"/>
            <p:cNvSpPr>
              <a:spLocks noChangeArrowheads="1"/>
            </p:cNvSpPr>
            <p:nvPr/>
          </p:nvSpPr>
          <p:spPr bwMode="auto">
            <a:xfrm>
              <a:off x="3900488" y="2720975"/>
              <a:ext cx="6350" cy="4763"/>
            </a:xfrm>
            <a:custGeom>
              <a:avLst/>
              <a:gdLst>
                <a:gd name="T0" fmla="*/ 6 w 18"/>
                <a:gd name="T1" fmla="*/ 0 h 15"/>
                <a:gd name="T2" fmla="*/ 6 w 18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5">
                  <a:moveTo>
                    <a:pt x="6" y="0"/>
                  </a:moveTo>
                  <a:cubicBezTo>
                    <a:pt x="0" y="14"/>
                    <a:pt x="17" y="2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8" name="Freeform 1359"/>
            <p:cNvSpPr>
              <a:spLocks noChangeArrowheads="1"/>
            </p:cNvSpPr>
            <p:nvPr/>
          </p:nvSpPr>
          <p:spPr bwMode="auto">
            <a:xfrm>
              <a:off x="3883025" y="2709863"/>
              <a:ext cx="6350" cy="4762"/>
            </a:xfrm>
            <a:custGeom>
              <a:avLst/>
              <a:gdLst>
                <a:gd name="T0" fmla="*/ 9 w 18"/>
                <a:gd name="T1" fmla="*/ 0 h 12"/>
                <a:gd name="T2" fmla="*/ 9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9" y="0"/>
                  </a:moveTo>
                  <a:cubicBezTo>
                    <a:pt x="0" y="11"/>
                    <a:pt x="17" y="2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9" name="Freeform 1360"/>
            <p:cNvSpPr>
              <a:spLocks noChangeArrowheads="1"/>
            </p:cNvSpPr>
            <p:nvPr/>
          </p:nvSpPr>
          <p:spPr bwMode="auto">
            <a:xfrm>
              <a:off x="3876675" y="2716213"/>
              <a:ext cx="6350" cy="6350"/>
            </a:xfrm>
            <a:custGeom>
              <a:avLst/>
              <a:gdLst>
                <a:gd name="T0" fmla="*/ 9 w 18"/>
                <a:gd name="T1" fmla="*/ 0 h 16"/>
                <a:gd name="T2" fmla="*/ 9 w 18"/>
                <a:gd name="T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6">
                  <a:moveTo>
                    <a:pt x="9" y="0"/>
                  </a:moveTo>
                  <a:cubicBezTo>
                    <a:pt x="0" y="15"/>
                    <a:pt x="17" y="3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0" name="Freeform 1361"/>
            <p:cNvSpPr>
              <a:spLocks noChangeArrowheads="1"/>
            </p:cNvSpPr>
            <p:nvPr/>
          </p:nvSpPr>
          <p:spPr bwMode="auto">
            <a:xfrm>
              <a:off x="3863975" y="2720975"/>
              <a:ext cx="4763" cy="4763"/>
            </a:xfrm>
            <a:custGeom>
              <a:avLst/>
              <a:gdLst>
                <a:gd name="T0" fmla="*/ 8 w 12"/>
                <a:gd name="T1" fmla="*/ 11 h 12"/>
                <a:gd name="T2" fmla="*/ 0 w 12"/>
                <a:gd name="T3" fmla="*/ 0 h 12"/>
                <a:gd name="T4" fmla="*/ 8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8" y="11"/>
                  </a:moveTo>
                  <a:cubicBezTo>
                    <a:pt x="11" y="5"/>
                    <a:pt x="8" y="0"/>
                    <a:pt x="0" y="0"/>
                  </a:cubicBezTo>
                  <a:cubicBezTo>
                    <a:pt x="0" y="5"/>
                    <a:pt x="2" y="11"/>
                    <a:pt x="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1" name="Freeform 1362"/>
            <p:cNvSpPr>
              <a:spLocks noChangeArrowheads="1"/>
            </p:cNvSpPr>
            <p:nvPr/>
          </p:nvSpPr>
          <p:spPr bwMode="auto">
            <a:xfrm>
              <a:off x="4422775" y="2647950"/>
              <a:ext cx="4763" cy="4763"/>
            </a:xfrm>
            <a:custGeom>
              <a:avLst/>
              <a:gdLst>
                <a:gd name="T0" fmla="*/ 12 w 13"/>
                <a:gd name="T1" fmla="*/ 2 h 12"/>
                <a:gd name="T2" fmla="*/ 12 w 13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2">
                  <a:moveTo>
                    <a:pt x="12" y="2"/>
                  </a:moveTo>
                  <a:cubicBezTo>
                    <a:pt x="0" y="0"/>
                    <a:pt x="12" y="11"/>
                    <a:pt x="1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2" name="Freeform 1363"/>
            <p:cNvSpPr>
              <a:spLocks noChangeArrowheads="1"/>
            </p:cNvSpPr>
            <p:nvPr/>
          </p:nvSpPr>
          <p:spPr bwMode="auto">
            <a:xfrm>
              <a:off x="4438650" y="2641600"/>
              <a:ext cx="4763" cy="3175"/>
            </a:xfrm>
            <a:custGeom>
              <a:avLst/>
              <a:gdLst>
                <a:gd name="T0" fmla="*/ 11 w 12"/>
                <a:gd name="T1" fmla="*/ 3 h 10"/>
                <a:gd name="T2" fmla="*/ 2 w 12"/>
                <a:gd name="T3" fmla="*/ 0 h 10"/>
                <a:gd name="T4" fmla="*/ 11 w 12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3"/>
                  </a:moveTo>
                  <a:lnTo>
                    <a:pt x="2" y="0"/>
                  </a:lnTo>
                  <a:cubicBezTo>
                    <a:pt x="0" y="6"/>
                    <a:pt x="11" y="9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3" name="Freeform 1364"/>
            <p:cNvSpPr>
              <a:spLocks noChangeArrowheads="1"/>
            </p:cNvSpPr>
            <p:nvPr/>
          </p:nvSpPr>
          <p:spPr bwMode="auto">
            <a:xfrm>
              <a:off x="4421188" y="2638425"/>
              <a:ext cx="4762" cy="4763"/>
            </a:xfrm>
            <a:custGeom>
              <a:avLst/>
              <a:gdLst>
                <a:gd name="T0" fmla="*/ 11 w 12"/>
                <a:gd name="T1" fmla="*/ 3 h 12"/>
                <a:gd name="T2" fmla="*/ 11 w 12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11" y="3"/>
                  </a:moveTo>
                  <a:cubicBezTo>
                    <a:pt x="0" y="0"/>
                    <a:pt x="8" y="11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4" name="Freeform 1365"/>
            <p:cNvSpPr>
              <a:spLocks noChangeArrowheads="1"/>
            </p:cNvSpPr>
            <p:nvPr/>
          </p:nvSpPr>
          <p:spPr bwMode="auto">
            <a:xfrm>
              <a:off x="4459288" y="2638425"/>
              <a:ext cx="3175" cy="6350"/>
            </a:xfrm>
            <a:custGeom>
              <a:avLst/>
              <a:gdLst>
                <a:gd name="T0" fmla="*/ 8 w 9"/>
                <a:gd name="T1" fmla="*/ 9 h 18"/>
                <a:gd name="T2" fmla="*/ 8 w 9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9"/>
                  </a:moveTo>
                  <a:cubicBezTo>
                    <a:pt x="0" y="0"/>
                    <a:pt x="3" y="17"/>
                    <a:pt x="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5" name="Freeform 1366"/>
            <p:cNvSpPr>
              <a:spLocks noChangeArrowheads="1"/>
            </p:cNvSpPr>
            <p:nvPr/>
          </p:nvSpPr>
          <p:spPr bwMode="auto">
            <a:xfrm>
              <a:off x="4438650" y="2636838"/>
              <a:ext cx="6350" cy="3175"/>
            </a:xfrm>
            <a:custGeom>
              <a:avLst/>
              <a:gdLst>
                <a:gd name="T0" fmla="*/ 12 w 16"/>
                <a:gd name="T1" fmla="*/ 9 h 10"/>
                <a:gd name="T2" fmla="*/ 3 w 16"/>
                <a:gd name="T3" fmla="*/ 0 h 10"/>
                <a:gd name="T4" fmla="*/ 12 w 16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0">
                  <a:moveTo>
                    <a:pt x="12" y="9"/>
                  </a:moveTo>
                  <a:cubicBezTo>
                    <a:pt x="15" y="0"/>
                    <a:pt x="9" y="0"/>
                    <a:pt x="3" y="0"/>
                  </a:cubicBezTo>
                  <a:cubicBezTo>
                    <a:pt x="0" y="9"/>
                    <a:pt x="6" y="9"/>
                    <a:pt x="12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6" name="Freeform 1367"/>
            <p:cNvSpPr>
              <a:spLocks noChangeArrowheads="1"/>
            </p:cNvSpPr>
            <p:nvPr/>
          </p:nvSpPr>
          <p:spPr bwMode="auto">
            <a:xfrm>
              <a:off x="4429125" y="2636838"/>
              <a:ext cx="3175" cy="4762"/>
            </a:xfrm>
            <a:custGeom>
              <a:avLst/>
              <a:gdLst>
                <a:gd name="T0" fmla="*/ 9 w 10"/>
                <a:gd name="T1" fmla="*/ 11 h 12"/>
                <a:gd name="T2" fmla="*/ 3 w 10"/>
                <a:gd name="T3" fmla="*/ 0 h 12"/>
                <a:gd name="T4" fmla="*/ 9 w 10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9" y="11"/>
                  </a:moveTo>
                  <a:cubicBezTo>
                    <a:pt x="9" y="5"/>
                    <a:pt x="9" y="2"/>
                    <a:pt x="3" y="0"/>
                  </a:cubicBezTo>
                  <a:cubicBezTo>
                    <a:pt x="9" y="5"/>
                    <a:pt x="0" y="8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7" name="Freeform 1368"/>
            <p:cNvSpPr>
              <a:spLocks noChangeArrowheads="1"/>
            </p:cNvSpPr>
            <p:nvPr/>
          </p:nvSpPr>
          <p:spPr bwMode="auto">
            <a:xfrm>
              <a:off x="4427538" y="2636838"/>
              <a:ext cx="1587" cy="1587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0" y="0"/>
                    <a:pt x="2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8" name="Freeform 1369"/>
            <p:cNvSpPr>
              <a:spLocks noChangeArrowheads="1"/>
            </p:cNvSpPr>
            <p:nvPr/>
          </p:nvSpPr>
          <p:spPr bwMode="auto">
            <a:xfrm>
              <a:off x="4421188" y="2636838"/>
              <a:ext cx="4762" cy="3175"/>
            </a:xfrm>
            <a:custGeom>
              <a:avLst/>
              <a:gdLst>
                <a:gd name="T0" fmla="*/ 14 w 15"/>
                <a:gd name="T1" fmla="*/ 2 h 9"/>
                <a:gd name="T2" fmla="*/ 0 w 15"/>
                <a:gd name="T3" fmla="*/ 5 h 9"/>
                <a:gd name="T4" fmla="*/ 14 w 15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2"/>
                  </a:moveTo>
                  <a:cubicBezTo>
                    <a:pt x="11" y="2"/>
                    <a:pt x="0" y="0"/>
                    <a:pt x="0" y="5"/>
                  </a:cubicBezTo>
                  <a:cubicBezTo>
                    <a:pt x="5" y="5"/>
                    <a:pt x="14" y="8"/>
                    <a:pt x="14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9" name="Freeform 1370"/>
            <p:cNvSpPr>
              <a:spLocks noChangeArrowheads="1"/>
            </p:cNvSpPr>
            <p:nvPr/>
          </p:nvSpPr>
          <p:spPr bwMode="auto">
            <a:xfrm>
              <a:off x="4479925" y="2638425"/>
              <a:ext cx="3175" cy="4763"/>
            </a:xfrm>
            <a:custGeom>
              <a:avLst/>
              <a:gdLst>
                <a:gd name="T0" fmla="*/ 9 w 10"/>
                <a:gd name="T1" fmla="*/ 3 h 12"/>
                <a:gd name="T2" fmla="*/ 9 w 10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2">
                  <a:moveTo>
                    <a:pt x="9" y="3"/>
                  </a:moveTo>
                  <a:cubicBezTo>
                    <a:pt x="0" y="0"/>
                    <a:pt x="9" y="11"/>
                    <a:pt x="9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0" name="Freeform 1371"/>
            <p:cNvSpPr>
              <a:spLocks noChangeArrowheads="1"/>
            </p:cNvSpPr>
            <p:nvPr/>
          </p:nvSpPr>
          <p:spPr bwMode="auto">
            <a:xfrm>
              <a:off x="4456113" y="2638425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6 h 7"/>
                <a:gd name="T4" fmla="*/ 9 w 10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6" y="0"/>
                    <a:pt x="3" y="0"/>
                    <a:pt x="0" y="6"/>
                  </a:cubicBezTo>
                  <a:cubicBezTo>
                    <a:pt x="3" y="3"/>
                    <a:pt x="9" y="6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1" name="Freeform 1372"/>
            <p:cNvSpPr>
              <a:spLocks noChangeArrowheads="1"/>
            </p:cNvSpPr>
            <p:nvPr/>
          </p:nvSpPr>
          <p:spPr bwMode="auto">
            <a:xfrm>
              <a:off x="4468813" y="2635250"/>
              <a:ext cx="3175" cy="7938"/>
            </a:xfrm>
            <a:custGeom>
              <a:avLst/>
              <a:gdLst>
                <a:gd name="T0" fmla="*/ 6 w 7"/>
                <a:gd name="T1" fmla="*/ 11 h 20"/>
                <a:gd name="T2" fmla="*/ 6 w 7"/>
                <a:gd name="T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0">
                  <a:moveTo>
                    <a:pt x="6" y="11"/>
                  </a:moveTo>
                  <a:cubicBezTo>
                    <a:pt x="3" y="0"/>
                    <a:pt x="0" y="19"/>
                    <a:pt x="6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2" name="Freeform 1373"/>
            <p:cNvSpPr>
              <a:spLocks noChangeArrowheads="1"/>
            </p:cNvSpPr>
            <p:nvPr/>
          </p:nvSpPr>
          <p:spPr bwMode="auto">
            <a:xfrm>
              <a:off x="4445000" y="2636838"/>
              <a:ext cx="3175" cy="1587"/>
            </a:xfrm>
            <a:custGeom>
              <a:avLst/>
              <a:gdLst>
                <a:gd name="T0" fmla="*/ 0 w 7"/>
                <a:gd name="T1" fmla="*/ 0 h 6"/>
                <a:gd name="T2" fmla="*/ 0 w 7"/>
                <a:gd name="T3" fmla="*/ 5 h 6"/>
                <a:gd name="T4" fmla="*/ 6 w 7"/>
                <a:gd name="T5" fmla="*/ 5 h 6"/>
                <a:gd name="T6" fmla="*/ 6 w 7"/>
                <a:gd name="T7" fmla="*/ 0 h 6"/>
                <a:gd name="T8" fmla="*/ 0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lnTo>
                    <a:pt x="0" y="5"/>
                  </a:lnTo>
                  <a:lnTo>
                    <a:pt x="6" y="5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3" name="Freeform 1374"/>
            <p:cNvSpPr>
              <a:spLocks noChangeArrowheads="1"/>
            </p:cNvSpPr>
            <p:nvPr/>
          </p:nvSpPr>
          <p:spPr bwMode="auto">
            <a:xfrm>
              <a:off x="4432300" y="2633663"/>
              <a:ext cx="4763" cy="4762"/>
            </a:xfrm>
            <a:custGeom>
              <a:avLst/>
              <a:gdLst>
                <a:gd name="T0" fmla="*/ 2 w 12"/>
                <a:gd name="T1" fmla="*/ 0 h 12"/>
                <a:gd name="T2" fmla="*/ 8 w 12"/>
                <a:gd name="T3" fmla="*/ 11 h 12"/>
                <a:gd name="T4" fmla="*/ 2 w 12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2" y="0"/>
                  </a:moveTo>
                  <a:cubicBezTo>
                    <a:pt x="0" y="9"/>
                    <a:pt x="5" y="9"/>
                    <a:pt x="8" y="11"/>
                  </a:cubicBezTo>
                  <a:cubicBezTo>
                    <a:pt x="11" y="6"/>
                    <a:pt x="8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4" name="Freeform 1375"/>
            <p:cNvSpPr>
              <a:spLocks noChangeArrowheads="1"/>
            </p:cNvSpPr>
            <p:nvPr/>
          </p:nvSpPr>
          <p:spPr bwMode="auto">
            <a:xfrm>
              <a:off x="4456113" y="2632075"/>
              <a:ext cx="3175" cy="3175"/>
            </a:xfrm>
            <a:custGeom>
              <a:avLst/>
              <a:gdLst>
                <a:gd name="T0" fmla="*/ 0 w 10"/>
                <a:gd name="T1" fmla="*/ 0 h 10"/>
                <a:gd name="T2" fmla="*/ 6 w 10"/>
                <a:gd name="T3" fmla="*/ 9 h 10"/>
                <a:gd name="T4" fmla="*/ 0 w 10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0">
                  <a:moveTo>
                    <a:pt x="0" y="0"/>
                  </a:moveTo>
                  <a:cubicBezTo>
                    <a:pt x="0" y="3"/>
                    <a:pt x="0" y="6"/>
                    <a:pt x="6" y="9"/>
                  </a:cubicBezTo>
                  <a:cubicBezTo>
                    <a:pt x="9" y="6"/>
                    <a:pt x="9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5" name="Freeform 1376"/>
            <p:cNvSpPr>
              <a:spLocks noChangeArrowheads="1"/>
            </p:cNvSpPr>
            <p:nvPr/>
          </p:nvSpPr>
          <p:spPr bwMode="auto">
            <a:xfrm>
              <a:off x="4443413" y="2632075"/>
              <a:ext cx="4762" cy="4763"/>
            </a:xfrm>
            <a:custGeom>
              <a:avLst/>
              <a:gdLst>
                <a:gd name="T0" fmla="*/ 14 w 15"/>
                <a:gd name="T1" fmla="*/ 3 h 13"/>
                <a:gd name="T2" fmla="*/ 14 w 15"/>
                <a:gd name="T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14" y="3"/>
                  </a:moveTo>
                  <a:cubicBezTo>
                    <a:pt x="0" y="0"/>
                    <a:pt x="11" y="12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6" name="Freeform 1377"/>
            <p:cNvSpPr>
              <a:spLocks noChangeArrowheads="1"/>
            </p:cNvSpPr>
            <p:nvPr/>
          </p:nvSpPr>
          <p:spPr bwMode="auto">
            <a:xfrm>
              <a:off x="4440238" y="2627313"/>
              <a:ext cx="3175" cy="7937"/>
            </a:xfrm>
            <a:custGeom>
              <a:avLst/>
              <a:gdLst>
                <a:gd name="T0" fmla="*/ 6 w 7"/>
                <a:gd name="T1" fmla="*/ 11 h 21"/>
                <a:gd name="T2" fmla="*/ 6 w 7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1">
                  <a:moveTo>
                    <a:pt x="6" y="11"/>
                  </a:moveTo>
                  <a:cubicBezTo>
                    <a:pt x="0" y="0"/>
                    <a:pt x="0" y="20"/>
                    <a:pt x="6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7" name="Freeform 1378"/>
            <p:cNvSpPr>
              <a:spLocks noChangeArrowheads="1"/>
            </p:cNvSpPr>
            <p:nvPr/>
          </p:nvSpPr>
          <p:spPr bwMode="auto">
            <a:xfrm>
              <a:off x="4467225" y="2630488"/>
              <a:ext cx="4763" cy="4762"/>
            </a:xfrm>
            <a:custGeom>
              <a:avLst/>
              <a:gdLst>
                <a:gd name="T0" fmla="*/ 11 w 12"/>
                <a:gd name="T1" fmla="*/ 3 h 13"/>
                <a:gd name="T2" fmla="*/ 11 w 12"/>
                <a:gd name="T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3">
                  <a:moveTo>
                    <a:pt x="11" y="3"/>
                  </a:moveTo>
                  <a:cubicBezTo>
                    <a:pt x="0" y="0"/>
                    <a:pt x="11" y="12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8" name="Freeform 1379"/>
            <p:cNvSpPr>
              <a:spLocks noChangeArrowheads="1"/>
            </p:cNvSpPr>
            <p:nvPr/>
          </p:nvSpPr>
          <p:spPr bwMode="auto">
            <a:xfrm>
              <a:off x="4475163" y="2625725"/>
              <a:ext cx="4762" cy="6350"/>
            </a:xfrm>
            <a:custGeom>
              <a:avLst/>
              <a:gdLst>
                <a:gd name="T0" fmla="*/ 0 w 12"/>
                <a:gd name="T1" fmla="*/ 9 h 18"/>
                <a:gd name="T2" fmla="*/ 0 w 12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0" y="9"/>
                  </a:moveTo>
                  <a:cubicBezTo>
                    <a:pt x="11" y="17"/>
                    <a:pt x="9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9" name="Freeform 1380"/>
            <p:cNvSpPr>
              <a:spLocks noChangeArrowheads="1"/>
            </p:cNvSpPr>
            <p:nvPr/>
          </p:nvSpPr>
          <p:spPr bwMode="auto">
            <a:xfrm>
              <a:off x="4433888" y="2644775"/>
              <a:ext cx="3175" cy="4763"/>
            </a:xfrm>
            <a:custGeom>
              <a:avLst/>
              <a:gdLst>
                <a:gd name="T0" fmla="*/ 9 w 10"/>
                <a:gd name="T1" fmla="*/ 11 h 12"/>
                <a:gd name="T2" fmla="*/ 9 w 10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2">
                  <a:moveTo>
                    <a:pt x="9" y="11"/>
                  </a:moveTo>
                  <a:cubicBezTo>
                    <a:pt x="9" y="0"/>
                    <a:pt x="0" y="11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0" name="Freeform 1381"/>
            <p:cNvSpPr>
              <a:spLocks noChangeArrowheads="1"/>
            </p:cNvSpPr>
            <p:nvPr/>
          </p:nvSpPr>
          <p:spPr bwMode="auto">
            <a:xfrm>
              <a:off x="4435475" y="2641600"/>
              <a:ext cx="3175" cy="4763"/>
            </a:xfrm>
            <a:custGeom>
              <a:avLst/>
              <a:gdLst>
                <a:gd name="T0" fmla="*/ 8 w 9"/>
                <a:gd name="T1" fmla="*/ 11 h 15"/>
                <a:gd name="T2" fmla="*/ 8 w 9"/>
                <a:gd name="T3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8" y="11"/>
                  </a:moveTo>
                  <a:cubicBezTo>
                    <a:pt x="8" y="0"/>
                    <a:pt x="0" y="14"/>
                    <a:pt x="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1" name="Freeform 1382"/>
            <p:cNvSpPr>
              <a:spLocks noChangeArrowheads="1"/>
            </p:cNvSpPr>
            <p:nvPr/>
          </p:nvSpPr>
          <p:spPr bwMode="auto">
            <a:xfrm>
              <a:off x="4451350" y="2646363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0 w 7"/>
                <a:gd name="T3" fmla="*/ 0 h 6"/>
                <a:gd name="T4" fmla="*/ 6 w 7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cubicBezTo>
                    <a:pt x="6" y="3"/>
                    <a:pt x="3" y="0"/>
                    <a:pt x="0" y="0"/>
                  </a:cubicBezTo>
                  <a:cubicBezTo>
                    <a:pt x="0" y="3"/>
                    <a:pt x="3" y="5"/>
                    <a:pt x="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2" name="Freeform 1383"/>
            <p:cNvSpPr>
              <a:spLocks noChangeArrowheads="1"/>
            </p:cNvSpPr>
            <p:nvPr/>
          </p:nvSpPr>
          <p:spPr bwMode="auto">
            <a:xfrm>
              <a:off x="4456113" y="2641600"/>
              <a:ext cx="3175" cy="4763"/>
            </a:xfrm>
            <a:custGeom>
              <a:avLst/>
              <a:gdLst>
                <a:gd name="T0" fmla="*/ 8 w 9"/>
                <a:gd name="T1" fmla="*/ 8 h 12"/>
                <a:gd name="T2" fmla="*/ 8 w 9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8" y="8"/>
                  </a:moveTo>
                  <a:cubicBezTo>
                    <a:pt x="8" y="0"/>
                    <a:pt x="0" y="11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3" name="Freeform 1384"/>
            <p:cNvSpPr>
              <a:spLocks noChangeArrowheads="1"/>
            </p:cNvSpPr>
            <p:nvPr/>
          </p:nvSpPr>
          <p:spPr bwMode="auto">
            <a:xfrm>
              <a:off x="4457700" y="2641600"/>
              <a:ext cx="3175" cy="4763"/>
            </a:xfrm>
            <a:custGeom>
              <a:avLst/>
              <a:gdLst>
                <a:gd name="T0" fmla="*/ 9 w 10"/>
                <a:gd name="T1" fmla="*/ 11 h 12"/>
                <a:gd name="T2" fmla="*/ 9 w 10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2">
                  <a:moveTo>
                    <a:pt x="9" y="11"/>
                  </a:moveTo>
                  <a:cubicBezTo>
                    <a:pt x="6" y="0"/>
                    <a:pt x="0" y="11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4" name="Freeform 1385"/>
            <p:cNvSpPr>
              <a:spLocks noChangeArrowheads="1"/>
            </p:cNvSpPr>
            <p:nvPr/>
          </p:nvSpPr>
          <p:spPr bwMode="auto">
            <a:xfrm>
              <a:off x="4478338" y="2641600"/>
              <a:ext cx="9525" cy="4763"/>
            </a:xfrm>
            <a:custGeom>
              <a:avLst/>
              <a:gdLst>
                <a:gd name="T0" fmla="*/ 5 w 26"/>
                <a:gd name="T1" fmla="*/ 11 h 15"/>
                <a:gd name="T2" fmla="*/ 19 w 26"/>
                <a:gd name="T3" fmla="*/ 5 h 15"/>
                <a:gd name="T4" fmla="*/ 5 w 26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15">
                  <a:moveTo>
                    <a:pt x="5" y="11"/>
                  </a:moveTo>
                  <a:cubicBezTo>
                    <a:pt x="8" y="14"/>
                    <a:pt x="25" y="14"/>
                    <a:pt x="19" y="5"/>
                  </a:cubicBezTo>
                  <a:cubicBezTo>
                    <a:pt x="17" y="0"/>
                    <a:pt x="0" y="5"/>
                    <a:pt x="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5" name="Freeform 1386"/>
            <p:cNvSpPr>
              <a:spLocks noChangeArrowheads="1"/>
            </p:cNvSpPr>
            <p:nvPr/>
          </p:nvSpPr>
          <p:spPr bwMode="auto">
            <a:xfrm>
              <a:off x="4473575" y="2630488"/>
              <a:ext cx="6350" cy="7937"/>
            </a:xfrm>
            <a:custGeom>
              <a:avLst/>
              <a:gdLst>
                <a:gd name="T0" fmla="*/ 3 w 16"/>
                <a:gd name="T1" fmla="*/ 20 h 21"/>
                <a:gd name="T2" fmla="*/ 3 w 16"/>
                <a:gd name="T3" fmla="*/ 0 h 21"/>
                <a:gd name="T4" fmla="*/ 3 w 16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21">
                  <a:moveTo>
                    <a:pt x="3" y="20"/>
                  </a:moveTo>
                  <a:cubicBezTo>
                    <a:pt x="12" y="17"/>
                    <a:pt x="15" y="6"/>
                    <a:pt x="3" y="0"/>
                  </a:cubicBezTo>
                  <a:cubicBezTo>
                    <a:pt x="0" y="6"/>
                    <a:pt x="0" y="15"/>
                    <a:pt x="3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6" name="Freeform 1387"/>
            <p:cNvSpPr>
              <a:spLocks noChangeArrowheads="1"/>
            </p:cNvSpPr>
            <p:nvPr/>
          </p:nvSpPr>
          <p:spPr bwMode="auto">
            <a:xfrm>
              <a:off x="4479925" y="2638425"/>
              <a:ext cx="4763" cy="7938"/>
            </a:xfrm>
            <a:custGeom>
              <a:avLst/>
              <a:gdLst>
                <a:gd name="T0" fmla="*/ 0 w 12"/>
                <a:gd name="T1" fmla="*/ 6 h 21"/>
                <a:gd name="T2" fmla="*/ 0 w 12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1">
                  <a:moveTo>
                    <a:pt x="0" y="6"/>
                  </a:moveTo>
                  <a:cubicBezTo>
                    <a:pt x="0" y="20"/>
                    <a:pt x="11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7" name="Freeform 1388"/>
            <p:cNvSpPr>
              <a:spLocks noChangeArrowheads="1"/>
            </p:cNvSpPr>
            <p:nvPr/>
          </p:nvSpPr>
          <p:spPr bwMode="auto">
            <a:xfrm>
              <a:off x="4465638" y="2632075"/>
              <a:ext cx="6350" cy="6350"/>
            </a:xfrm>
            <a:custGeom>
              <a:avLst/>
              <a:gdLst>
                <a:gd name="T0" fmla="*/ 5 w 18"/>
                <a:gd name="T1" fmla="*/ 0 h 18"/>
                <a:gd name="T2" fmla="*/ 0 w 18"/>
                <a:gd name="T3" fmla="*/ 9 h 18"/>
                <a:gd name="T4" fmla="*/ 5 w 18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8">
                  <a:moveTo>
                    <a:pt x="5" y="0"/>
                  </a:moveTo>
                  <a:lnTo>
                    <a:pt x="0" y="9"/>
                  </a:lnTo>
                  <a:cubicBezTo>
                    <a:pt x="5" y="17"/>
                    <a:pt x="17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8" name="Freeform 1389"/>
            <p:cNvSpPr>
              <a:spLocks noChangeArrowheads="1"/>
            </p:cNvSpPr>
            <p:nvPr/>
          </p:nvSpPr>
          <p:spPr bwMode="auto">
            <a:xfrm>
              <a:off x="4459288" y="2640013"/>
              <a:ext cx="9525" cy="6350"/>
            </a:xfrm>
            <a:custGeom>
              <a:avLst/>
              <a:gdLst>
                <a:gd name="T0" fmla="*/ 25 w 26"/>
                <a:gd name="T1" fmla="*/ 8 h 18"/>
                <a:gd name="T2" fmla="*/ 6 w 26"/>
                <a:gd name="T3" fmla="*/ 0 h 18"/>
                <a:gd name="T4" fmla="*/ 0 w 26"/>
                <a:gd name="T5" fmla="*/ 8 h 18"/>
                <a:gd name="T6" fmla="*/ 20 w 26"/>
                <a:gd name="T7" fmla="*/ 14 h 18"/>
                <a:gd name="T8" fmla="*/ 25 w 26"/>
                <a:gd name="T9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25" y="8"/>
                  </a:moveTo>
                  <a:cubicBezTo>
                    <a:pt x="20" y="3"/>
                    <a:pt x="11" y="0"/>
                    <a:pt x="6" y="0"/>
                  </a:cubicBezTo>
                  <a:lnTo>
                    <a:pt x="0" y="8"/>
                  </a:lnTo>
                  <a:cubicBezTo>
                    <a:pt x="3" y="14"/>
                    <a:pt x="11" y="17"/>
                    <a:pt x="20" y="14"/>
                  </a:cubicBezTo>
                  <a:cubicBezTo>
                    <a:pt x="22" y="14"/>
                    <a:pt x="22" y="11"/>
                    <a:pt x="2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9" name="Freeform 1390"/>
            <p:cNvSpPr>
              <a:spLocks noChangeArrowheads="1"/>
            </p:cNvSpPr>
            <p:nvPr/>
          </p:nvSpPr>
          <p:spPr bwMode="auto">
            <a:xfrm>
              <a:off x="4440238" y="2627313"/>
              <a:ext cx="3175" cy="7937"/>
            </a:xfrm>
            <a:custGeom>
              <a:avLst/>
              <a:gdLst>
                <a:gd name="T0" fmla="*/ 0 w 10"/>
                <a:gd name="T1" fmla="*/ 8 h 21"/>
                <a:gd name="T2" fmla="*/ 0 w 10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8"/>
                  </a:moveTo>
                  <a:cubicBezTo>
                    <a:pt x="9" y="20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0" name="Freeform 1391"/>
            <p:cNvSpPr>
              <a:spLocks noChangeArrowheads="1"/>
            </p:cNvSpPr>
            <p:nvPr/>
          </p:nvSpPr>
          <p:spPr bwMode="auto">
            <a:xfrm>
              <a:off x="4451350" y="2638425"/>
              <a:ext cx="3175" cy="4763"/>
            </a:xfrm>
            <a:custGeom>
              <a:avLst/>
              <a:gdLst>
                <a:gd name="T0" fmla="*/ 3 w 10"/>
                <a:gd name="T1" fmla="*/ 0 h 15"/>
                <a:gd name="T2" fmla="*/ 3 w 10"/>
                <a:gd name="T3" fmla="*/ 11 h 15"/>
                <a:gd name="T4" fmla="*/ 6 w 10"/>
                <a:gd name="T5" fmla="*/ 14 h 15"/>
                <a:gd name="T6" fmla="*/ 6 w 10"/>
                <a:gd name="T7" fmla="*/ 3 h 15"/>
                <a:gd name="T8" fmla="*/ 3 w 1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3" y="0"/>
                  </a:moveTo>
                  <a:cubicBezTo>
                    <a:pt x="0" y="3"/>
                    <a:pt x="0" y="8"/>
                    <a:pt x="3" y="11"/>
                  </a:cubicBezTo>
                  <a:lnTo>
                    <a:pt x="6" y="14"/>
                  </a:lnTo>
                  <a:cubicBezTo>
                    <a:pt x="9" y="11"/>
                    <a:pt x="9" y="6"/>
                    <a:pt x="6" y="3"/>
                  </a:cubicBezTo>
                  <a:cubicBezTo>
                    <a:pt x="6" y="0"/>
                    <a:pt x="6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1" name="Freeform 1392"/>
            <p:cNvSpPr>
              <a:spLocks noChangeArrowheads="1"/>
            </p:cNvSpPr>
            <p:nvPr/>
          </p:nvSpPr>
          <p:spPr bwMode="auto">
            <a:xfrm>
              <a:off x="4438650" y="2630488"/>
              <a:ext cx="3175" cy="6350"/>
            </a:xfrm>
            <a:custGeom>
              <a:avLst/>
              <a:gdLst>
                <a:gd name="T0" fmla="*/ 0 w 9"/>
                <a:gd name="T1" fmla="*/ 9 h 18"/>
                <a:gd name="T2" fmla="*/ 0 w 9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9"/>
                  </a:moveTo>
                  <a:cubicBezTo>
                    <a:pt x="8" y="17"/>
                    <a:pt x="5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2" name="Freeform 1393"/>
            <p:cNvSpPr>
              <a:spLocks noChangeArrowheads="1"/>
            </p:cNvSpPr>
            <p:nvPr/>
          </p:nvSpPr>
          <p:spPr bwMode="auto">
            <a:xfrm>
              <a:off x="4424363" y="2625725"/>
              <a:ext cx="3175" cy="3175"/>
            </a:xfrm>
            <a:custGeom>
              <a:avLst/>
              <a:gdLst>
                <a:gd name="T0" fmla="*/ 6 w 9"/>
                <a:gd name="T1" fmla="*/ 9 h 10"/>
                <a:gd name="T2" fmla="*/ 8 w 9"/>
                <a:gd name="T3" fmla="*/ 3 h 10"/>
                <a:gd name="T4" fmla="*/ 3 w 9"/>
                <a:gd name="T5" fmla="*/ 0 h 10"/>
                <a:gd name="T6" fmla="*/ 0 w 9"/>
                <a:gd name="T7" fmla="*/ 6 h 10"/>
                <a:gd name="T8" fmla="*/ 6 w 9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6" y="9"/>
                  </a:moveTo>
                  <a:lnTo>
                    <a:pt x="8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6" y="9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3" name="Freeform 1394"/>
            <p:cNvSpPr>
              <a:spLocks noChangeArrowheads="1"/>
            </p:cNvSpPr>
            <p:nvPr/>
          </p:nvSpPr>
          <p:spPr bwMode="auto">
            <a:xfrm>
              <a:off x="4435475" y="2636838"/>
              <a:ext cx="3175" cy="3175"/>
            </a:xfrm>
            <a:custGeom>
              <a:avLst/>
              <a:gdLst>
                <a:gd name="T0" fmla="*/ 6 w 10"/>
                <a:gd name="T1" fmla="*/ 8 h 9"/>
                <a:gd name="T2" fmla="*/ 9 w 10"/>
                <a:gd name="T3" fmla="*/ 2 h 9"/>
                <a:gd name="T4" fmla="*/ 3 w 10"/>
                <a:gd name="T5" fmla="*/ 0 h 9"/>
                <a:gd name="T6" fmla="*/ 0 w 10"/>
                <a:gd name="T7" fmla="*/ 5 h 9"/>
                <a:gd name="T8" fmla="*/ 6 w 10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6" y="8"/>
                  </a:moveTo>
                  <a:lnTo>
                    <a:pt x="9" y="2"/>
                  </a:lnTo>
                  <a:lnTo>
                    <a:pt x="3" y="0"/>
                  </a:lnTo>
                  <a:lnTo>
                    <a:pt x="0" y="5"/>
                  </a:lnTo>
                  <a:lnTo>
                    <a:pt x="6" y="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4" name="Freeform 1395"/>
            <p:cNvSpPr>
              <a:spLocks noChangeArrowheads="1"/>
            </p:cNvSpPr>
            <p:nvPr/>
          </p:nvSpPr>
          <p:spPr bwMode="auto">
            <a:xfrm>
              <a:off x="4435475" y="2638425"/>
              <a:ext cx="6350" cy="4763"/>
            </a:xfrm>
            <a:custGeom>
              <a:avLst/>
              <a:gdLst>
                <a:gd name="T0" fmla="*/ 8 w 18"/>
                <a:gd name="T1" fmla="*/ 14 h 15"/>
                <a:gd name="T2" fmla="*/ 14 w 18"/>
                <a:gd name="T3" fmla="*/ 0 h 15"/>
                <a:gd name="T4" fmla="*/ 0 w 18"/>
                <a:gd name="T5" fmla="*/ 8 h 15"/>
                <a:gd name="T6" fmla="*/ 8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8" y="14"/>
                  </a:moveTo>
                  <a:cubicBezTo>
                    <a:pt x="11" y="8"/>
                    <a:pt x="17" y="6"/>
                    <a:pt x="14" y="0"/>
                  </a:cubicBezTo>
                  <a:cubicBezTo>
                    <a:pt x="11" y="11"/>
                    <a:pt x="6" y="3"/>
                    <a:pt x="0" y="8"/>
                  </a:cubicBezTo>
                  <a:lnTo>
                    <a:pt x="8" y="14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5" name="Freeform 1396"/>
            <p:cNvSpPr>
              <a:spLocks noChangeArrowheads="1"/>
            </p:cNvSpPr>
            <p:nvPr/>
          </p:nvSpPr>
          <p:spPr bwMode="auto">
            <a:xfrm>
              <a:off x="4440238" y="2644775"/>
              <a:ext cx="4762" cy="7938"/>
            </a:xfrm>
            <a:custGeom>
              <a:avLst/>
              <a:gdLst>
                <a:gd name="T0" fmla="*/ 0 w 12"/>
                <a:gd name="T1" fmla="*/ 6 h 24"/>
                <a:gd name="T2" fmla="*/ 0 w 12"/>
                <a:gd name="T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4">
                  <a:moveTo>
                    <a:pt x="0" y="6"/>
                  </a:moveTo>
                  <a:cubicBezTo>
                    <a:pt x="0" y="23"/>
                    <a:pt x="11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6" name="Freeform 1397"/>
            <p:cNvSpPr>
              <a:spLocks noChangeArrowheads="1"/>
            </p:cNvSpPr>
            <p:nvPr/>
          </p:nvSpPr>
          <p:spPr bwMode="auto">
            <a:xfrm>
              <a:off x="4424363" y="2636838"/>
              <a:ext cx="4762" cy="4762"/>
            </a:xfrm>
            <a:custGeom>
              <a:avLst/>
              <a:gdLst>
                <a:gd name="T0" fmla="*/ 14 w 15"/>
                <a:gd name="T1" fmla="*/ 6 h 13"/>
                <a:gd name="T2" fmla="*/ 6 w 15"/>
                <a:gd name="T3" fmla="*/ 0 h 13"/>
                <a:gd name="T4" fmla="*/ 0 w 15"/>
                <a:gd name="T5" fmla="*/ 9 h 13"/>
                <a:gd name="T6" fmla="*/ 11 w 15"/>
                <a:gd name="T7" fmla="*/ 9 h 13"/>
                <a:gd name="T8" fmla="*/ 14 w 15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3">
                  <a:moveTo>
                    <a:pt x="14" y="6"/>
                  </a:moveTo>
                  <a:lnTo>
                    <a:pt x="6" y="0"/>
                  </a:lnTo>
                  <a:lnTo>
                    <a:pt x="0" y="9"/>
                  </a:lnTo>
                  <a:cubicBezTo>
                    <a:pt x="3" y="12"/>
                    <a:pt x="8" y="12"/>
                    <a:pt x="11" y="9"/>
                  </a:cubicBezTo>
                  <a:cubicBezTo>
                    <a:pt x="11" y="6"/>
                    <a:pt x="14" y="6"/>
                    <a:pt x="14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7" name="Freeform 1398"/>
            <p:cNvSpPr>
              <a:spLocks noChangeArrowheads="1"/>
            </p:cNvSpPr>
            <p:nvPr/>
          </p:nvSpPr>
          <p:spPr bwMode="auto">
            <a:xfrm>
              <a:off x="4432300" y="2644775"/>
              <a:ext cx="4763" cy="6350"/>
            </a:xfrm>
            <a:custGeom>
              <a:avLst/>
              <a:gdLst>
                <a:gd name="T0" fmla="*/ 0 w 12"/>
                <a:gd name="T1" fmla="*/ 8 h 18"/>
                <a:gd name="T2" fmla="*/ 0 w 12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0" y="8"/>
                  </a:moveTo>
                  <a:cubicBezTo>
                    <a:pt x="11" y="17"/>
                    <a:pt x="5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8" name="Freeform 1399"/>
            <p:cNvSpPr>
              <a:spLocks noChangeArrowheads="1"/>
            </p:cNvSpPr>
            <p:nvPr/>
          </p:nvSpPr>
          <p:spPr bwMode="auto">
            <a:xfrm>
              <a:off x="4424363" y="2647950"/>
              <a:ext cx="6350" cy="4763"/>
            </a:xfrm>
            <a:custGeom>
              <a:avLst/>
              <a:gdLst>
                <a:gd name="T0" fmla="*/ 0 w 18"/>
                <a:gd name="T1" fmla="*/ 8 h 15"/>
                <a:gd name="T2" fmla="*/ 17 w 18"/>
                <a:gd name="T3" fmla="*/ 8 h 15"/>
                <a:gd name="T4" fmla="*/ 0 w 18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0" y="8"/>
                  </a:moveTo>
                  <a:cubicBezTo>
                    <a:pt x="6" y="14"/>
                    <a:pt x="11" y="11"/>
                    <a:pt x="17" y="8"/>
                  </a:cubicBezTo>
                  <a:cubicBezTo>
                    <a:pt x="11" y="5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9" name="Freeform 1400"/>
            <p:cNvSpPr>
              <a:spLocks noChangeArrowheads="1"/>
            </p:cNvSpPr>
            <p:nvPr/>
          </p:nvSpPr>
          <p:spPr bwMode="auto">
            <a:xfrm>
              <a:off x="4462463" y="2633663"/>
              <a:ext cx="1587" cy="3175"/>
            </a:xfrm>
            <a:custGeom>
              <a:avLst/>
              <a:gdLst>
                <a:gd name="T0" fmla="*/ 3 w 4"/>
                <a:gd name="T1" fmla="*/ 0 h 9"/>
                <a:gd name="T2" fmla="*/ 0 w 4"/>
                <a:gd name="T3" fmla="*/ 8 h 9"/>
                <a:gd name="T4" fmla="*/ 0 w 4"/>
                <a:gd name="T5" fmla="*/ 3 h 9"/>
                <a:gd name="T6" fmla="*/ 3 w 4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3" y="0"/>
                  </a:moveTo>
                  <a:cubicBezTo>
                    <a:pt x="3" y="0"/>
                    <a:pt x="3" y="8"/>
                    <a:pt x="0" y="8"/>
                  </a:cubicBezTo>
                  <a:cubicBezTo>
                    <a:pt x="0" y="8"/>
                    <a:pt x="0" y="6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0" name="Freeform 1401"/>
            <p:cNvSpPr>
              <a:spLocks noChangeArrowheads="1"/>
            </p:cNvSpPr>
            <p:nvPr/>
          </p:nvSpPr>
          <p:spPr bwMode="auto">
            <a:xfrm>
              <a:off x="4483100" y="2638425"/>
              <a:ext cx="4763" cy="7938"/>
            </a:xfrm>
            <a:custGeom>
              <a:avLst/>
              <a:gdLst>
                <a:gd name="T0" fmla="*/ 5 w 12"/>
                <a:gd name="T1" fmla="*/ 20 h 21"/>
                <a:gd name="T2" fmla="*/ 11 w 12"/>
                <a:gd name="T3" fmla="*/ 8 h 21"/>
                <a:gd name="T4" fmla="*/ 5 w 12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1">
                  <a:moveTo>
                    <a:pt x="5" y="20"/>
                  </a:moveTo>
                  <a:cubicBezTo>
                    <a:pt x="5" y="14"/>
                    <a:pt x="11" y="14"/>
                    <a:pt x="11" y="8"/>
                  </a:cubicBezTo>
                  <a:cubicBezTo>
                    <a:pt x="5" y="0"/>
                    <a:pt x="0" y="20"/>
                    <a:pt x="5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1" name="Freeform 1402"/>
            <p:cNvSpPr>
              <a:spLocks noChangeArrowheads="1"/>
            </p:cNvSpPr>
            <p:nvPr/>
          </p:nvSpPr>
          <p:spPr bwMode="auto">
            <a:xfrm>
              <a:off x="4464050" y="2644775"/>
              <a:ext cx="6350" cy="4763"/>
            </a:xfrm>
            <a:custGeom>
              <a:avLst/>
              <a:gdLst>
                <a:gd name="T0" fmla="*/ 9 w 18"/>
                <a:gd name="T1" fmla="*/ 0 h 15"/>
                <a:gd name="T2" fmla="*/ 9 w 18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5">
                  <a:moveTo>
                    <a:pt x="9" y="0"/>
                  </a:moveTo>
                  <a:cubicBezTo>
                    <a:pt x="0" y="14"/>
                    <a:pt x="17" y="6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2" name="Freeform 1403"/>
            <p:cNvSpPr>
              <a:spLocks noChangeArrowheads="1"/>
            </p:cNvSpPr>
            <p:nvPr/>
          </p:nvSpPr>
          <p:spPr bwMode="auto">
            <a:xfrm>
              <a:off x="4459288" y="2644775"/>
              <a:ext cx="6350" cy="4763"/>
            </a:xfrm>
            <a:custGeom>
              <a:avLst/>
              <a:gdLst>
                <a:gd name="T0" fmla="*/ 8 w 18"/>
                <a:gd name="T1" fmla="*/ 0 h 12"/>
                <a:gd name="T2" fmla="*/ 8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cubicBezTo>
                    <a:pt x="0" y="11"/>
                    <a:pt x="17" y="3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3" name="Freeform 1404"/>
            <p:cNvSpPr>
              <a:spLocks noChangeArrowheads="1"/>
            </p:cNvSpPr>
            <p:nvPr/>
          </p:nvSpPr>
          <p:spPr bwMode="auto">
            <a:xfrm>
              <a:off x="4443413" y="2633663"/>
              <a:ext cx="4762" cy="4762"/>
            </a:xfrm>
            <a:custGeom>
              <a:avLst/>
              <a:gdLst>
                <a:gd name="T0" fmla="*/ 5 w 15"/>
                <a:gd name="T1" fmla="*/ 0 h 12"/>
                <a:gd name="T2" fmla="*/ 5 w 15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2">
                  <a:moveTo>
                    <a:pt x="5" y="0"/>
                  </a:moveTo>
                  <a:cubicBezTo>
                    <a:pt x="0" y="11"/>
                    <a:pt x="14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4" name="Freeform 1405"/>
            <p:cNvSpPr>
              <a:spLocks noChangeArrowheads="1"/>
            </p:cNvSpPr>
            <p:nvPr/>
          </p:nvSpPr>
          <p:spPr bwMode="auto">
            <a:xfrm>
              <a:off x="4437063" y="2640013"/>
              <a:ext cx="6350" cy="4762"/>
            </a:xfrm>
            <a:custGeom>
              <a:avLst/>
              <a:gdLst>
                <a:gd name="T0" fmla="*/ 5 w 18"/>
                <a:gd name="T1" fmla="*/ 0 h 12"/>
                <a:gd name="T2" fmla="*/ 5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5" y="0"/>
                  </a:moveTo>
                  <a:cubicBezTo>
                    <a:pt x="0" y="11"/>
                    <a:pt x="17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5" name="Freeform 1406"/>
            <p:cNvSpPr>
              <a:spLocks noChangeArrowheads="1"/>
            </p:cNvSpPr>
            <p:nvPr/>
          </p:nvSpPr>
          <p:spPr bwMode="auto">
            <a:xfrm>
              <a:off x="4422775" y="2644775"/>
              <a:ext cx="4763" cy="4763"/>
            </a:xfrm>
            <a:custGeom>
              <a:avLst/>
              <a:gdLst>
                <a:gd name="T0" fmla="*/ 12 w 15"/>
                <a:gd name="T1" fmla="*/ 11 h 12"/>
                <a:gd name="T2" fmla="*/ 3 w 15"/>
                <a:gd name="T3" fmla="*/ 0 h 12"/>
                <a:gd name="T4" fmla="*/ 12 w 15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12" y="11"/>
                  </a:moveTo>
                  <a:cubicBezTo>
                    <a:pt x="14" y="6"/>
                    <a:pt x="12" y="0"/>
                    <a:pt x="3" y="0"/>
                  </a:cubicBezTo>
                  <a:cubicBezTo>
                    <a:pt x="0" y="6"/>
                    <a:pt x="3" y="8"/>
                    <a:pt x="12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6" name="Freeform 1407"/>
            <p:cNvSpPr>
              <a:spLocks noChangeArrowheads="1"/>
            </p:cNvSpPr>
            <p:nvPr/>
          </p:nvSpPr>
          <p:spPr bwMode="auto">
            <a:xfrm>
              <a:off x="4273550" y="2689225"/>
              <a:ext cx="7938" cy="6350"/>
            </a:xfrm>
            <a:custGeom>
              <a:avLst/>
              <a:gdLst>
                <a:gd name="T0" fmla="*/ 20 w 21"/>
                <a:gd name="T1" fmla="*/ 9 h 18"/>
                <a:gd name="T2" fmla="*/ 0 w 21"/>
                <a:gd name="T3" fmla="*/ 12 h 18"/>
                <a:gd name="T4" fmla="*/ 20 w 21"/>
                <a:gd name="T5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20" y="9"/>
                  </a:moveTo>
                  <a:cubicBezTo>
                    <a:pt x="14" y="9"/>
                    <a:pt x="3" y="0"/>
                    <a:pt x="0" y="12"/>
                  </a:cubicBezTo>
                  <a:cubicBezTo>
                    <a:pt x="9" y="14"/>
                    <a:pt x="17" y="17"/>
                    <a:pt x="2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7" name="Freeform 1408"/>
            <p:cNvSpPr>
              <a:spLocks noChangeArrowheads="1"/>
            </p:cNvSpPr>
            <p:nvPr/>
          </p:nvSpPr>
          <p:spPr bwMode="auto">
            <a:xfrm>
              <a:off x="4284663" y="2676525"/>
              <a:ext cx="3175" cy="3175"/>
            </a:xfrm>
            <a:custGeom>
              <a:avLst/>
              <a:gdLst>
                <a:gd name="T0" fmla="*/ 0 w 9"/>
                <a:gd name="T1" fmla="*/ 5 h 9"/>
                <a:gd name="T2" fmla="*/ 5 w 9"/>
                <a:gd name="T3" fmla="*/ 8 h 9"/>
                <a:gd name="T4" fmla="*/ 8 w 9"/>
                <a:gd name="T5" fmla="*/ 2 h 9"/>
                <a:gd name="T6" fmla="*/ 2 w 9"/>
                <a:gd name="T7" fmla="*/ 0 h 9"/>
                <a:gd name="T8" fmla="*/ 0 w 9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0" y="5"/>
                  </a:moveTo>
                  <a:lnTo>
                    <a:pt x="5" y="8"/>
                  </a:lnTo>
                  <a:lnTo>
                    <a:pt x="8" y="2"/>
                  </a:lnTo>
                  <a:lnTo>
                    <a:pt x="2" y="0"/>
                  </a:lnTo>
                  <a:lnTo>
                    <a:pt x="0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8" name="Freeform 1409"/>
            <p:cNvSpPr>
              <a:spLocks noChangeArrowheads="1"/>
            </p:cNvSpPr>
            <p:nvPr/>
          </p:nvSpPr>
          <p:spPr bwMode="auto">
            <a:xfrm>
              <a:off x="4284663" y="2686050"/>
              <a:ext cx="7937" cy="9525"/>
            </a:xfrm>
            <a:custGeom>
              <a:avLst/>
              <a:gdLst>
                <a:gd name="T0" fmla="*/ 3 w 24"/>
                <a:gd name="T1" fmla="*/ 25 h 26"/>
                <a:gd name="T2" fmla="*/ 23 w 24"/>
                <a:gd name="T3" fmla="*/ 8 h 26"/>
                <a:gd name="T4" fmla="*/ 3 w 24"/>
                <a:gd name="T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26">
                  <a:moveTo>
                    <a:pt x="3" y="25"/>
                  </a:moveTo>
                  <a:cubicBezTo>
                    <a:pt x="9" y="20"/>
                    <a:pt x="17" y="17"/>
                    <a:pt x="23" y="8"/>
                  </a:cubicBezTo>
                  <a:cubicBezTo>
                    <a:pt x="12" y="0"/>
                    <a:pt x="0" y="20"/>
                    <a:pt x="3" y="2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9" name="Freeform 1410"/>
            <p:cNvSpPr>
              <a:spLocks noChangeArrowheads="1"/>
            </p:cNvSpPr>
            <p:nvPr/>
          </p:nvSpPr>
          <p:spPr bwMode="auto">
            <a:xfrm>
              <a:off x="4297363" y="2673350"/>
              <a:ext cx="7937" cy="4763"/>
            </a:xfrm>
            <a:custGeom>
              <a:avLst/>
              <a:gdLst>
                <a:gd name="T0" fmla="*/ 12 w 21"/>
                <a:gd name="T1" fmla="*/ 14 h 15"/>
                <a:gd name="T2" fmla="*/ 12 w 21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5">
                  <a:moveTo>
                    <a:pt x="12" y="14"/>
                  </a:moveTo>
                  <a:cubicBezTo>
                    <a:pt x="20" y="0"/>
                    <a:pt x="0" y="8"/>
                    <a:pt x="1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0" name="Freeform 1411"/>
            <p:cNvSpPr>
              <a:spLocks noChangeArrowheads="1"/>
            </p:cNvSpPr>
            <p:nvPr/>
          </p:nvSpPr>
          <p:spPr bwMode="auto">
            <a:xfrm>
              <a:off x="4297363" y="2687638"/>
              <a:ext cx="6350" cy="9525"/>
            </a:xfrm>
            <a:custGeom>
              <a:avLst/>
              <a:gdLst>
                <a:gd name="T0" fmla="*/ 6 w 18"/>
                <a:gd name="T1" fmla="*/ 25 h 26"/>
                <a:gd name="T2" fmla="*/ 9 w 18"/>
                <a:gd name="T3" fmla="*/ 0 h 26"/>
                <a:gd name="T4" fmla="*/ 6 w 18"/>
                <a:gd name="T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6">
                  <a:moveTo>
                    <a:pt x="6" y="25"/>
                  </a:moveTo>
                  <a:cubicBezTo>
                    <a:pt x="12" y="22"/>
                    <a:pt x="17" y="5"/>
                    <a:pt x="9" y="0"/>
                  </a:cubicBezTo>
                  <a:cubicBezTo>
                    <a:pt x="3" y="8"/>
                    <a:pt x="0" y="19"/>
                    <a:pt x="6" y="2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1" name="Freeform 1412"/>
            <p:cNvSpPr>
              <a:spLocks noChangeArrowheads="1"/>
            </p:cNvSpPr>
            <p:nvPr/>
          </p:nvSpPr>
          <p:spPr bwMode="auto">
            <a:xfrm>
              <a:off x="4306888" y="2665413"/>
              <a:ext cx="7937" cy="3175"/>
            </a:xfrm>
            <a:custGeom>
              <a:avLst/>
              <a:gdLst>
                <a:gd name="T0" fmla="*/ 8 w 23"/>
                <a:gd name="T1" fmla="*/ 9 h 10"/>
                <a:gd name="T2" fmla="*/ 8 w 23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0">
                  <a:moveTo>
                    <a:pt x="8" y="9"/>
                  </a:moveTo>
                  <a:cubicBezTo>
                    <a:pt x="22" y="6"/>
                    <a:pt x="0" y="0"/>
                    <a:pt x="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2" name="Freeform 1413"/>
            <p:cNvSpPr>
              <a:spLocks noChangeArrowheads="1"/>
            </p:cNvSpPr>
            <p:nvPr/>
          </p:nvSpPr>
          <p:spPr bwMode="auto">
            <a:xfrm>
              <a:off x="4300538" y="2697163"/>
              <a:ext cx="3175" cy="3175"/>
            </a:xfrm>
            <a:custGeom>
              <a:avLst/>
              <a:gdLst>
                <a:gd name="T0" fmla="*/ 0 w 9"/>
                <a:gd name="T1" fmla="*/ 5 h 9"/>
                <a:gd name="T2" fmla="*/ 5 w 9"/>
                <a:gd name="T3" fmla="*/ 8 h 9"/>
                <a:gd name="T4" fmla="*/ 8 w 9"/>
                <a:gd name="T5" fmla="*/ 3 h 9"/>
                <a:gd name="T6" fmla="*/ 3 w 9"/>
                <a:gd name="T7" fmla="*/ 0 h 9"/>
                <a:gd name="T8" fmla="*/ 0 w 9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0" y="5"/>
                  </a:moveTo>
                  <a:lnTo>
                    <a:pt x="5" y="8"/>
                  </a:lnTo>
                  <a:lnTo>
                    <a:pt x="8" y="3"/>
                  </a:lnTo>
                  <a:lnTo>
                    <a:pt x="3" y="0"/>
                  </a:lnTo>
                  <a:lnTo>
                    <a:pt x="0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3" name="Freeform 1414"/>
            <p:cNvSpPr>
              <a:spLocks noChangeArrowheads="1"/>
            </p:cNvSpPr>
            <p:nvPr/>
          </p:nvSpPr>
          <p:spPr bwMode="auto">
            <a:xfrm>
              <a:off x="4329113" y="2649538"/>
              <a:ext cx="6350" cy="4762"/>
            </a:xfrm>
            <a:custGeom>
              <a:avLst/>
              <a:gdLst>
                <a:gd name="T0" fmla="*/ 5 w 18"/>
                <a:gd name="T1" fmla="*/ 12 h 13"/>
                <a:gd name="T2" fmla="*/ 17 w 18"/>
                <a:gd name="T3" fmla="*/ 6 h 13"/>
                <a:gd name="T4" fmla="*/ 5 w 18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5" y="12"/>
                  </a:moveTo>
                  <a:cubicBezTo>
                    <a:pt x="8" y="9"/>
                    <a:pt x="14" y="9"/>
                    <a:pt x="17" y="6"/>
                  </a:cubicBezTo>
                  <a:cubicBezTo>
                    <a:pt x="11" y="0"/>
                    <a:pt x="0" y="9"/>
                    <a:pt x="5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4" name="Freeform 1415"/>
            <p:cNvSpPr>
              <a:spLocks noChangeArrowheads="1"/>
            </p:cNvSpPr>
            <p:nvPr/>
          </p:nvSpPr>
          <p:spPr bwMode="auto">
            <a:xfrm>
              <a:off x="4311650" y="2693988"/>
              <a:ext cx="7938" cy="4762"/>
            </a:xfrm>
            <a:custGeom>
              <a:avLst/>
              <a:gdLst>
                <a:gd name="T0" fmla="*/ 11 w 21"/>
                <a:gd name="T1" fmla="*/ 12 h 13"/>
                <a:gd name="T2" fmla="*/ 11 w 21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3">
                  <a:moveTo>
                    <a:pt x="11" y="12"/>
                  </a:moveTo>
                  <a:cubicBezTo>
                    <a:pt x="20" y="0"/>
                    <a:pt x="0" y="9"/>
                    <a:pt x="11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5" name="Freeform 1416"/>
            <p:cNvSpPr>
              <a:spLocks noChangeArrowheads="1"/>
            </p:cNvSpPr>
            <p:nvPr/>
          </p:nvSpPr>
          <p:spPr bwMode="auto">
            <a:xfrm>
              <a:off x="4324350" y="2665413"/>
              <a:ext cx="9525" cy="3175"/>
            </a:xfrm>
            <a:custGeom>
              <a:avLst/>
              <a:gdLst>
                <a:gd name="T0" fmla="*/ 8 w 26"/>
                <a:gd name="T1" fmla="*/ 8 h 9"/>
                <a:gd name="T2" fmla="*/ 8 w 26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9">
                  <a:moveTo>
                    <a:pt x="8" y="8"/>
                  </a:moveTo>
                  <a:cubicBezTo>
                    <a:pt x="25" y="5"/>
                    <a:pt x="0" y="0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6" name="Freeform 1417"/>
            <p:cNvSpPr>
              <a:spLocks noChangeArrowheads="1"/>
            </p:cNvSpPr>
            <p:nvPr/>
          </p:nvSpPr>
          <p:spPr bwMode="auto">
            <a:xfrm>
              <a:off x="4319588" y="2679700"/>
              <a:ext cx="4762" cy="4763"/>
            </a:xfrm>
            <a:custGeom>
              <a:avLst/>
              <a:gdLst>
                <a:gd name="T0" fmla="*/ 5 w 15"/>
                <a:gd name="T1" fmla="*/ 14 h 15"/>
                <a:gd name="T2" fmla="*/ 11 w 15"/>
                <a:gd name="T3" fmla="*/ 11 h 15"/>
                <a:gd name="T4" fmla="*/ 14 w 15"/>
                <a:gd name="T5" fmla="*/ 6 h 15"/>
                <a:gd name="T6" fmla="*/ 5 w 15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5" y="14"/>
                  </a:moveTo>
                  <a:cubicBezTo>
                    <a:pt x="5" y="11"/>
                    <a:pt x="8" y="11"/>
                    <a:pt x="11" y="11"/>
                  </a:cubicBezTo>
                  <a:lnTo>
                    <a:pt x="14" y="6"/>
                  </a:lnTo>
                  <a:cubicBezTo>
                    <a:pt x="8" y="0"/>
                    <a:pt x="0" y="14"/>
                    <a:pt x="5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7" name="Freeform 1418"/>
            <p:cNvSpPr>
              <a:spLocks noChangeArrowheads="1"/>
            </p:cNvSpPr>
            <p:nvPr/>
          </p:nvSpPr>
          <p:spPr bwMode="auto">
            <a:xfrm>
              <a:off x="4341813" y="2636838"/>
              <a:ext cx="7937" cy="6350"/>
            </a:xfrm>
            <a:custGeom>
              <a:avLst/>
              <a:gdLst>
                <a:gd name="T0" fmla="*/ 9 w 21"/>
                <a:gd name="T1" fmla="*/ 16 h 17"/>
                <a:gd name="T2" fmla="*/ 9 w 21"/>
                <a:gd name="T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7">
                  <a:moveTo>
                    <a:pt x="9" y="16"/>
                  </a:moveTo>
                  <a:cubicBezTo>
                    <a:pt x="20" y="0"/>
                    <a:pt x="0" y="8"/>
                    <a:pt x="9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8" name="Freeform 1419"/>
            <p:cNvSpPr>
              <a:spLocks noChangeArrowheads="1"/>
            </p:cNvSpPr>
            <p:nvPr/>
          </p:nvSpPr>
          <p:spPr bwMode="auto">
            <a:xfrm>
              <a:off x="4340225" y="2660650"/>
              <a:ext cx="4763" cy="6350"/>
            </a:xfrm>
            <a:custGeom>
              <a:avLst/>
              <a:gdLst>
                <a:gd name="T0" fmla="*/ 6 w 12"/>
                <a:gd name="T1" fmla="*/ 0 h 18"/>
                <a:gd name="T2" fmla="*/ 11 w 12"/>
                <a:gd name="T3" fmla="*/ 12 h 18"/>
                <a:gd name="T4" fmla="*/ 6 w 12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cubicBezTo>
                    <a:pt x="0" y="6"/>
                    <a:pt x="8" y="17"/>
                    <a:pt x="11" y="12"/>
                  </a:cubicBezTo>
                  <a:cubicBezTo>
                    <a:pt x="6" y="6"/>
                    <a:pt x="11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9" name="Freeform 1420"/>
            <p:cNvSpPr>
              <a:spLocks noChangeArrowheads="1"/>
            </p:cNvSpPr>
            <p:nvPr/>
          </p:nvSpPr>
          <p:spPr bwMode="auto">
            <a:xfrm>
              <a:off x="4348163" y="2670175"/>
              <a:ext cx="4762" cy="9525"/>
            </a:xfrm>
            <a:custGeom>
              <a:avLst/>
              <a:gdLst>
                <a:gd name="T0" fmla="*/ 3 w 13"/>
                <a:gd name="T1" fmla="*/ 14 h 26"/>
                <a:gd name="T2" fmla="*/ 3 w 13"/>
                <a:gd name="T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6">
                  <a:moveTo>
                    <a:pt x="3" y="14"/>
                  </a:moveTo>
                  <a:cubicBezTo>
                    <a:pt x="12" y="25"/>
                    <a:pt x="0" y="0"/>
                    <a:pt x="3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0" name="Freeform 1421"/>
            <p:cNvSpPr>
              <a:spLocks noChangeArrowheads="1"/>
            </p:cNvSpPr>
            <p:nvPr/>
          </p:nvSpPr>
          <p:spPr bwMode="auto">
            <a:xfrm>
              <a:off x="4351338" y="2659063"/>
              <a:ext cx="6350" cy="6350"/>
            </a:xfrm>
            <a:custGeom>
              <a:avLst/>
              <a:gdLst>
                <a:gd name="T0" fmla="*/ 8 w 18"/>
                <a:gd name="T1" fmla="*/ 15 h 16"/>
                <a:gd name="T2" fmla="*/ 8 w 18"/>
                <a:gd name="T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6">
                  <a:moveTo>
                    <a:pt x="8" y="15"/>
                  </a:moveTo>
                  <a:cubicBezTo>
                    <a:pt x="17" y="0"/>
                    <a:pt x="0" y="9"/>
                    <a:pt x="8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1" name="Freeform 1422"/>
            <p:cNvSpPr>
              <a:spLocks noChangeArrowheads="1"/>
            </p:cNvSpPr>
            <p:nvPr/>
          </p:nvSpPr>
          <p:spPr bwMode="auto">
            <a:xfrm>
              <a:off x="4365625" y="2630488"/>
              <a:ext cx="7938" cy="4762"/>
            </a:xfrm>
            <a:custGeom>
              <a:avLst/>
              <a:gdLst>
                <a:gd name="T0" fmla="*/ 11 w 23"/>
                <a:gd name="T1" fmla="*/ 12 h 13"/>
                <a:gd name="T2" fmla="*/ 11 w 23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3">
                  <a:moveTo>
                    <a:pt x="11" y="12"/>
                  </a:moveTo>
                  <a:cubicBezTo>
                    <a:pt x="22" y="12"/>
                    <a:pt x="0" y="0"/>
                    <a:pt x="11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2" name="Freeform 1423"/>
            <p:cNvSpPr>
              <a:spLocks noChangeArrowheads="1"/>
            </p:cNvSpPr>
            <p:nvPr/>
          </p:nvSpPr>
          <p:spPr bwMode="auto">
            <a:xfrm>
              <a:off x="4359275" y="2665413"/>
              <a:ext cx="3175" cy="9525"/>
            </a:xfrm>
            <a:custGeom>
              <a:avLst/>
              <a:gdLst>
                <a:gd name="T0" fmla="*/ 2 w 9"/>
                <a:gd name="T1" fmla="*/ 14 h 27"/>
                <a:gd name="T2" fmla="*/ 2 w 9"/>
                <a:gd name="T3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7">
                  <a:moveTo>
                    <a:pt x="2" y="14"/>
                  </a:moveTo>
                  <a:cubicBezTo>
                    <a:pt x="8" y="26"/>
                    <a:pt x="0" y="0"/>
                    <a:pt x="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3" name="Freeform 1424"/>
            <p:cNvSpPr>
              <a:spLocks noChangeArrowheads="1"/>
            </p:cNvSpPr>
            <p:nvPr/>
          </p:nvSpPr>
          <p:spPr bwMode="auto">
            <a:xfrm>
              <a:off x="4359275" y="2670175"/>
              <a:ext cx="7938" cy="4763"/>
            </a:xfrm>
            <a:custGeom>
              <a:avLst/>
              <a:gdLst>
                <a:gd name="T0" fmla="*/ 17 w 23"/>
                <a:gd name="T1" fmla="*/ 0 h 13"/>
                <a:gd name="T2" fmla="*/ 17 w 23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3">
                  <a:moveTo>
                    <a:pt x="17" y="0"/>
                  </a:moveTo>
                  <a:cubicBezTo>
                    <a:pt x="0" y="9"/>
                    <a:pt x="22" y="12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4" name="Freeform 1425"/>
            <p:cNvSpPr>
              <a:spLocks noChangeArrowheads="1"/>
            </p:cNvSpPr>
            <p:nvPr/>
          </p:nvSpPr>
          <p:spPr bwMode="auto">
            <a:xfrm>
              <a:off x="4373563" y="2667000"/>
              <a:ext cx="7937" cy="4763"/>
            </a:xfrm>
            <a:custGeom>
              <a:avLst/>
              <a:gdLst>
                <a:gd name="T0" fmla="*/ 11 w 21"/>
                <a:gd name="T1" fmla="*/ 11 h 12"/>
                <a:gd name="T2" fmla="*/ 11 w 21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2">
                  <a:moveTo>
                    <a:pt x="11" y="11"/>
                  </a:moveTo>
                  <a:cubicBezTo>
                    <a:pt x="20" y="0"/>
                    <a:pt x="0" y="6"/>
                    <a:pt x="1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5" name="Freeform 1426"/>
            <p:cNvSpPr>
              <a:spLocks noChangeArrowheads="1"/>
            </p:cNvSpPr>
            <p:nvPr/>
          </p:nvSpPr>
          <p:spPr bwMode="auto">
            <a:xfrm>
              <a:off x="4192588" y="2662238"/>
              <a:ext cx="6350" cy="7937"/>
            </a:xfrm>
            <a:custGeom>
              <a:avLst/>
              <a:gdLst>
                <a:gd name="T0" fmla="*/ 8 w 18"/>
                <a:gd name="T1" fmla="*/ 8 h 21"/>
                <a:gd name="T2" fmla="*/ 8 w 18"/>
                <a:gd name="T3" fmla="*/ 17 h 21"/>
                <a:gd name="T4" fmla="*/ 8 w 18"/>
                <a:gd name="T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8" y="8"/>
                  </a:moveTo>
                  <a:cubicBezTo>
                    <a:pt x="5" y="14"/>
                    <a:pt x="3" y="20"/>
                    <a:pt x="8" y="17"/>
                  </a:cubicBezTo>
                  <a:cubicBezTo>
                    <a:pt x="17" y="8"/>
                    <a:pt x="0" y="0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6" name="Freeform 1427"/>
            <p:cNvSpPr>
              <a:spLocks noChangeArrowheads="1"/>
            </p:cNvSpPr>
            <p:nvPr/>
          </p:nvSpPr>
          <p:spPr bwMode="auto">
            <a:xfrm>
              <a:off x="4284663" y="2682875"/>
              <a:ext cx="6350" cy="4763"/>
            </a:xfrm>
            <a:custGeom>
              <a:avLst/>
              <a:gdLst>
                <a:gd name="T0" fmla="*/ 0 w 18"/>
                <a:gd name="T1" fmla="*/ 6 h 13"/>
                <a:gd name="T2" fmla="*/ 12 w 18"/>
                <a:gd name="T3" fmla="*/ 0 h 13"/>
                <a:gd name="T4" fmla="*/ 0 w 18"/>
                <a:gd name="T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0" y="6"/>
                  </a:moveTo>
                  <a:cubicBezTo>
                    <a:pt x="6" y="12"/>
                    <a:pt x="17" y="3"/>
                    <a:pt x="12" y="0"/>
                  </a:cubicBezTo>
                  <a:cubicBezTo>
                    <a:pt x="9" y="6"/>
                    <a:pt x="3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7" name="Freeform 1428"/>
            <p:cNvSpPr>
              <a:spLocks noChangeArrowheads="1"/>
            </p:cNvSpPr>
            <p:nvPr/>
          </p:nvSpPr>
          <p:spPr bwMode="auto">
            <a:xfrm>
              <a:off x="4297363" y="2655888"/>
              <a:ext cx="3175" cy="9525"/>
            </a:xfrm>
            <a:custGeom>
              <a:avLst/>
              <a:gdLst>
                <a:gd name="T0" fmla="*/ 3 w 10"/>
                <a:gd name="T1" fmla="*/ 14 h 26"/>
                <a:gd name="T2" fmla="*/ 3 w 10"/>
                <a:gd name="T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6">
                  <a:moveTo>
                    <a:pt x="3" y="14"/>
                  </a:moveTo>
                  <a:cubicBezTo>
                    <a:pt x="9" y="25"/>
                    <a:pt x="0" y="0"/>
                    <a:pt x="3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8" name="Freeform 1429"/>
            <p:cNvSpPr>
              <a:spLocks noChangeArrowheads="1"/>
            </p:cNvSpPr>
            <p:nvPr/>
          </p:nvSpPr>
          <p:spPr bwMode="auto">
            <a:xfrm>
              <a:off x="4297363" y="2670175"/>
              <a:ext cx="6350" cy="4763"/>
            </a:xfrm>
            <a:custGeom>
              <a:avLst/>
              <a:gdLst>
                <a:gd name="T0" fmla="*/ 0 w 18"/>
                <a:gd name="T1" fmla="*/ 6 h 13"/>
                <a:gd name="T2" fmla="*/ 12 w 18"/>
                <a:gd name="T3" fmla="*/ 0 h 13"/>
                <a:gd name="T4" fmla="*/ 0 w 18"/>
                <a:gd name="T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0" y="6"/>
                  </a:moveTo>
                  <a:cubicBezTo>
                    <a:pt x="6" y="12"/>
                    <a:pt x="17" y="3"/>
                    <a:pt x="12" y="0"/>
                  </a:cubicBezTo>
                  <a:cubicBezTo>
                    <a:pt x="9" y="6"/>
                    <a:pt x="3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9" name="Freeform 1430"/>
            <p:cNvSpPr>
              <a:spLocks noChangeArrowheads="1"/>
            </p:cNvSpPr>
            <p:nvPr/>
          </p:nvSpPr>
          <p:spPr bwMode="auto">
            <a:xfrm>
              <a:off x="4302125" y="2681288"/>
              <a:ext cx="7938" cy="9525"/>
            </a:xfrm>
            <a:custGeom>
              <a:avLst/>
              <a:gdLst>
                <a:gd name="T0" fmla="*/ 20 w 21"/>
                <a:gd name="T1" fmla="*/ 8 h 26"/>
                <a:gd name="T2" fmla="*/ 9 w 21"/>
                <a:gd name="T3" fmla="*/ 19 h 26"/>
                <a:gd name="T4" fmla="*/ 17 w 21"/>
                <a:gd name="T5" fmla="*/ 19 h 26"/>
                <a:gd name="T6" fmla="*/ 20 w 21"/>
                <a:gd name="T7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6">
                  <a:moveTo>
                    <a:pt x="20" y="8"/>
                  </a:moveTo>
                  <a:cubicBezTo>
                    <a:pt x="12" y="0"/>
                    <a:pt x="0" y="25"/>
                    <a:pt x="9" y="19"/>
                  </a:cubicBezTo>
                  <a:cubicBezTo>
                    <a:pt x="12" y="16"/>
                    <a:pt x="12" y="16"/>
                    <a:pt x="17" y="19"/>
                  </a:cubicBezTo>
                  <a:lnTo>
                    <a:pt x="20" y="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0" name="Freeform 1431"/>
            <p:cNvSpPr>
              <a:spLocks noChangeArrowheads="1"/>
            </p:cNvSpPr>
            <p:nvPr/>
          </p:nvSpPr>
          <p:spPr bwMode="auto">
            <a:xfrm>
              <a:off x="4356100" y="2684463"/>
              <a:ext cx="7938" cy="6350"/>
            </a:xfrm>
            <a:custGeom>
              <a:avLst/>
              <a:gdLst>
                <a:gd name="T0" fmla="*/ 20 w 21"/>
                <a:gd name="T1" fmla="*/ 6 h 18"/>
                <a:gd name="T2" fmla="*/ 6 w 21"/>
                <a:gd name="T3" fmla="*/ 14 h 18"/>
                <a:gd name="T4" fmla="*/ 20 w 21"/>
                <a:gd name="T5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20" y="6"/>
                  </a:moveTo>
                  <a:cubicBezTo>
                    <a:pt x="14" y="0"/>
                    <a:pt x="0" y="11"/>
                    <a:pt x="6" y="14"/>
                  </a:cubicBezTo>
                  <a:cubicBezTo>
                    <a:pt x="9" y="9"/>
                    <a:pt x="17" y="17"/>
                    <a:pt x="2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1" name="Freeform 1432"/>
            <p:cNvSpPr>
              <a:spLocks noChangeArrowheads="1"/>
            </p:cNvSpPr>
            <p:nvPr/>
          </p:nvSpPr>
          <p:spPr bwMode="auto">
            <a:xfrm>
              <a:off x="4433888" y="2622550"/>
              <a:ext cx="3175" cy="4763"/>
            </a:xfrm>
            <a:custGeom>
              <a:avLst/>
              <a:gdLst>
                <a:gd name="T0" fmla="*/ 0 w 10"/>
                <a:gd name="T1" fmla="*/ 0 h 15"/>
                <a:gd name="T2" fmla="*/ 0 w 10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0" y="0"/>
                  </a:moveTo>
                  <a:cubicBezTo>
                    <a:pt x="3" y="14"/>
                    <a:pt x="9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2" name="Freeform 1433"/>
            <p:cNvSpPr>
              <a:spLocks noChangeArrowheads="1"/>
            </p:cNvSpPr>
            <p:nvPr/>
          </p:nvSpPr>
          <p:spPr bwMode="auto">
            <a:xfrm>
              <a:off x="4419600" y="2606675"/>
              <a:ext cx="3175" cy="4763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3" y="11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3" name="Freeform 1434"/>
            <p:cNvSpPr>
              <a:spLocks noChangeArrowheads="1"/>
            </p:cNvSpPr>
            <p:nvPr/>
          </p:nvSpPr>
          <p:spPr bwMode="auto">
            <a:xfrm>
              <a:off x="4416425" y="2611438"/>
              <a:ext cx="6350" cy="3175"/>
            </a:xfrm>
            <a:custGeom>
              <a:avLst/>
              <a:gdLst>
                <a:gd name="T0" fmla="*/ 5 w 18"/>
                <a:gd name="T1" fmla="*/ 0 h 9"/>
                <a:gd name="T2" fmla="*/ 5 w 18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5" y="0"/>
                  </a:moveTo>
                  <a:cubicBezTo>
                    <a:pt x="0" y="8"/>
                    <a:pt x="17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4" name="Freeform 1435"/>
            <p:cNvSpPr>
              <a:spLocks noChangeArrowheads="1"/>
            </p:cNvSpPr>
            <p:nvPr/>
          </p:nvSpPr>
          <p:spPr bwMode="auto">
            <a:xfrm>
              <a:off x="4416425" y="2628900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2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5" name="Freeform 1436"/>
            <p:cNvSpPr>
              <a:spLocks noChangeArrowheads="1"/>
            </p:cNvSpPr>
            <p:nvPr/>
          </p:nvSpPr>
          <p:spPr bwMode="auto">
            <a:xfrm>
              <a:off x="4406900" y="2628900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3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6" name="Freeform 1437"/>
            <p:cNvSpPr>
              <a:spLocks noChangeArrowheads="1"/>
            </p:cNvSpPr>
            <p:nvPr/>
          </p:nvSpPr>
          <p:spPr bwMode="auto">
            <a:xfrm>
              <a:off x="4410075" y="2640013"/>
              <a:ext cx="3175" cy="6350"/>
            </a:xfrm>
            <a:custGeom>
              <a:avLst/>
              <a:gdLst>
                <a:gd name="T0" fmla="*/ 0 w 10"/>
                <a:gd name="T1" fmla="*/ 3 h 18"/>
                <a:gd name="T2" fmla="*/ 0 w 10"/>
                <a:gd name="T3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0" y="3"/>
                  </a:moveTo>
                  <a:cubicBezTo>
                    <a:pt x="6" y="17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7" name="Freeform 1438"/>
            <p:cNvSpPr>
              <a:spLocks noChangeArrowheads="1"/>
            </p:cNvSpPr>
            <p:nvPr/>
          </p:nvSpPr>
          <p:spPr bwMode="auto">
            <a:xfrm>
              <a:off x="4398963" y="2630488"/>
              <a:ext cx="7937" cy="6350"/>
            </a:xfrm>
            <a:custGeom>
              <a:avLst/>
              <a:gdLst>
                <a:gd name="T0" fmla="*/ 17 w 20"/>
                <a:gd name="T1" fmla="*/ 17 h 18"/>
                <a:gd name="T2" fmla="*/ 2 w 20"/>
                <a:gd name="T3" fmla="*/ 0 h 18"/>
                <a:gd name="T4" fmla="*/ 17 w 20"/>
                <a:gd name="T5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8">
                  <a:moveTo>
                    <a:pt x="17" y="17"/>
                  </a:moveTo>
                  <a:cubicBezTo>
                    <a:pt x="19" y="8"/>
                    <a:pt x="8" y="0"/>
                    <a:pt x="2" y="0"/>
                  </a:cubicBezTo>
                  <a:cubicBezTo>
                    <a:pt x="14" y="5"/>
                    <a:pt x="0" y="17"/>
                    <a:pt x="17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8" name="Freeform 1439"/>
            <p:cNvSpPr>
              <a:spLocks noChangeArrowheads="1"/>
            </p:cNvSpPr>
            <p:nvPr/>
          </p:nvSpPr>
          <p:spPr bwMode="auto">
            <a:xfrm>
              <a:off x="4402138" y="2638425"/>
              <a:ext cx="3175" cy="3175"/>
            </a:xfrm>
            <a:custGeom>
              <a:avLst/>
              <a:gdLst>
                <a:gd name="T0" fmla="*/ 6 w 10"/>
                <a:gd name="T1" fmla="*/ 0 h 10"/>
                <a:gd name="T2" fmla="*/ 0 w 10"/>
                <a:gd name="T3" fmla="*/ 3 h 10"/>
                <a:gd name="T4" fmla="*/ 3 w 10"/>
                <a:gd name="T5" fmla="*/ 9 h 10"/>
                <a:gd name="T6" fmla="*/ 9 w 10"/>
                <a:gd name="T7" fmla="*/ 6 h 10"/>
                <a:gd name="T8" fmla="*/ 6 w 1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6" y="0"/>
                  </a:moveTo>
                  <a:lnTo>
                    <a:pt x="0" y="3"/>
                  </a:lnTo>
                  <a:lnTo>
                    <a:pt x="3" y="9"/>
                  </a:lnTo>
                  <a:lnTo>
                    <a:pt x="9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9" name="Freeform 1440"/>
            <p:cNvSpPr>
              <a:spLocks noChangeArrowheads="1"/>
            </p:cNvSpPr>
            <p:nvPr/>
          </p:nvSpPr>
          <p:spPr bwMode="auto">
            <a:xfrm>
              <a:off x="4406900" y="2644775"/>
              <a:ext cx="3175" cy="4763"/>
            </a:xfrm>
            <a:custGeom>
              <a:avLst/>
              <a:gdLst>
                <a:gd name="T0" fmla="*/ 0 w 7"/>
                <a:gd name="T1" fmla="*/ 3 h 15"/>
                <a:gd name="T2" fmla="*/ 0 w 7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cubicBezTo>
                    <a:pt x="3" y="14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0" name="Freeform 1441"/>
            <p:cNvSpPr>
              <a:spLocks noChangeArrowheads="1"/>
            </p:cNvSpPr>
            <p:nvPr/>
          </p:nvSpPr>
          <p:spPr bwMode="auto">
            <a:xfrm>
              <a:off x="4389438" y="2616200"/>
              <a:ext cx="3175" cy="4763"/>
            </a:xfrm>
            <a:custGeom>
              <a:avLst/>
              <a:gdLst>
                <a:gd name="T0" fmla="*/ 6 w 10"/>
                <a:gd name="T1" fmla="*/ 0 h 12"/>
                <a:gd name="T2" fmla="*/ 3 w 10"/>
                <a:gd name="T3" fmla="*/ 11 h 12"/>
                <a:gd name="T4" fmla="*/ 9 w 10"/>
                <a:gd name="T5" fmla="*/ 3 h 12"/>
                <a:gd name="T6" fmla="*/ 6 w 10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cubicBezTo>
                    <a:pt x="0" y="3"/>
                    <a:pt x="3" y="6"/>
                    <a:pt x="3" y="11"/>
                  </a:cubicBezTo>
                  <a:cubicBezTo>
                    <a:pt x="6" y="11"/>
                    <a:pt x="9" y="9"/>
                    <a:pt x="9" y="3"/>
                  </a:cubicBezTo>
                  <a:cubicBezTo>
                    <a:pt x="6" y="3"/>
                    <a:pt x="6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1" name="Freeform 1442"/>
            <p:cNvSpPr>
              <a:spLocks noChangeArrowheads="1"/>
            </p:cNvSpPr>
            <p:nvPr/>
          </p:nvSpPr>
          <p:spPr bwMode="auto">
            <a:xfrm>
              <a:off x="4392613" y="2630488"/>
              <a:ext cx="3175" cy="4762"/>
            </a:xfrm>
            <a:custGeom>
              <a:avLst/>
              <a:gdLst>
                <a:gd name="T0" fmla="*/ 0 w 9"/>
                <a:gd name="T1" fmla="*/ 5 h 15"/>
                <a:gd name="T2" fmla="*/ 0 w 9"/>
                <a:gd name="T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5"/>
                  </a:moveTo>
                  <a:cubicBezTo>
                    <a:pt x="3" y="14"/>
                    <a:pt x="8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2" name="Freeform 1443"/>
            <p:cNvSpPr>
              <a:spLocks noChangeArrowheads="1"/>
            </p:cNvSpPr>
            <p:nvPr/>
          </p:nvSpPr>
          <p:spPr bwMode="auto">
            <a:xfrm>
              <a:off x="4389438" y="2630488"/>
              <a:ext cx="3175" cy="3175"/>
            </a:xfrm>
            <a:custGeom>
              <a:avLst/>
              <a:gdLst>
                <a:gd name="T0" fmla="*/ 6 w 10"/>
                <a:gd name="T1" fmla="*/ 0 h 10"/>
                <a:gd name="T2" fmla="*/ 0 w 10"/>
                <a:gd name="T3" fmla="*/ 3 h 10"/>
                <a:gd name="T4" fmla="*/ 3 w 10"/>
                <a:gd name="T5" fmla="*/ 9 h 10"/>
                <a:gd name="T6" fmla="*/ 9 w 10"/>
                <a:gd name="T7" fmla="*/ 6 h 10"/>
                <a:gd name="T8" fmla="*/ 6 w 1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6" y="0"/>
                  </a:moveTo>
                  <a:lnTo>
                    <a:pt x="0" y="3"/>
                  </a:lnTo>
                  <a:lnTo>
                    <a:pt x="3" y="9"/>
                  </a:lnTo>
                  <a:lnTo>
                    <a:pt x="9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3" name="Freeform 1444"/>
            <p:cNvSpPr>
              <a:spLocks noChangeArrowheads="1"/>
            </p:cNvSpPr>
            <p:nvPr/>
          </p:nvSpPr>
          <p:spPr bwMode="auto">
            <a:xfrm>
              <a:off x="4376738" y="2622550"/>
              <a:ext cx="3175" cy="3175"/>
            </a:xfrm>
            <a:custGeom>
              <a:avLst/>
              <a:gdLst>
                <a:gd name="T0" fmla="*/ 8 w 9"/>
                <a:gd name="T1" fmla="*/ 6 h 9"/>
                <a:gd name="T2" fmla="*/ 0 w 9"/>
                <a:gd name="T3" fmla="*/ 0 h 9"/>
                <a:gd name="T4" fmla="*/ 8 w 9"/>
                <a:gd name="T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6"/>
                  </a:moveTo>
                  <a:cubicBezTo>
                    <a:pt x="8" y="3"/>
                    <a:pt x="2" y="0"/>
                    <a:pt x="0" y="0"/>
                  </a:cubicBezTo>
                  <a:cubicBezTo>
                    <a:pt x="2" y="6"/>
                    <a:pt x="2" y="8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4" name="Freeform 1445"/>
            <p:cNvSpPr>
              <a:spLocks noChangeArrowheads="1"/>
            </p:cNvSpPr>
            <p:nvPr/>
          </p:nvSpPr>
          <p:spPr bwMode="auto">
            <a:xfrm>
              <a:off x="4375150" y="2644775"/>
              <a:ext cx="6350" cy="4763"/>
            </a:xfrm>
            <a:custGeom>
              <a:avLst/>
              <a:gdLst>
                <a:gd name="T0" fmla="*/ 14 w 18"/>
                <a:gd name="T1" fmla="*/ 11 h 12"/>
                <a:gd name="T2" fmla="*/ 11 w 18"/>
                <a:gd name="T3" fmla="*/ 6 h 12"/>
                <a:gd name="T4" fmla="*/ 17 w 18"/>
                <a:gd name="T5" fmla="*/ 0 h 12"/>
                <a:gd name="T6" fmla="*/ 0 w 18"/>
                <a:gd name="T7" fmla="*/ 9 h 12"/>
                <a:gd name="T8" fmla="*/ 14 w 18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14" y="11"/>
                  </a:moveTo>
                  <a:cubicBezTo>
                    <a:pt x="14" y="9"/>
                    <a:pt x="14" y="6"/>
                    <a:pt x="11" y="6"/>
                  </a:cubicBezTo>
                  <a:cubicBezTo>
                    <a:pt x="14" y="3"/>
                    <a:pt x="17" y="3"/>
                    <a:pt x="17" y="0"/>
                  </a:cubicBezTo>
                  <a:cubicBezTo>
                    <a:pt x="11" y="0"/>
                    <a:pt x="5" y="3"/>
                    <a:pt x="0" y="9"/>
                  </a:cubicBezTo>
                  <a:lnTo>
                    <a:pt x="14" y="11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5" name="Freeform 1446"/>
            <p:cNvSpPr>
              <a:spLocks noChangeArrowheads="1"/>
            </p:cNvSpPr>
            <p:nvPr/>
          </p:nvSpPr>
          <p:spPr bwMode="auto">
            <a:xfrm>
              <a:off x="4368800" y="2632075"/>
              <a:ext cx="6350" cy="4763"/>
            </a:xfrm>
            <a:custGeom>
              <a:avLst/>
              <a:gdLst>
                <a:gd name="T0" fmla="*/ 5 w 18"/>
                <a:gd name="T1" fmla="*/ 0 h 13"/>
                <a:gd name="T2" fmla="*/ 5 w 18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5" y="0"/>
                  </a:moveTo>
                  <a:cubicBezTo>
                    <a:pt x="0" y="12"/>
                    <a:pt x="17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6" name="Freeform 1447"/>
            <p:cNvSpPr>
              <a:spLocks noChangeArrowheads="1"/>
            </p:cNvSpPr>
            <p:nvPr/>
          </p:nvSpPr>
          <p:spPr bwMode="auto">
            <a:xfrm>
              <a:off x="4370388" y="2641600"/>
              <a:ext cx="3175" cy="3175"/>
            </a:xfrm>
            <a:custGeom>
              <a:avLst/>
              <a:gdLst>
                <a:gd name="T0" fmla="*/ 0 w 10"/>
                <a:gd name="T1" fmla="*/ 2 h 9"/>
                <a:gd name="T2" fmla="*/ 3 w 10"/>
                <a:gd name="T3" fmla="*/ 8 h 9"/>
                <a:gd name="T4" fmla="*/ 9 w 10"/>
                <a:gd name="T5" fmla="*/ 5 h 9"/>
                <a:gd name="T6" fmla="*/ 0 w 10"/>
                <a:gd name="T7" fmla="*/ 0 h 9"/>
                <a:gd name="T8" fmla="*/ 0 w 10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0" y="2"/>
                  </a:moveTo>
                  <a:lnTo>
                    <a:pt x="3" y="8"/>
                  </a:lnTo>
                  <a:lnTo>
                    <a:pt x="9" y="5"/>
                  </a:lnTo>
                  <a:cubicBezTo>
                    <a:pt x="9" y="2"/>
                    <a:pt x="6" y="0"/>
                    <a:pt x="0" y="0"/>
                  </a:cubicBezTo>
                  <a:cubicBezTo>
                    <a:pt x="3" y="2"/>
                    <a:pt x="3" y="2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7" name="Freeform 1448"/>
            <p:cNvSpPr>
              <a:spLocks noChangeArrowheads="1"/>
            </p:cNvSpPr>
            <p:nvPr/>
          </p:nvSpPr>
          <p:spPr bwMode="auto">
            <a:xfrm>
              <a:off x="4352925" y="2635250"/>
              <a:ext cx="6350" cy="1588"/>
            </a:xfrm>
            <a:custGeom>
              <a:avLst/>
              <a:gdLst>
                <a:gd name="T0" fmla="*/ 6 w 18"/>
                <a:gd name="T1" fmla="*/ 0 h 6"/>
                <a:gd name="T2" fmla="*/ 6 w 18"/>
                <a:gd name="T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6">
                  <a:moveTo>
                    <a:pt x="6" y="0"/>
                  </a:moveTo>
                  <a:cubicBezTo>
                    <a:pt x="0" y="5"/>
                    <a:pt x="17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8" name="Freeform 1449"/>
            <p:cNvSpPr>
              <a:spLocks noChangeArrowheads="1"/>
            </p:cNvSpPr>
            <p:nvPr/>
          </p:nvSpPr>
          <p:spPr bwMode="auto">
            <a:xfrm>
              <a:off x="4435475" y="2609850"/>
              <a:ext cx="3175" cy="7938"/>
            </a:xfrm>
            <a:custGeom>
              <a:avLst/>
              <a:gdLst>
                <a:gd name="T0" fmla="*/ 3 w 9"/>
                <a:gd name="T1" fmla="*/ 9 h 21"/>
                <a:gd name="T2" fmla="*/ 3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3" y="9"/>
                  </a:moveTo>
                  <a:cubicBezTo>
                    <a:pt x="0" y="20"/>
                    <a:pt x="8" y="0"/>
                    <a:pt x="3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9" name="Freeform 1450"/>
            <p:cNvSpPr>
              <a:spLocks noChangeArrowheads="1"/>
            </p:cNvSpPr>
            <p:nvPr/>
          </p:nvSpPr>
          <p:spPr bwMode="auto">
            <a:xfrm>
              <a:off x="4400550" y="2616200"/>
              <a:ext cx="4763" cy="7938"/>
            </a:xfrm>
            <a:custGeom>
              <a:avLst/>
              <a:gdLst>
                <a:gd name="T0" fmla="*/ 6 w 13"/>
                <a:gd name="T1" fmla="*/ 0 h 21"/>
                <a:gd name="T2" fmla="*/ 6 w 13"/>
                <a:gd name="T3" fmla="*/ 20 h 21"/>
                <a:gd name="T4" fmla="*/ 6 w 13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1">
                  <a:moveTo>
                    <a:pt x="6" y="0"/>
                  </a:moveTo>
                  <a:cubicBezTo>
                    <a:pt x="0" y="3"/>
                    <a:pt x="3" y="20"/>
                    <a:pt x="6" y="20"/>
                  </a:cubicBezTo>
                  <a:cubicBezTo>
                    <a:pt x="3" y="14"/>
                    <a:pt x="12" y="9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0" name="Freeform 1451"/>
            <p:cNvSpPr>
              <a:spLocks noChangeArrowheads="1"/>
            </p:cNvSpPr>
            <p:nvPr/>
          </p:nvSpPr>
          <p:spPr bwMode="auto">
            <a:xfrm>
              <a:off x="4391025" y="2636838"/>
              <a:ext cx="3175" cy="7937"/>
            </a:xfrm>
            <a:custGeom>
              <a:avLst/>
              <a:gdLst>
                <a:gd name="T0" fmla="*/ 3 w 7"/>
                <a:gd name="T1" fmla="*/ 12 h 21"/>
                <a:gd name="T2" fmla="*/ 3 w 7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1">
                  <a:moveTo>
                    <a:pt x="3" y="12"/>
                  </a:moveTo>
                  <a:cubicBezTo>
                    <a:pt x="0" y="20"/>
                    <a:pt x="6" y="0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1" name="Freeform 1452"/>
            <p:cNvSpPr>
              <a:spLocks noChangeArrowheads="1"/>
            </p:cNvSpPr>
            <p:nvPr/>
          </p:nvSpPr>
          <p:spPr bwMode="auto">
            <a:xfrm>
              <a:off x="4389438" y="2647950"/>
              <a:ext cx="11112" cy="4763"/>
            </a:xfrm>
            <a:custGeom>
              <a:avLst/>
              <a:gdLst>
                <a:gd name="T0" fmla="*/ 14 w 32"/>
                <a:gd name="T1" fmla="*/ 0 h 15"/>
                <a:gd name="T2" fmla="*/ 17 w 32"/>
                <a:gd name="T3" fmla="*/ 5 h 15"/>
                <a:gd name="T4" fmla="*/ 14 w 3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" h="15">
                  <a:moveTo>
                    <a:pt x="14" y="0"/>
                  </a:moveTo>
                  <a:cubicBezTo>
                    <a:pt x="0" y="11"/>
                    <a:pt x="31" y="14"/>
                    <a:pt x="17" y="5"/>
                  </a:cubicBezTo>
                  <a:cubicBezTo>
                    <a:pt x="17" y="14"/>
                    <a:pt x="11" y="2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2" name="Freeform 1453"/>
            <p:cNvSpPr>
              <a:spLocks noChangeArrowheads="1"/>
            </p:cNvSpPr>
            <p:nvPr/>
          </p:nvSpPr>
          <p:spPr bwMode="auto">
            <a:xfrm>
              <a:off x="4381500" y="2622550"/>
              <a:ext cx="4763" cy="6350"/>
            </a:xfrm>
            <a:custGeom>
              <a:avLst/>
              <a:gdLst>
                <a:gd name="T0" fmla="*/ 11 w 15"/>
                <a:gd name="T1" fmla="*/ 17 h 18"/>
                <a:gd name="T2" fmla="*/ 0 w 15"/>
                <a:gd name="T3" fmla="*/ 6 h 18"/>
                <a:gd name="T4" fmla="*/ 11 w 15"/>
                <a:gd name="T5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8">
                  <a:moveTo>
                    <a:pt x="11" y="17"/>
                  </a:moveTo>
                  <a:cubicBezTo>
                    <a:pt x="14" y="14"/>
                    <a:pt x="8" y="0"/>
                    <a:pt x="0" y="6"/>
                  </a:cubicBezTo>
                  <a:cubicBezTo>
                    <a:pt x="2" y="17"/>
                    <a:pt x="8" y="8"/>
                    <a:pt x="11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3" name="Freeform 1454"/>
            <p:cNvSpPr>
              <a:spLocks noChangeArrowheads="1"/>
            </p:cNvSpPr>
            <p:nvPr/>
          </p:nvSpPr>
          <p:spPr bwMode="auto">
            <a:xfrm>
              <a:off x="3824288" y="2508250"/>
              <a:ext cx="69850" cy="171450"/>
            </a:xfrm>
            <a:custGeom>
              <a:avLst/>
              <a:gdLst>
                <a:gd name="T0" fmla="*/ 186 w 192"/>
                <a:gd name="T1" fmla="*/ 436 h 477"/>
                <a:gd name="T2" fmla="*/ 127 w 192"/>
                <a:gd name="T3" fmla="*/ 473 h 477"/>
                <a:gd name="T4" fmla="*/ 48 w 192"/>
                <a:gd name="T5" fmla="*/ 371 h 477"/>
                <a:gd name="T6" fmla="*/ 25 w 192"/>
                <a:gd name="T7" fmla="*/ 236 h 477"/>
                <a:gd name="T8" fmla="*/ 14 w 192"/>
                <a:gd name="T9" fmla="*/ 178 h 477"/>
                <a:gd name="T10" fmla="*/ 2 w 192"/>
                <a:gd name="T11" fmla="*/ 116 h 477"/>
                <a:gd name="T12" fmla="*/ 81 w 192"/>
                <a:gd name="T13" fmla="*/ 0 h 477"/>
                <a:gd name="T14" fmla="*/ 141 w 192"/>
                <a:gd name="T15" fmla="*/ 93 h 477"/>
                <a:gd name="T16" fmla="*/ 141 w 192"/>
                <a:gd name="T17" fmla="*/ 167 h 477"/>
                <a:gd name="T18" fmla="*/ 98 w 192"/>
                <a:gd name="T19" fmla="*/ 133 h 477"/>
                <a:gd name="T20" fmla="*/ 53 w 192"/>
                <a:gd name="T21" fmla="*/ 68 h 477"/>
                <a:gd name="T22" fmla="*/ 59 w 192"/>
                <a:gd name="T23" fmla="*/ 136 h 477"/>
                <a:gd name="T24" fmla="*/ 79 w 192"/>
                <a:gd name="T25" fmla="*/ 228 h 477"/>
                <a:gd name="T26" fmla="*/ 90 w 192"/>
                <a:gd name="T27" fmla="*/ 290 h 477"/>
                <a:gd name="T28" fmla="*/ 118 w 192"/>
                <a:gd name="T29" fmla="*/ 408 h 477"/>
                <a:gd name="T30" fmla="*/ 132 w 192"/>
                <a:gd name="T31" fmla="*/ 318 h 477"/>
                <a:gd name="T32" fmla="*/ 166 w 192"/>
                <a:gd name="T33" fmla="*/ 287 h 477"/>
                <a:gd name="T34" fmla="*/ 25 w 192"/>
                <a:gd name="T35" fmla="*/ 71 h 477"/>
                <a:gd name="T36" fmla="*/ 25 w 192"/>
                <a:gd name="T37" fmla="*/ 57 h 477"/>
                <a:gd name="T38" fmla="*/ 28 w 192"/>
                <a:gd name="T39" fmla="*/ 62 h 477"/>
                <a:gd name="T40" fmla="*/ 31 w 192"/>
                <a:gd name="T41" fmla="*/ 124 h 477"/>
                <a:gd name="T42" fmla="*/ 36 w 192"/>
                <a:gd name="T43" fmla="*/ 169 h 477"/>
                <a:gd name="T44" fmla="*/ 39 w 192"/>
                <a:gd name="T45" fmla="*/ 161 h 477"/>
                <a:gd name="T46" fmla="*/ 31 w 192"/>
                <a:gd name="T47" fmla="*/ 144 h 477"/>
                <a:gd name="T48" fmla="*/ 42 w 192"/>
                <a:gd name="T49" fmla="*/ 34 h 477"/>
                <a:gd name="T50" fmla="*/ 67 w 192"/>
                <a:gd name="T51" fmla="*/ 28 h 477"/>
                <a:gd name="T52" fmla="*/ 56 w 192"/>
                <a:gd name="T53" fmla="*/ 23 h 477"/>
                <a:gd name="T54" fmla="*/ 39 w 192"/>
                <a:gd name="T55" fmla="*/ 28 h 477"/>
                <a:gd name="T56" fmla="*/ 36 w 192"/>
                <a:gd name="T57" fmla="*/ 197 h 477"/>
                <a:gd name="T58" fmla="*/ 50 w 192"/>
                <a:gd name="T59" fmla="*/ 197 h 477"/>
                <a:gd name="T60" fmla="*/ 48 w 192"/>
                <a:gd name="T61" fmla="*/ 194 h 477"/>
                <a:gd name="T62" fmla="*/ 42 w 192"/>
                <a:gd name="T63" fmla="*/ 239 h 477"/>
                <a:gd name="T64" fmla="*/ 53 w 192"/>
                <a:gd name="T65" fmla="*/ 301 h 477"/>
                <a:gd name="T66" fmla="*/ 53 w 192"/>
                <a:gd name="T67" fmla="*/ 281 h 477"/>
                <a:gd name="T68" fmla="*/ 56 w 192"/>
                <a:gd name="T69" fmla="*/ 290 h 477"/>
                <a:gd name="T70" fmla="*/ 56 w 192"/>
                <a:gd name="T71" fmla="*/ 312 h 477"/>
                <a:gd name="T72" fmla="*/ 64 w 192"/>
                <a:gd name="T73" fmla="*/ 273 h 477"/>
                <a:gd name="T74" fmla="*/ 64 w 192"/>
                <a:gd name="T75" fmla="*/ 326 h 477"/>
                <a:gd name="T76" fmla="*/ 67 w 192"/>
                <a:gd name="T77" fmla="*/ 357 h 477"/>
                <a:gd name="T78" fmla="*/ 73 w 192"/>
                <a:gd name="T79" fmla="*/ 338 h 477"/>
                <a:gd name="T80" fmla="*/ 70 w 192"/>
                <a:gd name="T81" fmla="*/ 307 h 477"/>
                <a:gd name="T82" fmla="*/ 76 w 192"/>
                <a:gd name="T83" fmla="*/ 388 h 477"/>
                <a:gd name="T84" fmla="*/ 81 w 192"/>
                <a:gd name="T85" fmla="*/ 383 h 477"/>
                <a:gd name="T86" fmla="*/ 87 w 192"/>
                <a:gd name="T87" fmla="*/ 400 h 477"/>
                <a:gd name="T88" fmla="*/ 87 w 192"/>
                <a:gd name="T89" fmla="*/ 439 h 477"/>
                <a:gd name="T90" fmla="*/ 90 w 192"/>
                <a:gd name="T91" fmla="*/ 40 h 477"/>
                <a:gd name="T92" fmla="*/ 104 w 192"/>
                <a:gd name="T93" fmla="*/ 434 h 477"/>
                <a:gd name="T94" fmla="*/ 101 w 192"/>
                <a:gd name="T95" fmla="*/ 445 h 477"/>
                <a:gd name="T96" fmla="*/ 107 w 192"/>
                <a:gd name="T97" fmla="*/ 51 h 477"/>
                <a:gd name="T98" fmla="*/ 107 w 192"/>
                <a:gd name="T99" fmla="*/ 450 h 477"/>
                <a:gd name="T100" fmla="*/ 115 w 192"/>
                <a:gd name="T101" fmla="*/ 439 h 477"/>
                <a:gd name="T102" fmla="*/ 115 w 192"/>
                <a:gd name="T103" fmla="*/ 450 h 477"/>
                <a:gd name="T104" fmla="*/ 132 w 192"/>
                <a:gd name="T105" fmla="*/ 450 h 477"/>
                <a:gd name="T106" fmla="*/ 149 w 192"/>
                <a:gd name="T107" fmla="*/ 428 h 477"/>
                <a:gd name="T108" fmla="*/ 155 w 192"/>
                <a:gd name="T109" fmla="*/ 355 h 477"/>
                <a:gd name="T110" fmla="*/ 160 w 192"/>
                <a:gd name="T111" fmla="*/ 391 h 477"/>
                <a:gd name="T112" fmla="*/ 160 w 192"/>
                <a:gd name="T113" fmla="*/ 434 h 477"/>
                <a:gd name="T114" fmla="*/ 158 w 192"/>
                <a:gd name="T115" fmla="*/ 366 h 477"/>
                <a:gd name="T116" fmla="*/ 172 w 192"/>
                <a:gd name="T117" fmla="*/ 411 h 477"/>
                <a:gd name="T118" fmla="*/ 163 w 192"/>
                <a:gd name="T119" fmla="*/ 394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2" h="477">
                  <a:moveTo>
                    <a:pt x="177" y="321"/>
                  </a:moveTo>
                  <a:cubicBezTo>
                    <a:pt x="180" y="321"/>
                    <a:pt x="180" y="324"/>
                    <a:pt x="180" y="326"/>
                  </a:cubicBezTo>
                  <a:cubicBezTo>
                    <a:pt x="177" y="329"/>
                    <a:pt x="177" y="332"/>
                    <a:pt x="180" y="338"/>
                  </a:cubicBezTo>
                  <a:cubicBezTo>
                    <a:pt x="180" y="340"/>
                    <a:pt x="183" y="343"/>
                    <a:pt x="183" y="349"/>
                  </a:cubicBezTo>
                  <a:cubicBezTo>
                    <a:pt x="183" y="355"/>
                    <a:pt x="183" y="357"/>
                    <a:pt x="186" y="363"/>
                  </a:cubicBezTo>
                  <a:lnTo>
                    <a:pt x="186" y="377"/>
                  </a:lnTo>
                  <a:cubicBezTo>
                    <a:pt x="186" y="383"/>
                    <a:pt x="186" y="386"/>
                    <a:pt x="189" y="391"/>
                  </a:cubicBezTo>
                  <a:cubicBezTo>
                    <a:pt x="191" y="400"/>
                    <a:pt x="191" y="411"/>
                    <a:pt x="191" y="422"/>
                  </a:cubicBezTo>
                  <a:cubicBezTo>
                    <a:pt x="191" y="428"/>
                    <a:pt x="189" y="434"/>
                    <a:pt x="186" y="436"/>
                  </a:cubicBezTo>
                  <a:cubicBezTo>
                    <a:pt x="186" y="439"/>
                    <a:pt x="183" y="439"/>
                    <a:pt x="183" y="442"/>
                  </a:cubicBezTo>
                  <a:cubicBezTo>
                    <a:pt x="183" y="445"/>
                    <a:pt x="180" y="448"/>
                    <a:pt x="180" y="448"/>
                  </a:cubicBezTo>
                  <a:cubicBezTo>
                    <a:pt x="177" y="453"/>
                    <a:pt x="174" y="456"/>
                    <a:pt x="169" y="462"/>
                  </a:cubicBezTo>
                  <a:cubicBezTo>
                    <a:pt x="163" y="465"/>
                    <a:pt x="160" y="467"/>
                    <a:pt x="155" y="473"/>
                  </a:cubicBezTo>
                  <a:lnTo>
                    <a:pt x="149" y="470"/>
                  </a:lnTo>
                  <a:cubicBezTo>
                    <a:pt x="146" y="470"/>
                    <a:pt x="146" y="473"/>
                    <a:pt x="143" y="473"/>
                  </a:cubicBezTo>
                  <a:lnTo>
                    <a:pt x="141" y="473"/>
                  </a:lnTo>
                  <a:lnTo>
                    <a:pt x="138" y="473"/>
                  </a:lnTo>
                  <a:cubicBezTo>
                    <a:pt x="135" y="476"/>
                    <a:pt x="129" y="476"/>
                    <a:pt x="127" y="473"/>
                  </a:cubicBezTo>
                  <a:lnTo>
                    <a:pt x="115" y="473"/>
                  </a:lnTo>
                  <a:cubicBezTo>
                    <a:pt x="107" y="473"/>
                    <a:pt x="98" y="473"/>
                    <a:pt x="90" y="470"/>
                  </a:cubicBezTo>
                  <a:cubicBezTo>
                    <a:pt x="81" y="467"/>
                    <a:pt x="76" y="462"/>
                    <a:pt x="70" y="456"/>
                  </a:cubicBezTo>
                  <a:cubicBezTo>
                    <a:pt x="62" y="448"/>
                    <a:pt x="56" y="436"/>
                    <a:pt x="56" y="422"/>
                  </a:cubicBezTo>
                  <a:cubicBezTo>
                    <a:pt x="56" y="417"/>
                    <a:pt x="56" y="411"/>
                    <a:pt x="53" y="405"/>
                  </a:cubicBezTo>
                  <a:cubicBezTo>
                    <a:pt x="50" y="403"/>
                    <a:pt x="50" y="400"/>
                    <a:pt x="50" y="397"/>
                  </a:cubicBezTo>
                  <a:cubicBezTo>
                    <a:pt x="50" y="394"/>
                    <a:pt x="48" y="391"/>
                    <a:pt x="48" y="388"/>
                  </a:cubicBezTo>
                  <a:lnTo>
                    <a:pt x="48" y="380"/>
                  </a:lnTo>
                  <a:lnTo>
                    <a:pt x="48" y="371"/>
                  </a:lnTo>
                  <a:lnTo>
                    <a:pt x="48" y="360"/>
                  </a:lnTo>
                  <a:cubicBezTo>
                    <a:pt x="45" y="355"/>
                    <a:pt x="42" y="349"/>
                    <a:pt x="42" y="343"/>
                  </a:cubicBezTo>
                  <a:cubicBezTo>
                    <a:pt x="42" y="338"/>
                    <a:pt x="42" y="332"/>
                    <a:pt x="39" y="326"/>
                  </a:cubicBezTo>
                  <a:cubicBezTo>
                    <a:pt x="39" y="324"/>
                    <a:pt x="42" y="318"/>
                    <a:pt x="39" y="315"/>
                  </a:cubicBezTo>
                  <a:cubicBezTo>
                    <a:pt x="36" y="307"/>
                    <a:pt x="33" y="298"/>
                    <a:pt x="31" y="287"/>
                  </a:cubicBezTo>
                  <a:cubicBezTo>
                    <a:pt x="28" y="281"/>
                    <a:pt x="28" y="276"/>
                    <a:pt x="31" y="270"/>
                  </a:cubicBezTo>
                  <a:cubicBezTo>
                    <a:pt x="31" y="264"/>
                    <a:pt x="31" y="259"/>
                    <a:pt x="28" y="253"/>
                  </a:cubicBezTo>
                  <a:lnTo>
                    <a:pt x="28" y="245"/>
                  </a:lnTo>
                  <a:cubicBezTo>
                    <a:pt x="28" y="242"/>
                    <a:pt x="25" y="239"/>
                    <a:pt x="25" y="236"/>
                  </a:cubicBezTo>
                  <a:cubicBezTo>
                    <a:pt x="25" y="236"/>
                    <a:pt x="22" y="233"/>
                    <a:pt x="25" y="233"/>
                  </a:cubicBezTo>
                  <a:lnTo>
                    <a:pt x="25" y="230"/>
                  </a:lnTo>
                  <a:cubicBezTo>
                    <a:pt x="25" y="228"/>
                    <a:pt x="22" y="222"/>
                    <a:pt x="22" y="219"/>
                  </a:cubicBezTo>
                  <a:cubicBezTo>
                    <a:pt x="22" y="216"/>
                    <a:pt x="22" y="211"/>
                    <a:pt x="19" y="208"/>
                  </a:cubicBezTo>
                  <a:lnTo>
                    <a:pt x="16" y="205"/>
                  </a:lnTo>
                  <a:lnTo>
                    <a:pt x="16" y="202"/>
                  </a:lnTo>
                  <a:cubicBezTo>
                    <a:pt x="19" y="199"/>
                    <a:pt x="19" y="197"/>
                    <a:pt x="16" y="191"/>
                  </a:cubicBezTo>
                  <a:lnTo>
                    <a:pt x="16" y="184"/>
                  </a:lnTo>
                  <a:cubicBezTo>
                    <a:pt x="16" y="181"/>
                    <a:pt x="16" y="181"/>
                    <a:pt x="14" y="178"/>
                  </a:cubicBezTo>
                  <a:cubicBezTo>
                    <a:pt x="11" y="174"/>
                    <a:pt x="8" y="169"/>
                    <a:pt x="11" y="164"/>
                  </a:cubicBezTo>
                  <a:lnTo>
                    <a:pt x="11" y="155"/>
                  </a:lnTo>
                  <a:lnTo>
                    <a:pt x="11" y="150"/>
                  </a:lnTo>
                  <a:cubicBezTo>
                    <a:pt x="11" y="147"/>
                    <a:pt x="11" y="147"/>
                    <a:pt x="8" y="144"/>
                  </a:cubicBezTo>
                  <a:cubicBezTo>
                    <a:pt x="8" y="141"/>
                    <a:pt x="5" y="138"/>
                    <a:pt x="5" y="136"/>
                  </a:cubicBezTo>
                  <a:lnTo>
                    <a:pt x="5" y="130"/>
                  </a:lnTo>
                  <a:lnTo>
                    <a:pt x="5" y="127"/>
                  </a:lnTo>
                  <a:lnTo>
                    <a:pt x="5" y="121"/>
                  </a:lnTo>
                  <a:cubicBezTo>
                    <a:pt x="5" y="119"/>
                    <a:pt x="5" y="119"/>
                    <a:pt x="2" y="116"/>
                  </a:cubicBezTo>
                  <a:cubicBezTo>
                    <a:pt x="2" y="116"/>
                    <a:pt x="0" y="113"/>
                    <a:pt x="2" y="113"/>
                  </a:cubicBezTo>
                  <a:lnTo>
                    <a:pt x="2" y="99"/>
                  </a:lnTo>
                  <a:cubicBezTo>
                    <a:pt x="0" y="88"/>
                    <a:pt x="0" y="76"/>
                    <a:pt x="0" y="65"/>
                  </a:cubicBezTo>
                  <a:cubicBezTo>
                    <a:pt x="0" y="59"/>
                    <a:pt x="0" y="54"/>
                    <a:pt x="2" y="48"/>
                  </a:cubicBezTo>
                  <a:cubicBezTo>
                    <a:pt x="5" y="31"/>
                    <a:pt x="16" y="17"/>
                    <a:pt x="33" y="9"/>
                  </a:cubicBezTo>
                  <a:cubicBezTo>
                    <a:pt x="36" y="6"/>
                    <a:pt x="42" y="6"/>
                    <a:pt x="45" y="3"/>
                  </a:cubicBezTo>
                  <a:cubicBezTo>
                    <a:pt x="48" y="0"/>
                    <a:pt x="50" y="0"/>
                    <a:pt x="56" y="0"/>
                  </a:cubicBezTo>
                  <a:lnTo>
                    <a:pt x="70" y="0"/>
                  </a:lnTo>
                  <a:lnTo>
                    <a:pt x="81" y="0"/>
                  </a:lnTo>
                  <a:cubicBezTo>
                    <a:pt x="90" y="3"/>
                    <a:pt x="98" y="6"/>
                    <a:pt x="104" y="11"/>
                  </a:cubicBezTo>
                  <a:cubicBezTo>
                    <a:pt x="104" y="11"/>
                    <a:pt x="107" y="11"/>
                    <a:pt x="107" y="14"/>
                  </a:cubicBezTo>
                  <a:lnTo>
                    <a:pt x="110" y="17"/>
                  </a:lnTo>
                  <a:cubicBezTo>
                    <a:pt x="112" y="23"/>
                    <a:pt x="115" y="25"/>
                    <a:pt x="118" y="28"/>
                  </a:cubicBezTo>
                  <a:cubicBezTo>
                    <a:pt x="121" y="30"/>
                    <a:pt x="127" y="37"/>
                    <a:pt x="127" y="40"/>
                  </a:cubicBezTo>
                  <a:cubicBezTo>
                    <a:pt x="129" y="45"/>
                    <a:pt x="129" y="51"/>
                    <a:pt x="129" y="57"/>
                  </a:cubicBezTo>
                  <a:cubicBezTo>
                    <a:pt x="129" y="59"/>
                    <a:pt x="132" y="62"/>
                    <a:pt x="135" y="65"/>
                  </a:cubicBezTo>
                  <a:cubicBezTo>
                    <a:pt x="135" y="71"/>
                    <a:pt x="135" y="73"/>
                    <a:pt x="138" y="79"/>
                  </a:cubicBezTo>
                  <a:cubicBezTo>
                    <a:pt x="141" y="82"/>
                    <a:pt x="141" y="88"/>
                    <a:pt x="141" y="93"/>
                  </a:cubicBezTo>
                  <a:lnTo>
                    <a:pt x="141" y="99"/>
                  </a:lnTo>
                  <a:lnTo>
                    <a:pt x="141" y="107"/>
                  </a:lnTo>
                  <a:cubicBezTo>
                    <a:pt x="141" y="113"/>
                    <a:pt x="143" y="119"/>
                    <a:pt x="146" y="121"/>
                  </a:cubicBezTo>
                  <a:cubicBezTo>
                    <a:pt x="146" y="124"/>
                    <a:pt x="149" y="127"/>
                    <a:pt x="149" y="127"/>
                  </a:cubicBezTo>
                  <a:cubicBezTo>
                    <a:pt x="149" y="130"/>
                    <a:pt x="149" y="133"/>
                    <a:pt x="152" y="133"/>
                  </a:cubicBezTo>
                  <a:cubicBezTo>
                    <a:pt x="155" y="136"/>
                    <a:pt x="155" y="138"/>
                    <a:pt x="155" y="141"/>
                  </a:cubicBezTo>
                  <a:cubicBezTo>
                    <a:pt x="152" y="144"/>
                    <a:pt x="152" y="147"/>
                    <a:pt x="155" y="150"/>
                  </a:cubicBezTo>
                  <a:cubicBezTo>
                    <a:pt x="158" y="155"/>
                    <a:pt x="155" y="161"/>
                    <a:pt x="149" y="164"/>
                  </a:cubicBezTo>
                  <a:cubicBezTo>
                    <a:pt x="146" y="167"/>
                    <a:pt x="143" y="167"/>
                    <a:pt x="141" y="167"/>
                  </a:cubicBezTo>
                  <a:lnTo>
                    <a:pt x="138" y="167"/>
                  </a:lnTo>
                  <a:cubicBezTo>
                    <a:pt x="135" y="169"/>
                    <a:pt x="132" y="172"/>
                    <a:pt x="127" y="169"/>
                  </a:cubicBezTo>
                  <a:lnTo>
                    <a:pt x="104" y="164"/>
                  </a:lnTo>
                  <a:cubicBezTo>
                    <a:pt x="101" y="164"/>
                    <a:pt x="101" y="161"/>
                    <a:pt x="101" y="161"/>
                  </a:cubicBezTo>
                  <a:lnTo>
                    <a:pt x="98" y="158"/>
                  </a:lnTo>
                  <a:lnTo>
                    <a:pt x="98" y="152"/>
                  </a:lnTo>
                  <a:lnTo>
                    <a:pt x="98" y="144"/>
                  </a:lnTo>
                  <a:lnTo>
                    <a:pt x="98" y="136"/>
                  </a:lnTo>
                  <a:lnTo>
                    <a:pt x="98" y="133"/>
                  </a:lnTo>
                  <a:cubicBezTo>
                    <a:pt x="95" y="127"/>
                    <a:pt x="93" y="124"/>
                    <a:pt x="93" y="119"/>
                  </a:cubicBezTo>
                  <a:cubicBezTo>
                    <a:pt x="93" y="113"/>
                    <a:pt x="93" y="110"/>
                    <a:pt x="90" y="105"/>
                  </a:cubicBezTo>
                  <a:lnTo>
                    <a:pt x="90" y="99"/>
                  </a:lnTo>
                  <a:lnTo>
                    <a:pt x="90" y="93"/>
                  </a:lnTo>
                  <a:cubicBezTo>
                    <a:pt x="87" y="90"/>
                    <a:pt x="87" y="88"/>
                    <a:pt x="87" y="82"/>
                  </a:cubicBezTo>
                  <a:cubicBezTo>
                    <a:pt x="87" y="79"/>
                    <a:pt x="87" y="73"/>
                    <a:pt x="84" y="71"/>
                  </a:cubicBezTo>
                  <a:cubicBezTo>
                    <a:pt x="81" y="68"/>
                    <a:pt x="79" y="65"/>
                    <a:pt x="79" y="62"/>
                  </a:cubicBezTo>
                  <a:cubicBezTo>
                    <a:pt x="76" y="59"/>
                    <a:pt x="73" y="57"/>
                    <a:pt x="70" y="57"/>
                  </a:cubicBezTo>
                  <a:cubicBezTo>
                    <a:pt x="62" y="57"/>
                    <a:pt x="56" y="59"/>
                    <a:pt x="53" y="68"/>
                  </a:cubicBezTo>
                  <a:lnTo>
                    <a:pt x="53" y="79"/>
                  </a:lnTo>
                  <a:lnTo>
                    <a:pt x="53" y="88"/>
                  </a:lnTo>
                  <a:lnTo>
                    <a:pt x="53" y="99"/>
                  </a:lnTo>
                  <a:lnTo>
                    <a:pt x="53" y="105"/>
                  </a:lnTo>
                  <a:cubicBezTo>
                    <a:pt x="50" y="107"/>
                    <a:pt x="53" y="110"/>
                    <a:pt x="56" y="110"/>
                  </a:cubicBezTo>
                  <a:cubicBezTo>
                    <a:pt x="56" y="113"/>
                    <a:pt x="59" y="116"/>
                    <a:pt x="59" y="119"/>
                  </a:cubicBezTo>
                  <a:lnTo>
                    <a:pt x="59" y="127"/>
                  </a:lnTo>
                  <a:lnTo>
                    <a:pt x="59" y="133"/>
                  </a:lnTo>
                  <a:lnTo>
                    <a:pt x="59" y="136"/>
                  </a:lnTo>
                  <a:cubicBezTo>
                    <a:pt x="62" y="138"/>
                    <a:pt x="64" y="144"/>
                    <a:pt x="64" y="150"/>
                  </a:cubicBezTo>
                  <a:cubicBezTo>
                    <a:pt x="64" y="155"/>
                    <a:pt x="64" y="161"/>
                    <a:pt x="67" y="164"/>
                  </a:cubicBezTo>
                  <a:lnTo>
                    <a:pt x="67" y="169"/>
                  </a:lnTo>
                  <a:lnTo>
                    <a:pt x="67" y="181"/>
                  </a:lnTo>
                  <a:lnTo>
                    <a:pt x="70" y="183"/>
                  </a:lnTo>
                  <a:lnTo>
                    <a:pt x="70" y="188"/>
                  </a:lnTo>
                  <a:cubicBezTo>
                    <a:pt x="70" y="194"/>
                    <a:pt x="70" y="199"/>
                    <a:pt x="73" y="202"/>
                  </a:cubicBezTo>
                  <a:cubicBezTo>
                    <a:pt x="76" y="208"/>
                    <a:pt x="76" y="214"/>
                    <a:pt x="76" y="219"/>
                  </a:cubicBezTo>
                  <a:cubicBezTo>
                    <a:pt x="76" y="222"/>
                    <a:pt x="76" y="225"/>
                    <a:pt x="79" y="228"/>
                  </a:cubicBezTo>
                  <a:cubicBezTo>
                    <a:pt x="79" y="230"/>
                    <a:pt x="81" y="233"/>
                    <a:pt x="81" y="239"/>
                  </a:cubicBezTo>
                  <a:cubicBezTo>
                    <a:pt x="81" y="242"/>
                    <a:pt x="81" y="245"/>
                    <a:pt x="84" y="245"/>
                  </a:cubicBezTo>
                  <a:cubicBezTo>
                    <a:pt x="84" y="245"/>
                    <a:pt x="84" y="247"/>
                    <a:pt x="87" y="250"/>
                  </a:cubicBezTo>
                  <a:lnTo>
                    <a:pt x="87" y="261"/>
                  </a:lnTo>
                  <a:lnTo>
                    <a:pt x="87" y="267"/>
                  </a:lnTo>
                  <a:lnTo>
                    <a:pt x="87" y="273"/>
                  </a:lnTo>
                  <a:cubicBezTo>
                    <a:pt x="84" y="276"/>
                    <a:pt x="87" y="278"/>
                    <a:pt x="87" y="278"/>
                  </a:cubicBezTo>
                  <a:cubicBezTo>
                    <a:pt x="90" y="281"/>
                    <a:pt x="90" y="281"/>
                    <a:pt x="90" y="284"/>
                  </a:cubicBezTo>
                  <a:lnTo>
                    <a:pt x="90" y="290"/>
                  </a:lnTo>
                  <a:lnTo>
                    <a:pt x="98" y="326"/>
                  </a:lnTo>
                  <a:cubicBezTo>
                    <a:pt x="98" y="329"/>
                    <a:pt x="98" y="329"/>
                    <a:pt x="101" y="332"/>
                  </a:cubicBezTo>
                  <a:cubicBezTo>
                    <a:pt x="101" y="335"/>
                    <a:pt x="101" y="338"/>
                    <a:pt x="98" y="338"/>
                  </a:cubicBezTo>
                  <a:lnTo>
                    <a:pt x="98" y="343"/>
                  </a:lnTo>
                  <a:cubicBezTo>
                    <a:pt x="104" y="352"/>
                    <a:pt x="107" y="363"/>
                    <a:pt x="104" y="371"/>
                  </a:cubicBezTo>
                  <a:cubicBezTo>
                    <a:pt x="104" y="374"/>
                    <a:pt x="107" y="377"/>
                    <a:pt x="107" y="380"/>
                  </a:cubicBezTo>
                  <a:cubicBezTo>
                    <a:pt x="107" y="383"/>
                    <a:pt x="107" y="388"/>
                    <a:pt x="110" y="391"/>
                  </a:cubicBezTo>
                  <a:cubicBezTo>
                    <a:pt x="110" y="391"/>
                    <a:pt x="112" y="394"/>
                    <a:pt x="112" y="397"/>
                  </a:cubicBezTo>
                  <a:cubicBezTo>
                    <a:pt x="112" y="403"/>
                    <a:pt x="115" y="405"/>
                    <a:pt x="118" y="408"/>
                  </a:cubicBezTo>
                  <a:cubicBezTo>
                    <a:pt x="121" y="408"/>
                    <a:pt x="121" y="411"/>
                    <a:pt x="124" y="411"/>
                  </a:cubicBezTo>
                  <a:lnTo>
                    <a:pt x="127" y="411"/>
                  </a:lnTo>
                  <a:lnTo>
                    <a:pt x="129" y="411"/>
                  </a:lnTo>
                  <a:lnTo>
                    <a:pt x="138" y="408"/>
                  </a:lnTo>
                  <a:cubicBezTo>
                    <a:pt x="141" y="403"/>
                    <a:pt x="143" y="394"/>
                    <a:pt x="141" y="388"/>
                  </a:cubicBezTo>
                  <a:lnTo>
                    <a:pt x="132" y="332"/>
                  </a:lnTo>
                  <a:lnTo>
                    <a:pt x="132" y="326"/>
                  </a:lnTo>
                  <a:lnTo>
                    <a:pt x="132" y="321"/>
                  </a:lnTo>
                  <a:lnTo>
                    <a:pt x="132" y="318"/>
                  </a:lnTo>
                  <a:cubicBezTo>
                    <a:pt x="132" y="315"/>
                    <a:pt x="132" y="315"/>
                    <a:pt x="129" y="312"/>
                  </a:cubicBezTo>
                  <a:cubicBezTo>
                    <a:pt x="127" y="312"/>
                    <a:pt x="127" y="309"/>
                    <a:pt x="127" y="307"/>
                  </a:cubicBezTo>
                  <a:lnTo>
                    <a:pt x="127" y="301"/>
                  </a:lnTo>
                  <a:lnTo>
                    <a:pt x="127" y="295"/>
                  </a:lnTo>
                  <a:lnTo>
                    <a:pt x="129" y="293"/>
                  </a:lnTo>
                  <a:lnTo>
                    <a:pt x="132" y="290"/>
                  </a:lnTo>
                  <a:cubicBezTo>
                    <a:pt x="135" y="290"/>
                    <a:pt x="135" y="290"/>
                    <a:pt x="138" y="287"/>
                  </a:cubicBezTo>
                  <a:cubicBezTo>
                    <a:pt x="141" y="287"/>
                    <a:pt x="143" y="284"/>
                    <a:pt x="143" y="284"/>
                  </a:cubicBezTo>
                  <a:cubicBezTo>
                    <a:pt x="152" y="281"/>
                    <a:pt x="160" y="281"/>
                    <a:pt x="166" y="287"/>
                  </a:cubicBezTo>
                  <a:lnTo>
                    <a:pt x="172" y="293"/>
                  </a:lnTo>
                  <a:cubicBezTo>
                    <a:pt x="172" y="295"/>
                    <a:pt x="174" y="298"/>
                    <a:pt x="174" y="301"/>
                  </a:cubicBezTo>
                  <a:cubicBezTo>
                    <a:pt x="174" y="315"/>
                    <a:pt x="177" y="318"/>
                    <a:pt x="177" y="321"/>
                  </a:cubicBezTo>
                  <a:close/>
                  <a:moveTo>
                    <a:pt x="14" y="79"/>
                  </a:moveTo>
                  <a:lnTo>
                    <a:pt x="19" y="79"/>
                  </a:lnTo>
                  <a:cubicBezTo>
                    <a:pt x="22" y="79"/>
                    <a:pt x="25" y="76"/>
                    <a:pt x="25" y="76"/>
                  </a:cubicBezTo>
                  <a:cubicBezTo>
                    <a:pt x="28" y="76"/>
                    <a:pt x="31" y="73"/>
                    <a:pt x="33" y="73"/>
                  </a:cubicBezTo>
                  <a:lnTo>
                    <a:pt x="28" y="73"/>
                  </a:lnTo>
                  <a:cubicBezTo>
                    <a:pt x="28" y="73"/>
                    <a:pt x="25" y="73"/>
                    <a:pt x="25" y="71"/>
                  </a:cubicBezTo>
                  <a:lnTo>
                    <a:pt x="22" y="73"/>
                  </a:lnTo>
                  <a:cubicBezTo>
                    <a:pt x="22" y="76"/>
                    <a:pt x="19" y="76"/>
                    <a:pt x="19" y="76"/>
                  </a:cubicBezTo>
                  <a:cubicBezTo>
                    <a:pt x="19" y="76"/>
                    <a:pt x="14" y="76"/>
                    <a:pt x="14" y="79"/>
                  </a:cubicBezTo>
                  <a:close/>
                  <a:moveTo>
                    <a:pt x="19" y="71"/>
                  </a:moveTo>
                  <a:lnTo>
                    <a:pt x="25" y="68"/>
                  </a:lnTo>
                  <a:cubicBezTo>
                    <a:pt x="22" y="68"/>
                    <a:pt x="22" y="65"/>
                    <a:pt x="19" y="65"/>
                  </a:cubicBezTo>
                  <a:lnTo>
                    <a:pt x="19" y="71"/>
                  </a:lnTo>
                  <a:close/>
                  <a:moveTo>
                    <a:pt x="16" y="54"/>
                  </a:moveTo>
                  <a:cubicBezTo>
                    <a:pt x="19" y="54"/>
                    <a:pt x="22" y="57"/>
                    <a:pt x="25" y="57"/>
                  </a:cubicBezTo>
                  <a:cubicBezTo>
                    <a:pt x="25" y="54"/>
                    <a:pt x="25" y="54"/>
                    <a:pt x="28" y="51"/>
                  </a:cubicBezTo>
                  <a:cubicBezTo>
                    <a:pt x="28" y="48"/>
                    <a:pt x="31" y="48"/>
                    <a:pt x="31" y="45"/>
                  </a:cubicBezTo>
                  <a:lnTo>
                    <a:pt x="25" y="48"/>
                  </a:lnTo>
                  <a:lnTo>
                    <a:pt x="16" y="54"/>
                  </a:lnTo>
                  <a:close/>
                  <a:moveTo>
                    <a:pt x="33" y="59"/>
                  </a:moveTo>
                  <a:cubicBezTo>
                    <a:pt x="33" y="57"/>
                    <a:pt x="36" y="57"/>
                    <a:pt x="36" y="54"/>
                  </a:cubicBezTo>
                  <a:lnTo>
                    <a:pt x="25" y="62"/>
                  </a:lnTo>
                  <a:lnTo>
                    <a:pt x="28" y="65"/>
                  </a:lnTo>
                  <a:lnTo>
                    <a:pt x="28" y="62"/>
                  </a:lnTo>
                  <a:cubicBezTo>
                    <a:pt x="31" y="65"/>
                    <a:pt x="31" y="68"/>
                    <a:pt x="33" y="68"/>
                  </a:cubicBezTo>
                  <a:lnTo>
                    <a:pt x="36" y="68"/>
                  </a:lnTo>
                  <a:lnTo>
                    <a:pt x="33" y="59"/>
                  </a:lnTo>
                  <a:close/>
                  <a:moveTo>
                    <a:pt x="31" y="124"/>
                  </a:moveTo>
                  <a:lnTo>
                    <a:pt x="31" y="121"/>
                  </a:lnTo>
                  <a:lnTo>
                    <a:pt x="28" y="121"/>
                  </a:lnTo>
                  <a:lnTo>
                    <a:pt x="28" y="127"/>
                  </a:lnTo>
                  <a:lnTo>
                    <a:pt x="28" y="133"/>
                  </a:lnTo>
                  <a:cubicBezTo>
                    <a:pt x="28" y="130"/>
                    <a:pt x="31" y="127"/>
                    <a:pt x="31" y="124"/>
                  </a:cubicBezTo>
                  <a:close/>
                  <a:moveTo>
                    <a:pt x="31" y="107"/>
                  </a:moveTo>
                  <a:cubicBezTo>
                    <a:pt x="31" y="107"/>
                    <a:pt x="33" y="107"/>
                    <a:pt x="33" y="105"/>
                  </a:cubicBezTo>
                  <a:lnTo>
                    <a:pt x="31" y="102"/>
                  </a:lnTo>
                  <a:lnTo>
                    <a:pt x="25" y="107"/>
                  </a:lnTo>
                  <a:lnTo>
                    <a:pt x="28" y="107"/>
                  </a:lnTo>
                  <a:lnTo>
                    <a:pt x="31" y="107"/>
                  </a:lnTo>
                  <a:close/>
                  <a:moveTo>
                    <a:pt x="36" y="169"/>
                  </a:moveTo>
                  <a:lnTo>
                    <a:pt x="39" y="175"/>
                  </a:lnTo>
                  <a:cubicBezTo>
                    <a:pt x="39" y="172"/>
                    <a:pt x="39" y="169"/>
                    <a:pt x="36" y="169"/>
                  </a:cubicBezTo>
                  <a:cubicBezTo>
                    <a:pt x="36" y="169"/>
                    <a:pt x="38" y="168"/>
                    <a:pt x="37" y="165"/>
                  </a:cubicBezTo>
                  <a:lnTo>
                    <a:pt x="36" y="167"/>
                  </a:lnTo>
                  <a:lnTo>
                    <a:pt x="33" y="167"/>
                  </a:lnTo>
                  <a:lnTo>
                    <a:pt x="31" y="167"/>
                  </a:lnTo>
                  <a:cubicBezTo>
                    <a:pt x="31" y="169"/>
                    <a:pt x="33" y="169"/>
                    <a:pt x="36" y="169"/>
                  </a:cubicBezTo>
                  <a:close/>
                  <a:moveTo>
                    <a:pt x="42" y="155"/>
                  </a:moveTo>
                  <a:lnTo>
                    <a:pt x="36" y="157"/>
                  </a:lnTo>
                  <a:cubicBezTo>
                    <a:pt x="37" y="158"/>
                    <a:pt x="38" y="158"/>
                    <a:pt x="39" y="158"/>
                  </a:cubicBezTo>
                  <a:lnTo>
                    <a:pt x="39" y="161"/>
                  </a:lnTo>
                  <a:lnTo>
                    <a:pt x="42" y="155"/>
                  </a:lnTo>
                  <a:close/>
                  <a:moveTo>
                    <a:pt x="36" y="155"/>
                  </a:moveTo>
                  <a:cubicBezTo>
                    <a:pt x="39" y="155"/>
                    <a:pt x="41" y="153"/>
                    <a:pt x="42" y="150"/>
                  </a:cubicBezTo>
                  <a:cubicBezTo>
                    <a:pt x="40" y="151"/>
                    <a:pt x="39" y="152"/>
                    <a:pt x="39" y="152"/>
                  </a:cubicBezTo>
                  <a:lnTo>
                    <a:pt x="36" y="152"/>
                  </a:lnTo>
                  <a:lnTo>
                    <a:pt x="33" y="152"/>
                  </a:lnTo>
                  <a:cubicBezTo>
                    <a:pt x="33" y="154"/>
                    <a:pt x="34" y="155"/>
                    <a:pt x="35" y="156"/>
                  </a:cubicBezTo>
                  <a:cubicBezTo>
                    <a:pt x="35" y="155"/>
                    <a:pt x="36" y="155"/>
                    <a:pt x="36" y="155"/>
                  </a:cubicBezTo>
                  <a:close/>
                  <a:moveTo>
                    <a:pt x="31" y="144"/>
                  </a:moveTo>
                  <a:lnTo>
                    <a:pt x="28" y="144"/>
                  </a:lnTo>
                  <a:lnTo>
                    <a:pt x="33" y="150"/>
                  </a:lnTo>
                  <a:cubicBezTo>
                    <a:pt x="33" y="147"/>
                    <a:pt x="33" y="144"/>
                    <a:pt x="31" y="144"/>
                  </a:cubicBezTo>
                  <a:close/>
                  <a:moveTo>
                    <a:pt x="28" y="40"/>
                  </a:moveTo>
                  <a:cubicBezTo>
                    <a:pt x="31" y="40"/>
                    <a:pt x="31" y="40"/>
                    <a:pt x="33" y="37"/>
                  </a:cubicBezTo>
                  <a:cubicBezTo>
                    <a:pt x="39" y="42"/>
                    <a:pt x="39" y="42"/>
                    <a:pt x="45" y="40"/>
                  </a:cubicBezTo>
                  <a:lnTo>
                    <a:pt x="42" y="37"/>
                  </a:lnTo>
                  <a:cubicBezTo>
                    <a:pt x="42" y="37"/>
                    <a:pt x="39" y="37"/>
                    <a:pt x="39" y="34"/>
                  </a:cubicBezTo>
                  <a:lnTo>
                    <a:pt x="42" y="34"/>
                  </a:lnTo>
                  <a:lnTo>
                    <a:pt x="45" y="34"/>
                  </a:lnTo>
                  <a:lnTo>
                    <a:pt x="42" y="31"/>
                  </a:lnTo>
                  <a:lnTo>
                    <a:pt x="45" y="31"/>
                  </a:lnTo>
                  <a:lnTo>
                    <a:pt x="45" y="28"/>
                  </a:lnTo>
                  <a:lnTo>
                    <a:pt x="50" y="28"/>
                  </a:lnTo>
                  <a:cubicBezTo>
                    <a:pt x="48" y="37"/>
                    <a:pt x="50" y="40"/>
                    <a:pt x="53" y="40"/>
                  </a:cubicBezTo>
                  <a:lnTo>
                    <a:pt x="56" y="34"/>
                  </a:lnTo>
                  <a:lnTo>
                    <a:pt x="67" y="31"/>
                  </a:lnTo>
                  <a:lnTo>
                    <a:pt x="67" y="28"/>
                  </a:lnTo>
                  <a:lnTo>
                    <a:pt x="67" y="26"/>
                  </a:lnTo>
                  <a:cubicBezTo>
                    <a:pt x="67" y="31"/>
                    <a:pt x="73" y="37"/>
                    <a:pt x="76" y="40"/>
                  </a:cubicBezTo>
                  <a:lnTo>
                    <a:pt x="81" y="40"/>
                  </a:lnTo>
                  <a:cubicBezTo>
                    <a:pt x="79" y="37"/>
                    <a:pt x="76" y="37"/>
                    <a:pt x="73" y="34"/>
                  </a:cubicBezTo>
                  <a:cubicBezTo>
                    <a:pt x="76" y="31"/>
                    <a:pt x="73" y="28"/>
                    <a:pt x="70" y="26"/>
                  </a:cubicBezTo>
                  <a:cubicBezTo>
                    <a:pt x="70" y="23"/>
                    <a:pt x="67" y="23"/>
                    <a:pt x="67" y="20"/>
                  </a:cubicBezTo>
                  <a:cubicBezTo>
                    <a:pt x="64" y="23"/>
                    <a:pt x="62" y="23"/>
                    <a:pt x="59" y="23"/>
                  </a:cubicBezTo>
                  <a:lnTo>
                    <a:pt x="56" y="20"/>
                  </a:lnTo>
                  <a:lnTo>
                    <a:pt x="56" y="23"/>
                  </a:lnTo>
                  <a:lnTo>
                    <a:pt x="56" y="26"/>
                  </a:lnTo>
                  <a:cubicBezTo>
                    <a:pt x="56" y="23"/>
                    <a:pt x="53" y="23"/>
                    <a:pt x="53" y="23"/>
                  </a:cubicBezTo>
                  <a:cubicBezTo>
                    <a:pt x="50" y="23"/>
                    <a:pt x="50" y="20"/>
                    <a:pt x="48" y="20"/>
                  </a:cubicBezTo>
                  <a:lnTo>
                    <a:pt x="42" y="20"/>
                  </a:lnTo>
                  <a:cubicBezTo>
                    <a:pt x="42" y="24"/>
                    <a:pt x="40" y="27"/>
                    <a:pt x="40" y="29"/>
                  </a:cubicBezTo>
                  <a:cubicBezTo>
                    <a:pt x="39" y="30"/>
                    <a:pt x="39" y="30"/>
                    <a:pt x="39" y="31"/>
                  </a:cubicBezTo>
                  <a:lnTo>
                    <a:pt x="42" y="31"/>
                  </a:lnTo>
                  <a:lnTo>
                    <a:pt x="40" y="29"/>
                  </a:lnTo>
                  <a:cubicBezTo>
                    <a:pt x="40" y="29"/>
                    <a:pt x="40" y="29"/>
                    <a:pt x="39" y="28"/>
                  </a:cubicBezTo>
                  <a:lnTo>
                    <a:pt x="39" y="31"/>
                  </a:lnTo>
                  <a:lnTo>
                    <a:pt x="39" y="34"/>
                  </a:lnTo>
                  <a:cubicBezTo>
                    <a:pt x="36" y="34"/>
                    <a:pt x="36" y="34"/>
                    <a:pt x="33" y="31"/>
                  </a:cubicBezTo>
                  <a:cubicBezTo>
                    <a:pt x="31" y="31"/>
                    <a:pt x="31" y="31"/>
                    <a:pt x="28" y="34"/>
                  </a:cubicBezTo>
                  <a:lnTo>
                    <a:pt x="28" y="40"/>
                  </a:lnTo>
                  <a:close/>
                  <a:moveTo>
                    <a:pt x="36" y="45"/>
                  </a:moveTo>
                  <a:lnTo>
                    <a:pt x="33" y="40"/>
                  </a:lnTo>
                  <a:cubicBezTo>
                    <a:pt x="33" y="45"/>
                    <a:pt x="33" y="45"/>
                    <a:pt x="36" y="45"/>
                  </a:cubicBezTo>
                  <a:close/>
                  <a:moveTo>
                    <a:pt x="36" y="197"/>
                  </a:moveTo>
                  <a:lnTo>
                    <a:pt x="36" y="199"/>
                  </a:lnTo>
                  <a:lnTo>
                    <a:pt x="39" y="199"/>
                  </a:lnTo>
                  <a:lnTo>
                    <a:pt x="39" y="202"/>
                  </a:lnTo>
                  <a:lnTo>
                    <a:pt x="39" y="205"/>
                  </a:lnTo>
                  <a:cubicBezTo>
                    <a:pt x="39" y="205"/>
                    <a:pt x="39" y="208"/>
                    <a:pt x="42" y="208"/>
                  </a:cubicBezTo>
                  <a:lnTo>
                    <a:pt x="45" y="208"/>
                  </a:lnTo>
                  <a:lnTo>
                    <a:pt x="45" y="202"/>
                  </a:lnTo>
                  <a:lnTo>
                    <a:pt x="48" y="199"/>
                  </a:lnTo>
                  <a:lnTo>
                    <a:pt x="50" y="197"/>
                  </a:lnTo>
                  <a:cubicBezTo>
                    <a:pt x="48" y="197"/>
                    <a:pt x="48" y="194"/>
                    <a:pt x="45" y="194"/>
                  </a:cubicBezTo>
                  <a:lnTo>
                    <a:pt x="45" y="197"/>
                  </a:lnTo>
                  <a:lnTo>
                    <a:pt x="39" y="197"/>
                  </a:lnTo>
                  <a:lnTo>
                    <a:pt x="39" y="194"/>
                  </a:lnTo>
                  <a:lnTo>
                    <a:pt x="36" y="197"/>
                  </a:lnTo>
                  <a:close/>
                  <a:moveTo>
                    <a:pt x="48" y="194"/>
                  </a:moveTo>
                  <a:cubicBezTo>
                    <a:pt x="48" y="191"/>
                    <a:pt x="48" y="191"/>
                    <a:pt x="45" y="188"/>
                  </a:cubicBezTo>
                  <a:lnTo>
                    <a:pt x="42" y="188"/>
                  </a:lnTo>
                  <a:cubicBezTo>
                    <a:pt x="42" y="194"/>
                    <a:pt x="45" y="194"/>
                    <a:pt x="48" y="194"/>
                  </a:cubicBezTo>
                  <a:close/>
                  <a:moveTo>
                    <a:pt x="42" y="228"/>
                  </a:moveTo>
                  <a:cubicBezTo>
                    <a:pt x="48" y="228"/>
                    <a:pt x="50" y="225"/>
                    <a:pt x="53" y="222"/>
                  </a:cubicBezTo>
                  <a:lnTo>
                    <a:pt x="48" y="222"/>
                  </a:lnTo>
                  <a:lnTo>
                    <a:pt x="45" y="225"/>
                  </a:lnTo>
                  <a:cubicBezTo>
                    <a:pt x="45" y="225"/>
                    <a:pt x="42" y="225"/>
                    <a:pt x="42" y="228"/>
                  </a:cubicBezTo>
                  <a:close/>
                  <a:moveTo>
                    <a:pt x="45" y="211"/>
                  </a:moveTo>
                  <a:cubicBezTo>
                    <a:pt x="42" y="211"/>
                    <a:pt x="42" y="214"/>
                    <a:pt x="42" y="214"/>
                  </a:cubicBezTo>
                  <a:cubicBezTo>
                    <a:pt x="45" y="214"/>
                    <a:pt x="45" y="211"/>
                    <a:pt x="45" y="211"/>
                  </a:cubicBezTo>
                  <a:close/>
                  <a:moveTo>
                    <a:pt x="42" y="239"/>
                  </a:moveTo>
                  <a:lnTo>
                    <a:pt x="50" y="236"/>
                  </a:lnTo>
                  <a:lnTo>
                    <a:pt x="50" y="233"/>
                  </a:lnTo>
                  <a:lnTo>
                    <a:pt x="48" y="230"/>
                  </a:lnTo>
                  <a:lnTo>
                    <a:pt x="42" y="239"/>
                  </a:lnTo>
                  <a:close/>
                  <a:moveTo>
                    <a:pt x="50" y="245"/>
                  </a:moveTo>
                  <a:lnTo>
                    <a:pt x="50" y="239"/>
                  </a:lnTo>
                  <a:lnTo>
                    <a:pt x="45" y="239"/>
                  </a:lnTo>
                  <a:cubicBezTo>
                    <a:pt x="45" y="242"/>
                    <a:pt x="48" y="245"/>
                    <a:pt x="50" y="245"/>
                  </a:cubicBezTo>
                  <a:close/>
                  <a:moveTo>
                    <a:pt x="53" y="301"/>
                  </a:moveTo>
                  <a:lnTo>
                    <a:pt x="62" y="301"/>
                  </a:lnTo>
                  <a:cubicBezTo>
                    <a:pt x="59" y="298"/>
                    <a:pt x="56" y="298"/>
                    <a:pt x="56" y="298"/>
                  </a:cubicBezTo>
                  <a:lnTo>
                    <a:pt x="53" y="301"/>
                  </a:lnTo>
                  <a:close/>
                  <a:moveTo>
                    <a:pt x="53" y="281"/>
                  </a:moveTo>
                  <a:lnTo>
                    <a:pt x="56" y="281"/>
                  </a:lnTo>
                  <a:lnTo>
                    <a:pt x="59" y="281"/>
                  </a:lnTo>
                  <a:cubicBezTo>
                    <a:pt x="59" y="278"/>
                    <a:pt x="56" y="273"/>
                    <a:pt x="56" y="270"/>
                  </a:cubicBezTo>
                  <a:cubicBezTo>
                    <a:pt x="56" y="273"/>
                    <a:pt x="56" y="273"/>
                    <a:pt x="53" y="276"/>
                  </a:cubicBezTo>
                  <a:lnTo>
                    <a:pt x="53" y="281"/>
                  </a:lnTo>
                  <a:close/>
                  <a:moveTo>
                    <a:pt x="59" y="267"/>
                  </a:moveTo>
                  <a:lnTo>
                    <a:pt x="59" y="264"/>
                  </a:lnTo>
                  <a:lnTo>
                    <a:pt x="56" y="264"/>
                  </a:lnTo>
                  <a:lnTo>
                    <a:pt x="56" y="267"/>
                  </a:lnTo>
                  <a:cubicBezTo>
                    <a:pt x="56" y="270"/>
                    <a:pt x="59" y="270"/>
                    <a:pt x="59" y="267"/>
                  </a:cubicBezTo>
                  <a:close/>
                  <a:moveTo>
                    <a:pt x="62" y="293"/>
                  </a:moveTo>
                  <a:lnTo>
                    <a:pt x="62" y="290"/>
                  </a:lnTo>
                  <a:lnTo>
                    <a:pt x="59" y="290"/>
                  </a:lnTo>
                  <a:lnTo>
                    <a:pt x="56" y="290"/>
                  </a:lnTo>
                  <a:lnTo>
                    <a:pt x="62" y="293"/>
                  </a:lnTo>
                  <a:close/>
                  <a:moveTo>
                    <a:pt x="62" y="284"/>
                  </a:moveTo>
                  <a:lnTo>
                    <a:pt x="59" y="284"/>
                  </a:lnTo>
                  <a:lnTo>
                    <a:pt x="59" y="287"/>
                  </a:lnTo>
                  <a:lnTo>
                    <a:pt x="59" y="290"/>
                  </a:lnTo>
                  <a:cubicBezTo>
                    <a:pt x="59" y="290"/>
                    <a:pt x="59" y="287"/>
                    <a:pt x="62" y="287"/>
                  </a:cubicBezTo>
                  <a:lnTo>
                    <a:pt x="62" y="284"/>
                  </a:lnTo>
                  <a:close/>
                  <a:moveTo>
                    <a:pt x="62" y="304"/>
                  </a:moveTo>
                  <a:cubicBezTo>
                    <a:pt x="56" y="307"/>
                    <a:pt x="56" y="309"/>
                    <a:pt x="56" y="312"/>
                  </a:cubicBezTo>
                  <a:cubicBezTo>
                    <a:pt x="59" y="312"/>
                    <a:pt x="59" y="309"/>
                    <a:pt x="62" y="309"/>
                  </a:cubicBezTo>
                  <a:lnTo>
                    <a:pt x="62" y="304"/>
                  </a:lnTo>
                  <a:close/>
                  <a:moveTo>
                    <a:pt x="62" y="37"/>
                  </a:moveTo>
                  <a:lnTo>
                    <a:pt x="59" y="37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62" y="42"/>
                  </a:lnTo>
                  <a:lnTo>
                    <a:pt x="62" y="37"/>
                  </a:lnTo>
                  <a:close/>
                  <a:moveTo>
                    <a:pt x="64" y="273"/>
                  </a:moveTo>
                  <a:cubicBezTo>
                    <a:pt x="64" y="270"/>
                    <a:pt x="62" y="270"/>
                    <a:pt x="59" y="270"/>
                  </a:cubicBezTo>
                  <a:lnTo>
                    <a:pt x="59" y="276"/>
                  </a:lnTo>
                  <a:cubicBezTo>
                    <a:pt x="62" y="273"/>
                    <a:pt x="62" y="273"/>
                    <a:pt x="64" y="273"/>
                  </a:cubicBezTo>
                  <a:close/>
                  <a:moveTo>
                    <a:pt x="64" y="324"/>
                  </a:moveTo>
                  <a:cubicBezTo>
                    <a:pt x="64" y="321"/>
                    <a:pt x="67" y="321"/>
                    <a:pt x="67" y="321"/>
                  </a:cubicBezTo>
                  <a:lnTo>
                    <a:pt x="62" y="321"/>
                  </a:lnTo>
                  <a:lnTo>
                    <a:pt x="62" y="326"/>
                  </a:lnTo>
                  <a:cubicBezTo>
                    <a:pt x="62" y="329"/>
                    <a:pt x="64" y="329"/>
                    <a:pt x="67" y="329"/>
                  </a:cubicBezTo>
                  <a:lnTo>
                    <a:pt x="64" y="326"/>
                  </a:lnTo>
                  <a:lnTo>
                    <a:pt x="64" y="324"/>
                  </a:lnTo>
                  <a:close/>
                  <a:moveTo>
                    <a:pt x="62" y="363"/>
                  </a:moveTo>
                  <a:cubicBezTo>
                    <a:pt x="64" y="363"/>
                    <a:pt x="64" y="366"/>
                    <a:pt x="67" y="366"/>
                  </a:cubicBezTo>
                  <a:cubicBezTo>
                    <a:pt x="67" y="360"/>
                    <a:pt x="67" y="360"/>
                    <a:pt x="62" y="363"/>
                  </a:cubicBezTo>
                  <a:close/>
                  <a:moveTo>
                    <a:pt x="64" y="335"/>
                  </a:moveTo>
                  <a:cubicBezTo>
                    <a:pt x="64" y="338"/>
                    <a:pt x="67" y="338"/>
                    <a:pt x="67" y="340"/>
                  </a:cubicBezTo>
                  <a:lnTo>
                    <a:pt x="67" y="335"/>
                  </a:lnTo>
                  <a:lnTo>
                    <a:pt x="64" y="335"/>
                  </a:lnTo>
                  <a:close/>
                  <a:moveTo>
                    <a:pt x="67" y="357"/>
                  </a:moveTo>
                  <a:cubicBezTo>
                    <a:pt x="70" y="355"/>
                    <a:pt x="73" y="355"/>
                    <a:pt x="73" y="352"/>
                  </a:cubicBezTo>
                  <a:cubicBezTo>
                    <a:pt x="73" y="352"/>
                    <a:pt x="73" y="355"/>
                    <a:pt x="76" y="355"/>
                  </a:cubicBezTo>
                  <a:lnTo>
                    <a:pt x="79" y="355"/>
                  </a:lnTo>
                  <a:lnTo>
                    <a:pt x="76" y="349"/>
                  </a:lnTo>
                  <a:lnTo>
                    <a:pt x="76" y="346"/>
                  </a:lnTo>
                  <a:lnTo>
                    <a:pt x="76" y="343"/>
                  </a:lnTo>
                  <a:lnTo>
                    <a:pt x="73" y="346"/>
                  </a:lnTo>
                  <a:lnTo>
                    <a:pt x="70" y="346"/>
                  </a:lnTo>
                  <a:cubicBezTo>
                    <a:pt x="73" y="343"/>
                    <a:pt x="73" y="340"/>
                    <a:pt x="73" y="338"/>
                  </a:cubicBezTo>
                  <a:cubicBezTo>
                    <a:pt x="67" y="340"/>
                    <a:pt x="64" y="343"/>
                    <a:pt x="64" y="346"/>
                  </a:cubicBezTo>
                  <a:cubicBezTo>
                    <a:pt x="67" y="349"/>
                    <a:pt x="67" y="355"/>
                    <a:pt x="67" y="357"/>
                  </a:cubicBezTo>
                  <a:close/>
                  <a:moveTo>
                    <a:pt x="73" y="377"/>
                  </a:moveTo>
                  <a:cubicBezTo>
                    <a:pt x="70" y="377"/>
                    <a:pt x="70" y="377"/>
                    <a:pt x="67" y="380"/>
                  </a:cubicBezTo>
                  <a:cubicBezTo>
                    <a:pt x="70" y="380"/>
                    <a:pt x="73" y="380"/>
                    <a:pt x="73" y="377"/>
                  </a:cubicBezTo>
                  <a:close/>
                  <a:moveTo>
                    <a:pt x="70" y="307"/>
                  </a:moveTo>
                  <a:lnTo>
                    <a:pt x="67" y="309"/>
                  </a:lnTo>
                  <a:cubicBezTo>
                    <a:pt x="70" y="309"/>
                    <a:pt x="70" y="309"/>
                    <a:pt x="70" y="307"/>
                  </a:cubicBezTo>
                  <a:close/>
                  <a:moveTo>
                    <a:pt x="70" y="307"/>
                  </a:moveTo>
                  <a:cubicBezTo>
                    <a:pt x="70" y="309"/>
                    <a:pt x="67" y="309"/>
                    <a:pt x="70" y="307"/>
                  </a:cubicBezTo>
                  <a:close/>
                  <a:moveTo>
                    <a:pt x="76" y="374"/>
                  </a:moveTo>
                  <a:lnTo>
                    <a:pt x="73" y="366"/>
                  </a:lnTo>
                  <a:lnTo>
                    <a:pt x="73" y="363"/>
                  </a:lnTo>
                  <a:lnTo>
                    <a:pt x="70" y="363"/>
                  </a:lnTo>
                  <a:lnTo>
                    <a:pt x="70" y="371"/>
                  </a:lnTo>
                  <a:cubicBezTo>
                    <a:pt x="70" y="371"/>
                    <a:pt x="73" y="371"/>
                    <a:pt x="76" y="374"/>
                  </a:cubicBezTo>
                  <a:close/>
                  <a:moveTo>
                    <a:pt x="81" y="397"/>
                  </a:moveTo>
                  <a:lnTo>
                    <a:pt x="76" y="388"/>
                  </a:lnTo>
                  <a:lnTo>
                    <a:pt x="76" y="383"/>
                  </a:lnTo>
                  <a:cubicBezTo>
                    <a:pt x="67" y="388"/>
                    <a:pt x="73" y="394"/>
                    <a:pt x="76" y="397"/>
                  </a:cubicBezTo>
                  <a:cubicBezTo>
                    <a:pt x="76" y="400"/>
                    <a:pt x="76" y="400"/>
                    <a:pt x="73" y="403"/>
                  </a:cubicBezTo>
                  <a:cubicBezTo>
                    <a:pt x="76" y="400"/>
                    <a:pt x="79" y="400"/>
                    <a:pt x="81" y="397"/>
                  </a:cubicBezTo>
                  <a:close/>
                  <a:moveTo>
                    <a:pt x="76" y="371"/>
                  </a:moveTo>
                  <a:lnTo>
                    <a:pt x="81" y="377"/>
                  </a:lnTo>
                  <a:lnTo>
                    <a:pt x="81" y="371"/>
                  </a:lnTo>
                  <a:lnTo>
                    <a:pt x="76" y="371"/>
                  </a:lnTo>
                  <a:close/>
                  <a:moveTo>
                    <a:pt x="81" y="383"/>
                  </a:moveTo>
                  <a:cubicBezTo>
                    <a:pt x="87" y="386"/>
                    <a:pt x="87" y="383"/>
                    <a:pt x="87" y="380"/>
                  </a:cubicBezTo>
                  <a:cubicBezTo>
                    <a:pt x="84" y="380"/>
                    <a:pt x="81" y="380"/>
                    <a:pt x="81" y="383"/>
                  </a:cubicBezTo>
                  <a:close/>
                  <a:moveTo>
                    <a:pt x="81" y="34"/>
                  </a:moveTo>
                  <a:cubicBezTo>
                    <a:pt x="81" y="34"/>
                    <a:pt x="84" y="34"/>
                    <a:pt x="81" y="34"/>
                  </a:cubicBezTo>
                  <a:lnTo>
                    <a:pt x="87" y="31"/>
                  </a:lnTo>
                  <a:lnTo>
                    <a:pt x="84" y="28"/>
                  </a:lnTo>
                  <a:lnTo>
                    <a:pt x="81" y="26"/>
                  </a:lnTo>
                  <a:lnTo>
                    <a:pt x="81" y="34"/>
                  </a:lnTo>
                  <a:close/>
                  <a:moveTo>
                    <a:pt x="87" y="400"/>
                  </a:moveTo>
                  <a:cubicBezTo>
                    <a:pt x="84" y="400"/>
                    <a:pt x="84" y="397"/>
                    <a:pt x="84" y="397"/>
                  </a:cubicBezTo>
                  <a:lnTo>
                    <a:pt x="84" y="403"/>
                  </a:lnTo>
                  <a:cubicBezTo>
                    <a:pt x="84" y="400"/>
                    <a:pt x="84" y="400"/>
                    <a:pt x="87" y="400"/>
                  </a:cubicBezTo>
                  <a:close/>
                  <a:moveTo>
                    <a:pt x="87" y="411"/>
                  </a:moveTo>
                  <a:cubicBezTo>
                    <a:pt x="90" y="411"/>
                    <a:pt x="90" y="408"/>
                    <a:pt x="90" y="405"/>
                  </a:cubicBezTo>
                  <a:lnTo>
                    <a:pt x="84" y="405"/>
                  </a:lnTo>
                  <a:lnTo>
                    <a:pt x="87" y="411"/>
                  </a:lnTo>
                  <a:close/>
                  <a:moveTo>
                    <a:pt x="95" y="445"/>
                  </a:moveTo>
                  <a:cubicBezTo>
                    <a:pt x="93" y="442"/>
                    <a:pt x="93" y="439"/>
                    <a:pt x="87" y="439"/>
                  </a:cubicBezTo>
                  <a:cubicBezTo>
                    <a:pt x="87" y="442"/>
                    <a:pt x="90" y="445"/>
                    <a:pt x="93" y="445"/>
                  </a:cubicBezTo>
                  <a:lnTo>
                    <a:pt x="95" y="445"/>
                  </a:lnTo>
                  <a:close/>
                  <a:moveTo>
                    <a:pt x="90" y="417"/>
                  </a:moveTo>
                  <a:lnTo>
                    <a:pt x="87" y="419"/>
                  </a:lnTo>
                  <a:cubicBezTo>
                    <a:pt x="90" y="419"/>
                    <a:pt x="90" y="419"/>
                    <a:pt x="90" y="417"/>
                  </a:cubicBezTo>
                  <a:close/>
                  <a:moveTo>
                    <a:pt x="90" y="40"/>
                  </a:moveTo>
                  <a:lnTo>
                    <a:pt x="95" y="37"/>
                  </a:lnTo>
                  <a:lnTo>
                    <a:pt x="90" y="31"/>
                  </a:lnTo>
                  <a:lnTo>
                    <a:pt x="90" y="40"/>
                  </a:lnTo>
                  <a:close/>
                  <a:moveTo>
                    <a:pt x="95" y="428"/>
                  </a:moveTo>
                  <a:cubicBezTo>
                    <a:pt x="98" y="428"/>
                    <a:pt x="98" y="425"/>
                    <a:pt x="98" y="425"/>
                  </a:cubicBezTo>
                  <a:lnTo>
                    <a:pt x="93" y="419"/>
                  </a:lnTo>
                  <a:cubicBezTo>
                    <a:pt x="93" y="425"/>
                    <a:pt x="93" y="428"/>
                    <a:pt x="95" y="428"/>
                  </a:cubicBezTo>
                  <a:close/>
                  <a:moveTo>
                    <a:pt x="95" y="45"/>
                  </a:moveTo>
                  <a:lnTo>
                    <a:pt x="101" y="42"/>
                  </a:lnTo>
                  <a:lnTo>
                    <a:pt x="98" y="42"/>
                  </a:lnTo>
                  <a:lnTo>
                    <a:pt x="95" y="45"/>
                  </a:lnTo>
                  <a:close/>
                  <a:moveTo>
                    <a:pt x="104" y="434"/>
                  </a:moveTo>
                  <a:cubicBezTo>
                    <a:pt x="104" y="434"/>
                    <a:pt x="107" y="431"/>
                    <a:pt x="104" y="428"/>
                  </a:cubicBezTo>
                  <a:lnTo>
                    <a:pt x="101" y="428"/>
                  </a:lnTo>
                  <a:cubicBezTo>
                    <a:pt x="98" y="428"/>
                    <a:pt x="98" y="428"/>
                    <a:pt x="95" y="431"/>
                  </a:cubicBezTo>
                  <a:lnTo>
                    <a:pt x="95" y="434"/>
                  </a:lnTo>
                  <a:cubicBezTo>
                    <a:pt x="95" y="436"/>
                    <a:pt x="95" y="436"/>
                    <a:pt x="98" y="439"/>
                  </a:cubicBezTo>
                  <a:lnTo>
                    <a:pt x="104" y="434"/>
                  </a:lnTo>
                  <a:close/>
                  <a:moveTo>
                    <a:pt x="101" y="445"/>
                  </a:moveTo>
                  <a:lnTo>
                    <a:pt x="101" y="442"/>
                  </a:lnTo>
                  <a:cubicBezTo>
                    <a:pt x="98" y="442"/>
                    <a:pt x="98" y="442"/>
                    <a:pt x="101" y="445"/>
                  </a:cubicBezTo>
                  <a:close/>
                  <a:moveTo>
                    <a:pt x="101" y="62"/>
                  </a:moveTo>
                  <a:lnTo>
                    <a:pt x="104" y="59"/>
                  </a:lnTo>
                  <a:cubicBezTo>
                    <a:pt x="104" y="59"/>
                    <a:pt x="101" y="59"/>
                    <a:pt x="101" y="62"/>
                  </a:cubicBezTo>
                  <a:close/>
                  <a:moveTo>
                    <a:pt x="101" y="48"/>
                  </a:moveTo>
                  <a:cubicBezTo>
                    <a:pt x="101" y="51"/>
                    <a:pt x="104" y="48"/>
                    <a:pt x="101" y="48"/>
                  </a:cubicBezTo>
                  <a:close/>
                  <a:moveTo>
                    <a:pt x="107" y="51"/>
                  </a:moveTo>
                  <a:cubicBezTo>
                    <a:pt x="107" y="54"/>
                    <a:pt x="104" y="54"/>
                    <a:pt x="104" y="57"/>
                  </a:cubicBezTo>
                  <a:lnTo>
                    <a:pt x="112" y="57"/>
                  </a:lnTo>
                  <a:cubicBezTo>
                    <a:pt x="110" y="54"/>
                    <a:pt x="107" y="54"/>
                    <a:pt x="107" y="51"/>
                  </a:cubicBezTo>
                  <a:close/>
                  <a:moveTo>
                    <a:pt x="107" y="442"/>
                  </a:moveTo>
                  <a:cubicBezTo>
                    <a:pt x="107" y="439"/>
                    <a:pt x="110" y="439"/>
                    <a:pt x="110" y="436"/>
                  </a:cubicBezTo>
                  <a:cubicBezTo>
                    <a:pt x="104" y="436"/>
                    <a:pt x="104" y="436"/>
                    <a:pt x="107" y="442"/>
                  </a:cubicBezTo>
                  <a:close/>
                  <a:moveTo>
                    <a:pt x="110" y="82"/>
                  </a:moveTo>
                  <a:lnTo>
                    <a:pt x="104" y="82"/>
                  </a:lnTo>
                  <a:lnTo>
                    <a:pt x="104" y="85"/>
                  </a:lnTo>
                  <a:lnTo>
                    <a:pt x="110" y="82"/>
                  </a:lnTo>
                  <a:close/>
                  <a:moveTo>
                    <a:pt x="110" y="450"/>
                  </a:moveTo>
                  <a:lnTo>
                    <a:pt x="107" y="450"/>
                  </a:lnTo>
                  <a:lnTo>
                    <a:pt x="110" y="456"/>
                  </a:lnTo>
                  <a:lnTo>
                    <a:pt x="110" y="453"/>
                  </a:lnTo>
                  <a:lnTo>
                    <a:pt x="110" y="450"/>
                  </a:lnTo>
                  <a:close/>
                  <a:moveTo>
                    <a:pt x="115" y="439"/>
                  </a:moveTo>
                  <a:cubicBezTo>
                    <a:pt x="118" y="439"/>
                    <a:pt x="118" y="439"/>
                    <a:pt x="118" y="442"/>
                  </a:cubicBezTo>
                  <a:lnTo>
                    <a:pt x="118" y="439"/>
                  </a:lnTo>
                  <a:lnTo>
                    <a:pt x="118" y="436"/>
                  </a:lnTo>
                  <a:cubicBezTo>
                    <a:pt x="115" y="436"/>
                    <a:pt x="112" y="436"/>
                    <a:pt x="112" y="434"/>
                  </a:cubicBezTo>
                  <a:cubicBezTo>
                    <a:pt x="112" y="439"/>
                    <a:pt x="115" y="439"/>
                    <a:pt x="115" y="439"/>
                  </a:cubicBezTo>
                  <a:close/>
                  <a:moveTo>
                    <a:pt x="146" y="445"/>
                  </a:moveTo>
                  <a:lnTo>
                    <a:pt x="143" y="442"/>
                  </a:lnTo>
                  <a:lnTo>
                    <a:pt x="141" y="439"/>
                  </a:lnTo>
                  <a:cubicBezTo>
                    <a:pt x="138" y="439"/>
                    <a:pt x="138" y="442"/>
                    <a:pt x="138" y="442"/>
                  </a:cubicBezTo>
                  <a:lnTo>
                    <a:pt x="132" y="439"/>
                  </a:lnTo>
                  <a:cubicBezTo>
                    <a:pt x="129" y="442"/>
                    <a:pt x="127" y="445"/>
                    <a:pt x="124" y="445"/>
                  </a:cubicBezTo>
                  <a:lnTo>
                    <a:pt x="121" y="445"/>
                  </a:lnTo>
                  <a:cubicBezTo>
                    <a:pt x="121" y="445"/>
                    <a:pt x="118" y="445"/>
                    <a:pt x="118" y="448"/>
                  </a:cubicBezTo>
                  <a:cubicBezTo>
                    <a:pt x="118" y="448"/>
                    <a:pt x="115" y="448"/>
                    <a:pt x="115" y="450"/>
                  </a:cubicBezTo>
                  <a:lnTo>
                    <a:pt x="115" y="453"/>
                  </a:lnTo>
                  <a:lnTo>
                    <a:pt x="118" y="450"/>
                  </a:lnTo>
                  <a:cubicBezTo>
                    <a:pt x="121" y="450"/>
                    <a:pt x="121" y="450"/>
                    <a:pt x="124" y="448"/>
                  </a:cubicBezTo>
                  <a:lnTo>
                    <a:pt x="127" y="448"/>
                  </a:lnTo>
                  <a:lnTo>
                    <a:pt x="127" y="456"/>
                  </a:lnTo>
                  <a:lnTo>
                    <a:pt x="129" y="450"/>
                  </a:lnTo>
                  <a:cubicBezTo>
                    <a:pt x="129" y="448"/>
                    <a:pt x="132" y="448"/>
                    <a:pt x="132" y="445"/>
                  </a:cubicBezTo>
                  <a:lnTo>
                    <a:pt x="132" y="448"/>
                  </a:lnTo>
                  <a:lnTo>
                    <a:pt x="132" y="450"/>
                  </a:lnTo>
                  <a:lnTo>
                    <a:pt x="135" y="448"/>
                  </a:lnTo>
                  <a:cubicBezTo>
                    <a:pt x="143" y="448"/>
                    <a:pt x="143" y="445"/>
                    <a:pt x="146" y="445"/>
                  </a:cubicBezTo>
                  <a:close/>
                  <a:moveTo>
                    <a:pt x="135" y="434"/>
                  </a:moveTo>
                  <a:cubicBezTo>
                    <a:pt x="135" y="431"/>
                    <a:pt x="132" y="431"/>
                    <a:pt x="132" y="428"/>
                  </a:cubicBezTo>
                  <a:cubicBezTo>
                    <a:pt x="129" y="436"/>
                    <a:pt x="132" y="434"/>
                    <a:pt x="135" y="434"/>
                  </a:cubicBezTo>
                  <a:close/>
                  <a:moveTo>
                    <a:pt x="152" y="425"/>
                  </a:moveTo>
                  <a:cubicBezTo>
                    <a:pt x="149" y="425"/>
                    <a:pt x="146" y="425"/>
                    <a:pt x="146" y="428"/>
                  </a:cubicBezTo>
                  <a:lnTo>
                    <a:pt x="143" y="434"/>
                  </a:lnTo>
                  <a:cubicBezTo>
                    <a:pt x="146" y="434"/>
                    <a:pt x="146" y="431"/>
                    <a:pt x="149" y="428"/>
                  </a:cubicBezTo>
                  <a:cubicBezTo>
                    <a:pt x="149" y="428"/>
                    <a:pt x="149" y="425"/>
                    <a:pt x="152" y="425"/>
                  </a:cubicBezTo>
                  <a:close/>
                  <a:moveTo>
                    <a:pt x="152" y="439"/>
                  </a:moveTo>
                  <a:lnTo>
                    <a:pt x="149" y="439"/>
                  </a:lnTo>
                  <a:lnTo>
                    <a:pt x="149" y="442"/>
                  </a:lnTo>
                  <a:lnTo>
                    <a:pt x="149" y="445"/>
                  </a:lnTo>
                  <a:lnTo>
                    <a:pt x="152" y="445"/>
                  </a:lnTo>
                  <a:lnTo>
                    <a:pt x="152" y="439"/>
                  </a:lnTo>
                  <a:close/>
                  <a:moveTo>
                    <a:pt x="152" y="355"/>
                  </a:moveTo>
                  <a:lnTo>
                    <a:pt x="155" y="355"/>
                  </a:lnTo>
                  <a:lnTo>
                    <a:pt x="155" y="352"/>
                  </a:lnTo>
                  <a:cubicBezTo>
                    <a:pt x="152" y="352"/>
                    <a:pt x="152" y="352"/>
                    <a:pt x="152" y="355"/>
                  </a:cubicBezTo>
                  <a:close/>
                  <a:moveTo>
                    <a:pt x="155" y="343"/>
                  </a:moveTo>
                  <a:lnTo>
                    <a:pt x="155" y="340"/>
                  </a:lnTo>
                  <a:cubicBezTo>
                    <a:pt x="152" y="340"/>
                    <a:pt x="152" y="343"/>
                    <a:pt x="155" y="343"/>
                  </a:cubicBezTo>
                  <a:close/>
                  <a:moveTo>
                    <a:pt x="152" y="391"/>
                  </a:moveTo>
                  <a:lnTo>
                    <a:pt x="158" y="391"/>
                  </a:lnTo>
                  <a:lnTo>
                    <a:pt x="160" y="394"/>
                  </a:lnTo>
                  <a:lnTo>
                    <a:pt x="160" y="391"/>
                  </a:lnTo>
                  <a:lnTo>
                    <a:pt x="160" y="388"/>
                  </a:lnTo>
                  <a:lnTo>
                    <a:pt x="158" y="388"/>
                  </a:lnTo>
                  <a:cubicBezTo>
                    <a:pt x="155" y="388"/>
                    <a:pt x="155" y="391"/>
                    <a:pt x="152" y="391"/>
                  </a:cubicBezTo>
                  <a:close/>
                  <a:moveTo>
                    <a:pt x="160" y="434"/>
                  </a:moveTo>
                  <a:cubicBezTo>
                    <a:pt x="158" y="434"/>
                    <a:pt x="158" y="431"/>
                    <a:pt x="158" y="431"/>
                  </a:cubicBezTo>
                  <a:lnTo>
                    <a:pt x="158" y="425"/>
                  </a:lnTo>
                  <a:lnTo>
                    <a:pt x="155" y="425"/>
                  </a:lnTo>
                  <a:lnTo>
                    <a:pt x="158" y="434"/>
                  </a:lnTo>
                  <a:cubicBezTo>
                    <a:pt x="155" y="434"/>
                    <a:pt x="158" y="434"/>
                    <a:pt x="160" y="434"/>
                  </a:cubicBezTo>
                  <a:close/>
                  <a:moveTo>
                    <a:pt x="160" y="408"/>
                  </a:moveTo>
                  <a:cubicBezTo>
                    <a:pt x="158" y="408"/>
                    <a:pt x="158" y="408"/>
                    <a:pt x="155" y="405"/>
                  </a:cubicBezTo>
                  <a:lnTo>
                    <a:pt x="152" y="408"/>
                  </a:lnTo>
                  <a:lnTo>
                    <a:pt x="152" y="411"/>
                  </a:lnTo>
                  <a:lnTo>
                    <a:pt x="155" y="411"/>
                  </a:lnTo>
                  <a:cubicBezTo>
                    <a:pt x="160" y="411"/>
                    <a:pt x="160" y="411"/>
                    <a:pt x="160" y="408"/>
                  </a:cubicBezTo>
                  <a:close/>
                  <a:moveTo>
                    <a:pt x="163" y="366"/>
                  </a:moveTo>
                  <a:cubicBezTo>
                    <a:pt x="160" y="366"/>
                    <a:pt x="160" y="366"/>
                    <a:pt x="158" y="363"/>
                  </a:cubicBezTo>
                  <a:lnTo>
                    <a:pt x="158" y="366"/>
                  </a:lnTo>
                  <a:lnTo>
                    <a:pt x="163" y="366"/>
                  </a:lnTo>
                  <a:close/>
                  <a:moveTo>
                    <a:pt x="160" y="377"/>
                  </a:moveTo>
                  <a:cubicBezTo>
                    <a:pt x="162" y="377"/>
                    <a:pt x="163" y="377"/>
                    <a:pt x="163" y="374"/>
                  </a:cubicBezTo>
                  <a:cubicBezTo>
                    <a:pt x="163" y="374"/>
                    <a:pt x="157" y="377"/>
                    <a:pt x="160" y="377"/>
                  </a:cubicBezTo>
                  <a:close/>
                  <a:moveTo>
                    <a:pt x="163" y="360"/>
                  </a:moveTo>
                  <a:lnTo>
                    <a:pt x="160" y="355"/>
                  </a:lnTo>
                  <a:lnTo>
                    <a:pt x="160" y="357"/>
                  </a:lnTo>
                  <a:lnTo>
                    <a:pt x="163" y="360"/>
                  </a:lnTo>
                  <a:close/>
                  <a:moveTo>
                    <a:pt x="172" y="411"/>
                  </a:moveTo>
                  <a:lnTo>
                    <a:pt x="172" y="408"/>
                  </a:lnTo>
                  <a:lnTo>
                    <a:pt x="169" y="408"/>
                  </a:lnTo>
                  <a:cubicBezTo>
                    <a:pt x="172" y="405"/>
                    <a:pt x="169" y="405"/>
                    <a:pt x="166" y="405"/>
                  </a:cubicBezTo>
                  <a:lnTo>
                    <a:pt x="163" y="405"/>
                  </a:lnTo>
                  <a:lnTo>
                    <a:pt x="163" y="411"/>
                  </a:lnTo>
                  <a:lnTo>
                    <a:pt x="169" y="411"/>
                  </a:lnTo>
                  <a:lnTo>
                    <a:pt x="169" y="417"/>
                  </a:lnTo>
                  <a:cubicBezTo>
                    <a:pt x="169" y="411"/>
                    <a:pt x="172" y="411"/>
                    <a:pt x="172" y="411"/>
                  </a:cubicBezTo>
                  <a:close/>
                  <a:moveTo>
                    <a:pt x="163" y="394"/>
                  </a:moveTo>
                  <a:cubicBezTo>
                    <a:pt x="166" y="394"/>
                    <a:pt x="166" y="394"/>
                    <a:pt x="169" y="397"/>
                  </a:cubicBezTo>
                  <a:cubicBezTo>
                    <a:pt x="169" y="394"/>
                    <a:pt x="169" y="394"/>
                    <a:pt x="163" y="39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4" name="Freeform 1455"/>
            <p:cNvSpPr>
              <a:spLocks noChangeArrowheads="1"/>
            </p:cNvSpPr>
            <p:nvPr/>
          </p:nvSpPr>
          <p:spPr bwMode="auto">
            <a:xfrm>
              <a:off x="3886200" y="2493963"/>
              <a:ext cx="74613" cy="174625"/>
            </a:xfrm>
            <a:custGeom>
              <a:avLst/>
              <a:gdLst>
                <a:gd name="T0" fmla="*/ 189 w 207"/>
                <a:gd name="T1" fmla="*/ 453 h 485"/>
                <a:gd name="T2" fmla="*/ 62 w 207"/>
                <a:gd name="T3" fmla="*/ 427 h 485"/>
                <a:gd name="T4" fmla="*/ 45 w 207"/>
                <a:gd name="T5" fmla="*/ 332 h 485"/>
                <a:gd name="T6" fmla="*/ 17 w 207"/>
                <a:gd name="T7" fmla="*/ 197 h 485"/>
                <a:gd name="T8" fmla="*/ 25 w 207"/>
                <a:gd name="T9" fmla="*/ 14 h 485"/>
                <a:gd name="T10" fmla="*/ 129 w 207"/>
                <a:gd name="T11" fmla="*/ 56 h 485"/>
                <a:gd name="T12" fmla="*/ 135 w 207"/>
                <a:gd name="T13" fmla="*/ 112 h 485"/>
                <a:gd name="T14" fmla="*/ 158 w 207"/>
                <a:gd name="T15" fmla="*/ 194 h 485"/>
                <a:gd name="T16" fmla="*/ 180 w 207"/>
                <a:gd name="T17" fmla="*/ 315 h 485"/>
                <a:gd name="T18" fmla="*/ 36 w 207"/>
                <a:gd name="T19" fmla="*/ 67 h 485"/>
                <a:gd name="T20" fmla="*/ 39 w 207"/>
                <a:gd name="T21" fmla="*/ 56 h 485"/>
                <a:gd name="T22" fmla="*/ 42 w 207"/>
                <a:gd name="T23" fmla="*/ 132 h 485"/>
                <a:gd name="T24" fmla="*/ 42 w 207"/>
                <a:gd name="T25" fmla="*/ 39 h 485"/>
                <a:gd name="T26" fmla="*/ 48 w 207"/>
                <a:gd name="T27" fmla="*/ 214 h 485"/>
                <a:gd name="T28" fmla="*/ 135 w 207"/>
                <a:gd name="T29" fmla="*/ 348 h 485"/>
                <a:gd name="T30" fmla="*/ 121 w 207"/>
                <a:gd name="T31" fmla="*/ 250 h 485"/>
                <a:gd name="T32" fmla="*/ 98 w 207"/>
                <a:gd name="T33" fmla="*/ 155 h 485"/>
                <a:gd name="T34" fmla="*/ 65 w 207"/>
                <a:gd name="T35" fmla="*/ 70 h 485"/>
                <a:gd name="T36" fmla="*/ 79 w 207"/>
                <a:gd name="T37" fmla="*/ 222 h 485"/>
                <a:gd name="T38" fmla="*/ 98 w 207"/>
                <a:gd name="T39" fmla="*/ 309 h 485"/>
                <a:gd name="T40" fmla="*/ 56 w 207"/>
                <a:gd name="T41" fmla="*/ 258 h 485"/>
                <a:gd name="T42" fmla="*/ 62 w 207"/>
                <a:gd name="T43" fmla="*/ 255 h 485"/>
                <a:gd name="T44" fmla="*/ 65 w 207"/>
                <a:gd name="T45" fmla="*/ 28 h 485"/>
                <a:gd name="T46" fmla="*/ 67 w 207"/>
                <a:gd name="T47" fmla="*/ 309 h 485"/>
                <a:gd name="T48" fmla="*/ 70 w 207"/>
                <a:gd name="T49" fmla="*/ 365 h 485"/>
                <a:gd name="T50" fmla="*/ 76 w 207"/>
                <a:gd name="T51" fmla="*/ 42 h 485"/>
                <a:gd name="T52" fmla="*/ 73 w 207"/>
                <a:gd name="T53" fmla="*/ 396 h 485"/>
                <a:gd name="T54" fmla="*/ 84 w 207"/>
                <a:gd name="T55" fmla="*/ 357 h 485"/>
                <a:gd name="T56" fmla="*/ 88 w 207"/>
                <a:gd name="T57" fmla="*/ 51 h 485"/>
                <a:gd name="T58" fmla="*/ 104 w 207"/>
                <a:gd name="T59" fmla="*/ 42 h 485"/>
                <a:gd name="T60" fmla="*/ 90 w 207"/>
                <a:gd name="T61" fmla="*/ 410 h 485"/>
                <a:gd name="T62" fmla="*/ 104 w 207"/>
                <a:gd name="T63" fmla="*/ 442 h 485"/>
                <a:gd name="T64" fmla="*/ 113 w 207"/>
                <a:gd name="T65" fmla="*/ 76 h 485"/>
                <a:gd name="T66" fmla="*/ 121 w 207"/>
                <a:gd name="T67" fmla="*/ 79 h 485"/>
                <a:gd name="T68" fmla="*/ 118 w 207"/>
                <a:gd name="T69" fmla="*/ 107 h 485"/>
                <a:gd name="T70" fmla="*/ 124 w 207"/>
                <a:gd name="T71" fmla="*/ 141 h 485"/>
                <a:gd name="T72" fmla="*/ 132 w 207"/>
                <a:gd name="T73" fmla="*/ 160 h 485"/>
                <a:gd name="T74" fmla="*/ 121 w 207"/>
                <a:gd name="T75" fmla="*/ 456 h 485"/>
                <a:gd name="T76" fmla="*/ 124 w 207"/>
                <a:gd name="T77" fmla="*/ 144 h 485"/>
                <a:gd name="T78" fmla="*/ 129 w 207"/>
                <a:gd name="T79" fmla="*/ 107 h 485"/>
                <a:gd name="T80" fmla="*/ 135 w 207"/>
                <a:gd name="T81" fmla="*/ 169 h 485"/>
                <a:gd name="T82" fmla="*/ 135 w 207"/>
                <a:gd name="T83" fmla="*/ 152 h 485"/>
                <a:gd name="T84" fmla="*/ 149 w 207"/>
                <a:gd name="T85" fmla="*/ 224 h 485"/>
                <a:gd name="T86" fmla="*/ 138 w 207"/>
                <a:gd name="T87" fmla="*/ 191 h 485"/>
                <a:gd name="T88" fmla="*/ 141 w 207"/>
                <a:gd name="T89" fmla="*/ 450 h 485"/>
                <a:gd name="T90" fmla="*/ 155 w 207"/>
                <a:gd name="T91" fmla="*/ 272 h 485"/>
                <a:gd name="T92" fmla="*/ 146 w 207"/>
                <a:gd name="T93" fmla="*/ 250 h 485"/>
                <a:gd name="T94" fmla="*/ 163 w 207"/>
                <a:gd name="T95" fmla="*/ 298 h 485"/>
                <a:gd name="T96" fmla="*/ 161 w 207"/>
                <a:gd name="T97" fmla="*/ 433 h 485"/>
                <a:gd name="T98" fmla="*/ 166 w 207"/>
                <a:gd name="T99" fmla="*/ 295 h 485"/>
                <a:gd name="T100" fmla="*/ 158 w 207"/>
                <a:gd name="T101" fmla="*/ 332 h 485"/>
                <a:gd name="T102" fmla="*/ 161 w 207"/>
                <a:gd name="T103" fmla="*/ 326 h 485"/>
                <a:gd name="T104" fmla="*/ 161 w 207"/>
                <a:gd name="T105" fmla="*/ 334 h 485"/>
                <a:gd name="T106" fmla="*/ 161 w 207"/>
                <a:gd name="T107" fmla="*/ 368 h 485"/>
                <a:gd name="T108" fmla="*/ 177 w 207"/>
                <a:gd name="T109" fmla="*/ 379 h 485"/>
                <a:gd name="T110" fmla="*/ 166 w 207"/>
                <a:gd name="T111" fmla="*/ 413 h 485"/>
                <a:gd name="T112" fmla="*/ 169 w 207"/>
                <a:gd name="T113" fmla="*/ 315 h 485"/>
                <a:gd name="T114" fmla="*/ 175 w 207"/>
                <a:gd name="T115" fmla="*/ 399 h 485"/>
                <a:gd name="T116" fmla="*/ 175 w 207"/>
                <a:gd name="T117" fmla="*/ 3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7" h="485">
                  <a:moveTo>
                    <a:pt x="197" y="343"/>
                  </a:moveTo>
                  <a:cubicBezTo>
                    <a:pt x="197" y="351"/>
                    <a:pt x="200" y="357"/>
                    <a:pt x="200" y="365"/>
                  </a:cubicBezTo>
                  <a:lnTo>
                    <a:pt x="200" y="371"/>
                  </a:lnTo>
                  <a:lnTo>
                    <a:pt x="200" y="382"/>
                  </a:lnTo>
                  <a:lnTo>
                    <a:pt x="200" y="388"/>
                  </a:lnTo>
                  <a:cubicBezTo>
                    <a:pt x="206" y="394"/>
                    <a:pt x="203" y="396"/>
                    <a:pt x="200" y="402"/>
                  </a:cubicBezTo>
                  <a:lnTo>
                    <a:pt x="200" y="416"/>
                  </a:lnTo>
                  <a:lnTo>
                    <a:pt x="200" y="430"/>
                  </a:lnTo>
                  <a:lnTo>
                    <a:pt x="200" y="436"/>
                  </a:lnTo>
                  <a:cubicBezTo>
                    <a:pt x="200" y="439"/>
                    <a:pt x="197" y="439"/>
                    <a:pt x="197" y="442"/>
                  </a:cubicBezTo>
                  <a:cubicBezTo>
                    <a:pt x="194" y="444"/>
                    <a:pt x="192" y="450"/>
                    <a:pt x="189" y="453"/>
                  </a:cubicBezTo>
                  <a:lnTo>
                    <a:pt x="180" y="464"/>
                  </a:lnTo>
                  <a:cubicBezTo>
                    <a:pt x="175" y="470"/>
                    <a:pt x="166" y="475"/>
                    <a:pt x="158" y="481"/>
                  </a:cubicBezTo>
                  <a:cubicBezTo>
                    <a:pt x="158" y="478"/>
                    <a:pt x="155" y="481"/>
                    <a:pt x="152" y="481"/>
                  </a:cubicBezTo>
                  <a:cubicBezTo>
                    <a:pt x="149" y="481"/>
                    <a:pt x="146" y="481"/>
                    <a:pt x="141" y="484"/>
                  </a:cubicBezTo>
                  <a:cubicBezTo>
                    <a:pt x="138" y="481"/>
                    <a:pt x="138" y="481"/>
                    <a:pt x="135" y="481"/>
                  </a:cubicBezTo>
                  <a:lnTo>
                    <a:pt x="129" y="481"/>
                  </a:lnTo>
                  <a:cubicBezTo>
                    <a:pt x="115" y="484"/>
                    <a:pt x="104" y="478"/>
                    <a:pt x="93" y="470"/>
                  </a:cubicBezTo>
                  <a:cubicBezTo>
                    <a:pt x="87" y="467"/>
                    <a:pt x="84" y="464"/>
                    <a:pt x="82" y="458"/>
                  </a:cubicBezTo>
                  <a:cubicBezTo>
                    <a:pt x="82" y="456"/>
                    <a:pt x="79" y="453"/>
                    <a:pt x="76" y="453"/>
                  </a:cubicBezTo>
                  <a:cubicBezTo>
                    <a:pt x="76" y="453"/>
                    <a:pt x="73" y="453"/>
                    <a:pt x="70" y="450"/>
                  </a:cubicBezTo>
                  <a:cubicBezTo>
                    <a:pt x="70" y="442"/>
                    <a:pt x="67" y="433"/>
                    <a:pt x="62" y="427"/>
                  </a:cubicBezTo>
                  <a:lnTo>
                    <a:pt x="62" y="422"/>
                  </a:lnTo>
                  <a:lnTo>
                    <a:pt x="62" y="419"/>
                  </a:lnTo>
                  <a:cubicBezTo>
                    <a:pt x="62" y="416"/>
                    <a:pt x="59" y="413"/>
                    <a:pt x="59" y="410"/>
                  </a:cubicBezTo>
                  <a:cubicBezTo>
                    <a:pt x="56" y="405"/>
                    <a:pt x="53" y="399"/>
                    <a:pt x="56" y="394"/>
                  </a:cubicBezTo>
                  <a:lnTo>
                    <a:pt x="56" y="385"/>
                  </a:lnTo>
                  <a:cubicBezTo>
                    <a:pt x="56" y="382"/>
                    <a:pt x="53" y="377"/>
                    <a:pt x="53" y="374"/>
                  </a:cubicBezTo>
                  <a:lnTo>
                    <a:pt x="48" y="368"/>
                  </a:lnTo>
                  <a:cubicBezTo>
                    <a:pt x="45" y="365"/>
                    <a:pt x="48" y="365"/>
                    <a:pt x="48" y="360"/>
                  </a:cubicBezTo>
                  <a:lnTo>
                    <a:pt x="48" y="354"/>
                  </a:lnTo>
                  <a:lnTo>
                    <a:pt x="48" y="346"/>
                  </a:lnTo>
                  <a:cubicBezTo>
                    <a:pt x="45" y="340"/>
                    <a:pt x="45" y="338"/>
                    <a:pt x="45" y="332"/>
                  </a:cubicBezTo>
                  <a:cubicBezTo>
                    <a:pt x="45" y="327"/>
                    <a:pt x="42" y="323"/>
                    <a:pt x="42" y="317"/>
                  </a:cubicBezTo>
                  <a:cubicBezTo>
                    <a:pt x="39" y="315"/>
                    <a:pt x="39" y="312"/>
                    <a:pt x="39" y="309"/>
                  </a:cubicBezTo>
                  <a:cubicBezTo>
                    <a:pt x="39" y="306"/>
                    <a:pt x="39" y="306"/>
                    <a:pt x="36" y="303"/>
                  </a:cubicBezTo>
                  <a:cubicBezTo>
                    <a:pt x="36" y="300"/>
                    <a:pt x="34" y="300"/>
                    <a:pt x="34" y="298"/>
                  </a:cubicBezTo>
                  <a:lnTo>
                    <a:pt x="34" y="292"/>
                  </a:lnTo>
                  <a:lnTo>
                    <a:pt x="31" y="269"/>
                  </a:lnTo>
                  <a:cubicBezTo>
                    <a:pt x="31" y="264"/>
                    <a:pt x="28" y="255"/>
                    <a:pt x="28" y="250"/>
                  </a:cubicBezTo>
                  <a:lnTo>
                    <a:pt x="28" y="241"/>
                  </a:lnTo>
                  <a:lnTo>
                    <a:pt x="25" y="224"/>
                  </a:lnTo>
                  <a:cubicBezTo>
                    <a:pt x="22" y="220"/>
                    <a:pt x="22" y="214"/>
                    <a:pt x="19" y="206"/>
                  </a:cubicBezTo>
                  <a:cubicBezTo>
                    <a:pt x="19" y="203"/>
                    <a:pt x="17" y="200"/>
                    <a:pt x="17" y="197"/>
                  </a:cubicBezTo>
                  <a:cubicBezTo>
                    <a:pt x="17" y="194"/>
                    <a:pt x="17" y="191"/>
                    <a:pt x="14" y="189"/>
                  </a:cubicBezTo>
                  <a:cubicBezTo>
                    <a:pt x="11" y="186"/>
                    <a:pt x="8" y="180"/>
                    <a:pt x="11" y="175"/>
                  </a:cubicBezTo>
                  <a:lnTo>
                    <a:pt x="11" y="160"/>
                  </a:lnTo>
                  <a:cubicBezTo>
                    <a:pt x="11" y="158"/>
                    <a:pt x="8" y="152"/>
                    <a:pt x="8" y="149"/>
                  </a:cubicBezTo>
                  <a:cubicBezTo>
                    <a:pt x="8" y="141"/>
                    <a:pt x="8" y="135"/>
                    <a:pt x="5" y="127"/>
                  </a:cubicBezTo>
                  <a:cubicBezTo>
                    <a:pt x="2" y="115"/>
                    <a:pt x="0" y="101"/>
                    <a:pt x="0" y="90"/>
                  </a:cubicBezTo>
                  <a:lnTo>
                    <a:pt x="0" y="65"/>
                  </a:lnTo>
                  <a:lnTo>
                    <a:pt x="0" y="56"/>
                  </a:lnTo>
                  <a:cubicBezTo>
                    <a:pt x="0" y="45"/>
                    <a:pt x="5" y="31"/>
                    <a:pt x="14" y="22"/>
                  </a:cubicBezTo>
                  <a:lnTo>
                    <a:pt x="22" y="14"/>
                  </a:lnTo>
                  <a:lnTo>
                    <a:pt x="25" y="14"/>
                  </a:lnTo>
                  <a:cubicBezTo>
                    <a:pt x="28" y="14"/>
                    <a:pt x="31" y="11"/>
                    <a:pt x="34" y="11"/>
                  </a:cubicBezTo>
                  <a:lnTo>
                    <a:pt x="42" y="8"/>
                  </a:lnTo>
                  <a:cubicBezTo>
                    <a:pt x="45" y="8"/>
                    <a:pt x="47" y="5"/>
                    <a:pt x="50" y="5"/>
                  </a:cubicBezTo>
                  <a:cubicBezTo>
                    <a:pt x="52" y="5"/>
                    <a:pt x="56" y="2"/>
                    <a:pt x="59" y="2"/>
                  </a:cubicBezTo>
                  <a:cubicBezTo>
                    <a:pt x="62" y="2"/>
                    <a:pt x="65" y="0"/>
                    <a:pt x="65" y="2"/>
                  </a:cubicBezTo>
                  <a:lnTo>
                    <a:pt x="82" y="5"/>
                  </a:lnTo>
                  <a:cubicBezTo>
                    <a:pt x="93" y="8"/>
                    <a:pt x="104" y="11"/>
                    <a:pt x="110" y="19"/>
                  </a:cubicBezTo>
                  <a:cubicBezTo>
                    <a:pt x="113" y="25"/>
                    <a:pt x="118" y="31"/>
                    <a:pt x="121" y="34"/>
                  </a:cubicBezTo>
                  <a:cubicBezTo>
                    <a:pt x="124" y="36"/>
                    <a:pt x="124" y="36"/>
                    <a:pt x="124" y="39"/>
                  </a:cubicBezTo>
                  <a:cubicBezTo>
                    <a:pt x="124" y="42"/>
                    <a:pt x="124" y="45"/>
                    <a:pt x="127" y="48"/>
                  </a:cubicBezTo>
                  <a:lnTo>
                    <a:pt x="129" y="56"/>
                  </a:lnTo>
                  <a:cubicBezTo>
                    <a:pt x="129" y="59"/>
                    <a:pt x="132" y="62"/>
                    <a:pt x="132" y="65"/>
                  </a:cubicBezTo>
                  <a:lnTo>
                    <a:pt x="132" y="70"/>
                  </a:lnTo>
                  <a:cubicBezTo>
                    <a:pt x="129" y="76"/>
                    <a:pt x="132" y="81"/>
                    <a:pt x="132" y="84"/>
                  </a:cubicBezTo>
                  <a:cubicBezTo>
                    <a:pt x="132" y="84"/>
                    <a:pt x="132" y="87"/>
                    <a:pt x="135" y="87"/>
                  </a:cubicBezTo>
                  <a:lnTo>
                    <a:pt x="135" y="93"/>
                  </a:lnTo>
                  <a:lnTo>
                    <a:pt x="135" y="96"/>
                  </a:lnTo>
                  <a:cubicBezTo>
                    <a:pt x="135" y="96"/>
                    <a:pt x="138" y="98"/>
                    <a:pt x="135" y="98"/>
                  </a:cubicBezTo>
                  <a:lnTo>
                    <a:pt x="135" y="101"/>
                  </a:lnTo>
                  <a:lnTo>
                    <a:pt x="135" y="107"/>
                  </a:lnTo>
                  <a:lnTo>
                    <a:pt x="135" y="110"/>
                  </a:lnTo>
                  <a:lnTo>
                    <a:pt x="135" y="112"/>
                  </a:lnTo>
                  <a:cubicBezTo>
                    <a:pt x="138" y="115"/>
                    <a:pt x="138" y="115"/>
                    <a:pt x="138" y="118"/>
                  </a:cubicBezTo>
                  <a:cubicBezTo>
                    <a:pt x="138" y="121"/>
                    <a:pt x="141" y="124"/>
                    <a:pt x="141" y="129"/>
                  </a:cubicBezTo>
                  <a:cubicBezTo>
                    <a:pt x="141" y="132"/>
                    <a:pt x="141" y="138"/>
                    <a:pt x="144" y="141"/>
                  </a:cubicBezTo>
                  <a:lnTo>
                    <a:pt x="144" y="144"/>
                  </a:lnTo>
                  <a:lnTo>
                    <a:pt x="144" y="146"/>
                  </a:lnTo>
                  <a:lnTo>
                    <a:pt x="146" y="149"/>
                  </a:lnTo>
                  <a:cubicBezTo>
                    <a:pt x="146" y="152"/>
                    <a:pt x="146" y="155"/>
                    <a:pt x="149" y="158"/>
                  </a:cubicBezTo>
                  <a:lnTo>
                    <a:pt x="149" y="169"/>
                  </a:lnTo>
                  <a:cubicBezTo>
                    <a:pt x="149" y="169"/>
                    <a:pt x="149" y="172"/>
                    <a:pt x="152" y="175"/>
                  </a:cubicBezTo>
                  <a:cubicBezTo>
                    <a:pt x="155" y="180"/>
                    <a:pt x="155" y="186"/>
                    <a:pt x="155" y="191"/>
                  </a:cubicBezTo>
                  <a:lnTo>
                    <a:pt x="158" y="194"/>
                  </a:lnTo>
                  <a:lnTo>
                    <a:pt x="158" y="200"/>
                  </a:lnTo>
                  <a:lnTo>
                    <a:pt x="161" y="220"/>
                  </a:lnTo>
                  <a:lnTo>
                    <a:pt x="161" y="224"/>
                  </a:lnTo>
                  <a:lnTo>
                    <a:pt x="161" y="236"/>
                  </a:lnTo>
                  <a:lnTo>
                    <a:pt x="161" y="241"/>
                  </a:lnTo>
                  <a:cubicBezTo>
                    <a:pt x="161" y="244"/>
                    <a:pt x="161" y="250"/>
                    <a:pt x="163" y="253"/>
                  </a:cubicBezTo>
                  <a:cubicBezTo>
                    <a:pt x="166" y="258"/>
                    <a:pt x="169" y="267"/>
                    <a:pt x="169" y="272"/>
                  </a:cubicBezTo>
                  <a:cubicBezTo>
                    <a:pt x="169" y="275"/>
                    <a:pt x="169" y="278"/>
                    <a:pt x="172" y="284"/>
                  </a:cubicBezTo>
                  <a:cubicBezTo>
                    <a:pt x="175" y="286"/>
                    <a:pt x="175" y="292"/>
                    <a:pt x="177" y="298"/>
                  </a:cubicBezTo>
                  <a:cubicBezTo>
                    <a:pt x="177" y="303"/>
                    <a:pt x="177" y="306"/>
                    <a:pt x="180" y="312"/>
                  </a:cubicBezTo>
                  <a:lnTo>
                    <a:pt x="180" y="315"/>
                  </a:lnTo>
                  <a:lnTo>
                    <a:pt x="180" y="320"/>
                  </a:lnTo>
                  <a:lnTo>
                    <a:pt x="180" y="323"/>
                  </a:lnTo>
                  <a:cubicBezTo>
                    <a:pt x="194" y="329"/>
                    <a:pt x="197" y="337"/>
                    <a:pt x="197" y="343"/>
                  </a:cubicBezTo>
                  <a:close/>
                  <a:moveTo>
                    <a:pt x="25" y="101"/>
                  </a:moveTo>
                  <a:cubicBezTo>
                    <a:pt x="28" y="104"/>
                    <a:pt x="28" y="104"/>
                    <a:pt x="31" y="104"/>
                  </a:cubicBezTo>
                  <a:lnTo>
                    <a:pt x="31" y="98"/>
                  </a:lnTo>
                  <a:lnTo>
                    <a:pt x="25" y="101"/>
                  </a:lnTo>
                  <a:close/>
                  <a:moveTo>
                    <a:pt x="36" y="70"/>
                  </a:moveTo>
                  <a:cubicBezTo>
                    <a:pt x="39" y="70"/>
                    <a:pt x="39" y="70"/>
                    <a:pt x="42" y="67"/>
                  </a:cubicBezTo>
                  <a:lnTo>
                    <a:pt x="39" y="67"/>
                  </a:lnTo>
                  <a:lnTo>
                    <a:pt x="36" y="67"/>
                  </a:lnTo>
                  <a:cubicBezTo>
                    <a:pt x="34" y="67"/>
                    <a:pt x="31" y="70"/>
                    <a:pt x="28" y="70"/>
                  </a:cubicBezTo>
                  <a:lnTo>
                    <a:pt x="28" y="73"/>
                  </a:lnTo>
                  <a:lnTo>
                    <a:pt x="36" y="70"/>
                  </a:lnTo>
                  <a:close/>
                  <a:moveTo>
                    <a:pt x="31" y="132"/>
                  </a:moveTo>
                  <a:lnTo>
                    <a:pt x="34" y="132"/>
                  </a:lnTo>
                  <a:cubicBezTo>
                    <a:pt x="34" y="132"/>
                    <a:pt x="34" y="129"/>
                    <a:pt x="31" y="127"/>
                  </a:cubicBezTo>
                  <a:lnTo>
                    <a:pt x="31" y="132"/>
                  </a:lnTo>
                  <a:close/>
                  <a:moveTo>
                    <a:pt x="34" y="59"/>
                  </a:moveTo>
                  <a:lnTo>
                    <a:pt x="39" y="59"/>
                  </a:lnTo>
                  <a:cubicBezTo>
                    <a:pt x="39" y="62"/>
                    <a:pt x="42" y="62"/>
                    <a:pt x="45" y="59"/>
                  </a:cubicBezTo>
                  <a:cubicBezTo>
                    <a:pt x="42" y="59"/>
                    <a:pt x="42" y="56"/>
                    <a:pt x="39" y="56"/>
                  </a:cubicBezTo>
                  <a:cubicBezTo>
                    <a:pt x="36" y="56"/>
                    <a:pt x="36" y="53"/>
                    <a:pt x="34" y="53"/>
                  </a:cubicBezTo>
                  <a:lnTo>
                    <a:pt x="34" y="59"/>
                  </a:lnTo>
                  <a:close/>
                  <a:moveTo>
                    <a:pt x="39" y="175"/>
                  </a:moveTo>
                  <a:lnTo>
                    <a:pt x="36" y="172"/>
                  </a:lnTo>
                  <a:cubicBezTo>
                    <a:pt x="34" y="175"/>
                    <a:pt x="36" y="177"/>
                    <a:pt x="39" y="175"/>
                  </a:cubicBezTo>
                  <a:close/>
                  <a:moveTo>
                    <a:pt x="36" y="48"/>
                  </a:moveTo>
                  <a:cubicBezTo>
                    <a:pt x="39" y="48"/>
                    <a:pt x="39" y="45"/>
                    <a:pt x="42" y="45"/>
                  </a:cubicBezTo>
                  <a:cubicBezTo>
                    <a:pt x="39" y="45"/>
                    <a:pt x="39" y="42"/>
                    <a:pt x="36" y="39"/>
                  </a:cubicBezTo>
                  <a:lnTo>
                    <a:pt x="36" y="48"/>
                  </a:lnTo>
                  <a:close/>
                  <a:moveTo>
                    <a:pt x="45" y="138"/>
                  </a:moveTo>
                  <a:cubicBezTo>
                    <a:pt x="45" y="138"/>
                    <a:pt x="45" y="135"/>
                    <a:pt x="42" y="132"/>
                  </a:cubicBezTo>
                  <a:lnTo>
                    <a:pt x="39" y="138"/>
                  </a:lnTo>
                  <a:lnTo>
                    <a:pt x="45" y="138"/>
                  </a:lnTo>
                  <a:close/>
                  <a:moveTo>
                    <a:pt x="42" y="186"/>
                  </a:moveTo>
                  <a:lnTo>
                    <a:pt x="45" y="186"/>
                  </a:lnTo>
                  <a:lnTo>
                    <a:pt x="45" y="183"/>
                  </a:lnTo>
                  <a:cubicBezTo>
                    <a:pt x="45" y="186"/>
                    <a:pt x="45" y="186"/>
                    <a:pt x="42" y="186"/>
                  </a:cubicBezTo>
                  <a:close/>
                  <a:moveTo>
                    <a:pt x="42" y="175"/>
                  </a:moveTo>
                  <a:lnTo>
                    <a:pt x="45" y="175"/>
                  </a:lnTo>
                  <a:lnTo>
                    <a:pt x="45" y="172"/>
                  </a:lnTo>
                  <a:lnTo>
                    <a:pt x="42" y="175"/>
                  </a:lnTo>
                  <a:close/>
                  <a:moveTo>
                    <a:pt x="42" y="39"/>
                  </a:moveTo>
                  <a:lnTo>
                    <a:pt x="45" y="42"/>
                  </a:lnTo>
                  <a:lnTo>
                    <a:pt x="48" y="42"/>
                  </a:lnTo>
                  <a:lnTo>
                    <a:pt x="45" y="39"/>
                  </a:lnTo>
                  <a:cubicBezTo>
                    <a:pt x="48" y="36"/>
                    <a:pt x="45" y="36"/>
                    <a:pt x="42" y="39"/>
                  </a:cubicBezTo>
                  <a:close/>
                  <a:moveTo>
                    <a:pt x="45" y="45"/>
                  </a:moveTo>
                  <a:cubicBezTo>
                    <a:pt x="48" y="48"/>
                    <a:pt x="48" y="50"/>
                    <a:pt x="50" y="53"/>
                  </a:cubicBezTo>
                  <a:cubicBezTo>
                    <a:pt x="53" y="50"/>
                    <a:pt x="53" y="48"/>
                    <a:pt x="56" y="42"/>
                  </a:cubicBezTo>
                  <a:lnTo>
                    <a:pt x="45" y="45"/>
                  </a:lnTo>
                  <a:close/>
                  <a:moveTo>
                    <a:pt x="53" y="211"/>
                  </a:moveTo>
                  <a:lnTo>
                    <a:pt x="48" y="211"/>
                  </a:lnTo>
                  <a:lnTo>
                    <a:pt x="48" y="214"/>
                  </a:lnTo>
                  <a:lnTo>
                    <a:pt x="50" y="214"/>
                  </a:lnTo>
                  <a:lnTo>
                    <a:pt x="53" y="211"/>
                  </a:lnTo>
                  <a:close/>
                  <a:moveTo>
                    <a:pt x="113" y="413"/>
                  </a:moveTo>
                  <a:lnTo>
                    <a:pt x="118" y="419"/>
                  </a:lnTo>
                  <a:cubicBezTo>
                    <a:pt x="121" y="422"/>
                    <a:pt x="124" y="422"/>
                    <a:pt x="124" y="425"/>
                  </a:cubicBezTo>
                  <a:lnTo>
                    <a:pt x="135" y="422"/>
                  </a:lnTo>
                  <a:cubicBezTo>
                    <a:pt x="141" y="413"/>
                    <a:pt x="144" y="402"/>
                    <a:pt x="141" y="391"/>
                  </a:cubicBezTo>
                  <a:lnTo>
                    <a:pt x="141" y="385"/>
                  </a:lnTo>
                  <a:lnTo>
                    <a:pt x="141" y="379"/>
                  </a:lnTo>
                  <a:cubicBezTo>
                    <a:pt x="141" y="368"/>
                    <a:pt x="141" y="369"/>
                    <a:pt x="138" y="363"/>
                  </a:cubicBezTo>
                  <a:cubicBezTo>
                    <a:pt x="135" y="358"/>
                    <a:pt x="135" y="351"/>
                    <a:pt x="135" y="348"/>
                  </a:cubicBezTo>
                  <a:lnTo>
                    <a:pt x="135" y="334"/>
                  </a:lnTo>
                  <a:cubicBezTo>
                    <a:pt x="132" y="332"/>
                    <a:pt x="132" y="326"/>
                    <a:pt x="132" y="323"/>
                  </a:cubicBezTo>
                  <a:cubicBezTo>
                    <a:pt x="132" y="320"/>
                    <a:pt x="132" y="315"/>
                    <a:pt x="129" y="312"/>
                  </a:cubicBezTo>
                  <a:lnTo>
                    <a:pt x="127" y="289"/>
                  </a:lnTo>
                  <a:lnTo>
                    <a:pt x="127" y="284"/>
                  </a:lnTo>
                  <a:lnTo>
                    <a:pt x="127" y="278"/>
                  </a:lnTo>
                  <a:lnTo>
                    <a:pt x="127" y="272"/>
                  </a:lnTo>
                  <a:cubicBezTo>
                    <a:pt x="127" y="269"/>
                    <a:pt x="124" y="269"/>
                    <a:pt x="124" y="267"/>
                  </a:cubicBezTo>
                  <a:lnTo>
                    <a:pt x="121" y="255"/>
                  </a:lnTo>
                  <a:lnTo>
                    <a:pt x="121" y="253"/>
                  </a:lnTo>
                  <a:lnTo>
                    <a:pt x="121" y="250"/>
                  </a:lnTo>
                  <a:lnTo>
                    <a:pt x="115" y="244"/>
                  </a:lnTo>
                  <a:lnTo>
                    <a:pt x="115" y="238"/>
                  </a:lnTo>
                  <a:lnTo>
                    <a:pt x="115" y="227"/>
                  </a:lnTo>
                  <a:lnTo>
                    <a:pt x="115" y="217"/>
                  </a:lnTo>
                  <a:cubicBezTo>
                    <a:pt x="115" y="214"/>
                    <a:pt x="115" y="208"/>
                    <a:pt x="113" y="206"/>
                  </a:cubicBezTo>
                  <a:cubicBezTo>
                    <a:pt x="110" y="203"/>
                    <a:pt x="107" y="197"/>
                    <a:pt x="107" y="194"/>
                  </a:cubicBezTo>
                  <a:lnTo>
                    <a:pt x="107" y="189"/>
                  </a:lnTo>
                  <a:lnTo>
                    <a:pt x="107" y="175"/>
                  </a:lnTo>
                  <a:lnTo>
                    <a:pt x="107" y="169"/>
                  </a:lnTo>
                  <a:cubicBezTo>
                    <a:pt x="107" y="166"/>
                    <a:pt x="107" y="166"/>
                    <a:pt x="104" y="163"/>
                  </a:cubicBezTo>
                  <a:cubicBezTo>
                    <a:pt x="104" y="160"/>
                    <a:pt x="101" y="158"/>
                    <a:pt x="98" y="155"/>
                  </a:cubicBezTo>
                  <a:cubicBezTo>
                    <a:pt x="96" y="152"/>
                    <a:pt x="96" y="149"/>
                    <a:pt x="98" y="146"/>
                  </a:cubicBezTo>
                  <a:lnTo>
                    <a:pt x="98" y="138"/>
                  </a:lnTo>
                  <a:lnTo>
                    <a:pt x="98" y="129"/>
                  </a:lnTo>
                  <a:cubicBezTo>
                    <a:pt x="101" y="127"/>
                    <a:pt x="98" y="124"/>
                    <a:pt x="98" y="121"/>
                  </a:cubicBezTo>
                  <a:cubicBezTo>
                    <a:pt x="96" y="121"/>
                    <a:pt x="96" y="118"/>
                    <a:pt x="96" y="115"/>
                  </a:cubicBezTo>
                  <a:lnTo>
                    <a:pt x="96" y="110"/>
                  </a:lnTo>
                  <a:lnTo>
                    <a:pt x="93" y="96"/>
                  </a:lnTo>
                  <a:cubicBezTo>
                    <a:pt x="93" y="90"/>
                    <a:pt x="90" y="84"/>
                    <a:pt x="87" y="79"/>
                  </a:cubicBezTo>
                  <a:cubicBezTo>
                    <a:pt x="87" y="76"/>
                    <a:pt x="84" y="76"/>
                    <a:pt x="82" y="73"/>
                  </a:cubicBezTo>
                  <a:cubicBezTo>
                    <a:pt x="79" y="73"/>
                    <a:pt x="79" y="70"/>
                    <a:pt x="76" y="67"/>
                  </a:cubicBezTo>
                  <a:lnTo>
                    <a:pt x="65" y="70"/>
                  </a:lnTo>
                  <a:lnTo>
                    <a:pt x="62" y="73"/>
                  </a:lnTo>
                  <a:lnTo>
                    <a:pt x="59" y="76"/>
                  </a:lnTo>
                  <a:cubicBezTo>
                    <a:pt x="59" y="79"/>
                    <a:pt x="59" y="84"/>
                    <a:pt x="56" y="87"/>
                  </a:cubicBezTo>
                  <a:cubicBezTo>
                    <a:pt x="53" y="93"/>
                    <a:pt x="56" y="96"/>
                    <a:pt x="59" y="101"/>
                  </a:cubicBezTo>
                  <a:lnTo>
                    <a:pt x="67" y="146"/>
                  </a:lnTo>
                  <a:lnTo>
                    <a:pt x="67" y="163"/>
                  </a:lnTo>
                  <a:cubicBezTo>
                    <a:pt x="67" y="166"/>
                    <a:pt x="67" y="169"/>
                    <a:pt x="70" y="169"/>
                  </a:cubicBezTo>
                  <a:cubicBezTo>
                    <a:pt x="73" y="175"/>
                    <a:pt x="76" y="180"/>
                    <a:pt x="73" y="183"/>
                  </a:cubicBezTo>
                  <a:cubicBezTo>
                    <a:pt x="73" y="186"/>
                    <a:pt x="73" y="191"/>
                    <a:pt x="76" y="194"/>
                  </a:cubicBezTo>
                  <a:lnTo>
                    <a:pt x="76" y="200"/>
                  </a:lnTo>
                  <a:cubicBezTo>
                    <a:pt x="79" y="206"/>
                    <a:pt x="82" y="214"/>
                    <a:pt x="79" y="222"/>
                  </a:cubicBezTo>
                  <a:cubicBezTo>
                    <a:pt x="79" y="227"/>
                    <a:pt x="79" y="233"/>
                    <a:pt x="82" y="236"/>
                  </a:cubicBezTo>
                  <a:lnTo>
                    <a:pt x="82" y="238"/>
                  </a:lnTo>
                  <a:lnTo>
                    <a:pt x="82" y="241"/>
                  </a:lnTo>
                  <a:cubicBezTo>
                    <a:pt x="82" y="244"/>
                    <a:pt x="82" y="244"/>
                    <a:pt x="84" y="247"/>
                  </a:cubicBezTo>
                  <a:cubicBezTo>
                    <a:pt x="84" y="250"/>
                    <a:pt x="87" y="255"/>
                    <a:pt x="87" y="258"/>
                  </a:cubicBezTo>
                  <a:cubicBezTo>
                    <a:pt x="87" y="261"/>
                    <a:pt x="87" y="264"/>
                    <a:pt x="90" y="264"/>
                  </a:cubicBezTo>
                  <a:cubicBezTo>
                    <a:pt x="93" y="269"/>
                    <a:pt x="93" y="275"/>
                    <a:pt x="90" y="281"/>
                  </a:cubicBezTo>
                  <a:cubicBezTo>
                    <a:pt x="93" y="284"/>
                    <a:pt x="93" y="289"/>
                    <a:pt x="96" y="292"/>
                  </a:cubicBezTo>
                  <a:lnTo>
                    <a:pt x="96" y="298"/>
                  </a:lnTo>
                  <a:lnTo>
                    <a:pt x="96" y="303"/>
                  </a:lnTo>
                  <a:cubicBezTo>
                    <a:pt x="96" y="306"/>
                    <a:pt x="98" y="306"/>
                    <a:pt x="98" y="309"/>
                  </a:cubicBezTo>
                  <a:cubicBezTo>
                    <a:pt x="98" y="315"/>
                    <a:pt x="101" y="317"/>
                    <a:pt x="101" y="320"/>
                  </a:cubicBezTo>
                  <a:lnTo>
                    <a:pt x="101" y="323"/>
                  </a:lnTo>
                  <a:lnTo>
                    <a:pt x="101" y="326"/>
                  </a:lnTo>
                  <a:cubicBezTo>
                    <a:pt x="101" y="337"/>
                    <a:pt x="101" y="348"/>
                    <a:pt x="107" y="360"/>
                  </a:cubicBezTo>
                  <a:cubicBezTo>
                    <a:pt x="107" y="363"/>
                    <a:pt x="110" y="368"/>
                    <a:pt x="110" y="371"/>
                  </a:cubicBezTo>
                  <a:lnTo>
                    <a:pt x="110" y="382"/>
                  </a:lnTo>
                  <a:cubicBezTo>
                    <a:pt x="107" y="388"/>
                    <a:pt x="110" y="394"/>
                    <a:pt x="110" y="399"/>
                  </a:cubicBezTo>
                  <a:cubicBezTo>
                    <a:pt x="113" y="402"/>
                    <a:pt x="113" y="408"/>
                    <a:pt x="113" y="410"/>
                  </a:cubicBezTo>
                  <a:cubicBezTo>
                    <a:pt x="110" y="405"/>
                    <a:pt x="113" y="410"/>
                    <a:pt x="113" y="413"/>
                  </a:cubicBezTo>
                  <a:close/>
                  <a:moveTo>
                    <a:pt x="53" y="261"/>
                  </a:moveTo>
                  <a:lnTo>
                    <a:pt x="56" y="258"/>
                  </a:lnTo>
                  <a:lnTo>
                    <a:pt x="56" y="255"/>
                  </a:lnTo>
                  <a:lnTo>
                    <a:pt x="56" y="253"/>
                  </a:lnTo>
                  <a:cubicBezTo>
                    <a:pt x="53" y="255"/>
                    <a:pt x="53" y="255"/>
                    <a:pt x="53" y="261"/>
                  </a:cubicBezTo>
                  <a:close/>
                  <a:moveTo>
                    <a:pt x="53" y="42"/>
                  </a:moveTo>
                  <a:lnTo>
                    <a:pt x="59" y="36"/>
                  </a:lnTo>
                  <a:cubicBezTo>
                    <a:pt x="53" y="36"/>
                    <a:pt x="53" y="39"/>
                    <a:pt x="53" y="42"/>
                  </a:cubicBezTo>
                  <a:close/>
                  <a:moveTo>
                    <a:pt x="59" y="267"/>
                  </a:moveTo>
                  <a:cubicBezTo>
                    <a:pt x="59" y="269"/>
                    <a:pt x="62" y="272"/>
                    <a:pt x="65" y="272"/>
                  </a:cubicBezTo>
                  <a:cubicBezTo>
                    <a:pt x="65" y="269"/>
                    <a:pt x="62" y="269"/>
                    <a:pt x="59" y="267"/>
                  </a:cubicBezTo>
                  <a:cubicBezTo>
                    <a:pt x="62" y="264"/>
                    <a:pt x="62" y="264"/>
                    <a:pt x="62" y="261"/>
                  </a:cubicBezTo>
                  <a:lnTo>
                    <a:pt x="62" y="255"/>
                  </a:lnTo>
                  <a:cubicBezTo>
                    <a:pt x="59" y="258"/>
                    <a:pt x="56" y="258"/>
                    <a:pt x="56" y="261"/>
                  </a:cubicBezTo>
                  <a:cubicBezTo>
                    <a:pt x="59" y="264"/>
                    <a:pt x="59" y="267"/>
                    <a:pt x="59" y="267"/>
                  </a:cubicBezTo>
                  <a:close/>
                  <a:moveTo>
                    <a:pt x="65" y="298"/>
                  </a:moveTo>
                  <a:cubicBezTo>
                    <a:pt x="62" y="295"/>
                    <a:pt x="62" y="298"/>
                    <a:pt x="59" y="298"/>
                  </a:cubicBezTo>
                  <a:cubicBezTo>
                    <a:pt x="65" y="300"/>
                    <a:pt x="65" y="300"/>
                    <a:pt x="65" y="298"/>
                  </a:cubicBezTo>
                  <a:close/>
                  <a:moveTo>
                    <a:pt x="62" y="31"/>
                  </a:moveTo>
                  <a:cubicBezTo>
                    <a:pt x="62" y="34"/>
                    <a:pt x="65" y="34"/>
                    <a:pt x="62" y="31"/>
                  </a:cubicBezTo>
                  <a:lnTo>
                    <a:pt x="67" y="31"/>
                  </a:lnTo>
                  <a:lnTo>
                    <a:pt x="67" y="28"/>
                  </a:lnTo>
                  <a:lnTo>
                    <a:pt x="67" y="25"/>
                  </a:lnTo>
                  <a:cubicBezTo>
                    <a:pt x="65" y="25"/>
                    <a:pt x="65" y="28"/>
                    <a:pt x="65" y="28"/>
                  </a:cubicBezTo>
                  <a:cubicBezTo>
                    <a:pt x="65" y="31"/>
                    <a:pt x="62" y="31"/>
                    <a:pt x="62" y="31"/>
                  </a:cubicBezTo>
                  <a:close/>
                  <a:moveTo>
                    <a:pt x="62" y="278"/>
                  </a:moveTo>
                  <a:cubicBezTo>
                    <a:pt x="65" y="281"/>
                    <a:pt x="65" y="281"/>
                    <a:pt x="65" y="284"/>
                  </a:cubicBezTo>
                  <a:cubicBezTo>
                    <a:pt x="67" y="286"/>
                    <a:pt x="67" y="289"/>
                    <a:pt x="67" y="292"/>
                  </a:cubicBezTo>
                  <a:cubicBezTo>
                    <a:pt x="70" y="284"/>
                    <a:pt x="70" y="281"/>
                    <a:pt x="62" y="278"/>
                  </a:cubicBezTo>
                  <a:close/>
                  <a:moveTo>
                    <a:pt x="70" y="317"/>
                  </a:moveTo>
                  <a:cubicBezTo>
                    <a:pt x="70" y="317"/>
                    <a:pt x="72" y="317"/>
                    <a:pt x="73" y="319"/>
                  </a:cubicBezTo>
                  <a:lnTo>
                    <a:pt x="70" y="306"/>
                  </a:lnTo>
                  <a:lnTo>
                    <a:pt x="67" y="306"/>
                  </a:lnTo>
                  <a:lnTo>
                    <a:pt x="65" y="306"/>
                  </a:lnTo>
                  <a:lnTo>
                    <a:pt x="67" y="309"/>
                  </a:lnTo>
                  <a:cubicBezTo>
                    <a:pt x="67" y="309"/>
                    <a:pt x="67" y="312"/>
                    <a:pt x="70" y="312"/>
                  </a:cubicBezTo>
                  <a:cubicBezTo>
                    <a:pt x="67" y="315"/>
                    <a:pt x="67" y="315"/>
                    <a:pt x="65" y="315"/>
                  </a:cubicBezTo>
                  <a:lnTo>
                    <a:pt x="70" y="317"/>
                  </a:lnTo>
                  <a:close/>
                  <a:moveTo>
                    <a:pt x="65" y="34"/>
                  </a:moveTo>
                  <a:lnTo>
                    <a:pt x="65" y="39"/>
                  </a:lnTo>
                  <a:cubicBezTo>
                    <a:pt x="67" y="39"/>
                    <a:pt x="70" y="39"/>
                    <a:pt x="73" y="42"/>
                  </a:cubicBezTo>
                  <a:lnTo>
                    <a:pt x="73" y="39"/>
                  </a:lnTo>
                  <a:cubicBezTo>
                    <a:pt x="73" y="39"/>
                    <a:pt x="70" y="36"/>
                    <a:pt x="65" y="34"/>
                  </a:cubicBezTo>
                  <a:close/>
                  <a:moveTo>
                    <a:pt x="67" y="363"/>
                  </a:moveTo>
                  <a:cubicBezTo>
                    <a:pt x="70" y="365"/>
                    <a:pt x="70" y="365"/>
                    <a:pt x="70" y="368"/>
                  </a:cubicBezTo>
                  <a:lnTo>
                    <a:pt x="70" y="365"/>
                  </a:lnTo>
                  <a:lnTo>
                    <a:pt x="67" y="363"/>
                  </a:lnTo>
                  <a:close/>
                  <a:moveTo>
                    <a:pt x="70" y="382"/>
                  </a:moveTo>
                  <a:lnTo>
                    <a:pt x="73" y="382"/>
                  </a:lnTo>
                  <a:cubicBezTo>
                    <a:pt x="73" y="379"/>
                    <a:pt x="70" y="379"/>
                    <a:pt x="70" y="382"/>
                  </a:cubicBezTo>
                  <a:close/>
                  <a:moveTo>
                    <a:pt x="70" y="34"/>
                  </a:moveTo>
                  <a:cubicBezTo>
                    <a:pt x="73" y="34"/>
                    <a:pt x="76" y="36"/>
                    <a:pt x="82" y="36"/>
                  </a:cubicBezTo>
                  <a:lnTo>
                    <a:pt x="82" y="34"/>
                  </a:lnTo>
                  <a:lnTo>
                    <a:pt x="73" y="31"/>
                  </a:lnTo>
                  <a:lnTo>
                    <a:pt x="70" y="34"/>
                  </a:lnTo>
                  <a:close/>
                  <a:moveTo>
                    <a:pt x="82" y="39"/>
                  </a:moveTo>
                  <a:lnTo>
                    <a:pt x="76" y="42"/>
                  </a:lnTo>
                  <a:cubicBezTo>
                    <a:pt x="73" y="42"/>
                    <a:pt x="73" y="45"/>
                    <a:pt x="70" y="45"/>
                  </a:cubicBezTo>
                  <a:lnTo>
                    <a:pt x="76" y="50"/>
                  </a:lnTo>
                  <a:cubicBezTo>
                    <a:pt x="76" y="48"/>
                    <a:pt x="79" y="48"/>
                    <a:pt x="79" y="45"/>
                  </a:cubicBezTo>
                  <a:cubicBezTo>
                    <a:pt x="82" y="45"/>
                    <a:pt x="82" y="42"/>
                    <a:pt x="82" y="39"/>
                  </a:cubicBezTo>
                  <a:close/>
                  <a:moveTo>
                    <a:pt x="79" y="337"/>
                  </a:moveTo>
                  <a:lnTo>
                    <a:pt x="73" y="337"/>
                  </a:lnTo>
                  <a:lnTo>
                    <a:pt x="73" y="340"/>
                  </a:lnTo>
                  <a:cubicBezTo>
                    <a:pt x="76" y="340"/>
                    <a:pt x="79" y="337"/>
                    <a:pt x="79" y="337"/>
                  </a:cubicBezTo>
                  <a:close/>
                  <a:moveTo>
                    <a:pt x="82" y="394"/>
                  </a:moveTo>
                  <a:lnTo>
                    <a:pt x="76" y="394"/>
                  </a:lnTo>
                  <a:lnTo>
                    <a:pt x="73" y="396"/>
                  </a:lnTo>
                  <a:cubicBezTo>
                    <a:pt x="73" y="399"/>
                    <a:pt x="76" y="399"/>
                    <a:pt x="76" y="402"/>
                  </a:cubicBezTo>
                  <a:cubicBezTo>
                    <a:pt x="79" y="399"/>
                    <a:pt x="82" y="396"/>
                    <a:pt x="82" y="394"/>
                  </a:cubicBezTo>
                  <a:close/>
                  <a:moveTo>
                    <a:pt x="82" y="394"/>
                  </a:moveTo>
                  <a:cubicBezTo>
                    <a:pt x="84" y="394"/>
                    <a:pt x="82" y="391"/>
                    <a:pt x="82" y="394"/>
                  </a:cubicBezTo>
                  <a:close/>
                  <a:moveTo>
                    <a:pt x="76" y="365"/>
                  </a:moveTo>
                  <a:lnTo>
                    <a:pt x="82" y="365"/>
                  </a:lnTo>
                  <a:lnTo>
                    <a:pt x="82" y="360"/>
                  </a:lnTo>
                  <a:cubicBezTo>
                    <a:pt x="82" y="360"/>
                    <a:pt x="82" y="363"/>
                    <a:pt x="79" y="363"/>
                  </a:cubicBezTo>
                  <a:cubicBezTo>
                    <a:pt x="79" y="363"/>
                    <a:pt x="79" y="365"/>
                    <a:pt x="76" y="365"/>
                  </a:cubicBezTo>
                  <a:close/>
                  <a:moveTo>
                    <a:pt x="79" y="357"/>
                  </a:moveTo>
                  <a:lnTo>
                    <a:pt x="84" y="357"/>
                  </a:lnTo>
                  <a:lnTo>
                    <a:pt x="84" y="354"/>
                  </a:lnTo>
                  <a:cubicBezTo>
                    <a:pt x="82" y="357"/>
                    <a:pt x="79" y="357"/>
                    <a:pt x="79" y="357"/>
                  </a:cubicBezTo>
                  <a:close/>
                  <a:moveTo>
                    <a:pt x="87" y="379"/>
                  </a:moveTo>
                  <a:cubicBezTo>
                    <a:pt x="87" y="377"/>
                    <a:pt x="84" y="377"/>
                    <a:pt x="84" y="377"/>
                  </a:cubicBezTo>
                  <a:lnTo>
                    <a:pt x="82" y="379"/>
                  </a:lnTo>
                  <a:lnTo>
                    <a:pt x="84" y="382"/>
                  </a:lnTo>
                  <a:lnTo>
                    <a:pt x="87" y="382"/>
                  </a:lnTo>
                  <a:lnTo>
                    <a:pt x="87" y="379"/>
                  </a:lnTo>
                  <a:close/>
                  <a:moveTo>
                    <a:pt x="93" y="42"/>
                  </a:moveTo>
                  <a:lnTo>
                    <a:pt x="90" y="48"/>
                  </a:lnTo>
                  <a:cubicBezTo>
                    <a:pt x="90" y="49"/>
                    <a:pt x="89" y="50"/>
                    <a:pt x="88" y="51"/>
                  </a:cubicBezTo>
                  <a:cubicBezTo>
                    <a:pt x="89" y="51"/>
                    <a:pt x="90" y="52"/>
                    <a:pt x="90" y="53"/>
                  </a:cubicBezTo>
                  <a:cubicBezTo>
                    <a:pt x="90" y="50"/>
                    <a:pt x="93" y="50"/>
                    <a:pt x="93" y="48"/>
                  </a:cubicBezTo>
                  <a:cubicBezTo>
                    <a:pt x="93" y="45"/>
                    <a:pt x="96" y="45"/>
                    <a:pt x="96" y="42"/>
                  </a:cubicBezTo>
                  <a:lnTo>
                    <a:pt x="93" y="42"/>
                  </a:lnTo>
                  <a:lnTo>
                    <a:pt x="90" y="37"/>
                  </a:lnTo>
                  <a:cubicBezTo>
                    <a:pt x="87" y="37"/>
                    <a:pt x="88" y="39"/>
                    <a:pt x="90" y="42"/>
                  </a:cubicBezTo>
                  <a:cubicBezTo>
                    <a:pt x="91" y="42"/>
                    <a:pt x="92" y="42"/>
                    <a:pt x="93" y="42"/>
                  </a:cubicBezTo>
                  <a:close/>
                  <a:moveTo>
                    <a:pt x="98" y="45"/>
                  </a:moveTo>
                  <a:lnTo>
                    <a:pt x="101" y="45"/>
                  </a:lnTo>
                  <a:lnTo>
                    <a:pt x="104" y="45"/>
                  </a:lnTo>
                  <a:lnTo>
                    <a:pt x="104" y="42"/>
                  </a:lnTo>
                  <a:lnTo>
                    <a:pt x="101" y="42"/>
                  </a:lnTo>
                  <a:lnTo>
                    <a:pt x="98" y="42"/>
                  </a:lnTo>
                  <a:lnTo>
                    <a:pt x="98" y="45"/>
                  </a:lnTo>
                  <a:close/>
                  <a:moveTo>
                    <a:pt x="87" y="394"/>
                  </a:moveTo>
                  <a:cubicBezTo>
                    <a:pt x="84" y="394"/>
                    <a:pt x="84" y="396"/>
                    <a:pt x="84" y="396"/>
                  </a:cubicBezTo>
                  <a:lnTo>
                    <a:pt x="87" y="394"/>
                  </a:lnTo>
                  <a:close/>
                  <a:moveTo>
                    <a:pt x="90" y="433"/>
                  </a:moveTo>
                  <a:cubicBezTo>
                    <a:pt x="90" y="430"/>
                    <a:pt x="93" y="430"/>
                    <a:pt x="93" y="430"/>
                  </a:cubicBezTo>
                  <a:lnTo>
                    <a:pt x="87" y="425"/>
                  </a:lnTo>
                  <a:cubicBezTo>
                    <a:pt x="90" y="430"/>
                    <a:pt x="90" y="430"/>
                    <a:pt x="90" y="433"/>
                  </a:cubicBezTo>
                  <a:close/>
                  <a:moveTo>
                    <a:pt x="90" y="410"/>
                  </a:moveTo>
                  <a:lnTo>
                    <a:pt x="90" y="413"/>
                  </a:lnTo>
                  <a:cubicBezTo>
                    <a:pt x="93" y="413"/>
                    <a:pt x="96" y="413"/>
                    <a:pt x="90" y="410"/>
                  </a:cubicBezTo>
                  <a:close/>
                  <a:moveTo>
                    <a:pt x="96" y="45"/>
                  </a:moveTo>
                  <a:cubicBezTo>
                    <a:pt x="96" y="48"/>
                    <a:pt x="98" y="50"/>
                    <a:pt x="98" y="50"/>
                  </a:cubicBezTo>
                  <a:lnTo>
                    <a:pt x="98" y="53"/>
                  </a:lnTo>
                  <a:lnTo>
                    <a:pt x="98" y="56"/>
                  </a:lnTo>
                  <a:cubicBezTo>
                    <a:pt x="101" y="59"/>
                    <a:pt x="104" y="62"/>
                    <a:pt x="110" y="56"/>
                  </a:cubicBezTo>
                  <a:cubicBezTo>
                    <a:pt x="107" y="53"/>
                    <a:pt x="101" y="48"/>
                    <a:pt x="96" y="45"/>
                  </a:cubicBezTo>
                  <a:close/>
                  <a:moveTo>
                    <a:pt x="110" y="433"/>
                  </a:moveTo>
                  <a:cubicBezTo>
                    <a:pt x="107" y="436"/>
                    <a:pt x="104" y="436"/>
                    <a:pt x="101" y="439"/>
                  </a:cubicBezTo>
                  <a:lnTo>
                    <a:pt x="104" y="442"/>
                  </a:lnTo>
                  <a:cubicBezTo>
                    <a:pt x="104" y="444"/>
                    <a:pt x="104" y="444"/>
                    <a:pt x="107" y="447"/>
                  </a:cubicBezTo>
                  <a:cubicBezTo>
                    <a:pt x="110" y="442"/>
                    <a:pt x="110" y="439"/>
                    <a:pt x="110" y="433"/>
                  </a:cubicBezTo>
                  <a:close/>
                  <a:moveTo>
                    <a:pt x="113" y="450"/>
                  </a:moveTo>
                  <a:lnTo>
                    <a:pt x="110" y="450"/>
                  </a:lnTo>
                  <a:cubicBezTo>
                    <a:pt x="107" y="450"/>
                    <a:pt x="107" y="450"/>
                    <a:pt x="104" y="453"/>
                  </a:cubicBezTo>
                  <a:cubicBezTo>
                    <a:pt x="107" y="453"/>
                    <a:pt x="107" y="456"/>
                    <a:pt x="110" y="456"/>
                  </a:cubicBezTo>
                  <a:cubicBezTo>
                    <a:pt x="110" y="456"/>
                    <a:pt x="110" y="453"/>
                    <a:pt x="113" y="450"/>
                  </a:cubicBezTo>
                  <a:close/>
                  <a:moveTo>
                    <a:pt x="113" y="76"/>
                  </a:moveTo>
                  <a:cubicBezTo>
                    <a:pt x="110" y="76"/>
                    <a:pt x="110" y="76"/>
                    <a:pt x="107" y="79"/>
                  </a:cubicBezTo>
                  <a:cubicBezTo>
                    <a:pt x="107" y="81"/>
                    <a:pt x="110" y="81"/>
                    <a:pt x="113" y="81"/>
                  </a:cubicBezTo>
                  <a:lnTo>
                    <a:pt x="113" y="76"/>
                  </a:lnTo>
                  <a:close/>
                  <a:moveTo>
                    <a:pt x="115" y="442"/>
                  </a:moveTo>
                  <a:lnTo>
                    <a:pt x="113" y="442"/>
                  </a:lnTo>
                  <a:cubicBezTo>
                    <a:pt x="113" y="447"/>
                    <a:pt x="113" y="450"/>
                    <a:pt x="118" y="450"/>
                  </a:cubicBezTo>
                  <a:lnTo>
                    <a:pt x="115" y="442"/>
                  </a:lnTo>
                  <a:close/>
                  <a:moveTo>
                    <a:pt x="113" y="62"/>
                  </a:moveTo>
                  <a:lnTo>
                    <a:pt x="113" y="65"/>
                  </a:lnTo>
                  <a:lnTo>
                    <a:pt x="113" y="70"/>
                  </a:lnTo>
                  <a:lnTo>
                    <a:pt x="118" y="65"/>
                  </a:lnTo>
                  <a:cubicBezTo>
                    <a:pt x="118" y="62"/>
                    <a:pt x="115" y="62"/>
                    <a:pt x="113" y="62"/>
                  </a:cubicBezTo>
                  <a:close/>
                  <a:moveTo>
                    <a:pt x="124" y="79"/>
                  </a:moveTo>
                  <a:cubicBezTo>
                    <a:pt x="123" y="79"/>
                    <a:pt x="122" y="79"/>
                    <a:pt x="121" y="79"/>
                  </a:cubicBezTo>
                  <a:lnTo>
                    <a:pt x="121" y="76"/>
                  </a:lnTo>
                  <a:cubicBezTo>
                    <a:pt x="121" y="73"/>
                    <a:pt x="118" y="73"/>
                    <a:pt x="115" y="73"/>
                  </a:cubicBezTo>
                  <a:cubicBezTo>
                    <a:pt x="117" y="75"/>
                    <a:pt x="119" y="77"/>
                    <a:pt x="120" y="79"/>
                  </a:cubicBezTo>
                  <a:cubicBezTo>
                    <a:pt x="119" y="79"/>
                    <a:pt x="117" y="80"/>
                    <a:pt x="115" y="81"/>
                  </a:cubicBezTo>
                  <a:cubicBezTo>
                    <a:pt x="118" y="84"/>
                    <a:pt x="121" y="84"/>
                    <a:pt x="124" y="84"/>
                  </a:cubicBezTo>
                  <a:lnTo>
                    <a:pt x="124" y="79"/>
                  </a:lnTo>
                  <a:close/>
                  <a:moveTo>
                    <a:pt x="120" y="79"/>
                  </a:moveTo>
                  <a:cubicBezTo>
                    <a:pt x="121" y="80"/>
                    <a:pt x="121" y="81"/>
                    <a:pt x="121" y="81"/>
                  </a:cubicBezTo>
                  <a:lnTo>
                    <a:pt x="121" y="79"/>
                  </a:lnTo>
                  <a:cubicBezTo>
                    <a:pt x="121" y="79"/>
                    <a:pt x="121" y="79"/>
                    <a:pt x="120" y="79"/>
                  </a:cubicBezTo>
                  <a:close/>
                  <a:moveTo>
                    <a:pt x="118" y="107"/>
                  </a:moveTo>
                  <a:cubicBezTo>
                    <a:pt x="118" y="110"/>
                    <a:pt x="118" y="112"/>
                    <a:pt x="115" y="115"/>
                  </a:cubicBezTo>
                  <a:lnTo>
                    <a:pt x="118" y="115"/>
                  </a:lnTo>
                  <a:lnTo>
                    <a:pt x="124" y="115"/>
                  </a:lnTo>
                  <a:lnTo>
                    <a:pt x="127" y="115"/>
                  </a:lnTo>
                  <a:lnTo>
                    <a:pt x="118" y="107"/>
                  </a:lnTo>
                  <a:cubicBezTo>
                    <a:pt x="121" y="107"/>
                    <a:pt x="124" y="104"/>
                    <a:pt x="124" y="101"/>
                  </a:cubicBezTo>
                  <a:cubicBezTo>
                    <a:pt x="121" y="104"/>
                    <a:pt x="118" y="104"/>
                    <a:pt x="118" y="107"/>
                  </a:cubicBezTo>
                  <a:close/>
                  <a:moveTo>
                    <a:pt x="118" y="129"/>
                  </a:moveTo>
                  <a:cubicBezTo>
                    <a:pt x="121" y="129"/>
                    <a:pt x="121" y="132"/>
                    <a:pt x="121" y="132"/>
                  </a:cubicBezTo>
                  <a:lnTo>
                    <a:pt x="124" y="135"/>
                  </a:lnTo>
                  <a:cubicBezTo>
                    <a:pt x="121" y="138"/>
                    <a:pt x="124" y="141"/>
                    <a:pt x="124" y="141"/>
                  </a:cubicBezTo>
                  <a:cubicBezTo>
                    <a:pt x="124" y="141"/>
                    <a:pt x="124" y="144"/>
                    <a:pt x="127" y="144"/>
                  </a:cubicBezTo>
                  <a:lnTo>
                    <a:pt x="129" y="141"/>
                  </a:lnTo>
                  <a:cubicBezTo>
                    <a:pt x="129" y="141"/>
                    <a:pt x="127" y="138"/>
                    <a:pt x="127" y="135"/>
                  </a:cubicBezTo>
                  <a:lnTo>
                    <a:pt x="127" y="124"/>
                  </a:lnTo>
                  <a:lnTo>
                    <a:pt x="124" y="124"/>
                  </a:lnTo>
                  <a:lnTo>
                    <a:pt x="118" y="129"/>
                  </a:lnTo>
                  <a:close/>
                  <a:moveTo>
                    <a:pt x="121" y="155"/>
                  </a:moveTo>
                  <a:lnTo>
                    <a:pt x="124" y="158"/>
                  </a:lnTo>
                  <a:cubicBezTo>
                    <a:pt x="124" y="158"/>
                    <a:pt x="127" y="158"/>
                    <a:pt x="127" y="160"/>
                  </a:cubicBezTo>
                  <a:lnTo>
                    <a:pt x="124" y="163"/>
                  </a:lnTo>
                  <a:cubicBezTo>
                    <a:pt x="127" y="166"/>
                    <a:pt x="129" y="163"/>
                    <a:pt x="132" y="160"/>
                  </a:cubicBezTo>
                  <a:cubicBezTo>
                    <a:pt x="129" y="160"/>
                    <a:pt x="129" y="158"/>
                    <a:pt x="129" y="158"/>
                  </a:cubicBezTo>
                  <a:cubicBezTo>
                    <a:pt x="127" y="158"/>
                    <a:pt x="127" y="155"/>
                    <a:pt x="124" y="158"/>
                  </a:cubicBezTo>
                  <a:cubicBezTo>
                    <a:pt x="127" y="152"/>
                    <a:pt x="124" y="152"/>
                    <a:pt x="121" y="155"/>
                  </a:cubicBezTo>
                  <a:close/>
                  <a:moveTo>
                    <a:pt x="141" y="461"/>
                  </a:moveTo>
                  <a:lnTo>
                    <a:pt x="138" y="458"/>
                  </a:lnTo>
                  <a:lnTo>
                    <a:pt x="132" y="458"/>
                  </a:lnTo>
                  <a:lnTo>
                    <a:pt x="132" y="453"/>
                  </a:lnTo>
                  <a:lnTo>
                    <a:pt x="127" y="453"/>
                  </a:lnTo>
                  <a:lnTo>
                    <a:pt x="124" y="453"/>
                  </a:lnTo>
                  <a:lnTo>
                    <a:pt x="118" y="453"/>
                  </a:lnTo>
                  <a:lnTo>
                    <a:pt x="121" y="456"/>
                  </a:lnTo>
                  <a:lnTo>
                    <a:pt x="121" y="461"/>
                  </a:lnTo>
                  <a:lnTo>
                    <a:pt x="121" y="467"/>
                  </a:lnTo>
                  <a:cubicBezTo>
                    <a:pt x="124" y="464"/>
                    <a:pt x="127" y="464"/>
                    <a:pt x="129" y="464"/>
                  </a:cubicBezTo>
                  <a:cubicBezTo>
                    <a:pt x="138" y="458"/>
                    <a:pt x="138" y="458"/>
                    <a:pt x="141" y="461"/>
                  </a:cubicBezTo>
                  <a:close/>
                  <a:moveTo>
                    <a:pt x="121" y="87"/>
                  </a:moveTo>
                  <a:lnTo>
                    <a:pt x="127" y="93"/>
                  </a:lnTo>
                  <a:cubicBezTo>
                    <a:pt x="129" y="93"/>
                    <a:pt x="129" y="90"/>
                    <a:pt x="129" y="90"/>
                  </a:cubicBezTo>
                  <a:cubicBezTo>
                    <a:pt x="127" y="87"/>
                    <a:pt x="127" y="84"/>
                    <a:pt x="121" y="87"/>
                  </a:cubicBezTo>
                  <a:close/>
                  <a:moveTo>
                    <a:pt x="124" y="144"/>
                  </a:moveTo>
                  <a:cubicBezTo>
                    <a:pt x="124" y="146"/>
                    <a:pt x="124" y="146"/>
                    <a:pt x="127" y="146"/>
                  </a:cubicBezTo>
                  <a:lnTo>
                    <a:pt x="124" y="144"/>
                  </a:lnTo>
                  <a:close/>
                  <a:moveTo>
                    <a:pt x="127" y="166"/>
                  </a:moveTo>
                  <a:lnTo>
                    <a:pt x="129" y="169"/>
                  </a:lnTo>
                  <a:cubicBezTo>
                    <a:pt x="129" y="166"/>
                    <a:pt x="127" y="163"/>
                    <a:pt x="127" y="166"/>
                  </a:cubicBezTo>
                  <a:close/>
                  <a:moveTo>
                    <a:pt x="127" y="121"/>
                  </a:moveTo>
                  <a:cubicBezTo>
                    <a:pt x="127" y="121"/>
                    <a:pt x="129" y="121"/>
                    <a:pt x="127" y="121"/>
                  </a:cubicBezTo>
                  <a:lnTo>
                    <a:pt x="132" y="118"/>
                  </a:lnTo>
                  <a:cubicBezTo>
                    <a:pt x="124" y="115"/>
                    <a:pt x="127" y="118"/>
                    <a:pt x="127" y="121"/>
                  </a:cubicBezTo>
                  <a:close/>
                  <a:moveTo>
                    <a:pt x="129" y="98"/>
                  </a:moveTo>
                  <a:cubicBezTo>
                    <a:pt x="127" y="98"/>
                    <a:pt x="127" y="98"/>
                    <a:pt x="127" y="101"/>
                  </a:cubicBezTo>
                  <a:cubicBezTo>
                    <a:pt x="127" y="101"/>
                    <a:pt x="129" y="101"/>
                    <a:pt x="129" y="104"/>
                  </a:cubicBezTo>
                  <a:lnTo>
                    <a:pt x="129" y="107"/>
                  </a:lnTo>
                  <a:lnTo>
                    <a:pt x="132" y="107"/>
                  </a:lnTo>
                  <a:lnTo>
                    <a:pt x="129" y="98"/>
                  </a:lnTo>
                  <a:close/>
                  <a:moveTo>
                    <a:pt x="132" y="183"/>
                  </a:moveTo>
                  <a:lnTo>
                    <a:pt x="132" y="189"/>
                  </a:lnTo>
                  <a:lnTo>
                    <a:pt x="135" y="189"/>
                  </a:lnTo>
                  <a:lnTo>
                    <a:pt x="138" y="186"/>
                  </a:lnTo>
                  <a:lnTo>
                    <a:pt x="138" y="183"/>
                  </a:lnTo>
                  <a:cubicBezTo>
                    <a:pt x="144" y="180"/>
                    <a:pt x="144" y="180"/>
                    <a:pt x="141" y="175"/>
                  </a:cubicBezTo>
                  <a:lnTo>
                    <a:pt x="132" y="183"/>
                  </a:lnTo>
                  <a:close/>
                  <a:moveTo>
                    <a:pt x="138" y="172"/>
                  </a:moveTo>
                  <a:cubicBezTo>
                    <a:pt x="138" y="172"/>
                    <a:pt x="135" y="172"/>
                    <a:pt x="135" y="169"/>
                  </a:cubicBezTo>
                  <a:lnTo>
                    <a:pt x="135" y="172"/>
                  </a:lnTo>
                  <a:lnTo>
                    <a:pt x="135" y="175"/>
                  </a:lnTo>
                  <a:cubicBezTo>
                    <a:pt x="135" y="177"/>
                    <a:pt x="138" y="175"/>
                    <a:pt x="138" y="172"/>
                  </a:cubicBezTo>
                  <a:close/>
                  <a:moveTo>
                    <a:pt x="138" y="442"/>
                  </a:moveTo>
                  <a:lnTo>
                    <a:pt x="135" y="442"/>
                  </a:lnTo>
                  <a:lnTo>
                    <a:pt x="135" y="444"/>
                  </a:lnTo>
                  <a:cubicBezTo>
                    <a:pt x="138" y="447"/>
                    <a:pt x="138" y="444"/>
                    <a:pt x="138" y="442"/>
                  </a:cubicBezTo>
                  <a:close/>
                  <a:moveTo>
                    <a:pt x="135" y="129"/>
                  </a:moveTo>
                  <a:cubicBezTo>
                    <a:pt x="135" y="132"/>
                    <a:pt x="138" y="132"/>
                    <a:pt x="135" y="129"/>
                  </a:cubicBezTo>
                  <a:close/>
                  <a:moveTo>
                    <a:pt x="141" y="149"/>
                  </a:moveTo>
                  <a:cubicBezTo>
                    <a:pt x="138" y="149"/>
                    <a:pt x="138" y="152"/>
                    <a:pt x="135" y="152"/>
                  </a:cubicBezTo>
                  <a:cubicBezTo>
                    <a:pt x="141" y="152"/>
                    <a:pt x="141" y="152"/>
                    <a:pt x="141" y="149"/>
                  </a:cubicBezTo>
                  <a:close/>
                  <a:moveTo>
                    <a:pt x="141" y="258"/>
                  </a:moveTo>
                  <a:lnTo>
                    <a:pt x="141" y="253"/>
                  </a:lnTo>
                  <a:lnTo>
                    <a:pt x="138" y="253"/>
                  </a:lnTo>
                  <a:lnTo>
                    <a:pt x="135" y="253"/>
                  </a:lnTo>
                  <a:lnTo>
                    <a:pt x="141" y="258"/>
                  </a:lnTo>
                  <a:close/>
                  <a:moveTo>
                    <a:pt x="138" y="220"/>
                  </a:moveTo>
                  <a:lnTo>
                    <a:pt x="138" y="224"/>
                  </a:lnTo>
                  <a:lnTo>
                    <a:pt x="135" y="224"/>
                  </a:lnTo>
                  <a:cubicBezTo>
                    <a:pt x="141" y="227"/>
                    <a:pt x="144" y="227"/>
                    <a:pt x="144" y="230"/>
                  </a:cubicBezTo>
                  <a:cubicBezTo>
                    <a:pt x="146" y="230"/>
                    <a:pt x="146" y="227"/>
                    <a:pt x="149" y="224"/>
                  </a:cubicBezTo>
                  <a:lnTo>
                    <a:pt x="149" y="222"/>
                  </a:lnTo>
                  <a:lnTo>
                    <a:pt x="146" y="222"/>
                  </a:lnTo>
                  <a:lnTo>
                    <a:pt x="144" y="227"/>
                  </a:lnTo>
                  <a:lnTo>
                    <a:pt x="141" y="224"/>
                  </a:lnTo>
                  <a:lnTo>
                    <a:pt x="138" y="220"/>
                  </a:lnTo>
                  <a:close/>
                  <a:moveTo>
                    <a:pt x="138" y="233"/>
                  </a:moveTo>
                  <a:lnTo>
                    <a:pt x="138" y="236"/>
                  </a:lnTo>
                  <a:lnTo>
                    <a:pt x="141" y="236"/>
                  </a:lnTo>
                  <a:cubicBezTo>
                    <a:pt x="138" y="236"/>
                    <a:pt x="138" y="236"/>
                    <a:pt x="138" y="233"/>
                  </a:cubicBezTo>
                  <a:close/>
                  <a:moveTo>
                    <a:pt x="144" y="191"/>
                  </a:moveTo>
                  <a:lnTo>
                    <a:pt x="138" y="191"/>
                  </a:lnTo>
                  <a:lnTo>
                    <a:pt x="138" y="197"/>
                  </a:lnTo>
                  <a:lnTo>
                    <a:pt x="138" y="203"/>
                  </a:lnTo>
                  <a:lnTo>
                    <a:pt x="141" y="203"/>
                  </a:lnTo>
                  <a:lnTo>
                    <a:pt x="141" y="197"/>
                  </a:lnTo>
                  <a:lnTo>
                    <a:pt x="144" y="191"/>
                  </a:lnTo>
                  <a:close/>
                  <a:moveTo>
                    <a:pt x="138" y="238"/>
                  </a:moveTo>
                  <a:cubicBezTo>
                    <a:pt x="138" y="241"/>
                    <a:pt x="141" y="241"/>
                    <a:pt x="138" y="238"/>
                  </a:cubicBezTo>
                  <a:close/>
                  <a:moveTo>
                    <a:pt x="146" y="450"/>
                  </a:moveTo>
                  <a:lnTo>
                    <a:pt x="144" y="439"/>
                  </a:lnTo>
                  <a:cubicBezTo>
                    <a:pt x="141" y="442"/>
                    <a:pt x="138" y="442"/>
                    <a:pt x="141" y="444"/>
                  </a:cubicBezTo>
                  <a:lnTo>
                    <a:pt x="141" y="450"/>
                  </a:lnTo>
                  <a:lnTo>
                    <a:pt x="146" y="450"/>
                  </a:lnTo>
                  <a:close/>
                  <a:moveTo>
                    <a:pt x="155" y="272"/>
                  </a:moveTo>
                  <a:lnTo>
                    <a:pt x="152" y="267"/>
                  </a:lnTo>
                  <a:cubicBezTo>
                    <a:pt x="152" y="264"/>
                    <a:pt x="155" y="264"/>
                    <a:pt x="155" y="264"/>
                  </a:cubicBezTo>
                  <a:cubicBezTo>
                    <a:pt x="155" y="258"/>
                    <a:pt x="152" y="255"/>
                    <a:pt x="149" y="255"/>
                  </a:cubicBezTo>
                  <a:lnTo>
                    <a:pt x="149" y="261"/>
                  </a:lnTo>
                  <a:cubicBezTo>
                    <a:pt x="149" y="261"/>
                    <a:pt x="146" y="261"/>
                    <a:pt x="146" y="258"/>
                  </a:cubicBezTo>
                  <a:lnTo>
                    <a:pt x="146" y="264"/>
                  </a:lnTo>
                  <a:lnTo>
                    <a:pt x="144" y="267"/>
                  </a:lnTo>
                  <a:cubicBezTo>
                    <a:pt x="146" y="267"/>
                    <a:pt x="149" y="269"/>
                    <a:pt x="149" y="269"/>
                  </a:cubicBezTo>
                  <a:cubicBezTo>
                    <a:pt x="149" y="272"/>
                    <a:pt x="152" y="272"/>
                    <a:pt x="155" y="272"/>
                  </a:cubicBezTo>
                  <a:close/>
                  <a:moveTo>
                    <a:pt x="144" y="220"/>
                  </a:moveTo>
                  <a:cubicBezTo>
                    <a:pt x="144" y="222"/>
                    <a:pt x="146" y="222"/>
                    <a:pt x="144" y="220"/>
                  </a:cubicBezTo>
                  <a:close/>
                  <a:moveTo>
                    <a:pt x="149" y="197"/>
                  </a:moveTo>
                  <a:cubicBezTo>
                    <a:pt x="146" y="194"/>
                    <a:pt x="146" y="197"/>
                    <a:pt x="146" y="197"/>
                  </a:cubicBezTo>
                  <a:lnTo>
                    <a:pt x="149" y="197"/>
                  </a:lnTo>
                  <a:close/>
                  <a:moveTo>
                    <a:pt x="155" y="447"/>
                  </a:moveTo>
                  <a:cubicBezTo>
                    <a:pt x="146" y="450"/>
                    <a:pt x="144" y="456"/>
                    <a:pt x="144" y="458"/>
                  </a:cubicBezTo>
                  <a:lnTo>
                    <a:pt x="146" y="458"/>
                  </a:lnTo>
                  <a:lnTo>
                    <a:pt x="146" y="453"/>
                  </a:lnTo>
                  <a:cubicBezTo>
                    <a:pt x="155" y="450"/>
                    <a:pt x="155" y="450"/>
                    <a:pt x="155" y="447"/>
                  </a:cubicBezTo>
                  <a:close/>
                  <a:moveTo>
                    <a:pt x="146" y="250"/>
                  </a:moveTo>
                  <a:lnTo>
                    <a:pt x="149" y="253"/>
                  </a:lnTo>
                  <a:cubicBezTo>
                    <a:pt x="149" y="250"/>
                    <a:pt x="152" y="250"/>
                    <a:pt x="152" y="247"/>
                  </a:cubicBezTo>
                  <a:lnTo>
                    <a:pt x="152" y="241"/>
                  </a:lnTo>
                  <a:cubicBezTo>
                    <a:pt x="152" y="244"/>
                    <a:pt x="149" y="244"/>
                    <a:pt x="149" y="244"/>
                  </a:cubicBezTo>
                  <a:lnTo>
                    <a:pt x="146" y="250"/>
                  </a:lnTo>
                  <a:close/>
                  <a:moveTo>
                    <a:pt x="155" y="306"/>
                  </a:moveTo>
                  <a:lnTo>
                    <a:pt x="166" y="309"/>
                  </a:lnTo>
                  <a:lnTo>
                    <a:pt x="166" y="315"/>
                  </a:lnTo>
                  <a:cubicBezTo>
                    <a:pt x="166" y="315"/>
                    <a:pt x="169" y="309"/>
                    <a:pt x="172" y="306"/>
                  </a:cubicBezTo>
                  <a:cubicBezTo>
                    <a:pt x="169" y="303"/>
                    <a:pt x="169" y="303"/>
                    <a:pt x="169" y="300"/>
                  </a:cubicBezTo>
                  <a:cubicBezTo>
                    <a:pt x="169" y="298"/>
                    <a:pt x="166" y="298"/>
                    <a:pt x="163" y="298"/>
                  </a:cubicBezTo>
                  <a:lnTo>
                    <a:pt x="160" y="296"/>
                  </a:lnTo>
                  <a:lnTo>
                    <a:pt x="158" y="298"/>
                  </a:lnTo>
                  <a:cubicBezTo>
                    <a:pt x="158" y="298"/>
                    <a:pt x="158" y="300"/>
                    <a:pt x="155" y="300"/>
                  </a:cubicBezTo>
                  <a:lnTo>
                    <a:pt x="161" y="300"/>
                  </a:lnTo>
                  <a:lnTo>
                    <a:pt x="161" y="303"/>
                  </a:lnTo>
                  <a:lnTo>
                    <a:pt x="155" y="303"/>
                  </a:lnTo>
                  <a:lnTo>
                    <a:pt x="155" y="306"/>
                  </a:lnTo>
                  <a:lnTo>
                    <a:pt x="149" y="306"/>
                  </a:lnTo>
                  <a:cubicBezTo>
                    <a:pt x="152" y="309"/>
                    <a:pt x="152" y="309"/>
                    <a:pt x="155" y="306"/>
                  </a:cubicBezTo>
                  <a:close/>
                  <a:moveTo>
                    <a:pt x="161" y="433"/>
                  </a:moveTo>
                  <a:cubicBezTo>
                    <a:pt x="161" y="430"/>
                    <a:pt x="158" y="430"/>
                    <a:pt x="161" y="433"/>
                  </a:cubicBezTo>
                  <a:cubicBezTo>
                    <a:pt x="158" y="433"/>
                    <a:pt x="158" y="433"/>
                    <a:pt x="158" y="436"/>
                  </a:cubicBezTo>
                  <a:lnTo>
                    <a:pt x="152" y="439"/>
                  </a:lnTo>
                  <a:cubicBezTo>
                    <a:pt x="152" y="442"/>
                    <a:pt x="155" y="442"/>
                    <a:pt x="155" y="442"/>
                  </a:cubicBezTo>
                  <a:cubicBezTo>
                    <a:pt x="155" y="439"/>
                    <a:pt x="158" y="436"/>
                    <a:pt x="161" y="436"/>
                  </a:cubicBezTo>
                  <a:cubicBezTo>
                    <a:pt x="161" y="436"/>
                    <a:pt x="163" y="436"/>
                    <a:pt x="161" y="433"/>
                  </a:cubicBezTo>
                  <a:close/>
                  <a:moveTo>
                    <a:pt x="152" y="337"/>
                  </a:moveTo>
                  <a:cubicBezTo>
                    <a:pt x="152" y="337"/>
                    <a:pt x="155" y="337"/>
                    <a:pt x="152" y="337"/>
                  </a:cubicBezTo>
                  <a:cubicBezTo>
                    <a:pt x="155" y="337"/>
                    <a:pt x="155" y="334"/>
                    <a:pt x="155" y="334"/>
                  </a:cubicBezTo>
                  <a:lnTo>
                    <a:pt x="152" y="337"/>
                  </a:lnTo>
                  <a:close/>
                  <a:moveTo>
                    <a:pt x="158" y="295"/>
                  </a:moveTo>
                  <a:lnTo>
                    <a:pt x="166" y="295"/>
                  </a:lnTo>
                  <a:lnTo>
                    <a:pt x="161" y="289"/>
                  </a:lnTo>
                  <a:cubicBezTo>
                    <a:pt x="161" y="292"/>
                    <a:pt x="158" y="292"/>
                    <a:pt x="158" y="289"/>
                  </a:cubicBezTo>
                  <a:cubicBezTo>
                    <a:pt x="155" y="289"/>
                    <a:pt x="155" y="289"/>
                    <a:pt x="155" y="292"/>
                  </a:cubicBezTo>
                  <a:lnTo>
                    <a:pt x="158" y="292"/>
                  </a:lnTo>
                  <a:lnTo>
                    <a:pt x="161" y="295"/>
                  </a:lnTo>
                  <a:lnTo>
                    <a:pt x="160" y="296"/>
                  </a:lnTo>
                  <a:lnTo>
                    <a:pt x="158" y="295"/>
                  </a:lnTo>
                  <a:close/>
                  <a:moveTo>
                    <a:pt x="158" y="332"/>
                  </a:moveTo>
                  <a:lnTo>
                    <a:pt x="158" y="326"/>
                  </a:lnTo>
                  <a:lnTo>
                    <a:pt x="155" y="326"/>
                  </a:lnTo>
                  <a:cubicBezTo>
                    <a:pt x="155" y="329"/>
                    <a:pt x="158" y="332"/>
                    <a:pt x="158" y="332"/>
                  </a:cubicBezTo>
                  <a:close/>
                  <a:moveTo>
                    <a:pt x="155" y="317"/>
                  </a:moveTo>
                  <a:lnTo>
                    <a:pt x="158" y="320"/>
                  </a:lnTo>
                  <a:lnTo>
                    <a:pt x="158" y="317"/>
                  </a:lnTo>
                  <a:lnTo>
                    <a:pt x="158" y="315"/>
                  </a:lnTo>
                  <a:cubicBezTo>
                    <a:pt x="158" y="312"/>
                    <a:pt x="155" y="312"/>
                    <a:pt x="155" y="312"/>
                  </a:cubicBezTo>
                  <a:lnTo>
                    <a:pt x="155" y="317"/>
                  </a:lnTo>
                  <a:close/>
                  <a:moveTo>
                    <a:pt x="175" y="332"/>
                  </a:moveTo>
                  <a:cubicBezTo>
                    <a:pt x="172" y="329"/>
                    <a:pt x="169" y="329"/>
                    <a:pt x="166" y="329"/>
                  </a:cubicBezTo>
                  <a:cubicBezTo>
                    <a:pt x="166" y="326"/>
                    <a:pt x="166" y="326"/>
                    <a:pt x="169" y="323"/>
                  </a:cubicBezTo>
                  <a:lnTo>
                    <a:pt x="161" y="323"/>
                  </a:lnTo>
                  <a:lnTo>
                    <a:pt x="161" y="326"/>
                  </a:lnTo>
                  <a:lnTo>
                    <a:pt x="166" y="326"/>
                  </a:lnTo>
                  <a:cubicBezTo>
                    <a:pt x="163" y="329"/>
                    <a:pt x="163" y="332"/>
                    <a:pt x="161" y="334"/>
                  </a:cubicBezTo>
                  <a:lnTo>
                    <a:pt x="161" y="340"/>
                  </a:lnTo>
                  <a:lnTo>
                    <a:pt x="161" y="343"/>
                  </a:lnTo>
                  <a:lnTo>
                    <a:pt x="158" y="343"/>
                  </a:lnTo>
                  <a:lnTo>
                    <a:pt x="158" y="351"/>
                  </a:lnTo>
                  <a:lnTo>
                    <a:pt x="161" y="351"/>
                  </a:lnTo>
                  <a:lnTo>
                    <a:pt x="163" y="348"/>
                  </a:lnTo>
                  <a:lnTo>
                    <a:pt x="166" y="340"/>
                  </a:lnTo>
                  <a:lnTo>
                    <a:pt x="163" y="337"/>
                  </a:lnTo>
                  <a:lnTo>
                    <a:pt x="161" y="334"/>
                  </a:lnTo>
                  <a:lnTo>
                    <a:pt x="166" y="334"/>
                  </a:lnTo>
                  <a:cubicBezTo>
                    <a:pt x="166" y="334"/>
                    <a:pt x="166" y="337"/>
                    <a:pt x="169" y="337"/>
                  </a:cubicBezTo>
                  <a:cubicBezTo>
                    <a:pt x="169" y="340"/>
                    <a:pt x="172" y="343"/>
                    <a:pt x="175" y="340"/>
                  </a:cubicBezTo>
                  <a:lnTo>
                    <a:pt x="177" y="340"/>
                  </a:lnTo>
                  <a:cubicBezTo>
                    <a:pt x="172" y="337"/>
                    <a:pt x="172" y="334"/>
                    <a:pt x="175" y="332"/>
                  </a:cubicBezTo>
                  <a:close/>
                  <a:moveTo>
                    <a:pt x="161" y="286"/>
                  </a:moveTo>
                  <a:cubicBezTo>
                    <a:pt x="163" y="286"/>
                    <a:pt x="163" y="286"/>
                    <a:pt x="166" y="284"/>
                  </a:cubicBezTo>
                  <a:cubicBezTo>
                    <a:pt x="166" y="281"/>
                    <a:pt x="163" y="281"/>
                    <a:pt x="161" y="281"/>
                  </a:cubicBezTo>
                  <a:lnTo>
                    <a:pt x="161" y="286"/>
                  </a:lnTo>
                  <a:close/>
                  <a:moveTo>
                    <a:pt x="163" y="363"/>
                  </a:moveTo>
                  <a:cubicBezTo>
                    <a:pt x="163" y="365"/>
                    <a:pt x="161" y="368"/>
                    <a:pt x="161" y="368"/>
                  </a:cubicBezTo>
                  <a:cubicBezTo>
                    <a:pt x="163" y="368"/>
                    <a:pt x="163" y="368"/>
                    <a:pt x="163" y="371"/>
                  </a:cubicBezTo>
                  <a:lnTo>
                    <a:pt x="163" y="374"/>
                  </a:lnTo>
                  <a:lnTo>
                    <a:pt x="163" y="377"/>
                  </a:lnTo>
                  <a:cubicBezTo>
                    <a:pt x="163" y="379"/>
                    <a:pt x="163" y="379"/>
                    <a:pt x="166" y="379"/>
                  </a:cubicBezTo>
                  <a:cubicBezTo>
                    <a:pt x="163" y="379"/>
                    <a:pt x="163" y="382"/>
                    <a:pt x="163" y="385"/>
                  </a:cubicBezTo>
                  <a:lnTo>
                    <a:pt x="166" y="388"/>
                  </a:lnTo>
                  <a:cubicBezTo>
                    <a:pt x="169" y="388"/>
                    <a:pt x="169" y="388"/>
                    <a:pt x="172" y="385"/>
                  </a:cubicBezTo>
                  <a:lnTo>
                    <a:pt x="175" y="385"/>
                  </a:lnTo>
                  <a:cubicBezTo>
                    <a:pt x="175" y="382"/>
                    <a:pt x="177" y="385"/>
                    <a:pt x="177" y="388"/>
                  </a:cubicBezTo>
                  <a:lnTo>
                    <a:pt x="177" y="382"/>
                  </a:lnTo>
                  <a:lnTo>
                    <a:pt x="177" y="379"/>
                  </a:lnTo>
                  <a:lnTo>
                    <a:pt x="172" y="379"/>
                  </a:lnTo>
                  <a:lnTo>
                    <a:pt x="166" y="379"/>
                  </a:lnTo>
                  <a:lnTo>
                    <a:pt x="166" y="371"/>
                  </a:lnTo>
                  <a:cubicBezTo>
                    <a:pt x="166" y="368"/>
                    <a:pt x="166" y="365"/>
                    <a:pt x="169" y="363"/>
                  </a:cubicBezTo>
                  <a:lnTo>
                    <a:pt x="166" y="363"/>
                  </a:lnTo>
                  <a:lnTo>
                    <a:pt x="166" y="354"/>
                  </a:lnTo>
                  <a:lnTo>
                    <a:pt x="163" y="354"/>
                  </a:lnTo>
                  <a:cubicBezTo>
                    <a:pt x="166" y="357"/>
                    <a:pt x="166" y="360"/>
                    <a:pt x="163" y="363"/>
                  </a:cubicBezTo>
                  <a:close/>
                  <a:moveTo>
                    <a:pt x="163" y="408"/>
                  </a:moveTo>
                  <a:lnTo>
                    <a:pt x="163" y="413"/>
                  </a:lnTo>
                  <a:lnTo>
                    <a:pt x="166" y="413"/>
                  </a:lnTo>
                  <a:lnTo>
                    <a:pt x="163" y="408"/>
                  </a:lnTo>
                  <a:close/>
                  <a:moveTo>
                    <a:pt x="172" y="436"/>
                  </a:moveTo>
                  <a:cubicBezTo>
                    <a:pt x="169" y="436"/>
                    <a:pt x="166" y="436"/>
                    <a:pt x="163" y="433"/>
                  </a:cubicBezTo>
                  <a:cubicBezTo>
                    <a:pt x="163" y="436"/>
                    <a:pt x="166" y="436"/>
                    <a:pt x="169" y="439"/>
                  </a:cubicBezTo>
                  <a:lnTo>
                    <a:pt x="172" y="439"/>
                  </a:lnTo>
                  <a:lnTo>
                    <a:pt x="175" y="442"/>
                  </a:lnTo>
                  <a:cubicBezTo>
                    <a:pt x="175" y="440"/>
                    <a:pt x="175" y="438"/>
                    <a:pt x="176" y="436"/>
                  </a:cubicBezTo>
                  <a:cubicBezTo>
                    <a:pt x="175" y="436"/>
                    <a:pt x="173" y="436"/>
                    <a:pt x="172" y="436"/>
                  </a:cubicBezTo>
                  <a:close/>
                  <a:moveTo>
                    <a:pt x="166" y="317"/>
                  </a:moveTo>
                  <a:lnTo>
                    <a:pt x="169" y="320"/>
                  </a:lnTo>
                  <a:lnTo>
                    <a:pt x="169" y="315"/>
                  </a:lnTo>
                  <a:cubicBezTo>
                    <a:pt x="166" y="315"/>
                    <a:pt x="166" y="315"/>
                    <a:pt x="166" y="317"/>
                  </a:cubicBezTo>
                  <a:close/>
                  <a:moveTo>
                    <a:pt x="175" y="399"/>
                  </a:moveTo>
                  <a:lnTo>
                    <a:pt x="169" y="399"/>
                  </a:lnTo>
                  <a:lnTo>
                    <a:pt x="163" y="399"/>
                  </a:lnTo>
                  <a:lnTo>
                    <a:pt x="169" y="405"/>
                  </a:lnTo>
                  <a:lnTo>
                    <a:pt x="169" y="408"/>
                  </a:lnTo>
                  <a:cubicBezTo>
                    <a:pt x="169" y="408"/>
                    <a:pt x="169" y="410"/>
                    <a:pt x="166" y="410"/>
                  </a:cubicBezTo>
                  <a:cubicBezTo>
                    <a:pt x="169" y="410"/>
                    <a:pt x="169" y="408"/>
                    <a:pt x="172" y="408"/>
                  </a:cubicBezTo>
                  <a:lnTo>
                    <a:pt x="175" y="408"/>
                  </a:lnTo>
                  <a:lnTo>
                    <a:pt x="177" y="408"/>
                  </a:lnTo>
                  <a:lnTo>
                    <a:pt x="175" y="399"/>
                  </a:lnTo>
                  <a:close/>
                  <a:moveTo>
                    <a:pt x="177" y="422"/>
                  </a:moveTo>
                  <a:cubicBezTo>
                    <a:pt x="175" y="422"/>
                    <a:pt x="175" y="422"/>
                    <a:pt x="175" y="425"/>
                  </a:cubicBezTo>
                  <a:lnTo>
                    <a:pt x="177" y="427"/>
                  </a:lnTo>
                  <a:lnTo>
                    <a:pt x="175" y="427"/>
                  </a:lnTo>
                  <a:lnTo>
                    <a:pt x="172" y="427"/>
                  </a:lnTo>
                  <a:lnTo>
                    <a:pt x="172" y="430"/>
                  </a:lnTo>
                  <a:lnTo>
                    <a:pt x="172" y="433"/>
                  </a:lnTo>
                  <a:cubicBezTo>
                    <a:pt x="177" y="430"/>
                    <a:pt x="180" y="427"/>
                    <a:pt x="177" y="422"/>
                  </a:cubicBezTo>
                  <a:close/>
                  <a:moveTo>
                    <a:pt x="180" y="360"/>
                  </a:moveTo>
                  <a:cubicBezTo>
                    <a:pt x="180" y="357"/>
                    <a:pt x="177" y="357"/>
                    <a:pt x="177" y="354"/>
                  </a:cubicBezTo>
                  <a:cubicBezTo>
                    <a:pt x="175" y="357"/>
                    <a:pt x="175" y="357"/>
                    <a:pt x="175" y="360"/>
                  </a:cubicBezTo>
                  <a:lnTo>
                    <a:pt x="177" y="360"/>
                  </a:lnTo>
                  <a:lnTo>
                    <a:pt x="180" y="360"/>
                  </a:lnTo>
                  <a:close/>
                  <a:moveTo>
                    <a:pt x="177" y="374"/>
                  </a:moveTo>
                  <a:lnTo>
                    <a:pt x="177" y="368"/>
                  </a:lnTo>
                  <a:lnTo>
                    <a:pt x="175" y="368"/>
                  </a:lnTo>
                  <a:cubicBezTo>
                    <a:pt x="177" y="371"/>
                    <a:pt x="177" y="374"/>
                    <a:pt x="177" y="3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5" name="Freeform 1456"/>
            <p:cNvSpPr>
              <a:spLocks noChangeArrowheads="1"/>
            </p:cNvSpPr>
            <p:nvPr/>
          </p:nvSpPr>
          <p:spPr bwMode="auto">
            <a:xfrm>
              <a:off x="3956050" y="2482850"/>
              <a:ext cx="73025" cy="176213"/>
            </a:xfrm>
            <a:custGeom>
              <a:avLst/>
              <a:gdLst>
                <a:gd name="T0" fmla="*/ 184 w 202"/>
                <a:gd name="T1" fmla="*/ 453 h 490"/>
                <a:gd name="T2" fmla="*/ 48 w 202"/>
                <a:gd name="T3" fmla="*/ 430 h 490"/>
                <a:gd name="T4" fmla="*/ 43 w 202"/>
                <a:gd name="T5" fmla="*/ 331 h 490"/>
                <a:gd name="T6" fmla="*/ 14 w 202"/>
                <a:gd name="T7" fmla="*/ 197 h 490"/>
                <a:gd name="T8" fmla="*/ 26 w 202"/>
                <a:gd name="T9" fmla="*/ 14 h 490"/>
                <a:gd name="T10" fmla="*/ 130 w 202"/>
                <a:gd name="T11" fmla="*/ 56 h 490"/>
                <a:gd name="T12" fmla="*/ 136 w 202"/>
                <a:gd name="T13" fmla="*/ 112 h 490"/>
                <a:gd name="T14" fmla="*/ 158 w 202"/>
                <a:gd name="T15" fmla="*/ 194 h 490"/>
                <a:gd name="T16" fmla="*/ 181 w 202"/>
                <a:gd name="T17" fmla="*/ 315 h 490"/>
                <a:gd name="T18" fmla="*/ 31 w 202"/>
                <a:gd name="T19" fmla="*/ 65 h 490"/>
                <a:gd name="T20" fmla="*/ 34 w 202"/>
                <a:gd name="T21" fmla="*/ 56 h 490"/>
                <a:gd name="T22" fmla="*/ 37 w 202"/>
                <a:gd name="T23" fmla="*/ 129 h 490"/>
                <a:gd name="T24" fmla="*/ 40 w 202"/>
                <a:gd name="T25" fmla="*/ 36 h 490"/>
                <a:gd name="T26" fmla="*/ 43 w 202"/>
                <a:gd name="T27" fmla="*/ 211 h 490"/>
                <a:gd name="T28" fmla="*/ 133 w 202"/>
                <a:gd name="T29" fmla="*/ 346 h 490"/>
                <a:gd name="T30" fmla="*/ 116 w 202"/>
                <a:gd name="T31" fmla="*/ 248 h 490"/>
                <a:gd name="T32" fmla="*/ 93 w 202"/>
                <a:gd name="T33" fmla="*/ 152 h 490"/>
                <a:gd name="T34" fmla="*/ 60 w 202"/>
                <a:gd name="T35" fmla="*/ 62 h 490"/>
                <a:gd name="T36" fmla="*/ 74 w 202"/>
                <a:gd name="T37" fmla="*/ 214 h 490"/>
                <a:gd name="T38" fmla="*/ 93 w 202"/>
                <a:gd name="T39" fmla="*/ 300 h 490"/>
                <a:gd name="T40" fmla="*/ 51 w 202"/>
                <a:gd name="T41" fmla="*/ 255 h 490"/>
                <a:gd name="T42" fmla="*/ 60 w 202"/>
                <a:gd name="T43" fmla="*/ 255 h 490"/>
                <a:gd name="T44" fmla="*/ 60 w 202"/>
                <a:gd name="T45" fmla="*/ 28 h 490"/>
                <a:gd name="T46" fmla="*/ 62 w 202"/>
                <a:gd name="T47" fmla="*/ 309 h 490"/>
                <a:gd name="T48" fmla="*/ 74 w 202"/>
                <a:gd name="T49" fmla="*/ 39 h 490"/>
                <a:gd name="T50" fmla="*/ 65 w 202"/>
                <a:gd name="T51" fmla="*/ 379 h 490"/>
                <a:gd name="T52" fmla="*/ 77 w 202"/>
                <a:gd name="T53" fmla="*/ 334 h 490"/>
                <a:gd name="T54" fmla="*/ 74 w 202"/>
                <a:gd name="T55" fmla="*/ 357 h 490"/>
                <a:gd name="T56" fmla="*/ 88 w 202"/>
                <a:gd name="T57" fmla="*/ 45 h 490"/>
                <a:gd name="T58" fmla="*/ 88 w 202"/>
                <a:gd name="T59" fmla="*/ 39 h 490"/>
                <a:gd name="T60" fmla="*/ 88 w 202"/>
                <a:gd name="T61" fmla="*/ 39 h 490"/>
                <a:gd name="T62" fmla="*/ 85 w 202"/>
                <a:gd name="T63" fmla="*/ 413 h 490"/>
                <a:gd name="T64" fmla="*/ 105 w 202"/>
                <a:gd name="T65" fmla="*/ 444 h 490"/>
                <a:gd name="T66" fmla="*/ 113 w 202"/>
                <a:gd name="T67" fmla="*/ 439 h 490"/>
                <a:gd name="T68" fmla="*/ 119 w 202"/>
                <a:gd name="T69" fmla="*/ 84 h 490"/>
                <a:gd name="T70" fmla="*/ 116 w 202"/>
                <a:gd name="T71" fmla="*/ 104 h 490"/>
                <a:gd name="T72" fmla="*/ 122 w 202"/>
                <a:gd name="T73" fmla="*/ 121 h 490"/>
                <a:gd name="T74" fmla="*/ 136 w 202"/>
                <a:gd name="T75" fmla="*/ 456 h 490"/>
                <a:gd name="T76" fmla="*/ 119 w 202"/>
                <a:gd name="T77" fmla="*/ 84 h 490"/>
                <a:gd name="T78" fmla="*/ 125 w 202"/>
                <a:gd name="T79" fmla="*/ 169 h 490"/>
                <a:gd name="T80" fmla="*/ 127 w 202"/>
                <a:gd name="T81" fmla="*/ 183 h 490"/>
                <a:gd name="T82" fmla="*/ 133 w 202"/>
                <a:gd name="T83" fmla="*/ 172 h 490"/>
                <a:gd name="T84" fmla="*/ 130 w 202"/>
                <a:gd name="T85" fmla="*/ 251 h 490"/>
                <a:gd name="T86" fmla="*/ 133 w 202"/>
                <a:gd name="T87" fmla="*/ 217 h 490"/>
                <a:gd name="T88" fmla="*/ 139 w 202"/>
                <a:gd name="T89" fmla="*/ 189 h 490"/>
                <a:gd name="T90" fmla="*/ 141 w 202"/>
                <a:gd name="T91" fmla="*/ 258 h 490"/>
                <a:gd name="T92" fmla="*/ 141 w 202"/>
                <a:gd name="T93" fmla="*/ 180 h 490"/>
                <a:gd name="T94" fmla="*/ 141 w 202"/>
                <a:gd name="T95" fmla="*/ 248 h 490"/>
                <a:gd name="T96" fmla="*/ 158 w 202"/>
                <a:gd name="T97" fmla="*/ 430 h 490"/>
                <a:gd name="T98" fmla="*/ 158 w 202"/>
                <a:gd name="T99" fmla="*/ 303 h 490"/>
                <a:gd name="T100" fmla="*/ 158 w 202"/>
                <a:gd name="T101" fmla="*/ 289 h 490"/>
                <a:gd name="T102" fmla="*/ 153 w 202"/>
                <a:gd name="T103" fmla="*/ 317 h 490"/>
                <a:gd name="T104" fmla="*/ 161 w 202"/>
                <a:gd name="T105" fmla="*/ 323 h 490"/>
                <a:gd name="T106" fmla="*/ 161 w 202"/>
                <a:gd name="T107" fmla="*/ 331 h 490"/>
                <a:gd name="T108" fmla="*/ 161 w 202"/>
                <a:gd name="T109" fmla="*/ 368 h 490"/>
                <a:gd name="T110" fmla="*/ 170 w 202"/>
                <a:gd name="T111" fmla="*/ 377 h 490"/>
                <a:gd name="T112" fmla="*/ 158 w 202"/>
                <a:gd name="T113" fmla="*/ 405 h 490"/>
                <a:gd name="T114" fmla="*/ 167 w 202"/>
                <a:gd name="T115" fmla="*/ 402 h 490"/>
                <a:gd name="T116" fmla="*/ 167 w 202"/>
                <a:gd name="T117" fmla="*/ 425 h 490"/>
                <a:gd name="T118" fmla="*/ 170 w 202"/>
                <a:gd name="T119" fmla="*/ 36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2" h="490">
                  <a:moveTo>
                    <a:pt x="192" y="343"/>
                  </a:moveTo>
                  <a:cubicBezTo>
                    <a:pt x="192" y="352"/>
                    <a:pt x="195" y="357"/>
                    <a:pt x="195" y="365"/>
                  </a:cubicBezTo>
                  <a:lnTo>
                    <a:pt x="195" y="371"/>
                  </a:lnTo>
                  <a:lnTo>
                    <a:pt x="195" y="382"/>
                  </a:lnTo>
                  <a:lnTo>
                    <a:pt x="195" y="388"/>
                  </a:lnTo>
                  <a:cubicBezTo>
                    <a:pt x="201" y="394"/>
                    <a:pt x="198" y="396"/>
                    <a:pt x="195" y="402"/>
                  </a:cubicBezTo>
                  <a:lnTo>
                    <a:pt x="195" y="416"/>
                  </a:lnTo>
                  <a:lnTo>
                    <a:pt x="195" y="430"/>
                  </a:lnTo>
                  <a:lnTo>
                    <a:pt x="195" y="436"/>
                  </a:lnTo>
                  <a:cubicBezTo>
                    <a:pt x="195" y="439"/>
                    <a:pt x="192" y="439"/>
                    <a:pt x="192" y="441"/>
                  </a:cubicBezTo>
                  <a:cubicBezTo>
                    <a:pt x="189" y="444"/>
                    <a:pt x="187" y="450"/>
                    <a:pt x="184" y="453"/>
                  </a:cubicBezTo>
                  <a:lnTo>
                    <a:pt x="175" y="464"/>
                  </a:lnTo>
                  <a:cubicBezTo>
                    <a:pt x="170" y="470"/>
                    <a:pt x="161" y="475"/>
                    <a:pt x="153" y="481"/>
                  </a:cubicBezTo>
                  <a:cubicBezTo>
                    <a:pt x="150" y="484"/>
                    <a:pt x="147" y="484"/>
                    <a:pt x="141" y="484"/>
                  </a:cubicBezTo>
                  <a:cubicBezTo>
                    <a:pt x="139" y="484"/>
                    <a:pt x="136" y="484"/>
                    <a:pt x="130" y="487"/>
                  </a:cubicBezTo>
                  <a:cubicBezTo>
                    <a:pt x="127" y="484"/>
                    <a:pt x="127" y="484"/>
                    <a:pt x="125" y="484"/>
                  </a:cubicBezTo>
                  <a:cubicBezTo>
                    <a:pt x="122" y="484"/>
                    <a:pt x="122" y="487"/>
                    <a:pt x="119" y="487"/>
                  </a:cubicBezTo>
                  <a:cubicBezTo>
                    <a:pt x="105" y="489"/>
                    <a:pt x="93" y="484"/>
                    <a:pt x="82" y="475"/>
                  </a:cubicBezTo>
                  <a:cubicBezTo>
                    <a:pt x="77" y="473"/>
                    <a:pt x="74" y="470"/>
                    <a:pt x="71" y="464"/>
                  </a:cubicBezTo>
                  <a:cubicBezTo>
                    <a:pt x="71" y="461"/>
                    <a:pt x="68" y="458"/>
                    <a:pt x="65" y="458"/>
                  </a:cubicBezTo>
                  <a:cubicBezTo>
                    <a:pt x="62" y="456"/>
                    <a:pt x="60" y="456"/>
                    <a:pt x="57" y="453"/>
                  </a:cubicBezTo>
                  <a:cubicBezTo>
                    <a:pt x="57" y="444"/>
                    <a:pt x="54" y="436"/>
                    <a:pt x="48" y="430"/>
                  </a:cubicBezTo>
                  <a:lnTo>
                    <a:pt x="48" y="425"/>
                  </a:lnTo>
                  <a:lnTo>
                    <a:pt x="48" y="422"/>
                  </a:lnTo>
                  <a:cubicBezTo>
                    <a:pt x="48" y="419"/>
                    <a:pt x="46" y="416"/>
                    <a:pt x="46" y="413"/>
                  </a:cubicBezTo>
                  <a:cubicBezTo>
                    <a:pt x="48" y="405"/>
                    <a:pt x="48" y="397"/>
                    <a:pt x="48" y="394"/>
                  </a:cubicBezTo>
                  <a:cubicBezTo>
                    <a:pt x="48" y="392"/>
                    <a:pt x="48" y="388"/>
                    <a:pt x="51" y="385"/>
                  </a:cubicBezTo>
                  <a:cubicBezTo>
                    <a:pt x="51" y="382"/>
                    <a:pt x="48" y="377"/>
                    <a:pt x="48" y="374"/>
                  </a:cubicBezTo>
                  <a:lnTo>
                    <a:pt x="46" y="368"/>
                  </a:lnTo>
                  <a:cubicBezTo>
                    <a:pt x="43" y="365"/>
                    <a:pt x="46" y="365"/>
                    <a:pt x="46" y="360"/>
                  </a:cubicBezTo>
                  <a:lnTo>
                    <a:pt x="46" y="354"/>
                  </a:lnTo>
                  <a:lnTo>
                    <a:pt x="46" y="346"/>
                  </a:lnTo>
                  <a:cubicBezTo>
                    <a:pt x="43" y="340"/>
                    <a:pt x="43" y="337"/>
                    <a:pt x="43" y="331"/>
                  </a:cubicBezTo>
                  <a:cubicBezTo>
                    <a:pt x="43" y="326"/>
                    <a:pt x="40" y="323"/>
                    <a:pt x="40" y="317"/>
                  </a:cubicBezTo>
                  <a:cubicBezTo>
                    <a:pt x="37" y="315"/>
                    <a:pt x="37" y="312"/>
                    <a:pt x="37" y="309"/>
                  </a:cubicBezTo>
                  <a:cubicBezTo>
                    <a:pt x="37" y="306"/>
                    <a:pt x="37" y="306"/>
                    <a:pt x="34" y="303"/>
                  </a:cubicBezTo>
                  <a:cubicBezTo>
                    <a:pt x="34" y="300"/>
                    <a:pt x="31" y="300"/>
                    <a:pt x="31" y="298"/>
                  </a:cubicBezTo>
                  <a:lnTo>
                    <a:pt x="31" y="292"/>
                  </a:lnTo>
                  <a:lnTo>
                    <a:pt x="29" y="269"/>
                  </a:lnTo>
                  <a:cubicBezTo>
                    <a:pt x="29" y="264"/>
                    <a:pt x="26" y="255"/>
                    <a:pt x="26" y="251"/>
                  </a:cubicBezTo>
                  <a:lnTo>
                    <a:pt x="26" y="242"/>
                  </a:lnTo>
                  <a:lnTo>
                    <a:pt x="23" y="225"/>
                  </a:lnTo>
                  <a:cubicBezTo>
                    <a:pt x="20" y="220"/>
                    <a:pt x="20" y="214"/>
                    <a:pt x="17" y="206"/>
                  </a:cubicBezTo>
                  <a:cubicBezTo>
                    <a:pt x="17" y="203"/>
                    <a:pt x="14" y="200"/>
                    <a:pt x="14" y="197"/>
                  </a:cubicBezTo>
                  <a:cubicBezTo>
                    <a:pt x="14" y="194"/>
                    <a:pt x="14" y="191"/>
                    <a:pt x="12" y="189"/>
                  </a:cubicBezTo>
                  <a:cubicBezTo>
                    <a:pt x="9" y="186"/>
                    <a:pt x="6" y="180"/>
                    <a:pt x="9" y="175"/>
                  </a:cubicBezTo>
                  <a:lnTo>
                    <a:pt x="9" y="160"/>
                  </a:lnTo>
                  <a:cubicBezTo>
                    <a:pt x="9" y="158"/>
                    <a:pt x="6" y="152"/>
                    <a:pt x="9" y="149"/>
                  </a:cubicBezTo>
                  <a:cubicBezTo>
                    <a:pt x="9" y="141"/>
                    <a:pt x="9" y="135"/>
                    <a:pt x="6" y="127"/>
                  </a:cubicBezTo>
                  <a:cubicBezTo>
                    <a:pt x="3" y="115"/>
                    <a:pt x="0" y="101"/>
                    <a:pt x="0" y="90"/>
                  </a:cubicBezTo>
                  <a:lnTo>
                    <a:pt x="0" y="65"/>
                  </a:lnTo>
                  <a:lnTo>
                    <a:pt x="0" y="56"/>
                  </a:lnTo>
                  <a:cubicBezTo>
                    <a:pt x="0" y="45"/>
                    <a:pt x="6" y="31"/>
                    <a:pt x="14" y="22"/>
                  </a:cubicBezTo>
                  <a:lnTo>
                    <a:pt x="23" y="14"/>
                  </a:lnTo>
                  <a:lnTo>
                    <a:pt x="26" y="14"/>
                  </a:lnTo>
                  <a:cubicBezTo>
                    <a:pt x="29" y="14"/>
                    <a:pt x="31" y="11"/>
                    <a:pt x="34" y="11"/>
                  </a:cubicBezTo>
                  <a:lnTo>
                    <a:pt x="43" y="8"/>
                  </a:lnTo>
                  <a:cubicBezTo>
                    <a:pt x="46" y="8"/>
                    <a:pt x="48" y="5"/>
                    <a:pt x="51" y="5"/>
                  </a:cubicBezTo>
                  <a:cubicBezTo>
                    <a:pt x="54" y="5"/>
                    <a:pt x="57" y="2"/>
                    <a:pt x="60" y="2"/>
                  </a:cubicBezTo>
                  <a:cubicBezTo>
                    <a:pt x="62" y="2"/>
                    <a:pt x="65" y="0"/>
                    <a:pt x="65" y="2"/>
                  </a:cubicBezTo>
                  <a:lnTo>
                    <a:pt x="82" y="5"/>
                  </a:lnTo>
                  <a:cubicBezTo>
                    <a:pt x="93" y="8"/>
                    <a:pt x="105" y="11"/>
                    <a:pt x="110" y="19"/>
                  </a:cubicBezTo>
                  <a:cubicBezTo>
                    <a:pt x="113" y="25"/>
                    <a:pt x="119" y="30"/>
                    <a:pt x="122" y="33"/>
                  </a:cubicBezTo>
                  <a:cubicBezTo>
                    <a:pt x="125" y="35"/>
                    <a:pt x="125" y="39"/>
                    <a:pt x="125" y="39"/>
                  </a:cubicBezTo>
                  <a:cubicBezTo>
                    <a:pt x="125" y="42"/>
                    <a:pt x="125" y="45"/>
                    <a:pt x="127" y="48"/>
                  </a:cubicBezTo>
                  <a:lnTo>
                    <a:pt x="130" y="56"/>
                  </a:lnTo>
                  <a:cubicBezTo>
                    <a:pt x="130" y="59"/>
                    <a:pt x="133" y="62"/>
                    <a:pt x="133" y="65"/>
                  </a:cubicBezTo>
                  <a:lnTo>
                    <a:pt x="133" y="70"/>
                  </a:lnTo>
                  <a:cubicBezTo>
                    <a:pt x="130" y="76"/>
                    <a:pt x="133" y="81"/>
                    <a:pt x="133" y="84"/>
                  </a:cubicBezTo>
                  <a:cubicBezTo>
                    <a:pt x="133" y="84"/>
                    <a:pt x="133" y="87"/>
                    <a:pt x="136" y="87"/>
                  </a:cubicBezTo>
                  <a:lnTo>
                    <a:pt x="136" y="93"/>
                  </a:lnTo>
                  <a:lnTo>
                    <a:pt x="136" y="96"/>
                  </a:lnTo>
                  <a:cubicBezTo>
                    <a:pt x="136" y="96"/>
                    <a:pt x="139" y="98"/>
                    <a:pt x="136" y="98"/>
                  </a:cubicBezTo>
                  <a:lnTo>
                    <a:pt x="136" y="101"/>
                  </a:lnTo>
                  <a:lnTo>
                    <a:pt x="136" y="107"/>
                  </a:lnTo>
                  <a:lnTo>
                    <a:pt x="136" y="110"/>
                  </a:lnTo>
                  <a:lnTo>
                    <a:pt x="136" y="112"/>
                  </a:lnTo>
                  <a:cubicBezTo>
                    <a:pt x="139" y="115"/>
                    <a:pt x="139" y="115"/>
                    <a:pt x="139" y="118"/>
                  </a:cubicBezTo>
                  <a:cubicBezTo>
                    <a:pt x="139" y="121"/>
                    <a:pt x="141" y="124"/>
                    <a:pt x="141" y="129"/>
                  </a:cubicBezTo>
                  <a:cubicBezTo>
                    <a:pt x="141" y="132"/>
                    <a:pt x="141" y="138"/>
                    <a:pt x="144" y="141"/>
                  </a:cubicBezTo>
                  <a:lnTo>
                    <a:pt x="144" y="143"/>
                  </a:lnTo>
                  <a:lnTo>
                    <a:pt x="144" y="146"/>
                  </a:lnTo>
                  <a:lnTo>
                    <a:pt x="147" y="149"/>
                  </a:lnTo>
                  <a:cubicBezTo>
                    <a:pt x="147" y="152"/>
                    <a:pt x="147" y="155"/>
                    <a:pt x="150" y="158"/>
                  </a:cubicBezTo>
                  <a:lnTo>
                    <a:pt x="150" y="169"/>
                  </a:lnTo>
                  <a:cubicBezTo>
                    <a:pt x="150" y="169"/>
                    <a:pt x="150" y="172"/>
                    <a:pt x="153" y="175"/>
                  </a:cubicBezTo>
                  <a:cubicBezTo>
                    <a:pt x="156" y="180"/>
                    <a:pt x="156" y="186"/>
                    <a:pt x="156" y="191"/>
                  </a:cubicBezTo>
                  <a:lnTo>
                    <a:pt x="158" y="194"/>
                  </a:lnTo>
                  <a:lnTo>
                    <a:pt x="158" y="200"/>
                  </a:lnTo>
                  <a:lnTo>
                    <a:pt x="161" y="220"/>
                  </a:lnTo>
                  <a:lnTo>
                    <a:pt x="161" y="225"/>
                  </a:lnTo>
                  <a:lnTo>
                    <a:pt x="161" y="237"/>
                  </a:lnTo>
                  <a:lnTo>
                    <a:pt x="161" y="242"/>
                  </a:lnTo>
                  <a:cubicBezTo>
                    <a:pt x="161" y="245"/>
                    <a:pt x="161" y="251"/>
                    <a:pt x="164" y="254"/>
                  </a:cubicBezTo>
                  <a:cubicBezTo>
                    <a:pt x="167" y="258"/>
                    <a:pt x="170" y="267"/>
                    <a:pt x="170" y="272"/>
                  </a:cubicBezTo>
                  <a:cubicBezTo>
                    <a:pt x="170" y="275"/>
                    <a:pt x="170" y="278"/>
                    <a:pt x="172" y="284"/>
                  </a:cubicBezTo>
                  <a:cubicBezTo>
                    <a:pt x="175" y="286"/>
                    <a:pt x="175" y="292"/>
                    <a:pt x="178" y="298"/>
                  </a:cubicBezTo>
                  <a:cubicBezTo>
                    <a:pt x="178" y="303"/>
                    <a:pt x="178" y="306"/>
                    <a:pt x="181" y="312"/>
                  </a:cubicBezTo>
                  <a:lnTo>
                    <a:pt x="181" y="315"/>
                  </a:lnTo>
                  <a:lnTo>
                    <a:pt x="181" y="320"/>
                  </a:lnTo>
                  <a:lnTo>
                    <a:pt x="181" y="323"/>
                  </a:lnTo>
                  <a:cubicBezTo>
                    <a:pt x="189" y="329"/>
                    <a:pt x="192" y="335"/>
                    <a:pt x="192" y="343"/>
                  </a:cubicBezTo>
                  <a:close/>
                  <a:moveTo>
                    <a:pt x="23" y="98"/>
                  </a:moveTo>
                  <a:cubicBezTo>
                    <a:pt x="26" y="101"/>
                    <a:pt x="26" y="101"/>
                    <a:pt x="29" y="101"/>
                  </a:cubicBezTo>
                  <a:lnTo>
                    <a:pt x="29" y="96"/>
                  </a:lnTo>
                  <a:lnTo>
                    <a:pt x="23" y="98"/>
                  </a:lnTo>
                  <a:close/>
                  <a:moveTo>
                    <a:pt x="31" y="67"/>
                  </a:moveTo>
                  <a:cubicBezTo>
                    <a:pt x="34" y="67"/>
                    <a:pt x="34" y="67"/>
                    <a:pt x="37" y="65"/>
                  </a:cubicBezTo>
                  <a:lnTo>
                    <a:pt x="34" y="65"/>
                  </a:lnTo>
                  <a:lnTo>
                    <a:pt x="31" y="65"/>
                  </a:lnTo>
                  <a:cubicBezTo>
                    <a:pt x="29" y="65"/>
                    <a:pt x="26" y="67"/>
                    <a:pt x="23" y="67"/>
                  </a:cubicBezTo>
                  <a:lnTo>
                    <a:pt x="23" y="70"/>
                  </a:lnTo>
                  <a:lnTo>
                    <a:pt x="31" y="67"/>
                  </a:lnTo>
                  <a:close/>
                  <a:moveTo>
                    <a:pt x="26" y="132"/>
                  </a:moveTo>
                  <a:lnTo>
                    <a:pt x="29" y="132"/>
                  </a:lnTo>
                  <a:cubicBezTo>
                    <a:pt x="29" y="132"/>
                    <a:pt x="29" y="129"/>
                    <a:pt x="26" y="127"/>
                  </a:cubicBezTo>
                  <a:lnTo>
                    <a:pt x="26" y="132"/>
                  </a:lnTo>
                  <a:close/>
                  <a:moveTo>
                    <a:pt x="29" y="59"/>
                  </a:moveTo>
                  <a:lnTo>
                    <a:pt x="34" y="59"/>
                  </a:lnTo>
                  <a:cubicBezTo>
                    <a:pt x="34" y="62"/>
                    <a:pt x="37" y="62"/>
                    <a:pt x="40" y="59"/>
                  </a:cubicBezTo>
                  <a:cubicBezTo>
                    <a:pt x="37" y="59"/>
                    <a:pt x="37" y="56"/>
                    <a:pt x="34" y="56"/>
                  </a:cubicBezTo>
                  <a:cubicBezTo>
                    <a:pt x="31" y="56"/>
                    <a:pt x="31" y="53"/>
                    <a:pt x="29" y="53"/>
                  </a:cubicBezTo>
                  <a:lnTo>
                    <a:pt x="29" y="59"/>
                  </a:lnTo>
                  <a:close/>
                  <a:moveTo>
                    <a:pt x="34" y="172"/>
                  </a:moveTo>
                  <a:lnTo>
                    <a:pt x="31" y="169"/>
                  </a:lnTo>
                  <a:cubicBezTo>
                    <a:pt x="29" y="175"/>
                    <a:pt x="31" y="175"/>
                    <a:pt x="34" y="172"/>
                  </a:cubicBezTo>
                  <a:close/>
                  <a:moveTo>
                    <a:pt x="31" y="48"/>
                  </a:moveTo>
                  <a:cubicBezTo>
                    <a:pt x="34" y="48"/>
                    <a:pt x="34" y="45"/>
                    <a:pt x="37" y="45"/>
                  </a:cubicBezTo>
                  <a:cubicBezTo>
                    <a:pt x="34" y="45"/>
                    <a:pt x="34" y="42"/>
                    <a:pt x="31" y="39"/>
                  </a:cubicBezTo>
                  <a:lnTo>
                    <a:pt x="31" y="48"/>
                  </a:lnTo>
                  <a:close/>
                  <a:moveTo>
                    <a:pt x="40" y="135"/>
                  </a:moveTo>
                  <a:cubicBezTo>
                    <a:pt x="40" y="135"/>
                    <a:pt x="40" y="132"/>
                    <a:pt x="37" y="129"/>
                  </a:cubicBezTo>
                  <a:lnTo>
                    <a:pt x="34" y="135"/>
                  </a:lnTo>
                  <a:lnTo>
                    <a:pt x="40" y="135"/>
                  </a:lnTo>
                  <a:close/>
                  <a:moveTo>
                    <a:pt x="37" y="186"/>
                  </a:moveTo>
                  <a:lnTo>
                    <a:pt x="40" y="186"/>
                  </a:lnTo>
                  <a:lnTo>
                    <a:pt x="40" y="183"/>
                  </a:lnTo>
                  <a:cubicBezTo>
                    <a:pt x="40" y="183"/>
                    <a:pt x="37" y="183"/>
                    <a:pt x="37" y="186"/>
                  </a:cubicBezTo>
                  <a:close/>
                  <a:moveTo>
                    <a:pt x="37" y="172"/>
                  </a:moveTo>
                  <a:lnTo>
                    <a:pt x="40" y="172"/>
                  </a:lnTo>
                  <a:lnTo>
                    <a:pt x="40" y="169"/>
                  </a:lnTo>
                  <a:lnTo>
                    <a:pt x="37" y="172"/>
                  </a:lnTo>
                  <a:close/>
                  <a:moveTo>
                    <a:pt x="40" y="36"/>
                  </a:moveTo>
                  <a:lnTo>
                    <a:pt x="43" y="39"/>
                  </a:lnTo>
                  <a:lnTo>
                    <a:pt x="46" y="39"/>
                  </a:lnTo>
                  <a:lnTo>
                    <a:pt x="43" y="36"/>
                  </a:lnTo>
                  <a:lnTo>
                    <a:pt x="40" y="36"/>
                  </a:lnTo>
                  <a:close/>
                  <a:moveTo>
                    <a:pt x="40" y="45"/>
                  </a:moveTo>
                  <a:cubicBezTo>
                    <a:pt x="43" y="48"/>
                    <a:pt x="43" y="50"/>
                    <a:pt x="46" y="53"/>
                  </a:cubicBezTo>
                  <a:cubicBezTo>
                    <a:pt x="48" y="50"/>
                    <a:pt x="48" y="48"/>
                    <a:pt x="51" y="42"/>
                  </a:cubicBezTo>
                  <a:lnTo>
                    <a:pt x="40" y="45"/>
                  </a:lnTo>
                  <a:close/>
                  <a:moveTo>
                    <a:pt x="48" y="208"/>
                  </a:moveTo>
                  <a:lnTo>
                    <a:pt x="43" y="208"/>
                  </a:lnTo>
                  <a:lnTo>
                    <a:pt x="43" y="211"/>
                  </a:lnTo>
                  <a:lnTo>
                    <a:pt x="46" y="211"/>
                  </a:lnTo>
                  <a:lnTo>
                    <a:pt x="48" y="208"/>
                  </a:lnTo>
                  <a:close/>
                  <a:moveTo>
                    <a:pt x="110" y="413"/>
                  </a:moveTo>
                  <a:lnTo>
                    <a:pt x="116" y="419"/>
                  </a:lnTo>
                  <a:cubicBezTo>
                    <a:pt x="119" y="422"/>
                    <a:pt x="122" y="422"/>
                    <a:pt x="122" y="425"/>
                  </a:cubicBezTo>
                  <a:lnTo>
                    <a:pt x="133" y="422"/>
                  </a:lnTo>
                  <a:cubicBezTo>
                    <a:pt x="139" y="413"/>
                    <a:pt x="141" y="402"/>
                    <a:pt x="139" y="391"/>
                  </a:cubicBezTo>
                  <a:lnTo>
                    <a:pt x="139" y="385"/>
                  </a:lnTo>
                  <a:lnTo>
                    <a:pt x="139" y="379"/>
                  </a:lnTo>
                  <a:cubicBezTo>
                    <a:pt x="139" y="368"/>
                    <a:pt x="139" y="368"/>
                    <a:pt x="136" y="363"/>
                  </a:cubicBezTo>
                  <a:cubicBezTo>
                    <a:pt x="133" y="357"/>
                    <a:pt x="133" y="351"/>
                    <a:pt x="133" y="346"/>
                  </a:cubicBezTo>
                  <a:lnTo>
                    <a:pt x="133" y="331"/>
                  </a:lnTo>
                  <a:cubicBezTo>
                    <a:pt x="130" y="329"/>
                    <a:pt x="130" y="323"/>
                    <a:pt x="130" y="320"/>
                  </a:cubicBezTo>
                  <a:cubicBezTo>
                    <a:pt x="130" y="317"/>
                    <a:pt x="130" y="312"/>
                    <a:pt x="127" y="309"/>
                  </a:cubicBezTo>
                  <a:lnTo>
                    <a:pt x="122" y="286"/>
                  </a:lnTo>
                  <a:lnTo>
                    <a:pt x="122" y="281"/>
                  </a:lnTo>
                  <a:lnTo>
                    <a:pt x="122" y="275"/>
                  </a:lnTo>
                  <a:lnTo>
                    <a:pt x="122" y="269"/>
                  </a:lnTo>
                  <a:cubicBezTo>
                    <a:pt x="122" y="267"/>
                    <a:pt x="119" y="267"/>
                    <a:pt x="119" y="264"/>
                  </a:cubicBezTo>
                  <a:lnTo>
                    <a:pt x="116" y="253"/>
                  </a:lnTo>
                  <a:lnTo>
                    <a:pt x="116" y="251"/>
                  </a:lnTo>
                  <a:lnTo>
                    <a:pt x="116" y="248"/>
                  </a:lnTo>
                  <a:lnTo>
                    <a:pt x="110" y="242"/>
                  </a:lnTo>
                  <a:lnTo>
                    <a:pt x="110" y="237"/>
                  </a:lnTo>
                  <a:lnTo>
                    <a:pt x="110" y="225"/>
                  </a:lnTo>
                  <a:lnTo>
                    <a:pt x="110" y="214"/>
                  </a:lnTo>
                  <a:cubicBezTo>
                    <a:pt x="110" y="211"/>
                    <a:pt x="110" y="206"/>
                    <a:pt x="108" y="203"/>
                  </a:cubicBezTo>
                  <a:cubicBezTo>
                    <a:pt x="105" y="200"/>
                    <a:pt x="102" y="194"/>
                    <a:pt x="102" y="191"/>
                  </a:cubicBezTo>
                  <a:lnTo>
                    <a:pt x="102" y="186"/>
                  </a:lnTo>
                  <a:lnTo>
                    <a:pt x="102" y="172"/>
                  </a:lnTo>
                  <a:lnTo>
                    <a:pt x="102" y="166"/>
                  </a:lnTo>
                  <a:cubicBezTo>
                    <a:pt x="102" y="163"/>
                    <a:pt x="102" y="163"/>
                    <a:pt x="99" y="160"/>
                  </a:cubicBezTo>
                  <a:cubicBezTo>
                    <a:pt x="99" y="158"/>
                    <a:pt x="96" y="155"/>
                    <a:pt x="93" y="152"/>
                  </a:cubicBezTo>
                  <a:cubicBezTo>
                    <a:pt x="91" y="149"/>
                    <a:pt x="91" y="146"/>
                    <a:pt x="93" y="143"/>
                  </a:cubicBezTo>
                  <a:lnTo>
                    <a:pt x="93" y="135"/>
                  </a:lnTo>
                  <a:lnTo>
                    <a:pt x="93" y="127"/>
                  </a:lnTo>
                  <a:cubicBezTo>
                    <a:pt x="96" y="124"/>
                    <a:pt x="93" y="121"/>
                    <a:pt x="93" y="118"/>
                  </a:cubicBezTo>
                  <a:cubicBezTo>
                    <a:pt x="91" y="118"/>
                    <a:pt x="91" y="115"/>
                    <a:pt x="91" y="112"/>
                  </a:cubicBezTo>
                  <a:lnTo>
                    <a:pt x="91" y="107"/>
                  </a:lnTo>
                  <a:lnTo>
                    <a:pt x="88" y="93"/>
                  </a:lnTo>
                  <a:cubicBezTo>
                    <a:pt x="88" y="87"/>
                    <a:pt x="85" y="81"/>
                    <a:pt x="82" y="76"/>
                  </a:cubicBezTo>
                  <a:cubicBezTo>
                    <a:pt x="82" y="73"/>
                    <a:pt x="79" y="73"/>
                    <a:pt x="77" y="70"/>
                  </a:cubicBezTo>
                  <a:cubicBezTo>
                    <a:pt x="74" y="70"/>
                    <a:pt x="74" y="67"/>
                    <a:pt x="71" y="65"/>
                  </a:cubicBezTo>
                  <a:lnTo>
                    <a:pt x="60" y="62"/>
                  </a:lnTo>
                  <a:lnTo>
                    <a:pt x="57" y="65"/>
                  </a:lnTo>
                  <a:lnTo>
                    <a:pt x="54" y="67"/>
                  </a:lnTo>
                  <a:cubicBezTo>
                    <a:pt x="54" y="70"/>
                    <a:pt x="54" y="76"/>
                    <a:pt x="51" y="79"/>
                  </a:cubicBezTo>
                  <a:cubicBezTo>
                    <a:pt x="48" y="84"/>
                    <a:pt x="51" y="87"/>
                    <a:pt x="54" y="93"/>
                  </a:cubicBezTo>
                  <a:lnTo>
                    <a:pt x="62" y="138"/>
                  </a:lnTo>
                  <a:lnTo>
                    <a:pt x="62" y="155"/>
                  </a:lnTo>
                  <a:cubicBezTo>
                    <a:pt x="62" y="158"/>
                    <a:pt x="62" y="160"/>
                    <a:pt x="65" y="160"/>
                  </a:cubicBezTo>
                  <a:cubicBezTo>
                    <a:pt x="68" y="166"/>
                    <a:pt x="71" y="172"/>
                    <a:pt x="68" y="175"/>
                  </a:cubicBezTo>
                  <a:cubicBezTo>
                    <a:pt x="68" y="177"/>
                    <a:pt x="68" y="183"/>
                    <a:pt x="71" y="186"/>
                  </a:cubicBezTo>
                  <a:lnTo>
                    <a:pt x="71" y="191"/>
                  </a:lnTo>
                  <a:cubicBezTo>
                    <a:pt x="74" y="197"/>
                    <a:pt x="77" y="206"/>
                    <a:pt x="74" y="214"/>
                  </a:cubicBezTo>
                  <a:cubicBezTo>
                    <a:pt x="74" y="220"/>
                    <a:pt x="74" y="225"/>
                    <a:pt x="77" y="228"/>
                  </a:cubicBezTo>
                  <a:lnTo>
                    <a:pt x="77" y="231"/>
                  </a:lnTo>
                  <a:lnTo>
                    <a:pt x="77" y="234"/>
                  </a:lnTo>
                  <a:cubicBezTo>
                    <a:pt x="77" y="237"/>
                    <a:pt x="77" y="237"/>
                    <a:pt x="79" y="239"/>
                  </a:cubicBezTo>
                  <a:cubicBezTo>
                    <a:pt x="79" y="242"/>
                    <a:pt x="82" y="248"/>
                    <a:pt x="82" y="251"/>
                  </a:cubicBezTo>
                  <a:cubicBezTo>
                    <a:pt x="82" y="254"/>
                    <a:pt x="82" y="255"/>
                    <a:pt x="85" y="255"/>
                  </a:cubicBezTo>
                  <a:cubicBezTo>
                    <a:pt x="88" y="261"/>
                    <a:pt x="88" y="267"/>
                    <a:pt x="85" y="272"/>
                  </a:cubicBezTo>
                  <a:cubicBezTo>
                    <a:pt x="88" y="275"/>
                    <a:pt x="88" y="281"/>
                    <a:pt x="91" y="284"/>
                  </a:cubicBezTo>
                  <a:lnTo>
                    <a:pt x="91" y="289"/>
                  </a:lnTo>
                  <a:lnTo>
                    <a:pt x="91" y="295"/>
                  </a:lnTo>
                  <a:cubicBezTo>
                    <a:pt x="91" y="298"/>
                    <a:pt x="93" y="298"/>
                    <a:pt x="93" y="300"/>
                  </a:cubicBezTo>
                  <a:cubicBezTo>
                    <a:pt x="93" y="306"/>
                    <a:pt x="96" y="309"/>
                    <a:pt x="96" y="312"/>
                  </a:cubicBezTo>
                  <a:lnTo>
                    <a:pt x="96" y="315"/>
                  </a:lnTo>
                  <a:lnTo>
                    <a:pt x="96" y="317"/>
                  </a:lnTo>
                  <a:cubicBezTo>
                    <a:pt x="96" y="329"/>
                    <a:pt x="96" y="340"/>
                    <a:pt x="102" y="351"/>
                  </a:cubicBezTo>
                  <a:cubicBezTo>
                    <a:pt x="102" y="354"/>
                    <a:pt x="105" y="360"/>
                    <a:pt x="105" y="363"/>
                  </a:cubicBezTo>
                  <a:lnTo>
                    <a:pt x="105" y="374"/>
                  </a:lnTo>
                  <a:cubicBezTo>
                    <a:pt x="102" y="379"/>
                    <a:pt x="105" y="385"/>
                    <a:pt x="105" y="391"/>
                  </a:cubicBezTo>
                  <a:cubicBezTo>
                    <a:pt x="108" y="394"/>
                    <a:pt x="108" y="399"/>
                    <a:pt x="108" y="402"/>
                  </a:cubicBezTo>
                  <a:cubicBezTo>
                    <a:pt x="108" y="405"/>
                    <a:pt x="108" y="408"/>
                    <a:pt x="110" y="413"/>
                  </a:cubicBezTo>
                  <a:close/>
                  <a:moveTo>
                    <a:pt x="48" y="258"/>
                  </a:moveTo>
                  <a:lnTo>
                    <a:pt x="51" y="255"/>
                  </a:lnTo>
                  <a:lnTo>
                    <a:pt x="51" y="253"/>
                  </a:lnTo>
                  <a:lnTo>
                    <a:pt x="51" y="251"/>
                  </a:lnTo>
                  <a:cubicBezTo>
                    <a:pt x="51" y="254"/>
                    <a:pt x="48" y="253"/>
                    <a:pt x="48" y="258"/>
                  </a:cubicBezTo>
                  <a:close/>
                  <a:moveTo>
                    <a:pt x="51" y="42"/>
                  </a:moveTo>
                  <a:lnTo>
                    <a:pt x="57" y="36"/>
                  </a:lnTo>
                  <a:cubicBezTo>
                    <a:pt x="51" y="36"/>
                    <a:pt x="48" y="39"/>
                    <a:pt x="51" y="42"/>
                  </a:cubicBezTo>
                  <a:close/>
                  <a:moveTo>
                    <a:pt x="57" y="267"/>
                  </a:moveTo>
                  <a:cubicBezTo>
                    <a:pt x="57" y="269"/>
                    <a:pt x="60" y="272"/>
                    <a:pt x="62" y="272"/>
                  </a:cubicBezTo>
                  <a:cubicBezTo>
                    <a:pt x="60" y="269"/>
                    <a:pt x="60" y="267"/>
                    <a:pt x="57" y="267"/>
                  </a:cubicBezTo>
                  <a:cubicBezTo>
                    <a:pt x="60" y="264"/>
                    <a:pt x="60" y="264"/>
                    <a:pt x="60" y="261"/>
                  </a:cubicBezTo>
                  <a:lnTo>
                    <a:pt x="60" y="255"/>
                  </a:lnTo>
                  <a:cubicBezTo>
                    <a:pt x="57" y="258"/>
                    <a:pt x="54" y="258"/>
                    <a:pt x="54" y="261"/>
                  </a:cubicBezTo>
                  <a:cubicBezTo>
                    <a:pt x="54" y="261"/>
                    <a:pt x="57" y="264"/>
                    <a:pt x="57" y="267"/>
                  </a:cubicBezTo>
                  <a:close/>
                  <a:moveTo>
                    <a:pt x="62" y="298"/>
                  </a:moveTo>
                  <a:cubicBezTo>
                    <a:pt x="62" y="298"/>
                    <a:pt x="60" y="295"/>
                    <a:pt x="62" y="298"/>
                  </a:cubicBezTo>
                  <a:cubicBezTo>
                    <a:pt x="60" y="295"/>
                    <a:pt x="60" y="298"/>
                    <a:pt x="57" y="298"/>
                  </a:cubicBezTo>
                  <a:lnTo>
                    <a:pt x="62" y="298"/>
                  </a:lnTo>
                  <a:close/>
                  <a:moveTo>
                    <a:pt x="57" y="31"/>
                  </a:moveTo>
                  <a:lnTo>
                    <a:pt x="62" y="31"/>
                  </a:lnTo>
                  <a:lnTo>
                    <a:pt x="62" y="28"/>
                  </a:lnTo>
                  <a:lnTo>
                    <a:pt x="62" y="25"/>
                  </a:lnTo>
                  <a:cubicBezTo>
                    <a:pt x="60" y="25"/>
                    <a:pt x="60" y="28"/>
                    <a:pt x="60" y="28"/>
                  </a:cubicBezTo>
                  <a:lnTo>
                    <a:pt x="57" y="31"/>
                  </a:lnTo>
                  <a:close/>
                  <a:moveTo>
                    <a:pt x="60" y="278"/>
                  </a:moveTo>
                  <a:cubicBezTo>
                    <a:pt x="62" y="281"/>
                    <a:pt x="62" y="281"/>
                    <a:pt x="62" y="284"/>
                  </a:cubicBezTo>
                  <a:cubicBezTo>
                    <a:pt x="65" y="286"/>
                    <a:pt x="65" y="289"/>
                    <a:pt x="65" y="292"/>
                  </a:cubicBezTo>
                  <a:cubicBezTo>
                    <a:pt x="65" y="284"/>
                    <a:pt x="65" y="281"/>
                    <a:pt x="60" y="278"/>
                  </a:cubicBezTo>
                  <a:close/>
                  <a:moveTo>
                    <a:pt x="65" y="317"/>
                  </a:moveTo>
                  <a:cubicBezTo>
                    <a:pt x="65" y="317"/>
                    <a:pt x="67" y="317"/>
                    <a:pt x="68" y="319"/>
                  </a:cubicBezTo>
                  <a:lnTo>
                    <a:pt x="65" y="306"/>
                  </a:lnTo>
                  <a:lnTo>
                    <a:pt x="62" y="306"/>
                  </a:lnTo>
                  <a:lnTo>
                    <a:pt x="60" y="306"/>
                  </a:lnTo>
                  <a:lnTo>
                    <a:pt x="62" y="309"/>
                  </a:lnTo>
                  <a:cubicBezTo>
                    <a:pt x="62" y="309"/>
                    <a:pt x="62" y="312"/>
                    <a:pt x="65" y="312"/>
                  </a:cubicBezTo>
                  <a:cubicBezTo>
                    <a:pt x="65" y="315"/>
                    <a:pt x="62" y="315"/>
                    <a:pt x="60" y="315"/>
                  </a:cubicBezTo>
                  <a:lnTo>
                    <a:pt x="65" y="317"/>
                  </a:lnTo>
                  <a:close/>
                  <a:moveTo>
                    <a:pt x="62" y="33"/>
                  </a:moveTo>
                  <a:lnTo>
                    <a:pt x="62" y="39"/>
                  </a:lnTo>
                  <a:cubicBezTo>
                    <a:pt x="65" y="39"/>
                    <a:pt x="68" y="39"/>
                    <a:pt x="70" y="41"/>
                  </a:cubicBezTo>
                  <a:cubicBezTo>
                    <a:pt x="70" y="42"/>
                    <a:pt x="69" y="42"/>
                    <a:pt x="68" y="42"/>
                  </a:cubicBezTo>
                  <a:lnTo>
                    <a:pt x="74" y="48"/>
                  </a:lnTo>
                  <a:cubicBezTo>
                    <a:pt x="74" y="45"/>
                    <a:pt x="77" y="45"/>
                    <a:pt x="77" y="42"/>
                  </a:cubicBezTo>
                  <a:cubicBezTo>
                    <a:pt x="77" y="42"/>
                    <a:pt x="77" y="39"/>
                    <a:pt x="79" y="36"/>
                  </a:cubicBezTo>
                  <a:lnTo>
                    <a:pt x="74" y="39"/>
                  </a:lnTo>
                  <a:cubicBezTo>
                    <a:pt x="72" y="39"/>
                    <a:pt x="72" y="40"/>
                    <a:pt x="71" y="41"/>
                  </a:cubicBezTo>
                  <a:lnTo>
                    <a:pt x="70" y="41"/>
                  </a:lnTo>
                  <a:lnTo>
                    <a:pt x="71" y="42"/>
                  </a:lnTo>
                  <a:cubicBezTo>
                    <a:pt x="71" y="41"/>
                    <a:pt x="71" y="40"/>
                    <a:pt x="71" y="41"/>
                  </a:cubicBezTo>
                  <a:lnTo>
                    <a:pt x="71" y="39"/>
                  </a:lnTo>
                  <a:cubicBezTo>
                    <a:pt x="71" y="39"/>
                    <a:pt x="65" y="33"/>
                    <a:pt x="62" y="33"/>
                  </a:cubicBezTo>
                  <a:close/>
                  <a:moveTo>
                    <a:pt x="65" y="363"/>
                  </a:moveTo>
                  <a:cubicBezTo>
                    <a:pt x="68" y="365"/>
                    <a:pt x="68" y="365"/>
                    <a:pt x="68" y="368"/>
                  </a:cubicBezTo>
                  <a:lnTo>
                    <a:pt x="68" y="365"/>
                  </a:lnTo>
                  <a:lnTo>
                    <a:pt x="65" y="363"/>
                  </a:lnTo>
                  <a:close/>
                  <a:moveTo>
                    <a:pt x="65" y="379"/>
                  </a:moveTo>
                  <a:lnTo>
                    <a:pt x="68" y="379"/>
                  </a:lnTo>
                  <a:cubicBezTo>
                    <a:pt x="68" y="377"/>
                    <a:pt x="65" y="377"/>
                    <a:pt x="65" y="379"/>
                  </a:cubicBezTo>
                  <a:close/>
                  <a:moveTo>
                    <a:pt x="68" y="33"/>
                  </a:moveTo>
                  <a:cubicBezTo>
                    <a:pt x="71" y="33"/>
                    <a:pt x="74" y="36"/>
                    <a:pt x="79" y="36"/>
                  </a:cubicBezTo>
                  <a:lnTo>
                    <a:pt x="79" y="33"/>
                  </a:lnTo>
                  <a:lnTo>
                    <a:pt x="71" y="31"/>
                  </a:lnTo>
                  <a:lnTo>
                    <a:pt x="68" y="33"/>
                  </a:lnTo>
                  <a:close/>
                  <a:moveTo>
                    <a:pt x="77" y="334"/>
                  </a:moveTo>
                  <a:lnTo>
                    <a:pt x="71" y="334"/>
                  </a:lnTo>
                  <a:lnTo>
                    <a:pt x="71" y="337"/>
                  </a:lnTo>
                  <a:cubicBezTo>
                    <a:pt x="71" y="337"/>
                    <a:pt x="74" y="337"/>
                    <a:pt x="77" y="334"/>
                  </a:cubicBezTo>
                  <a:close/>
                  <a:moveTo>
                    <a:pt x="79" y="391"/>
                  </a:moveTo>
                  <a:lnTo>
                    <a:pt x="74" y="391"/>
                  </a:lnTo>
                  <a:lnTo>
                    <a:pt x="71" y="394"/>
                  </a:lnTo>
                  <a:cubicBezTo>
                    <a:pt x="71" y="396"/>
                    <a:pt x="74" y="396"/>
                    <a:pt x="74" y="399"/>
                  </a:cubicBezTo>
                  <a:cubicBezTo>
                    <a:pt x="77" y="396"/>
                    <a:pt x="77" y="394"/>
                    <a:pt x="79" y="391"/>
                  </a:cubicBezTo>
                  <a:close/>
                  <a:moveTo>
                    <a:pt x="74" y="365"/>
                  </a:moveTo>
                  <a:lnTo>
                    <a:pt x="79" y="365"/>
                  </a:lnTo>
                  <a:lnTo>
                    <a:pt x="79" y="360"/>
                  </a:lnTo>
                  <a:cubicBezTo>
                    <a:pt x="79" y="360"/>
                    <a:pt x="79" y="363"/>
                    <a:pt x="77" y="363"/>
                  </a:cubicBezTo>
                  <a:cubicBezTo>
                    <a:pt x="77" y="363"/>
                    <a:pt x="74" y="363"/>
                    <a:pt x="74" y="365"/>
                  </a:cubicBezTo>
                  <a:close/>
                  <a:moveTo>
                    <a:pt x="74" y="357"/>
                  </a:moveTo>
                  <a:lnTo>
                    <a:pt x="79" y="357"/>
                  </a:lnTo>
                  <a:lnTo>
                    <a:pt x="79" y="354"/>
                  </a:lnTo>
                  <a:cubicBezTo>
                    <a:pt x="77" y="357"/>
                    <a:pt x="77" y="357"/>
                    <a:pt x="74" y="357"/>
                  </a:cubicBezTo>
                  <a:close/>
                  <a:moveTo>
                    <a:pt x="82" y="377"/>
                  </a:moveTo>
                  <a:cubicBezTo>
                    <a:pt x="82" y="374"/>
                    <a:pt x="79" y="374"/>
                    <a:pt x="79" y="374"/>
                  </a:cubicBezTo>
                  <a:lnTo>
                    <a:pt x="77" y="377"/>
                  </a:lnTo>
                  <a:lnTo>
                    <a:pt x="79" y="379"/>
                  </a:lnTo>
                  <a:lnTo>
                    <a:pt x="82" y="379"/>
                  </a:lnTo>
                  <a:lnTo>
                    <a:pt x="82" y="377"/>
                  </a:lnTo>
                  <a:close/>
                  <a:moveTo>
                    <a:pt x="91" y="39"/>
                  </a:moveTo>
                  <a:lnTo>
                    <a:pt x="88" y="45"/>
                  </a:lnTo>
                  <a:cubicBezTo>
                    <a:pt x="88" y="46"/>
                    <a:pt x="87" y="47"/>
                    <a:pt x="86" y="48"/>
                  </a:cubicBezTo>
                  <a:cubicBezTo>
                    <a:pt x="87" y="48"/>
                    <a:pt x="88" y="49"/>
                    <a:pt x="88" y="50"/>
                  </a:cubicBezTo>
                  <a:cubicBezTo>
                    <a:pt x="88" y="48"/>
                    <a:pt x="91" y="48"/>
                    <a:pt x="91" y="45"/>
                  </a:cubicBezTo>
                  <a:cubicBezTo>
                    <a:pt x="91" y="42"/>
                    <a:pt x="93" y="42"/>
                    <a:pt x="93" y="39"/>
                  </a:cubicBezTo>
                  <a:lnTo>
                    <a:pt x="91" y="39"/>
                  </a:lnTo>
                  <a:lnTo>
                    <a:pt x="88" y="34"/>
                  </a:lnTo>
                  <a:cubicBezTo>
                    <a:pt x="87" y="34"/>
                    <a:pt x="86" y="35"/>
                    <a:pt x="86" y="35"/>
                  </a:cubicBezTo>
                  <a:lnTo>
                    <a:pt x="85" y="33"/>
                  </a:lnTo>
                  <a:lnTo>
                    <a:pt x="82" y="36"/>
                  </a:lnTo>
                  <a:cubicBezTo>
                    <a:pt x="84" y="38"/>
                    <a:pt x="86" y="39"/>
                    <a:pt x="88" y="39"/>
                  </a:cubicBezTo>
                  <a:lnTo>
                    <a:pt x="88" y="39"/>
                  </a:lnTo>
                  <a:lnTo>
                    <a:pt x="88" y="39"/>
                  </a:lnTo>
                  <a:cubicBezTo>
                    <a:pt x="89" y="39"/>
                    <a:pt x="90" y="39"/>
                    <a:pt x="91" y="39"/>
                  </a:cubicBezTo>
                  <a:close/>
                  <a:moveTo>
                    <a:pt x="96" y="42"/>
                  </a:moveTo>
                  <a:lnTo>
                    <a:pt x="99" y="42"/>
                  </a:lnTo>
                  <a:lnTo>
                    <a:pt x="102" y="42"/>
                  </a:lnTo>
                  <a:lnTo>
                    <a:pt x="102" y="39"/>
                  </a:lnTo>
                  <a:lnTo>
                    <a:pt x="99" y="39"/>
                  </a:lnTo>
                  <a:lnTo>
                    <a:pt x="96" y="39"/>
                  </a:lnTo>
                  <a:lnTo>
                    <a:pt x="96" y="42"/>
                  </a:lnTo>
                  <a:close/>
                  <a:moveTo>
                    <a:pt x="88" y="39"/>
                  </a:moveTo>
                  <a:lnTo>
                    <a:pt x="88" y="39"/>
                  </a:lnTo>
                  <a:lnTo>
                    <a:pt x="86" y="35"/>
                  </a:lnTo>
                  <a:cubicBezTo>
                    <a:pt x="86" y="36"/>
                    <a:pt x="86" y="38"/>
                    <a:pt x="88" y="39"/>
                  </a:cubicBezTo>
                  <a:close/>
                  <a:moveTo>
                    <a:pt x="85" y="394"/>
                  </a:moveTo>
                  <a:cubicBezTo>
                    <a:pt x="82" y="394"/>
                    <a:pt x="82" y="396"/>
                    <a:pt x="82" y="396"/>
                  </a:cubicBezTo>
                  <a:lnTo>
                    <a:pt x="85" y="394"/>
                  </a:lnTo>
                  <a:close/>
                  <a:moveTo>
                    <a:pt x="88" y="430"/>
                  </a:moveTo>
                  <a:cubicBezTo>
                    <a:pt x="88" y="427"/>
                    <a:pt x="91" y="427"/>
                    <a:pt x="91" y="427"/>
                  </a:cubicBezTo>
                  <a:lnTo>
                    <a:pt x="85" y="422"/>
                  </a:lnTo>
                  <a:cubicBezTo>
                    <a:pt x="85" y="427"/>
                    <a:pt x="88" y="430"/>
                    <a:pt x="88" y="430"/>
                  </a:cubicBezTo>
                  <a:close/>
                  <a:moveTo>
                    <a:pt x="85" y="410"/>
                  </a:moveTo>
                  <a:lnTo>
                    <a:pt x="85" y="413"/>
                  </a:lnTo>
                  <a:cubicBezTo>
                    <a:pt x="91" y="413"/>
                    <a:pt x="91" y="410"/>
                    <a:pt x="85" y="410"/>
                  </a:cubicBezTo>
                  <a:close/>
                  <a:moveTo>
                    <a:pt x="91" y="45"/>
                  </a:moveTo>
                  <a:cubicBezTo>
                    <a:pt x="91" y="48"/>
                    <a:pt x="93" y="50"/>
                    <a:pt x="93" y="50"/>
                  </a:cubicBezTo>
                  <a:lnTo>
                    <a:pt x="93" y="53"/>
                  </a:lnTo>
                  <a:lnTo>
                    <a:pt x="93" y="56"/>
                  </a:lnTo>
                  <a:cubicBezTo>
                    <a:pt x="96" y="59"/>
                    <a:pt x="99" y="62"/>
                    <a:pt x="105" y="56"/>
                  </a:cubicBezTo>
                  <a:cubicBezTo>
                    <a:pt x="102" y="50"/>
                    <a:pt x="96" y="45"/>
                    <a:pt x="91" y="45"/>
                  </a:cubicBezTo>
                  <a:close/>
                  <a:moveTo>
                    <a:pt x="108" y="430"/>
                  </a:moveTo>
                  <a:cubicBezTo>
                    <a:pt x="105" y="433"/>
                    <a:pt x="102" y="433"/>
                    <a:pt x="99" y="436"/>
                  </a:cubicBezTo>
                  <a:lnTo>
                    <a:pt x="102" y="439"/>
                  </a:lnTo>
                  <a:cubicBezTo>
                    <a:pt x="102" y="441"/>
                    <a:pt x="102" y="441"/>
                    <a:pt x="105" y="444"/>
                  </a:cubicBezTo>
                  <a:cubicBezTo>
                    <a:pt x="105" y="441"/>
                    <a:pt x="105" y="439"/>
                    <a:pt x="108" y="430"/>
                  </a:cubicBezTo>
                  <a:close/>
                  <a:moveTo>
                    <a:pt x="110" y="450"/>
                  </a:moveTo>
                  <a:lnTo>
                    <a:pt x="108" y="450"/>
                  </a:lnTo>
                  <a:cubicBezTo>
                    <a:pt x="105" y="450"/>
                    <a:pt x="105" y="450"/>
                    <a:pt x="102" y="453"/>
                  </a:cubicBezTo>
                  <a:cubicBezTo>
                    <a:pt x="105" y="453"/>
                    <a:pt x="105" y="456"/>
                    <a:pt x="108" y="456"/>
                  </a:cubicBezTo>
                  <a:cubicBezTo>
                    <a:pt x="105" y="453"/>
                    <a:pt x="108" y="453"/>
                    <a:pt x="110" y="450"/>
                  </a:cubicBezTo>
                  <a:close/>
                  <a:moveTo>
                    <a:pt x="110" y="76"/>
                  </a:moveTo>
                  <a:cubicBezTo>
                    <a:pt x="108" y="76"/>
                    <a:pt x="108" y="76"/>
                    <a:pt x="105" y="79"/>
                  </a:cubicBezTo>
                  <a:cubicBezTo>
                    <a:pt x="105" y="81"/>
                    <a:pt x="108" y="81"/>
                    <a:pt x="110" y="81"/>
                  </a:cubicBezTo>
                  <a:lnTo>
                    <a:pt x="110" y="76"/>
                  </a:lnTo>
                  <a:close/>
                  <a:moveTo>
                    <a:pt x="113" y="439"/>
                  </a:moveTo>
                  <a:lnTo>
                    <a:pt x="110" y="439"/>
                  </a:lnTo>
                  <a:cubicBezTo>
                    <a:pt x="110" y="444"/>
                    <a:pt x="110" y="447"/>
                    <a:pt x="116" y="447"/>
                  </a:cubicBezTo>
                  <a:lnTo>
                    <a:pt x="113" y="439"/>
                  </a:lnTo>
                  <a:close/>
                  <a:moveTo>
                    <a:pt x="110" y="59"/>
                  </a:moveTo>
                  <a:lnTo>
                    <a:pt x="110" y="62"/>
                  </a:lnTo>
                  <a:lnTo>
                    <a:pt x="110" y="67"/>
                  </a:lnTo>
                  <a:lnTo>
                    <a:pt x="116" y="62"/>
                  </a:lnTo>
                  <a:cubicBezTo>
                    <a:pt x="113" y="62"/>
                    <a:pt x="110" y="59"/>
                    <a:pt x="110" y="59"/>
                  </a:cubicBezTo>
                  <a:close/>
                  <a:moveTo>
                    <a:pt x="119" y="79"/>
                  </a:moveTo>
                  <a:cubicBezTo>
                    <a:pt x="116" y="79"/>
                    <a:pt x="113" y="79"/>
                    <a:pt x="110" y="81"/>
                  </a:cubicBezTo>
                  <a:cubicBezTo>
                    <a:pt x="113" y="84"/>
                    <a:pt x="116" y="84"/>
                    <a:pt x="119" y="84"/>
                  </a:cubicBezTo>
                  <a:lnTo>
                    <a:pt x="119" y="79"/>
                  </a:lnTo>
                  <a:close/>
                  <a:moveTo>
                    <a:pt x="110" y="70"/>
                  </a:moveTo>
                  <a:cubicBezTo>
                    <a:pt x="113" y="73"/>
                    <a:pt x="116" y="76"/>
                    <a:pt x="116" y="79"/>
                  </a:cubicBezTo>
                  <a:lnTo>
                    <a:pt x="116" y="73"/>
                  </a:lnTo>
                  <a:cubicBezTo>
                    <a:pt x="116" y="73"/>
                    <a:pt x="116" y="70"/>
                    <a:pt x="110" y="70"/>
                  </a:cubicBezTo>
                  <a:close/>
                  <a:moveTo>
                    <a:pt x="116" y="104"/>
                  </a:moveTo>
                  <a:cubicBezTo>
                    <a:pt x="116" y="107"/>
                    <a:pt x="116" y="110"/>
                    <a:pt x="113" y="112"/>
                  </a:cubicBezTo>
                  <a:lnTo>
                    <a:pt x="116" y="112"/>
                  </a:lnTo>
                  <a:lnTo>
                    <a:pt x="122" y="112"/>
                  </a:lnTo>
                  <a:lnTo>
                    <a:pt x="125" y="112"/>
                  </a:lnTo>
                  <a:lnTo>
                    <a:pt x="116" y="104"/>
                  </a:lnTo>
                  <a:cubicBezTo>
                    <a:pt x="119" y="104"/>
                    <a:pt x="122" y="101"/>
                    <a:pt x="122" y="98"/>
                  </a:cubicBezTo>
                  <a:cubicBezTo>
                    <a:pt x="116" y="101"/>
                    <a:pt x="116" y="104"/>
                    <a:pt x="116" y="104"/>
                  </a:cubicBezTo>
                  <a:close/>
                  <a:moveTo>
                    <a:pt x="116" y="127"/>
                  </a:moveTo>
                  <a:cubicBezTo>
                    <a:pt x="119" y="127"/>
                    <a:pt x="119" y="129"/>
                    <a:pt x="119" y="129"/>
                  </a:cubicBezTo>
                  <a:lnTo>
                    <a:pt x="122" y="132"/>
                  </a:lnTo>
                  <a:cubicBezTo>
                    <a:pt x="119" y="135"/>
                    <a:pt x="122" y="138"/>
                    <a:pt x="122" y="138"/>
                  </a:cubicBezTo>
                  <a:cubicBezTo>
                    <a:pt x="122" y="138"/>
                    <a:pt x="122" y="141"/>
                    <a:pt x="125" y="141"/>
                  </a:cubicBezTo>
                  <a:lnTo>
                    <a:pt x="127" y="138"/>
                  </a:lnTo>
                  <a:cubicBezTo>
                    <a:pt x="127" y="138"/>
                    <a:pt x="125" y="135"/>
                    <a:pt x="125" y="132"/>
                  </a:cubicBezTo>
                  <a:lnTo>
                    <a:pt x="125" y="121"/>
                  </a:lnTo>
                  <a:lnTo>
                    <a:pt x="122" y="121"/>
                  </a:lnTo>
                  <a:lnTo>
                    <a:pt x="116" y="127"/>
                  </a:lnTo>
                  <a:close/>
                  <a:moveTo>
                    <a:pt x="119" y="152"/>
                  </a:moveTo>
                  <a:lnTo>
                    <a:pt x="122" y="155"/>
                  </a:lnTo>
                  <a:cubicBezTo>
                    <a:pt x="122" y="155"/>
                    <a:pt x="125" y="155"/>
                    <a:pt x="125" y="158"/>
                  </a:cubicBezTo>
                  <a:lnTo>
                    <a:pt x="122" y="160"/>
                  </a:lnTo>
                  <a:cubicBezTo>
                    <a:pt x="125" y="163"/>
                    <a:pt x="127" y="160"/>
                    <a:pt x="130" y="158"/>
                  </a:cubicBezTo>
                  <a:cubicBezTo>
                    <a:pt x="127" y="158"/>
                    <a:pt x="127" y="155"/>
                    <a:pt x="127" y="155"/>
                  </a:cubicBezTo>
                  <a:cubicBezTo>
                    <a:pt x="125" y="155"/>
                    <a:pt x="125" y="152"/>
                    <a:pt x="122" y="155"/>
                  </a:cubicBezTo>
                  <a:cubicBezTo>
                    <a:pt x="122" y="152"/>
                    <a:pt x="122" y="152"/>
                    <a:pt x="119" y="152"/>
                  </a:cubicBezTo>
                  <a:close/>
                  <a:moveTo>
                    <a:pt x="139" y="458"/>
                  </a:moveTo>
                  <a:lnTo>
                    <a:pt x="136" y="456"/>
                  </a:lnTo>
                  <a:lnTo>
                    <a:pt x="130" y="456"/>
                  </a:lnTo>
                  <a:lnTo>
                    <a:pt x="130" y="450"/>
                  </a:lnTo>
                  <a:lnTo>
                    <a:pt x="125" y="450"/>
                  </a:lnTo>
                  <a:lnTo>
                    <a:pt x="122" y="450"/>
                  </a:lnTo>
                  <a:lnTo>
                    <a:pt x="116" y="450"/>
                  </a:lnTo>
                  <a:lnTo>
                    <a:pt x="119" y="453"/>
                  </a:lnTo>
                  <a:lnTo>
                    <a:pt x="119" y="458"/>
                  </a:lnTo>
                  <a:lnTo>
                    <a:pt x="119" y="464"/>
                  </a:lnTo>
                  <a:cubicBezTo>
                    <a:pt x="122" y="461"/>
                    <a:pt x="125" y="461"/>
                    <a:pt x="127" y="461"/>
                  </a:cubicBezTo>
                  <a:cubicBezTo>
                    <a:pt x="133" y="456"/>
                    <a:pt x="136" y="456"/>
                    <a:pt x="139" y="458"/>
                  </a:cubicBezTo>
                  <a:close/>
                  <a:moveTo>
                    <a:pt x="119" y="84"/>
                  </a:moveTo>
                  <a:lnTo>
                    <a:pt x="125" y="90"/>
                  </a:lnTo>
                  <a:cubicBezTo>
                    <a:pt x="127" y="90"/>
                    <a:pt x="127" y="87"/>
                    <a:pt x="127" y="87"/>
                  </a:cubicBezTo>
                  <a:cubicBezTo>
                    <a:pt x="125" y="87"/>
                    <a:pt x="125" y="84"/>
                    <a:pt x="119" y="84"/>
                  </a:cubicBezTo>
                  <a:close/>
                  <a:moveTo>
                    <a:pt x="119" y="141"/>
                  </a:moveTo>
                  <a:cubicBezTo>
                    <a:pt x="119" y="143"/>
                    <a:pt x="119" y="143"/>
                    <a:pt x="122" y="143"/>
                  </a:cubicBezTo>
                  <a:lnTo>
                    <a:pt x="119" y="141"/>
                  </a:lnTo>
                  <a:close/>
                  <a:moveTo>
                    <a:pt x="125" y="436"/>
                  </a:moveTo>
                  <a:lnTo>
                    <a:pt x="122" y="436"/>
                  </a:lnTo>
                  <a:cubicBezTo>
                    <a:pt x="122" y="436"/>
                    <a:pt x="125" y="439"/>
                    <a:pt x="125" y="436"/>
                  </a:cubicBezTo>
                  <a:close/>
                  <a:moveTo>
                    <a:pt x="122" y="166"/>
                  </a:moveTo>
                  <a:lnTo>
                    <a:pt x="125" y="169"/>
                  </a:lnTo>
                  <a:cubicBezTo>
                    <a:pt x="127" y="163"/>
                    <a:pt x="125" y="163"/>
                    <a:pt x="122" y="166"/>
                  </a:cubicBezTo>
                  <a:close/>
                  <a:moveTo>
                    <a:pt x="122" y="121"/>
                  </a:moveTo>
                  <a:lnTo>
                    <a:pt x="127" y="118"/>
                  </a:lnTo>
                  <a:cubicBezTo>
                    <a:pt x="122" y="115"/>
                    <a:pt x="122" y="118"/>
                    <a:pt x="122" y="121"/>
                  </a:cubicBezTo>
                  <a:close/>
                  <a:moveTo>
                    <a:pt x="125" y="98"/>
                  </a:moveTo>
                  <a:cubicBezTo>
                    <a:pt x="122" y="98"/>
                    <a:pt x="122" y="98"/>
                    <a:pt x="122" y="101"/>
                  </a:cubicBezTo>
                  <a:cubicBezTo>
                    <a:pt x="122" y="101"/>
                    <a:pt x="125" y="101"/>
                    <a:pt x="125" y="104"/>
                  </a:cubicBezTo>
                  <a:lnTo>
                    <a:pt x="125" y="107"/>
                  </a:lnTo>
                  <a:lnTo>
                    <a:pt x="127" y="107"/>
                  </a:lnTo>
                  <a:lnTo>
                    <a:pt x="125" y="98"/>
                  </a:lnTo>
                  <a:close/>
                  <a:moveTo>
                    <a:pt x="127" y="183"/>
                  </a:moveTo>
                  <a:lnTo>
                    <a:pt x="127" y="189"/>
                  </a:lnTo>
                  <a:lnTo>
                    <a:pt x="130" y="189"/>
                  </a:lnTo>
                  <a:lnTo>
                    <a:pt x="133" y="186"/>
                  </a:lnTo>
                  <a:lnTo>
                    <a:pt x="133" y="183"/>
                  </a:lnTo>
                  <a:cubicBezTo>
                    <a:pt x="139" y="180"/>
                    <a:pt x="139" y="180"/>
                    <a:pt x="136" y="175"/>
                  </a:cubicBezTo>
                  <a:lnTo>
                    <a:pt x="127" y="183"/>
                  </a:lnTo>
                  <a:close/>
                  <a:moveTo>
                    <a:pt x="133" y="172"/>
                  </a:moveTo>
                  <a:cubicBezTo>
                    <a:pt x="133" y="172"/>
                    <a:pt x="130" y="172"/>
                    <a:pt x="130" y="169"/>
                  </a:cubicBezTo>
                  <a:lnTo>
                    <a:pt x="130" y="172"/>
                  </a:lnTo>
                  <a:lnTo>
                    <a:pt x="130" y="175"/>
                  </a:lnTo>
                  <a:cubicBezTo>
                    <a:pt x="133" y="175"/>
                    <a:pt x="133" y="175"/>
                    <a:pt x="133" y="172"/>
                  </a:cubicBezTo>
                  <a:close/>
                  <a:moveTo>
                    <a:pt x="133" y="439"/>
                  </a:moveTo>
                  <a:lnTo>
                    <a:pt x="130" y="439"/>
                  </a:lnTo>
                  <a:lnTo>
                    <a:pt x="130" y="441"/>
                  </a:lnTo>
                  <a:cubicBezTo>
                    <a:pt x="133" y="444"/>
                    <a:pt x="136" y="444"/>
                    <a:pt x="133" y="439"/>
                  </a:cubicBezTo>
                  <a:close/>
                  <a:moveTo>
                    <a:pt x="136" y="146"/>
                  </a:moveTo>
                  <a:cubicBezTo>
                    <a:pt x="133" y="146"/>
                    <a:pt x="133" y="149"/>
                    <a:pt x="130" y="149"/>
                  </a:cubicBezTo>
                  <a:cubicBezTo>
                    <a:pt x="139" y="152"/>
                    <a:pt x="136" y="149"/>
                    <a:pt x="136" y="146"/>
                  </a:cubicBezTo>
                  <a:close/>
                  <a:moveTo>
                    <a:pt x="136" y="255"/>
                  </a:moveTo>
                  <a:lnTo>
                    <a:pt x="136" y="251"/>
                  </a:lnTo>
                  <a:lnTo>
                    <a:pt x="133" y="251"/>
                  </a:lnTo>
                  <a:lnTo>
                    <a:pt x="130" y="251"/>
                  </a:lnTo>
                  <a:lnTo>
                    <a:pt x="136" y="255"/>
                  </a:lnTo>
                  <a:close/>
                  <a:moveTo>
                    <a:pt x="133" y="217"/>
                  </a:moveTo>
                  <a:lnTo>
                    <a:pt x="133" y="222"/>
                  </a:lnTo>
                  <a:lnTo>
                    <a:pt x="141" y="231"/>
                  </a:lnTo>
                  <a:cubicBezTo>
                    <a:pt x="144" y="231"/>
                    <a:pt x="144" y="228"/>
                    <a:pt x="147" y="225"/>
                  </a:cubicBezTo>
                  <a:lnTo>
                    <a:pt x="147" y="222"/>
                  </a:lnTo>
                  <a:lnTo>
                    <a:pt x="144" y="222"/>
                  </a:lnTo>
                  <a:lnTo>
                    <a:pt x="141" y="225"/>
                  </a:lnTo>
                  <a:lnTo>
                    <a:pt x="139" y="222"/>
                  </a:lnTo>
                  <a:lnTo>
                    <a:pt x="136" y="222"/>
                  </a:lnTo>
                  <a:lnTo>
                    <a:pt x="133" y="217"/>
                  </a:lnTo>
                  <a:close/>
                  <a:moveTo>
                    <a:pt x="133" y="231"/>
                  </a:moveTo>
                  <a:lnTo>
                    <a:pt x="133" y="234"/>
                  </a:lnTo>
                  <a:lnTo>
                    <a:pt x="136" y="234"/>
                  </a:lnTo>
                  <a:lnTo>
                    <a:pt x="133" y="231"/>
                  </a:lnTo>
                  <a:close/>
                  <a:moveTo>
                    <a:pt x="139" y="189"/>
                  </a:moveTo>
                  <a:lnTo>
                    <a:pt x="136" y="189"/>
                  </a:lnTo>
                  <a:lnTo>
                    <a:pt x="136" y="194"/>
                  </a:lnTo>
                  <a:lnTo>
                    <a:pt x="136" y="200"/>
                  </a:lnTo>
                  <a:lnTo>
                    <a:pt x="139" y="200"/>
                  </a:lnTo>
                  <a:lnTo>
                    <a:pt x="139" y="194"/>
                  </a:lnTo>
                  <a:cubicBezTo>
                    <a:pt x="139" y="194"/>
                    <a:pt x="139" y="191"/>
                    <a:pt x="139" y="189"/>
                  </a:cubicBezTo>
                  <a:close/>
                  <a:moveTo>
                    <a:pt x="141" y="447"/>
                  </a:moveTo>
                  <a:lnTo>
                    <a:pt x="139" y="436"/>
                  </a:lnTo>
                  <a:cubicBezTo>
                    <a:pt x="136" y="439"/>
                    <a:pt x="133" y="439"/>
                    <a:pt x="136" y="441"/>
                  </a:cubicBezTo>
                  <a:lnTo>
                    <a:pt x="136" y="447"/>
                  </a:lnTo>
                  <a:lnTo>
                    <a:pt x="141" y="447"/>
                  </a:lnTo>
                  <a:close/>
                  <a:moveTo>
                    <a:pt x="150" y="272"/>
                  </a:moveTo>
                  <a:lnTo>
                    <a:pt x="147" y="267"/>
                  </a:lnTo>
                  <a:cubicBezTo>
                    <a:pt x="147" y="264"/>
                    <a:pt x="150" y="264"/>
                    <a:pt x="150" y="264"/>
                  </a:cubicBezTo>
                  <a:cubicBezTo>
                    <a:pt x="150" y="258"/>
                    <a:pt x="147" y="255"/>
                    <a:pt x="144" y="255"/>
                  </a:cubicBezTo>
                  <a:lnTo>
                    <a:pt x="144" y="261"/>
                  </a:lnTo>
                  <a:cubicBezTo>
                    <a:pt x="144" y="261"/>
                    <a:pt x="141" y="261"/>
                    <a:pt x="141" y="258"/>
                  </a:cubicBezTo>
                  <a:lnTo>
                    <a:pt x="141" y="264"/>
                  </a:lnTo>
                  <a:lnTo>
                    <a:pt x="139" y="267"/>
                  </a:lnTo>
                  <a:cubicBezTo>
                    <a:pt x="141" y="267"/>
                    <a:pt x="144" y="269"/>
                    <a:pt x="144" y="269"/>
                  </a:cubicBezTo>
                  <a:cubicBezTo>
                    <a:pt x="144" y="269"/>
                    <a:pt x="147" y="272"/>
                    <a:pt x="150" y="272"/>
                  </a:cubicBezTo>
                  <a:close/>
                  <a:moveTo>
                    <a:pt x="141" y="208"/>
                  </a:moveTo>
                  <a:lnTo>
                    <a:pt x="141" y="206"/>
                  </a:lnTo>
                  <a:cubicBezTo>
                    <a:pt x="139" y="208"/>
                    <a:pt x="139" y="208"/>
                    <a:pt x="141" y="208"/>
                  </a:cubicBezTo>
                  <a:close/>
                  <a:moveTo>
                    <a:pt x="139" y="220"/>
                  </a:moveTo>
                  <a:cubicBezTo>
                    <a:pt x="141" y="222"/>
                    <a:pt x="141" y="220"/>
                    <a:pt x="139" y="220"/>
                  </a:cubicBezTo>
                  <a:close/>
                  <a:moveTo>
                    <a:pt x="141" y="186"/>
                  </a:moveTo>
                  <a:lnTo>
                    <a:pt x="141" y="180"/>
                  </a:lnTo>
                  <a:lnTo>
                    <a:pt x="139" y="180"/>
                  </a:lnTo>
                  <a:lnTo>
                    <a:pt x="141" y="186"/>
                  </a:lnTo>
                  <a:close/>
                  <a:moveTo>
                    <a:pt x="144" y="194"/>
                  </a:moveTo>
                  <a:cubicBezTo>
                    <a:pt x="141" y="191"/>
                    <a:pt x="141" y="194"/>
                    <a:pt x="141" y="194"/>
                  </a:cubicBezTo>
                  <a:lnTo>
                    <a:pt x="144" y="194"/>
                  </a:lnTo>
                  <a:close/>
                  <a:moveTo>
                    <a:pt x="153" y="444"/>
                  </a:moveTo>
                  <a:cubicBezTo>
                    <a:pt x="144" y="447"/>
                    <a:pt x="141" y="453"/>
                    <a:pt x="141" y="456"/>
                  </a:cubicBezTo>
                  <a:lnTo>
                    <a:pt x="144" y="456"/>
                  </a:lnTo>
                  <a:lnTo>
                    <a:pt x="144" y="450"/>
                  </a:lnTo>
                  <a:cubicBezTo>
                    <a:pt x="153" y="447"/>
                    <a:pt x="153" y="450"/>
                    <a:pt x="153" y="444"/>
                  </a:cubicBezTo>
                  <a:close/>
                  <a:moveTo>
                    <a:pt x="141" y="248"/>
                  </a:moveTo>
                  <a:lnTo>
                    <a:pt x="144" y="251"/>
                  </a:lnTo>
                  <a:cubicBezTo>
                    <a:pt x="144" y="248"/>
                    <a:pt x="147" y="248"/>
                    <a:pt x="147" y="245"/>
                  </a:cubicBezTo>
                  <a:lnTo>
                    <a:pt x="147" y="239"/>
                  </a:lnTo>
                  <a:cubicBezTo>
                    <a:pt x="147" y="242"/>
                    <a:pt x="144" y="242"/>
                    <a:pt x="144" y="242"/>
                  </a:cubicBezTo>
                  <a:lnTo>
                    <a:pt x="141" y="248"/>
                  </a:lnTo>
                  <a:close/>
                  <a:moveTo>
                    <a:pt x="158" y="430"/>
                  </a:moveTo>
                  <a:cubicBezTo>
                    <a:pt x="156" y="433"/>
                    <a:pt x="156" y="433"/>
                    <a:pt x="153" y="433"/>
                  </a:cubicBezTo>
                  <a:lnTo>
                    <a:pt x="147" y="436"/>
                  </a:lnTo>
                  <a:cubicBezTo>
                    <a:pt x="147" y="439"/>
                    <a:pt x="150" y="439"/>
                    <a:pt x="150" y="439"/>
                  </a:cubicBezTo>
                  <a:cubicBezTo>
                    <a:pt x="150" y="436"/>
                    <a:pt x="153" y="433"/>
                    <a:pt x="156" y="433"/>
                  </a:cubicBezTo>
                  <a:cubicBezTo>
                    <a:pt x="158" y="436"/>
                    <a:pt x="158" y="433"/>
                    <a:pt x="158" y="430"/>
                  </a:cubicBezTo>
                  <a:close/>
                  <a:moveTo>
                    <a:pt x="150" y="337"/>
                  </a:moveTo>
                  <a:cubicBezTo>
                    <a:pt x="153" y="337"/>
                    <a:pt x="153" y="334"/>
                    <a:pt x="153" y="334"/>
                  </a:cubicBezTo>
                  <a:lnTo>
                    <a:pt x="150" y="337"/>
                  </a:lnTo>
                  <a:close/>
                  <a:moveTo>
                    <a:pt x="167" y="306"/>
                  </a:moveTo>
                  <a:cubicBezTo>
                    <a:pt x="164" y="303"/>
                    <a:pt x="164" y="303"/>
                    <a:pt x="164" y="300"/>
                  </a:cubicBezTo>
                  <a:cubicBezTo>
                    <a:pt x="164" y="298"/>
                    <a:pt x="161" y="298"/>
                    <a:pt x="158" y="298"/>
                  </a:cubicBezTo>
                  <a:lnTo>
                    <a:pt x="157" y="296"/>
                  </a:lnTo>
                  <a:lnTo>
                    <a:pt x="156" y="298"/>
                  </a:lnTo>
                  <a:cubicBezTo>
                    <a:pt x="156" y="298"/>
                    <a:pt x="156" y="300"/>
                    <a:pt x="153" y="300"/>
                  </a:cubicBezTo>
                  <a:lnTo>
                    <a:pt x="158" y="300"/>
                  </a:lnTo>
                  <a:lnTo>
                    <a:pt x="158" y="303"/>
                  </a:lnTo>
                  <a:lnTo>
                    <a:pt x="153" y="303"/>
                  </a:lnTo>
                  <a:lnTo>
                    <a:pt x="153" y="306"/>
                  </a:lnTo>
                  <a:lnTo>
                    <a:pt x="164" y="309"/>
                  </a:lnTo>
                  <a:lnTo>
                    <a:pt x="164" y="312"/>
                  </a:lnTo>
                  <a:cubicBezTo>
                    <a:pt x="161" y="312"/>
                    <a:pt x="161" y="312"/>
                    <a:pt x="161" y="315"/>
                  </a:cubicBezTo>
                  <a:lnTo>
                    <a:pt x="164" y="317"/>
                  </a:lnTo>
                  <a:lnTo>
                    <a:pt x="164" y="315"/>
                  </a:lnTo>
                  <a:lnTo>
                    <a:pt x="167" y="306"/>
                  </a:lnTo>
                  <a:close/>
                  <a:moveTo>
                    <a:pt x="156" y="295"/>
                  </a:moveTo>
                  <a:lnTo>
                    <a:pt x="164" y="295"/>
                  </a:lnTo>
                  <a:lnTo>
                    <a:pt x="158" y="289"/>
                  </a:lnTo>
                  <a:cubicBezTo>
                    <a:pt x="158" y="292"/>
                    <a:pt x="156" y="292"/>
                    <a:pt x="156" y="289"/>
                  </a:cubicBezTo>
                  <a:cubicBezTo>
                    <a:pt x="153" y="289"/>
                    <a:pt x="153" y="289"/>
                    <a:pt x="153" y="292"/>
                  </a:cubicBezTo>
                  <a:lnTo>
                    <a:pt x="156" y="292"/>
                  </a:lnTo>
                  <a:lnTo>
                    <a:pt x="158" y="295"/>
                  </a:lnTo>
                  <a:lnTo>
                    <a:pt x="157" y="296"/>
                  </a:lnTo>
                  <a:lnTo>
                    <a:pt x="156" y="295"/>
                  </a:lnTo>
                  <a:close/>
                  <a:moveTo>
                    <a:pt x="156" y="331"/>
                  </a:moveTo>
                  <a:lnTo>
                    <a:pt x="156" y="326"/>
                  </a:lnTo>
                  <a:lnTo>
                    <a:pt x="153" y="326"/>
                  </a:lnTo>
                  <a:cubicBezTo>
                    <a:pt x="153" y="329"/>
                    <a:pt x="153" y="329"/>
                    <a:pt x="156" y="331"/>
                  </a:cubicBezTo>
                  <a:close/>
                  <a:moveTo>
                    <a:pt x="153" y="317"/>
                  </a:moveTo>
                  <a:lnTo>
                    <a:pt x="156" y="320"/>
                  </a:lnTo>
                  <a:lnTo>
                    <a:pt x="156" y="317"/>
                  </a:lnTo>
                  <a:lnTo>
                    <a:pt x="156" y="315"/>
                  </a:lnTo>
                  <a:cubicBezTo>
                    <a:pt x="156" y="312"/>
                    <a:pt x="153" y="312"/>
                    <a:pt x="153" y="312"/>
                  </a:cubicBezTo>
                  <a:lnTo>
                    <a:pt x="153" y="317"/>
                  </a:lnTo>
                  <a:close/>
                  <a:moveTo>
                    <a:pt x="170" y="329"/>
                  </a:moveTo>
                  <a:cubicBezTo>
                    <a:pt x="167" y="326"/>
                    <a:pt x="164" y="326"/>
                    <a:pt x="161" y="326"/>
                  </a:cubicBezTo>
                  <a:cubicBezTo>
                    <a:pt x="161" y="323"/>
                    <a:pt x="161" y="323"/>
                    <a:pt x="164" y="320"/>
                  </a:cubicBezTo>
                  <a:lnTo>
                    <a:pt x="156" y="320"/>
                  </a:lnTo>
                  <a:lnTo>
                    <a:pt x="156" y="323"/>
                  </a:lnTo>
                  <a:lnTo>
                    <a:pt x="161" y="323"/>
                  </a:lnTo>
                  <a:cubicBezTo>
                    <a:pt x="158" y="326"/>
                    <a:pt x="158" y="329"/>
                    <a:pt x="156" y="331"/>
                  </a:cubicBezTo>
                  <a:lnTo>
                    <a:pt x="156" y="337"/>
                  </a:lnTo>
                  <a:lnTo>
                    <a:pt x="156" y="340"/>
                  </a:lnTo>
                  <a:lnTo>
                    <a:pt x="153" y="340"/>
                  </a:lnTo>
                  <a:lnTo>
                    <a:pt x="153" y="348"/>
                  </a:lnTo>
                  <a:lnTo>
                    <a:pt x="156" y="348"/>
                  </a:lnTo>
                  <a:lnTo>
                    <a:pt x="158" y="346"/>
                  </a:lnTo>
                  <a:lnTo>
                    <a:pt x="161" y="337"/>
                  </a:lnTo>
                  <a:lnTo>
                    <a:pt x="158" y="334"/>
                  </a:lnTo>
                  <a:lnTo>
                    <a:pt x="156" y="331"/>
                  </a:lnTo>
                  <a:lnTo>
                    <a:pt x="161" y="331"/>
                  </a:lnTo>
                  <a:cubicBezTo>
                    <a:pt x="161" y="331"/>
                    <a:pt x="161" y="334"/>
                    <a:pt x="164" y="334"/>
                  </a:cubicBezTo>
                  <a:cubicBezTo>
                    <a:pt x="164" y="337"/>
                    <a:pt x="167" y="340"/>
                    <a:pt x="170" y="337"/>
                  </a:cubicBezTo>
                  <a:lnTo>
                    <a:pt x="172" y="337"/>
                  </a:lnTo>
                  <a:cubicBezTo>
                    <a:pt x="167" y="337"/>
                    <a:pt x="167" y="331"/>
                    <a:pt x="170" y="329"/>
                  </a:cubicBezTo>
                  <a:close/>
                  <a:moveTo>
                    <a:pt x="156" y="284"/>
                  </a:moveTo>
                  <a:cubicBezTo>
                    <a:pt x="158" y="284"/>
                    <a:pt x="158" y="284"/>
                    <a:pt x="161" y="281"/>
                  </a:cubicBezTo>
                  <a:cubicBezTo>
                    <a:pt x="161" y="278"/>
                    <a:pt x="158" y="278"/>
                    <a:pt x="156" y="278"/>
                  </a:cubicBezTo>
                  <a:lnTo>
                    <a:pt x="156" y="284"/>
                  </a:lnTo>
                  <a:close/>
                  <a:moveTo>
                    <a:pt x="161" y="360"/>
                  </a:moveTo>
                  <a:cubicBezTo>
                    <a:pt x="161" y="363"/>
                    <a:pt x="158" y="365"/>
                    <a:pt x="158" y="365"/>
                  </a:cubicBezTo>
                  <a:cubicBezTo>
                    <a:pt x="161" y="365"/>
                    <a:pt x="161" y="365"/>
                    <a:pt x="161" y="368"/>
                  </a:cubicBezTo>
                  <a:lnTo>
                    <a:pt x="161" y="371"/>
                  </a:lnTo>
                  <a:lnTo>
                    <a:pt x="161" y="374"/>
                  </a:lnTo>
                  <a:cubicBezTo>
                    <a:pt x="161" y="377"/>
                    <a:pt x="161" y="377"/>
                    <a:pt x="164" y="377"/>
                  </a:cubicBezTo>
                  <a:cubicBezTo>
                    <a:pt x="161" y="377"/>
                    <a:pt x="161" y="379"/>
                    <a:pt x="161" y="382"/>
                  </a:cubicBezTo>
                  <a:lnTo>
                    <a:pt x="164" y="385"/>
                  </a:lnTo>
                  <a:cubicBezTo>
                    <a:pt x="167" y="385"/>
                    <a:pt x="167" y="385"/>
                    <a:pt x="170" y="382"/>
                  </a:cubicBezTo>
                  <a:lnTo>
                    <a:pt x="172" y="382"/>
                  </a:lnTo>
                  <a:lnTo>
                    <a:pt x="175" y="385"/>
                  </a:lnTo>
                  <a:lnTo>
                    <a:pt x="175" y="379"/>
                  </a:lnTo>
                  <a:lnTo>
                    <a:pt x="175" y="377"/>
                  </a:lnTo>
                  <a:lnTo>
                    <a:pt x="170" y="377"/>
                  </a:lnTo>
                  <a:lnTo>
                    <a:pt x="164" y="377"/>
                  </a:lnTo>
                  <a:lnTo>
                    <a:pt x="164" y="368"/>
                  </a:lnTo>
                  <a:cubicBezTo>
                    <a:pt x="164" y="365"/>
                    <a:pt x="164" y="363"/>
                    <a:pt x="167" y="360"/>
                  </a:cubicBezTo>
                  <a:lnTo>
                    <a:pt x="164" y="360"/>
                  </a:lnTo>
                  <a:lnTo>
                    <a:pt x="164" y="351"/>
                  </a:lnTo>
                  <a:lnTo>
                    <a:pt x="161" y="351"/>
                  </a:lnTo>
                  <a:cubicBezTo>
                    <a:pt x="164" y="357"/>
                    <a:pt x="161" y="357"/>
                    <a:pt x="161" y="360"/>
                  </a:cubicBezTo>
                  <a:close/>
                  <a:moveTo>
                    <a:pt x="158" y="405"/>
                  </a:moveTo>
                  <a:lnTo>
                    <a:pt x="158" y="410"/>
                  </a:lnTo>
                  <a:lnTo>
                    <a:pt x="161" y="410"/>
                  </a:lnTo>
                  <a:cubicBezTo>
                    <a:pt x="161" y="410"/>
                    <a:pt x="158" y="408"/>
                    <a:pt x="158" y="405"/>
                  </a:cubicBezTo>
                  <a:close/>
                  <a:moveTo>
                    <a:pt x="172" y="430"/>
                  </a:moveTo>
                  <a:cubicBezTo>
                    <a:pt x="172" y="433"/>
                    <a:pt x="170" y="433"/>
                    <a:pt x="167" y="433"/>
                  </a:cubicBezTo>
                  <a:lnTo>
                    <a:pt x="158" y="433"/>
                  </a:lnTo>
                  <a:cubicBezTo>
                    <a:pt x="158" y="436"/>
                    <a:pt x="161" y="436"/>
                    <a:pt x="164" y="439"/>
                  </a:cubicBezTo>
                  <a:lnTo>
                    <a:pt x="167" y="439"/>
                  </a:lnTo>
                  <a:lnTo>
                    <a:pt x="170" y="441"/>
                  </a:lnTo>
                  <a:cubicBezTo>
                    <a:pt x="170" y="436"/>
                    <a:pt x="172" y="433"/>
                    <a:pt x="172" y="430"/>
                  </a:cubicBezTo>
                  <a:close/>
                  <a:moveTo>
                    <a:pt x="172" y="396"/>
                  </a:moveTo>
                  <a:lnTo>
                    <a:pt x="167" y="396"/>
                  </a:lnTo>
                  <a:lnTo>
                    <a:pt x="161" y="396"/>
                  </a:lnTo>
                  <a:lnTo>
                    <a:pt x="167" y="402"/>
                  </a:lnTo>
                  <a:lnTo>
                    <a:pt x="167" y="405"/>
                  </a:lnTo>
                  <a:cubicBezTo>
                    <a:pt x="167" y="405"/>
                    <a:pt x="167" y="408"/>
                    <a:pt x="164" y="408"/>
                  </a:cubicBezTo>
                  <a:cubicBezTo>
                    <a:pt x="167" y="408"/>
                    <a:pt x="167" y="405"/>
                    <a:pt x="170" y="405"/>
                  </a:cubicBezTo>
                  <a:lnTo>
                    <a:pt x="172" y="405"/>
                  </a:lnTo>
                  <a:lnTo>
                    <a:pt x="175" y="405"/>
                  </a:lnTo>
                  <a:lnTo>
                    <a:pt x="172" y="396"/>
                  </a:lnTo>
                  <a:close/>
                  <a:moveTo>
                    <a:pt x="172" y="419"/>
                  </a:moveTo>
                  <a:cubicBezTo>
                    <a:pt x="170" y="419"/>
                    <a:pt x="170" y="419"/>
                    <a:pt x="170" y="422"/>
                  </a:cubicBezTo>
                  <a:lnTo>
                    <a:pt x="172" y="425"/>
                  </a:lnTo>
                  <a:lnTo>
                    <a:pt x="170" y="425"/>
                  </a:lnTo>
                  <a:lnTo>
                    <a:pt x="167" y="425"/>
                  </a:lnTo>
                  <a:lnTo>
                    <a:pt x="167" y="427"/>
                  </a:lnTo>
                  <a:lnTo>
                    <a:pt x="167" y="430"/>
                  </a:lnTo>
                  <a:cubicBezTo>
                    <a:pt x="172" y="427"/>
                    <a:pt x="175" y="425"/>
                    <a:pt x="172" y="419"/>
                  </a:cubicBezTo>
                  <a:close/>
                  <a:moveTo>
                    <a:pt x="175" y="360"/>
                  </a:moveTo>
                  <a:cubicBezTo>
                    <a:pt x="175" y="357"/>
                    <a:pt x="172" y="357"/>
                    <a:pt x="172" y="354"/>
                  </a:cubicBezTo>
                  <a:cubicBezTo>
                    <a:pt x="170" y="357"/>
                    <a:pt x="170" y="357"/>
                    <a:pt x="170" y="360"/>
                  </a:cubicBezTo>
                  <a:lnTo>
                    <a:pt x="172" y="360"/>
                  </a:lnTo>
                  <a:lnTo>
                    <a:pt x="175" y="360"/>
                  </a:lnTo>
                  <a:close/>
                  <a:moveTo>
                    <a:pt x="172" y="374"/>
                  </a:moveTo>
                  <a:lnTo>
                    <a:pt x="172" y="368"/>
                  </a:lnTo>
                  <a:lnTo>
                    <a:pt x="170" y="368"/>
                  </a:lnTo>
                  <a:cubicBezTo>
                    <a:pt x="172" y="371"/>
                    <a:pt x="172" y="371"/>
                    <a:pt x="172" y="3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6" name="Freeform 1457"/>
            <p:cNvSpPr>
              <a:spLocks noChangeArrowheads="1"/>
            </p:cNvSpPr>
            <p:nvPr/>
          </p:nvSpPr>
          <p:spPr bwMode="auto">
            <a:xfrm>
              <a:off x="4022725" y="2471738"/>
              <a:ext cx="84138" cy="176212"/>
            </a:xfrm>
            <a:custGeom>
              <a:avLst/>
              <a:gdLst>
                <a:gd name="T0" fmla="*/ 175 w 232"/>
                <a:gd name="T1" fmla="*/ 459 h 491"/>
                <a:gd name="T2" fmla="*/ 124 w 232"/>
                <a:gd name="T3" fmla="*/ 323 h 491"/>
                <a:gd name="T4" fmla="*/ 121 w 232"/>
                <a:gd name="T5" fmla="*/ 433 h 491"/>
                <a:gd name="T6" fmla="*/ 70 w 232"/>
                <a:gd name="T7" fmla="*/ 436 h 491"/>
                <a:gd name="T8" fmla="*/ 62 w 232"/>
                <a:gd name="T9" fmla="*/ 363 h 491"/>
                <a:gd name="T10" fmla="*/ 33 w 232"/>
                <a:gd name="T11" fmla="*/ 203 h 491"/>
                <a:gd name="T12" fmla="*/ 22 w 232"/>
                <a:gd name="T13" fmla="*/ 141 h 491"/>
                <a:gd name="T14" fmla="*/ 45 w 232"/>
                <a:gd name="T15" fmla="*/ 14 h 491"/>
                <a:gd name="T16" fmla="*/ 67 w 232"/>
                <a:gd name="T17" fmla="*/ 101 h 491"/>
                <a:gd name="T18" fmla="*/ 84 w 232"/>
                <a:gd name="T19" fmla="*/ 172 h 491"/>
                <a:gd name="T20" fmla="*/ 141 w 232"/>
                <a:gd name="T21" fmla="*/ 0 h 491"/>
                <a:gd name="T22" fmla="*/ 135 w 232"/>
                <a:gd name="T23" fmla="*/ 115 h 491"/>
                <a:gd name="T24" fmla="*/ 149 w 232"/>
                <a:gd name="T25" fmla="*/ 242 h 491"/>
                <a:gd name="T26" fmla="*/ 191 w 232"/>
                <a:gd name="T27" fmla="*/ 377 h 491"/>
                <a:gd name="T28" fmla="*/ 22 w 232"/>
                <a:gd name="T29" fmla="*/ 42 h 491"/>
                <a:gd name="T30" fmla="*/ 39 w 232"/>
                <a:gd name="T31" fmla="*/ 84 h 491"/>
                <a:gd name="T32" fmla="*/ 33 w 232"/>
                <a:gd name="T33" fmla="*/ 90 h 491"/>
                <a:gd name="T34" fmla="*/ 36 w 232"/>
                <a:gd name="T35" fmla="*/ 144 h 491"/>
                <a:gd name="T36" fmla="*/ 50 w 232"/>
                <a:gd name="T37" fmla="*/ 149 h 491"/>
                <a:gd name="T38" fmla="*/ 56 w 232"/>
                <a:gd name="T39" fmla="*/ 152 h 491"/>
                <a:gd name="T40" fmla="*/ 146 w 232"/>
                <a:gd name="T41" fmla="*/ 315 h 491"/>
                <a:gd name="T42" fmla="*/ 135 w 232"/>
                <a:gd name="T43" fmla="*/ 289 h 491"/>
                <a:gd name="T44" fmla="*/ 115 w 232"/>
                <a:gd name="T45" fmla="*/ 285 h 491"/>
                <a:gd name="T46" fmla="*/ 127 w 232"/>
                <a:gd name="T47" fmla="*/ 276 h 491"/>
                <a:gd name="T48" fmla="*/ 112 w 232"/>
                <a:gd name="T49" fmla="*/ 256 h 491"/>
                <a:gd name="T50" fmla="*/ 118 w 232"/>
                <a:gd name="T51" fmla="*/ 251 h 491"/>
                <a:gd name="T52" fmla="*/ 101 w 232"/>
                <a:gd name="T53" fmla="*/ 228 h 491"/>
                <a:gd name="T54" fmla="*/ 79 w 232"/>
                <a:gd name="T55" fmla="*/ 200 h 491"/>
                <a:gd name="T56" fmla="*/ 101 w 232"/>
                <a:gd name="T57" fmla="*/ 225 h 491"/>
                <a:gd name="T58" fmla="*/ 74 w 232"/>
                <a:gd name="T59" fmla="*/ 217 h 491"/>
                <a:gd name="T60" fmla="*/ 64 w 232"/>
                <a:gd name="T61" fmla="*/ 251 h 491"/>
                <a:gd name="T62" fmla="*/ 81 w 232"/>
                <a:gd name="T63" fmla="*/ 262 h 491"/>
                <a:gd name="T64" fmla="*/ 93 w 232"/>
                <a:gd name="T65" fmla="*/ 282 h 491"/>
                <a:gd name="T66" fmla="*/ 129 w 232"/>
                <a:gd name="T67" fmla="*/ 288 h 491"/>
                <a:gd name="T68" fmla="*/ 91 w 232"/>
                <a:gd name="T69" fmla="*/ 288 h 491"/>
                <a:gd name="T70" fmla="*/ 70 w 232"/>
                <a:gd name="T71" fmla="*/ 279 h 491"/>
                <a:gd name="T72" fmla="*/ 90 w 232"/>
                <a:gd name="T73" fmla="*/ 298 h 491"/>
                <a:gd name="T74" fmla="*/ 118 w 232"/>
                <a:gd name="T75" fmla="*/ 312 h 491"/>
                <a:gd name="T76" fmla="*/ 89 w 232"/>
                <a:gd name="T77" fmla="*/ 227 h 491"/>
                <a:gd name="T78" fmla="*/ 79 w 232"/>
                <a:gd name="T79" fmla="*/ 206 h 491"/>
                <a:gd name="T80" fmla="*/ 62 w 232"/>
                <a:gd name="T81" fmla="*/ 206 h 491"/>
                <a:gd name="T82" fmla="*/ 45 w 232"/>
                <a:gd name="T83" fmla="*/ 194 h 491"/>
                <a:gd name="T84" fmla="*/ 53 w 232"/>
                <a:gd name="T85" fmla="*/ 217 h 491"/>
                <a:gd name="T86" fmla="*/ 59 w 232"/>
                <a:gd name="T87" fmla="*/ 231 h 491"/>
                <a:gd name="T88" fmla="*/ 62 w 232"/>
                <a:gd name="T89" fmla="*/ 172 h 491"/>
                <a:gd name="T90" fmla="*/ 81 w 232"/>
                <a:gd name="T91" fmla="*/ 306 h 491"/>
                <a:gd name="T92" fmla="*/ 87 w 232"/>
                <a:gd name="T93" fmla="*/ 332 h 491"/>
                <a:gd name="T94" fmla="*/ 79 w 232"/>
                <a:gd name="T95" fmla="*/ 349 h 491"/>
                <a:gd name="T96" fmla="*/ 87 w 232"/>
                <a:gd name="T97" fmla="*/ 391 h 491"/>
                <a:gd name="T98" fmla="*/ 98 w 232"/>
                <a:gd name="T99" fmla="*/ 428 h 491"/>
                <a:gd name="T100" fmla="*/ 98 w 232"/>
                <a:gd name="T101" fmla="*/ 169 h 491"/>
                <a:gd name="T102" fmla="*/ 112 w 232"/>
                <a:gd name="T103" fmla="*/ 200 h 491"/>
                <a:gd name="T104" fmla="*/ 132 w 232"/>
                <a:gd name="T105" fmla="*/ 279 h 491"/>
                <a:gd name="T106" fmla="*/ 135 w 232"/>
                <a:gd name="T107" fmla="*/ 256 h 491"/>
                <a:gd name="T108" fmla="*/ 146 w 232"/>
                <a:gd name="T109" fmla="*/ 321 h 491"/>
                <a:gd name="T110" fmla="*/ 158 w 232"/>
                <a:gd name="T111" fmla="*/ 334 h 491"/>
                <a:gd name="T112" fmla="*/ 149 w 232"/>
                <a:gd name="T113" fmla="*/ 326 h 491"/>
                <a:gd name="T114" fmla="*/ 175 w 232"/>
                <a:gd name="T115" fmla="*/ 363 h 491"/>
                <a:gd name="T116" fmla="*/ 186 w 232"/>
                <a:gd name="T117" fmla="*/ 411 h 491"/>
                <a:gd name="T118" fmla="*/ 197 w 232"/>
                <a:gd name="T119" fmla="*/ 428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2" h="491">
                  <a:moveTo>
                    <a:pt x="231" y="453"/>
                  </a:moveTo>
                  <a:cubicBezTo>
                    <a:pt x="228" y="456"/>
                    <a:pt x="228" y="461"/>
                    <a:pt x="225" y="467"/>
                  </a:cubicBezTo>
                  <a:lnTo>
                    <a:pt x="220" y="467"/>
                  </a:lnTo>
                  <a:cubicBezTo>
                    <a:pt x="217" y="467"/>
                    <a:pt x="214" y="467"/>
                    <a:pt x="214" y="470"/>
                  </a:cubicBezTo>
                  <a:lnTo>
                    <a:pt x="208" y="470"/>
                  </a:lnTo>
                  <a:cubicBezTo>
                    <a:pt x="206" y="470"/>
                    <a:pt x="206" y="470"/>
                    <a:pt x="203" y="473"/>
                  </a:cubicBezTo>
                  <a:lnTo>
                    <a:pt x="200" y="473"/>
                  </a:lnTo>
                  <a:lnTo>
                    <a:pt x="197" y="473"/>
                  </a:lnTo>
                  <a:lnTo>
                    <a:pt x="194" y="473"/>
                  </a:lnTo>
                  <a:lnTo>
                    <a:pt x="189" y="473"/>
                  </a:lnTo>
                  <a:cubicBezTo>
                    <a:pt x="186" y="473"/>
                    <a:pt x="183" y="470"/>
                    <a:pt x="180" y="467"/>
                  </a:cubicBezTo>
                  <a:cubicBezTo>
                    <a:pt x="177" y="464"/>
                    <a:pt x="177" y="461"/>
                    <a:pt x="175" y="459"/>
                  </a:cubicBezTo>
                  <a:cubicBezTo>
                    <a:pt x="175" y="456"/>
                    <a:pt x="175" y="456"/>
                    <a:pt x="177" y="453"/>
                  </a:cubicBezTo>
                  <a:cubicBezTo>
                    <a:pt x="175" y="450"/>
                    <a:pt x="175" y="447"/>
                    <a:pt x="175" y="444"/>
                  </a:cubicBezTo>
                  <a:cubicBezTo>
                    <a:pt x="175" y="442"/>
                    <a:pt x="175" y="439"/>
                    <a:pt x="172" y="436"/>
                  </a:cubicBezTo>
                  <a:cubicBezTo>
                    <a:pt x="166" y="430"/>
                    <a:pt x="163" y="422"/>
                    <a:pt x="163" y="413"/>
                  </a:cubicBezTo>
                  <a:cubicBezTo>
                    <a:pt x="160" y="408"/>
                    <a:pt x="158" y="402"/>
                    <a:pt x="158" y="397"/>
                  </a:cubicBezTo>
                  <a:cubicBezTo>
                    <a:pt x="155" y="391"/>
                    <a:pt x="155" y="385"/>
                    <a:pt x="152" y="382"/>
                  </a:cubicBezTo>
                  <a:lnTo>
                    <a:pt x="152" y="380"/>
                  </a:lnTo>
                  <a:cubicBezTo>
                    <a:pt x="144" y="377"/>
                    <a:pt x="144" y="371"/>
                    <a:pt x="144" y="368"/>
                  </a:cubicBezTo>
                  <a:cubicBezTo>
                    <a:pt x="144" y="365"/>
                    <a:pt x="141" y="360"/>
                    <a:pt x="141" y="357"/>
                  </a:cubicBezTo>
                  <a:cubicBezTo>
                    <a:pt x="138" y="351"/>
                    <a:pt x="135" y="346"/>
                    <a:pt x="135" y="340"/>
                  </a:cubicBezTo>
                  <a:cubicBezTo>
                    <a:pt x="132" y="334"/>
                    <a:pt x="129" y="332"/>
                    <a:pt x="127" y="326"/>
                  </a:cubicBezTo>
                  <a:cubicBezTo>
                    <a:pt x="127" y="326"/>
                    <a:pt x="127" y="323"/>
                    <a:pt x="124" y="323"/>
                  </a:cubicBezTo>
                  <a:lnTo>
                    <a:pt x="115" y="323"/>
                  </a:lnTo>
                  <a:cubicBezTo>
                    <a:pt x="112" y="326"/>
                    <a:pt x="110" y="329"/>
                    <a:pt x="110" y="334"/>
                  </a:cubicBezTo>
                  <a:lnTo>
                    <a:pt x="110" y="346"/>
                  </a:lnTo>
                  <a:lnTo>
                    <a:pt x="110" y="360"/>
                  </a:lnTo>
                  <a:lnTo>
                    <a:pt x="110" y="374"/>
                  </a:lnTo>
                  <a:lnTo>
                    <a:pt x="110" y="380"/>
                  </a:lnTo>
                  <a:cubicBezTo>
                    <a:pt x="110" y="382"/>
                    <a:pt x="110" y="385"/>
                    <a:pt x="112" y="385"/>
                  </a:cubicBezTo>
                  <a:cubicBezTo>
                    <a:pt x="115" y="388"/>
                    <a:pt x="115" y="391"/>
                    <a:pt x="112" y="394"/>
                  </a:cubicBezTo>
                  <a:lnTo>
                    <a:pt x="112" y="399"/>
                  </a:lnTo>
                  <a:lnTo>
                    <a:pt x="112" y="402"/>
                  </a:lnTo>
                  <a:lnTo>
                    <a:pt x="118" y="428"/>
                  </a:lnTo>
                  <a:cubicBezTo>
                    <a:pt x="118" y="430"/>
                    <a:pt x="118" y="430"/>
                    <a:pt x="121" y="433"/>
                  </a:cubicBezTo>
                  <a:cubicBezTo>
                    <a:pt x="121" y="436"/>
                    <a:pt x="121" y="436"/>
                    <a:pt x="118" y="439"/>
                  </a:cubicBezTo>
                  <a:lnTo>
                    <a:pt x="118" y="444"/>
                  </a:lnTo>
                  <a:cubicBezTo>
                    <a:pt x="124" y="447"/>
                    <a:pt x="121" y="453"/>
                    <a:pt x="121" y="459"/>
                  </a:cubicBezTo>
                  <a:lnTo>
                    <a:pt x="121" y="467"/>
                  </a:lnTo>
                  <a:lnTo>
                    <a:pt x="121" y="475"/>
                  </a:lnTo>
                  <a:cubicBezTo>
                    <a:pt x="118" y="475"/>
                    <a:pt x="118" y="478"/>
                    <a:pt x="115" y="478"/>
                  </a:cubicBezTo>
                  <a:lnTo>
                    <a:pt x="110" y="484"/>
                  </a:lnTo>
                  <a:lnTo>
                    <a:pt x="81" y="490"/>
                  </a:lnTo>
                  <a:lnTo>
                    <a:pt x="73" y="481"/>
                  </a:lnTo>
                  <a:cubicBezTo>
                    <a:pt x="70" y="473"/>
                    <a:pt x="70" y="461"/>
                    <a:pt x="73" y="453"/>
                  </a:cubicBezTo>
                  <a:lnTo>
                    <a:pt x="73" y="444"/>
                  </a:lnTo>
                  <a:cubicBezTo>
                    <a:pt x="70" y="442"/>
                    <a:pt x="70" y="439"/>
                    <a:pt x="70" y="436"/>
                  </a:cubicBezTo>
                  <a:lnTo>
                    <a:pt x="70" y="433"/>
                  </a:lnTo>
                  <a:cubicBezTo>
                    <a:pt x="70" y="430"/>
                    <a:pt x="67" y="428"/>
                    <a:pt x="70" y="428"/>
                  </a:cubicBezTo>
                  <a:cubicBezTo>
                    <a:pt x="70" y="425"/>
                    <a:pt x="70" y="422"/>
                    <a:pt x="67" y="422"/>
                  </a:cubicBezTo>
                  <a:lnTo>
                    <a:pt x="67" y="416"/>
                  </a:lnTo>
                  <a:lnTo>
                    <a:pt x="67" y="405"/>
                  </a:lnTo>
                  <a:cubicBezTo>
                    <a:pt x="67" y="402"/>
                    <a:pt x="64" y="402"/>
                    <a:pt x="64" y="399"/>
                  </a:cubicBezTo>
                  <a:lnTo>
                    <a:pt x="64" y="394"/>
                  </a:lnTo>
                  <a:lnTo>
                    <a:pt x="64" y="388"/>
                  </a:lnTo>
                  <a:lnTo>
                    <a:pt x="64" y="385"/>
                  </a:lnTo>
                  <a:lnTo>
                    <a:pt x="64" y="382"/>
                  </a:lnTo>
                  <a:cubicBezTo>
                    <a:pt x="62" y="380"/>
                    <a:pt x="62" y="374"/>
                    <a:pt x="62" y="371"/>
                  </a:cubicBezTo>
                  <a:lnTo>
                    <a:pt x="62" y="363"/>
                  </a:lnTo>
                  <a:lnTo>
                    <a:pt x="62" y="357"/>
                  </a:lnTo>
                  <a:cubicBezTo>
                    <a:pt x="62" y="351"/>
                    <a:pt x="59" y="346"/>
                    <a:pt x="59" y="337"/>
                  </a:cubicBezTo>
                  <a:cubicBezTo>
                    <a:pt x="59" y="332"/>
                    <a:pt x="56" y="326"/>
                    <a:pt x="56" y="318"/>
                  </a:cubicBezTo>
                  <a:cubicBezTo>
                    <a:pt x="56" y="315"/>
                    <a:pt x="56" y="312"/>
                    <a:pt x="53" y="309"/>
                  </a:cubicBezTo>
                  <a:cubicBezTo>
                    <a:pt x="50" y="303"/>
                    <a:pt x="50" y="298"/>
                    <a:pt x="48" y="292"/>
                  </a:cubicBezTo>
                  <a:lnTo>
                    <a:pt x="48" y="285"/>
                  </a:lnTo>
                  <a:cubicBezTo>
                    <a:pt x="48" y="282"/>
                    <a:pt x="48" y="282"/>
                    <a:pt x="45" y="279"/>
                  </a:cubicBezTo>
                  <a:cubicBezTo>
                    <a:pt x="45" y="279"/>
                    <a:pt x="42" y="276"/>
                    <a:pt x="45" y="276"/>
                  </a:cubicBezTo>
                  <a:cubicBezTo>
                    <a:pt x="45" y="268"/>
                    <a:pt x="45" y="259"/>
                    <a:pt x="42" y="251"/>
                  </a:cubicBezTo>
                  <a:cubicBezTo>
                    <a:pt x="39" y="242"/>
                    <a:pt x="39" y="234"/>
                    <a:pt x="36" y="225"/>
                  </a:cubicBezTo>
                  <a:lnTo>
                    <a:pt x="36" y="214"/>
                  </a:lnTo>
                  <a:cubicBezTo>
                    <a:pt x="36" y="211"/>
                    <a:pt x="36" y="209"/>
                    <a:pt x="33" y="203"/>
                  </a:cubicBezTo>
                  <a:lnTo>
                    <a:pt x="33" y="200"/>
                  </a:lnTo>
                  <a:lnTo>
                    <a:pt x="33" y="197"/>
                  </a:lnTo>
                  <a:cubicBezTo>
                    <a:pt x="33" y="194"/>
                    <a:pt x="31" y="194"/>
                    <a:pt x="31" y="192"/>
                  </a:cubicBezTo>
                  <a:cubicBezTo>
                    <a:pt x="31" y="189"/>
                    <a:pt x="31" y="186"/>
                    <a:pt x="28" y="183"/>
                  </a:cubicBezTo>
                  <a:cubicBezTo>
                    <a:pt x="28" y="180"/>
                    <a:pt x="25" y="177"/>
                    <a:pt x="22" y="175"/>
                  </a:cubicBezTo>
                  <a:lnTo>
                    <a:pt x="22" y="172"/>
                  </a:lnTo>
                  <a:lnTo>
                    <a:pt x="22" y="169"/>
                  </a:lnTo>
                  <a:lnTo>
                    <a:pt x="22" y="163"/>
                  </a:lnTo>
                  <a:lnTo>
                    <a:pt x="22" y="158"/>
                  </a:lnTo>
                  <a:lnTo>
                    <a:pt x="22" y="152"/>
                  </a:lnTo>
                  <a:lnTo>
                    <a:pt x="22" y="146"/>
                  </a:lnTo>
                  <a:lnTo>
                    <a:pt x="22" y="141"/>
                  </a:lnTo>
                  <a:lnTo>
                    <a:pt x="17" y="110"/>
                  </a:lnTo>
                  <a:lnTo>
                    <a:pt x="17" y="107"/>
                  </a:lnTo>
                  <a:cubicBezTo>
                    <a:pt x="17" y="107"/>
                    <a:pt x="17" y="104"/>
                    <a:pt x="14" y="104"/>
                  </a:cubicBezTo>
                  <a:cubicBezTo>
                    <a:pt x="8" y="96"/>
                    <a:pt x="8" y="87"/>
                    <a:pt x="8" y="79"/>
                  </a:cubicBezTo>
                  <a:lnTo>
                    <a:pt x="8" y="76"/>
                  </a:lnTo>
                  <a:lnTo>
                    <a:pt x="8" y="73"/>
                  </a:lnTo>
                  <a:lnTo>
                    <a:pt x="2" y="39"/>
                  </a:lnTo>
                  <a:lnTo>
                    <a:pt x="2" y="36"/>
                  </a:lnTo>
                  <a:cubicBezTo>
                    <a:pt x="2" y="36"/>
                    <a:pt x="2" y="34"/>
                    <a:pt x="0" y="34"/>
                  </a:cubicBezTo>
                  <a:lnTo>
                    <a:pt x="5" y="28"/>
                  </a:lnTo>
                  <a:cubicBezTo>
                    <a:pt x="8" y="25"/>
                    <a:pt x="8" y="22"/>
                    <a:pt x="11" y="20"/>
                  </a:cubicBezTo>
                  <a:lnTo>
                    <a:pt x="45" y="14"/>
                  </a:lnTo>
                  <a:lnTo>
                    <a:pt x="48" y="17"/>
                  </a:lnTo>
                  <a:lnTo>
                    <a:pt x="50" y="20"/>
                  </a:lnTo>
                  <a:cubicBezTo>
                    <a:pt x="53" y="25"/>
                    <a:pt x="53" y="28"/>
                    <a:pt x="56" y="34"/>
                  </a:cubicBezTo>
                  <a:cubicBezTo>
                    <a:pt x="59" y="39"/>
                    <a:pt x="59" y="45"/>
                    <a:pt x="59" y="51"/>
                  </a:cubicBezTo>
                  <a:cubicBezTo>
                    <a:pt x="59" y="53"/>
                    <a:pt x="62" y="53"/>
                    <a:pt x="62" y="56"/>
                  </a:cubicBezTo>
                  <a:lnTo>
                    <a:pt x="62" y="59"/>
                  </a:lnTo>
                  <a:lnTo>
                    <a:pt x="62" y="65"/>
                  </a:lnTo>
                  <a:cubicBezTo>
                    <a:pt x="62" y="67"/>
                    <a:pt x="62" y="73"/>
                    <a:pt x="64" y="76"/>
                  </a:cubicBezTo>
                  <a:lnTo>
                    <a:pt x="64" y="82"/>
                  </a:lnTo>
                  <a:cubicBezTo>
                    <a:pt x="64" y="84"/>
                    <a:pt x="64" y="87"/>
                    <a:pt x="67" y="90"/>
                  </a:cubicBezTo>
                  <a:lnTo>
                    <a:pt x="67" y="99"/>
                  </a:lnTo>
                  <a:lnTo>
                    <a:pt x="67" y="101"/>
                  </a:lnTo>
                  <a:cubicBezTo>
                    <a:pt x="67" y="104"/>
                    <a:pt x="70" y="107"/>
                    <a:pt x="70" y="107"/>
                  </a:cubicBezTo>
                  <a:cubicBezTo>
                    <a:pt x="70" y="110"/>
                    <a:pt x="73" y="113"/>
                    <a:pt x="73" y="113"/>
                  </a:cubicBezTo>
                  <a:cubicBezTo>
                    <a:pt x="73" y="118"/>
                    <a:pt x="73" y="121"/>
                    <a:pt x="76" y="127"/>
                  </a:cubicBezTo>
                  <a:lnTo>
                    <a:pt x="79" y="130"/>
                  </a:lnTo>
                  <a:lnTo>
                    <a:pt x="79" y="132"/>
                  </a:lnTo>
                  <a:lnTo>
                    <a:pt x="79" y="138"/>
                  </a:lnTo>
                  <a:lnTo>
                    <a:pt x="79" y="141"/>
                  </a:lnTo>
                  <a:cubicBezTo>
                    <a:pt x="81" y="144"/>
                    <a:pt x="81" y="149"/>
                    <a:pt x="81" y="152"/>
                  </a:cubicBezTo>
                  <a:lnTo>
                    <a:pt x="81" y="155"/>
                  </a:lnTo>
                  <a:lnTo>
                    <a:pt x="81" y="161"/>
                  </a:lnTo>
                  <a:cubicBezTo>
                    <a:pt x="81" y="161"/>
                    <a:pt x="84" y="163"/>
                    <a:pt x="84" y="166"/>
                  </a:cubicBezTo>
                  <a:lnTo>
                    <a:pt x="84" y="172"/>
                  </a:lnTo>
                  <a:lnTo>
                    <a:pt x="93" y="172"/>
                  </a:lnTo>
                  <a:cubicBezTo>
                    <a:pt x="96" y="169"/>
                    <a:pt x="96" y="163"/>
                    <a:pt x="96" y="158"/>
                  </a:cubicBezTo>
                  <a:lnTo>
                    <a:pt x="96" y="144"/>
                  </a:lnTo>
                  <a:cubicBezTo>
                    <a:pt x="98" y="135"/>
                    <a:pt x="98" y="127"/>
                    <a:pt x="98" y="118"/>
                  </a:cubicBezTo>
                  <a:lnTo>
                    <a:pt x="98" y="90"/>
                  </a:lnTo>
                  <a:lnTo>
                    <a:pt x="101" y="73"/>
                  </a:lnTo>
                  <a:cubicBezTo>
                    <a:pt x="101" y="65"/>
                    <a:pt x="101" y="59"/>
                    <a:pt x="104" y="51"/>
                  </a:cubicBezTo>
                  <a:lnTo>
                    <a:pt x="104" y="39"/>
                  </a:lnTo>
                  <a:cubicBezTo>
                    <a:pt x="104" y="31"/>
                    <a:pt x="104" y="25"/>
                    <a:pt x="107" y="17"/>
                  </a:cubicBezTo>
                  <a:cubicBezTo>
                    <a:pt x="110" y="14"/>
                    <a:pt x="110" y="11"/>
                    <a:pt x="112" y="8"/>
                  </a:cubicBezTo>
                  <a:lnTo>
                    <a:pt x="118" y="3"/>
                  </a:lnTo>
                  <a:lnTo>
                    <a:pt x="141" y="0"/>
                  </a:lnTo>
                  <a:lnTo>
                    <a:pt x="144" y="3"/>
                  </a:lnTo>
                  <a:lnTo>
                    <a:pt x="149" y="8"/>
                  </a:lnTo>
                  <a:cubicBezTo>
                    <a:pt x="149" y="14"/>
                    <a:pt x="152" y="17"/>
                    <a:pt x="149" y="22"/>
                  </a:cubicBezTo>
                  <a:lnTo>
                    <a:pt x="144" y="28"/>
                  </a:lnTo>
                  <a:cubicBezTo>
                    <a:pt x="141" y="39"/>
                    <a:pt x="141" y="53"/>
                    <a:pt x="141" y="65"/>
                  </a:cubicBezTo>
                  <a:cubicBezTo>
                    <a:pt x="141" y="67"/>
                    <a:pt x="141" y="70"/>
                    <a:pt x="138" y="73"/>
                  </a:cubicBezTo>
                  <a:cubicBezTo>
                    <a:pt x="135" y="76"/>
                    <a:pt x="135" y="79"/>
                    <a:pt x="135" y="82"/>
                  </a:cubicBezTo>
                  <a:cubicBezTo>
                    <a:pt x="138" y="84"/>
                    <a:pt x="138" y="87"/>
                    <a:pt x="138" y="90"/>
                  </a:cubicBezTo>
                  <a:cubicBezTo>
                    <a:pt x="135" y="93"/>
                    <a:pt x="135" y="96"/>
                    <a:pt x="138" y="99"/>
                  </a:cubicBezTo>
                  <a:lnTo>
                    <a:pt x="135" y="101"/>
                  </a:lnTo>
                  <a:lnTo>
                    <a:pt x="135" y="104"/>
                  </a:lnTo>
                  <a:lnTo>
                    <a:pt x="135" y="115"/>
                  </a:lnTo>
                  <a:cubicBezTo>
                    <a:pt x="135" y="118"/>
                    <a:pt x="132" y="124"/>
                    <a:pt x="132" y="127"/>
                  </a:cubicBezTo>
                  <a:cubicBezTo>
                    <a:pt x="132" y="130"/>
                    <a:pt x="131" y="135"/>
                    <a:pt x="129" y="138"/>
                  </a:cubicBezTo>
                  <a:cubicBezTo>
                    <a:pt x="126" y="141"/>
                    <a:pt x="127" y="146"/>
                    <a:pt x="127" y="149"/>
                  </a:cubicBezTo>
                  <a:cubicBezTo>
                    <a:pt x="124" y="152"/>
                    <a:pt x="124" y="152"/>
                    <a:pt x="127" y="155"/>
                  </a:cubicBezTo>
                  <a:lnTo>
                    <a:pt x="127" y="166"/>
                  </a:lnTo>
                  <a:lnTo>
                    <a:pt x="127" y="172"/>
                  </a:lnTo>
                  <a:cubicBezTo>
                    <a:pt x="129" y="175"/>
                    <a:pt x="129" y="177"/>
                    <a:pt x="129" y="180"/>
                  </a:cubicBezTo>
                  <a:lnTo>
                    <a:pt x="129" y="186"/>
                  </a:lnTo>
                  <a:cubicBezTo>
                    <a:pt x="129" y="189"/>
                    <a:pt x="129" y="189"/>
                    <a:pt x="132" y="192"/>
                  </a:cubicBezTo>
                  <a:cubicBezTo>
                    <a:pt x="132" y="197"/>
                    <a:pt x="132" y="200"/>
                    <a:pt x="135" y="206"/>
                  </a:cubicBezTo>
                  <a:cubicBezTo>
                    <a:pt x="141" y="214"/>
                    <a:pt x="144" y="223"/>
                    <a:pt x="146" y="231"/>
                  </a:cubicBezTo>
                  <a:lnTo>
                    <a:pt x="149" y="242"/>
                  </a:lnTo>
                  <a:cubicBezTo>
                    <a:pt x="149" y="245"/>
                    <a:pt x="149" y="245"/>
                    <a:pt x="152" y="248"/>
                  </a:cubicBezTo>
                  <a:cubicBezTo>
                    <a:pt x="152" y="251"/>
                    <a:pt x="155" y="256"/>
                    <a:pt x="155" y="259"/>
                  </a:cubicBezTo>
                  <a:lnTo>
                    <a:pt x="155" y="265"/>
                  </a:lnTo>
                  <a:cubicBezTo>
                    <a:pt x="155" y="271"/>
                    <a:pt x="158" y="279"/>
                    <a:pt x="163" y="285"/>
                  </a:cubicBezTo>
                  <a:cubicBezTo>
                    <a:pt x="166" y="288"/>
                    <a:pt x="166" y="289"/>
                    <a:pt x="166" y="292"/>
                  </a:cubicBezTo>
                  <a:cubicBezTo>
                    <a:pt x="166" y="298"/>
                    <a:pt x="169" y="303"/>
                    <a:pt x="169" y="309"/>
                  </a:cubicBezTo>
                  <a:cubicBezTo>
                    <a:pt x="172" y="315"/>
                    <a:pt x="175" y="320"/>
                    <a:pt x="175" y="326"/>
                  </a:cubicBezTo>
                  <a:cubicBezTo>
                    <a:pt x="175" y="329"/>
                    <a:pt x="174" y="334"/>
                    <a:pt x="177" y="337"/>
                  </a:cubicBezTo>
                  <a:cubicBezTo>
                    <a:pt x="179" y="340"/>
                    <a:pt x="180" y="343"/>
                    <a:pt x="180" y="349"/>
                  </a:cubicBezTo>
                  <a:cubicBezTo>
                    <a:pt x="183" y="351"/>
                    <a:pt x="186" y="357"/>
                    <a:pt x="186" y="360"/>
                  </a:cubicBezTo>
                  <a:lnTo>
                    <a:pt x="186" y="365"/>
                  </a:lnTo>
                  <a:cubicBezTo>
                    <a:pt x="186" y="371"/>
                    <a:pt x="189" y="374"/>
                    <a:pt x="191" y="377"/>
                  </a:cubicBezTo>
                  <a:cubicBezTo>
                    <a:pt x="191" y="380"/>
                    <a:pt x="194" y="382"/>
                    <a:pt x="191" y="382"/>
                  </a:cubicBezTo>
                  <a:cubicBezTo>
                    <a:pt x="194" y="382"/>
                    <a:pt x="194" y="385"/>
                    <a:pt x="194" y="388"/>
                  </a:cubicBezTo>
                  <a:cubicBezTo>
                    <a:pt x="194" y="391"/>
                    <a:pt x="194" y="394"/>
                    <a:pt x="197" y="394"/>
                  </a:cubicBezTo>
                  <a:cubicBezTo>
                    <a:pt x="197" y="397"/>
                    <a:pt x="197" y="399"/>
                    <a:pt x="200" y="402"/>
                  </a:cubicBezTo>
                  <a:cubicBezTo>
                    <a:pt x="203" y="405"/>
                    <a:pt x="203" y="408"/>
                    <a:pt x="203" y="411"/>
                  </a:cubicBezTo>
                  <a:cubicBezTo>
                    <a:pt x="203" y="416"/>
                    <a:pt x="206" y="422"/>
                    <a:pt x="208" y="425"/>
                  </a:cubicBezTo>
                  <a:lnTo>
                    <a:pt x="214" y="436"/>
                  </a:lnTo>
                  <a:cubicBezTo>
                    <a:pt x="214" y="439"/>
                    <a:pt x="217" y="444"/>
                    <a:pt x="217" y="447"/>
                  </a:cubicBezTo>
                  <a:lnTo>
                    <a:pt x="231" y="453"/>
                  </a:lnTo>
                  <a:close/>
                  <a:moveTo>
                    <a:pt x="19" y="45"/>
                  </a:moveTo>
                  <a:lnTo>
                    <a:pt x="22" y="45"/>
                  </a:lnTo>
                  <a:lnTo>
                    <a:pt x="22" y="42"/>
                  </a:lnTo>
                  <a:cubicBezTo>
                    <a:pt x="22" y="42"/>
                    <a:pt x="19" y="42"/>
                    <a:pt x="19" y="45"/>
                  </a:cubicBezTo>
                  <a:close/>
                  <a:moveTo>
                    <a:pt x="28" y="70"/>
                  </a:moveTo>
                  <a:lnTo>
                    <a:pt x="28" y="65"/>
                  </a:lnTo>
                  <a:lnTo>
                    <a:pt x="25" y="65"/>
                  </a:lnTo>
                  <a:cubicBezTo>
                    <a:pt x="25" y="67"/>
                    <a:pt x="28" y="70"/>
                    <a:pt x="28" y="70"/>
                  </a:cubicBezTo>
                  <a:close/>
                  <a:moveTo>
                    <a:pt x="25" y="56"/>
                  </a:moveTo>
                  <a:cubicBezTo>
                    <a:pt x="28" y="53"/>
                    <a:pt x="25" y="53"/>
                    <a:pt x="25" y="51"/>
                  </a:cubicBezTo>
                  <a:lnTo>
                    <a:pt x="25" y="56"/>
                  </a:lnTo>
                  <a:close/>
                  <a:moveTo>
                    <a:pt x="42" y="76"/>
                  </a:moveTo>
                  <a:lnTo>
                    <a:pt x="28" y="79"/>
                  </a:lnTo>
                  <a:lnTo>
                    <a:pt x="28" y="82"/>
                  </a:lnTo>
                  <a:cubicBezTo>
                    <a:pt x="31" y="82"/>
                    <a:pt x="33" y="82"/>
                    <a:pt x="39" y="84"/>
                  </a:cubicBezTo>
                  <a:lnTo>
                    <a:pt x="42" y="76"/>
                  </a:lnTo>
                  <a:close/>
                  <a:moveTo>
                    <a:pt x="33" y="62"/>
                  </a:moveTo>
                  <a:cubicBezTo>
                    <a:pt x="33" y="65"/>
                    <a:pt x="33" y="65"/>
                    <a:pt x="31" y="67"/>
                  </a:cubicBezTo>
                  <a:cubicBezTo>
                    <a:pt x="31" y="70"/>
                    <a:pt x="28" y="70"/>
                    <a:pt x="28" y="73"/>
                  </a:cubicBezTo>
                  <a:lnTo>
                    <a:pt x="31" y="76"/>
                  </a:lnTo>
                  <a:cubicBezTo>
                    <a:pt x="31" y="73"/>
                    <a:pt x="31" y="73"/>
                    <a:pt x="33" y="70"/>
                  </a:cubicBezTo>
                  <a:lnTo>
                    <a:pt x="36" y="65"/>
                  </a:lnTo>
                  <a:lnTo>
                    <a:pt x="33" y="62"/>
                  </a:lnTo>
                  <a:close/>
                  <a:moveTo>
                    <a:pt x="31" y="93"/>
                  </a:moveTo>
                  <a:lnTo>
                    <a:pt x="31" y="96"/>
                  </a:lnTo>
                  <a:lnTo>
                    <a:pt x="33" y="96"/>
                  </a:lnTo>
                  <a:lnTo>
                    <a:pt x="33" y="90"/>
                  </a:lnTo>
                  <a:cubicBezTo>
                    <a:pt x="33" y="90"/>
                    <a:pt x="33" y="93"/>
                    <a:pt x="31" y="93"/>
                  </a:cubicBezTo>
                  <a:close/>
                  <a:moveTo>
                    <a:pt x="42" y="101"/>
                  </a:moveTo>
                  <a:cubicBezTo>
                    <a:pt x="42" y="99"/>
                    <a:pt x="42" y="101"/>
                    <a:pt x="42" y="101"/>
                  </a:cubicBezTo>
                  <a:lnTo>
                    <a:pt x="36" y="101"/>
                  </a:lnTo>
                  <a:lnTo>
                    <a:pt x="36" y="107"/>
                  </a:lnTo>
                  <a:lnTo>
                    <a:pt x="42" y="101"/>
                  </a:lnTo>
                  <a:close/>
                  <a:moveTo>
                    <a:pt x="39" y="135"/>
                  </a:moveTo>
                  <a:cubicBezTo>
                    <a:pt x="39" y="135"/>
                    <a:pt x="42" y="135"/>
                    <a:pt x="39" y="135"/>
                  </a:cubicBezTo>
                  <a:cubicBezTo>
                    <a:pt x="42" y="132"/>
                    <a:pt x="45" y="132"/>
                    <a:pt x="45" y="130"/>
                  </a:cubicBezTo>
                  <a:lnTo>
                    <a:pt x="36" y="132"/>
                  </a:lnTo>
                  <a:lnTo>
                    <a:pt x="39" y="135"/>
                  </a:lnTo>
                  <a:close/>
                  <a:moveTo>
                    <a:pt x="36" y="144"/>
                  </a:moveTo>
                  <a:lnTo>
                    <a:pt x="39" y="144"/>
                  </a:lnTo>
                  <a:lnTo>
                    <a:pt x="39" y="141"/>
                  </a:lnTo>
                  <a:cubicBezTo>
                    <a:pt x="39" y="141"/>
                    <a:pt x="36" y="141"/>
                    <a:pt x="36" y="144"/>
                  </a:cubicBezTo>
                  <a:close/>
                  <a:moveTo>
                    <a:pt x="42" y="115"/>
                  </a:moveTo>
                  <a:lnTo>
                    <a:pt x="42" y="113"/>
                  </a:lnTo>
                  <a:cubicBezTo>
                    <a:pt x="42" y="113"/>
                    <a:pt x="42" y="115"/>
                    <a:pt x="39" y="115"/>
                  </a:cubicBezTo>
                  <a:lnTo>
                    <a:pt x="36" y="118"/>
                  </a:lnTo>
                  <a:lnTo>
                    <a:pt x="42" y="115"/>
                  </a:lnTo>
                  <a:close/>
                  <a:moveTo>
                    <a:pt x="39" y="152"/>
                  </a:moveTo>
                  <a:cubicBezTo>
                    <a:pt x="42" y="155"/>
                    <a:pt x="42" y="155"/>
                    <a:pt x="45" y="155"/>
                  </a:cubicBezTo>
                  <a:lnTo>
                    <a:pt x="48" y="152"/>
                  </a:lnTo>
                  <a:lnTo>
                    <a:pt x="50" y="149"/>
                  </a:lnTo>
                  <a:lnTo>
                    <a:pt x="48" y="149"/>
                  </a:lnTo>
                  <a:cubicBezTo>
                    <a:pt x="48" y="149"/>
                    <a:pt x="45" y="149"/>
                    <a:pt x="45" y="146"/>
                  </a:cubicBezTo>
                  <a:lnTo>
                    <a:pt x="42" y="146"/>
                  </a:lnTo>
                  <a:lnTo>
                    <a:pt x="39" y="149"/>
                  </a:lnTo>
                  <a:lnTo>
                    <a:pt x="39" y="152"/>
                  </a:lnTo>
                  <a:close/>
                  <a:moveTo>
                    <a:pt x="42" y="169"/>
                  </a:moveTo>
                  <a:lnTo>
                    <a:pt x="45" y="169"/>
                  </a:lnTo>
                  <a:lnTo>
                    <a:pt x="48" y="169"/>
                  </a:lnTo>
                  <a:lnTo>
                    <a:pt x="48" y="166"/>
                  </a:lnTo>
                  <a:lnTo>
                    <a:pt x="42" y="166"/>
                  </a:lnTo>
                  <a:lnTo>
                    <a:pt x="42" y="169"/>
                  </a:lnTo>
                  <a:close/>
                  <a:moveTo>
                    <a:pt x="56" y="152"/>
                  </a:moveTo>
                  <a:lnTo>
                    <a:pt x="53" y="158"/>
                  </a:lnTo>
                  <a:cubicBezTo>
                    <a:pt x="50" y="158"/>
                    <a:pt x="50" y="155"/>
                    <a:pt x="48" y="155"/>
                  </a:cubicBezTo>
                  <a:lnTo>
                    <a:pt x="48" y="158"/>
                  </a:lnTo>
                  <a:lnTo>
                    <a:pt x="50" y="158"/>
                  </a:lnTo>
                  <a:lnTo>
                    <a:pt x="53" y="158"/>
                  </a:lnTo>
                  <a:lnTo>
                    <a:pt x="56" y="158"/>
                  </a:lnTo>
                  <a:cubicBezTo>
                    <a:pt x="53" y="158"/>
                    <a:pt x="56" y="155"/>
                    <a:pt x="56" y="152"/>
                  </a:cubicBezTo>
                  <a:close/>
                  <a:moveTo>
                    <a:pt x="48" y="180"/>
                  </a:moveTo>
                  <a:cubicBezTo>
                    <a:pt x="50" y="180"/>
                    <a:pt x="50" y="177"/>
                    <a:pt x="50" y="177"/>
                  </a:cubicBezTo>
                  <a:cubicBezTo>
                    <a:pt x="50" y="177"/>
                    <a:pt x="50" y="175"/>
                    <a:pt x="48" y="175"/>
                  </a:cubicBezTo>
                  <a:lnTo>
                    <a:pt x="48" y="180"/>
                  </a:lnTo>
                  <a:close/>
                  <a:moveTo>
                    <a:pt x="146" y="315"/>
                  </a:moveTo>
                  <a:cubicBezTo>
                    <a:pt x="146" y="312"/>
                    <a:pt x="146" y="309"/>
                    <a:pt x="149" y="306"/>
                  </a:cubicBezTo>
                  <a:cubicBezTo>
                    <a:pt x="152" y="303"/>
                    <a:pt x="152" y="301"/>
                    <a:pt x="149" y="298"/>
                  </a:cubicBezTo>
                  <a:lnTo>
                    <a:pt x="144" y="298"/>
                  </a:lnTo>
                  <a:lnTo>
                    <a:pt x="139" y="298"/>
                  </a:lnTo>
                  <a:lnTo>
                    <a:pt x="138" y="301"/>
                  </a:lnTo>
                  <a:cubicBezTo>
                    <a:pt x="141" y="301"/>
                    <a:pt x="141" y="303"/>
                    <a:pt x="144" y="303"/>
                  </a:cubicBezTo>
                  <a:lnTo>
                    <a:pt x="146" y="301"/>
                  </a:lnTo>
                  <a:lnTo>
                    <a:pt x="146" y="309"/>
                  </a:lnTo>
                  <a:lnTo>
                    <a:pt x="144" y="312"/>
                  </a:lnTo>
                  <a:lnTo>
                    <a:pt x="144" y="315"/>
                  </a:lnTo>
                  <a:lnTo>
                    <a:pt x="146" y="315"/>
                  </a:lnTo>
                  <a:close/>
                  <a:moveTo>
                    <a:pt x="135" y="289"/>
                  </a:moveTo>
                  <a:cubicBezTo>
                    <a:pt x="134" y="290"/>
                    <a:pt x="134" y="290"/>
                    <a:pt x="134" y="291"/>
                  </a:cubicBezTo>
                  <a:cubicBezTo>
                    <a:pt x="134" y="291"/>
                    <a:pt x="134" y="292"/>
                    <a:pt x="135" y="292"/>
                  </a:cubicBezTo>
                  <a:lnTo>
                    <a:pt x="136" y="292"/>
                  </a:lnTo>
                  <a:lnTo>
                    <a:pt x="135" y="289"/>
                  </a:lnTo>
                  <a:close/>
                  <a:moveTo>
                    <a:pt x="129" y="288"/>
                  </a:moveTo>
                  <a:cubicBezTo>
                    <a:pt x="127" y="285"/>
                    <a:pt x="124" y="285"/>
                    <a:pt x="124" y="285"/>
                  </a:cubicBezTo>
                  <a:lnTo>
                    <a:pt x="124" y="282"/>
                  </a:lnTo>
                  <a:lnTo>
                    <a:pt x="124" y="279"/>
                  </a:lnTo>
                  <a:lnTo>
                    <a:pt x="121" y="279"/>
                  </a:lnTo>
                  <a:lnTo>
                    <a:pt x="121" y="285"/>
                  </a:lnTo>
                  <a:cubicBezTo>
                    <a:pt x="118" y="285"/>
                    <a:pt x="118" y="285"/>
                    <a:pt x="115" y="282"/>
                  </a:cubicBezTo>
                  <a:lnTo>
                    <a:pt x="115" y="285"/>
                  </a:lnTo>
                  <a:lnTo>
                    <a:pt x="112" y="288"/>
                  </a:lnTo>
                  <a:cubicBezTo>
                    <a:pt x="110" y="288"/>
                    <a:pt x="107" y="287"/>
                    <a:pt x="107" y="285"/>
                  </a:cubicBezTo>
                  <a:cubicBezTo>
                    <a:pt x="109" y="285"/>
                    <a:pt x="111" y="284"/>
                    <a:pt x="112" y="282"/>
                  </a:cubicBezTo>
                  <a:lnTo>
                    <a:pt x="107" y="282"/>
                  </a:lnTo>
                  <a:lnTo>
                    <a:pt x="101" y="279"/>
                  </a:lnTo>
                  <a:cubicBezTo>
                    <a:pt x="98" y="279"/>
                    <a:pt x="98" y="276"/>
                    <a:pt x="96" y="276"/>
                  </a:cubicBezTo>
                  <a:cubicBezTo>
                    <a:pt x="96" y="273"/>
                    <a:pt x="98" y="273"/>
                    <a:pt x="98" y="273"/>
                  </a:cubicBezTo>
                  <a:lnTo>
                    <a:pt x="101" y="276"/>
                  </a:lnTo>
                  <a:lnTo>
                    <a:pt x="101" y="273"/>
                  </a:lnTo>
                  <a:cubicBezTo>
                    <a:pt x="104" y="276"/>
                    <a:pt x="107" y="276"/>
                    <a:pt x="112" y="276"/>
                  </a:cubicBezTo>
                  <a:cubicBezTo>
                    <a:pt x="115" y="276"/>
                    <a:pt x="121" y="276"/>
                    <a:pt x="124" y="279"/>
                  </a:cubicBezTo>
                  <a:cubicBezTo>
                    <a:pt x="124" y="279"/>
                    <a:pt x="127" y="279"/>
                    <a:pt x="127" y="276"/>
                  </a:cubicBezTo>
                  <a:cubicBezTo>
                    <a:pt x="127" y="276"/>
                    <a:pt x="129" y="276"/>
                    <a:pt x="129" y="273"/>
                  </a:cubicBezTo>
                  <a:lnTo>
                    <a:pt x="127" y="271"/>
                  </a:lnTo>
                  <a:cubicBezTo>
                    <a:pt x="127" y="271"/>
                    <a:pt x="127" y="268"/>
                    <a:pt x="124" y="268"/>
                  </a:cubicBezTo>
                  <a:cubicBezTo>
                    <a:pt x="121" y="268"/>
                    <a:pt x="121" y="268"/>
                    <a:pt x="118" y="271"/>
                  </a:cubicBezTo>
                  <a:cubicBezTo>
                    <a:pt x="118" y="273"/>
                    <a:pt x="115" y="273"/>
                    <a:pt x="115" y="273"/>
                  </a:cubicBezTo>
                  <a:lnTo>
                    <a:pt x="118" y="271"/>
                  </a:lnTo>
                  <a:lnTo>
                    <a:pt x="121" y="268"/>
                  </a:lnTo>
                  <a:lnTo>
                    <a:pt x="115" y="268"/>
                  </a:lnTo>
                  <a:lnTo>
                    <a:pt x="110" y="268"/>
                  </a:lnTo>
                  <a:lnTo>
                    <a:pt x="107" y="262"/>
                  </a:lnTo>
                  <a:cubicBezTo>
                    <a:pt x="107" y="262"/>
                    <a:pt x="107" y="259"/>
                    <a:pt x="104" y="256"/>
                  </a:cubicBezTo>
                  <a:lnTo>
                    <a:pt x="112" y="256"/>
                  </a:lnTo>
                  <a:lnTo>
                    <a:pt x="112" y="251"/>
                  </a:lnTo>
                  <a:cubicBezTo>
                    <a:pt x="112" y="251"/>
                    <a:pt x="115" y="253"/>
                    <a:pt x="115" y="255"/>
                  </a:cubicBezTo>
                  <a:cubicBezTo>
                    <a:pt x="112" y="257"/>
                    <a:pt x="109" y="257"/>
                    <a:pt x="107" y="259"/>
                  </a:cubicBezTo>
                  <a:cubicBezTo>
                    <a:pt x="112" y="262"/>
                    <a:pt x="115" y="262"/>
                    <a:pt x="118" y="262"/>
                  </a:cubicBezTo>
                  <a:cubicBezTo>
                    <a:pt x="121" y="268"/>
                    <a:pt x="124" y="268"/>
                    <a:pt x="127" y="268"/>
                  </a:cubicBezTo>
                  <a:lnTo>
                    <a:pt x="127" y="265"/>
                  </a:lnTo>
                  <a:lnTo>
                    <a:pt x="124" y="265"/>
                  </a:lnTo>
                  <a:cubicBezTo>
                    <a:pt x="124" y="265"/>
                    <a:pt x="124" y="262"/>
                    <a:pt x="121" y="259"/>
                  </a:cubicBezTo>
                  <a:lnTo>
                    <a:pt x="118" y="262"/>
                  </a:lnTo>
                  <a:lnTo>
                    <a:pt x="118" y="256"/>
                  </a:lnTo>
                  <a:lnTo>
                    <a:pt x="118" y="254"/>
                  </a:lnTo>
                  <a:lnTo>
                    <a:pt x="118" y="251"/>
                  </a:lnTo>
                  <a:cubicBezTo>
                    <a:pt x="118" y="251"/>
                    <a:pt x="115" y="251"/>
                    <a:pt x="115" y="248"/>
                  </a:cubicBezTo>
                  <a:lnTo>
                    <a:pt x="112" y="245"/>
                  </a:lnTo>
                  <a:cubicBezTo>
                    <a:pt x="114" y="243"/>
                    <a:pt x="115" y="241"/>
                    <a:pt x="116" y="240"/>
                  </a:cubicBezTo>
                  <a:cubicBezTo>
                    <a:pt x="116" y="240"/>
                    <a:pt x="116" y="240"/>
                    <a:pt x="115" y="240"/>
                  </a:cubicBezTo>
                  <a:lnTo>
                    <a:pt x="118" y="237"/>
                  </a:lnTo>
                  <a:lnTo>
                    <a:pt x="118" y="234"/>
                  </a:lnTo>
                  <a:lnTo>
                    <a:pt x="115" y="225"/>
                  </a:lnTo>
                  <a:cubicBezTo>
                    <a:pt x="115" y="225"/>
                    <a:pt x="112" y="225"/>
                    <a:pt x="112" y="228"/>
                  </a:cubicBezTo>
                  <a:lnTo>
                    <a:pt x="107" y="228"/>
                  </a:lnTo>
                  <a:lnTo>
                    <a:pt x="107" y="231"/>
                  </a:lnTo>
                  <a:lnTo>
                    <a:pt x="101" y="231"/>
                  </a:lnTo>
                  <a:lnTo>
                    <a:pt x="101" y="228"/>
                  </a:lnTo>
                  <a:lnTo>
                    <a:pt x="101" y="225"/>
                  </a:lnTo>
                  <a:lnTo>
                    <a:pt x="104" y="225"/>
                  </a:lnTo>
                  <a:lnTo>
                    <a:pt x="101" y="223"/>
                  </a:lnTo>
                  <a:lnTo>
                    <a:pt x="98" y="220"/>
                  </a:lnTo>
                  <a:cubicBezTo>
                    <a:pt x="101" y="217"/>
                    <a:pt x="101" y="217"/>
                    <a:pt x="101" y="214"/>
                  </a:cubicBezTo>
                  <a:lnTo>
                    <a:pt x="104" y="211"/>
                  </a:lnTo>
                  <a:lnTo>
                    <a:pt x="101" y="209"/>
                  </a:lnTo>
                  <a:lnTo>
                    <a:pt x="98" y="209"/>
                  </a:lnTo>
                  <a:lnTo>
                    <a:pt x="93" y="209"/>
                  </a:lnTo>
                  <a:cubicBezTo>
                    <a:pt x="93" y="203"/>
                    <a:pt x="90" y="200"/>
                    <a:pt x="87" y="197"/>
                  </a:cubicBezTo>
                  <a:lnTo>
                    <a:pt x="79" y="200"/>
                  </a:lnTo>
                  <a:lnTo>
                    <a:pt x="79" y="200"/>
                  </a:lnTo>
                  <a:lnTo>
                    <a:pt x="79" y="200"/>
                  </a:lnTo>
                  <a:lnTo>
                    <a:pt x="81" y="206"/>
                  </a:lnTo>
                  <a:cubicBezTo>
                    <a:pt x="81" y="209"/>
                    <a:pt x="81" y="209"/>
                    <a:pt x="84" y="211"/>
                  </a:cubicBezTo>
                  <a:lnTo>
                    <a:pt x="84" y="214"/>
                  </a:lnTo>
                  <a:lnTo>
                    <a:pt x="87" y="214"/>
                  </a:lnTo>
                  <a:lnTo>
                    <a:pt x="90" y="214"/>
                  </a:lnTo>
                  <a:lnTo>
                    <a:pt x="93" y="211"/>
                  </a:lnTo>
                  <a:lnTo>
                    <a:pt x="96" y="211"/>
                  </a:lnTo>
                  <a:lnTo>
                    <a:pt x="98" y="211"/>
                  </a:lnTo>
                  <a:cubicBezTo>
                    <a:pt x="98" y="211"/>
                    <a:pt x="98" y="214"/>
                    <a:pt x="96" y="214"/>
                  </a:cubicBezTo>
                  <a:lnTo>
                    <a:pt x="98" y="220"/>
                  </a:lnTo>
                  <a:cubicBezTo>
                    <a:pt x="98" y="223"/>
                    <a:pt x="98" y="223"/>
                    <a:pt x="101" y="225"/>
                  </a:cubicBezTo>
                  <a:cubicBezTo>
                    <a:pt x="98" y="225"/>
                    <a:pt x="98" y="225"/>
                    <a:pt x="96" y="228"/>
                  </a:cubicBezTo>
                  <a:cubicBezTo>
                    <a:pt x="93" y="228"/>
                    <a:pt x="93" y="228"/>
                    <a:pt x="90" y="231"/>
                  </a:cubicBezTo>
                  <a:lnTo>
                    <a:pt x="90" y="228"/>
                  </a:lnTo>
                  <a:cubicBezTo>
                    <a:pt x="90" y="228"/>
                    <a:pt x="90" y="227"/>
                    <a:pt x="89" y="227"/>
                  </a:cubicBezTo>
                  <a:lnTo>
                    <a:pt x="93" y="228"/>
                  </a:lnTo>
                  <a:lnTo>
                    <a:pt x="90" y="220"/>
                  </a:lnTo>
                  <a:lnTo>
                    <a:pt x="87" y="220"/>
                  </a:lnTo>
                  <a:lnTo>
                    <a:pt x="84" y="220"/>
                  </a:lnTo>
                  <a:lnTo>
                    <a:pt x="84" y="223"/>
                  </a:lnTo>
                  <a:cubicBezTo>
                    <a:pt x="81" y="223"/>
                    <a:pt x="79" y="220"/>
                    <a:pt x="79" y="220"/>
                  </a:cubicBezTo>
                  <a:lnTo>
                    <a:pt x="73" y="223"/>
                  </a:lnTo>
                  <a:cubicBezTo>
                    <a:pt x="73" y="221"/>
                    <a:pt x="73" y="219"/>
                    <a:pt x="74" y="217"/>
                  </a:cubicBezTo>
                  <a:lnTo>
                    <a:pt x="73" y="217"/>
                  </a:lnTo>
                  <a:lnTo>
                    <a:pt x="73" y="217"/>
                  </a:lnTo>
                  <a:cubicBezTo>
                    <a:pt x="70" y="217"/>
                    <a:pt x="70" y="220"/>
                    <a:pt x="70" y="220"/>
                  </a:cubicBezTo>
                  <a:lnTo>
                    <a:pt x="67" y="223"/>
                  </a:lnTo>
                  <a:lnTo>
                    <a:pt x="70" y="225"/>
                  </a:lnTo>
                  <a:cubicBezTo>
                    <a:pt x="62" y="231"/>
                    <a:pt x="59" y="237"/>
                    <a:pt x="56" y="237"/>
                  </a:cubicBezTo>
                  <a:cubicBezTo>
                    <a:pt x="56" y="237"/>
                    <a:pt x="56" y="240"/>
                    <a:pt x="53" y="240"/>
                  </a:cubicBezTo>
                  <a:lnTo>
                    <a:pt x="53" y="245"/>
                  </a:lnTo>
                  <a:lnTo>
                    <a:pt x="59" y="245"/>
                  </a:lnTo>
                  <a:lnTo>
                    <a:pt x="64" y="245"/>
                  </a:lnTo>
                  <a:lnTo>
                    <a:pt x="64" y="248"/>
                  </a:lnTo>
                  <a:lnTo>
                    <a:pt x="64" y="251"/>
                  </a:lnTo>
                  <a:lnTo>
                    <a:pt x="67" y="251"/>
                  </a:lnTo>
                  <a:lnTo>
                    <a:pt x="70" y="251"/>
                  </a:lnTo>
                  <a:cubicBezTo>
                    <a:pt x="73" y="251"/>
                    <a:pt x="76" y="248"/>
                    <a:pt x="76" y="248"/>
                  </a:cubicBezTo>
                  <a:cubicBezTo>
                    <a:pt x="76" y="251"/>
                    <a:pt x="76" y="254"/>
                    <a:pt x="73" y="256"/>
                  </a:cubicBezTo>
                  <a:cubicBezTo>
                    <a:pt x="73" y="259"/>
                    <a:pt x="70" y="259"/>
                    <a:pt x="70" y="262"/>
                  </a:cubicBezTo>
                  <a:lnTo>
                    <a:pt x="62" y="262"/>
                  </a:lnTo>
                  <a:lnTo>
                    <a:pt x="62" y="265"/>
                  </a:lnTo>
                  <a:cubicBezTo>
                    <a:pt x="64" y="265"/>
                    <a:pt x="67" y="265"/>
                    <a:pt x="70" y="268"/>
                  </a:cubicBezTo>
                  <a:cubicBezTo>
                    <a:pt x="70" y="268"/>
                    <a:pt x="70" y="265"/>
                    <a:pt x="73" y="265"/>
                  </a:cubicBezTo>
                  <a:lnTo>
                    <a:pt x="76" y="268"/>
                  </a:lnTo>
                  <a:cubicBezTo>
                    <a:pt x="79" y="268"/>
                    <a:pt x="79" y="265"/>
                    <a:pt x="79" y="265"/>
                  </a:cubicBezTo>
                  <a:cubicBezTo>
                    <a:pt x="79" y="265"/>
                    <a:pt x="79" y="262"/>
                    <a:pt x="81" y="262"/>
                  </a:cubicBezTo>
                  <a:lnTo>
                    <a:pt x="81" y="265"/>
                  </a:lnTo>
                  <a:lnTo>
                    <a:pt x="81" y="268"/>
                  </a:lnTo>
                  <a:lnTo>
                    <a:pt x="81" y="271"/>
                  </a:lnTo>
                  <a:cubicBezTo>
                    <a:pt x="81" y="271"/>
                    <a:pt x="81" y="273"/>
                    <a:pt x="79" y="273"/>
                  </a:cubicBezTo>
                  <a:lnTo>
                    <a:pt x="81" y="276"/>
                  </a:lnTo>
                  <a:lnTo>
                    <a:pt x="81" y="273"/>
                  </a:lnTo>
                  <a:lnTo>
                    <a:pt x="81" y="271"/>
                  </a:lnTo>
                  <a:lnTo>
                    <a:pt x="87" y="271"/>
                  </a:lnTo>
                  <a:cubicBezTo>
                    <a:pt x="87" y="271"/>
                    <a:pt x="87" y="268"/>
                    <a:pt x="90" y="268"/>
                  </a:cubicBezTo>
                  <a:cubicBezTo>
                    <a:pt x="93" y="268"/>
                    <a:pt x="90" y="268"/>
                    <a:pt x="93" y="265"/>
                  </a:cubicBezTo>
                  <a:lnTo>
                    <a:pt x="93" y="273"/>
                  </a:lnTo>
                  <a:lnTo>
                    <a:pt x="93" y="282"/>
                  </a:lnTo>
                  <a:lnTo>
                    <a:pt x="96" y="282"/>
                  </a:lnTo>
                  <a:cubicBezTo>
                    <a:pt x="99" y="284"/>
                    <a:pt x="103" y="286"/>
                    <a:pt x="107" y="285"/>
                  </a:cubicBezTo>
                  <a:cubicBezTo>
                    <a:pt x="107" y="286"/>
                    <a:pt x="106" y="288"/>
                    <a:pt x="104" y="288"/>
                  </a:cubicBezTo>
                  <a:lnTo>
                    <a:pt x="104" y="292"/>
                  </a:lnTo>
                  <a:lnTo>
                    <a:pt x="110" y="295"/>
                  </a:lnTo>
                  <a:cubicBezTo>
                    <a:pt x="112" y="292"/>
                    <a:pt x="112" y="292"/>
                    <a:pt x="115" y="292"/>
                  </a:cubicBezTo>
                  <a:cubicBezTo>
                    <a:pt x="118" y="295"/>
                    <a:pt x="121" y="298"/>
                    <a:pt x="123" y="303"/>
                  </a:cubicBezTo>
                  <a:lnTo>
                    <a:pt x="127" y="298"/>
                  </a:lnTo>
                  <a:lnTo>
                    <a:pt x="127" y="289"/>
                  </a:lnTo>
                  <a:lnTo>
                    <a:pt x="124" y="289"/>
                  </a:lnTo>
                  <a:lnTo>
                    <a:pt x="121" y="289"/>
                  </a:lnTo>
                  <a:lnTo>
                    <a:pt x="129" y="288"/>
                  </a:lnTo>
                  <a:close/>
                  <a:moveTo>
                    <a:pt x="118" y="309"/>
                  </a:moveTo>
                  <a:cubicBezTo>
                    <a:pt x="115" y="309"/>
                    <a:pt x="115" y="309"/>
                    <a:pt x="112" y="306"/>
                  </a:cubicBezTo>
                  <a:lnTo>
                    <a:pt x="112" y="303"/>
                  </a:lnTo>
                  <a:lnTo>
                    <a:pt x="110" y="301"/>
                  </a:lnTo>
                  <a:cubicBezTo>
                    <a:pt x="110" y="301"/>
                    <a:pt x="110" y="298"/>
                    <a:pt x="107" y="298"/>
                  </a:cubicBezTo>
                  <a:lnTo>
                    <a:pt x="101" y="301"/>
                  </a:lnTo>
                  <a:lnTo>
                    <a:pt x="101" y="292"/>
                  </a:lnTo>
                  <a:cubicBezTo>
                    <a:pt x="98" y="292"/>
                    <a:pt x="96" y="292"/>
                    <a:pt x="96" y="289"/>
                  </a:cubicBezTo>
                  <a:lnTo>
                    <a:pt x="96" y="292"/>
                  </a:lnTo>
                  <a:lnTo>
                    <a:pt x="96" y="295"/>
                  </a:lnTo>
                  <a:lnTo>
                    <a:pt x="93" y="295"/>
                  </a:lnTo>
                  <a:lnTo>
                    <a:pt x="91" y="288"/>
                  </a:lnTo>
                  <a:lnTo>
                    <a:pt x="87" y="289"/>
                  </a:lnTo>
                  <a:lnTo>
                    <a:pt x="81" y="288"/>
                  </a:lnTo>
                  <a:lnTo>
                    <a:pt x="87" y="282"/>
                  </a:lnTo>
                  <a:cubicBezTo>
                    <a:pt x="87" y="279"/>
                    <a:pt x="90" y="279"/>
                    <a:pt x="90" y="276"/>
                  </a:cubicBezTo>
                  <a:lnTo>
                    <a:pt x="87" y="276"/>
                  </a:lnTo>
                  <a:cubicBezTo>
                    <a:pt x="84" y="279"/>
                    <a:pt x="81" y="276"/>
                    <a:pt x="79" y="276"/>
                  </a:cubicBezTo>
                  <a:lnTo>
                    <a:pt x="73" y="276"/>
                  </a:lnTo>
                  <a:lnTo>
                    <a:pt x="76" y="273"/>
                  </a:lnTo>
                  <a:cubicBezTo>
                    <a:pt x="76" y="271"/>
                    <a:pt x="76" y="271"/>
                    <a:pt x="79" y="268"/>
                  </a:cubicBezTo>
                  <a:lnTo>
                    <a:pt x="70" y="273"/>
                  </a:lnTo>
                  <a:cubicBezTo>
                    <a:pt x="67" y="276"/>
                    <a:pt x="64" y="279"/>
                    <a:pt x="62" y="279"/>
                  </a:cubicBezTo>
                  <a:lnTo>
                    <a:pt x="70" y="279"/>
                  </a:lnTo>
                  <a:lnTo>
                    <a:pt x="70" y="282"/>
                  </a:lnTo>
                  <a:lnTo>
                    <a:pt x="76" y="279"/>
                  </a:lnTo>
                  <a:lnTo>
                    <a:pt x="76" y="285"/>
                  </a:lnTo>
                  <a:cubicBezTo>
                    <a:pt x="73" y="285"/>
                    <a:pt x="73" y="288"/>
                    <a:pt x="73" y="288"/>
                  </a:cubicBezTo>
                  <a:cubicBezTo>
                    <a:pt x="81" y="288"/>
                    <a:pt x="81" y="288"/>
                    <a:pt x="84" y="295"/>
                  </a:cubicBezTo>
                  <a:cubicBezTo>
                    <a:pt x="81" y="292"/>
                    <a:pt x="76" y="292"/>
                    <a:pt x="70" y="295"/>
                  </a:cubicBezTo>
                  <a:lnTo>
                    <a:pt x="70" y="298"/>
                  </a:lnTo>
                  <a:lnTo>
                    <a:pt x="70" y="303"/>
                  </a:lnTo>
                  <a:lnTo>
                    <a:pt x="76" y="298"/>
                  </a:lnTo>
                  <a:lnTo>
                    <a:pt x="81" y="301"/>
                  </a:lnTo>
                  <a:lnTo>
                    <a:pt x="87" y="295"/>
                  </a:lnTo>
                  <a:cubicBezTo>
                    <a:pt x="90" y="295"/>
                    <a:pt x="90" y="298"/>
                    <a:pt x="90" y="298"/>
                  </a:cubicBezTo>
                  <a:lnTo>
                    <a:pt x="90" y="303"/>
                  </a:lnTo>
                  <a:cubicBezTo>
                    <a:pt x="90" y="303"/>
                    <a:pt x="93" y="301"/>
                    <a:pt x="96" y="301"/>
                  </a:cubicBezTo>
                  <a:lnTo>
                    <a:pt x="101" y="301"/>
                  </a:lnTo>
                  <a:lnTo>
                    <a:pt x="93" y="309"/>
                  </a:lnTo>
                  <a:lnTo>
                    <a:pt x="104" y="306"/>
                  </a:lnTo>
                  <a:lnTo>
                    <a:pt x="104" y="303"/>
                  </a:lnTo>
                  <a:cubicBezTo>
                    <a:pt x="104" y="303"/>
                    <a:pt x="104" y="301"/>
                    <a:pt x="107" y="301"/>
                  </a:cubicBezTo>
                  <a:lnTo>
                    <a:pt x="107" y="303"/>
                  </a:lnTo>
                  <a:lnTo>
                    <a:pt x="107" y="306"/>
                  </a:lnTo>
                  <a:cubicBezTo>
                    <a:pt x="107" y="306"/>
                    <a:pt x="107" y="309"/>
                    <a:pt x="110" y="309"/>
                  </a:cubicBezTo>
                  <a:lnTo>
                    <a:pt x="115" y="309"/>
                  </a:lnTo>
                  <a:lnTo>
                    <a:pt x="118" y="312"/>
                  </a:lnTo>
                  <a:lnTo>
                    <a:pt x="121" y="308"/>
                  </a:lnTo>
                  <a:cubicBezTo>
                    <a:pt x="120" y="309"/>
                    <a:pt x="119" y="309"/>
                    <a:pt x="118" y="309"/>
                  </a:cubicBezTo>
                  <a:close/>
                  <a:moveTo>
                    <a:pt x="115" y="256"/>
                  </a:moveTo>
                  <a:lnTo>
                    <a:pt x="118" y="254"/>
                  </a:lnTo>
                  <a:cubicBezTo>
                    <a:pt x="117" y="254"/>
                    <a:pt x="116" y="255"/>
                    <a:pt x="115" y="255"/>
                  </a:cubicBezTo>
                  <a:cubicBezTo>
                    <a:pt x="115" y="256"/>
                    <a:pt x="115" y="256"/>
                    <a:pt x="115" y="256"/>
                  </a:cubicBezTo>
                  <a:close/>
                  <a:moveTo>
                    <a:pt x="127" y="248"/>
                  </a:moveTo>
                  <a:lnTo>
                    <a:pt x="127" y="245"/>
                  </a:lnTo>
                  <a:lnTo>
                    <a:pt x="124" y="248"/>
                  </a:lnTo>
                  <a:lnTo>
                    <a:pt x="127" y="248"/>
                  </a:lnTo>
                  <a:close/>
                  <a:moveTo>
                    <a:pt x="87" y="225"/>
                  </a:moveTo>
                  <a:lnTo>
                    <a:pt x="89" y="227"/>
                  </a:lnTo>
                  <a:cubicBezTo>
                    <a:pt x="89" y="226"/>
                    <a:pt x="88" y="225"/>
                    <a:pt x="87" y="225"/>
                  </a:cubicBezTo>
                  <a:close/>
                  <a:moveTo>
                    <a:pt x="84" y="217"/>
                  </a:moveTo>
                  <a:lnTo>
                    <a:pt x="84" y="217"/>
                  </a:lnTo>
                  <a:lnTo>
                    <a:pt x="84" y="214"/>
                  </a:lnTo>
                  <a:cubicBezTo>
                    <a:pt x="81" y="211"/>
                    <a:pt x="81" y="211"/>
                    <a:pt x="79" y="211"/>
                  </a:cubicBezTo>
                  <a:lnTo>
                    <a:pt x="79" y="213"/>
                  </a:lnTo>
                  <a:cubicBezTo>
                    <a:pt x="80" y="214"/>
                    <a:pt x="82" y="215"/>
                    <a:pt x="84" y="217"/>
                  </a:cubicBezTo>
                  <a:lnTo>
                    <a:pt x="84" y="220"/>
                  </a:lnTo>
                  <a:lnTo>
                    <a:pt x="84" y="217"/>
                  </a:lnTo>
                  <a:close/>
                  <a:moveTo>
                    <a:pt x="76" y="209"/>
                  </a:moveTo>
                  <a:lnTo>
                    <a:pt x="79" y="206"/>
                  </a:lnTo>
                  <a:cubicBezTo>
                    <a:pt x="81" y="203"/>
                    <a:pt x="79" y="206"/>
                    <a:pt x="79" y="206"/>
                  </a:cubicBezTo>
                  <a:lnTo>
                    <a:pt x="76" y="203"/>
                  </a:lnTo>
                  <a:lnTo>
                    <a:pt x="73" y="200"/>
                  </a:lnTo>
                  <a:lnTo>
                    <a:pt x="70" y="204"/>
                  </a:lnTo>
                  <a:lnTo>
                    <a:pt x="70" y="206"/>
                  </a:lnTo>
                  <a:lnTo>
                    <a:pt x="70" y="211"/>
                  </a:lnTo>
                  <a:lnTo>
                    <a:pt x="76" y="211"/>
                  </a:lnTo>
                  <a:lnTo>
                    <a:pt x="76" y="209"/>
                  </a:lnTo>
                  <a:close/>
                  <a:moveTo>
                    <a:pt x="62" y="206"/>
                  </a:moveTo>
                  <a:lnTo>
                    <a:pt x="62" y="209"/>
                  </a:lnTo>
                  <a:lnTo>
                    <a:pt x="62" y="209"/>
                  </a:lnTo>
                  <a:cubicBezTo>
                    <a:pt x="64" y="209"/>
                    <a:pt x="64" y="209"/>
                    <a:pt x="64" y="207"/>
                  </a:cubicBezTo>
                  <a:cubicBezTo>
                    <a:pt x="64" y="206"/>
                    <a:pt x="63" y="206"/>
                    <a:pt x="62" y="206"/>
                  </a:cubicBezTo>
                  <a:close/>
                  <a:moveTo>
                    <a:pt x="59" y="206"/>
                  </a:moveTo>
                  <a:cubicBezTo>
                    <a:pt x="62" y="206"/>
                    <a:pt x="62" y="203"/>
                    <a:pt x="64" y="203"/>
                  </a:cubicBezTo>
                  <a:lnTo>
                    <a:pt x="64" y="200"/>
                  </a:lnTo>
                  <a:lnTo>
                    <a:pt x="67" y="200"/>
                  </a:lnTo>
                  <a:lnTo>
                    <a:pt x="62" y="200"/>
                  </a:lnTo>
                  <a:cubicBezTo>
                    <a:pt x="59" y="200"/>
                    <a:pt x="59" y="203"/>
                    <a:pt x="56" y="200"/>
                  </a:cubicBezTo>
                  <a:lnTo>
                    <a:pt x="53" y="203"/>
                  </a:lnTo>
                  <a:lnTo>
                    <a:pt x="50" y="203"/>
                  </a:lnTo>
                  <a:lnTo>
                    <a:pt x="48" y="203"/>
                  </a:lnTo>
                  <a:lnTo>
                    <a:pt x="45" y="200"/>
                  </a:lnTo>
                  <a:cubicBezTo>
                    <a:pt x="45" y="200"/>
                    <a:pt x="45" y="197"/>
                    <a:pt x="42" y="197"/>
                  </a:cubicBezTo>
                  <a:cubicBezTo>
                    <a:pt x="42" y="197"/>
                    <a:pt x="42" y="194"/>
                    <a:pt x="45" y="194"/>
                  </a:cubicBezTo>
                  <a:lnTo>
                    <a:pt x="45" y="189"/>
                  </a:lnTo>
                  <a:cubicBezTo>
                    <a:pt x="42" y="189"/>
                    <a:pt x="42" y="192"/>
                    <a:pt x="39" y="192"/>
                  </a:cubicBezTo>
                  <a:cubicBezTo>
                    <a:pt x="36" y="192"/>
                    <a:pt x="36" y="194"/>
                    <a:pt x="33" y="194"/>
                  </a:cubicBezTo>
                  <a:lnTo>
                    <a:pt x="39" y="197"/>
                  </a:lnTo>
                  <a:lnTo>
                    <a:pt x="39" y="203"/>
                  </a:lnTo>
                  <a:lnTo>
                    <a:pt x="45" y="203"/>
                  </a:lnTo>
                  <a:lnTo>
                    <a:pt x="45" y="206"/>
                  </a:lnTo>
                  <a:lnTo>
                    <a:pt x="39" y="206"/>
                  </a:lnTo>
                  <a:lnTo>
                    <a:pt x="39" y="211"/>
                  </a:lnTo>
                  <a:cubicBezTo>
                    <a:pt x="41" y="213"/>
                    <a:pt x="42" y="214"/>
                    <a:pt x="43" y="214"/>
                  </a:cubicBezTo>
                  <a:lnTo>
                    <a:pt x="51" y="210"/>
                  </a:lnTo>
                  <a:lnTo>
                    <a:pt x="53" y="217"/>
                  </a:lnTo>
                  <a:lnTo>
                    <a:pt x="59" y="214"/>
                  </a:lnTo>
                  <a:lnTo>
                    <a:pt x="59" y="206"/>
                  </a:lnTo>
                  <a:close/>
                  <a:moveTo>
                    <a:pt x="53" y="209"/>
                  </a:moveTo>
                  <a:lnTo>
                    <a:pt x="50" y="209"/>
                  </a:lnTo>
                  <a:lnTo>
                    <a:pt x="51" y="210"/>
                  </a:lnTo>
                  <a:lnTo>
                    <a:pt x="53" y="209"/>
                  </a:lnTo>
                  <a:close/>
                  <a:moveTo>
                    <a:pt x="64" y="282"/>
                  </a:moveTo>
                  <a:lnTo>
                    <a:pt x="64" y="285"/>
                  </a:lnTo>
                  <a:cubicBezTo>
                    <a:pt x="66" y="285"/>
                    <a:pt x="68" y="283"/>
                    <a:pt x="69" y="282"/>
                  </a:cubicBezTo>
                  <a:lnTo>
                    <a:pt x="64" y="282"/>
                  </a:lnTo>
                  <a:close/>
                  <a:moveTo>
                    <a:pt x="56" y="228"/>
                  </a:moveTo>
                  <a:lnTo>
                    <a:pt x="59" y="231"/>
                  </a:lnTo>
                  <a:cubicBezTo>
                    <a:pt x="59" y="225"/>
                    <a:pt x="56" y="225"/>
                    <a:pt x="50" y="225"/>
                  </a:cubicBezTo>
                  <a:cubicBezTo>
                    <a:pt x="53" y="225"/>
                    <a:pt x="53" y="225"/>
                    <a:pt x="56" y="228"/>
                  </a:cubicBezTo>
                  <a:close/>
                  <a:moveTo>
                    <a:pt x="59" y="163"/>
                  </a:moveTo>
                  <a:cubicBezTo>
                    <a:pt x="59" y="161"/>
                    <a:pt x="56" y="161"/>
                    <a:pt x="53" y="161"/>
                  </a:cubicBezTo>
                  <a:lnTo>
                    <a:pt x="53" y="166"/>
                  </a:lnTo>
                  <a:cubicBezTo>
                    <a:pt x="56" y="166"/>
                    <a:pt x="56" y="166"/>
                    <a:pt x="59" y="163"/>
                  </a:cubicBezTo>
                  <a:close/>
                  <a:moveTo>
                    <a:pt x="62" y="172"/>
                  </a:moveTo>
                  <a:lnTo>
                    <a:pt x="59" y="175"/>
                  </a:lnTo>
                  <a:lnTo>
                    <a:pt x="62" y="175"/>
                  </a:lnTo>
                  <a:lnTo>
                    <a:pt x="67" y="169"/>
                  </a:lnTo>
                  <a:cubicBezTo>
                    <a:pt x="67" y="169"/>
                    <a:pt x="64" y="169"/>
                    <a:pt x="64" y="166"/>
                  </a:cubicBezTo>
                  <a:cubicBezTo>
                    <a:pt x="64" y="172"/>
                    <a:pt x="64" y="172"/>
                    <a:pt x="62" y="172"/>
                  </a:cubicBezTo>
                  <a:close/>
                  <a:moveTo>
                    <a:pt x="67" y="180"/>
                  </a:moveTo>
                  <a:cubicBezTo>
                    <a:pt x="64" y="180"/>
                    <a:pt x="64" y="183"/>
                    <a:pt x="62" y="183"/>
                  </a:cubicBezTo>
                  <a:lnTo>
                    <a:pt x="62" y="186"/>
                  </a:lnTo>
                  <a:lnTo>
                    <a:pt x="67" y="180"/>
                  </a:lnTo>
                  <a:lnTo>
                    <a:pt x="70" y="186"/>
                  </a:lnTo>
                  <a:cubicBezTo>
                    <a:pt x="73" y="183"/>
                    <a:pt x="76" y="180"/>
                    <a:pt x="70" y="177"/>
                  </a:cubicBezTo>
                  <a:lnTo>
                    <a:pt x="67" y="180"/>
                  </a:lnTo>
                  <a:close/>
                  <a:moveTo>
                    <a:pt x="98" y="320"/>
                  </a:moveTo>
                  <a:cubicBezTo>
                    <a:pt x="96" y="318"/>
                    <a:pt x="96" y="315"/>
                    <a:pt x="93" y="312"/>
                  </a:cubicBezTo>
                  <a:cubicBezTo>
                    <a:pt x="90" y="309"/>
                    <a:pt x="90" y="306"/>
                    <a:pt x="87" y="306"/>
                  </a:cubicBezTo>
                  <a:lnTo>
                    <a:pt x="84" y="306"/>
                  </a:lnTo>
                  <a:lnTo>
                    <a:pt x="81" y="306"/>
                  </a:lnTo>
                  <a:lnTo>
                    <a:pt x="81" y="301"/>
                  </a:lnTo>
                  <a:lnTo>
                    <a:pt x="70" y="303"/>
                  </a:lnTo>
                  <a:cubicBezTo>
                    <a:pt x="73" y="306"/>
                    <a:pt x="73" y="306"/>
                    <a:pt x="76" y="306"/>
                  </a:cubicBezTo>
                  <a:lnTo>
                    <a:pt x="73" y="315"/>
                  </a:lnTo>
                  <a:lnTo>
                    <a:pt x="79" y="315"/>
                  </a:lnTo>
                  <a:cubicBezTo>
                    <a:pt x="81" y="320"/>
                    <a:pt x="87" y="320"/>
                    <a:pt x="87" y="315"/>
                  </a:cubicBezTo>
                  <a:cubicBezTo>
                    <a:pt x="90" y="315"/>
                    <a:pt x="90" y="318"/>
                    <a:pt x="90" y="320"/>
                  </a:cubicBezTo>
                  <a:lnTo>
                    <a:pt x="87" y="323"/>
                  </a:lnTo>
                  <a:cubicBezTo>
                    <a:pt x="84" y="323"/>
                    <a:pt x="81" y="323"/>
                    <a:pt x="81" y="320"/>
                  </a:cubicBezTo>
                  <a:cubicBezTo>
                    <a:pt x="81" y="318"/>
                    <a:pt x="79" y="318"/>
                    <a:pt x="76" y="320"/>
                  </a:cubicBezTo>
                  <a:cubicBezTo>
                    <a:pt x="79" y="323"/>
                    <a:pt x="81" y="323"/>
                    <a:pt x="87" y="326"/>
                  </a:cubicBezTo>
                  <a:lnTo>
                    <a:pt x="87" y="332"/>
                  </a:lnTo>
                  <a:lnTo>
                    <a:pt x="90" y="332"/>
                  </a:lnTo>
                  <a:lnTo>
                    <a:pt x="93" y="334"/>
                  </a:lnTo>
                  <a:lnTo>
                    <a:pt x="93" y="329"/>
                  </a:lnTo>
                  <a:lnTo>
                    <a:pt x="93" y="323"/>
                  </a:lnTo>
                  <a:cubicBezTo>
                    <a:pt x="93" y="320"/>
                    <a:pt x="96" y="320"/>
                    <a:pt x="98" y="320"/>
                  </a:cubicBezTo>
                  <a:close/>
                  <a:moveTo>
                    <a:pt x="73" y="332"/>
                  </a:moveTo>
                  <a:lnTo>
                    <a:pt x="79" y="332"/>
                  </a:lnTo>
                  <a:cubicBezTo>
                    <a:pt x="79" y="332"/>
                    <a:pt x="81" y="332"/>
                    <a:pt x="81" y="329"/>
                  </a:cubicBezTo>
                  <a:lnTo>
                    <a:pt x="79" y="326"/>
                  </a:lnTo>
                  <a:cubicBezTo>
                    <a:pt x="76" y="329"/>
                    <a:pt x="76" y="332"/>
                    <a:pt x="73" y="332"/>
                  </a:cubicBezTo>
                  <a:close/>
                  <a:moveTo>
                    <a:pt x="76" y="349"/>
                  </a:moveTo>
                  <a:cubicBezTo>
                    <a:pt x="79" y="351"/>
                    <a:pt x="79" y="351"/>
                    <a:pt x="79" y="349"/>
                  </a:cubicBezTo>
                  <a:lnTo>
                    <a:pt x="76" y="349"/>
                  </a:lnTo>
                  <a:close/>
                  <a:moveTo>
                    <a:pt x="79" y="368"/>
                  </a:moveTo>
                  <a:lnTo>
                    <a:pt x="84" y="368"/>
                  </a:lnTo>
                  <a:lnTo>
                    <a:pt x="84" y="363"/>
                  </a:lnTo>
                  <a:cubicBezTo>
                    <a:pt x="79" y="365"/>
                    <a:pt x="76" y="365"/>
                    <a:pt x="79" y="368"/>
                  </a:cubicBezTo>
                  <a:close/>
                  <a:moveTo>
                    <a:pt x="84" y="346"/>
                  </a:moveTo>
                  <a:lnTo>
                    <a:pt x="84" y="340"/>
                  </a:lnTo>
                  <a:lnTo>
                    <a:pt x="84" y="334"/>
                  </a:lnTo>
                  <a:cubicBezTo>
                    <a:pt x="79" y="340"/>
                    <a:pt x="79" y="340"/>
                    <a:pt x="84" y="346"/>
                  </a:cubicBezTo>
                  <a:close/>
                  <a:moveTo>
                    <a:pt x="90" y="394"/>
                  </a:moveTo>
                  <a:cubicBezTo>
                    <a:pt x="90" y="388"/>
                    <a:pt x="90" y="388"/>
                    <a:pt x="87" y="388"/>
                  </a:cubicBezTo>
                  <a:lnTo>
                    <a:pt x="87" y="391"/>
                  </a:lnTo>
                  <a:lnTo>
                    <a:pt x="87" y="392"/>
                  </a:lnTo>
                  <a:cubicBezTo>
                    <a:pt x="88" y="392"/>
                    <a:pt x="89" y="393"/>
                    <a:pt x="90" y="394"/>
                  </a:cubicBezTo>
                  <a:close/>
                  <a:moveTo>
                    <a:pt x="87" y="411"/>
                  </a:moveTo>
                  <a:cubicBezTo>
                    <a:pt x="90" y="411"/>
                    <a:pt x="90" y="413"/>
                    <a:pt x="93" y="413"/>
                  </a:cubicBezTo>
                  <a:cubicBezTo>
                    <a:pt x="90" y="405"/>
                    <a:pt x="90" y="405"/>
                    <a:pt x="84" y="405"/>
                  </a:cubicBezTo>
                  <a:cubicBezTo>
                    <a:pt x="84" y="408"/>
                    <a:pt x="84" y="411"/>
                    <a:pt x="87" y="411"/>
                  </a:cubicBezTo>
                  <a:close/>
                  <a:moveTo>
                    <a:pt x="87" y="399"/>
                  </a:moveTo>
                  <a:cubicBezTo>
                    <a:pt x="87" y="399"/>
                    <a:pt x="84" y="399"/>
                    <a:pt x="87" y="399"/>
                  </a:cubicBezTo>
                  <a:lnTo>
                    <a:pt x="87" y="405"/>
                  </a:lnTo>
                  <a:lnTo>
                    <a:pt x="90" y="405"/>
                  </a:lnTo>
                  <a:lnTo>
                    <a:pt x="87" y="399"/>
                  </a:lnTo>
                  <a:close/>
                  <a:moveTo>
                    <a:pt x="98" y="428"/>
                  </a:moveTo>
                  <a:lnTo>
                    <a:pt x="96" y="425"/>
                  </a:lnTo>
                  <a:lnTo>
                    <a:pt x="93" y="422"/>
                  </a:lnTo>
                  <a:lnTo>
                    <a:pt x="90" y="422"/>
                  </a:lnTo>
                  <a:lnTo>
                    <a:pt x="93" y="425"/>
                  </a:lnTo>
                  <a:cubicBezTo>
                    <a:pt x="93" y="425"/>
                    <a:pt x="93" y="428"/>
                    <a:pt x="96" y="428"/>
                  </a:cubicBezTo>
                  <a:cubicBezTo>
                    <a:pt x="96" y="430"/>
                    <a:pt x="96" y="430"/>
                    <a:pt x="98" y="428"/>
                  </a:cubicBezTo>
                  <a:close/>
                  <a:moveTo>
                    <a:pt x="90" y="175"/>
                  </a:moveTo>
                  <a:lnTo>
                    <a:pt x="96" y="180"/>
                  </a:lnTo>
                  <a:cubicBezTo>
                    <a:pt x="98" y="180"/>
                    <a:pt x="98" y="183"/>
                    <a:pt x="98" y="183"/>
                  </a:cubicBezTo>
                  <a:lnTo>
                    <a:pt x="101" y="180"/>
                  </a:lnTo>
                  <a:lnTo>
                    <a:pt x="104" y="177"/>
                  </a:lnTo>
                  <a:cubicBezTo>
                    <a:pt x="101" y="175"/>
                    <a:pt x="101" y="172"/>
                    <a:pt x="98" y="169"/>
                  </a:cubicBezTo>
                  <a:lnTo>
                    <a:pt x="96" y="172"/>
                  </a:lnTo>
                  <a:cubicBezTo>
                    <a:pt x="96" y="175"/>
                    <a:pt x="93" y="175"/>
                    <a:pt x="90" y="175"/>
                  </a:cubicBezTo>
                  <a:close/>
                  <a:moveTo>
                    <a:pt x="93" y="391"/>
                  </a:moveTo>
                  <a:cubicBezTo>
                    <a:pt x="93" y="392"/>
                    <a:pt x="93" y="392"/>
                    <a:pt x="94" y="393"/>
                  </a:cubicBezTo>
                  <a:cubicBezTo>
                    <a:pt x="93" y="392"/>
                    <a:pt x="93" y="391"/>
                    <a:pt x="93" y="391"/>
                  </a:cubicBezTo>
                  <a:close/>
                  <a:moveTo>
                    <a:pt x="107" y="309"/>
                  </a:moveTo>
                  <a:lnTo>
                    <a:pt x="104" y="309"/>
                  </a:lnTo>
                  <a:lnTo>
                    <a:pt x="104" y="315"/>
                  </a:lnTo>
                  <a:cubicBezTo>
                    <a:pt x="104" y="312"/>
                    <a:pt x="107" y="312"/>
                    <a:pt x="107" y="309"/>
                  </a:cubicBezTo>
                  <a:close/>
                  <a:moveTo>
                    <a:pt x="112" y="200"/>
                  </a:moveTo>
                  <a:lnTo>
                    <a:pt x="115" y="197"/>
                  </a:lnTo>
                  <a:cubicBezTo>
                    <a:pt x="115" y="197"/>
                    <a:pt x="112" y="197"/>
                    <a:pt x="112" y="200"/>
                  </a:cubicBezTo>
                  <a:close/>
                  <a:moveTo>
                    <a:pt x="121" y="217"/>
                  </a:moveTo>
                  <a:lnTo>
                    <a:pt x="118" y="214"/>
                  </a:lnTo>
                  <a:lnTo>
                    <a:pt x="118" y="217"/>
                  </a:lnTo>
                  <a:cubicBezTo>
                    <a:pt x="118" y="214"/>
                    <a:pt x="118" y="217"/>
                    <a:pt x="121" y="217"/>
                  </a:cubicBezTo>
                  <a:lnTo>
                    <a:pt x="118" y="223"/>
                  </a:lnTo>
                  <a:lnTo>
                    <a:pt x="121" y="223"/>
                  </a:lnTo>
                  <a:lnTo>
                    <a:pt x="124" y="223"/>
                  </a:lnTo>
                  <a:cubicBezTo>
                    <a:pt x="124" y="220"/>
                    <a:pt x="121" y="217"/>
                    <a:pt x="121" y="217"/>
                  </a:cubicBezTo>
                  <a:close/>
                  <a:moveTo>
                    <a:pt x="129" y="276"/>
                  </a:moveTo>
                  <a:cubicBezTo>
                    <a:pt x="129" y="276"/>
                    <a:pt x="129" y="279"/>
                    <a:pt x="127" y="279"/>
                  </a:cubicBezTo>
                  <a:lnTo>
                    <a:pt x="129" y="279"/>
                  </a:lnTo>
                  <a:lnTo>
                    <a:pt x="132" y="279"/>
                  </a:lnTo>
                  <a:cubicBezTo>
                    <a:pt x="132" y="276"/>
                    <a:pt x="132" y="276"/>
                    <a:pt x="135" y="273"/>
                  </a:cubicBezTo>
                  <a:cubicBezTo>
                    <a:pt x="138" y="276"/>
                    <a:pt x="138" y="279"/>
                    <a:pt x="141" y="279"/>
                  </a:cubicBezTo>
                  <a:cubicBezTo>
                    <a:pt x="141" y="279"/>
                    <a:pt x="141" y="276"/>
                    <a:pt x="138" y="273"/>
                  </a:cubicBezTo>
                  <a:lnTo>
                    <a:pt x="135" y="268"/>
                  </a:lnTo>
                  <a:cubicBezTo>
                    <a:pt x="132" y="268"/>
                    <a:pt x="129" y="271"/>
                    <a:pt x="129" y="276"/>
                  </a:cubicBezTo>
                  <a:close/>
                  <a:moveTo>
                    <a:pt x="138" y="268"/>
                  </a:moveTo>
                  <a:lnTo>
                    <a:pt x="141" y="268"/>
                  </a:lnTo>
                  <a:lnTo>
                    <a:pt x="141" y="265"/>
                  </a:lnTo>
                  <a:cubicBezTo>
                    <a:pt x="138" y="268"/>
                    <a:pt x="135" y="268"/>
                    <a:pt x="135" y="268"/>
                  </a:cubicBezTo>
                  <a:lnTo>
                    <a:pt x="138" y="268"/>
                  </a:lnTo>
                  <a:close/>
                  <a:moveTo>
                    <a:pt x="132" y="259"/>
                  </a:moveTo>
                  <a:cubicBezTo>
                    <a:pt x="132" y="259"/>
                    <a:pt x="135" y="259"/>
                    <a:pt x="135" y="256"/>
                  </a:cubicBezTo>
                  <a:cubicBezTo>
                    <a:pt x="132" y="256"/>
                    <a:pt x="132" y="254"/>
                    <a:pt x="129" y="254"/>
                  </a:cubicBezTo>
                  <a:cubicBezTo>
                    <a:pt x="129" y="256"/>
                    <a:pt x="129" y="259"/>
                    <a:pt x="132" y="259"/>
                  </a:cubicBezTo>
                  <a:cubicBezTo>
                    <a:pt x="129" y="262"/>
                    <a:pt x="132" y="265"/>
                    <a:pt x="132" y="265"/>
                  </a:cubicBezTo>
                  <a:lnTo>
                    <a:pt x="135" y="265"/>
                  </a:lnTo>
                  <a:cubicBezTo>
                    <a:pt x="135" y="265"/>
                    <a:pt x="135" y="262"/>
                    <a:pt x="132" y="259"/>
                  </a:cubicBezTo>
                  <a:close/>
                  <a:moveTo>
                    <a:pt x="149" y="320"/>
                  </a:moveTo>
                  <a:lnTo>
                    <a:pt x="149" y="318"/>
                  </a:lnTo>
                  <a:lnTo>
                    <a:pt x="146" y="320"/>
                  </a:lnTo>
                  <a:lnTo>
                    <a:pt x="146" y="321"/>
                  </a:lnTo>
                  <a:cubicBezTo>
                    <a:pt x="148" y="320"/>
                    <a:pt x="149" y="320"/>
                    <a:pt x="149" y="320"/>
                  </a:cubicBezTo>
                  <a:close/>
                  <a:moveTo>
                    <a:pt x="144" y="323"/>
                  </a:moveTo>
                  <a:cubicBezTo>
                    <a:pt x="144" y="322"/>
                    <a:pt x="145" y="322"/>
                    <a:pt x="146" y="321"/>
                  </a:cubicBezTo>
                  <a:lnTo>
                    <a:pt x="146" y="323"/>
                  </a:lnTo>
                  <a:lnTo>
                    <a:pt x="149" y="326"/>
                  </a:lnTo>
                  <a:lnTo>
                    <a:pt x="146" y="326"/>
                  </a:lnTo>
                  <a:cubicBezTo>
                    <a:pt x="148" y="326"/>
                    <a:pt x="149" y="326"/>
                    <a:pt x="149" y="326"/>
                  </a:cubicBezTo>
                  <a:cubicBezTo>
                    <a:pt x="146" y="332"/>
                    <a:pt x="146" y="335"/>
                    <a:pt x="146" y="340"/>
                  </a:cubicBezTo>
                  <a:cubicBezTo>
                    <a:pt x="155" y="337"/>
                    <a:pt x="158" y="337"/>
                    <a:pt x="160" y="340"/>
                  </a:cubicBezTo>
                  <a:cubicBezTo>
                    <a:pt x="160" y="343"/>
                    <a:pt x="163" y="346"/>
                    <a:pt x="163" y="349"/>
                  </a:cubicBezTo>
                  <a:cubicBezTo>
                    <a:pt x="163" y="346"/>
                    <a:pt x="166" y="343"/>
                    <a:pt x="166" y="340"/>
                  </a:cubicBezTo>
                  <a:lnTo>
                    <a:pt x="163" y="337"/>
                  </a:lnTo>
                  <a:lnTo>
                    <a:pt x="163" y="334"/>
                  </a:lnTo>
                  <a:lnTo>
                    <a:pt x="163" y="332"/>
                  </a:lnTo>
                  <a:cubicBezTo>
                    <a:pt x="163" y="332"/>
                    <a:pt x="160" y="334"/>
                    <a:pt x="158" y="334"/>
                  </a:cubicBezTo>
                  <a:lnTo>
                    <a:pt x="152" y="337"/>
                  </a:lnTo>
                  <a:lnTo>
                    <a:pt x="149" y="326"/>
                  </a:lnTo>
                  <a:lnTo>
                    <a:pt x="152" y="323"/>
                  </a:lnTo>
                  <a:lnTo>
                    <a:pt x="155" y="318"/>
                  </a:lnTo>
                  <a:lnTo>
                    <a:pt x="152" y="318"/>
                  </a:lnTo>
                  <a:lnTo>
                    <a:pt x="149" y="318"/>
                  </a:lnTo>
                  <a:lnTo>
                    <a:pt x="146" y="318"/>
                  </a:lnTo>
                  <a:lnTo>
                    <a:pt x="146" y="320"/>
                  </a:lnTo>
                  <a:lnTo>
                    <a:pt x="144" y="323"/>
                  </a:lnTo>
                  <a:close/>
                  <a:moveTo>
                    <a:pt x="149" y="329"/>
                  </a:moveTo>
                  <a:lnTo>
                    <a:pt x="149" y="326"/>
                  </a:lnTo>
                  <a:lnTo>
                    <a:pt x="149" y="326"/>
                  </a:lnTo>
                  <a:cubicBezTo>
                    <a:pt x="149" y="327"/>
                    <a:pt x="149" y="328"/>
                    <a:pt x="149" y="329"/>
                  </a:cubicBezTo>
                  <a:close/>
                  <a:moveTo>
                    <a:pt x="169" y="363"/>
                  </a:moveTo>
                  <a:lnTo>
                    <a:pt x="166" y="357"/>
                  </a:lnTo>
                  <a:cubicBezTo>
                    <a:pt x="166" y="357"/>
                    <a:pt x="166" y="360"/>
                    <a:pt x="163" y="360"/>
                  </a:cubicBezTo>
                  <a:lnTo>
                    <a:pt x="160" y="363"/>
                  </a:lnTo>
                  <a:lnTo>
                    <a:pt x="169" y="363"/>
                  </a:lnTo>
                  <a:close/>
                  <a:moveTo>
                    <a:pt x="175" y="363"/>
                  </a:moveTo>
                  <a:lnTo>
                    <a:pt x="172" y="360"/>
                  </a:lnTo>
                  <a:lnTo>
                    <a:pt x="172" y="368"/>
                  </a:lnTo>
                  <a:lnTo>
                    <a:pt x="175" y="368"/>
                  </a:lnTo>
                  <a:lnTo>
                    <a:pt x="177" y="368"/>
                  </a:lnTo>
                  <a:lnTo>
                    <a:pt x="175" y="363"/>
                  </a:lnTo>
                  <a:close/>
                  <a:moveTo>
                    <a:pt x="172" y="385"/>
                  </a:moveTo>
                  <a:lnTo>
                    <a:pt x="175" y="385"/>
                  </a:lnTo>
                  <a:lnTo>
                    <a:pt x="175" y="382"/>
                  </a:lnTo>
                  <a:lnTo>
                    <a:pt x="172" y="385"/>
                  </a:lnTo>
                  <a:close/>
                  <a:moveTo>
                    <a:pt x="180" y="394"/>
                  </a:moveTo>
                  <a:lnTo>
                    <a:pt x="177" y="394"/>
                  </a:lnTo>
                  <a:lnTo>
                    <a:pt x="177" y="399"/>
                  </a:lnTo>
                  <a:lnTo>
                    <a:pt x="180" y="394"/>
                  </a:lnTo>
                  <a:close/>
                  <a:moveTo>
                    <a:pt x="186" y="405"/>
                  </a:moveTo>
                  <a:lnTo>
                    <a:pt x="183" y="405"/>
                  </a:lnTo>
                  <a:lnTo>
                    <a:pt x="183" y="411"/>
                  </a:lnTo>
                  <a:lnTo>
                    <a:pt x="186" y="411"/>
                  </a:lnTo>
                  <a:lnTo>
                    <a:pt x="186" y="405"/>
                  </a:lnTo>
                  <a:close/>
                  <a:moveTo>
                    <a:pt x="189" y="405"/>
                  </a:moveTo>
                  <a:lnTo>
                    <a:pt x="189" y="408"/>
                  </a:lnTo>
                  <a:lnTo>
                    <a:pt x="191" y="408"/>
                  </a:lnTo>
                  <a:cubicBezTo>
                    <a:pt x="191" y="408"/>
                    <a:pt x="191" y="405"/>
                    <a:pt x="189" y="405"/>
                  </a:cubicBezTo>
                  <a:close/>
                  <a:moveTo>
                    <a:pt x="200" y="428"/>
                  </a:moveTo>
                  <a:cubicBezTo>
                    <a:pt x="200" y="428"/>
                    <a:pt x="197" y="428"/>
                    <a:pt x="197" y="425"/>
                  </a:cubicBezTo>
                  <a:cubicBezTo>
                    <a:pt x="197" y="425"/>
                    <a:pt x="194" y="425"/>
                    <a:pt x="194" y="422"/>
                  </a:cubicBezTo>
                  <a:lnTo>
                    <a:pt x="194" y="428"/>
                  </a:lnTo>
                  <a:cubicBezTo>
                    <a:pt x="194" y="428"/>
                    <a:pt x="194" y="430"/>
                    <a:pt x="191" y="430"/>
                  </a:cubicBezTo>
                  <a:lnTo>
                    <a:pt x="194" y="430"/>
                  </a:lnTo>
                  <a:lnTo>
                    <a:pt x="197" y="428"/>
                  </a:lnTo>
                  <a:lnTo>
                    <a:pt x="200" y="428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7" name="Freeform 1458"/>
            <p:cNvSpPr>
              <a:spLocks noChangeArrowheads="1"/>
            </p:cNvSpPr>
            <p:nvPr/>
          </p:nvSpPr>
          <p:spPr bwMode="auto">
            <a:xfrm>
              <a:off x="4090988" y="2455863"/>
              <a:ext cx="77787" cy="179387"/>
            </a:xfrm>
            <a:custGeom>
              <a:avLst/>
              <a:gdLst>
                <a:gd name="T0" fmla="*/ 154 w 214"/>
                <a:gd name="T1" fmla="*/ 425 h 500"/>
                <a:gd name="T2" fmla="*/ 140 w 214"/>
                <a:gd name="T3" fmla="*/ 341 h 500"/>
                <a:gd name="T4" fmla="*/ 100 w 214"/>
                <a:gd name="T5" fmla="*/ 294 h 500"/>
                <a:gd name="T6" fmla="*/ 112 w 214"/>
                <a:gd name="T7" fmla="*/ 374 h 500"/>
                <a:gd name="T8" fmla="*/ 120 w 214"/>
                <a:gd name="T9" fmla="*/ 487 h 500"/>
                <a:gd name="T10" fmla="*/ 73 w 214"/>
                <a:gd name="T11" fmla="*/ 462 h 500"/>
                <a:gd name="T12" fmla="*/ 62 w 214"/>
                <a:gd name="T13" fmla="*/ 366 h 500"/>
                <a:gd name="T14" fmla="*/ 45 w 214"/>
                <a:gd name="T15" fmla="*/ 285 h 500"/>
                <a:gd name="T16" fmla="*/ 39 w 214"/>
                <a:gd name="T17" fmla="*/ 243 h 500"/>
                <a:gd name="T18" fmla="*/ 8 w 214"/>
                <a:gd name="T19" fmla="*/ 93 h 500"/>
                <a:gd name="T20" fmla="*/ 39 w 214"/>
                <a:gd name="T21" fmla="*/ 14 h 500"/>
                <a:gd name="T22" fmla="*/ 56 w 214"/>
                <a:gd name="T23" fmla="*/ 57 h 500"/>
                <a:gd name="T24" fmla="*/ 70 w 214"/>
                <a:gd name="T25" fmla="*/ 139 h 500"/>
                <a:gd name="T26" fmla="*/ 84 w 214"/>
                <a:gd name="T27" fmla="*/ 215 h 500"/>
                <a:gd name="T28" fmla="*/ 109 w 214"/>
                <a:gd name="T29" fmla="*/ 161 h 500"/>
                <a:gd name="T30" fmla="*/ 93 w 214"/>
                <a:gd name="T31" fmla="*/ 54 h 500"/>
                <a:gd name="T32" fmla="*/ 137 w 214"/>
                <a:gd name="T33" fmla="*/ 51 h 500"/>
                <a:gd name="T34" fmla="*/ 145 w 214"/>
                <a:gd name="T35" fmla="*/ 105 h 500"/>
                <a:gd name="T36" fmla="*/ 154 w 214"/>
                <a:gd name="T37" fmla="*/ 158 h 500"/>
                <a:gd name="T38" fmla="*/ 182 w 214"/>
                <a:gd name="T39" fmla="*/ 313 h 500"/>
                <a:gd name="T40" fmla="*/ 202 w 214"/>
                <a:gd name="T41" fmla="*/ 414 h 500"/>
                <a:gd name="T42" fmla="*/ 28 w 214"/>
                <a:gd name="T43" fmla="*/ 65 h 500"/>
                <a:gd name="T44" fmla="*/ 34 w 214"/>
                <a:gd name="T45" fmla="*/ 99 h 500"/>
                <a:gd name="T46" fmla="*/ 39 w 214"/>
                <a:gd name="T47" fmla="*/ 91 h 500"/>
                <a:gd name="T48" fmla="*/ 31 w 214"/>
                <a:gd name="T49" fmla="*/ 119 h 500"/>
                <a:gd name="T50" fmla="*/ 39 w 214"/>
                <a:gd name="T51" fmla="*/ 141 h 500"/>
                <a:gd name="T52" fmla="*/ 56 w 214"/>
                <a:gd name="T53" fmla="*/ 164 h 500"/>
                <a:gd name="T54" fmla="*/ 53 w 214"/>
                <a:gd name="T55" fmla="*/ 175 h 500"/>
                <a:gd name="T56" fmla="*/ 59 w 214"/>
                <a:gd name="T57" fmla="*/ 195 h 500"/>
                <a:gd name="T58" fmla="*/ 67 w 214"/>
                <a:gd name="T59" fmla="*/ 229 h 500"/>
                <a:gd name="T60" fmla="*/ 65 w 214"/>
                <a:gd name="T61" fmla="*/ 251 h 500"/>
                <a:gd name="T62" fmla="*/ 67 w 214"/>
                <a:gd name="T63" fmla="*/ 265 h 500"/>
                <a:gd name="T64" fmla="*/ 73 w 214"/>
                <a:gd name="T65" fmla="*/ 282 h 500"/>
                <a:gd name="T66" fmla="*/ 76 w 214"/>
                <a:gd name="T67" fmla="*/ 268 h 500"/>
                <a:gd name="T68" fmla="*/ 79 w 214"/>
                <a:gd name="T69" fmla="*/ 277 h 500"/>
                <a:gd name="T70" fmla="*/ 73 w 214"/>
                <a:gd name="T71" fmla="*/ 305 h 500"/>
                <a:gd name="T72" fmla="*/ 73 w 214"/>
                <a:gd name="T73" fmla="*/ 294 h 500"/>
                <a:gd name="T74" fmla="*/ 76 w 214"/>
                <a:gd name="T75" fmla="*/ 335 h 500"/>
                <a:gd name="T76" fmla="*/ 73 w 214"/>
                <a:gd name="T77" fmla="*/ 349 h 500"/>
                <a:gd name="T78" fmla="*/ 81 w 214"/>
                <a:gd name="T79" fmla="*/ 229 h 500"/>
                <a:gd name="T80" fmla="*/ 79 w 214"/>
                <a:gd name="T81" fmla="*/ 366 h 500"/>
                <a:gd name="T82" fmla="*/ 103 w 214"/>
                <a:gd name="T83" fmla="*/ 246 h 500"/>
                <a:gd name="T84" fmla="*/ 87 w 214"/>
                <a:gd name="T85" fmla="*/ 260 h 500"/>
                <a:gd name="T86" fmla="*/ 100 w 214"/>
                <a:gd name="T87" fmla="*/ 254 h 500"/>
                <a:gd name="T88" fmla="*/ 112 w 214"/>
                <a:gd name="T89" fmla="*/ 251 h 500"/>
                <a:gd name="T90" fmla="*/ 90 w 214"/>
                <a:gd name="T91" fmla="*/ 414 h 500"/>
                <a:gd name="T92" fmla="*/ 97 w 214"/>
                <a:gd name="T93" fmla="*/ 434 h 500"/>
                <a:gd name="T94" fmla="*/ 137 w 214"/>
                <a:gd name="T95" fmla="*/ 257 h 500"/>
                <a:gd name="T96" fmla="*/ 120 w 214"/>
                <a:gd name="T97" fmla="*/ 249 h 500"/>
                <a:gd name="T98" fmla="*/ 131 w 214"/>
                <a:gd name="T99" fmla="*/ 232 h 500"/>
                <a:gd name="T100" fmla="*/ 134 w 214"/>
                <a:gd name="T101" fmla="*/ 124 h 500"/>
                <a:gd name="T102" fmla="*/ 143 w 214"/>
                <a:gd name="T103" fmla="*/ 257 h 500"/>
                <a:gd name="T104" fmla="*/ 140 w 214"/>
                <a:gd name="T105" fmla="*/ 263 h 500"/>
                <a:gd name="T106" fmla="*/ 148 w 214"/>
                <a:gd name="T107" fmla="*/ 234 h 500"/>
                <a:gd name="T108" fmla="*/ 143 w 214"/>
                <a:gd name="T109" fmla="*/ 189 h 500"/>
                <a:gd name="T110" fmla="*/ 159 w 214"/>
                <a:gd name="T111" fmla="*/ 274 h 500"/>
                <a:gd name="T112" fmla="*/ 168 w 214"/>
                <a:gd name="T113" fmla="*/ 360 h 500"/>
                <a:gd name="T114" fmla="*/ 182 w 214"/>
                <a:gd name="T115" fmla="*/ 389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4" h="500">
                  <a:moveTo>
                    <a:pt x="213" y="459"/>
                  </a:moveTo>
                  <a:lnTo>
                    <a:pt x="213" y="465"/>
                  </a:lnTo>
                  <a:cubicBezTo>
                    <a:pt x="213" y="468"/>
                    <a:pt x="210" y="470"/>
                    <a:pt x="207" y="470"/>
                  </a:cubicBezTo>
                  <a:cubicBezTo>
                    <a:pt x="205" y="473"/>
                    <a:pt x="202" y="473"/>
                    <a:pt x="199" y="476"/>
                  </a:cubicBezTo>
                  <a:cubicBezTo>
                    <a:pt x="196" y="476"/>
                    <a:pt x="193" y="479"/>
                    <a:pt x="191" y="479"/>
                  </a:cubicBezTo>
                  <a:cubicBezTo>
                    <a:pt x="188" y="479"/>
                    <a:pt x="185" y="482"/>
                    <a:pt x="182" y="484"/>
                  </a:cubicBezTo>
                  <a:cubicBezTo>
                    <a:pt x="176" y="484"/>
                    <a:pt x="168" y="479"/>
                    <a:pt x="162" y="476"/>
                  </a:cubicBezTo>
                  <a:cubicBezTo>
                    <a:pt x="159" y="473"/>
                    <a:pt x="157" y="470"/>
                    <a:pt x="157" y="468"/>
                  </a:cubicBezTo>
                  <a:lnTo>
                    <a:pt x="157" y="445"/>
                  </a:lnTo>
                  <a:cubicBezTo>
                    <a:pt x="154" y="439"/>
                    <a:pt x="154" y="434"/>
                    <a:pt x="154" y="425"/>
                  </a:cubicBezTo>
                  <a:lnTo>
                    <a:pt x="154" y="420"/>
                  </a:lnTo>
                  <a:lnTo>
                    <a:pt x="154" y="414"/>
                  </a:lnTo>
                  <a:lnTo>
                    <a:pt x="151" y="400"/>
                  </a:lnTo>
                  <a:cubicBezTo>
                    <a:pt x="151" y="400"/>
                    <a:pt x="151" y="397"/>
                    <a:pt x="154" y="397"/>
                  </a:cubicBezTo>
                  <a:cubicBezTo>
                    <a:pt x="151" y="391"/>
                    <a:pt x="148" y="386"/>
                    <a:pt x="148" y="380"/>
                  </a:cubicBezTo>
                  <a:cubicBezTo>
                    <a:pt x="148" y="374"/>
                    <a:pt x="148" y="369"/>
                    <a:pt x="145" y="363"/>
                  </a:cubicBezTo>
                  <a:lnTo>
                    <a:pt x="145" y="360"/>
                  </a:lnTo>
                  <a:lnTo>
                    <a:pt x="145" y="358"/>
                  </a:lnTo>
                  <a:cubicBezTo>
                    <a:pt x="143" y="355"/>
                    <a:pt x="143" y="352"/>
                    <a:pt x="140" y="349"/>
                  </a:cubicBezTo>
                  <a:lnTo>
                    <a:pt x="140" y="341"/>
                  </a:lnTo>
                  <a:lnTo>
                    <a:pt x="140" y="332"/>
                  </a:lnTo>
                  <a:lnTo>
                    <a:pt x="140" y="325"/>
                  </a:lnTo>
                  <a:cubicBezTo>
                    <a:pt x="140" y="316"/>
                    <a:pt x="137" y="311"/>
                    <a:pt x="137" y="302"/>
                  </a:cubicBezTo>
                  <a:cubicBezTo>
                    <a:pt x="137" y="299"/>
                    <a:pt x="134" y="294"/>
                    <a:pt x="134" y="291"/>
                  </a:cubicBezTo>
                  <a:lnTo>
                    <a:pt x="134" y="288"/>
                  </a:lnTo>
                  <a:cubicBezTo>
                    <a:pt x="134" y="285"/>
                    <a:pt x="128" y="282"/>
                    <a:pt x="120" y="277"/>
                  </a:cubicBezTo>
                  <a:lnTo>
                    <a:pt x="103" y="280"/>
                  </a:lnTo>
                  <a:lnTo>
                    <a:pt x="100" y="285"/>
                  </a:lnTo>
                  <a:lnTo>
                    <a:pt x="100" y="291"/>
                  </a:lnTo>
                  <a:lnTo>
                    <a:pt x="100" y="294"/>
                  </a:lnTo>
                  <a:cubicBezTo>
                    <a:pt x="103" y="296"/>
                    <a:pt x="103" y="296"/>
                    <a:pt x="100" y="299"/>
                  </a:cubicBezTo>
                  <a:cubicBezTo>
                    <a:pt x="97" y="302"/>
                    <a:pt x="97" y="302"/>
                    <a:pt x="100" y="305"/>
                  </a:cubicBezTo>
                  <a:lnTo>
                    <a:pt x="100" y="311"/>
                  </a:lnTo>
                  <a:lnTo>
                    <a:pt x="100" y="319"/>
                  </a:lnTo>
                  <a:cubicBezTo>
                    <a:pt x="103" y="322"/>
                    <a:pt x="103" y="328"/>
                    <a:pt x="103" y="329"/>
                  </a:cubicBezTo>
                  <a:lnTo>
                    <a:pt x="103" y="343"/>
                  </a:lnTo>
                  <a:cubicBezTo>
                    <a:pt x="106" y="346"/>
                    <a:pt x="106" y="352"/>
                    <a:pt x="109" y="358"/>
                  </a:cubicBezTo>
                  <a:lnTo>
                    <a:pt x="109" y="372"/>
                  </a:lnTo>
                  <a:lnTo>
                    <a:pt x="112" y="372"/>
                  </a:lnTo>
                  <a:lnTo>
                    <a:pt x="112" y="374"/>
                  </a:lnTo>
                  <a:lnTo>
                    <a:pt x="112" y="377"/>
                  </a:lnTo>
                  <a:lnTo>
                    <a:pt x="112" y="380"/>
                  </a:lnTo>
                  <a:cubicBezTo>
                    <a:pt x="109" y="383"/>
                    <a:pt x="109" y="386"/>
                    <a:pt x="112" y="389"/>
                  </a:cubicBezTo>
                  <a:cubicBezTo>
                    <a:pt x="114" y="391"/>
                    <a:pt x="114" y="394"/>
                    <a:pt x="114" y="397"/>
                  </a:cubicBezTo>
                  <a:cubicBezTo>
                    <a:pt x="114" y="400"/>
                    <a:pt x="114" y="403"/>
                    <a:pt x="117" y="408"/>
                  </a:cubicBezTo>
                  <a:lnTo>
                    <a:pt x="117" y="414"/>
                  </a:lnTo>
                  <a:cubicBezTo>
                    <a:pt x="117" y="422"/>
                    <a:pt x="120" y="434"/>
                    <a:pt x="120" y="442"/>
                  </a:cubicBezTo>
                  <a:lnTo>
                    <a:pt x="123" y="470"/>
                  </a:lnTo>
                  <a:lnTo>
                    <a:pt x="123" y="482"/>
                  </a:lnTo>
                  <a:cubicBezTo>
                    <a:pt x="123" y="484"/>
                    <a:pt x="120" y="484"/>
                    <a:pt x="120" y="487"/>
                  </a:cubicBezTo>
                  <a:cubicBezTo>
                    <a:pt x="117" y="487"/>
                    <a:pt x="114" y="487"/>
                    <a:pt x="114" y="490"/>
                  </a:cubicBezTo>
                  <a:cubicBezTo>
                    <a:pt x="112" y="490"/>
                    <a:pt x="112" y="493"/>
                    <a:pt x="109" y="493"/>
                  </a:cubicBezTo>
                  <a:cubicBezTo>
                    <a:pt x="106" y="493"/>
                    <a:pt x="103" y="493"/>
                    <a:pt x="103" y="496"/>
                  </a:cubicBezTo>
                  <a:cubicBezTo>
                    <a:pt x="100" y="499"/>
                    <a:pt x="96" y="499"/>
                    <a:pt x="93" y="493"/>
                  </a:cubicBezTo>
                  <a:lnTo>
                    <a:pt x="87" y="490"/>
                  </a:lnTo>
                  <a:cubicBezTo>
                    <a:pt x="84" y="490"/>
                    <a:pt x="84" y="487"/>
                    <a:pt x="81" y="487"/>
                  </a:cubicBezTo>
                  <a:lnTo>
                    <a:pt x="81" y="479"/>
                  </a:lnTo>
                  <a:cubicBezTo>
                    <a:pt x="81" y="476"/>
                    <a:pt x="81" y="476"/>
                    <a:pt x="79" y="473"/>
                  </a:cubicBezTo>
                  <a:cubicBezTo>
                    <a:pt x="76" y="473"/>
                    <a:pt x="76" y="471"/>
                    <a:pt x="76" y="468"/>
                  </a:cubicBezTo>
                  <a:cubicBezTo>
                    <a:pt x="76" y="466"/>
                    <a:pt x="76" y="465"/>
                    <a:pt x="73" y="462"/>
                  </a:cubicBezTo>
                  <a:cubicBezTo>
                    <a:pt x="73" y="462"/>
                    <a:pt x="70" y="459"/>
                    <a:pt x="73" y="459"/>
                  </a:cubicBezTo>
                  <a:lnTo>
                    <a:pt x="73" y="442"/>
                  </a:lnTo>
                  <a:cubicBezTo>
                    <a:pt x="70" y="437"/>
                    <a:pt x="70" y="431"/>
                    <a:pt x="70" y="425"/>
                  </a:cubicBezTo>
                  <a:lnTo>
                    <a:pt x="70" y="422"/>
                  </a:lnTo>
                  <a:lnTo>
                    <a:pt x="70" y="420"/>
                  </a:lnTo>
                  <a:cubicBezTo>
                    <a:pt x="67" y="417"/>
                    <a:pt x="67" y="414"/>
                    <a:pt x="67" y="411"/>
                  </a:cubicBezTo>
                  <a:cubicBezTo>
                    <a:pt x="67" y="408"/>
                    <a:pt x="65" y="408"/>
                    <a:pt x="65" y="405"/>
                  </a:cubicBezTo>
                  <a:cubicBezTo>
                    <a:pt x="62" y="403"/>
                    <a:pt x="62" y="400"/>
                    <a:pt x="65" y="400"/>
                  </a:cubicBezTo>
                  <a:cubicBezTo>
                    <a:pt x="67" y="394"/>
                    <a:pt x="67" y="389"/>
                    <a:pt x="65" y="383"/>
                  </a:cubicBezTo>
                  <a:cubicBezTo>
                    <a:pt x="62" y="377"/>
                    <a:pt x="62" y="372"/>
                    <a:pt x="62" y="366"/>
                  </a:cubicBezTo>
                  <a:cubicBezTo>
                    <a:pt x="62" y="363"/>
                    <a:pt x="62" y="363"/>
                    <a:pt x="59" y="360"/>
                  </a:cubicBezTo>
                  <a:lnTo>
                    <a:pt x="56" y="358"/>
                  </a:lnTo>
                  <a:lnTo>
                    <a:pt x="56" y="352"/>
                  </a:lnTo>
                  <a:lnTo>
                    <a:pt x="56" y="341"/>
                  </a:lnTo>
                  <a:lnTo>
                    <a:pt x="56" y="335"/>
                  </a:lnTo>
                  <a:lnTo>
                    <a:pt x="56" y="329"/>
                  </a:lnTo>
                  <a:cubicBezTo>
                    <a:pt x="53" y="327"/>
                    <a:pt x="53" y="325"/>
                    <a:pt x="53" y="319"/>
                  </a:cubicBezTo>
                  <a:cubicBezTo>
                    <a:pt x="53" y="316"/>
                    <a:pt x="53" y="313"/>
                    <a:pt x="50" y="308"/>
                  </a:cubicBezTo>
                  <a:cubicBezTo>
                    <a:pt x="50" y="305"/>
                    <a:pt x="48" y="298"/>
                    <a:pt x="48" y="296"/>
                  </a:cubicBezTo>
                  <a:cubicBezTo>
                    <a:pt x="48" y="293"/>
                    <a:pt x="48" y="288"/>
                    <a:pt x="45" y="285"/>
                  </a:cubicBezTo>
                  <a:lnTo>
                    <a:pt x="45" y="282"/>
                  </a:lnTo>
                  <a:cubicBezTo>
                    <a:pt x="45" y="282"/>
                    <a:pt x="48" y="280"/>
                    <a:pt x="45" y="277"/>
                  </a:cubicBezTo>
                  <a:lnTo>
                    <a:pt x="45" y="274"/>
                  </a:lnTo>
                  <a:cubicBezTo>
                    <a:pt x="48" y="271"/>
                    <a:pt x="48" y="271"/>
                    <a:pt x="45" y="271"/>
                  </a:cubicBezTo>
                  <a:cubicBezTo>
                    <a:pt x="42" y="271"/>
                    <a:pt x="42" y="268"/>
                    <a:pt x="42" y="268"/>
                  </a:cubicBezTo>
                  <a:lnTo>
                    <a:pt x="42" y="263"/>
                  </a:lnTo>
                  <a:lnTo>
                    <a:pt x="42" y="257"/>
                  </a:lnTo>
                  <a:lnTo>
                    <a:pt x="42" y="254"/>
                  </a:lnTo>
                  <a:cubicBezTo>
                    <a:pt x="39" y="254"/>
                    <a:pt x="39" y="251"/>
                    <a:pt x="39" y="249"/>
                  </a:cubicBezTo>
                  <a:lnTo>
                    <a:pt x="39" y="243"/>
                  </a:lnTo>
                  <a:cubicBezTo>
                    <a:pt x="39" y="237"/>
                    <a:pt x="36" y="232"/>
                    <a:pt x="34" y="226"/>
                  </a:cubicBezTo>
                  <a:cubicBezTo>
                    <a:pt x="31" y="220"/>
                    <a:pt x="28" y="215"/>
                    <a:pt x="28" y="209"/>
                  </a:cubicBezTo>
                  <a:lnTo>
                    <a:pt x="28" y="206"/>
                  </a:lnTo>
                  <a:lnTo>
                    <a:pt x="25" y="203"/>
                  </a:lnTo>
                  <a:lnTo>
                    <a:pt x="25" y="189"/>
                  </a:lnTo>
                  <a:lnTo>
                    <a:pt x="25" y="178"/>
                  </a:lnTo>
                  <a:cubicBezTo>
                    <a:pt x="25" y="175"/>
                    <a:pt x="22" y="170"/>
                    <a:pt x="22" y="167"/>
                  </a:cubicBezTo>
                  <a:cubicBezTo>
                    <a:pt x="14" y="150"/>
                    <a:pt x="11" y="136"/>
                    <a:pt x="11" y="119"/>
                  </a:cubicBezTo>
                  <a:cubicBezTo>
                    <a:pt x="11" y="110"/>
                    <a:pt x="11" y="105"/>
                    <a:pt x="8" y="96"/>
                  </a:cubicBezTo>
                  <a:lnTo>
                    <a:pt x="8" y="93"/>
                  </a:lnTo>
                  <a:lnTo>
                    <a:pt x="0" y="43"/>
                  </a:lnTo>
                  <a:lnTo>
                    <a:pt x="0" y="40"/>
                  </a:lnTo>
                  <a:lnTo>
                    <a:pt x="0" y="37"/>
                  </a:lnTo>
                  <a:lnTo>
                    <a:pt x="0" y="34"/>
                  </a:lnTo>
                  <a:lnTo>
                    <a:pt x="0" y="31"/>
                  </a:lnTo>
                  <a:cubicBezTo>
                    <a:pt x="0" y="20"/>
                    <a:pt x="8" y="17"/>
                    <a:pt x="17" y="17"/>
                  </a:cubicBezTo>
                  <a:cubicBezTo>
                    <a:pt x="19" y="17"/>
                    <a:pt x="25" y="17"/>
                    <a:pt x="28" y="14"/>
                  </a:cubicBezTo>
                  <a:cubicBezTo>
                    <a:pt x="28" y="14"/>
                    <a:pt x="31" y="12"/>
                    <a:pt x="31" y="14"/>
                  </a:cubicBezTo>
                  <a:lnTo>
                    <a:pt x="34" y="14"/>
                  </a:lnTo>
                  <a:lnTo>
                    <a:pt x="39" y="14"/>
                  </a:lnTo>
                  <a:cubicBezTo>
                    <a:pt x="42" y="14"/>
                    <a:pt x="45" y="14"/>
                    <a:pt x="48" y="17"/>
                  </a:cubicBezTo>
                  <a:cubicBezTo>
                    <a:pt x="50" y="17"/>
                    <a:pt x="50" y="20"/>
                    <a:pt x="53" y="20"/>
                  </a:cubicBezTo>
                  <a:lnTo>
                    <a:pt x="53" y="26"/>
                  </a:lnTo>
                  <a:lnTo>
                    <a:pt x="53" y="34"/>
                  </a:lnTo>
                  <a:cubicBezTo>
                    <a:pt x="53" y="37"/>
                    <a:pt x="53" y="37"/>
                    <a:pt x="56" y="37"/>
                  </a:cubicBezTo>
                  <a:lnTo>
                    <a:pt x="56" y="40"/>
                  </a:lnTo>
                  <a:cubicBezTo>
                    <a:pt x="53" y="43"/>
                    <a:pt x="53" y="43"/>
                    <a:pt x="56" y="45"/>
                  </a:cubicBezTo>
                  <a:cubicBezTo>
                    <a:pt x="59" y="45"/>
                    <a:pt x="59" y="48"/>
                    <a:pt x="56" y="48"/>
                  </a:cubicBezTo>
                  <a:lnTo>
                    <a:pt x="56" y="51"/>
                  </a:lnTo>
                  <a:lnTo>
                    <a:pt x="56" y="57"/>
                  </a:lnTo>
                  <a:lnTo>
                    <a:pt x="56" y="60"/>
                  </a:lnTo>
                  <a:lnTo>
                    <a:pt x="56" y="65"/>
                  </a:lnTo>
                  <a:lnTo>
                    <a:pt x="56" y="68"/>
                  </a:lnTo>
                  <a:cubicBezTo>
                    <a:pt x="56" y="68"/>
                    <a:pt x="56" y="71"/>
                    <a:pt x="59" y="71"/>
                  </a:cubicBezTo>
                  <a:cubicBezTo>
                    <a:pt x="62" y="74"/>
                    <a:pt x="62" y="79"/>
                    <a:pt x="62" y="85"/>
                  </a:cubicBezTo>
                  <a:lnTo>
                    <a:pt x="62" y="88"/>
                  </a:lnTo>
                  <a:lnTo>
                    <a:pt x="62" y="93"/>
                  </a:lnTo>
                  <a:cubicBezTo>
                    <a:pt x="62" y="99"/>
                    <a:pt x="65" y="104"/>
                    <a:pt x="65" y="110"/>
                  </a:cubicBezTo>
                  <a:cubicBezTo>
                    <a:pt x="65" y="115"/>
                    <a:pt x="67" y="122"/>
                    <a:pt x="67" y="127"/>
                  </a:cubicBezTo>
                  <a:cubicBezTo>
                    <a:pt x="67" y="130"/>
                    <a:pt x="70" y="136"/>
                    <a:pt x="70" y="139"/>
                  </a:cubicBezTo>
                  <a:cubicBezTo>
                    <a:pt x="70" y="141"/>
                    <a:pt x="73" y="147"/>
                    <a:pt x="73" y="150"/>
                  </a:cubicBezTo>
                  <a:lnTo>
                    <a:pt x="73" y="155"/>
                  </a:lnTo>
                  <a:cubicBezTo>
                    <a:pt x="73" y="158"/>
                    <a:pt x="73" y="161"/>
                    <a:pt x="76" y="161"/>
                  </a:cubicBezTo>
                  <a:lnTo>
                    <a:pt x="79" y="164"/>
                  </a:lnTo>
                  <a:lnTo>
                    <a:pt x="79" y="170"/>
                  </a:lnTo>
                  <a:cubicBezTo>
                    <a:pt x="76" y="172"/>
                    <a:pt x="76" y="175"/>
                    <a:pt x="79" y="178"/>
                  </a:cubicBezTo>
                  <a:lnTo>
                    <a:pt x="79" y="186"/>
                  </a:lnTo>
                  <a:cubicBezTo>
                    <a:pt x="76" y="189"/>
                    <a:pt x="79" y="192"/>
                    <a:pt x="79" y="192"/>
                  </a:cubicBezTo>
                  <a:cubicBezTo>
                    <a:pt x="81" y="195"/>
                    <a:pt x="81" y="198"/>
                    <a:pt x="81" y="203"/>
                  </a:cubicBezTo>
                  <a:cubicBezTo>
                    <a:pt x="81" y="206"/>
                    <a:pt x="81" y="212"/>
                    <a:pt x="84" y="215"/>
                  </a:cubicBezTo>
                  <a:lnTo>
                    <a:pt x="84" y="217"/>
                  </a:lnTo>
                  <a:lnTo>
                    <a:pt x="84" y="220"/>
                  </a:lnTo>
                  <a:cubicBezTo>
                    <a:pt x="93" y="226"/>
                    <a:pt x="100" y="226"/>
                    <a:pt x="109" y="223"/>
                  </a:cubicBezTo>
                  <a:lnTo>
                    <a:pt x="112" y="220"/>
                  </a:lnTo>
                  <a:lnTo>
                    <a:pt x="114" y="217"/>
                  </a:lnTo>
                  <a:lnTo>
                    <a:pt x="114" y="209"/>
                  </a:lnTo>
                  <a:lnTo>
                    <a:pt x="114" y="201"/>
                  </a:lnTo>
                  <a:lnTo>
                    <a:pt x="114" y="192"/>
                  </a:lnTo>
                  <a:lnTo>
                    <a:pt x="114" y="184"/>
                  </a:lnTo>
                  <a:cubicBezTo>
                    <a:pt x="109" y="178"/>
                    <a:pt x="109" y="170"/>
                    <a:pt x="109" y="161"/>
                  </a:cubicBezTo>
                  <a:cubicBezTo>
                    <a:pt x="106" y="158"/>
                    <a:pt x="103" y="153"/>
                    <a:pt x="106" y="150"/>
                  </a:cubicBezTo>
                  <a:lnTo>
                    <a:pt x="106" y="139"/>
                  </a:lnTo>
                  <a:cubicBezTo>
                    <a:pt x="103" y="133"/>
                    <a:pt x="103" y="127"/>
                    <a:pt x="103" y="122"/>
                  </a:cubicBezTo>
                  <a:lnTo>
                    <a:pt x="103" y="105"/>
                  </a:lnTo>
                  <a:cubicBezTo>
                    <a:pt x="103" y="102"/>
                    <a:pt x="103" y="99"/>
                    <a:pt x="100" y="96"/>
                  </a:cubicBezTo>
                  <a:cubicBezTo>
                    <a:pt x="100" y="93"/>
                    <a:pt x="97" y="91"/>
                    <a:pt x="97" y="88"/>
                  </a:cubicBezTo>
                  <a:cubicBezTo>
                    <a:pt x="96" y="82"/>
                    <a:pt x="96" y="76"/>
                    <a:pt x="96" y="74"/>
                  </a:cubicBezTo>
                  <a:lnTo>
                    <a:pt x="96" y="71"/>
                  </a:lnTo>
                  <a:lnTo>
                    <a:pt x="96" y="65"/>
                  </a:lnTo>
                  <a:cubicBezTo>
                    <a:pt x="97" y="62"/>
                    <a:pt x="96" y="57"/>
                    <a:pt x="93" y="54"/>
                  </a:cubicBezTo>
                  <a:cubicBezTo>
                    <a:pt x="90" y="48"/>
                    <a:pt x="90" y="43"/>
                    <a:pt x="90" y="34"/>
                  </a:cubicBezTo>
                  <a:cubicBezTo>
                    <a:pt x="90" y="28"/>
                    <a:pt x="90" y="23"/>
                    <a:pt x="84" y="17"/>
                  </a:cubicBezTo>
                  <a:cubicBezTo>
                    <a:pt x="87" y="9"/>
                    <a:pt x="93" y="6"/>
                    <a:pt x="100" y="3"/>
                  </a:cubicBezTo>
                  <a:cubicBezTo>
                    <a:pt x="109" y="0"/>
                    <a:pt x="117" y="0"/>
                    <a:pt x="123" y="3"/>
                  </a:cubicBezTo>
                  <a:cubicBezTo>
                    <a:pt x="123" y="6"/>
                    <a:pt x="126" y="9"/>
                    <a:pt x="128" y="9"/>
                  </a:cubicBezTo>
                  <a:cubicBezTo>
                    <a:pt x="131" y="12"/>
                    <a:pt x="131" y="14"/>
                    <a:pt x="128" y="17"/>
                  </a:cubicBezTo>
                  <a:lnTo>
                    <a:pt x="128" y="23"/>
                  </a:lnTo>
                  <a:cubicBezTo>
                    <a:pt x="128" y="26"/>
                    <a:pt x="128" y="25"/>
                    <a:pt x="131" y="28"/>
                  </a:cubicBezTo>
                  <a:cubicBezTo>
                    <a:pt x="135" y="30"/>
                    <a:pt x="134" y="34"/>
                    <a:pt x="134" y="40"/>
                  </a:cubicBezTo>
                  <a:cubicBezTo>
                    <a:pt x="134" y="43"/>
                    <a:pt x="134" y="48"/>
                    <a:pt x="137" y="51"/>
                  </a:cubicBezTo>
                  <a:lnTo>
                    <a:pt x="137" y="54"/>
                  </a:lnTo>
                  <a:lnTo>
                    <a:pt x="137" y="57"/>
                  </a:lnTo>
                  <a:cubicBezTo>
                    <a:pt x="137" y="60"/>
                    <a:pt x="137" y="60"/>
                    <a:pt x="140" y="62"/>
                  </a:cubicBezTo>
                  <a:lnTo>
                    <a:pt x="140" y="68"/>
                  </a:lnTo>
                  <a:cubicBezTo>
                    <a:pt x="137" y="71"/>
                    <a:pt x="137" y="74"/>
                    <a:pt x="140" y="76"/>
                  </a:cubicBezTo>
                  <a:cubicBezTo>
                    <a:pt x="140" y="79"/>
                    <a:pt x="143" y="82"/>
                    <a:pt x="143" y="85"/>
                  </a:cubicBezTo>
                  <a:lnTo>
                    <a:pt x="143" y="88"/>
                  </a:lnTo>
                  <a:cubicBezTo>
                    <a:pt x="143" y="91"/>
                    <a:pt x="143" y="91"/>
                    <a:pt x="145" y="91"/>
                  </a:cubicBezTo>
                  <a:lnTo>
                    <a:pt x="145" y="96"/>
                  </a:lnTo>
                  <a:lnTo>
                    <a:pt x="145" y="105"/>
                  </a:lnTo>
                  <a:cubicBezTo>
                    <a:pt x="145" y="107"/>
                    <a:pt x="148" y="110"/>
                    <a:pt x="148" y="116"/>
                  </a:cubicBezTo>
                  <a:lnTo>
                    <a:pt x="148" y="119"/>
                  </a:lnTo>
                  <a:lnTo>
                    <a:pt x="148" y="122"/>
                  </a:lnTo>
                  <a:lnTo>
                    <a:pt x="148" y="127"/>
                  </a:lnTo>
                  <a:cubicBezTo>
                    <a:pt x="148" y="130"/>
                    <a:pt x="148" y="130"/>
                    <a:pt x="151" y="133"/>
                  </a:cubicBezTo>
                  <a:lnTo>
                    <a:pt x="154" y="136"/>
                  </a:lnTo>
                  <a:lnTo>
                    <a:pt x="154" y="141"/>
                  </a:lnTo>
                  <a:lnTo>
                    <a:pt x="154" y="147"/>
                  </a:lnTo>
                  <a:lnTo>
                    <a:pt x="154" y="153"/>
                  </a:lnTo>
                  <a:lnTo>
                    <a:pt x="154" y="158"/>
                  </a:lnTo>
                  <a:lnTo>
                    <a:pt x="157" y="161"/>
                  </a:lnTo>
                  <a:lnTo>
                    <a:pt x="157" y="170"/>
                  </a:lnTo>
                  <a:lnTo>
                    <a:pt x="157" y="178"/>
                  </a:lnTo>
                  <a:cubicBezTo>
                    <a:pt x="157" y="189"/>
                    <a:pt x="159" y="203"/>
                    <a:pt x="162" y="215"/>
                  </a:cubicBezTo>
                  <a:cubicBezTo>
                    <a:pt x="162" y="217"/>
                    <a:pt x="162" y="220"/>
                    <a:pt x="165" y="220"/>
                  </a:cubicBezTo>
                  <a:cubicBezTo>
                    <a:pt x="168" y="226"/>
                    <a:pt x="168" y="229"/>
                    <a:pt x="165" y="234"/>
                  </a:cubicBezTo>
                  <a:cubicBezTo>
                    <a:pt x="171" y="243"/>
                    <a:pt x="171" y="251"/>
                    <a:pt x="171" y="257"/>
                  </a:cubicBezTo>
                  <a:cubicBezTo>
                    <a:pt x="171" y="263"/>
                    <a:pt x="171" y="268"/>
                    <a:pt x="174" y="274"/>
                  </a:cubicBezTo>
                  <a:cubicBezTo>
                    <a:pt x="176" y="277"/>
                    <a:pt x="176" y="280"/>
                    <a:pt x="176" y="282"/>
                  </a:cubicBezTo>
                  <a:cubicBezTo>
                    <a:pt x="179" y="294"/>
                    <a:pt x="182" y="305"/>
                    <a:pt x="182" y="313"/>
                  </a:cubicBezTo>
                  <a:lnTo>
                    <a:pt x="182" y="322"/>
                  </a:lnTo>
                  <a:cubicBezTo>
                    <a:pt x="182" y="328"/>
                    <a:pt x="182" y="335"/>
                    <a:pt x="188" y="341"/>
                  </a:cubicBezTo>
                  <a:cubicBezTo>
                    <a:pt x="191" y="346"/>
                    <a:pt x="191" y="352"/>
                    <a:pt x="188" y="355"/>
                  </a:cubicBezTo>
                  <a:lnTo>
                    <a:pt x="188" y="363"/>
                  </a:lnTo>
                  <a:lnTo>
                    <a:pt x="191" y="374"/>
                  </a:lnTo>
                  <a:cubicBezTo>
                    <a:pt x="193" y="374"/>
                    <a:pt x="196" y="374"/>
                    <a:pt x="193" y="377"/>
                  </a:cubicBezTo>
                  <a:lnTo>
                    <a:pt x="193" y="383"/>
                  </a:lnTo>
                  <a:cubicBezTo>
                    <a:pt x="196" y="386"/>
                    <a:pt x="196" y="389"/>
                    <a:pt x="199" y="391"/>
                  </a:cubicBezTo>
                  <a:cubicBezTo>
                    <a:pt x="199" y="394"/>
                    <a:pt x="199" y="397"/>
                    <a:pt x="202" y="403"/>
                  </a:cubicBezTo>
                  <a:lnTo>
                    <a:pt x="202" y="414"/>
                  </a:lnTo>
                  <a:lnTo>
                    <a:pt x="202" y="420"/>
                  </a:lnTo>
                  <a:cubicBezTo>
                    <a:pt x="202" y="422"/>
                    <a:pt x="202" y="422"/>
                    <a:pt x="199" y="425"/>
                  </a:cubicBezTo>
                  <a:lnTo>
                    <a:pt x="199" y="428"/>
                  </a:lnTo>
                  <a:cubicBezTo>
                    <a:pt x="202" y="434"/>
                    <a:pt x="202" y="437"/>
                    <a:pt x="205" y="442"/>
                  </a:cubicBezTo>
                  <a:cubicBezTo>
                    <a:pt x="205" y="445"/>
                    <a:pt x="207" y="445"/>
                    <a:pt x="207" y="448"/>
                  </a:cubicBezTo>
                  <a:cubicBezTo>
                    <a:pt x="210" y="453"/>
                    <a:pt x="213" y="456"/>
                    <a:pt x="213" y="459"/>
                  </a:cubicBezTo>
                  <a:close/>
                  <a:moveTo>
                    <a:pt x="22" y="68"/>
                  </a:moveTo>
                  <a:lnTo>
                    <a:pt x="25" y="71"/>
                  </a:lnTo>
                  <a:lnTo>
                    <a:pt x="28" y="74"/>
                  </a:lnTo>
                  <a:lnTo>
                    <a:pt x="28" y="65"/>
                  </a:lnTo>
                  <a:cubicBezTo>
                    <a:pt x="28" y="68"/>
                    <a:pt x="25" y="68"/>
                    <a:pt x="22" y="68"/>
                  </a:cubicBezTo>
                  <a:close/>
                  <a:moveTo>
                    <a:pt x="25" y="60"/>
                  </a:moveTo>
                  <a:cubicBezTo>
                    <a:pt x="28" y="60"/>
                    <a:pt x="28" y="62"/>
                    <a:pt x="28" y="62"/>
                  </a:cubicBezTo>
                  <a:cubicBezTo>
                    <a:pt x="28" y="60"/>
                    <a:pt x="28" y="60"/>
                    <a:pt x="31" y="57"/>
                  </a:cubicBezTo>
                  <a:lnTo>
                    <a:pt x="28" y="54"/>
                  </a:lnTo>
                  <a:cubicBezTo>
                    <a:pt x="28" y="54"/>
                    <a:pt x="25" y="54"/>
                    <a:pt x="25" y="51"/>
                  </a:cubicBezTo>
                  <a:lnTo>
                    <a:pt x="25" y="60"/>
                  </a:lnTo>
                  <a:close/>
                  <a:moveTo>
                    <a:pt x="28" y="105"/>
                  </a:moveTo>
                  <a:lnTo>
                    <a:pt x="31" y="102"/>
                  </a:lnTo>
                  <a:lnTo>
                    <a:pt x="34" y="99"/>
                  </a:lnTo>
                  <a:lnTo>
                    <a:pt x="36" y="96"/>
                  </a:lnTo>
                  <a:cubicBezTo>
                    <a:pt x="28" y="96"/>
                    <a:pt x="28" y="99"/>
                    <a:pt x="28" y="105"/>
                  </a:cubicBezTo>
                  <a:close/>
                  <a:moveTo>
                    <a:pt x="39" y="76"/>
                  </a:moveTo>
                  <a:cubicBezTo>
                    <a:pt x="36" y="76"/>
                    <a:pt x="31" y="76"/>
                    <a:pt x="31" y="82"/>
                  </a:cubicBezTo>
                  <a:lnTo>
                    <a:pt x="34" y="85"/>
                  </a:lnTo>
                  <a:cubicBezTo>
                    <a:pt x="34" y="85"/>
                    <a:pt x="34" y="88"/>
                    <a:pt x="36" y="88"/>
                  </a:cubicBezTo>
                  <a:cubicBezTo>
                    <a:pt x="36" y="88"/>
                    <a:pt x="39" y="88"/>
                    <a:pt x="39" y="91"/>
                  </a:cubicBezTo>
                  <a:lnTo>
                    <a:pt x="36" y="93"/>
                  </a:lnTo>
                  <a:lnTo>
                    <a:pt x="39" y="93"/>
                  </a:lnTo>
                  <a:lnTo>
                    <a:pt x="39" y="91"/>
                  </a:lnTo>
                  <a:lnTo>
                    <a:pt x="39" y="85"/>
                  </a:lnTo>
                  <a:lnTo>
                    <a:pt x="34" y="85"/>
                  </a:lnTo>
                  <a:lnTo>
                    <a:pt x="36" y="82"/>
                  </a:lnTo>
                  <a:cubicBezTo>
                    <a:pt x="36" y="79"/>
                    <a:pt x="36" y="79"/>
                    <a:pt x="39" y="76"/>
                  </a:cubicBezTo>
                  <a:close/>
                  <a:moveTo>
                    <a:pt x="34" y="62"/>
                  </a:moveTo>
                  <a:cubicBezTo>
                    <a:pt x="34" y="62"/>
                    <a:pt x="31" y="62"/>
                    <a:pt x="34" y="62"/>
                  </a:cubicBezTo>
                  <a:cubicBezTo>
                    <a:pt x="31" y="62"/>
                    <a:pt x="31" y="65"/>
                    <a:pt x="34" y="65"/>
                  </a:cubicBezTo>
                  <a:lnTo>
                    <a:pt x="36" y="68"/>
                  </a:lnTo>
                  <a:lnTo>
                    <a:pt x="34" y="62"/>
                  </a:lnTo>
                  <a:close/>
                  <a:moveTo>
                    <a:pt x="31" y="119"/>
                  </a:moveTo>
                  <a:cubicBezTo>
                    <a:pt x="31" y="122"/>
                    <a:pt x="31" y="122"/>
                    <a:pt x="34" y="122"/>
                  </a:cubicBezTo>
                  <a:lnTo>
                    <a:pt x="31" y="119"/>
                  </a:lnTo>
                  <a:close/>
                  <a:moveTo>
                    <a:pt x="34" y="130"/>
                  </a:moveTo>
                  <a:cubicBezTo>
                    <a:pt x="34" y="130"/>
                    <a:pt x="36" y="130"/>
                    <a:pt x="34" y="130"/>
                  </a:cubicBezTo>
                  <a:cubicBezTo>
                    <a:pt x="39" y="130"/>
                    <a:pt x="42" y="127"/>
                    <a:pt x="45" y="124"/>
                  </a:cubicBezTo>
                  <a:lnTo>
                    <a:pt x="34" y="124"/>
                  </a:lnTo>
                  <a:lnTo>
                    <a:pt x="34" y="130"/>
                  </a:lnTo>
                  <a:close/>
                  <a:moveTo>
                    <a:pt x="36" y="141"/>
                  </a:moveTo>
                  <a:lnTo>
                    <a:pt x="39" y="144"/>
                  </a:lnTo>
                  <a:lnTo>
                    <a:pt x="39" y="141"/>
                  </a:lnTo>
                  <a:lnTo>
                    <a:pt x="39" y="139"/>
                  </a:lnTo>
                  <a:lnTo>
                    <a:pt x="42" y="139"/>
                  </a:lnTo>
                  <a:lnTo>
                    <a:pt x="45" y="139"/>
                  </a:lnTo>
                  <a:lnTo>
                    <a:pt x="45" y="136"/>
                  </a:lnTo>
                  <a:cubicBezTo>
                    <a:pt x="42" y="136"/>
                    <a:pt x="39" y="133"/>
                    <a:pt x="36" y="130"/>
                  </a:cubicBezTo>
                  <a:lnTo>
                    <a:pt x="36" y="141"/>
                  </a:lnTo>
                  <a:close/>
                  <a:moveTo>
                    <a:pt x="48" y="130"/>
                  </a:moveTo>
                  <a:cubicBezTo>
                    <a:pt x="50" y="133"/>
                    <a:pt x="50" y="130"/>
                    <a:pt x="50" y="130"/>
                  </a:cubicBezTo>
                  <a:lnTo>
                    <a:pt x="48" y="130"/>
                  </a:lnTo>
                  <a:close/>
                  <a:moveTo>
                    <a:pt x="56" y="164"/>
                  </a:moveTo>
                  <a:lnTo>
                    <a:pt x="48" y="164"/>
                  </a:lnTo>
                  <a:lnTo>
                    <a:pt x="50" y="167"/>
                  </a:lnTo>
                  <a:lnTo>
                    <a:pt x="53" y="167"/>
                  </a:lnTo>
                  <a:lnTo>
                    <a:pt x="53" y="170"/>
                  </a:lnTo>
                  <a:lnTo>
                    <a:pt x="50" y="170"/>
                  </a:lnTo>
                  <a:lnTo>
                    <a:pt x="50" y="175"/>
                  </a:lnTo>
                  <a:lnTo>
                    <a:pt x="50" y="181"/>
                  </a:lnTo>
                  <a:lnTo>
                    <a:pt x="56" y="181"/>
                  </a:lnTo>
                  <a:lnTo>
                    <a:pt x="56" y="178"/>
                  </a:lnTo>
                  <a:cubicBezTo>
                    <a:pt x="56" y="175"/>
                    <a:pt x="56" y="175"/>
                    <a:pt x="53" y="175"/>
                  </a:cubicBezTo>
                  <a:cubicBezTo>
                    <a:pt x="53" y="172"/>
                    <a:pt x="56" y="172"/>
                    <a:pt x="56" y="170"/>
                  </a:cubicBezTo>
                  <a:lnTo>
                    <a:pt x="59" y="164"/>
                  </a:lnTo>
                  <a:lnTo>
                    <a:pt x="56" y="164"/>
                  </a:lnTo>
                  <a:close/>
                  <a:moveTo>
                    <a:pt x="53" y="189"/>
                  </a:moveTo>
                  <a:lnTo>
                    <a:pt x="56" y="186"/>
                  </a:lnTo>
                  <a:cubicBezTo>
                    <a:pt x="53" y="186"/>
                    <a:pt x="53" y="186"/>
                    <a:pt x="53" y="189"/>
                  </a:cubicBezTo>
                  <a:lnTo>
                    <a:pt x="50" y="189"/>
                  </a:lnTo>
                  <a:cubicBezTo>
                    <a:pt x="50" y="192"/>
                    <a:pt x="50" y="192"/>
                    <a:pt x="53" y="189"/>
                  </a:cubicBezTo>
                  <a:cubicBezTo>
                    <a:pt x="50" y="192"/>
                    <a:pt x="53" y="195"/>
                    <a:pt x="53" y="195"/>
                  </a:cubicBezTo>
                  <a:lnTo>
                    <a:pt x="59" y="195"/>
                  </a:lnTo>
                  <a:lnTo>
                    <a:pt x="59" y="192"/>
                  </a:lnTo>
                  <a:cubicBezTo>
                    <a:pt x="59" y="192"/>
                    <a:pt x="56" y="189"/>
                    <a:pt x="53" y="189"/>
                  </a:cubicBezTo>
                  <a:close/>
                  <a:moveTo>
                    <a:pt x="73" y="226"/>
                  </a:moveTo>
                  <a:cubicBezTo>
                    <a:pt x="70" y="226"/>
                    <a:pt x="67" y="226"/>
                    <a:pt x="65" y="223"/>
                  </a:cubicBezTo>
                  <a:lnTo>
                    <a:pt x="65" y="226"/>
                  </a:lnTo>
                  <a:lnTo>
                    <a:pt x="62" y="223"/>
                  </a:lnTo>
                  <a:lnTo>
                    <a:pt x="59" y="226"/>
                  </a:lnTo>
                  <a:cubicBezTo>
                    <a:pt x="59" y="229"/>
                    <a:pt x="56" y="229"/>
                    <a:pt x="56" y="232"/>
                  </a:cubicBezTo>
                  <a:cubicBezTo>
                    <a:pt x="59" y="234"/>
                    <a:pt x="62" y="234"/>
                    <a:pt x="65" y="234"/>
                  </a:cubicBezTo>
                  <a:cubicBezTo>
                    <a:pt x="67" y="232"/>
                    <a:pt x="67" y="232"/>
                    <a:pt x="67" y="229"/>
                  </a:cubicBezTo>
                  <a:cubicBezTo>
                    <a:pt x="70" y="229"/>
                    <a:pt x="73" y="226"/>
                    <a:pt x="73" y="226"/>
                  </a:cubicBezTo>
                  <a:close/>
                  <a:moveTo>
                    <a:pt x="84" y="265"/>
                  </a:moveTo>
                  <a:cubicBezTo>
                    <a:pt x="81" y="265"/>
                    <a:pt x="81" y="263"/>
                    <a:pt x="81" y="263"/>
                  </a:cubicBezTo>
                  <a:cubicBezTo>
                    <a:pt x="81" y="263"/>
                    <a:pt x="79" y="260"/>
                    <a:pt x="76" y="263"/>
                  </a:cubicBezTo>
                  <a:lnTo>
                    <a:pt x="73" y="263"/>
                  </a:lnTo>
                  <a:lnTo>
                    <a:pt x="70" y="260"/>
                  </a:lnTo>
                  <a:lnTo>
                    <a:pt x="70" y="257"/>
                  </a:lnTo>
                  <a:lnTo>
                    <a:pt x="65" y="257"/>
                  </a:lnTo>
                  <a:lnTo>
                    <a:pt x="67" y="254"/>
                  </a:lnTo>
                  <a:cubicBezTo>
                    <a:pt x="67" y="254"/>
                    <a:pt x="67" y="251"/>
                    <a:pt x="65" y="251"/>
                  </a:cubicBezTo>
                  <a:cubicBezTo>
                    <a:pt x="65" y="249"/>
                    <a:pt x="62" y="246"/>
                    <a:pt x="62" y="243"/>
                  </a:cubicBezTo>
                  <a:cubicBezTo>
                    <a:pt x="59" y="249"/>
                    <a:pt x="59" y="251"/>
                    <a:pt x="62" y="254"/>
                  </a:cubicBezTo>
                  <a:lnTo>
                    <a:pt x="65" y="254"/>
                  </a:lnTo>
                  <a:lnTo>
                    <a:pt x="62" y="257"/>
                  </a:lnTo>
                  <a:cubicBezTo>
                    <a:pt x="62" y="258"/>
                    <a:pt x="62" y="259"/>
                    <a:pt x="63" y="260"/>
                  </a:cubicBezTo>
                  <a:lnTo>
                    <a:pt x="62" y="260"/>
                  </a:lnTo>
                  <a:lnTo>
                    <a:pt x="62" y="265"/>
                  </a:lnTo>
                  <a:cubicBezTo>
                    <a:pt x="63" y="264"/>
                    <a:pt x="64" y="263"/>
                    <a:pt x="64" y="262"/>
                  </a:cubicBezTo>
                  <a:cubicBezTo>
                    <a:pt x="64" y="263"/>
                    <a:pt x="65" y="263"/>
                    <a:pt x="65" y="263"/>
                  </a:cubicBezTo>
                  <a:cubicBezTo>
                    <a:pt x="67" y="263"/>
                    <a:pt x="67" y="262"/>
                    <a:pt x="67" y="265"/>
                  </a:cubicBezTo>
                  <a:cubicBezTo>
                    <a:pt x="67" y="267"/>
                    <a:pt x="67" y="268"/>
                    <a:pt x="70" y="268"/>
                  </a:cubicBezTo>
                  <a:lnTo>
                    <a:pt x="70" y="274"/>
                  </a:lnTo>
                  <a:cubicBezTo>
                    <a:pt x="73" y="274"/>
                    <a:pt x="76" y="274"/>
                    <a:pt x="76" y="271"/>
                  </a:cubicBezTo>
                  <a:lnTo>
                    <a:pt x="76" y="276"/>
                  </a:lnTo>
                  <a:cubicBezTo>
                    <a:pt x="75" y="275"/>
                    <a:pt x="74" y="275"/>
                    <a:pt x="73" y="274"/>
                  </a:cubicBezTo>
                  <a:lnTo>
                    <a:pt x="67" y="277"/>
                  </a:lnTo>
                  <a:lnTo>
                    <a:pt x="70" y="277"/>
                  </a:lnTo>
                  <a:lnTo>
                    <a:pt x="73" y="277"/>
                  </a:lnTo>
                  <a:cubicBezTo>
                    <a:pt x="73" y="280"/>
                    <a:pt x="73" y="280"/>
                    <a:pt x="70" y="282"/>
                  </a:cubicBezTo>
                  <a:lnTo>
                    <a:pt x="73" y="282"/>
                  </a:lnTo>
                  <a:cubicBezTo>
                    <a:pt x="73" y="282"/>
                    <a:pt x="76" y="282"/>
                    <a:pt x="76" y="280"/>
                  </a:cubicBezTo>
                  <a:lnTo>
                    <a:pt x="79" y="280"/>
                  </a:lnTo>
                  <a:lnTo>
                    <a:pt x="79" y="282"/>
                  </a:lnTo>
                  <a:lnTo>
                    <a:pt x="70" y="291"/>
                  </a:lnTo>
                  <a:lnTo>
                    <a:pt x="87" y="288"/>
                  </a:lnTo>
                  <a:lnTo>
                    <a:pt x="84" y="282"/>
                  </a:lnTo>
                  <a:cubicBezTo>
                    <a:pt x="83" y="281"/>
                    <a:pt x="81" y="280"/>
                    <a:pt x="79" y="278"/>
                  </a:cubicBezTo>
                  <a:lnTo>
                    <a:pt x="84" y="265"/>
                  </a:lnTo>
                  <a:cubicBezTo>
                    <a:pt x="81" y="268"/>
                    <a:pt x="81" y="271"/>
                    <a:pt x="79" y="271"/>
                  </a:cubicBezTo>
                  <a:lnTo>
                    <a:pt x="76" y="268"/>
                  </a:lnTo>
                  <a:lnTo>
                    <a:pt x="84" y="265"/>
                  </a:lnTo>
                  <a:close/>
                  <a:moveTo>
                    <a:pt x="64" y="262"/>
                  </a:moveTo>
                  <a:cubicBezTo>
                    <a:pt x="65" y="262"/>
                    <a:pt x="65" y="261"/>
                    <a:pt x="65" y="260"/>
                  </a:cubicBezTo>
                  <a:lnTo>
                    <a:pt x="63" y="260"/>
                  </a:lnTo>
                  <a:cubicBezTo>
                    <a:pt x="63" y="261"/>
                    <a:pt x="64" y="262"/>
                    <a:pt x="64" y="262"/>
                  </a:cubicBezTo>
                  <a:close/>
                  <a:moveTo>
                    <a:pt x="76" y="277"/>
                  </a:moveTo>
                  <a:cubicBezTo>
                    <a:pt x="76" y="277"/>
                    <a:pt x="76" y="277"/>
                    <a:pt x="76" y="276"/>
                  </a:cubicBezTo>
                  <a:lnTo>
                    <a:pt x="76" y="276"/>
                  </a:lnTo>
                  <a:lnTo>
                    <a:pt x="76" y="277"/>
                  </a:lnTo>
                  <a:close/>
                  <a:moveTo>
                    <a:pt x="79" y="277"/>
                  </a:moveTo>
                  <a:lnTo>
                    <a:pt x="79" y="278"/>
                  </a:lnTo>
                  <a:cubicBezTo>
                    <a:pt x="78" y="278"/>
                    <a:pt x="77" y="277"/>
                    <a:pt x="76" y="276"/>
                  </a:cubicBezTo>
                  <a:cubicBezTo>
                    <a:pt x="79" y="274"/>
                    <a:pt x="79" y="277"/>
                    <a:pt x="79" y="277"/>
                  </a:cubicBezTo>
                  <a:close/>
                  <a:moveTo>
                    <a:pt x="79" y="280"/>
                  </a:moveTo>
                  <a:lnTo>
                    <a:pt x="79" y="278"/>
                  </a:lnTo>
                  <a:lnTo>
                    <a:pt x="79" y="278"/>
                  </a:lnTo>
                  <a:lnTo>
                    <a:pt x="79" y="280"/>
                  </a:lnTo>
                  <a:close/>
                  <a:moveTo>
                    <a:pt x="67" y="311"/>
                  </a:moveTo>
                  <a:lnTo>
                    <a:pt x="67" y="316"/>
                  </a:lnTo>
                  <a:cubicBezTo>
                    <a:pt x="67" y="313"/>
                    <a:pt x="70" y="308"/>
                    <a:pt x="73" y="305"/>
                  </a:cubicBezTo>
                  <a:cubicBezTo>
                    <a:pt x="73" y="305"/>
                    <a:pt x="70" y="305"/>
                    <a:pt x="70" y="302"/>
                  </a:cubicBezTo>
                  <a:lnTo>
                    <a:pt x="67" y="305"/>
                  </a:lnTo>
                  <a:cubicBezTo>
                    <a:pt x="65" y="308"/>
                    <a:pt x="65" y="311"/>
                    <a:pt x="67" y="311"/>
                  </a:cubicBezTo>
                  <a:close/>
                  <a:moveTo>
                    <a:pt x="73" y="243"/>
                  </a:moveTo>
                  <a:lnTo>
                    <a:pt x="73" y="237"/>
                  </a:lnTo>
                  <a:lnTo>
                    <a:pt x="73" y="232"/>
                  </a:lnTo>
                  <a:lnTo>
                    <a:pt x="70" y="237"/>
                  </a:lnTo>
                  <a:lnTo>
                    <a:pt x="67" y="240"/>
                  </a:lnTo>
                  <a:cubicBezTo>
                    <a:pt x="70" y="246"/>
                    <a:pt x="73" y="246"/>
                    <a:pt x="73" y="243"/>
                  </a:cubicBezTo>
                  <a:close/>
                  <a:moveTo>
                    <a:pt x="73" y="294"/>
                  </a:moveTo>
                  <a:cubicBezTo>
                    <a:pt x="70" y="294"/>
                    <a:pt x="67" y="296"/>
                    <a:pt x="67" y="296"/>
                  </a:cubicBezTo>
                  <a:cubicBezTo>
                    <a:pt x="70" y="299"/>
                    <a:pt x="73" y="299"/>
                    <a:pt x="73" y="302"/>
                  </a:cubicBezTo>
                  <a:lnTo>
                    <a:pt x="73" y="294"/>
                  </a:lnTo>
                  <a:close/>
                  <a:moveTo>
                    <a:pt x="76" y="322"/>
                  </a:moveTo>
                  <a:lnTo>
                    <a:pt x="70" y="322"/>
                  </a:lnTo>
                  <a:lnTo>
                    <a:pt x="70" y="325"/>
                  </a:lnTo>
                  <a:cubicBezTo>
                    <a:pt x="73" y="325"/>
                    <a:pt x="73" y="322"/>
                    <a:pt x="76" y="322"/>
                  </a:cubicBezTo>
                  <a:close/>
                  <a:moveTo>
                    <a:pt x="70" y="335"/>
                  </a:moveTo>
                  <a:lnTo>
                    <a:pt x="73" y="335"/>
                  </a:lnTo>
                  <a:lnTo>
                    <a:pt x="76" y="335"/>
                  </a:lnTo>
                  <a:lnTo>
                    <a:pt x="73" y="332"/>
                  </a:lnTo>
                  <a:lnTo>
                    <a:pt x="70" y="335"/>
                  </a:lnTo>
                  <a:close/>
                  <a:moveTo>
                    <a:pt x="84" y="352"/>
                  </a:moveTo>
                  <a:lnTo>
                    <a:pt x="81" y="341"/>
                  </a:lnTo>
                  <a:lnTo>
                    <a:pt x="76" y="341"/>
                  </a:lnTo>
                  <a:lnTo>
                    <a:pt x="73" y="341"/>
                  </a:lnTo>
                  <a:lnTo>
                    <a:pt x="67" y="341"/>
                  </a:lnTo>
                  <a:lnTo>
                    <a:pt x="70" y="343"/>
                  </a:lnTo>
                  <a:lnTo>
                    <a:pt x="73" y="343"/>
                  </a:lnTo>
                  <a:lnTo>
                    <a:pt x="73" y="349"/>
                  </a:lnTo>
                  <a:lnTo>
                    <a:pt x="73" y="355"/>
                  </a:lnTo>
                  <a:cubicBezTo>
                    <a:pt x="79" y="352"/>
                    <a:pt x="81" y="352"/>
                    <a:pt x="84" y="352"/>
                  </a:cubicBezTo>
                  <a:close/>
                  <a:moveTo>
                    <a:pt x="79" y="294"/>
                  </a:moveTo>
                  <a:cubicBezTo>
                    <a:pt x="76" y="296"/>
                    <a:pt x="76" y="299"/>
                    <a:pt x="76" y="299"/>
                  </a:cubicBezTo>
                  <a:lnTo>
                    <a:pt x="79" y="299"/>
                  </a:lnTo>
                  <a:lnTo>
                    <a:pt x="81" y="299"/>
                  </a:lnTo>
                  <a:lnTo>
                    <a:pt x="79" y="294"/>
                  </a:lnTo>
                  <a:close/>
                  <a:moveTo>
                    <a:pt x="79" y="232"/>
                  </a:moveTo>
                  <a:lnTo>
                    <a:pt x="79" y="237"/>
                  </a:lnTo>
                  <a:cubicBezTo>
                    <a:pt x="79" y="234"/>
                    <a:pt x="81" y="232"/>
                    <a:pt x="81" y="229"/>
                  </a:cubicBezTo>
                  <a:lnTo>
                    <a:pt x="76" y="229"/>
                  </a:lnTo>
                  <a:lnTo>
                    <a:pt x="79" y="232"/>
                  </a:lnTo>
                  <a:close/>
                  <a:moveTo>
                    <a:pt x="81" y="383"/>
                  </a:moveTo>
                  <a:cubicBezTo>
                    <a:pt x="81" y="383"/>
                    <a:pt x="84" y="383"/>
                    <a:pt x="81" y="383"/>
                  </a:cubicBezTo>
                  <a:lnTo>
                    <a:pt x="87" y="380"/>
                  </a:lnTo>
                  <a:lnTo>
                    <a:pt x="84" y="377"/>
                  </a:lnTo>
                  <a:lnTo>
                    <a:pt x="79" y="374"/>
                  </a:lnTo>
                  <a:cubicBezTo>
                    <a:pt x="79" y="377"/>
                    <a:pt x="81" y="380"/>
                    <a:pt x="81" y="383"/>
                  </a:cubicBezTo>
                  <a:close/>
                  <a:moveTo>
                    <a:pt x="79" y="363"/>
                  </a:moveTo>
                  <a:lnTo>
                    <a:pt x="79" y="366"/>
                  </a:lnTo>
                  <a:cubicBezTo>
                    <a:pt x="79" y="363"/>
                    <a:pt x="81" y="363"/>
                    <a:pt x="81" y="360"/>
                  </a:cubicBezTo>
                  <a:lnTo>
                    <a:pt x="79" y="363"/>
                  </a:lnTo>
                  <a:close/>
                  <a:moveTo>
                    <a:pt x="112" y="251"/>
                  </a:moveTo>
                  <a:lnTo>
                    <a:pt x="112" y="249"/>
                  </a:lnTo>
                  <a:lnTo>
                    <a:pt x="112" y="246"/>
                  </a:lnTo>
                  <a:lnTo>
                    <a:pt x="114" y="243"/>
                  </a:lnTo>
                  <a:cubicBezTo>
                    <a:pt x="114" y="243"/>
                    <a:pt x="114" y="240"/>
                    <a:pt x="117" y="240"/>
                  </a:cubicBezTo>
                  <a:cubicBezTo>
                    <a:pt x="114" y="240"/>
                    <a:pt x="114" y="243"/>
                    <a:pt x="112" y="243"/>
                  </a:cubicBezTo>
                  <a:lnTo>
                    <a:pt x="106" y="246"/>
                  </a:lnTo>
                  <a:lnTo>
                    <a:pt x="103" y="246"/>
                  </a:lnTo>
                  <a:lnTo>
                    <a:pt x="100" y="246"/>
                  </a:lnTo>
                  <a:cubicBezTo>
                    <a:pt x="100" y="246"/>
                    <a:pt x="100" y="249"/>
                    <a:pt x="97" y="249"/>
                  </a:cubicBezTo>
                  <a:cubicBezTo>
                    <a:pt x="97" y="251"/>
                    <a:pt x="96" y="251"/>
                    <a:pt x="96" y="254"/>
                  </a:cubicBezTo>
                  <a:lnTo>
                    <a:pt x="93" y="251"/>
                  </a:lnTo>
                  <a:lnTo>
                    <a:pt x="87" y="249"/>
                  </a:lnTo>
                  <a:cubicBezTo>
                    <a:pt x="87" y="251"/>
                    <a:pt x="83" y="251"/>
                    <a:pt x="81" y="251"/>
                  </a:cubicBezTo>
                  <a:cubicBezTo>
                    <a:pt x="78" y="251"/>
                    <a:pt x="79" y="254"/>
                    <a:pt x="79" y="257"/>
                  </a:cubicBezTo>
                  <a:lnTo>
                    <a:pt x="81" y="257"/>
                  </a:lnTo>
                  <a:cubicBezTo>
                    <a:pt x="81" y="257"/>
                    <a:pt x="84" y="257"/>
                    <a:pt x="84" y="260"/>
                  </a:cubicBezTo>
                  <a:lnTo>
                    <a:pt x="87" y="260"/>
                  </a:lnTo>
                  <a:lnTo>
                    <a:pt x="87" y="257"/>
                  </a:lnTo>
                  <a:lnTo>
                    <a:pt x="87" y="254"/>
                  </a:lnTo>
                  <a:lnTo>
                    <a:pt x="90" y="254"/>
                  </a:lnTo>
                  <a:lnTo>
                    <a:pt x="93" y="257"/>
                  </a:lnTo>
                  <a:cubicBezTo>
                    <a:pt x="96" y="254"/>
                    <a:pt x="95" y="254"/>
                    <a:pt x="97" y="254"/>
                  </a:cubicBezTo>
                  <a:cubicBezTo>
                    <a:pt x="100" y="254"/>
                    <a:pt x="103" y="251"/>
                    <a:pt x="106" y="249"/>
                  </a:cubicBezTo>
                  <a:lnTo>
                    <a:pt x="106" y="260"/>
                  </a:lnTo>
                  <a:lnTo>
                    <a:pt x="106" y="257"/>
                  </a:lnTo>
                  <a:cubicBezTo>
                    <a:pt x="103" y="257"/>
                    <a:pt x="103" y="254"/>
                    <a:pt x="103" y="251"/>
                  </a:cubicBezTo>
                  <a:lnTo>
                    <a:pt x="100" y="254"/>
                  </a:lnTo>
                  <a:lnTo>
                    <a:pt x="100" y="257"/>
                  </a:lnTo>
                  <a:lnTo>
                    <a:pt x="93" y="260"/>
                  </a:lnTo>
                  <a:lnTo>
                    <a:pt x="90" y="260"/>
                  </a:lnTo>
                  <a:lnTo>
                    <a:pt x="87" y="263"/>
                  </a:lnTo>
                  <a:lnTo>
                    <a:pt x="90" y="263"/>
                  </a:lnTo>
                  <a:lnTo>
                    <a:pt x="96" y="260"/>
                  </a:lnTo>
                  <a:cubicBezTo>
                    <a:pt x="97" y="263"/>
                    <a:pt x="103" y="263"/>
                    <a:pt x="106" y="260"/>
                  </a:cubicBezTo>
                  <a:lnTo>
                    <a:pt x="109" y="260"/>
                  </a:lnTo>
                  <a:lnTo>
                    <a:pt x="109" y="257"/>
                  </a:lnTo>
                  <a:cubicBezTo>
                    <a:pt x="112" y="251"/>
                    <a:pt x="109" y="251"/>
                    <a:pt x="112" y="251"/>
                  </a:cubicBezTo>
                  <a:close/>
                  <a:moveTo>
                    <a:pt x="90" y="377"/>
                  </a:moveTo>
                  <a:lnTo>
                    <a:pt x="90" y="369"/>
                  </a:lnTo>
                  <a:lnTo>
                    <a:pt x="87" y="369"/>
                  </a:lnTo>
                  <a:lnTo>
                    <a:pt x="87" y="377"/>
                  </a:lnTo>
                  <a:lnTo>
                    <a:pt x="90" y="377"/>
                  </a:lnTo>
                  <a:close/>
                  <a:moveTo>
                    <a:pt x="90" y="414"/>
                  </a:moveTo>
                  <a:cubicBezTo>
                    <a:pt x="90" y="417"/>
                    <a:pt x="90" y="420"/>
                    <a:pt x="87" y="422"/>
                  </a:cubicBezTo>
                  <a:lnTo>
                    <a:pt x="96" y="422"/>
                  </a:lnTo>
                  <a:lnTo>
                    <a:pt x="93" y="417"/>
                  </a:lnTo>
                  <a:cubicBezTo>
                    <a:pt x="93" y="414"/>
                    <a:pt x="93" y="414"/>
                    <a:pt x="90" y="414"/>
                  </a:cubicBezTo>
                  <a:cubicBezTo>
                    <a:pt x="93" y="411"/>
                    <a:pt x="93" y="408"/>
                    <a:pt x="93" y="408"/>
                  </a:cubicBezTo>
                  <a:lnTo>
                    <a:pt x="93" y="405"/>
                  </a:lnTo>
                  <a:cubicBezTo>
                    <a:pt x="90" y="408"/>
                    <a:pt x="87" y="408"/>
                    <a:pt x="87" y="411"/>
                  </a:cubicBezTo>
                  <a:cubicBezTo>
                    <a:pt x="87" y="411"/>
                    <a:pt x="87" y="414"/>
                    <a:pt x="90" y="414"/>
                  </a:cubicBezTo>
                  <a:close/>
                  <a:moveTo>
                    <a:pt x="84" y="237"/>
                  </a:moveTo>
                  <a:lnTo>
                    <a:pt x="84" y="243"/>
                  </a:lnTo>
                  <a:lnTo>
                    <a:pt x="87" y="243"/>
                  </a:lnTo>
                  <a:lnTo>
                    <a:pt x="87" y="237"/>
                  </a:lnTo>
                  <a:lnTo>
                    <a:pt x="84" y="237"/>
                  </a:lnTo>
                  <a:close/>
                  <a:moveTo>
                    <a:pt x="97" y="434"/>
                  </a:moveTo>
                  <a:lnTo>
                    <a:pt x="96" y="437"/>
                  </a:lnTo>
                  <a:cubicBezTo>
                    <a:pt x="97" y="437"/>
                    <a:pt x="97" y="434"/>
                    <a:pt x="97" y="434"/>
                  </a:cubicBezTo>
                  <a:close/>
                  <a:moveTo>
                    <a:pt x="96" y="448"/>
                  </a:moveTo>
                  <a:lnTo>
                    <a:pt x="100" y="448"/>
                  </a:lnTo>
                  <a:lnTo>
                    <a:pt x="100" y="445"/>
                  </a:lnTo>
                  <a:cubicBezTo>
                    <a:pt x="100" y="448"/>
                    <a:pt x="97" y="448"/>
                    <a:pt x="96" y="448"/>
                  </a:cubicBezTo>
                  <a:close/>
                  <a:moveTo>
                    <a:pt x="97" y="465"/>
                  </a:moveTo>
                  <a:cubicBezTo>
                    <a:pt x="100" y="468"/>
                    <a:pt x="100" y="468"/>
                    <a:pt x="103" y="468"/>
                  </a:cubicBezTo>
                  <a:cubicBezTo>
                    <a:pt x="103" y="462"/>
                    <a:pt x="103" y="465"/>
                    <a:pt x="97" y="465"/>
                  </a:cubicBezTo>
                  <a:close/>
                  <a:moveTo>
                    <a:pt x="137" y="257"/>
                  </a:moveTo>
                  <a:lnTo>
                    <a:pt x="131" y="251"/>
                  </a:lnTo>
                  <a:lnTo>
                    <a:pt x="128" y="249"/>
                  </a:lnTo>
                  <a:cubicBezTo>
                    <a:pt x="131" y="246"/>
                    <a:pt x="131" y="246"/>
                    <a:pt x="131" y="243"/>
                  </a:cubicBezTo>
                  <a:cubicBezTo>
                    <a:pt x="128" y="243"/>
                    <a:pt x="128" y="240"/>
                    <a:pt x="128" y="240"/>
                  </a:cubicBezTo>
                  <a:lnTo>
                    <a:pt x="123" y="240"/>
                  </a:lnTo>
                  <a:lnTo>
                    <a:pt x="128" y="246"/>
                  </a:lnTo>
                  <a:cubicBezTo>
                    <a:pt x="126" y="249"/>
                    <a:pt x="126" y="251"/>
                    <a:pt x="123" y="251"/>
                  </a:cubicBezTo>
                  <a:lnTo>
                    <a:pt x="123" y="254"/>
                  </a:lnTo>
                  <a:cubicBezTo>
                    <a:pt x="123" y="254"/>
                    <a:pt x="123" y="251"/>
                    <a:pt x="120" y="251"/>
                  </a:cubicBezTo>
                  <a:cubicBezTo>
                    <a:pt x="120" y="251"/>
                    <a:pt x="117" y="249"/>
                    <a:pt x="120" y="249"/>
                  </a:cubicBezTo>
                  <a:lnTo>
                    <a:pt x="120" y="246"/>
                  </a:lnTo>
                  <a:lnTo>
                    <a:pt x="117" y="246"/>
                  </a:lnTo>
                  <a:lnTo>
                    <a:pt x="117" y="257"/>
                  </a:lnTo>
                  <a:lnTo>
                    <a:pt x="123" y="257"/>
                  </a:lnTo>
                  <a:lnTo>
                    <a:pt x="128" y="263"/>
                  </a:lnTo>
                  <a:lnTo>
                    <a:pt x="131" y="260"/>
                  </a:lnTo>
                  <a:lnTo>
                    <a:pt x="131" y="257"/>
                  </a:lnTo>
                  <a:cubicBezTo>
                    <a:pt x="131" y="254"/>
                    <a:pt x="134" y="254"/>
                    <a:pt x="137" y="257"/>
                  </a:cubicBezTo>
                  <a:close/>
                  <a:moveTo>
                    <a:pt x="126" y="232"/>
                  </a:moveTo>
                  <a:cubicBezTo>
                    <a:pt x="128" y="234"/>
                    <a:pt x="128" y="234"/>
                    <a:pt x="131" y="232"/>
                  </a:cubicBezTo>
                  <a:lnTo>
                    <a:pt x="131" y="234"/>
                  </a:lnTo>
                  <a:cubicBezTo>
                    <a:pt x="134" y="234"/>
                    <a:pt x="137" y="234"/>
                    <a:pt x="137" y="237"/>
                  </a:cubicBezTo>
                  <a:lnTo>
                    <a:pt x="137" y="232"/>
                  </a:lnTo>
                  <a:lnTo>
                    <a:pt x="131" y="232"/>
                  </a:lnTo>
                  <a:lnTo>
                    <a:pt x="128" y="232"/>
                  </a:lnTo>
                  <a:lnTo>
                    <a:pt x="126" y="232"/>
                  </a:lnTo>
                  <a:close/>
                  <a:moveTo>
                    <a:pt x="131" y="127"/>
                  </a:moveTo>
                  <a:lnTo>
                    <a:pt x="137" y="127"/>
                  </a:lnTo>
                  <a:lnTo>
                    <a:pt x="137" y="124"/>
                  </a:lnTo>
                  <a:lnTo>
                    <a:pt x="134" y="124"/>
                  </a:lnTo>
                  <a:cubicBezTo>
                    <a:pt x="134" y="127"/>
                    <a:pt x="131" y="127"/>
                    <a:pt x="131" y="127"/>
                  </a:cubicBezTo>
                  <a:close/>
                  <a:moveTo>
                    <a:pt x="134" y="226"/>
                  </a:moveTo>
                  <a:lnTo>
                    <a:pt x="137" y="226"/>
                  </a:lnTo>
                  <a:lnTo>
                    <a:pt x="137" y="223"/>
                  </a:lnTo>
                  <a:cubicBezTo>
                    <a:pt x="137" y="226"/>
                    <a:pt x="134" y="226"/>
                    <a:pt x="134" y="226"/>
                  </a:cubicBezTo>
                  <a:close/>
                  <a:moveTo>
                    <a:pt x="143" y="249"/>
                  </a:moveTo>
                  <a:lnTo>
                    <a:pt x="143" y="251"/>
                  </a:lnTo>
                  <a:cubicBezTo>
                    <a:pt x="140" y="251"/>
                    <a:pt x="140" y="251"/>
                    <a:pt x="140" y="249"/>
                  </a:cubicBezTo>
                  <a:cubicBezTo>
                    <a:pt x="139" y="249"/>
                    <a:pt x="138" y="249"/>
                    <a:pt x="137" y="249"/>
                  </a:cubicBezTo>
                  <a:cubicBezTo>
                    <a:pt x="140" y="254"/>
                    <a:pt x="143" y="257"/>
                    <a:pt x="143" y="257"/>
                  </a:cubicBezTo>
                  <a:cubicBezTo>
                    <a:pt x="145" y="254"/>
                    <a:pt x="143" y="254"/>
                    <a:pt x="145" y="251"/>
                  </a:cubicBezTo>
                  <a:lnTo>
                    <a:pt x="145" y="246"/>
                  </a:lnTo>
                  <a:lnTo>
                    <a:pt x="148" y="246"/>
                  </a:lnTo>
                  <a:cubicBezTo>
                    <a:pt x="148" y="243"/>
                    <a:pt x="148" y="243"/>
                    <a:pt x="148" y="246"/>
                  </a:cubicBezTo>
                  <a:lnTo>
                    <a:pt x="145" y="246"/>
                  </a:lnTo>
                  <a:cubicBezTo>
                    <a:pt x="145" y="246"/>
                    <a:pt x="145" y="249"/>
                    <a:pt x="143" y="249"/>
                  </a:cubicBezTo>
                  <a:cubicBezTo>
                    <a:pt x="143" y="240"/>
                    <a:pt x="143" y="240"/>
                    <a:pt x="137" y="240"/>
                  </a:cubicBezTo>
                  <a:cubicBezTo>
                    <a:pt x="137" y="243"/>
                    <a:pt x="140" y="246"/>
                    <a:pt x="143" y="249"/>
                  </a:cubicBezTo>
                  <a:close/>
                  <a:moveTo>
                    <a:pt x="134" y="263"/>
                  </a:moveTo>
                  <a:lnTo>
                    <a:pt x="140" y="263"/>
                  </a:lnTo>
                  <a:lnTo>
                    <a:pt x="137" y="260"/>
                  </a:lnTo>
                  <a:lnTo>
                    <a:pt x="137" y="257"/>
                  </a:lnTo>
                  <a:cubicBezTo>
                    <a:pt x="137" y="257"/>
                    <a:pt x="137" y="260"/>
                    <a:pt x="134" y="263"/>
                  </a:cubicBezTo>
                  <a:close/>
                  <a:moveTo>
                    <a:pt x="137" y="217"/>
                  </a:moveTo>
                  <a:lnTo>
                    <a:pt x="140" y="217"/>
                  </a:lnTo>
                  <a:lnTo>
                    <a:pt x="140" y="215"/>
                  </a:lnTo>
                  <a:lnTo>
                    <a:pt x="137" y="217"/>
                  </a:lnTo>
                  <a:close/>
                  <a:moveTo>
                    <a:pt x="140" y="226"/>
                  </a:moveTo>
                  <a:lnTo>
                    <a:pt x="143" y="234"/>
                  </a:lnTo>
                  <a:lnTo>
                    <a:pt x="148" y="234"/>
                  </a:lnTo>
                  <a:lnTo>
                    <a:pt x="148" y="232"/>
                  </a:lnTo>
                  <a:cubicBezTo>
                    <a:pt x="148" y="229"/>
                    <a:pt x="151" y="229"/>
                    <a:pt x="151" y="229"/>
                  </a:cubicBezTo>
                  <a:cubicBezTo>
                    <a:pt x="145" y="223"/>
                    <a:pt x="143" y="223"/>
                    <a:pt x="140" y="226"/>
                  </a:cubicBezTo>
                  <a:close/>
                  <a:moveTo>
                    <a:pt x="145" y="263"/>
                  </a:moveTo>
                  <a:lnTo>
                    <a:pt x="151" y="263"/>
                  </a:lnTo>
                  <a:cubicBezTo>
                    <a:pt x="154" y="263"/>
                    <a:pt x="154" y="260"/>
                    <a:pt x="151" y="257"/>
                  </a:cubicBezTo>
                  <a:cubicBezTo>
                    <a:pt x="148" y="257"/>
                    <a:pt x="145" y="260"/>
                    <a:pt x="143" y="260"/>
                  </a:cubicBezTo>
                  <a:cubicBezTo>
                    <a:pt x="143" y="263"/>
                    <a:pt x="145" y="263"/>
                    <a:pt x="145" y="263"/>
                  </a:cubicBezTo>
                  <a:close/>
                  <a:moveTo>
                    <a:pt x="148" y="189"/>
                  </a:moveTo>
                  <a:lnTo>
                    <a:pt x="143" y="189"/>
                  </a:lnTo>
                  <a:lnTo>
                    <a:pt x="143" y="192"/>
                  </a:lnTo>
                  <a:cubicBezTo>
                    <a:pt x="145" y="192"/>
                    <a:pt x="148" y="189"/>
                    <a:pt x="148" y="189"/>
                  </a:cubicBezTo>
                  <a:close/>
                  <a:moveTo>
                    <a:pt x="148" y="243"/>
                  </a:moveTo>
                  <a:cubicBezTo>
                    <a:pt x="151" y="240"/>
                    <a:pt x="151" y="240"/>
                    <a:pt x="146" y="240"/>
                  </a:cubicBezTo>
                  <a:cubicBezTo>
                    <a:pt x="147" y="241"/>
                    <a:pt x="147" y="242"/>
                    <a:pt x="148" y="243"/>
                  </a:cubicBezTo>
                  <a:close/>
                  <a:moveTo>
                    <a:pt x="159" y="274"/>
                  </a:moveTo>
                  <a:cubicBezTo>
                    <a:pt x="154" y="268"/>
                    <a:pt x="154" y="268"/>
                    <a:pt x="148" y="274"/>
                  </a:cubicBezTo>
                  <a:lnTo>
                    <a:pt x="154" y="274"/>
                  </a:lnTo>
                  <a:cubicBezTo>
                    <a:pt x="154" y="274"/>
                    <a:pt x="157" y="274"/>
                    <a:pt x="157" y="277"/>
                  </a:cubicBezTo>
                  <a:lnTo>
                    <a:pt x="159" y="274"/>
                  </a:lnTo>
                  <a:close/>
                  <a:moveTo>
                    <a:pt x="159" y="338"/>
                  </a:moveTo>
                  <a:lnTo>
                    <a:pt x="162" y="341"/>
                  </a:lnTo>
                  <a:lnTo>
                    <a:pt x="165" y="341"/>
                  </a:lnTo>
                  <a:cubicBezTo>
                    <a:pt x="165" y="338"/>
                    <a:pt x="165" y="338"/>
                    <a:pt x="159" y="338"/>
                  </a:cubicBezTo>
                  <a:close/>
                  <a:moveTo>
                    <a:pt x="171" y="294"/>
                  </a:moveTo>
                  <a:cubicBezTo>
                    <a:pt x="168" y="291"/>
                    <a:pt x="168" y="291"/>
                    <a:pt x="165" y="291"/>
                  </a:cubicBezTo>
                  <a:lnTo>
                    <a:pt x="165" y="294"/>
                  </a:lnTo>
                  <a:lnTo>
                    <a:pt x="171" y="294"/>
                  </a:lnTo>
                  <a:close/>
                  <a:moveTo>
                    <a:pt x="165" y="363"/>
                  </a:moveTo>
                  <a:cubicBezTo>
                    <a:pt x="171" y="363"/>
                    <a:pt x="171" y="363"/>
                    <a:pt x="168" y="360"/>
                  </a:cubicBezTo>
                  <a:lnTo>
                    <a:pt x="165" y="363"/>
                  </a:lnTo>
                  <a:close/>
                  <a:moveTo>
                    <a:pt x="165" y="386"/>
                  </a:moveTo>
                  <a:cubicBezTo>
                    <a:pt x="168" y="386"/>
                    <a:pt x="171" y="386"/>
                    <a:pt x="171" y="389"/>
                  </a:cubicBezTo>
                  <a:cubicBezTo>
                    <a:pt x="171" y="386"/>
                    <a:pt x="171" y="380"/>
                    <a:pt x="165" y="386"/>
                  </a:cubicBezTo>
                  <a:close/>
                  <a:moveTo>
                    <a:pt x="182" y="374"/>
                  </a:moveTo>
                  <a:lnTo>
                    <a:pt x="176" y="374"/>
                  </a:lnTo>
                  <a:lnTo>
                    <a:pt x="176" y="377"/>
                  </a:lnTo>
                  <a:cubicBezTo>
                    <a:pt x="179" y="374"/>
                    <a:pt x="179" y="374"/>
                    <a:pt x="182" y="374"/>
                  </a:cubicBezTo>
                  <a:close/>
                  <a:moveTo>
                    <a:pt x="179" y="389"/>
                  </a:moveTo>
                  <a:lnTo>
                    <a:pt x="182" y="389"/>
                  </a:lnTo>
                  <a:lnTo>
                    <a:pt x="182" y="386"/>
                  </a:lnTo>
                  <a:cubicBezTo>
                    <a:pt x="182" y="386"/>
                    <a:pt x="179" y="386"/>
                    <a:pt x="179" y="389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8" name="Freeform 1459"/>
            <p:cNvSpPr>
              <a:spLocks noChangeArrowheads="1"/>
            </p:cNvSpPr>
            <p:nvPr/>
          </p:nvSpPr>
          <p:spPr bwMode="auto">
            <a:xfrm>
              <a:off x="4159250" y="2447925"/>
              <a:ext cx="74613" cy="176213"/>
            </a:xfrm>
            <a:custGeom>
              <a:avLst/>
              <a:gdLst>
                <a:gd name="T0" fmla="*/ 191 w 209"/>
                <a:gd name="T1" fmla="*/ 453 h 488"/>
                <a:gd name="T2" fmla="*/ 59 w 209"/>
                <a:gd name="T3" fmla="*/ 428 h 488"/>
                <a:gd name="T4" fmla="*/ 45 w 209"/>
                <a:gd name="T5" fmla="*/ 333 h 488"/>
                <a:gd name="T6" fmla="*/ 16 w 209"/>
                <a:gd name="T7" fmla="*/ 197 h 488"/>
                <a:gd name="T8" fmla="*/ 25 w 209"/>
                <a:gd name="T9" fmla="*/ 14 h 488"/>
                <a:gd name="T10" fmla="*/ 129 w 209"/>
                <a:gd name="T11" fmla="*/ 56 h 488"/>
                <a:gd name="T12" fmla="*/ 135 w 209"/>
                <a:gd name="T13" fmla="*/ 113 h 488"/>
                <a:gd name="T14" fmla="*/ 158 w 209"/>
                <a:gd name="T15" fmla="*/ 195 h 488"/>
                <a:gd name="T16" fmla="*/ 180 w 209"/>
                <a:gd name="T17" fmla="*/ 316 h 488"/>
                <a:gd name="T18" fmla="*/ 39 w 209"/>
                <a:gd name="T19" fmla="*/ 65 h 488"/>
                <a:gd name="T20" fmla="*/ 42 w 209"/>
                <a:gd name="T21" fmla="*/ 56 h 488"/>
                <a:gd name="T22" fmla="*/ 45 w 209"/>
                <a:gd name="T23" fmla="*/ 130 h 488"/>
                <a:gd name="T24" fmla="*/ 45 w 209"/>
                <a:gd name="T25" fmla="*/ 37 h 488"/>
                <a:gd name="T26" fmla="*/ 47 w 209"/>
                <a:gd name="T27" fmla="*/ 42 h 488"/>
                <a:gd name="T28" fmla="*/ 121 w 209"/>
                <a:gd name="T29" fmla="*/ 419 h 488"/>
                <a:gd name="T30" fmla="*/ 129 w 209"/>
                <a:gd name="T31" fmla="*/ 288 h 488"/>
                <a:gd name="T32" fmla="*/ 118 w 209"/>
                <a:gd name="T33" fmla="*/ 214 h 488"/>
                <a:gd name="T34" fmla="*/ 101 w 209"/>
                <a:gd name="T35" fmla="*/ 118 h 488"/>
                <a:gd name="T36" fmla="*/ 62 w 209"/>
                <a:gd name="T37" fmla="*/ 99 h 488"/>
                <a:gd name="T38" fmla="*/ 87 w 209"/>
                <a:gd name="T39" fmla="*/ 245 h 488"/>
                <a:gd name="T40" fmla="*/ 110 w 209"/>
                <a:gd name="T41" fmla="*/ 357 h 488"/>
                <a:gd name="T42" fmla="*/ 62 w 209"/>
                <a:gd name="T43" fmla="*/ 268 h 488"/>
                <a:gd name="T44" fmla="*/ 64 w 209"/>
                <a:gd name="T45" fmla="*/ 31 h 488"/>
                <a:gd name="T46" fmla="*/ 76 w 209"/>
                <a:gd name="T47" fmla="*/ 320 h 488"/>
                <a:gd name="T48" fmla="*/ 73 w 209"/>
                <a:gd name="T49" fmla="*/ 42 h 488"/>
                <a:gd name="T50" fmla="*/ 70 w 209"/>
                <a:gd name="T51" fmla="*/ 363 h 488"/>
                <a:gd name="T52" fmla="*/ 73 w 209"/>
                <a:gd name="T53" fmla="*/ 34 h 488"/>
                <a:gd name="T54" fmla="*/ 84 w 209"/>
                <a:gd name="T55" fmla="*/ 366 h 488"/>
                <a:gd name="T56" fmla="*/ 87 w 209"/>
                <a:gd name="T57" fmla="*/ 380 h 488"/>
                <a:gd name="T58" fmla="*/ 93 w 209"/>
                <a:gd name="T59" fmla="*/ 39 h 488"/>
                <a:gd name="T60" fmla="*/ 87 w 209"/>
                <a:gd name="T61" fmla="*/ 397 h 488"/>
                <a:gd name="T62" fmla="*/ 101 w 209"/>
                <a:gd name="T63" fmla="*/ 53 h 488"/>
                <a:gd name="T64" fmla="*/ 107 w 209"/>
                <a:gd name="T65" fmla="*/ 450 h 488"/>
                <a:gd name="T66" fmla="*/ 115 w 209"/>
                <a:gd name="T67" fmla="*/ 59 h 488"/>
                <a:gd name="T68" fmla="*/ 124 w 209"/>
                <a:gd name="T69" fmla="*/ 73 h 488"/>
                <a:gd name="T70" fmla="*/ 124 w 209"/>
                <a:gd name="T71" fmla="*/ 130 h 488"/>
                <a:gd name="T72" fmla="*/ 129 w 209"/>
                <a:gd name="T73" fmla="*/ 158 h 488"/>
                <a:gd name="T74" fmla="*/ 124 w 209"/>
                <a:gd name="T75" fmla="*/ 453 h 488"/>
                <a:gd name="T76" fmla="*/ 129 w 209"/>
                <a:gd name="T77" fmla="*/ 144 h 488"/>
                <a:gd name="T78" fmla="*/ 129 w 209"/>
                <a:gd name="T79" fmla="*/ 121 h 488"/>
                <a:gd name="T80" fmla="*/ 141 w 209"/>
                <a:gd name="T81" fmla="*/ 186 h 488"/>
                <a:gd name="T82" fmla="*/ 138 w 209"/>
                <a:gd name="T83" fmla="*/ 442 h 488"/>
                <a:gd name="T84" fmla="*/ 141 w 209"/>
                <a:gd name="T85" fmla="*/ 223 h 488"/>
                <a:gd name="T86" fmla="*/ 143 w 209"/>
                <a:gd name="T87" fmla="*/ 234 h 488"/>
                <a:gd name="T88" fmla="*/ 143 w 209"/>
                <a:gd name="T89" fmla="*/ 442 h 488"/>
                <a:gd name="T90" fmla="*/ 152 w 209"/>
                <a:gd name="T91" fmla="*/ 271 h 488"/>
                <a:gd name="T92" fmla="*/ 158 w 209"/>
                <a:gd name="T93" fmla="*/ 445 h 488"/>
                <a:gd name="T94" fmla="*/ 158 w 209"/>
                <a:gd name="T95" fmla="*/ 433 h 488"/>
                <a:gd name="T96" fmla="*/ 165 w 209"/>
                <a:gd name="T97" fmla="*/ 297 h 488"/>
                <a:gd name="T98" fmla="*/ 172 w 209"/>
                <a:gd name="T99" fmla="*/ 296 h 488"/>
                <a:gd name="T100" fmla="*/ 160 w 209"/>
                <a:gd name="T101" fmla="*/ 333 h 488"/>
                <a:gd name="T102" fmla="*/ 163 w 209"/>
                <a:gd name="T103" fmla="*/ 324 h 488"/>
                <a:gd name="T104" fmla="*/ 163 w 209"/>
                <a:gd name="T105" fmla="*/ 333 h 488"/>
                <a:gd name="T106" fmla="*/ 163 w 209"/>
                <a:gd name="T107" fmla="*/ 366 h 488"/>
                <a:gd name="T108" fmla="*/ 180 w 209"/>
                <a:gd name="T109" fmla="*/ 377 h 488"/>
                <a:gd name="T110" fmla="*/ 169 w 209"/>
                <a:gd name="T111" fmla="*/ 411 h 488"/>
                <a:gd name="T112" fmla="*/ 172 w 209"/>
                <a:gd name="T113" fmla="*/ 313 h 488"/>
                <a:gd name="T114" fmla="*/ 177 w 209"/>
                <a:gd name="T115" fmla="*/ 397 h 488"/>
                <a:gd name="T116" fmla="*/ 177 w 209"/>
                <a:gd name="T117" fmla="*/ 360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9" h="488">
                  <a:moveTo>
                    <a:pt x="200" y="344"/>
                  </a:moveTo>
                  <a:cubicBezTo>
                    <a:pt x="200" y="352"/>
                    <a:pt x="203" y="357"/>
                    <a:pt x="203" y="366"/>
                  </a:cubicBezTo>
                  <a:lnTo>
                    <a:pt x="203" y="371"/>
                  </a:lnTo>
                  <a:lnTo>
                    <a:pt x="203" y="383"/>
                  </a:lnTo>
                  <a:lnTo>
                    <a:pt x="203" y="388"/>
                  </a:lnTo>
                  <a:cubicBezTo>
                    <a:pt x="208" y="394"/>
                    <a:pt x="206" y="397"/>
                    <a:pt x="203" y="402"/>
                  </a:cubicBezTo>
                  <a:lnTo>
                    <a:pt x="203" y="416"/>
                  </a:lnTo>
                  <a:lnTo>
                    <a:pt x="203" y="430"/>
                  </a:lnTo>
                  <a:lnTo>
                    <a:pt x="203" y="436"/>
                  </a:lnTo>
                  <a:cubicBezTo>
                    <a:pt x="203" y="439"/>
                    <a:pt x="200" y="439"/>
                    <a:pt x="200" y="442"/>
                  </a:cubicBezTo>
                  <a:cubicBezTo>
                    <a:pt x="197" y="445"/>
                    <a:pt x="194" y="450"/>
                    <a:pt x="191" y="453"/>
                  </a:cubicBezTo>
                  <a:lnTo>
                    <a:pt x="186" y="462"/>
                  </a:lnTo>
                  <a:cubicBezTo>
                    <a:pt x="180" y="467"/>
                    <a:pt x="172" y="473"/>
                    <a:pt x="163" y="478"/>
                  </a:cubicBezTo>
                  <a:cubicBezTo>
                    <a:pt x="160" y="481"/>
                    <a:pt x="158" y="481"/>
                    <a:pt x="152" y="481"/>
                  </a:cubicBezTo>
                  <a:cubicBezTo>
                    <a:pt x="149" y="481"/>
                    <a:pt x="146" y="481"/>
                    <a:pt x="141" y="484"/>
                  </a:cubicBezTo>
                  <a:cubicBezTo>
                    <a:pt x="138" y="481"/>
                    <a:pt x="138" y="481"/>
                    <a:pt x="135" y="481"/>
                  </a:cubicBezTo>
                  <a:cubicBezTo>
                    <a:pt x="132" y="481"/>
                    <a:pt x="132" y="484"/>
                    <a:pt x="129" y="484"/>
                  </a:cubicBezTo>
                  <a:cubicBezTo>
                    <a:pt x="115" y="487"/>
                    <a:pt x="104" y="481"/>
                    <a:pt x="93" y="473"/>
                  </a:cubicBezTo>
                  <a:cubicBezTo>
                    <a:pt x="87" y="470"/>
                    <a:pt x="84" y="467"/>
                    <a:pt x="81" y="462"/>
                  </a:cubicBezTo>
                  <a:cubicBezTo>
                    <a:pt x="81" y="459"/>
                    <a:pt x="79" y="456"/>
                    <a:pt x="76" y="456"/>
                  </a:cubicBezTo>
                  <a:cubicBezTo>
                    <a:pt x="73" y="453"/>
                    <a:pt x="70" y="453"/>
                    <a:pt x="67" y="450"/>
                  </a:cubicBezTo>
                  <a:cubicBezTo>
                    <a:pt x="67" y="442"/>
                    <a:pt x="64" y="433"/>
                    <a:pt x="59" y="428"/>
                  </a:cubicBezTo>
                  <a:lnTo>
                    <a:pt x="59" y="422"/>
                  </a:lnTo>
                  <a:lnTo>
                    <a:pt x="59" y="419"/>
                  </a:lnTo>
                  <a:cubicBezTo>
                    <a:pt x="59" y="416"/>
                    <a:pt x="56" y="414"/>
                    <a:pt x="56" y="411"/>
                  </a:cubicBezTo>
                  <a:cubicBezTo>
                    <a:pt x="53" y="405"/>
                    <a:pt x="50" y="399"/>
                    <a:pt x="53" y="394"/>
                  </a:cubicBezTo>
                  <a:lnTo>
                    <a:pt x="53" y="385"/>
                  </a:lnTo>
                  <a:cubicBezTo>
                    <a:pt x="53" y="383"/>
                    <a:pt x="50" y="377"/>
                    <a:pt x="50" y="374"/>
                  </a:cubicBezTo>
                  <a:lnTo>
                    <a:pt x="47" y="368"/>
                  </a:lnTo>
                  <a:cubicBezTo>
                    <a:pt x="45" y="366"/>
                    <a:pt x="47" y="366"/>
                    <a:pt x="47" y="360"/>
                  </a:cubicBezTo>
                  <a:lnTo>
                    <a:pt x="47" y="354"/>
                  </a:lnTo>
                  <a:lnTo>
                    <a:pt x="47" y="347"/>
                  </a:lnTo>
                  <a:cubicBezTo>
                    <a:pt x="45" y="341"/>
                    <a:pt x="45" y="338"/>
                    <a:pt x="45" y="333"/>
                  </a:cubicBezTo>
                  <a:cubicBezTo>
                    <a:pt x="45" y="327"/>
                    <a:pt x="42" y="324"/>
                    <a:pt x="42" y="319"/>
                  </a:cubicBezTo>
                  <a:cubicBezTo>
                    <a:pt x="39" y="316"/>
                    <a:pt x="39" y="313"/>
                    <a:pt x="39" y="310"/>
                  </a:cubicBezTo>
                  <a:cubicBezTo>
                    <a:pt x="39" y="307"/>
                    <a:pt x="39" y="307"/>
                    <a:pt x="36" y="305"/>
                  </a:cubicBezTo>
                  <a:cubicBezTo>
                    <a:pt x="36" y="302"/>
                    <a:pt x="33" y="302"/>
                    <a:pt x="33" y="299"/>
                  </a:cubicBezTo>
                  <a:lnTo>
                    <a:pt x="33" y="293"/>
                  </a:lnTo>
                  <a:lnTo>
                    <a:pt x="31" y="271"/>
                  </a:lnTo>
                  <a:cubicBezTo>
                    <a:pt x="31" y="265"/>
                    <a:pt x="28" y="257"/>
                    <a:pt x="28" y="251"/>
                  </a:cubicBezTo>
                  <a:lnTo>
                    <a:pt x="28" y="242"/>
                  </a:lnTo>
                  <a:lnTo>
                    <a:pt x="25" y="226"/>
                  </a:lnTo>
                  <a:cubicBezTo>
                    <a:pt x="22" y="220"/>
                    <a:pt x="22" y="214"/>
                    <a:pt x="19" y="206"/>
                  </a:cubicBezTo>
                  <a:cubicBezTo>
                    <a:pt x="19" y="203"/>
                    <a:pt x="16" y="200"/>
                    <a:pt x="16" y="197"/>
                  </a:cubicBezTo>
                  <a:cubicBezTo>
                    <a:pt x="16" y="195"/>
                    <a:pt x="16" y="192"/>
                    <a:pt x="14" y="189"/>
                  </a:cubicBezTo>
                  <a:cubicBezTo>
                    <a:pt x="11" y="186"/>
                    <a:pt x="8" y="180"/>
                    <a:pt x="11" y="175"/>
                  </a:cubicBezTo>
                  <a:lnTo>
                    <a:pt x="11" y="161"/>
                  </a:lnTo>
                  <a:cubicBezTo>
                    <a:pt x="11" y="158"/>
                    <a:pt x="8" y="152"/>
                    <a:pt x="8" y="149"/>
                  </a:cubicBezTo>
                  <a:cubicBezTo>
                    <a:pt x="8" y="141"/>
                    <a:pt x="8" y="135"/>
                    <a:pt x="5" y="127"/>
                  </a:cubicBezTo>
                  <a:cubicBezTo>
                    <a:pt x="2" y="116"/>
                    <a:pt x="0" y="101"/>
                    <a:pt x="0" y="90"/>
                  </a:cubicBezTo>
                  <a:lnTo>
                    <a:pt x="0" y="65"/>
                  </a:lnTo>
                  <a:lnTo>
                    <a:pt x="0" y="56"/>
                  </a:lnTo>
                  <a:cubicBezTo>
                    <a:pt x="0" y="45"/>
                    <a:pt x="5" y="31"/>
                    <a:pt x="14" y="22"/>
                  </a:cubicBezTo>
                  <a:lnTo>
                    <a:pt x="22" y="14"/>
                  </a:lnTo>
                  <a:lnTo>
                    <a:pt x="25" y="14"/>
                  </a:lnTo>
                  <a:cubicBezTo>
                    <a:pt x="28" y="14"/>
                    <a:pt x="31" y="11"/>
                    <a:pt x="33" y="11"/>
                  </a:cubicBezTo>
                  <a:lnTo>
                    <a:pt x="42" y="8"/>
                  </a:lnTo>
                  <a:cubicBezTo>
                    <a:pt x="45" y="8"/>
                    <a:pt x="47" y="6"/>
                    <a:pt x="50" y="6"/>
                  </a:cubicBezTo>
                  <a:cubicBezTo>
                    <a:pt x="53" y="6"/>
                    <a:pt x="56" y="3"/>
                    <a:pt x="59" y="3"/>
                  </a:cubicBezTo>
                  <a:cubicBezTo>
                    <a:pt x="62" y="3"/>
                    <a:pt x="64" y="0"/>
                    <a:pt x="64" y="3"/>
                  </a:cubicBezTo>
                  <a:lnTo>
                    <a:pt x="81" y="6"/>
                  </a:lnTo>
                  <a:cubicBezTo>
                    <a:pt x="93" y="8"/>
                    <a:pt x="104" y="11"/>
                    <a:pt x="110" y="20"/>
                  </a:cubicBezTo>
                  <a:cubicBezTo>
                    <a:pt x="112" y="25"/>
                    <a:pt x="118" y="31"/>
                    <a:pt x="121" y="34"/>
                  </a:cubicBezTo>
                  <a:cubicBezTo>
                    <a:pt x="124" y="37"/>
                    <a:pt x="124" y="39"/>
                    <a:pt x="124" y="39"/>
                  </a:cubicBezTo>
                  <a:cubicBezTo>
                    <a:pt x="124" y="42"/>
                    <a:pt x="124" y="45"/>
                    <a:pt x="127" y="48"/>
                  </a:cubicBezTo>
                  <a:lnTo>
                    <a:pt x="129" y="56"/>
                  </a:lnTo>
                  <a:cubicBezTo>
                    <a:pt x="129" y="59"/>
                    <a:pt x="132" y="62"/>
                    <a:pt x="132" y="65"/>
                  </a:cubicBezTo>
                  <a:lnTo>
                    <a:pt x="132" y="70"/>
                  </a:lnTo>
                  <a:cubicBezTo>
                    <a:pt x="129" y="76"/>
                    <a:pt x="132" y="82"/>
                    <a:pt x="132" y="85"/>
                  </a:cubicBezTo>
                  <a:cubicBezTo>
                    <a:pt x="132" y="85"/>
                    <a:pt x="132" y="87"/>
                    <a:pt x="135" y="87"/>
                  </a:cubicBezTo>
                  <a:lnTo>
                    <a:pt x="135" y="93"/>
                  </a:lnTo>
                  <a:lnTo>
                    <a:pt x="135" y="96"/>
                  </a:lnTo>
                  <a:cubicBezTo>
                    <a:pt x="135" y="96"/>
                    <a:pt x="138" y="99"/>
                    <a:pt x="135" y="99"/>
                  </a:cubicBezTo>
                  <a:lnTo>
                    <a:pt x="135" y="101"/>
                  </a:lnTo>
                  <a:lnTo>
                    <a:pt x="135" y="107"/>
                  </a:lnTo>
                  <a:lnTo>
                    <a:pt x="135" y="110"/>
                  </a:lnTo>
                  <a:lnTo>
                    <a:pt x="135" y="113"/>
                  </a:lnTo>
                  <a:cubicBezTo>
                    <a:pt x="138" y="116"/>
                    <a:pt x="138" y="116"/>
                    <a:pt x="138" y="118"/>
                  </a:cubicBezTo>
                  <a:cubicBezTo>
                    <a:pt x="138" y="121"/>
                    <a:pt x="141" y="124"/>
                    <a:pt x="141" y="130"/>
                  </a:cubicBezTo>
                  <a:cubicBezTo>
                    <a:pt x="141" y="132"/>
                    <a:pt x="141" y="138"/>
                    <a:pt x="143" y="141"/>
                  </a:cubicBezTo>
                  <a:lnTo>
                    <a:pt x="143" y="144"/>
                  </a:lnTo>
                  <a:lnTo>
                    <a:pt x="143" y="147"/>
                  </a:lnTo>
                  <a:lnTo>
                    <a:pt x="146" y="149"/>
                  </a:lnTo>
                  <a:cubicBezTo>
                    <a:pt x="146" y="152"/>
                    <a:pt x="146" y="155"/>
                    <a:pt x="149" y="158"/>
                  </a:cubicBezTo>
                  <a:lnTo>
                    <a:pt x="149" y="169"/>
                  </a:lnTo>
                  <a:cubicBezTo>
                    <a:pt x="149" y="169"/>
                    <a:pt x="149" y="172"/>
                    <a:pt x="152" y="175"/>
                  </a:cubicBezTo>
                  <a:cubicBezTo>
                    <a:pt x="155" y="180"/>
                    <a:pt x="155" y="186"/>
                    <a:pt x="155" y="192"/>
                  </a:cubicBezTo>
                  <a:lnTo>
                    <a:pt x="158" y="195"/>
                  </a:lnTo>
                  <a:lnTo>
                    <a:pt x="158" y="200"/>
                  </a:lnTo>
                  <a:lnTo>
                    <a:pt x="160" y="220"/>
                  </a:lnTo>
                  <a:lnTo>
                    <a:pt x="160" y="226"/>
                  </a:lnTo>
                  <a:lnTo>
                    <a:pt x="160" y="237"/>
                  </a:lnTo>
                  <a:lnTo>
                    <a:pt x="160" y="242"/>
                  </a:lnTo>
                  <a:cubicBezTo>
                    <a:pt x="160" y="245"/>
                    <a:pt x="160" y="251"/>
                    <a:pt x="163" y="254"/>
                  </a:cubicBezTo>
                  <a:cubicBezTo>
                    <a:pt x="166" y="259"/>
                    <a:pt x="169" y="268"/>
                    <a:pt x="169" y="274"/>
                  </a:cubicBezTo>
                  <a:cubicBezTo>
                    <a:pt x="169" y="276"/>
                    <a:pt x="169" y="279"/>
                    <a:pt x="172" y="285"/>
                  </a:cubicBezTo>
                  <a:cubicBezTo>
                    <a:pt x="174" y="288"/>
                    <a:pt x="174" y="293"/>
                    <a:pt x="177" y="299"/>
                  </a:cubicBezTo>
                  <a:cubicBezTo>
                    <a:pt x="177" y="305"/>
                    <a:pt x="177" y="307"/>
                    <a:pt x="180" y="313"/>
                  </a:cubicBezTo>
                  <a:lnTo>
                    <a:pt x="180" y="316"/>
                  </a:lnTo>
                  <a:lnTo>
                    <a:pt x="180" y="321"/>
                  </a:lnTo>
                  <a:lnTo>
                    <a:pt x="180" y="324"/>
                  </a:lnTo>
                  <a:cubicBezTo>
                    <a:pt x="197" y="327"/>
                    <a:pt x="200" y="336"/>
                    <a:pt x="200" y="344"/>
                  </a:cubicBezTo>
                  <a:close/>
                  <a:moveTo>
                    <a:pt x="28" y="99"/>
                  </a:moveTo>
                  <a:cubicBezTo>
                    <a:pt x="31" y="101"/>
                    <a:pt x="31" y="101"/>
                    <a:pt x="33" y="101"/>
                  </a:cubicBezTo>
                  <a:lnTo>
                    <a:pt x="33" y="96"/>
                  </a:lnTo>
                  <a:lnTo>
                    <a:pt x="28" y="99"/>
                  </a:lnTo>
                  <a:close/>
                  <a:moveTo>
                    <a:pt x="39" y="68"/>
                  </a:moveTo>
                  <a:cubicBezTo>
                    <a:pt x="42" y="68"/>
                    <a:pt x="42" y="68"/>
                    <a:pt x="45" y="65"/>
                  </a:cubicBezTo>
                  <a:lnTo>
                    <a:pt x="42" y="65"/>
                  </a:lnTo>
                  <a:lnTo>
                    <a:pt x="39" y="65"/>
                  </a:lnTo>
                  <a:cubicBezTo>
                    <a:pt x="36" y="65"/>
                    <a:pt x="33" y="68"/>
                    <a:pt x="31" y="68"/>
                  </a:cubicBezTo>
                  <a:lnTo>
                    <a:pt x="31" y="70"/>
                  </a:lnTo>
                  <a:lnTo>
                    <a:pt x="39" y="68"/>
                  </a:lnTo>
                  <a:close/>
                  <a:moveTo>
                    <a:pt x="33" y="132"/>
                  </a:moveTo>
                  <a:lnTo>
                    <a:pt x="36" y="132"/>
                  </a:lnTo>
                  <a:cubicBezTo>
                    <a:pt x="36" y="132"/>
                    <a:pt x="36" y="130"/>
                    <a:pt x="33" y="127"/>
                  </a:cubicBezTo>
                  <a:lnTo>
                    <a:pt x="33" y="132"/>
                  </a:lnTo>
                  <a:close/>
                  <a:moveTo>
                    <a:pt x="36" y="59"/>
                  </a:moveTo>
                  <a:lnTo>
                    <a:pt x="42" y="59"/>
                  </a:lnTo>
                  <a:cubicBezTo>
                    <a:pt x="42" y="62"/>
                    <a:pt x="45" y="62"/>
                    <a:pt x="47" y="59"/>
                  </a:cubicBezTo>
                  <a:cubicBezTo>
                    <a:pt x="45" y="59"/>
                    <a:pt x="45" y="56"/>
                    <a:pt x="42" y="56"/>
                  </a:cubicBezTo>
                  <a:cubicBezTo>
                    <a:pt x="39" y="56"/>
                    <a:pt x="39" y="53"/>
                    <a:pt x="36" y="53"/>
                  </a:cubicBezTo>
                  <a:lnTo>
                    <a:pt x="36" y="59"/>
                  </a:lnTo>
                  <a:close/>
                  <a:moveTo>
                    <a:pt x="42" y="172"/>
                  </a:moveTo>
                  <a:lnTo>
                    <a:pt x="39" y="169"/>
                  </a:lnTo>
                  <a:cubicBezTo>
                    <a:pt x="36" y="175"/>
                    <a:pt x="39" y="175"/>
                    <a:pt x="42" y="172"/>
                  </a:cubicBezTo>
                  <a:close/>
                  <a:moveTo>
                    <a:pt x="39" y="48"/>
                  </a:moveTo>
                  <a:cubicBezTo>
                    <a:pt x="42" y="48"/>
                    <a:pt x="42" y="45"/>
                    <a:pt x="45" y="45"/>
                  </a:cubicBezTo>
                  <a:cubicBezTo>
                    <a:pt x="42" y="45"/>
                    <a:pt x="42" y="42"/>
                    <a:pt x="39" y="39"/>
                  </a:cubicBezTo>
                  <a:lnTo>
                    <a:pt x="39" y="48"/>
                  </a:lnTo>
                  <a:close/>
                  <a:moveTo>
                    <a:pt x="47" y="135"/>
                  </a:moveTo>
                  <a:cubicBezTo>
                    <a:pt x="47" y="135"/>
                    <a:pt x="47" y="132"/>
                    <a:pt x="45" y="130"/>
                  </a:cubicBezTo>
                  <a:lnTo>
                    <a:pt x="42" y="135"/>
                  </a:lnTo>
                  <a:lnTo>
                    <a:pt x="47" y="135"/>
                  </a:lnTo>
                  <a:close/>
                  <a:moveTo>
                    <a:pt x="45" y="186"/>
                  </a:moveTo>
                  <a:lnTo>
                    <a:pt x="47" y="186"/>
                  </a:lnTo>
                  <a:lnTo>
                    <a:pt x="47" y="183"/>
                  </a:lnTo>
                  <a:cubicBezTo>
                    <a:pt x="47" y="183"/>
                    <a:pt x="45" y="183"/>
                    <a:pt x="45" y="186"/>
                  </a:cubicBezTo>
                  <a:close/>
                  <a:moveTo>
                    <a:pt x="45" y="172"/>
                  </a:moveTo>
                  <a:lnTo>
                    <a:pt x="47" y="172"/>
                  </a:lnTo>
                  <a:lnTo>
                    <a:pt x="47" y="169"/>
                  </a:lnTo>
                  <a:lnTo>
                    <a:pt x="45" y="172"/>
                  </a:lnTo>
                  <a:close/>
                  <a:moveTo>
                    <a:pt x="45" y="37"/>
                  </a:moveTo>
                  <a:lnTo>
                    <a:pt x="47" y="39"/>
                  </a:lnTo>
                  <a:lnTo>
                    <a:pt x="50" y="39"/>
                  </a:lnTo>
                  <a:lnTo>
                    <a:pt x="47" y="37"/>
                  </a:lnTo>
                  <a:lnTo>
                    <a:pt x="45" y="37"/>
                  </a:lnTo>
                  <a:close/>
                  <a:moveTo>
                    <a:pt x="47" y="42"/>
                  </a:moveTo>
                  <a:cubicBezTo>
                    <a:pt x="50" y="45"/>
                    <a:pt x="50" y="48"/>
                    <a:pt x="53" y="51"/>
                  </a:cubicBezTo>
                  <a:cubicBezTo>
                    <a:pt x="56" y="48"/>
                    <a:pt x="56" y="46"/>
                    <a:pt x="58" y="41"/>
                  </a:cubicBezTo>
                  <a:cubicBezTo>
                    <a:pt x="58" y="42"/>
                    <a:pt x="58" y="42"/>
                    <a:pt x="59" y="42"/>
                  </a:cubicBezTo>
                  <a:lnTo>
                    <a:pt x="64" y="37"/>
                  </a:lnTo>
                  <a:cubicBezTo>
                    <a:pt x="58" y="37"/>
                    <a:pt x="57" y="38"/>
                    <a:pt x="57" y="40"/>
                  </a:cubicBezTo>
                  <a:lnTo>
                    <a:pt x="47" y="42"/>
                  </a:lnTo>
                  <a:close/>
                  <a:moveTo>
                    <a:pt x="59" y="39"/>
                  </a:moveTo>
                  <a:lnTo>
                    <a:pt x="57" y="40"/>
                  </a:lnTo>
                  <a:lnTo>
                    <a:pt x="58" y="41"/>
                  </a:lnTo>
                  <a:cubicBezTo>
                    <a:pt x="58" y="41"/>
                    <a:pt x="58" y="40"/>
                    <a:pt x="59" y="39"/>
                  </a:cubicBezTo>
                  <a:close/>
                  <a:moveTo>
                    <a:pt x="56" y="209"/>
                  </a:moveTo>
                  <a:lnTo>
                    <a:pt x="50" y="209"/>
                  </a:lnTo>
                  <a:lnTo>
                    <a:pt x="50" y="211"/>
                  </a:lnTo>
                  <a:lnTo>
                    <a:pt x="53" y="211"/>
                  </a:lnTo>
                  <a:lnTo>
                    <a:pt x="56" y="209"/>
                  </a:lnTo>
                  <a:close/>
                  <a:moveTo>
                    <a:pt x="115" y="414"/>
                  </a:moveTo>
                  <a:lnTo>
                    <a:pt x="121" y="419"/>
                  </a:lnTo>
                  <a:cubicBezTo>
                    <a:pt x="124" y="422"/>
                    <a:pt x="127" y="422"/>
                    <a:pt x="127" y="425"/>
                  </a:cubicBezTo>
                  <a:lnTo>
                    <a:pt x="138" y="422"/>
                  </a:lnTo>
                  <a:cubicBezTo>
                    <a:pt x="143" y="414"/>
                    <a:pt x="146" y="402"/>
                    <a:pt x="143" y="391"/>
                  </a:cubicBezTo>
                  <a:lnTo>
                    <a:pt x="143" y="385"/>
                  </a:lnTo>
                  <a:lnTo>
                    <a:pt x="143" y="380"/>
                  </a:lnTo>
                  <a:cubicBezTo>
                    <a:pt x="143" y="368"/>
                    <a:pt x="144" y="369"/>
                    <a:pt x="141" y="363"/>
                  </a:cubicBezTo>
                  <a:cubicBezTo>
                    <a:pt x="139" y="358"/>
                    <a:pt x="138" y="353"/>
                    <a:pt x="138" y="350"/>
                  </a:cubicBezTo>
                  <a:lnTo>
                    <a:pt x="138" y="336"/>
                  </a:lnTo>
                  <a:cubicBezTo>
                    <a:pt x="135" y="333"/>
                    <a:pt x="135" y="327"/>
                    <a:pt x="135" y="324"/>
                  </a:cubicBezTo>
                  <a:cubicBezTo>
                    <a:pt x="135" y="321"/>
                    <a:pt x="135" y="316"/>
                    <a:pt x="132" y="313"/>
                  </a:cubicBezTo>
                  <a:lnTo>
                    <a:pt x="129" y="288"/>
                  </a:lnTo>
                  <a:lnTo>
                    <a:pt x="129" y="282"/>
                  </a:lnTo>
                  <a:lnTo>
                    <a:pt x="129" y="276"/>
                  </a:lnTo>
                  <a:lnTo>
                    <a:pt x="129" y="271"/>
                  </a:lnTo>
                  <a:cubicBezTo>
                    <a:pt x="129" y="268"/>
                    <a:pt x="127" y="268"/>
                    <a:pt x="127" y="265"/>
                  </a:cubicBezTo>
                  <a:lnTo>
                    <a:pt x="124" y="254"/>
                  </a:lnTo>
                  <a:lnTo>
                    <a:pt x="124" y="251"/>
                  </a:lnTo>
                  <a:lnTo>
                    <a:pt x="124" y="248"/>
                  </a:lnTo>
                  <a:lnTo>
                    <a:pt x="118" y="242"/>
                  </a:lnTo>
                  <a:lnTo>
                    <a:pt x="118" y="237"/>
                  </a:lnTo>
                  <a:lnTo>
                    <a:pt x="118" y="226"/>
                  </a:lnTo>
                  <a:lnTo>
                    <a:pt x="118" y="214"/>
                  </a:lnTo>
                  <a:cubicBezTo>
                    <a:pt x="118" y="211"/>
                    <a:pt x="118" y="206"/>
                    <a:pt x="115" y="203"/>
                  </a:cubicBezTo>
                  <a:cubicBezTo>
                    <a:pt x="112" y="200"/>
                    <a:pt x="110" y="195"/>
                    <a:pt x="110" y="192"/>
                  </a:cubicBezTo>
                  <a:lnTo>
                    <a:pt x="110" y="186"/>
                  </a:lnTo>
                  <a:lnTo>
                    <a:pt x="110" y="172"/>
                  </a:lnTo>
                  <a:lnTo>
                    <a:pt x="110" y="166"/>
                  </a:lnTo>
                  <a:cubicBezTo>
                    <a:pt x="110" y="164"/>
                    <a:pt x="110" y="164"/>
                    <a:pt x="107" y="161"/>
                  </a:cubicBezTo>
                  <a:cubicBezTo>
                    <a:pt x="107" y="158"/>
                    <a:pt x="104" y="155"/>
                    <a:pt x="101" y="152"/>
                  </a:cubicBezTo>
                  <a:cubicBezTo>
                    <a:pt x="98" y="149"/>
                    <a:pt x="98" y="147"/>
                    <a:pt x="101" y="144"/>
                  </a:cubicBezTo>
                  <a:lnTo>
                    <a:pt x="101" y="135"/>
                  </a:lnTo>
                  <a:lnTo>
                    <a:pt x="101" y="127"/>
                  </a:lnTo>
                  <a:cubicBezTo>
                    <a:pt x="104" y="124"/>
                    <a:pt x="101" y="121"/>
                    <a:pt x="101" y="118"/>
                  </a:cubicBezTo>
                  <a:cubicBezTo>
                    <a:pt x="98" y="118"/>
                    <a:pt x="98" y="116"/>
                    <a:pt x="98" y="113"/>
                  </a:cubicBezTo>
                  <a:lnTo>
                    <a:pt x="98" y="107"/>
                  </a:lnTo>
                  <a:lnTo>
                    <a:pt x="95" y="93"/>
                  </a:lnTo>
                  <a:cubicBezTo>
                    <a:pt x="95" y="87"/>
                    <a:pt x="93" y="82"/>
                    <a:pt x="90" y="76"/>
                  </a:cubicBezTo>
                  <a:cubicBezTo>
                    <a:pt x="90" y="73"/>
                    <a:pt x="87" y="73"/>
                    <a:pt x="84" y="70"/>
                  </a:cubicBezTo>
                  <a:cubicBezTo>
                    <a:pt x="81" y="70"/>
                    <a:pt x="81" y="68"/>
                    <a:pt x="79" y="65"/>
                  </a:cubicBezTo>
                  <a:lnTo>
                    <a:pt x="67" y="68"/>
                  </a:lnTo>
                  <a:lnTo>
                    <a:pt x="64" y="70"/>
                  </a:lnTo>
                  <a:lnTo>
                    <a:pt x="62" y="73"/>
                  </a:lnTo>
                  <a:cubicBezTo>
                    <a:pt x="62" y="76"/>
                    <a:pt x="62" y="82"/>
                    <a:pt x="59" y="85"/>
                  </a:cubicBezTo>
                  <a:cubicBezTo>
                    <a:pt x="56" y="90"/>
                    <a:pt x="59" y="93"/>
                    <a:pt x="62" y="99"/>
                  </a:cubicBezTo>
                  <a:lnTo>
                    <a:pt x="70" y="144"/>
                  </a:lnTo>
                  <a:lnTo>
                    <a:pt x="70" y="161"/>
                  </a:lnTo>
                  <a:cubicBezTo>
                    <a:pt x="70" y="164"/>
                    <a:pt x="70" y="166"/>
                    <a:pt x="73" y="166"/>
                  </a:cubicBezTo>
                  <a:cubicBezTo>
                    <a:pt x="76" y="172"/>
                    <a:pt x="79" y="178"/>
                    <a:pt x="76" y="180"/>
                  </a:cubicBezTo>
                  <a:cubicBezTo>
                    <a:pt x="76" y="183"/>
                    <a:pt x="76" y="189"/>
                    <a:pt x="79" y="192"/>
                  </a:cubicBezTo>
                  <a:lnTo>
                    <a:pt x="79" y="197"/>
                  </a:lnTo>
                  <a:cubicBezTo>
                    <a:pt x="81" y="203"/>
                    <a:pt x="84" y="211"/>
                    <a:pt x="81" y="220"/>
                  </a:cubicBezTo>
                  <a:cubicBezTo>
                    <a:pt x="81" y="226"/>
                    <a:pt x="81" y="231"/>
                    <a:pt x="84" y="234"/>
                  </a:cubicBezTo>
                  <a:lnTo>
                    <a:pt x="84" y="237"/>
                  </a:lnTo>
                  <a:lnTo>
                    <a:pt x="84" y="240"/>
                  </a:lnTo>
                  <a:cubicBezTo>
                    <a:pt x="84" y="242"/>
                    <a:pt x="87" y="242"/>
                    <a:pt x="87" y="245"/>
                  </a:cubicBezTo>
                  <a:cubicBezTo>
                    <a:pt x="87" y="248"/>
                    <a:pt x="90" y="254"/>
                    <a:pt x="90" y="257"/>
                  </a:cubicBezTo>
                  <a:cubicBezTo>
                    <a:pt x="90" y="259"/>
                    <a:pt x="90" y="262"/>
                    <a:pt x="93" y="262"/>
                  </a:cubicBezTo>
                  <a:cubicBezTo>
                    <a:pt x="95" y="268"/>
                    <a:pt x="95" y="274"/>
                    <a:pt x="93" y="279"/>
                  </a:cubicBezTo>
                  <a:cubicBezTo>
                    <a:pt x="95" y="282"/>
                    <a:pt x="95" y="288"/>
                    <a:pt x="98" y="290"/>
                  </a:cubicBezTo>
                  <a:lnTo>
                    <a:pt x="98" y="296"/>
                  </a:lnTo>
                  <a:lnTo>
                    <a:pt x="98" y="302"/>
                  </a:lnTo>
                  <a:cubicBezTo>
                    <a:pt x="98" y="305"/>
                    <a:pt x="101" y="305"/>
                    <a:pt x="101" y="307"/>
                  </a:cubicBezTo>
                  <a:cubicBezTo>
                    <a:pt x="101" y="313"/>
                    <a:pt x="104" y="316"/>
                    <a:pt x="104" y="319"/>
                  </a:cubicBezTo>
                  <a:lnTo>
                    <a:pt x="104" y="321"/>
                  </a:lnTo>
                  <a:lnTo>
                    <a:pt x="104" y="324"/>
                  </a:lnTo>
                  <a:cubicBezTo>
                    <a:pt x="104" y="336"/>
                    <a:pt x="104" y="347"/>
                    <a:pt x="110" y="357"/>
                  </a:cubicBezTo>
                  <a:cubicBezTo>
                    <a:pt x="110" y="360"/>
                    <a:pt x="112" y="366"/>
                    <a:pt x="112" y="368"/>
                  </a:cubicBezTo>
                  <a:lnTo>
                    <a:pt x="112" y="380"/>
                  </a:lnTo>
                  <a:cubicBezTo>
                    <a:pt x="110" y="385"/>
                    <a:pt x="112" y="391"/>
                    <a:pt x="112" y="397"/>
                  </a:cubicBezTo>
                  <a:cubicBezTo>
                    <a:pt x="115" y="399"/>
                    <a:pt x="115" y="405"/>
                    <a:pt x="115" y="408"/>
                  </a:cubicBezTo>
                  <a:cubicBezTo>
                    <a:pt x="112" y="405"/>
                    <a:pt x="115" y="408"/>
                    <a:pt x="115" y="414"/>
                  </a:cubicBezTo>
                  <a:close/>
                  <a:moveTo>
                    <a:pt x="56" y="259"/>
                  </a:moveTo>
                  <a:lnTo>
                    <a:pt x="59" y="257"/>
                  </a:lnTo>
                  <a:lnTo>
                    <a:pt x="59" y="254"/>
                  </a:lnTo>
                  <a:lnTo>
                    <a:pt x="59" y="251"/>
                  </a:lnTo>
                  <a:cubicBezTo>
                    <a:pt x="59" y="254"/>
                    <a:pt x="56" y="254"/>
                    <a:pt x="56" y="259"/>
                  </a:cubicBezTo>
                  <a:close/>
                  <a:moveTo>
                    <a:pt x="62" y="268"/>
                  </a:moveTo>
                  <a:cubicBezTo>
                    <a:pt x="62" y="271"/>
                    <a:pt x="64" y="274"/>
                    <a:pt x="67" y="274"/>
                  </a:cubicBezTo>
                  <a:cubicBezTo>
                    <a:pt x="67" y="271"/>
                    <a:pt x="64" y="268"/>
                    <a:pt x="62" y="268"/>
                  </a:cubicBezTo>
                  <a:cubicBezTo>
                    <a:pt x="64" y="265"/>
                    <a:pt x="64" y="265"/>
                    <a:pt x="64" y="262"/>
                  </a:cubicBezTo>
                  <a:lnTo>
                    <a:pt x="64" y="257"/>
                  </a:lnTo>
                  <a:cubicBezTo>
                    <a:pt x="62" y="259"/>
                    <a:pt x="59" y="259"/>
                    <a:pt x="59" y="262"/>
                  </a:cubicBezTo>
                  <a:cubicBezTo>
                    <a:pt x="62" y="262"/>
                    <a:pt x="62" y="265"/>
                    <a:pt x="62" y="268"/>
                  </a:cubicBezTo>
                  <a:close/>
                  <a:moveTo>
                    <a:pt x="67" y="299"/>
                  </a:moveTo>
                  <a:cubicBezTo>
                    <a:pt x="64" y="296"/>
                    <a:pt x="64" y="299"/>
                    <a:pt x="62" y="299"/>
                  </a:cubicBezTo>
                  <a:lnTo>
                    <a:pt x="67" y="299"/>
                  </a:lnTo>
                  <a:close/>
                  <a:moveTo>
                    <a:pt x="64" y="31"/>
                  </a:moveTo>
                  <a:cubicBezTo>
                    <a:pt x="64" y="31"/>
                    <a:pt x="67" y="31"/>
                    <a:pt x="64" y="31"/>
                  </a:cubicBezTo>
                  <a:lnTo>
                    <a:pt x="70" y="31"/>
                  </a:lnTo>
                  <a:lnTo>
                    <a:pt x="70" y="28"/>
                  </a:lnTo>
                  <a:lnTo>
                    <a:pt x="70" y="25"/>
                  </a:lnTo>
                  <a:cubicBezTo>
                    <a:pt x="67" y="25"/>
                    <a:pt x="67" y="28"/>
                    <a:pt x="67" y="28"/>
                  </a:cubicBezTo>
                  <a:cubicBezTo>
                    <a:pt x="67" y="28"/>
                    <a:pt x="64" y="28"/>
                    <a:pt x="64" y="31"/>
                  </a:cubicBezTo>
                  <a:close/>
                  <a:moveTo>
                    <a:pt x="67" y="279"/>
                  </a:moveTo>
                  <a:cubicBezTo>
                    <a:pt x="70" y="282"/>
                    <a:pt x="70" y="282"/>
                    <a:pt x="70" y="285"/>
                  </a:cubicBezTo>
                  <a:cubicBezTo>
                    <a:pt x="73" y="288"/>
                    <a:pt x="73" y="290"/>
                    <a:pt x="73" y="293"/>
                  </a:cubicBezTo>
                  <a:cubicBezTo>
                    <a:pt x="73" y="285"/>
                    <a:pt x="73" y="282"/>
                    <a:pt x="67" y="279"/>
                  </a:cubicBezTo>
                  <a:close/>
                  <a:moveTo>
                    <a:pt x="73" y="319"/>
                  </a:moveTo>
                  <a:cubicBezTo>
                    <a:pt x="73" y="319"/>
                    <a:pt x="75" y="319"/>
                    <a:pt x="76" y="320"/>
                  </a:cubicBezTo>
                  <a:lnTo>
                    <a:pt x="73" y="305"/>
                  </a:lnTo>
                  <a:lnTo>
                    <a:pt x="70" y="305"/>
                  </a:lnTo>
                  <a:lnTo>
                    <a:pt x="67" y="305"/>
                  </a:lnTo>
                  <a:lnTo>
                    <a:pt x="70" y="307"/>
                  </a:lnTo>
                  <a:cubicBezTo>
                    <a:pt x="70" y="307"/>
                    <a:pt x="70" y="310"/>
                    <a:pt x="73" y="310"/>
                  </a:cubicBezTo>
                  <a:cubicBezTo>
                    <a:pt x="70" y="313"/>
                    <a:pt x="70" y="313"/>
                    <a:pt x="67" y="313"/>
                  </a:cubicBezTo>
                  <a:lnTo>
                    <a:pt x="73" y="319"/>
                  </a:lnTo>
                  <a:close/>
                  <a:moveTo>
                    <a:pt x="67" y="34"/>
                  </a:moveTo>
                  <a:lnTo>
                    <a:pt x="67" y="39"/>
                  </a:lnTo>
                  <a:cubicBezTo>
                    <a:pt x="70" y="39"/>
                    <a:pt x="72" y="39"/>
                    <a:pt x="75" y="42"/>
                  </a:cubicBezTo>
                  <a:cubicBezTo>
                    <a:pt x="74" y="42"/>
                    <a:pt x="74" y="42"/>
                    <a:pt x="73" y="42"/>
                  </a:cubicBezTo>
                  <a:lnTo>
                    <a:pt x="79" y="48"/>
                  </a:lnTo>
                  <a:cubicBezTo>
                    <a:pt x="79" y="45"/>
                    <a:pt x="81" y="45"/>
                    <a:pt x="81" y="42"/>
                  </a:cubicBezTo>
                  <a:cubicBezTo>
                    <a:pt x="84" y="42"/>
                    <a:pt x="84" y="39"/>
                    <a:pt x="84" y="37"/>
                  </a:cubicBezTo>
                  <a:lnTo>
                    <a:pt x="79" y="39"/>
                  </a:lnTo>
                  <a:cubicBezTo>
                    <a:pt x="77" y="39"/>
                    <a:pt x="77" y="40"/>
                    <a:pt x="76" y="41"/>
                  </a:cubicBezTo>
                  <a:cubicBezTo>
                    <a:pt x="76" y="41"/>
                    <a:pt x="75" y="41"/>
                    <a:pt x="75" y="42"/>
                  </a:cubicBezTo>
                  <a:cubicBezTo>
                    <a:pt x="75" y="42"/>
                    <a:pt x="75" y="42"/>
                    <a:pt x="76" y="42"/>
                  </a:cubicBezTo>
                  <a:cubicBezTo>
                    <a:pt x="76" y="41"/>
                    <a:pt x="76" y="40"/>
                    <a:pt x="76" y="41"/>
                  </a:cubicBezTo>
                  <a:lnTo>
                    <a:pt x="76" y="39"/>
                  </a:lnTo>
                  <a:cubicBezTo>
                    <a:pt x="76" y="39"/>
                    <a:pt x="73" y="34"/>
                    <a:pt x="67" y="34"/>
                  </a:cubicBezTo>
                  <a:close/>
                  <a:moveTo>
                    <a:pt x="70" y="363"/>
                  </a:moveTo>
                  <a:cubicBezTo>
                    <a:pt x="73" y="366"/>
                    <a:pt x="73" y="366"/>
                    <a:pt x="73" y="368"/>
                  </a:cubicBezTo>
                  <a:lnTo>
                    <a:pt x="73" y="366"/>
                  </a:lnTo>
                  <a:lnTo>
                    <a:pt x="70" y="363"/>
                  </a:lnTo>
                  <a:close/>
                  <a:moveTo>
                    <a:pt x="73" y="380"/>
                  </a:moveTo>
                  <a:lnTo>
                    <a:pt x="76" y="380"/>
                  </a:lnTo>
                  <a:cubicBezTo>
                    <a:pt x="76" y="377"/>
                    <a:pt x="73" y="377"/>
                    <a:pt x="73" y="380"/>
                  </a:cubicBezTo>
                  <a:close/>
                  <a:moveTo>
                    <a:pt x="73" y="34"/>
                  </a:moveTo>
                  <a:cubicBezTo>
                    <a:pt x="76" y="34"/>
                    <a:pt x="79" y="37"/>
                    <a:pt x="84" y="37"/>
                  </a:cubicBezTo>
                  <a:lnTo>
                    <a:pt x="84" y="34"/>
                  </a:lnTo>
                  <a:lnTo>
                    <a:pt x="76" y="31"/>
                  </a:lnTo>
                  <a:lnTo>
                    <a:pt x="73" y="34"/>
                  </a:lnTo>
                  <a:close/>
                  <a:moveTo>
                    <a:pt x="81" y="336"/>
                  </a:moveTo>
                  <a:lnTo>
                    <a:pt x="76" y="336"/>
                  </a:lnTo>
                  <a:lnTo>
                    <a:pt x="76" y="338"/>
                  </a:lnTo>
                  <a:cubicBezTo>
                    <a:pt x="79" y="338"/>
                    <a:pt x="81" y="338"/>
                    <a:pt x="81" y="336"/>
                  </a:cubicBezTo>
                  <a:close/>
                  <a:moveTo>
                    <a:pt x="84" y="391"/>
                  </a:moveTo>
                  <a:lnTo>
                    <a:pt x="79" y="391"/>
                  </a:lnTo>
                  <a:lnTo>
                    <a:pt x="76" y="394"/>
                  </a:lnTo>
                  <a:cubicBezTo>
                    <a:pt x="76" y="397"/>
                    <a:pt x="79" y="397"/>
                    <a:pt x="79" y="399"/>
                  </a:cubicBezTo>
                  <a:cubicBezTo>
                    <a:pt x="81" y="397"/>
                    <a:pt x="84" y="394"/>
                    <a:pt x="84" y="391"/>
                  </a:cubicBezTo>
                  <a:close/>
                  <a:moveTo>
                    <a:pt x="79" y="366"/>
                  </a:moveTo>
                  <a:lnTo>
                    <a:pt x="84" y="366"/>
                  </a:lnTo>
                  <a:lnTo>
                    <a:pt x="84" y="360"/>
                  </a:lnTo>
                  <a:cubicBezTo>
                    <a:pt x="84" y="360"/>
                    <a:pt x="84" y="363"/>
                    <a:pt x="81" y="363"/>
                  </a:cubicBezTo>
                  <a:cubicBezTo>
                    <a:pt x="81" y="363"/>
                    <a:pt x="81" y="363"/>
                    <a:pt x="79" y="366"/>
                  </a:cubicBezTo>
                  <a:close/>
                  <a:moveTo>
                    <a:pt x="81" y="357"/>
                  </a:moveTo>
                  <a:lnTo>
                    <a:pt x="87" y="357"/>
                  </a:lnTo>
                  <a:lnTo>
                    <a:pt x="87" y="354"/>
                  </a:lnTo>
                  <a:cubicBezTo>
                    <a:pt x="84" y="357"/>
                    <a:pt x="81" y="357"/>
                    <a:pt x="81" y="357"/>
                  </a:cubicBezTo>
                  <a:close/>
                  <a:moveTo>
                    <a:pt x="90" y="377"/>
                  </a:moveTo>
                  <a:cubicBezTo>
                    <a:pt x="90" y="374"/>
                    <a:pt x="87" y="374"/>
                    <a:pt x="87" y="374"/>
                  </a:cubicBezTo>
                  <a:lnTo>
                    <a:pt x="84" y="377"/>
                  </a:lnTo>
                  <a:lnTo>
                    <a:pt x="87" y="380"/>
                  </a:lnTo>
                  <a:lnTo>
                    <a:pt x="90" y="380"/>
                  </a:lnTo>
                  <a:lnTo>
                    <a:pt x="90" y="377"/>
                  </a:lnTo>
                  <a:close/>
                  <a:moveTo>
                    <a:pt x="95" y="39"/>
                  </a:moveTo>
                  <a:lnTo>
                    <a:pt x="93" y="45"/>
                  </a:lnTo>
                  <a:cubicBezTo>
                    <a:pt x="93" y="47"/>
                    <a:pt x="92" y="47"/>
                    <a:pt x="91" y="48"/>
                  </a:cubicBezTo>
                  <a:cubicBezTo>
                    <a:pt x="92" y="48"/>
                    <a:pt x="93" y="49"/>
                    <a:pt x="93" y="51"/>
                  </a:cubicBezTo>
                  <a:cubicBezTo>
                    <a:pt x="93" y="48"/>
                    <a:pt x="95" y="48"/>
                    <a:pt x="95" y="45"/>
                  </a:cubicBezTo>
                  <a:cubicBezTo>
                    <a:pt x="95" y="42"/>
                    <a:pt x="98" y="42"/>
                    <a:pt x="98" y="39"/>
                  </a:cubicBezTo>
                  <a:lnTo>
                    <a:pt x="95" y="39"/>
                  </a:lnTo>
                  <a:lnTo>
                    <a:pt x="93" y="34"/>
                  </a:lnTo>
                  <a:cubicBezTo>
                    <a:pt x="90" y="35"/>
                    <a:pt x="90" y="37"/>
                    <a:pt x="93" y="39"/>
                  </a:cubicBezTo>
                  <a:lnTo>
                    <a:pt x="92" y="40"/>
                  </a:lnTo>
                  <a:cubicBezTo>
                    <a:pt x="93" y="39"/>
                    <a:pt x="94" y="39"/>
                    <a:pt x="95" y="39"/>
                  </a:cubicBezTo>
                  <a:close/>
                  <a:moveTo>
                    <a:pt x="101" y="42"/>
                  </a:moveTo>
                  <a:lnTo>
                    <a:pt x="104" y="42"/>
                  </a:lnTo>
                  <a:lnTo>
                    <a:pt x="107" y="42"/>
                  </a:lnTo>
                  <a:lnTo>
                    <a:pt x="107" y="39"/>
                  </a:lnTo>
                  <a:lnTo>
                    <a:pt x="104" y="39"/>
                  </a:lnTo>
                  <a:lnTo>
                    <a:pt x="101" y="39"/>
                  </a:lnTo>
                  <a:lnTo>
                    <a:pt x="101" y="42"/>
                  </a:lnTo>
                  <a:close/>
                  <a:moveTo>
                    <a:pt x="90" y="394"/>
                  </a:moveTo>
                  <a:cubicBezTo>
                    <a:pt x="87" y="394"/>
                    <a:pt x="87" y="397"/>
                    <a:pt x="87" y="397"/>
                  </a:cubicBezTo>
                  <a:lnTo>
                    <a:pt x="90" y="394"/>
                  </a:lnTo>
                  <a:close/>
                  <a:moveTo>
                    <a:pt x="93" y="430"/>
                  </a:moveTo>
                  <a:cubicBezTo>
                    <a:pt x="93" y="428"/>
                    <a:pt x="95" y="428"/>
                    <a:pt x="95" y="428"/>
                  </a:cubicBezTo>
                  <a:lnTo>
                    <a:pt x="90" y="422"/>
                  </a:lnTo>
                  <a:cubicBezTo>
                    <a:pt x="93" y="428"/>
                    <a:pt x="93" y="430"/>
                    <a:pt x="93" y="430"/>
                  </a:cubicBezTo>
                  <a:close/>
                  <a:moveTo>
                    <a:pt x="93" y="408"/>
                  </a:moveTo>
                  <a:lnTo>
                    <a:pt x="93" y="411"/>
                  </a:lnTo>
                  <a:cubicBezTo>
                    <a:pt x="95" y="414"/>
                    <a:pt x="98" y="411"/>
                    <a:pt x="93" y="408"/>
                  </a:cubicBezTo>
                  <a:close/>
                  <a:moveTo>
                    <a:pt x="98" y="45"/>
                  </a:moveTo>
                  <a:cubicBezTo>
                    <a:pt x="98" y="48"/>
                    <a:pt x="101" y="51"/>
                    <a:pt x="101" y="51"/>
                  </a:cubicBezTo>
                  <a:lnTo>
                    <a:pt x="101" y="53"/>
                  </a:lnTo>
                  <a:lnTo>
                    <a:pt x="101" y="56"/>
                  </a:lnTo>
                  <a:cubicBezTo>
                    <a:pt x="104" y="59"/>
                    <a:pt x="107" y="62"/>
                    <a:pt x="112" y="56"/>
                  </a:cubicBezTo>
                  <a:cubicBezTo>
                    <a:pt x="110" y="51"/>
                    <a:pt x="104" y="45"/>
                    <a:pt x="98" y="45"/>
                  </a:cubicBezTo>
                  <a:close/>
                  <a:moveTo>
                    <a:pt x="112" y="430"/>
                  </a:moveTo>
                  <a:cubicBezTo>
                    <a:pt x="110" y="433"/>
                    <a:pt x="107" y="433"/>
                    <a:pt x="104" y="436"/>
                  </a:cubicBezTo>
                  <a:lnTo>
                    <a:pt x="107" y="439"/>
                  </a:lnTo>
                  <a:cubicBezTo>
                    <a:pt x="107" y="442"/>
                    <a:pt x="107" y="442"/>
                    <a:pt x="110" y="445"/>
                  </a:cubicBezTo>
                  <a:cubicBezTo>
                    <a:pt x="112" y="442"/>
                    <a:pt x="112" y="436"/>
                    <a:pt x="112" y="430"/>
                  </a:cubicBezTo>
                  <a:close/>
                  <a:moveTo>
                    <a:pt x="115" y="447"/>
                  </a:moveTo>
                  <a:lnTo>
                    <a:pt x="112" y="447"/>
                  </a:lnTo>
                  <a:cubicBezTo>
                    <a:pt x="110" y="447"/>
                    <a:pt x="110" y="447"/>
                    <a:pt x="107" y="450"/>
                  </a:cubicBezTo>
                  <a:cubicBezTo>
                    <a:pt x="110" y="450"/>
                    <a:pt x="110" y="453"/>
                    <a:pt x="112" y="453"/>
                  </a:cubicBezTo>
                  <a:cubicBezTo>
                    <a:pt x="112" y="453"/>
                    <a:pt x="115" y="450"/>
                    <a:pt x="115" y="447"/>
                  </a:cubicBezTo>
                  <a:close/>
                  <a:moveTo>
                    <a:pt x="115" y="73"/>
                  </a:moveTo>
                  <a:cubicBezTo>
                    <a:pt x="112" y="73"/>
                    <a:pt x="112" y="73"/>
                    <a:pt x="110" y="76"/>
                  </a:cubicBezTo>
                  <a:cubicBezTo>
                    <a:pt x="110" y="79"/>
                    <a:pt x="112" y="79"/>
                    <a:pt x="115" y="79"/>
                  </a:cubicBezTo>
                  <a:lnTo>
                    <a:pt x="115" y="73"/>
                  </a:lnTo>
                  <a:close/>
                  <a:moveTo>
                    <a:pt x="118" y="439"/>
                  </a:moveTo>
                  <a:lnTo>
                    <a:pt x="115" y="439"/>
                  </a:lnTo>
                  <a:cubicBezTo>
                    <a:pt x="115" y="445"/>
                    <a:pt x="115" y="447"/>
                    <a:pt x="121" y="447"/>
                  </a:cubicBezTo>
                  <a:lnTo>
                    <a:pt x="118" y="439"/>
                  </a:lnTo>
                  <a:close/>
                  <a:moveTo>
                    <a:pt x="115" y="59"/>
                  </a:moveTo>
                  <a:lnTo>
                    <a:pt x="115" y="62"/>
                  </a:lnTo>
                  <a:lnTo>
                    <a:pt x="115" y="68"/>
                  </a:lnTo>
                  <a:lnTo>
                    <a:pt x="121" y="62"/>
                  </a:lnTo>
                  <a:cubicBezTo>
                    <a:pt x="121" y="62"/>
                    <a:pt x="118" y="59"/>
                    <a:pt x="115" y="59"/>
                  </a:cubicBezTo>
                  <a:close/>
                  <a:moveTo>
                    <a:pt x="127" y="79"/>
                  </a:moveTo>
                  <a:cubicBezTo>
                    <a:pt x="124" y="79"/>
                    <a:pt x="121" y="79"/>
                    <a:pt x="118" y="82"/>
                  </a:cubicBezTo>
                  <a:cubicBezTo>
                    <a:pt x="121" y="85"/>
                    <a:pt x="124" y="85"/>
                    <a:pt x="127" y="85"/>
                  </a:cubicBezTo>
                  <a:lnTo>
                    <a:pt x="127" y="79"/>
                  </a:lnTo>
                  <a:close/>
                  <a:moveTo>
                    <a:pt x="118" y="70"/>
                  </a:moveTo>
                  <a:cubicBezTo>
                    <a:pt x="121" y="73"/>
                    <a:pt x="124" y="76"/>
                    <a:pt x="124" y="79"/>
                  </a:cubicBezTo>
                  <a:lnTo>
                    <a:pt x="124" y="73"/>
                  </a:lnTo>
                  <a:cubicBezTo>
                    <a:pt x="124" y="73"/>
                    <a:pt x="121" y="70"/>
                    <a:pt x="118" y="70"/>
                  </a:cubicBezTo>
                  <a:close/>
                  <a:moveTo>
                    <a:pt x="121" y="104"/>
                  </a:moveTo>
                  <a:cubicBezTo>
                    <a:pt x="121" y="107"/>
                    <a:pt x="121" y="110"/>
                    <a:pt x="118" y="113"/>
                  </a:cubicBezTo>
                  <a:lnTo>
                    <a:pt x="121" y="113"/>
                  </a:lnTo>
                  <a:lnTo>
                    <a:pt x="127" y="113"/>
                  </a:lnTo>
                  <a:lnTo>
                    <a:pt x="129" y="113"/>
                  </a:lnTo>
                  <a:lnTo>
                    <a:pt x="121" y="104"/>
                  </a:lnTo>
                  <a:cubicBezTo>
                    <a:pt x="124" y="104"/>
                    <a:pt x="127" y="101"/>
                    <a:pt x="127" y="99"/>
                  </a:cubicBezTo>
                  <a:lnTo>
                    <a:pt x="121" y="104"/>
                  </a:lnTo>
                  <a:close/>
                  <a:moveTo>
                    <a:pt x="121" y="127"/>
                  </a:moveTo>
                  <a:cubicBezTo>
                    <a:pt x="124" y="127"/>
                    <a:pt x="124" y="130"/>
                    <a:pt x="124" y="130"/>
                  </a:cubicBezTo>
                  <a:lnTo>
                    <a:pt x="129" y="132"/>
                  </a:lnTo>
                  <a:cubicBezTo>
                    <a:pt x="127" y="135"/>
                    <a:pt x="129" y="138"/>
                    <a:pt x="129" y="138"/>
                  </a:cubicBezTo>
                  <a:cubicBezTo>
                    <a:pt x="129" y="138"/>
                    <a:pt x="129" y="141"/>
                    <a:pt x="132" y="141"/>
                  </a:cubicBezTo>
                  <a:lnTo>
                    <a:pt x="135" y="138"/>
                  </a:lnTo>
                  <a:cubicBezTo>
                    <a:pt x="135" y="138"/>
                    <a:pt x="132" y="135"/>
                    <a:pt x="132" y="132"/>
                  </a:cubicBezTo>
                  <a:lnTo>
                    <a:pt x="132" y="121"/>
                  </a:lnTo>
                  <a:lnTo>
                    <a:pt x="129" y="121"/>
                  </a:lnTo>
                  <a:lnTo>
                    <a:pt x="121" y="127"/>
                  </a:lnTo>
                  <a:close/>
                  <a:moveTo>
                    <a:pt x="124" y="152"/>
                  </a:moveTo>
                  <a:lnTo>
                    <a:pt x="127" y="155"/>
                  </a:lnTo>
                  <a:cubicBezTo>
                    <a:pt x="127" y="155"/>
                    <a:pt x="129" y="155"/>
                    <a:pt x="129" y="158"/>
                  </a:cubicBezTo>
                  <a:cubicBezTo>
                    <a:pt x="132" y="161"/>
                    <a:pt x="135" y="158"/>
                    <a:pt x="138" y="155"/>
                  </a:cubicBezTo>
                  <a:cubicBezTo>
                    <a:pt x="135" y="155"/>
                    <a:pt x="135" y="152"/>
                    <a:pt x="135" y="152"/>
                  </a:cubicBezTo>
                  <a:cubicBezTo>
                    <a:pt x="132" y="152"/>
                    <a:pt x="132" y="149"/>
                    <a:pt x="129" y="152"/>
                  </a:cubicBezTo>
                  <a:cubicBezTo>
                    <a:pt x="129" y="149"/>
                    <a:pt x="127" y="152"/>
                    <a:pt x="124" y="152"/>
                  </a:cubicBezTo>
                  <a:close/>
                  <a:moveTo>
                    <a:pt x="141" y="456"/>
                  </a:moveTo>
                  <a:lnTo>
                    <a:pt x="135" y="456"/>
                  </a:lnTo>
                  <a:lnTo>
                    <a:pt x="135" y="450"/>
                  </a:lnTo>
                  <a:lnTo>
                    <a:pt x="129" y="450"/>
                  </a:lnTo>
                  <a:lnTo>
                    <a:pt x="127" y="450"/>
                  </a:lnTo>
                  <a:lnTo>
                    <a:pt x="121" y="450"/>
                  </a:lnTo>
                  <a:lnTo>
                    <a:pt x="124" y="453"/>
                  </a:lnTo>
                  <a:lnTo>
                    <a:pt x="124" y="459"/>
                  </a:lnTo>
                  <a:lnTo>
                    <a:pt x="124" y="464"/>
                  </a:lnTo>
                  <a:cubicBezTo>
                    <a:pt x="127" y="462"/>
                    <a:pt x="129" y="462"/>
                    <a:pt x="132" y="462"/>
                  </a:cubicBezTo>
                  <a:cubicBezTo>
                    <a:pt x="137" y="458"/>
                    <a:pt x="140" y="457"/>
                    <a:pt x="142" y="457"/>
                  </a:cubicBezTo>
                  <a:lnTo>
                    <a:pt x="141" y="456"/>
                  </a:lnTo>
                  <a:close/>
                  <a:moveTo>
                    <a:pt x="124" y="85"/>
                  </a:moveTo>
                  <a:lnTo>
                    <a:pt x="129" y="90"/>
                  </a:lnTo>
                  <a:cubicBezTo>
                    <a:pt x="132" y="90"/>
                    <a:pt x="132" y="87"/>
                    <a:pt x="132" y="87"/>
                  </a:cubicBezTo>
                  <a:cubicBezTo>
                    <a:pt x="129" y="87"/>
                    <a:pt x="129" y="85"/>
                    <a:pt x="124" y="85"/>
                  </a:cubicBezTo>
                  <a:close/>
                  <a:moveTo>
                    <a:pt x="127" y="141"/>
                  </a:moveTo>
                  <a:cubicBezTo>
                    <a:pt x="127" y="144"/>
                    <a:pt x="127" y="144"/>
                    <a:pt x="129" y="144"/>
                  </a:cubicBezTo>
                  <a:lnTo>
                    <a:pt x="127" y="141"/>
                  </a:lnTo>
                  <a:close/>
                  <a:moveTo>
                    <a:pt x="129" y="436"/>
                  </a:moveTo>
                  <a:lnTo>
                    <a:pt x="127" y="436"/>
                  </a:lnTo>
                  <a:cubicBezTo>
                    <a:pt x="127" y="436"/>
                    <a:pt x="132" y="439"/>
                    <a:pt x="129" y="436"/>
                  </a:cubicBezTo>
                  <a:close/>
                  <a:moveTo>
                    <a:pt x="129" y="166"/>
                  </a:moveTo>
                  <a:lnTo>
                    <a:pt x="132" y="169"/>
                  </a:lnTo>
                  <a:cubicBezTo>
                    <a:pt x="132" y="164"/>
                    <a:pt x="129" y="164"/>
                    <a:pt x="129" y="166"/>
                  </a:cubicBezTo>
                  <a:close/>
                  <a:moveTo>
                    <a:pt x="129" y="121"/>
                  </a:moveTo>
                  <a:lnTo>
                    <a:pt x="135" y="118"/>
                  </a:lnTo>
                  <a:cubicBezTo>
                    <a:pt x="127" y="116"/>
                    <a:pt x="129" y="118"/>
                    <a:pt x="129" y="121"/>
                  </a:cubicBezTo>
                  <a:close/>
                  <a:moveTo>
                    <a:pt x="129" y="121"/>
                  </a:moveTo>
                  <a:cubicBezTo>
                    <a:pt x="129" y="118"/>
                    <a:pt x="132" y="118"/>
                    <a:pt x="129" y="121"/>
                  </a:cubicBezTo>
                  <a:close/>
                  <a:moveTo>
                    <a:pt x="132" y="99"/>
                  </a:moveTo>
                  <a:cubicBezTo>
                    <a:pt x="129" y="99"/>
                    <a:pt x="129" y="99"/>
                    <a:pt x="129" y="101"/>
                  </a:cubicBezTo>
                  <a:cubicBezTo>
                    <a:pt x="129" y="101"/>
                    <a:pt x="132" y="101"/>
                    <a:pt x="132" y="104"/>
                  </a:cubicBezTo>
                  <a:lnTo>
                    <a:pt x="132" y="107"/>
                  </a:lnTo>
                  <a:lnTo>
                    <a:pt x="135" y="107"/>
                  </a:lnTo>
                  <a:lnTo>
                    <a:pt x="132" y="99"/>
                  </a:lnTo>
                  <a:close/>
                  <a:moveTo>
                    <a:pt x="135" y="183"/>
                  </a:moveTo>
                  <a:lnTo>
                    <a:pt x="135" y="189"/>
                  </a:lnTo>
                  <a:lnTo>
                    <a:pt x="138" y="189"/>
                  </a:lnTo>
                  <a:lnTo>
                    <a:pt x="141" y="186"/>
                  </a:lnTo>
                  <a:lnTo>
                    <a:pt x="141" y="183"/>
                  </a:lnTo>
                  <a:cubicBezTo>
                    <a:pt x="146" y="180"/>
                    <a:pt x="146" y="180"/>
                    <a:pt x="143" y="175"/>
                  </a:cubicBezTo>
                  <a:lnTo>
                    <a:pt x="135" y="183"/>
                  </a:lnTo>
                  <a:close/>
                  <a:moveTo>
                    <a:pt x="141" y="172"/>
                  </a:moveTo>
                  <a:cubicBezTo>
                    <a:pt x="141" y="172"/>
                    <a:pt x="138" y="172"/>
                    <a:pt x="138" y="169"/>
                  </a:cubicBezTo>
                  <a:lnTo>
                    <a:pt x="138" y="172"/>
                  </a:lnTo>
                  <a:lnTo>
                    <a:pt x="138" y="175"/>
                  </a:lnTo>
                  <a:cubicBezTo>
                    <a:pt x="138" y="175"/>
                    <a:pt x="141" y="175"/>
                    <a:pt x="141" y="172"/>
                  </a:cubicBezTo>
                  <a:close/>
                  <a:moveTo>
                    <a:pt x="141" y="439"/>
                  </a:moveTo>
                  <a:lnTo>
                    <a:pt x="138" y="439"/>
                  </a:lnTo>
                  <a:lnTo>
                    <a:pt x="138" y="442"/>
                  </a:lnTo>
                  <a:cubicBezTo>
                    <a:pt x="141" y="445"/>
                    <a:pt x="141" y="442"/>
                    <a:pt x="141" y="439"/>
                  </a:cubicBezTo>
                  <a:close/>
                  <a:moveTo>
                    <a:pt x="138" y="149"/>
                  </a:moveTo>
                  <a:cubicBezTo>
                    <a:pt x="143" y="152"/>
                    <a:pt x="143" y="149"/>
                    <a:pt x="143" y="147"/>
                  </a:cubicBezTo>
                  <a:cubicBezTo>
                    <a:pt x="141" y="147"/>
                    <a:pt x="141" y="149"/>
                    <a:pt x="138" y="149"/>
                  </a:cubicBezTo>
                  <a:close/>
                  <a:moveTo>
                    <a:pt x="143" y="257"/>
                  </a:moveTo>
                  <a:lnTo>
                    <a:pt x="143" y="251"/>
                  </a:lnTo>
                  <a:lnTo>
                    <a:pt x="141" y="251"/>
                  </a:lnTo>
                  <a:lnTo>
                    <a:pt x="138" y="251"/>
                  </a:lnTo>
                  <a:cubicBezTo>
                    <a:pt x="141" y="254"/>
                    <a:pt x="141" y="257"/>
                    <a:pt x="143" y="257"/>
                  </a:cubicBezTo>
                  <a:close/>
                  <a:moveTo>
                    <a:pt x="141" y="217"/>
                  </a:moveTo>
                  <a:lnTo>
                    <a:pt x="141" y="223"/>
                  </a:lnTo>
                  <a:lnTo>
                    <a:pt x="138" y="223"/>
                  </a:lnTo>
                  <a:cubicBezTo>
                    <a:pt x="143" y="226"/>
                    <a:pt x="146" y="228"/>
                    <a:pt x="146" y="231"/>
                  </a:cubicBezTo>
                  <a:cubicBezTo>
                    <a:pt x="149" y="231"/>
                    <a:pt x="149" y="228"/>
                    <a:pt x="152" y="226"/>
                  </a:cubicBezTo>
                  <a:lnTo>
                    <a:pt x="152" y="223"/>
                  </a:lnTo>
                  <a:lnTo>
                    <a:pt x="149" y="223"/>
                  </a:lnTo>
                  <a:lnTo>
                    <a:pt x="146" y="226"/>
                  </a:lnTo>
                  <a:lnTo>
                    <a:pt x="143" y="223"/>
                  </a:lnTo>
                  <a:lnTo>
                    <a:pt x="141" y="217"/>
                  </a:lnTo>
                  <a:close/>
                  <a:moveTo>
                    <a:pt x="141" y="231"/>
                  </a:moveTo>
                  <a:lnTo>
                    <a:pt x="141" y="234"/>
                  </a:lnTo>
                  <a:lnTo>
                    <a:pt x="143" y="234"/>
                  </a:lnTo>
                  <a:cubicBezTo>
                    <a:pt x="141" y="234"/>
                    <a:pt x="141" y="234"/>
                    <a:pt x="141" y="231"/>
                  </a:cubicBezTo>
                  <a:close/>
                  <a:moveTo>
                    <a:pt x="146" y="189"/>
                  </a:moveTo>
                  <a:lnTo>
                    <a:pt x="141" y="189"/>
                  </a:lnTo>
                  <a:lnTo>
                    <a:pt x="141" y="195"/>
                  </a:lnTo>
                  <a:lnTo>
                    <a:pt x="141" y="200"/>
                  </a:lnTo>
                  <a:lnTo>
                    <a:pt x="143" y="200"/>
                  </a:lnTo>
                  <a:lnTo>
                    <a:pt x="143" y="195"/>
                  </a:lnTo>
                  <a:cubicBezTo>
                    <a:pt x="143" y="195"/>
                    <a:pt x="146" y="192"/>
                    <a:pt x="146" y="189"/>
                  </a:cubicBezTo>
                  <a:close/>
                  <a:moveTo>
                    <a:pt x="149" y="447"/>
                  </a:moveTo>
                  <a:lnTo>
                    <a:pt x="146" y="436"/>
                  </a:lnTo>
                  <a:cubicBezTo>
                    <a:pt x="143" y="439"/>
                    <a:pt x="141" y="439"/>
                    <a:pt x="143" y="442"/>
                  </a:cubicBezTo>
                  <a:lnTo>
                    <a:pt x="143" y="447"/>
                  </a:lnTo>
                  <a:lnTo>
                    <a:pt x="149" y="447"/>
                  </a:lnTo>
                  <a:close/>
                  <a:moveTo>
                    <a:pt x="158" y="274"/>
                  </a:moveTo>
                  <a:lnTo>
                    <a:pt x="155" y="268"/>
                  </a:lnTo>
                  <a:cubicBezTo>
                    <a:pt x="155" y="265"/>
                    <a:pt x="158" y="265"/>
                    <a:pt x="158" y="265"/>
                  </a:cubicBezTo>
                  <a:cubicBezTo>
                    <a:pt x="158" y="259"/>
                    <a:pt x="155" y="257"/>
                    <a:pt x="152" y="257"/>
                  </a:cubicBezTo>
                  <a:lnTo>
                    <a:pt x="152" y="262"/>
                  </a:lnTo>
                  <a:cubicBezTo>
                    <a:pt x="152" y="262"/>
                    <a:pt x="149" y="262"/>
                    <a:pt x="149" y="259"/>
                  </a:cubicBezTo>
                  <a:lnTo>
                    <a:pt x="149" y="265"/>
                  </a:lnTo>
                  <a:lnTo>
                    <a:pt x="146" y="268"/>
                  </a:lnTo>
                  <a:cubicBezTo>
                    <a:pt x="149" y="268"/>
                    <a:pt x="152" y="271"/>
                    <a:pt x="152" y="271"/>
                  </a:cubicBezTo>
                  <a:cubicBezTo>
                    <a:pt x="152" y="271"/>
                    <a:pt x="155" y="274"/>
                    <a:pt x="158" y="274"/>
                  </a:cubicBezTo>
                  <a:close/>
                  <a:moveTo>
                    <a:pt x="146" y="220"/>
                  </a:moveTo>
                  <a:cubicBezTo>
                    <a:pt x="146" y="223"/>
                    <a:pt x="149" y="220"/>
                    <a:pt x="146" y="220"/>
                  </a:cubicBezTo>
                  <a:close/>
                  <a:moveTo>
                    <a:pt x="152" y="195"/>
                  </a:moveTo>
                  <a:cubicBezTo>
                    <a:pt x="149" y="192"/>
                    <a:pt x="149" y="195"/>
                    <a:pt x="149" y="195"/>
                  </a:cubicBezTo>
                  <a:lnTo>
                    <a:pt x="152" y="195"/>
                  </a:lnTo>
                  <a:close/>
                  <a:moveTo>
                    <a:pt x="158" y="445"/>
                  </a:moveTo>
                  <a:cubicBezTo>
                    <a:pt x="149" y="447"/>
                    <a:pt x="146" y="453"/>
                    <a:pt x="146" y="456"/>
                  </a:cubicBezTo>
                  <a:lnTo>
                    <a:pt x="149" y="456"/>
                  </a:lnTo>
                  <a:lnTo>
                    <a:pt x="149" y="450"/>
                  </a:lnTo>
                  <a:cubicBezTo>
                    <a:pt x="158" y="447"/>
                    <a:pt x="158" y="450"/>
                    <a:pt x="158" y="445"/>
                  </a:cubicBezTo>
                  <a:close/>
                  <a:moveTo>
                    <a:pt x="149" y="248"/>
                  </a:moveTo>
                  <a:lnTo>
                    <a:pt x="152" y="251"/>
                  </a:lnTo>
                  <a:cubicBezTo>
                    <a:pt x="152" y="248"/>
                    <a:pt x="155" y="248"/>
                    <a:pt x="155" y="245"/>
                  </a:cubicBezTo>
                  <a:lnTo>
                    <a:pt x="155" y="240"/>
                  </a:lnTo>
                  <a:cubicBezTo>
                    <a:pt x="155" y="242"/>
                    <a:pt x="152" y="242"/>
                    <a:pt x="152" y="242"/>
                  </a:cubicBezTo>
                  <a:lnTo>
                    <a:pt x="149" y="248"/>
                  </a:lnTo>
                  <a:close/>
                  <a:moveTo>
                    <a:pt x="158" y="307"/>
                  </a:moveTo>
                  <a:cubicBezTo>
                    <a:pt x="158" y="305"/>
                    <a:pt x="155" y="305"/>
                    <a:pt x="158" y="307"/>
                  </a:cubicBezTo>
                  <a:close/>
                  <a:moveTo>
                    <a:pt x="163" y="430"/>
                  </a:moveTo>
                  <a:cubicBezTo>
                    <a:pt x="163" y="430"/>
                    <a:pt x="160" y="430"/>
                    <a:pt x="163" y="430"/>
                  </a:cubicBezTo>
                  <a:cubicBezTo>
                    <a:pt x="160" y="433"/>
                    <a:pt x="160" y="433"/>
                    <a:pt x="158" y="433"/>
                  </a:cubicBezTo>
                  <a:lnTo>
                    <a:pt x="152" y="436"/>
                  </a:lnTo>
                  <a:cubicBezTo>
                    <a:pt x="152" y="439"/>
                    <a:pt x="155" y="439"/>
                    <a:pt x="155" y="439"/>
                  </a:cubicBezTo>
                  <a:cubicBezTo>
                    <a:pt x="155" y="436"/>
                    <a:pt x="158" y="433"/>
                    <a:pt x="160" y="433"/>
                  </a:cubicBezTo>
                  <a:cubicBezTo>
                    <a:pt x="163" y="436"/>
                    <a:pt x="166" y="433"/>
                    <a:pt x="163" y="430"/>
                  </a:cubicBezTo>
                  <a:close/>
                  <a:moveTo>
                    <a:pt x="155" y="338"/>
                  </a:moveTo>
                  <a:cubicBezTo>
                    <a:pt x="158" y="338"/>
                    <a:pt x="158" y="336"/>
                    <a:pt x="158" y="336"/>
                  </a:cubicBezTo>
                  <a:lnTo>
                    <a:pt x="155" y="338"/>
                  </a:lnTo>
                  <a:close/>
                  <a:moveTo>
                    <a:pt x="174" y="307"/>
                  </a:moveTo>
                  <a:cubicBezTo>
                    <a:pt x="172" y="305"/>
                    <a:pt x="172" y="305"/>
                    <a:pt x="172" y="302"/>
                  </a:cubicBezTo>
                  <a:cubicBezTo>
                    <a:pt x="172" y="299"/>
                    <a:pt x="169" y="299"/>
                    <a:pt x="166" y="299"/>
                  </a:cubicBezTo>
                  <a:lnTo>
                    <a:pt x="165" y="297"/>
                  </a:lnTo>
                  <a:lnTo>
                    <a:pt x="163" y="299"/>
                  </a:lnTo>
                  <a:cubicBezTo>
                    <a:pt x="163" y="299"/>
                    <a:pt x="163" y="302"/>
                    <a:pt x="160" y="302"/>
                  </a:cubicBezTo>
                  <a:lnTo>
                    <a:pt x="166" y="302"/>
                  </a:lnTo>
                  <a:lnTo>
                    <a:pt x="166" y="305"/>
                  </a:lnTo>
                  <a:lnTo>
                    <a:pt x="158" y="302"/>
                  </a:lnTo>
                  <a:lnTo>
                    <a:pt x="158" y="305"/>
                  </a:lnTo>
                  <a:lnTo>
                    <a:pt x="169" y="307"/>
                  </a:lnTo>
                  <a:lnTo>
                    <a:pt x="169" y="313"/>
                  </a:lnTo>
                  <a:cubicBezTo>
                    <a:pt x="169" y="313"/>
                    <a:pt x="172" y="307"/>
                    <a:pt x="174" y="307"/>
                  </a:cubicBezTo>
                  <a:close/>
                  <a:moveTo>
                    <a:pt x="163" y="296"/>
                  </a:moveTo>
                  <a:lnTo>
                    <a:pt x="172" y="296"/>
                  </a:lnTo>
                  <a:lnTo>
                    <a:pt x="166" y="290"/>
                  </a:lnTo>
                  <a:cubicBezTo>
                    <a:pt x="166" y="293"/>
                    <a:pt x="163" y="293"/>
                    <a:pt x="163" y="290"/>
                  </a:cubicBezTo>
                  <a:cubicBezTo>
                    <a:pt x="160" y="290"/>
                    <a:pt x="160" y="290"/>
                    <a:pt x="160" y="293"/>
                  </a:cubicBezTo>
                  <a:lnTo>
                    <a:pt x="163" y="293"/>
                  </a:lnTo>
                  <a:lnTo>
                    <a:pt x="166" y="296"/>
                  </a:lnTo>
                  <a:lnTo>
                    <a:pt x="165" y="297"/>
                  </a:lnTo>
                  <a:lnTo>
                    <a:pt x="163" y="296"/>
                  </a:lnTo>
                  <a:close/>
                  <a:moveTo>
                    <a:pt x="160" y="333"/>
                  </a:moveTo>
                  <a:lnTo>
                    <a:pt x="160" y="327"/>
                  </a:lnTo>
                  <a:lnTo>
                    <a:pt x="158" y="327"/>
                  </a:lnTo>
                  <a:cubicBezTo>
                    <a:pt x="158" y="330"/>
                    <a:pt x="160" y="330"/>
                    <a:pt x="160" y="333"/>
                  </a:cubicBezTo>
                  <a:close/>
                  <a:moveTo>
                    <a:pt x="158" y="319"/>
                  </a:moveTo>
                  <a:lnTo>
                    <a:pt x="160" y="321"/>
                  </a:lnTo>
                  <a:lnTo>
                    <a:pt x="160" y="319"/>
                  </a:lnTo>
                  <a:lnTo>
                    <a:pt x="160" y="316"/>
                  </a:lnTo>
                  <a:cubicBezTo>
                    <a:pt x="160" y="313"/>
                    <a:pt x="158" y="313"/>
                    <a:pt x="158" y="313"/>
                  </a:cubicBezTo>
                  <a:lnTo>
                    <a:pt x="158" y="319"/>
                  </a:lnTo>
                  <a:close/>
                  <a:moveTo>
                    <a:pt x="177" y="330"/>
                  </a:moveTo>
                  <a:cubicBezTo>
                    <a:pt x="174" y="327"/>
                    <a:pt x="172" y="327"/>
                    <a:pt x="169" y="327"/>
                  </a:cubicBezTo>
                  <a:cubicBezTo>
                    <a:pt x="169" y="324"/>
                    <a:pt x="169" y="324"/>
                    <a:pt x="172" y="321"/>
                  </a:cubicBezTo>
                  <a:lnTo>
                    <a:pt x="163" y="321"/>
                  </a:lnTo>
                  <a:lnTo>
                    <a:pt x="163" y="324"/>
                  </a:lnTo>
                  <a:lnTo>
                    <a:pt x="169" y="324"/>
                  </a:lnTo>
                  <a:cubicBezTo>
                    <a:pt x="166" y="327"/>
                    <a:pt x="166" y="330"/>
                    <a:pt x="163" y="333"/>
                  </a:cubicBezTo>
                  <a:lnTo>
                    <a:pt x="163" y="338"/>
                  </a:lnTo>
                  <a:lnTo>
                    <a:pt x="163" y="341"/>
                  </a:lnTo>
                  <a:lnTo>
                    <a:pt x="160" y="341"/>
                  </a:lnTo>
                  <a:lnTo>
                    <a:pt x="160" y="350"/>
                  </a:lnTo>
                  <a:lnTo>
                    <a:pt x="163" y="350"/>
                  </a:lnTo>
                  <a:lnTo>
                    <a:pt x="166" y="347"/>
                  </a:lnTo>
                  <a:lnTo>
                    <a:pt x="169" y="338"/>
                  </a:lnTo>
                  <a:lnTo>
                    <a:pt x="166" y="336"/>
                  </a:lnTo>
                  <a:lnTo>
                    <a:pt x="163" y="333"/>
                  </a:lnTo>
                  <a:lnTo>
                    <a:pt x="169" y="333"/>
                  </a:lnTo>
                  <a:cubicBezTo>
                    <a:pt x="169" y="333"/>
                    <a:pt x="169" y="336"/>
                    <a:pt x="172" y="336"/>
                  </a:cubicBezTo>
                  <a:cubicBezTo>
                    <a:pt x="172" y="338"/>
                    <a:pt x="174" y="341"/>
                    <a:pt x="177" y="338"/>
                  </a:cubicBezTo>
                  <a:lnTo>
                    <a:pt x="180" y="338"/>
                  </a:lnTo>
                  <a:cubicBezTo>
                    <a:pt x="174" y="338"/>
                    <a:pt x="174" y="333"/>
                    <a:pt x="177" y="330"/>
                  </a:cubicBezTo>
                  <a:close/>
                  <a:moveTo>
                    <a:pt x="163" y="285"/>
                  </a:moveTo>
                  <a:cubicBezTo>
                    <a:pt x="166" y="285"/>
                    <a:pt x="166" y="285"/>
                    <a:pt x="169" y="282"/>
                  </a:cubicBezTo>
                  <a:cubicBezTo>
                    <a:pt x="169" y="279"/>
                    <a:pt x="166" y="279"/>
                    <a:pt x="163" y="279"/>
                  </a:cubicBezTo>
                  <a:lnTo>
                    <a:pt x="163" y="285"/>
                  </a:lnTo>
                  <a:close/>
                  <a:moveTo>
                    <a:pt x="166" y="360"/>
                  </a:moveTo>
                  <a:cubicBezTo>
                    <a:pt x="166" y="363"/>
                    <a:pt x="163" y="366"/>
                    <a:pt x="163" y="366"/>
                  </a:cubicBezTo>
                  <a:cubicBezTo>
                    <a:pt x="166" y="366"/>
                    <a:pt x="166" y="366"/>
                    <a:pt x="166" y="368"/>
                  </a:cubicBezTo>
                  <a:lnTo>
                    <a:pt x="166" y="371"/>
                  </a:lnTo>
                  <a:lnTo>
                    <a:pt x="166" y="374"/>
                  </a:lnTo>
                  <a:cubicBezTo>
                    <a:pt x="166" y="377"/>
                    <a:pt x="166" y="377"/>
                    <a:pt x="169" y="377"/>
                  </a:cubicBezTo>
                  <a:cubicBezTo>
                    <a:pt x="166" y="377"/>
                    <a:pt x="166" y="380"/>
                    <a:pt x="166" y="383"/>
                  </a:cubicBezTo>
                  <a:lnTo>
                    <a:pt x="169" y="385"/>
                  </a:lnTo>
                  <a:cubicBezTo>
                    <a:pt x="172" y="385"/>
                    <a:pt x="172" y="385"/>
                    <a:pt x="174" y="383"/>
                  </a:cubicBezTo>
                  <a:lnTo>
                    <a:pt x="177" y="383"/>
                  </a:lnTo>
                  <a:cubicBezTo>
                    <a:pt x="177" y="383"/>
                    <a:pt x="180" y="383"/>
                    <a:pt x="180" y="385"/>
                  </a:cubicBezTo>
                  <a:lnTo>
                    <a:pt x="180" y="380"/>
                  </a:lnTo>
                  <a:lnTo>
                    <a:pt x="180" y="377"/>
                  </a:lnTo>
                  <a:lnTo>
                    <a:pt x="174" y="377"/>
                  </a:lnTo>
                  <a:lnTo>
                    <a:pt x="169" y="377"/>
                  </a:lnTo>
                  <a:lnTo>
                    <a:pt x="169" y="368"/>
                  </a:lnTo>
                  <a:cubicBezTo>
                    <a:pt x="169" y="366"/>
                    <a:pt x="169" y="363"/>
                    <a:pt x="172" y="360"/>
                  </a:cubicBezTo>
                  <a:lnTo>
                    <a:pt x="169" y="360"/>
                  </a:lnTo>
                  <a:lnTo>
                    <a:pt x="169" y="353"/>
                  </a:lnTo>
                  <a:lnTo>
                    <a:pt x="166" y="353"/>
                  </a:lnTo>
                  <a:cubicBezTo>
                    <a:pt x="169" y="357"/>
                    <a:pt x="169" y="357"/>
                    <a:pt x="166" y="360"/>
                  </a:cubicBezTo>
                  <a:close/>
                  <a:moveTo>
                    <a:pt x="166" y="405"/>
                  </a:moveTo>
                  <a:lnTo>
                    <a:pt x="166" y="411"/>
                  </a:lnTo>
                  <a:lnTo>
                    <a:pt x="169" y="411"/>
                  </a:lnTo>
                  <a:cubicBezTo>
                    <a:pt x="169" y="411"/>
                    <a:pt x="166" y="408"/>
                    <a:pt x="166" y="405"/>
                  </a:cubicBezTo>
                  <a:close/>
                  <a:moveTo>
                    <a:pt x="174" y="433"/>
                  </a:moveTo>
                  <a:lnTo>
                    <a:pt x="166" y="433"/>
                  </a:lnTo>
                  <a:cubicBezTo>
                    <a:pt x="166" y="436"/>
                    <a:pt x="169" y="436"/>
                    <a:pt x="172" y="439"/>
                  </a:cubicBezTo>
                  <a:lnTo>
                    <a:pt x="174" y="439"/>
                  </a:lnTo>
                  <a:lnTo>
                    <a:pt x="177" y="442"/>
                  </a:lnTo>
                  <a:cubicBezTo>
                    <a:pt x="177" y="438"/>
                    <a:pt x="177" y="435"/>
                    <a:pt x="178" y="433"/>
                  </a:cubicBezTo>
                  <a:cubicBezTo>
                    <a:pt x="177" y="433"/>
                    <a:pt x="176" y="433"/>
                    <a:pt x="174" y="433"/>
                  </a:cubicBezTo>
                  <a:close/>
                  <a:moveTo>
                    <a:pt x="169" y="316"/>
                  </a:moveTo>
                  <a:lnTo>
                    <a:pt x="172" y="319"/>
                  </a:lnTo>
                  <a:lnTo>
                    <a:pt x="172" y="313"/>
                  </a:lnTo>
                  <a:cubicBezTo>
                    <a:pt x="169" y="313"/>
                    <a:pt x="169" y="313"/>
                    <a:pt x="169" y="316"/>
                  </a:cubicBezTo>
                  <a:close/>
                  <a:moveTo>
                    <a:pt x="177" y="397"/>
                  </a:moveTo>
                  <a:lnTo>
                    <a:pt x="172" y="397"/>
                  </a:lnTo>
                  <a:lnTo>
                    <a:pt x="166" y="397"/>
                  </a:lnTo>
                  <a:lnTo>
                    <a:pt x="172" y="402"/>
                  </a:lnTo>
                  <a:lnTo>
                    <a:pt x="172" y="405"/>
                  </a:lnTo>
                  <a:cubicBezTo>
                    <a:pt x="172" y="405"/>
                    <a:pt x="172" y="408"/>
                    <a:pt x="169" y="408"/>
                  </a:cubicBezTo>
                  <a:cubicBezTo>
                    <a:pt x="172" y="408"/>
                    <a:pt x="172" y="405"/>
                    <a:pt x="174" y="405"/>
                  </a:cubicBezTo>
                  <a:lnTo>
                    <a:pt x="177" y="405"/>
                  </a:lnTo>
                  <a:lnTo>
                    <a:pt x="180" y="405"/>
                  </a:lnTo>
                  <a:lnTo>
                    <a:pt x="177" y="397"/>
                  </a:lnTo>
                  <a:close/>
                  <a:moveTo>
                    <a:pt x="180" y="419"/>
                  </a:moveTo>
                  <a:cubicBezTo>
                    <a:pt x="177" y="419"/>
                    <a:pt x="177" y="419"/>
                    <a:pt x="177" y="422"/>
                  </a:cubicBezTo>
                  <a:lnTo>
                    <a:pt x="180" y="425"/>
                  </a:lnTo>
                  <a:lnTo>
                    <a:pt x="177" y="425"/>
                  </a:lnTo>
                  <a:lnTo>
                    <a:pt x="174" y="425"/>
                  </a:lnTo>
                  <a:lnTo>
                    <a:pt x="174" y="428"/>
                  </a:lnTo>
                  <a:lnTo>
                    <a:pt x="174" y="430"/>
                  </a:lnTo>
                  <a:cubicBezTo>
                    <a:pt x="180" y="428"/>
                    <a:pt x="183" y="425"/>
                    <a:pt x="180" y="419"/>
                  </a:cubicBezTo>
                  <a:close/>
                  <a:moveTo>
                    <a:pt x="183" y="360"/>
                  </a:moveTo>
                  <a:cubicBezTo>
                    <a:pt x="183" y="357"/>
                    <a:pt x="180" y="357"/>
                    <a:pt x="180" y="354"/>
                  </a:cubicBezTo>
                  <a:cubicBezTo>
                    <a:pt x="177" y="357"/>
                    <a:pt x="177" y="357"/>
                    <a:pt x="177" y="360"/>
                  </a:cubicBezTo>
                  <a:lnTo>
                    <a:pt x="180" y="360"/>
                  </a:lnTo>
                  <a:lnTo>
                    <a:pt x="183" y="360"/>
                  </a:lnTo>
                  <a:close/>
                  <a:moveTo>
                    <a:pt x="180" y="374"/>
                  </a:moveTo>
                  <a:lnTo>
                    <a:pt x="180" y="368"/>
                  </a:lnTo>
                  <a:lnTo>
                    <a:pt x="177" y="368"/>
                  </a:lnTo>
                  <a:cubicBezTo>
                    <a:pt x="180" y="371"/>
                    <a:pt x="180" y="371"/>
                    <a:pt x="180" y="3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9" name="Freeform 1460"/>
            <p:cNvSpPr>
              <a:spLocks noChangeArrowheads="1"/>
            </p:cNvSpPr>
            <p:nvPr/>
          </p:nvSpPr>
          <p:spPr bwMode="auto">
            <a:xfrm>
              <a:off x="4225925" y="2436813"/>
              <a:ext cx="73025" cy="173037"/>
            </a:xfrm>
            <a:custGeom>
              <a:avLst/>
              <a:gdLst>
                <a:gd name="T0" fmla="*/ 183 w 204"/>
                <a:gd name="T1" fmla="*/ 304 h 479"/>
                <a:gd name="T2" fmla="*/ 200 w 204"/>
                <a:gd name="T3" fmla="*/ 394 h 479"/>
                <a:gd name="T4" fmla="*/ 158 w 204"/>
                <a:gd name="T5" fmla="*/ 473 h 479"/>
                <a:gd name="T6" fmla="*/ 96 w 204"/>
                <a:gd name="T7" fmla="*/ 461 h 479"/>
                <a:gd name="T8" fmla="*/ 73 w 204"/>
                <a:gd name="T9" fmla="*/ 385 h 479"/>
                <a:gd name="T10" fmla="*/ 59 w 204"/>
                <a:gd name="T11" fmla="*/ 296 h 479"/>
                <a:gd name="T12" fmla="*/ 54 w 204"/>
                <a:gd name="T13" fmla="*/ 251 h 479"/>
                <a:gd name="T14" fmla="*/ 42 w 204"/>
                <a:gd name="T15" fmla="*/ 175 h 479"/>
                <a:gd name="T16" fmla="*/ 3 w 204"/>
                <a:gd name="T17" fmla="*/ 45 h 479"/>
                <a:gd name="T18" fmla="*/ 59 w 204"/>
                <a:gd name="T19" fmla="*/ 45 h 479"/>
                <a:gd name="T20" fmla="*/ 82 w 204"/>
                <a:gd name="T21" fmla="*/ 127 h 479"/>
                <a:gd name="T22" fmla="*/ 87 w 204"/>
                <a:gd name="T23" fmla="*/ 180 h 479"/>
                <a:gd name="T24" fmla="*/ 99 w 204"/>
                <a:gd name="T25" fmla="*/ 254 h 479"/>
                <a:gd name="T26" fmla="*/ 113 w 204"/>
                <a:gd name="T27" fmla="*/ 355 h 479"/>
                <a:gd name="T28" fmla="*/ 135 w 204"/>
                <a:gd name="T29" fmla="*/ 416 h 479"/>
                <a:gd name="T30" fmla="*/ 158 w 204"/>
                <a:gd name="T31" fmla="*/ 372 h 479"/>
                <a:gd name="T32" fmla="*/ 144 w 204"/>
                <a:gd name="T33" fmla="*/ 302 h 479"/>
                <a:gd name="T34" fmla="*/ 127 w 204"/>
                <a:gd name="T35" fmla="*/ 228 h 479"/>
                <a:gd name="T36" fmla="*/ 110 w 204"/>
                <a:gd name="T37" fmla="*/ 144 h 479"/>
                <a:gd name="T38" fmla="*/ 102 w 204"/>
                <a:gd name="T39" fmla="*/ 84 h 479"/>
                <a:gd name="T40" fmla="*/ 118 w 204"/>
                <a:gd name="T41" fmla="*/ 0 h 479"/>
                <a:gd name="T42" fmla="*/ 141 w 204"/>
                <a:gd name="T43" fmla="*/ 87 h 479"/>
                <a:gd name="T44" fmla="*/ 161 w 204"/>
                <a:gd name="T45" fmla="*/ 180 h 479"/>
                <a:gd name="T46" fmla="*/ 25 w 204"/>
                <a:gd name="T47" fmla="*/ 36 h 479"/>
                <a:gd name="T48" fmla="*/ 39 w 204"/>
                <a:gd name="T49" fmla="*/ 76 h 479"/>
                <a:gd name="T50" fmla="*/ 34 w 204"/>
                <a:gd name="T51" fmla="*/ 79 h 479"/>
                <a:gd name="T52" fmla="*/ 34 w 204"/>
                <a:gd name="T53" fmla="*/ 39 h 479"/>
                <a:gd name="T54" fmla="*/ 39 w 204"/>
                <a:gd name="T55" fmla="*/ 96 h 479"/>
                <a:gd name="T56" fmla="*/ 42 w 204"/>
                <a:gd name="T57" fmla="*/ 129 h 479"/>
                <a:gd name="T58" fmla="*/ 45 w 204"/>
                <a:gd name="T59" fmla="*/ 113 h 479"/>
                <a:gd name="T60" fmla="*/ 48 w 204"/>
                <a:gd name="T61" fmla="*/ 146 h 479"/>
                <a:gd name="T62" fmla="*/ 54 w 204"/>
                <a:gd name="T63" fmla="*/ 107 h 479"/>
                <a:gd name="T64" fmla="*/ 62 w 204"/>
                <a:gd name="T65" fmla="*/ 160 h 479"/>
                <a:gd name="T66" fmla="*/ 51 w 204"/>
                <a:gd name="T67" fmla="*/ 169 h 479"/>
                <a:gd name="T68" fmla="*/ 54 w 204"/>
                <a:gd name="T69" fmla="*/ 186 h 479"/>
                <a:gd name="T70" fmla="*/ 62 w 204"/>
                <a:gd name="T71" fmla="*/ 192 h 479"/>
                <a:gd name="T72" fmla="*/ 65 w 204"/>
                <a:gd name="T73" fmla="*/ 279 h 479"/>
                <a:gd name="T74" fmla="*/ 70 w 204"/>
                <a:gd name="T75" fmla="*/ 254 h 479"/>
                <a:gd name="T76" fmla="*/ 79 w 204"/>
                <a:gd name="T77" fmla="*/ 279 h 479"/>
                <a:gd name="T78" fmla="*/ 85 w 204"/>
                <a:gd name="T79" fmla="*/ 313 h 479"/>
                <a:gd name="T80" fmla="*/ 85 w 204"/>
                <a:gd name="T81" fmla="*/ 352 h 479"/>
                <a:gd name="T82" fmla="*/ 79 w 204"/>
                <a:gd name="T83" fmla="*/ 341 h 479"/>
                <a:gd name="T84" fmla="*/ 87 w 204"/>
                <a:gd name="T85" fmla="*/ 316 h 479"/>
                <a:gd name="T86" fmla="*/ 90 w 204"/>
                <a:gd name="T87" fmla="*/ 333 h 479"/>
                <a:gd name="T88" fmla="*/ 98 w 204"/>
                <a:gd name="T89" fmla="*/ 409 h 479"/>
                <a:gd name="T90" fmla="*/ 104 w 204"/>
                <a:gd name="T91" fmla="*/ 405 h 479"/>
                <a:gd name="T92" fmla="*/ 93 w 204"/>
                <a:gd name="T93" fmla="*/ 385 h 479"/>
                <a:gd name="T94" fmla="*/ 93 w 204"/>
                <a:gd name="T95" fmla="*/ 399 h 479"/>
                <a:gd name="T96" fmla="*/ 102 w 204"/>
                <a:gd name="T97" fmla="*/ 419 h 479"/>
                <a:gd name="T98" fmla="*/ 110 w 204"/>
                <a:gd name="T99" fmla="*/ 422 h 479"/>
                <a:gd name="T100" fmla="*/ 113 w 204"/>
                <a:gd name="T101" fmla="*/ 439 h 479"/>
                <a:gd name="T102" fmla="*/ 118 w 204"/>
                <a:gd name="T103" fmla="*/ 442 h 479"/>
                <a:gd name="T104" fmla="*/ 121 w 204"/>
                <a:gd name="T105" fmla="*/ 430 h 479"/>
                <a:gd name="T106" fmla="*/ 130 w 204"/>
                <a:gd name="T107" fmla="*/ 439 h 479"/>
                <a:gd name="T108" fmla="*/ 144 w 204"/>
                <a:gd name="T109" fmla="*/ 447 h 479"/>
                <a:gd name="T110" fmla="*/ 135 w 204"/>
                <a:gd name="T111" fmla="*/ 158 h 479"/>
                <a:gd name="T112" fmla="*/ 161 w 204"/>
                <a:gd name="T113" fmla="*/ 44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4" h="479">
                  <a:moveTo>
                    <a:pt x="175" y="228"/>
                  </a:moveTo>
                  <a:lnTo>
                    <a:pt x="175" y="231"/>
                  </a:lnTo>
                  <a:lnTo>
                    <a:pt x="175" y="237"/>
                  </a:lnTo>
                  <a:lnTo>
                    <a:pt x="175" y="242"/>
                  </a:lnTo>
                  <a:lnTo>
                    <a:pt x="175" y="248"/>
                  </a:lnTo>
                  <a:lnTo>
                    <a:pt x="175" y="254"/>
                  </a:lnTo>
                  <a:cubicBezTo>
                    <a:pt x="175" y="259"/>
                    <a:pt x="175" y="265"/>
                    <a:pt x="178" y="270"/>
                  </a:cubicBezTo>
                  <a:cubicBezTo>
                    <a:pt x="181" y="282"/>
                    <a:pt x="183" y="293"/>
                    <a:pt x="183" y="304"/>
                  </a:cubicBezTo>
                  <a:lnTo>
                    <a:pt x="183" y="307"/>
                  </a:lnTo>
                  <a:cubicBezTo>
                    <a:pt x="189" y="316"/>
                    <a:pt x="189" y="324"/>
                    <a:pt x="189" y="335"/>
                  </a:cubicBezTo>
                  <a:cubicBezTo>
                    <a:pt x="192" y="338"/>
                    <a:pt x="195" y="341"/>
                    <a:pt x="192" y="347"/>
                  </a:cubicBezTo>
                  <a:lnTo>
                    <a:pt x="192" y="355"/>
                  </a:lnTo>
                  <a:lnTo>
                    <a:pt x="192" y="364"/>
                  </a:lnTo>
                  <a:lnTo>
                    <a:pt x="195" y="381"/>
                  </a:lnTo>
                  <a:cubicBezTo>
                    <a:pt x="195" y="382"/>
                    <a:pt x="197" y="385"/>
                    <a:pt x="197" y="385"/>
                  </a:cubicBezTo>
                  <a:cubicBezTo>
                    <a:pt x="197" y="388"/>
                    <a:pt x="197" y="391"/>
                    <a:pt x="200" y="394"/>
                  </a:cubicBezTo>
                  <a:cubicBezTo>
                    <a:pt x="203" y="396"/>
                    <a:pt x="203" y="402"/>
                    <a:pt x="203" y="405"/>
                  </a:cubicBezTo>
                  <a:lnTo>
                    <a:pt x="203" y="411"/>
                  </a:lnTo>
                  <a:lnTo>
                    <a:pt x="203" y="416"/>
                  </a:lnTo>
                  <a:cubicBezTo>
                    <a:pt x="203" y="427"/>
                    <a:pt x="200" y="439"/>
                    <a:pt x="195" y="450"/>
                  </a:cubicBezTo>
                  <a:cubicBezTo>
                    <a:pt x="195" y="453"/>
                    <a:pt x="192" y="453"/>
                    <a:pt x="189" y="453"/>
                  </a:cubicBezTo>
                  <a:cubicBezTo>
                    <a:pt x="183" y="456"/>
                    <a:pt x="178" y="461"/>
                    <a:pt x="172" y="467"/>
                  </a:cubicBezTo>
                  <a:cubicBezTo>
                    <a:pt x="169" y="470"/>
                    <a:pt x="167" y="473"/>
                    <a:pt x="164" y="473"/>
                  </a:cubicBezTo>
                  <a:cubicBezTo>
                    <a:pt x="162" y="473"/>
                    <a:pt x="158" y="475"/>
                    <a:pt x="158" y="473"/>
                  </a:cubicBezTo>
                  <a:cubicBezTo>
                    <a:pt x="155" y="473"/>
                    <a:pt x="152" y="475"/>
                    <a:pt x="149" y="475"/>
                  </a:cubicBezTo>
                  <a:cubicBezTo>
                    <a:pt x="144" y="478"/>
                    <a:pt x="138" y="478"/>
                    <a:pt x="133" y="475"/>
                  </a:cubicBezTo>
                  <a:lnTo>
                    <a:pt x="127" y="475"/>
                  </a:lnTo>
                  <a:lnTo>
                    <a:pt x="118" y="475"/>
                  </a:lnTo>
                  <a:lnTo>
                    <a:pt x="116" y="473"/>
                  </a:lnTo>
                  <a:cubicBezTo>
                    <a:pt x="113" y="473"/>
                    <a:pt x="113" y="470"/>
                    <a:pt x="113" y="470"/>
                  </a:cubicBezTo>
                  <a:cubicBezTo>
                    <a:pt x="110" y="470"/>
                    <a:pt x="104" y="467"/>
                    <a:pt x="104" y="467"/>
                  </a:cubicBezTo>
                  <a:lnTo>
                    <a:pt x="96" y="461"/>
                  </a:lnTo>
                  <a:cubicBezTo>
                    <a:pt x="90" y="456"/>
                    <a:pt x="85" y="450"/>
                    <a:pt x="82" y="442"/>
                  </a:cubicBezTo>
                  <a:cubicBezTo>
                    <a:pt x="79" y="436"/>
                    <a:pt x="79" y="433"/>
                    <a:pt x="76" y="427"/>
                  </a:cubicBezTo>
                  <a:cubicBezTo>
                    <a:pt x="76" y="425"/>
                    <a:pt x="73" y="422"/>
                    <a:pt x="76" y="419"/>
                  </a:cubicBezTo>
                  <a:lnTo>
                    <a:pt x="76" y="411"/>
                  </a:lnTo>
                  <a:cubicBezTo>
                    <a:pt x="76" y="408"/>
                    <a:pt x="73" y="405"/>
                    <a:pt x="76" y="405"/>
                  </a:cubicBezTo>
                  <a:cubicBezTo>
                    <a:pt x="76" y="402"/>
                    <a:pt x="73" y="402"/>
                    <a:pt x="73" y="399"/>
                  </a:cubicBezTo>
                  <a:cubicBezTo>
                    <a:pt x="73" y="396"/>
                    <a:pt x="70" y="394"/>
                    <a:pt x="73" y="391"/>
                  </a:cubicBezTo>
                  <a:lnTo>
                    <a:pt x="73" y="385"/>
                  </a:lnTo>
                  <a:lnTo>
                    <a:pt x="73" y="381"/>
                  </a:lnTo>
                  <a:cubicBezTo>
                    <a:pt x="73" y="375"/>
                    <a:pt x="70" y="369"/>
                    <a:pt x="70" y="364"/>
                  </a:cubicBezTo>
                  <a:cubicBezTo>
                    <a:pt x="70" y="358"/>
                    <a:pt x="68" y="352"/>
                    <a:pt x="68" y="347"/>
                  </a:cubicBezTo>
                  <a:cubicBezTo>
                    <a:pt x="65" y="341"/>
                    <a:pt x="65" y="335"/>
                    <a:pt x="65" y="327"/>
                  </a:cubicBezTo>
                  <a:lnTo>
                    <a:pt x="65" y="318"/>
                  </a:lnTo>
                  <a:cubicBezTo>
                    <a:pt x="65" y="316"/>
                    <a:pt x="62" y="313"/>
                    <a:pt x="62" y="310"/>
                  </a:cubicBezTo>
                  <a:lnTo>
                    <a:pt x="62" y="302"/>
                  </a:lnTo>
                  <a:cubicBezTo>
                    <a:pt x="62" y="299"/>
                    <a:pt x="59" y="296"/>
                    <a:pt x="59" y="296"/>
                  </a:cubicBezTo>
                  <a:cubicBezTo>
                    <a:pt x="59" y="296"/>
                    <a:pt x="56" y="296"/>
                    <a:pt x="59" y="293"/>
                  </a:cubicBezTo>
                  <a:lnTo>
                    <a:pt x="59" y="285"/>
                  </a:lnTo>
                  <a:lnTo>
                    <a:pt x="59" y="282"/>
                  </a:lnTo>
                  <a:cubicBezTo>
                    <a:pt x="56" y="279"/>
                    <a:pt x="54" y="276"/>
                    <a:pt x="56" y="273"/>
                  </a:cubicBezTo>
                  <a:cubicBezTo>
                    <a:pt x="59" y="270"/>
                    <a:pt x="59" y="270"/>
                    <a:pt x="59" y="268"/>
                  </a:cubicBezTo>
                  <a:cubicBezTo>
                    <a:pt x="59" y="268"/>
                    <a:pt x="59" y="265"/>
                    <a:pt x="56" y="262"/>
                  </a:cubicBezTo>
                  <a:cubicBezTo>
                    <a:pt x="56" y="259"/>
                    <a:pt x="56" y="256"/>
                    <a:pt x="54" y="256"/>
                  </a:cubicBezTo>
                  <a:cubicBezTo>
                    <a:pt x="51" y="254"/>
                    <a:pt x="51" y="251"/>
                    <a:pt x="54" y="251"/>
                  </a:cubicBezTo>
                  <a:lnTo>
                    <a:pt x="54" y="245"/>
                  </a:lnTo>
                  <a:cubicBezTo>
                    <a:pt x="54" y="242"/>
                    <a:pt x="51" y="242"/>
                    <a:pt x="51" y="239"/>
                  </a:cubicBezTo>
                  <a:cubicBezTo>
                    <a:pt x="48" y="234"/>
                    <a:pt x="48" y="231"/>
                    <a:pt x="48" y="225"/>
                  </a:cubicBezTo>
                  <a:cubicBezTo>
                    <a:pt x="48" y="223"/>
                    <a:pt x="45" y="220"/>
                    <a:pt x="45" y="217"/>
                  </a:cubicBezTo>
                  <a:cubicBezTo>
                    <a:pt x="42" y="211"/>
                    <a:pt x="39" y="203"/>
                    <a:pt x="42" y="194"/>
                  </a:cubicBezTo>
                  <a:cubicBezTo>
                    <a:pt x="42" y="192"/>
                    <a:pt x="42" y="186"/>
                    <a:pt x="45" y="183"/>
                  </a:cubicBezTo>
                  <a:cubicBezTo>
                    <a:pt x="45" y="180"/>
                    <a:pt x="45" y="180"/>
                    <a:pt x="42" y="177"/>
                  </a:cubicBezTo>
                  <a:lnTo>
                    <a:pt x="42" y="175"/>
                  </a:lnTo>
                  <a:cubicBezTo>
                    <a:pt x="39" y="160"/>
                    <a:pt x="39" y="146"/>
                    <a:pt x="34" y="132"/>
                  </a:cubicBezTo>
                  <a:cubicBezTo>
                    <a:pt x="31" y="118"/>
                    <a:pt x="28" y="107"/>
                    <a:pt x="25" y="93"/>
                  </a:cubicBezTo>
                  <a:lnTo>
                    <a:pt x="25" y="90"/>
                  </a:lnTo>
                  <a:lnTo>
                    <a:pt x="25" y="84"/>
                  </a:lnTo>
                  <a:cubicBezTo>
                    <a:pt x="25" y="81"/>
                    <a:pt x="23" y="79"/>
                    <a:pt x="23" y="79"/>
                  </a:cubicBezTo>
                  <a:cubicBezTo>
                    <a:pt x="25" y="73"/>
                    <a:pt x="23" y="67"/>
                    <a:pt x="20" y="62"/>
                  </a:cubicBezTo>
                  <a:cubicBezTo>
                    <a:pt x="3" y="59"/>
                    <a:pt x="3" y="53"/>
                    <a:pt x="3" y="48"/>
                  </a:cubicBezTo>
                  <a:lnTo>
                    <a:pt x="3" y="45"/>
                  </a:lnTo>
                  <a:cubicBezTo>
                    <a:pt x="0" y="36"/>
                    <a:pt x="0" y="25"/>
                    <a:pt x="6" y="17"/>
                  </a:cubicBezTo>
                  <a:cubicBezTo>
                    <a:pt x="8" y="11"/>
                    <a:pt x="15" y="11"/>
                    <a:pt x="20" y="11"/>
                  </a:cubicBezTo>
                  <a:cubicBezTo>
                    <a:pt x="26" y="11"/>
                    <a:pt x="28" y="8"/>
                    <a:pt x="34" y="5"/>
                  </a:cubicBezTo>
                  <a:cubicBezTo>
                    <a:pt x="39" y="5"/>
                    <a:pt x="45" y="8"/>
                    <a:pt x="48" y="11"/>
                  </a:cubicBezTo>
                  <a:cubicBezTo>
                    <a:pt x="51" y="14"/>
                    <a:pt x="54" y="17"/>
                    <a:pt x="59" y="19"/>
                  </a:cubicBezTo>
                  <a:lnTo>
                    <a:pt x="59" y="31"/>
                  </a:lnTo>
                  <a:lnTo>
                    <a:pt x="59" y="42"/>
                  </a:lnTo>
                  <a:lnTo>
                    <a:pt x="59" y="45"/>
                  </a:lnTo>
                  <a:lnTo>
                    <a:pt x="59" y="50"/>
                  </a:lnTo>
                  <a:lnTo>
                    <a:pt x="59" y="56"/>
                  </a:lnTo>
                  <a:cubicBezTo>
                    <a:pt x="59" y="59"/>
                    <a:pt x="59" y="59"/>
                    <a:pt x="62" y="62"/>
                  </a:cubicBezTo>
                  <a:cubicBezTo>
                    <a:pt x="65" y="65"/>
                    <a:pt x="65" y="67"/>
                    <a:pt x="68" y="70"/>
                  </a:cubicBezTo>
                  <a:lnTo>
                    <a:pt x="68" y="81"/>
                  </a:lnTo>
                  <a:cubicBezTo>
                    <a:pt x="70" y="87"/>
                    <a:pt x="70" y="96"/>
                    <a:pt x="73" y="101"/>
                  </a:cubicBezTo>
                  <a:cubicBezTo>
                    <a:pt x="73" y="107"/>
                    <a:pt x="76" y="115"/>
                    <a:pt x="79" y="121"/>
                  </a:cubicBezTo>
                  <a:cubicBezTo>
                    <a:pt x="79" y="124"/>
                    <a:pt x="79" y="127"/>
                    <a:pt x="82" y="127"/>
                  </a:cubicBezTo>
                  <a:lnTo>
                    <a:pt x="82" y="135"/>
                  </a:lnTo>
                  <a:lnTo>
                    <a:pt x="82" y="144"/>
                  </a:lnTo>
                  <a:lnTo>
                    <a:pt x="82" y="152"/>
                  </a:lnTo>
                  <a:lnTo>
                    <a:pt x="82" y="155"/>
                  </a:lnTo>
                  <a:lnTo>
                    <a:pt x="82" y="160"/>
                  </a:lnTo>
                  <a:lnTo>
                    <a:pt x="82" y="163"/>
                  </a:lnTo>
                  <a:cubicBezTo>
                    <a:pt x="85" y="163"/>
                    <a:pt x="85" y="166"/>
                    <a:pt x="85" y="166"/>
                  </a:cubicBezTo>
                  <a:cubicBezTo>
                    <a:pt x="85" y="172"/>
                    <a:pt x="85" y="177"/>
                    <a:pt x="87" y="180"/>
                  </a:cubicBezTo>
                  <a:cubicBezTo>
                    <a:pt x="90" y="186"/>
                    <a:pt x="90" y="192"/>
                    <a:pt x="90" y="194"/>
                  </a:cubicBezTo>
                  <a:lnTo>
                    <a:pt x="90" y="200"/>
                  </a:lnTo>
                  <a:lnTo>
                    <a:pt x="90" y="206"/>
                  </a:lnTo>
                  <a:lnTo>
                    <a:pt x="93" y="217"/>
                  </a:lnTo>
                  <a:cubicBezTo>
                    <a:pt x="93" y="220"/>
                    <a:pt x="96" y="223"/>
                    <a:pt x="93" y="223"/>
                  </a:cubicBezTo>
                  <a:cubicBezTo>
                    <a:pt x="93" y="225"/>
                    <a:pt x="93" y="228"/>
                    <a:pt x="96" y="228"/>
                  </a:cubicBezTo>
                  <a:lnTo>
                    <a:pt x="96" y="231"/>
                  </a:lnTo>
                  <a:cubicBezTo>
                    <a:pt x="93" y="239"/>
                    <a:pt x="96" y="248"/>
                    <a:pt x="99" y="254"/>
                  </a:cubicBezTo>
                  <a:cubicBezTo>
                    <a:pt x="102" y="262"/>
                    <a:pt x="102" y="270"/>
                    <a:pt x="102" y="276"/>
                  </a:cubicBezTo>
                  <a:cubicBezTo>
                    <a:pt x="102" y="282"/>
                    <a:pt x="102" y="290"/>
                    <a:pt x="104" y="296"/>
                  </a:cubicBezTo>
                  <a:cubicBezTo>
                    <a:pt x="104" y="299"/>
                    <a:pt x="107" y="304"/>
                    <a:pt x="107" y="307"/>
                  </a:cubicBezTo>
                  <a:lnTo>
                    <a:pt x="107" y="318"/>
                  </a:lnTo>
                  <a:lnTo>
                    <a:pt x="107" y="321"/>
                  </a:lnTo>
                  <a:lnTo>
                    <a:pt x="107" y="324"/>
                  </a:lnTo>
                  <a:cubicBezTo>
                    <a:pt x="113" y="333"/>
                    <a:pt x="113" y="341"/>
                    <a:pt x="113" y="352"/>
                  </a:cubicBezTo>
                  <a:lnTo>
                    <a:pt x="113" y="355"/>
                  </a:lnTo>
                  <a:lnTo>
                    <a:pt x="116" y="361"/>
                  </a:lnTo>
                  <a:lnTo>
                    <a:pt x="116" y="364"/>
                  </a:lnTo>
                  <a:lnTo>
                    <a:pt x="116" y="375"/>
                  </a:lnTo>
                  <a:cubicBezTo>
                    <a:pt x="116" y="381"/>
                    <a:pt x="116" y="382"/>
                    <a:pt x="118" y="385"/>
                  </a:cubicBezTo>
                  <a:cubicBezTo>
                    <a:pt x="121" y="389"/>
                    <a:pt x="121" y="391"/>
                    <a:pt x="121" y="396"/>
                  </a:cubicBezTo>
                  <a:cubicBezTo>
                    <a:pt x="121" y="399"/>
                    <a:pt x="121" y="402"/>
                    <a:pt x="124" y="405"/>
                  </a:cubicBezTo>
                  <a:lnTo>
                    <a:pt x="127" y="411"/>
                  </a:lnTo>
                  <a:cubicBezTo>
                    <a:pt x="127" y="413"/>
                    <a:pt x="133" y="419"/>
                    <a:pt x="135" y="416"/>
                  </a:cubicBezTo>
                  <a:lnTo>
                    <a:pt x="138" y="416"/>
                  </a:lnTo>
                  <a:cubicBezTo>
                    <a:pt x="138" y="416"/>
                    <a:pt x="138" y="419"/>
                    <a:pt x="141" y="419"/>
                  </a:cubicBezTo>
                  <a:cubicBezTo>
                    <a:pt x="144" y="416"/>
                    <a:pt x="149" y="416"/>
                    <a:pt x="152" y="416"/>
                  </a:cubicBezTo>
                  <a:lnTo>
                    <a:pt x="155" y="413"/>
                  </a:lnTo>
                  <a:cubicBezTo>
                    <a:pt x="155" y="411"/>
                    <a:pt x="158" y="411"/>
                    <a:pt x="158" y="411"/>
                  </a:cubicBezTo>
                  <a:lnTo>
                    <a:pt x="158" y="396"/>
                  </a:lnTo>
                  <a:lnTo>
                    <a:pt x="158" y="382"/>
                  </a:lnTo>
                  <a:lnTo>
                    <a:pt x="158" y="372"/>
                  </a:lnTo>
                  <a:cubicBezTo>
                    <a:pt x="158" y="369"/>
                    <a:pt x="155" y="364"/>
                    <a:pt x="152" y="361"/>
                  </a:cubicBezTo>
                  <a:cubicBezTo>
                    <a:pt x="152" y="361"/>
                    <a:pt x="152" y="358"/>
                    <a:pt x="149" y="355"/>
                  </a:cubicBezTo>
                  <a:lnTo>
                    <a:pt x="149" y="347"/>
                  </a:lnTo>
                  <a:lnTo>
                    <a:pt x="149" y="338"/>
                  </a:lnTo>
                  <a:cubicBezTo>
                    <a:pt x="149" y="338"/>
                    <a:pt x="149" y="335"/>
                    <a:pt x="152" y="335"/>
                  </a:cubicBezTo>
                  <a:cubicBezTo>
                    <a:pt x="149" y="335"/>
                    <a:pt x="149" y="333"/>
                    <a:pt x="149" y="333"/>
                  </a:cubicBezTo>
                  <a:cubicBezTo>
                    <a:pt x="149" y="327"/>
                    <a:pt x="147" y="321"/>
                    <a:pt x="144" y="316"/>
                  </a:cubicBezTo>
                  <a:cubicBezTo>
                    <a:pt x="147" y="316"/>
                    <a:pt x="144" y="310"/>
                    <a:pt x="144" y="302"/>
                  </a:cubicBezTo>
                  <a:lnTo>
                    <a:pt x="144" y="296"/>
                  </a:lnTo>
                  <a:cubicBezTo>
                    <a:pt x="144" y="293"/>
                    <a:pt x="144" y="293"/>
                    <a:pt x="141" y="290"/>
                  </a:cubicBezTo>
                  <a:cubicBezTo>
                    <a:pt x="141" y="287"/>
                    <a:pt x="138" y="287"/>
                    <a:pt x="138" y="285"/>
                  </a:cubicBezTo>
                  <a:cubicBezTo>
                    <a:pt x="138" y="282"/>
                    <a:pt x="138" y="282"/>
                    <a:pt x="135" y="279"/>
                  </a:cubicBezTo>
                  <a:cubicBezTo>
                    <a:pt x="133" y="273"/>
                    <a:pt x="133" y="268"/>
                    <a:pt x="135" y="262"/>
                  </a:cubicBezTo>
                  <a:cubicBezTo>
                    <a:pt x="133" y="259"/>
                    <a:pt x="133" y="254"/>
                    <a:pt x="130" y="251"/>
                  </a:cubicBezTo>
                  <a:cubicBezTo>
                    <a:pt x="127" y="248"/>
                    <a:pt x="127" y="242"/>
                    <a:pt x="130" y="237"/>
                  </a:cubicBezTo>
                  <a:cubicBezTo>
                    <a:pt x="127" y="234"/>
                    <a:pt x="127" y="231"/>
                    <a:pt x="127" y="228"/>
                  </a:cubicBezTo>
                  <a:cubicBezTo>
                    <a:pt x="127" y="225"/>
                    <a:pt x="127" y="223"/>
                    <a:pt x="124" y="220"/>
                  </a:cubicBezTo>
                  <a:cubicBezTo>
                    <a:pt x="127" y="220"/>
                    <a:pt x="127" y="217"/>
                    <a:pt x="127" y="214"/>
                  </a:cubicBezTo>
                  <a:cubicBezTo>
                    <a:pt x="127" y="211"/>
                    <a:pt x="124" y="211"/>
                    <a:pt x="124" y="208"/>
                  </a:cubicBezTo>
                  <a:cubicBezTo>
                    <a:pt x="121" y="200"/>
                    <a:pt x="121" y="194"/>
                    <a:pt x="118" y="186"/>
                  </a:cubicBezTo>
                  <a:lnTo>
                    <a:pt x="113" y="163"/>
                  </a:lnTo>
                  <a:cubicBezTo>
                    <a:pt x="113" y="160"/>
                    <a:pt x="113" y="158"/>
                    <a:pt x="110" y="158"/>
                  </a:cubicBezTo>
                  <a:lnTo>
                    <a:pt x="110" y="152"/>
                  </a:lnTo>
                  <a:lnTo>
                    <a:pt x="110" y="144"/>
                  </a:lnTo>
                  <a:lnTo>
                    <a:pt x="110" y="138"/>
                  </a:lnTo>
                  <a:cubicBezTo>
                    <a:pt x="113" y="135"/>
                    <a:pt x="113" y="132"/>
                    <a:pt x="110" y="129"/>
                  </a:cubicBezTo>
                  <a:cubicBezTo>
                    <a:pt x="107" y="127"/>
                    <a:pt x="107" y="127"/>
                    <a:pt x="107" y="124"/>
                  </a:cubicBezTo>
                  <a:lnTo>
                    <a:pt x="107" y="118"/>
                  </a:lnTo>
                  <a:cubicBezTo>
                    <a:pt x="107" y="115"/>
                    <a:pt x="104" y="113"/>
                    <a:pt x="104" y="113"/>
                  </a:cubicBezTo>
                  <a:cubicBezTo>
                    <a:pt x="104" y="110"/>
                    <a:pt x="105" y="110"/>
                    <a:pt x="102" y="107"/>
                  </a:cubicBezTo>
                  <a:cubicBezTo>
                    <a:pt x="100" y="104"/>
                    <a:pt x="99" y="98"/>
                    <a:pt x="102" y="96"/>
                  </a:cubicBezTo>
                  <a:lnTo>
                    <a:pt x="102" y="84"/>
                  </a:lnTo>
                  <a:lnTo>
                    <a:pt x="102" y="79"/>
                  </a:lnTo>
                  <a:cubicBezTo>
                    <a:pt x="99" y="76"/>
                    <a:pt x="99" y="73"/>
                    <a:pt x="99" y="70"/>
                  </a:cubicBezTo>
                  <a:cubicBezTo>
                    <a:pt x="99" y="67"/>
                    <a:pt x="99" y="65"/>
                    <a:pt x="96" y="62"/>
                  </a:cubicBezTo>
                  <a:cubicBezTo>
                    <a:pt x="96" y="59"/>
                    <a:pt x="93" y="59"/>
                    <a:pt x="93" y="56"/>
                  </a:cubicBezTo>
                  <a:cubicBezTo>
                    <a:pt x="93" y="56"/>
                    <a:pt x="90" y="53"/>
                    <a:pt x="93" y="53"/>
                  </a:cubicBezTo>
                  <a:lnTo>
                    <a:pt x="93" y="39"/>
                  </a:lnTo>
                  <a:cubicBezTo>
                    <a:pt x="87" y="28"/>
                    <a:pt x="90" y="14"/>
                    <a:pt x="99" y="5"/>
                  </a:cubicBezTo>
                  <a:cubicBezTo>
                    <a:pt x="104" y="0"/>
                    <a:pt x="110" y="0"/>
                    <a:pt x="118" y="0"/>
                  </a:cubicBezTo>
                  <a:lnTo>
                    <a:pt x="121" y="0"/>
                  </a:lnTo>
                  <a:lnTo>
                    <a:pt x="124" y="3"/>
                  </a:lnTo>
                  <a:lnTo>
                    <a:pt x="127" y="5"/>
                  </a:lnTo>
                  <a:lnTo>
                    <a:pt x="133" y="42"/>
                  </a:lnTo>
                  <a:cubicBezTo>
                    <a:pt x="133" y="45"/>
                    <a:pt x="133" y="48"/>
                    <a:pt x="135" y="50"/>
                  </a:cubicBezTo>
                  <a:cubicBezTo>
                    <a:pt x="138" y="56"/>
                    <a:pt x="138" y="62"/>
                    <a:pt x="138" y="67"/>
                  </a:cubicBezTo>
                  <a:cubicBezTo>
                    <a:pt x="141" y="70"/>
                    <a:pt x="144" y="76"/>
                    <a:pt x="141" y="81"/>
                  </a:cubicBezTo>
                  <a:lnTo>
                    <a:pt x="141" y="87"/>
                  </a:lnTo>
                  <a:cubicBezTo>
                    <a:pt x="141" y="90"/>
                    <a:pt x="141" y="90"/>
                    <a:pt x="144" y="93"/>
                  </a:cubicBezTo>
                  <a:cubicBezTo>
                    <a:pt x="147" y="93"/>
                    <a:pt x="147" y="96"/>
                    <a:pt x="147" y="98"/>
                  </a:cubicBezTo>
                  <a:lnTo>
                    <a:pt x="147" y="107"/>
                  </a:lnTo>
                  <a:cubicBezTo>
                    <a:pt x="147" y="110"/>
                    <a:pt x="149" y="113"/>
                    <a:pt x="149" y="115"/>
                  </a:cubicBezTo>
                  <a:lnTo>
                    <a:pt x="149" y="124"/>
                  </a:lnTo>
                  <a:lnTo>
                    <a:pt x="152" y="138"/>
                  </a:lnTo>
                  <a:cubicBezTo>
                    <a:pt x="152" y="144"/>
                    <a:pt x="152" y="146"/>
                    <a:pt x="155" y="152"/>
                  </a:cubicBezTo>
                  <a:cubicBezTo>
                    <a:pt x="161" y="160"/>
                    <a:pt x="161" y="171"/>
                    <a:pt x="161" y="180"/>
                  </a:cubicBezTo>
                  <a:cubicBezTo>
                    <a:pt x="161" y="188"/>
                    <a:pt x="161" y="194"/>
                    <a:pt x="164" y="203"/>
                  </a:cubicBezTo>
                  <a:cubicBezTo>
                    <a:pt x="164" y="211"/>
                    <a:pt x="166" y="217"/>
                    <a:pt x="166" y="225"/>
                  </a:cubicBezTo>
                  <a:lnTo>
                    <a:pt x="166" y="231"/>
                  </a:lnTo>
                  <a:cubicBezTo>
                    <a:pt x="172" y="225"/>
                    <a:pt x="172" y="228"/>
                    <a:pt x="175" y="228"/>
                  </a:cubicBezTo>
                  <a:close/>
                  <a:moveTo>
                    <a:pt x="25" y="56"/>
                  </a:moveTo>
                  <a:cubicBezTo>
                    <a:pt x="25" y="59"/>
                    <a:pt x="28" y="59"/>
                    <a:pt x="28" y="59"/>
                  </a:cubicBezTo>
                  <a:lnTo>
                    <a:pt x="25" y="56"/>
                  </a:lnTo>
                  <a:close/>
                  <a:moveTo>
                    <a:pt x="25" y="36"/>
                  </a:moveTo>
                  <a:lnTo>
                    <a:pt x="28" y="36"/>
                  </a:lnTo>
                  <a:lnTo>
                    <a:pt x="28" y="34"/>
                  </a:lnTo>
                  <a:cubicBezTo>
                    <a:pt x="28" y="34"/>
                    <a:pt x="28" y="36"/>
                    <a:pt x="25" y="36"/>
                  </a:cubicBezTo>
                  <a:close/>
                  <a:moveTo>
                    <a:pt x="31" y="70"/>
                  </a:moveTo>
                  <a:cubicBezTo>
                    <a:pt x="34" y="70"/>
                    <a:pt x="37" y="73"/>
                    <a:pt x="37" y="76"/>
                  </a:cubicBezTo>
                  <a:cubicBezTo>
                    <a:pt x="37" y="79"/>
                    <a:pt x="39" y="79"/>
                    <a:pt x="42" y="79"/>
                  </a:cubicBezTo>
                  <a:lnTo>
                    <a:pt x="42" y="76"/>
                  </a:lnTo>
                  <a:lnTo>
                    <a:pt x="39" y="76"/>
                  </a:lnTo>
                  <a:lnTo>
                    <a:pt x="39" y="73"/>
                  </a:lnTo>
                  <a:lnTo>
                    <a:pt x="34" y="70"/>
                  </a:lnTo>
                  <a:lnTo>
                    <a:pt x="34" y="65"/>
                  </a:lnTo>
                  <a:lnTo>
                    <a:pt x="31" y="70"/>
                  </a:lnTo>
                  <a:close/>
                  <a:moveTo>
                    <a:pt x="34" y="87"/>
                  </a:moveTo>
                  <a:cubicBezTo>
                    <a:pt x="37" y="87"/>
                    <a:pt x="37" y="87"/>
                    <a:pt x="39" y="84"/>
                  </a:cubicBezTo>
                  <a:cubicBezTo>
                    <a:pt x="39" y="84"/>
                    <a:pt x="42" y="84"/>
                    <a:pt x="42" y="81"/>
                  </a:cubicBezTo>
                  <a:cubicBezTo>
                    <a:pt x="39" y="81"/>
                    <a:pt x="37" y="79"/>
                    <a:pt x="34" y="79"/>
                  </a:cubicBezTo>
                  <a:lnTo>
                    <a:pt x="34" y="87"/>
                  </a:lnTo>
                  <a:close/>
                  <a:moveTo>
                    <a:pt x="37" y="48"/>
                  </a:moveTo>
                  <a:cubicBezTo>
                    <a:pt x="31" y="50"/>
                    <a:pt x="31" y="56"/>
                    <a:pt x="34" y="59"/>
                  </a:cubicBezTo>
                  <a:cubicBezTo>
                    <a:pt x="34" y="56"/>
                    <a:pt x="34" y="53"/>
                    <a:pt x="37" y="48"/>
                  </a:cubicBezTo>
                  <a:lnTo>
                    <a:pt x="39" y="48"/>
                  </a:lnTo>
                  <a:lnTo>
                    <a:pt x="39" y="42"/>
                  </a:lnTo>
                  <a:lnTo>
                    <a:pt x="39" y="36"/>
                  </a:lnTo>
                  <a:cubicBezTo>
                    <a:pt x="37" y="36"/>
                    <a:pt x="37" y="39"/>
                    <a:pt x="34" y="39"/>
                  </a:cubicBezTo>
                  <a:lnTo>
                    <a:pt x="31" y="42"/>
                  </a:lnTo>
                  <a:cubicBezTo>
                    <a:pt x="34" y="45"/>
                    <a:pt x="34" y="48"/>
                    <a:pt x="37" y="48"/>
                  </a:cubicBezTo>
                  <a:close/>
                  <a:moveTo>
                    <a:pt x="34" y="98"/>
                  </a:moveTo>
                  <a:lnTo>
                    <a:pt x="42" y="101"/>
                  </a:lnTo>
                  <a:cubicBezTo>
                    <a:pt x="48" y="93"/>
                    <a:pt x="48" y="93"/>
                    <a:pt x="48" y="84"/>
                  </a:cubicBezTo>
                  <a:lnTo>
                    <a:pt x="42" y="84"/>
                  </a:lnTo>
                  <a:cubicBezTo>
                    <a:pt x="42" y="87"/>
                    <a:pt x="39" y="90"/>
                    <a:pt x="39" y="90"/>
                  </a:cubicBezTo>
                  <a:lnTo>
                    <a:pt x="39" y="96"/>
                  </a:lnTo>
                  <a:lnTo>
                    <a:pt x="37" y="96"/>
                  </a:lnTo>
                  <a:cubicBezTo>
                    <a:pt x="37" y="98"/>
                    <a:pt x="37" y="98"/>
                    <a:pt x="34" y="98"/>
                  </a:cubicBezTo>
                  <a:close/>
                  <a:moveTo>
                    <a:pt x="39" y="113"/>
                  </a:moveTo>
                  <a:lnTo>
                    <a:pt x="42" y="113"/>
                  </a:lnTo>
                  <a:lnTo>
                    <a:pt x="42" y="110"/>
                  </a:lnTo>
                  <a:lnTo>
                    <a:pt x="39" y="113"/>
                  </a:lnTo>
                  <a:close/>
                  <a:moveTo>
                    <a:pt x="39" y="132"/>
                  </a:moveTo>
                  <a:cubicBezTo>
                    <a:pt x="42" y="132"/>
                    <a:pt x="42" y="132"/>
                    <a:pt x="42" y="129"/>
                  </a:cubicBezTo>
                  <a:cubicBezTo>
                    <a:pt x="42" y="129"/>
                    <a:pt x="39" y="129"/>
                    <a:pt x="39" y="132"/>
                  </a:cubicBezTo>
                  <a:close/>
                  <a:moveTo>
                    <a:pt x="48" y="127"/>
                  </a:moveTo>
                  <a:cubicBezTo>
                    <a:pt x="51" y="124"/>
                    <a:pt x="51" y="124"/>
                    <a:pt x="54" y="124"/>
                  </a:cubicBezTo>
                  <a:lnTo>
                    <a:pt x="54" y="115"/>
                  </a:lnTo>
                  <a:lnTo>
                    <a:pt x="51" y="115"/>
                  </a:lnTo>
                  <a:cubicBezTo>
                    <a:pt x="51" y="115"/>
                    <a:pt x="48" y="115"/>
                    <a:pt x="48" y="118"/>
                  </a:cubicBezTo>
                  <a:lnTo>
                    <a:pt x="48" y="115"/>
                  </a:lnTo>
                  <a:lnTo>
                    <a:pt x="45" y="113"/>
                  </a:lnTo>
                  <a:cubicBezTo>
                    <a:pt x="42" y="115"/>
                    <a:pt x="42" y="118"/>
                    <a:pt x="39" y="118"/>
                  </a:cubicBezTo>
                  <a:lnTo>
                    <a:pt x="48" y="118"/>
                  </a:lnTo>
                  <a:cubicBezTo>
                    <a:pt x="48" y="121"/>
                    <a:pt x="48" y="124"/>
                    <a:pt x="45" y="124"/>
                  </a:cubicBezTo>
                  <a:lnTo>
                    <a:pt x="39" y="124"/>
                  </a:lnTo>
                  <a:lnTo>
                    <a:pt x="42" y="129"/>
                  </a:lnTo>
                  <a:cubicBezTo>
                    <a:pt x="45" y="129"/>
                    <a:pt x="48" y="129"/>
                    <a:pt x="48" y="127"/>
                  </a:cubicBezTo>
                  <a:close/>
                  <a:moveTo>
                    <a:pt x="45" y="144"/>
                  </a:moveTo>
                  <a:lnTo>
                    <a:pt x="48" y="146"/>
                  </a:lnTo>
                  <a:lnTo>
                    <a:pt x="56" y="138"/>
                  </a:lnTo>
                  <a:lnTo>
                    <a:pt x="56" y="135"/>
                  </a:lnTo>
                  <a:lnTo>
                    <a:pt x="54" y="135"/>
                  </a:lnTo>
                  <a:lnTo>
                    <a:pt x="45" y="144"/>
                  </a:lnTo>
                  <a:close/>
                  <a:moveTo>
                    <a:pt x="48" y="110"/>
                  </a:moveTo>
                  <a:cubicBezTo>
                    <a:pt x="51" y="113"/>
                    <a:pt x="51" y="113"/>
                    <a:pt x="54" y="113"/>
                  </a:cubicBezTo>
                  <a:lnTo>
                    <a:pt x="54" y="110"/>
                  </a:lnTo>
                  <a:lnTo>
                    <a:pt x="54" y="107"/>
                  </a:lnTo>
                  <a:lnTo>
                    <a:pt x="48" y="110"/>
                  </a:lnTo>
                  <a:close/>
                  <a:moveTo>
                    <a:pt x="51" y="135"/>
                  </a:moveTo>
                  <a:lnTo>
                    <a:pt x="54" y="135"/>
                  </a:lnTo>
                  <a:cubicBezTo>
                    <a:pt x="54" y="129"/>
                    <a:pt x="51" y="129"/>
                    <a:pt x="48" y="132"/>
                  </a:cubicBezTo>
                  <a:lnTo>
                    <a:pt x="51" y="135"/>
                  </a:lnTo>
                  <a:close/>
                  <a:moveTo>
                    <a:pt x="54" y="158"/>
                  </a:moveTo>
                  <a:cubicBezTo>
                    <a:pt x="54" y="158"/>
                    <a:pt x="52" y="158"/>
                    <a:pt x="52" y="157"/>
                  </a:cubicBezTo>
                  <a:cubicBezTo>
                    <a:pt x="55" y="163"/>
                    <a:pt x="59" y="163"/>
                    <a:pt x="62" y="160"/>
                  </a:cubicBezTo>
                  <a:lnTo>
                    <a:pt x="62" y="155"/>
                  </a:lnTo>
                  <a:lnTo>
                    <a:pt x="56" y="160"/>
                  </a:lnTo>
                  <a:lnTo>
                    <a:pt x="54" y="158"/>
                  </a:lnTo>
                  <a:close/>
                  <a:moveTo>
                    <a:pt x="51" y="169"/>
                  </a:moveTo>
                  <a:lnTo>
                    <a:pt x="54" y="169"/>
                  </a:lnTo>
                  <a:lnTo>
                    <a:pt x="54" y="166"/>
                  </a:lnTo>
                  <a:lnTo>
                    <a:pt x="54" y="163"/>
                  </a:lnTo>
                  <a:cubicBezTo>
                    <a:pt x="54" y="163"/>
                    <a:pt x="51" y="166"/>
                    <a:pt x="51" y="169"/>
                  </a:cubicBezTo>
                  <a:close/>
                  <a:moveTo>
                    <a:pt x="65" y="183"/>
                  </a:moveTo>
                  <a:lnTo>
                    <a:pt x="62" y="180"/>
                  </a:lnTo>
                  <a:cubicBezTo>
                    <a:pt x="62" y="177"/>
                    <a:pt x="59" y="177"/>
                    <a:pt x="56" y="175"/>
                  </a:cubicBezTo>
                  <a:lnTo>
                    <a:pt x="51" y="175"/>
                  </a:lnTo>
                  <a:cubicBezTo>
                    <a:pt x="59" y="177"/>
                    <a:pt x="62" y="180"/>
                    <a:pt x="65" y="183"/>
                  </a:cubicBezTo>
                  <a:close/>
                  <a:moveTo>
                    <a:pt x="56" y="183"/>
                  </a:moveTo>
                  <a:lnTo>
                    <a:pt x="54" y="183"/>
                  </a:lnTo>
                  <a:lnTo>
                    <a:pt x="54" y="186"/>
                  </a:lnTo>
                  <a:lnTo>
                    <a:pt x="56" y="183"/>
                  </a:lnTo>
                  <a:close/>
                  <a:moveTo>
                    <a:pt x="54" y="214"/>
                  </a:moveTo>
                  <a:cubicBezTo>
                    <a:pt x="59" y="217"/>
                    <a:pt x="59" y="217"/>
                    <a:pt x="59" y="214"/>
                  </a:cubicBezTo>
                  <a:lnTo>
                    <a:pt x="54" y="214"/>
                  </a:lnTo>
                  <a:close/>
                  <a:moveTo>
                    <a:pt x="62" y="192"/>
                  </a:moveTo>
                  <a:cubicBezTo>
                    <a:pt x="62" y="189"/>
                    <a:pt x="62" y="189"/>
                    <a:pt x="59" y="186"/>
                  </a:cubicBezTo>
                  <a:lnTo>
                    <a:pt x="59" y="189"/>
                  </a:lnTo>
                  <a:lnTo>
                    <a:pt x="62" y="192"/>
                  </a:lnTo>
                  <a:close/>
                  <a:moveTo>
                    <a:pt x="62" y="208"/>
                  </a:moveTo>
                  <a:lnTo>
                    <a:pt x="62" y="214"/>
                  </a:lnTo>
                  <a:lnTo>
                    <a:pt x="65" y="208"/>
                  </a:lnTo>
                  <a:lnTo>
                    <a:pt x="62" y="208"/>
                  </a:lnTo>
                  <a:close/>
                  <a:moveTo>
                    <a:pt x="68" y="217"/>
                  </a:moveTo>
                  <a:lnTo>
                    <a:pt x="65" y="214"/>
                  </a:lnTo>
                  <a:cubicBezTo>
                    <a:pt x="62" y="214"/>
                    <a:pt x="65" y="217"/>
                    <a:pt x="68" y="217"/>
                  </a:cubicBezTo>
                  <a:close/>
                  <a:moveTo>
                    <a:pt x="65" y="279"/>
                  </a:moveTo>
                  <a:lnTo>
                    <a:pt x="68" y="282"/>
                  </a:lnTo>
                  <a:cubicBezTo>
                    <a:pt x="70" y="279"/>
                    <a:pt x="70" y="279"/>
                    <a:pt x="65" y="279"/>
                  </a:cubicBezTo>
                  <a:close/>
                  <a:moveTo>
                    <a:pt x="70" y="248"/>
                  </a:moveTo>
                  <a:lnTo>
                    <a:pt x="65" y="248"/>
                  </a:lnTo>
                  <a:lnTo>
                    <a:pt x="65" y="251"/>
                  </a:lnTo>
                  <a:lnTo>
                    <a:pt x="65" y="254"/>
                  </a:lnTo>
                  <a:lnTo>
                    <a:pt x="68" y="254"/>
                  </a:lnTo>
                  <a:lnTo>
                    <a:pt x="70" y="254"/>
                  </a:lnTo>
                  <a:lnTo>
                    <a:pt x="70" y="248"/>
                  </a:lnTo>
                  <a:close/>
                  <a:moveTo>
                    <a:pt x="68" y="245"/>
                  </a:moveTo>
                  <a:cubicBezTo>
                    <a:pt x="68" y="245"/>
                    <a:pt x="70" y="245"/>
                    <a:pt x="70" y="242"/>
                  </a:cubicBezTo>
                  <a:lnTo>
                    <a:pt x="68" y="245"/>
                  </a:lnTo>
                  <a:close/>
                  <a:moveTo>
                    <a:pt x="79" y="279"/>
                  </a:moveTo>
                  <a:lnTo>
                    <a:pt x="76" y="276"/>
                  </a:lnTo>
                  <a:cubicBezTo>
                    <a:pt x="73" y="276"/>
                    <a:pt x="73" y="279"/>
                    <a:pt x="70" y="279"/>
                  </a:cubicBezTo>
                  <a:lnTo>
                    <a:pt x="79" y="279"/>
                  </a:lnTo>
                  <a:close/>
                  <a:moveTo>
                    <a:pt x="73" y="335"/>
                  </a:moveTo>
                  <a:lnTo>
                    <a:pt x="79" y="335"/>
                  </a:lnTo>
                  <a:lnTo>
                    <a:pt x="79" y="333"/>
                  </a:lnTo>
                  <a:lnTo>
                    <a:pt x="79" y="330"/>
                  </a:lnTo>
                  <a:cubicBezTo>
                    <a:pt x="76" y="333"/>
                    <a:pt x="73" y="333"/>
                    <a:pt x="73" y="335"/>
                  </a:cubicBezTo>
                  <a:close/>
                  <a:moveTo>
                    <a:pt x="76" y="316"/>
                  </a:moveTo>
                  <a:cubicBezTo>
                    <a:pt x="79" y="313"/>
                    <a:pt x="82" y="313"/>
                    <a:pt x="82" y="313"/>
                  </a:cubicBezTo>
                  <a:lnTo>
                    <a:pt x="85" y="313"/>
                  </a:lnTo>
                  <a:cubicBezTo>
                    <a:pt x="82" y="313"/>
                    <a:pt x="82" y="310"/>
                    <a:pt x="82" y="310"/>
                  </a:cubicBezTo>
                  <a:lnTo>
                    <a:pt x="76" y="307"/>
                  </a:lnTo>
                  <a:lnTo>
                    <a:pt x="76" y="313"/>
                  </a:lnTo>
                  <a:cubicBezTo>
                    <a:pt x="76" y="311"/>
                    <a:pt x="76" y="311"/>
                    <a:pt x="76" y="313"/>
                  </a:cubicBezTo>
                  <a:lnTo>
                    <a:pt x="76" y="316"/>
                  </a:lnTo>
                  <a:close/>
                  <a:moveTo>
                    <a:pt x="76" y="352"/>
                  </a:moveTo>
                  <a:lnTo>
                    <a:pt x="82" y="355"/>
                  </a:lnTo>
                  <a:lnTo>
                    <a:pt x="85" y="352"/>
                  </a:lnTo>
                  <a:lnTo>
                    <a:pt x="87" y="352"/>
                  </a:lnTo>
                  <a:lnTo>
                    <a:pt x="90" y="355"/>
                  </a:lnTo>
                  <a:cubicBezTo>
                    <a:pt x="90" y="355"/>
                    <a:pt x="90" y="358"/>
                    <a:pt x="93" y="358"/>
                  </a:cubicBezTo>
                  <a:lnTo>
                    <a:pt x="93" y="352"/>
                  </a:lnTo>
                  <a:lnTo>
                    <a:pt x="93" y="347"/>
                  </a:lnTo>
                  <a:lnTo>
                    <a:pt x="85" y="349"/>
                  </a:lnTo>
                  <a:lnTo>
                    <a:pt x="76" y="352"/>
                  </a:lnTo>
                  <a:close/>
                  <a:moveTo>
                    <a:pt x="79" y="341"/>
                  </a:moveTo>
                  <a:lnTo>
                    <a:pt x="87" y="341"/>
                  </a:lnTo>
                  <a:cubicBezTo>
                    <a:pt x="87" y="341"/>
                    <a:pt x="87" y="338"/>
                    <a:pt x="85" y="338"/>
                  </a:cubicBezTo>
                  <a:cubicBezTo>
                    <a:pt x="85" y="338"/>
                    <a:pt x="82" y="338"/>
                    <a:pt x="82" y="335"/>
                  </a:cubicBezTo>
                  <a:cubicBezTo>
                    <a:pt x="82" y="338"/>
                    <a:pt x="79" y="338"/>
                    <a:pt x="79" y="341"/>
                  </a:cubicBezTo>
                  <a:close/>
                  <a:moveTo>
                    <a:pt x="87" y="282"/>
                  </a:moveTo>
                  <a:cubicBezTo>
                    <a:pt x="85" y="282"/>
                    <a:pt x="85" y="279"/>
                    <a:pt x="82" y="279"/>
                  </a:cubicBezTo>
                  <a:cubicBezTo>
                    <a:pt x="82" y="285"/>
                    <a:pt x="82" y="285"/>
                    <a:pt x="87" y="282"/>
                  </a:cubicBezTo>
                  <a:close/>
                  <a:moveTo>
                    <a:pt x="87" y="316"/>
                  </a:moveTo>
                  <a:lnTo>
                    <a:pt x="85" y="321"/>
                  </a:lnTo>
                  <a:lnTo>
                    <a:pt x="85" y="330"/>
                  </a:lnTo>
                  <a:cubicBezTo>
                    <a:pt x="85" y="327"/>
                    <a:pt x="87" y="324"/>
                    <a:pt x="87" y="324"/>
                  </a:cubicBezTo>
                  <a:lnTo>
                    <a:pt x="87" y="316"/>
                  </a:lnTo>
                  <a:close/>
                  <a:moveTo>
                    <a:pt x="87" y="361"/>
                  </a:moveTo>
                  <a:cubicBezTo>
                    <a:pt x="87" y="358"/>
                    <a:pt x="87" y="358"/>
                    <a:pt x="85" y="358"/>
                  </a:cubicBezTo>
                  <a:lnTo>
                    <a:pt x="87" y="361"/>
                  </a:lnTo>
                  <a:close/>
                  <a:moveTo>
                    <a:pt x="90" y="333"/>
                  </a:moveTo>
                  <a:cubicBezTo>
                    <a:pt x="87" y="335"/>
                    <a:pt x="90" y="335"/>
                    <a:pt x="90" y="338"/>
                  </a:cubicBezTo>
                  <a:lnTo>
                    <a:pt x="90" y="333"/>
                  </a:lnTo>
                  <a:close/>
                  <a:moveTo>
                    <a:pt x="93" y="391"/>
                  </a:moveTo>
                  <a:lnTo>
                    <a:pt x="90" y="391"/>
                  </a:lnTo>
                  <a:lnTo>
                    <a:pt x="90" y="394"/>
                  </a:lnTo>
                  <a:lnTo>
                    <a:pt x="93" y="391"/>
                  </a:lnTo>
                  <a:close/>
                  <a:moveTo>
                    <a:pt x="96" y="411"/>
                  </a:moveTo>
                  <a:cubicBezTo>
                    <a:pt x="96" y="411"/>
                    <a:pt x="98" y="411"/>
                    <a:pt x="98" y="409"/>
                  </a:cubicBezTo>
                  <a:cubicBezTo>
                    <a:pt x="98" y="408"/>
                    <a:pt x="95" y="408"/>
                    <a:pt x="93" y="408"/>
                  </a:cubicBezTo>
                  <a:lnTo>
                    <a:pt x="96" y="411"/>
                  </a:lnTo>
                  <a:cubicBezTo>
                    <a:pt x="90" y="411"/>
                    <a:pt x="90" y="411"/>
                    <a:pt x="93" y="413"/>
                  </a:cubicBezTo>
                  <a:lnTo>
                    <a:pt x="96" y="411"/>
                  </a:lnTo>
                  <a:close/>
                  <a:moveTo>
                    <a:pt x="102" y="411"/>
                  </a:moveTo>
                  <a:lnTo>
                    <a:pt x="102" y="413"/>
                  </a:lnTo>
                  <a:lnTo>
                    <a:pt x="104" y="413"/>
                  </a:lnTo>
                  <a:lnTo>
                    <a:pt x="104" y="405"/>
                  </a:lnTo>
                  <a:lnTo>
                    <a:pt x="104" y="396"/>
                  </a:lnTo>
                  <a:lnTo>
                    <a:pt x="102" y="396"/>
                  </a:lnTo>
                  <a:lnTo>
                    <a:pt x="102" y="399"/>
                  </a:lnTo>
                  <a:lnTo>
                    <a:pt x="102" y="402"/>
                  </a:lnTo>
                  <a:lnTo>
                    <a:pt x="102" y="405"/>
                  </a:lnTo>
                  <a:cubicBezTo>
                    <a:pt x="102" y="407"/>
                    <a:pt x="102" y="408"/>
                    <a:pt x="99" y="410"/>
                  </a:cubicBezTo>
                  <a:cubicBezTo>
                    <a:pt x="100" y="410"/>
                    <a:pt x="101" y="411"/>
                    <a:pt x="102" y="411"/>
                  </a:cubicBezTo>
                  <a:close/>
                  <a:moveTo>
                    <a:pt x="93" y="385"/>
                  </a:moveTo>
                  <a:cubicBezTo>
                    <a:pt x="96" y="382"/>
                    <a:pt x="96" y="382"/>
                    <a:pt x="96" y="380"/>
                  </a:cubicBezTo>
                  <a:lnTo>
                    <a:pt x="96" y="378"/>
                  </a:lnTo>
                  <a:lnTo>
                    <a:pt x="93" y="375"/>
                  </a:lnTo>
                  <a:cubicBezTo>
                    <a:pt x="93" y="375"/>
                    <a:pt x="91" y="375"/>
                    <a:pt x="90" y="373"/>
                  </a:cubicBezTo>
                  <a:lnTo>
                    <a:pt x="93" y="385"/>
                  </a:lnTo>
                  <a:close/>
                  <a:moveTo>
                    <a:pt x="90" y="402"/>
                  </a:moveTo>
                  <a:lnTo>
                    <a:pt x="93" y="402"/>
                  </a:lnTo>
                  <a:lnTo>
                    <a:pt x="93" y="399"/>
                  </a:lnTo>
                  <a:cubicBezTo>
                    <a:pt x="93" y="402"/>
                    <a:pt x="93" y="402"/>
                    <a:pt x="90" y="402"/>
                  </a:cubicBezTo>
                  <a:close/>
                  <a:moveTo>
                    <a:pt x="99" y="388"/>
                  </a:moveTo>
                  <a:lnTo>
                    <a:pt x="104" y="388"/>
                  </a:lnTo>
                  <a:lnTo>
                    <a:pt x="107" y="385"/>
                  </a:lnTo>
                  <a:lnTo>
                    <a:pt x="104" y="385"/>
                  </a:lnTo>
                  <a:lnTo>
                    <a:pt x="99" y="388"/>
                  </a:lnTo>
                  <a:close/>
                  <a:moveTo>
                    <a:pt x="102" y="419"/>
                  </a:moveTo>
                  <a:cubicBezTo>
                    <a:pt x="104" y="416"/>
                    <a:pt x="102" y="416"/>
                    <a:pt x="102" y="419"/>
                  </a:cubicBezTo>
                  <a:close/>
                  <a:moveTo>
                    <a:pt x="110" y="442"/>
                  </a:moveTo>
                  <a:cubicBezTo>
                    <a:pt x="110" y="444"/>
                    <a:pt x="107" y="447"/>
                    <a:pt x="104" y="450"/>
                  </a:cubicBezTo>
                  <a:lnTo>
                    <a:pt x="107" y="450"/>
                  </a:lnTo>
                  <a:lnTo>
                    <a:pt x="110" y="450"/>
                  </a:lnTo>
                  <a:lnTo>
                    <a:pt x="110" y="442"/>
                  </a:lnTo>
                  <a:close/>
                  <a:moveTo>
                    <a:pt x="107" y="416"/>
                  </a:moveTo>
                  <a:cubicBezTo>
                    <a:pt x="107" y="419"/>
                    <a:pt x="107" y="425"/>
                    <a:pt x="104" y="427"/>
                  </a:cubicBezTo>
                  <a:lnTo>
                    <a:pt x="110" y="422"/>
                  </a:lnTo>
                  <a:lnTo>
                    <a:pt x="107" y="416"/>
                  </a:lnTo>
                  <a:close/>
                  <a:moveTo>
                    <a:pt x="124" y="444"/>
                  </a:moveTo>
                  <a:cubicBezTo>
                    <a:pt x="124" y="444"/>
                    <a:pt x="124" y="442"/>
                    <a:pt x="124" y="444"/>
                  </a:cubicBezTo>
                  <a:lnTo>
                    <a:pt x="121" y="444"/>
                  </a:lnTo>
                  <a:cubicBezTo>
                    <a:pt x="124" y="447"/>
                    <a:pt x="124" y="444"/>
                    <a:pt x="124" y="444"/>
                  </a:cubicBezTo>
                  <a:close/>
                  <a:moveTo>
                    <a:pt x="118" y="442"/>
                  </a:moveTo>
                  <a:lnTo>
                    <a:pt x="116" y="439"/>
                  </a:lnTo>
                  <a:lnTo>
                    <a:pt x="113" y="439"/>
                  </a:lnTo>
                  <a:lnTo>
                    <a:pt x="110" y="436"/>
                  </a:lnTo>
                  <a:cubicBezTo>
                    <a:pt x="110" y="433"/>
                    <a:pt x="107" y="433"/>
                    <a:pt x="104" y="433"/>
                  </a:cubicBezTo>
                  <a:lnTo>
                    <a:pt x="104" y="436"/>
                  </a:lnTo>
                  <a:lnTo>
                    <a:pt x="110" y="436"/>
                  </a:lnTo>
                  <a:lnTo>
                    <a:pt x="110" y="439"/>
                  </a:lnTo>
                  <a:lnTo>
                    <a:pt x="113" y="442"/>
                  </a:lnTo>
                  <a:lnTo>
                    <a:pt x="116" y="442"/>
                  </a:lnTo>
                  <a:lnTo>
                    <a:pt x="118" y="442"/>
                  </a:lnTo>
                  <a:cubicBezTo>
                    <a:pt x="118" y="442"/>
                    <a:pt x="118" y="444"/>
                    <a:pt x="116" y="444"/>
                  </a:cubicBezTo>
                  <a:cubicBezTo>
                    <a:pt x="116" y="447"/>
                    <a:pt x="113" y="447"/>
                    <a:pt x="113" y="450"/>
                  </a:cubicBezTo>
                  <a:cubicBezTo>
                    <a:pt x="116" y="450"/>
                    <a:pt x="116" y="450"/>
                    <a:pt x="118" y="447"/>
                  </a:cubicBezTo>
                  <a:lnTo>
                    <a:pt x="118" y="444"/>
                  </a:lnTo>
                  <a:lnTo>
                    <a:pt x="118" y="442"/>
                  </a:lnTo>
                  <a:close/>
                  <a:moveTo>
                    <a:pt x="116" y="427"/>
                  </a:moveTo>
                  <a:lnTo>
                    <a:pt x="116" y="436"/>
                  </a:lnTo>
                  <a:lnTo>
                    <a:pt x="121" y="430"/>
                  </a:lnTo>
                  <a:cubicBezTo>
                    <a:pt x="121" y="430"/>
                    <a:pt x="118" y="430"/>
                    <a:pt x="118" y="427"/>
                  </a:cubicBezTo>
                  <a:lnTo>
                    <a:pt x="116" y="427"/>
                  </a:lnTo>
                  <a:close/>
                  <a:moveTo>
                    <a:pt x="127" y="453"/>
                  </a:moveTo>
                  <a:cubicBezTo>
                    <a:pt x="127" y="450"/>
                    <a:pt x="124" y="450"/>
                    <a:pt x="121" y="453"/>
                  </a:cubicBezTo>
                  <a:lnTo>
                    <a:pt x="124" y="453"/>
                  </a:lnTo>
                  <a:lnTo>
                    <a:pt x="127" y="453"/>
                  </a:lnTo>
                  <a:close/>
                  <a:moveTo>
                    <a:pt x="130" y="442"/>
                  </a:moveTo>
                  <a:lnTo>
                    <a:pt x="130" y="439"/>
                  </a:lnTo>
                  <a:cubicBezTo>
                    <a:pt x="130" y="439"/>
                    <a:pt x="127" y="436"/>
                    <a:pt x="127" y="433"/>
                  </a:cubicBezTo>
                  <a:lnTo>
                    <a:pt x="127" y="439"/>
                  </a:lnTo>
                  <a:cubicBezTo>
                    <a:pt x="127" y="439"/>
                    <a:pt x="127" y="442"/>
                    <a:pt x="130" y="442"/>
                  </a:cubicBezTo>
                  <a:close/>
                  <a:moveTo>
                    <a:pt x="144" y="447"/>
                  </a:moveTo>
                  <a:cubicBezTo>
                    <a:pt x="141" y="447"/>
                    <a:pt x="141" y="447"/>
                    <a:pt x="138" y="450"/>
                  </a:cubicBezTo>
                  <a:cubicBezTo>
                    <a:pt x="135" y="453"/>
                    <a:pt x="133" y="453"/>
                    <a:pt x="133" y="453"/>
                  </a:cubicBezTo>
                  <a:lnTo>
                    <a:pt x="141" y="453"/>
                  </a:lnTo>
                  <a:cubicBezTo>
                    <a:pt x="144" y="453"/>
                    <a:pt x="141" y="453"/>
                    <a:pt x="144" y="447"/>
                  </a:cubicBezTo>
                  <a:close/>
                  <a:moveTo>
                    <a:pt x="149" y="444"/>
                  </a:moveTo>
                  <a:lnTo>
                    <a:pt x="144" y="436"/>
                  </a:lnTo>
                  <a:cubicBezTo>
                    <a:pt x="141" y="439"/>
                    <a:pt x="138" y="439"/>
                    <a:pt x="138" y="442"/>
                  </a:cubicBezTo>
                  <a:cubicBezTo>
                    <a:pt x="141" y="442"/>
                    <a:pt x="141" y="444"/>
                    <a:pt x="141" y="444"/>
                  </a:cubicBezTo>
                  <a:cubicBezTo>
                    <a:pt x="141" y="447"/>
                    <a:pt x="144" y="447"/>
                    <a:pt x="147" y="444"/>
                  </a:cubicBezTo>
                  <a:lnTo>
                    <a:pt x="149" y="444"/>
                  </a:lnTo>
                  <a:close/>
                  <a:moveTo>
                    <a:pt x="141" y="155"/>
                  </a:moveTo>
                  <a:cubicBezTo>
                    <a:pt x="138" y="158"/>
                    <a:pt x="138" y="158"/>
                    <a:pt x="135" y="158"/>
                  </a:cubicBezTo>
                  <a:lnTo>
                    <a:pt x="141" y="160"/>
                  </a:lnTo>
                  <a:lnTo>
                    <a:pt x="141" y="155"/>
                  </a:lnTo>
                  <a:close/>
                  <a:moveTo>
                    <a:pt x="158" y="442"/>
                  </a:moveTo>
                  <a:cubicBezTo>
                    <a:pt x="155" y="442"/>
                    <a:pt x="152" y="444"/>
                    <a:pt x="152" y="444"/>
                  </a:cubicBezTo>
                  <a:cubicBezTo>
                    <a:pt x="152" y="444"/>
                    <a:pt x="155" y="447"/>
                    <a:pt x="155" y="450"/>
                  </a:cubicBezTo>
                  <a:cubicBezTo>
                    <a:pt x="155" y="444"/>
                    <a:pt x="158" y="442"/>
                    <a:pt x="158" y="442"/>
                  </a:cubicBezTo>
                  <a:close/>
                  <a:moveTo>
                    <a:pt x="158" y="442"/>
                  </a:moveTo>
                  <a:cubicBezTo>
                    <a:pt x="159" y="442"/>
                    <a:pt x="160" y="441"/>
                    <a:pt x="161" y="440"/>
                  </a:cubicBezTo>
                  <a:lnTo>
                    <a:pt x="158" y="442"/>
                  </a:lnTo>
                  <a:close/>
                  <a:moveTo>
                    <a:pt x="178" y="427"/>
                  </a:moveTo>
                  <a:lnTo>
                    <a:pt x="175" y="427"/>
                  </a:lnTo>
                  <a:cubicBezTo>
                    <a:pt x="175" y="430"/>
                    <a:pt x="175" y="430"/>
                    <a:pt x="178" y="427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0" name="Freeform 1461"/>
            <p:cNvSpPr>
              <a:spLocks noChangeArrowheads="1"/>
            </p:cNvSpPr>
            <p:nvPr/>
          </p:nvSpPr>
          <p:spPr bwMode="auto">
            <a:xfrm>
              <a:off x="4291013" y="2427288"/>
              <a:ext cx="69850" cy="173037"/>
            </a:xfrm>
            <a:custGeom>
              <a:avLst/>
              <a:gdLst>
                <a:gd name="T0" fmla="*/ 150 w 193"/>
                <a:gd name="T1" fmla="*/ 150 h 480"/>
                <a:gd name="T2" fmla="*/ 99 w 193"/>
                <a:gd name="T3" fmla="*/ 142 h 480"/>
                <a:gd name="T4" fmla="*/ 85 w 193"/>
                <a:gd name="T5" fmla="*/ 60 h 480"/>
                <a:gd name="T6" fmla="*/ 68 w 193"/>
                <a:gd name="T7" fmla="*/ 142 h 480"/>
                <a:gd name="T8" fmla="*/ 119 w 193"/>
                <a:gd name="T9" fmla="*/ 232 h 480"/>
                <a:gd name="T10" fmla="*/ 175 w 193"/>
                <a:gd name="T11" fmla="*/ 328 h 480"/>
                <a:gd name="T12" fmla="*/ 172 w 193"/>
                <a:gd name="T13" fmla="*/ 462 h 480"/>
                <a:gd name="T14" fmla="*/ 68 w 193"/>
                <a:gd name="T15" fmla="*/ 442 h 480"/>
                <a:gd name="T16" fmla="*/ 48 w 193"/>
                <a:gd name="T17" fmla="*/ 384 h 480"/>
                <a:gd name="T18" fmla="*/ 88 w 193"/>
                <a:gd name="T19" fmla="*/ 325 h 480"/>
                <a:gd name="T20" fmla="*/ 93 w 193"/>
                <a:gd name="T21" fmla="*/ 384 h 480"/>
                <a:gd name="T22" fmla="*/ 130 w 193"/>
                <a:gd name="T23" fmla="*/ 373 h 480"/>
                <a:gd name="T24" fmla="*/ 105 w 193"/>
                <a:gd name="T25" fmla="*/ 305 h 480"/>
                <a:gd name="T26" fmla="*/ 43 w 193"/>
                <a:gd name="T27" fmla="*/ 209 h 480"/>
                <a:gd name="T28" fmla="*/ 14 w 193"/>
                <a:gd name="T29" fmla="*/ 139 h 480"/>
                <a:gd name="T30" fmla="*/ 3 w 193"/>
                <a:gd name="T31" fmla="*/ 91 h 480"/>
                <a:gd name="T32" fmla="*/ 37 w 193"/>
                <a:gd name="T33" fmla="*/ 12 h 480"/>
                <a:gd name="T34" fmla="*/ 122 w 193"/>
                <a:gd name="T35" fmla="*/ 23 h 480"/>
                <a:gd name="T36" fmla="*/ 147 w 193"/>
                <a:gd name="T37" fmla="*/ 74 h 480"/>
                <a:gd name="T38" fmla="*/ 34 w 193"/>
                <a:gd name="T39" fmla="*/ 79 h 480"/>
                <a:gd name="T40" fmla="*/ 26 w 193"/>
                <a:gd name="T41" fmla="*/ 65 h 480"/>
                <a:gd name="T42" fmla="*/ 31 w 193"/>
                <a:gd name="T43" fmla="*/ 48 h 480"/>
                <a:gd name="T44" fmla="*/ 37 w 193"/>
                <a:gd name="T45" fmla="*/ 116 h 480"/>
                <a:gd name="T46" fmla="*/ 37 w 193"/>
                <a:gd name="T47" fmla="*/ 58 h 480"/>
                <a:gd name="T48" fmla="*/ 37 w 193"/>
                <a:gd name="T49" fmla="*/ 43 h 480"/>
                <a:gd name="T50" fmla="*/ 45 w 193"/>
                <a:gd name="T51" fmla="*/ 130 h 480"/>
                <a:gd name="T52" fmla="*/ 43 w 193"/>
                <a:gd name="T53" fmla="*/ 150 h 480"/>
                <a:gd name="T54" fmla="*/ 57 w 193"/>
                <a:gd name="T55" fmla="*/ 158 h 480"/>
                <a:gd name="T56" fmla="*/ 57 w 193"/>
                <a:gd name="T57" fmla="*/ 173 h 480"/>
                <a:gd name="T58" fmla="*/ 68 w 193"/>
                <a:gd name="T59" fmla="*/ 23 h 480"/>
                <a:gd name="T60" fmla="*/ 68 w 193"/>
                <a:gd name="T61" fmla="*/ 192 h 480"/>
                <a:gd name="T62" fmla="*/ 79 w 193"/>
                <a:gd name="T63" fmla="*/ 206 h 480"/>
                <a:gd name="T64" fmla="*/ 77 w 193"/>
                <a:gd name="T65" fmla="*/ 23 h 480"/>
                <a:gd name="T66" fmla="*/ 74 w 193"/>
                <a:gd name="T67" fmla="*/ 34 h 480"/>
                <a:gd name="T68" fmla="*/ 91 w 193"/>
                <a:gd name="T69" fmla="*/ 226 h 480"/>
                <a:gd name="T70" fmla="*/ 85 w 193"/>
                <a:gd name="T71" fmla="*/ 232 h 480"/>
                <a:gd name="T72" fmla="*/ 93 w 193"/>
                <a:gd name="T73" fmla="*/ 223 h 480"/>
                <a:gd name="T74" fmla="*/ 99 w 193"/>
                <a:gd name="T75" fmla="*/ 32 h 480"/>
                <a:gd name="T76" fmla="*/ 113 w 193"/>
                <a:gd name="T77" fmla="*/ 54 h 480"/>
                <a:gd name="T78" fmla="*/ 105 w 193"/>
                <a:gd name="T79" fmla="*/ 54 h 480"/>
                <a:gd name="T80" fmla="*/ 113 w 193"/>
                <a:gd name="T81" fmla="*/ 85 h 480"/>
                <a:gd name="T82" fmla="*/ 110 w 193"/>
                <a:gd name="T83" fmla="*/ 437 h 480"/>
                <a:gd name="T84" fmla="*/ 110 w 193"/>
                <a:gd name="T85" fmla="*/ 431 h 480"/>
                <a:gd name="T86" fmla="*/ 122 w 193"/>
                <a:gd name="T87" fmla="*/ 96 h 480"/>
                <a:gd name="T88" fmla="*/ 122 w 193"/>
                <a:gd name="T89" fmla="*/ 68 h 480"/>
                <a:gd name="T90" fmla="*/ 119 w 193"/>
                <a:gd name="T91" fmla="*/ 122 h 480"/>
                <a:gd name="T92" fmla="*/ 122 w 193"/>
                <a:gd name="T93" fmla="*/ 116 h 480"/>
                <a:gd name="T94" fmla="*/ 124 w 193"/>
                <a:gd name="T95" fmla="*/ 283 h 480"/>
                <a:gd name="T96" fmla="*/ 122 w 193"/>
                <a:gd name="T97" fmla="*/ 437 h 480"/>
                <a:gd name="T98" fmla="*/ 130 w 193"/>
                <a:gd name="T99" fmla="*/ 440 h 480"/>
                <a:gd name="T100" fmla="*/ 133 w 193"/>
                <a:gd name="T101" fmla="*/ 451 h 480"/>
                <a:gd name="T102" fmla="*/ 153 w 193"/>
                <a:gd name="T103" fmla="*/ 434 h 480"/>
                <a:gd name="T104" fmla="*/ 161 w 193"/>
                <a:gd name="T105" fmla="*/ 440 h 480"/>
                <a:gd name="T106" fmla="*/ 147 w 193"/>
                <a:gd name="T107" fmla="*/ 319 h 480"/>
                <a:gd name="T108" fmla="*/ 147 w 193"/>
                <a:gd name="T109" fmla="*/ 342 h 480"/>
                <a:gd name="T110" fmla="*/ 156 w 193"/>
                <a:gd name="T111" fmla="*/ 345 h 480"/>
                <a:gd name="T112" fmla="*/ 170 w 193"/>
                <a:gd name="T113" fmla="*/ 425 h 480"/>
                <a:gd name="T114" fmla="*/ 175 w 193"/>
                <a:gd name="T115" fmla="*/ 414 h 480"/>
                <a:gd name="T116" fmla="*/ 167 w 193"/>
                <a:gd name="T117" fmla="*/ 414 h 480"/>
                <a:gd name="T118" fmla="*/ 164 w 193"/>
                <a:gd name="T119" fmla="*/ 376 h 480"/>
                <a:gd name="T120" fmla="*/ 172 w 193"/>
                <a:gd name="T121" fmla="*/ 387 h 480"/>
                <a:gd name="T122" fmla="*/ 172 w 193"/>
                <a:gd name="T123" fmla="*/ 39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3" h="480">
                  <a:moveTo>
                    <a:pt x="150" y="99"/>
                  </a:moveTo>
                  <a:cubicBezTo>
                    <a:pt x="150" y="102"/>
                    <a:pt x="153" y="105"/>
                    <a:pt x="150" y="108"/>
                  </a:cubicBezTo>
                  <a:cubicBezTo>
                    <a:pt x="150" y="110"/>
                    <a:pt x="147" y="116"/>
                    <a:pt x="150" y="119"/>
                  </a:cubicBezTo>
                  <a:lnTo>
                    <a:pt x="150" y="130"/>
                  </a:lnTo>
                  <a:lnTo>
                    <a:pt x="150" y="136"/>
                  </a:lnTo>
                  <a:cubicBezTo>
                    <a:pt x="150" y="139"/>
                    <a:pt x="153" y="142"/>
                    <a:pt x="153" y="144"/>
                  </a:cubicBezTo>
                  <a:cubicBezTo>
                    <a:pt x="153" y="147"/>
                    <a:pt x="150" y="147"/>
                    <a:pt x="150" y="150"/>
                  </a:cubicBezTo>
                  <a:cubicBezTo>
                    <a:pt x="147" y="153"/>
                    <a:pt x="147" y="156"/>
                    <a:pt x="147" y="156"/>
                  </a:cubicBezTo>
                  <a:cubicBezTo>
                    <a:pt x="144" y="156"/>
                    <a:pt x="144" y="156"/>
                    <a:pt x="141" y="158"/>
                  </a:cubicBezTo>
                  <a:cubicBezTo>
                    <a:pt x="139" y="158"/>
                    <a:pt x="139" y="158"/>
                    <a:pt x="136" y="161"/>
                  </a:cubicBezTo>
                  <a:lnTo>
                    <a:pt x="127" y="161"/>
                  </a:lnTo>
                  <a:cubicBezTo>
                    <a:pt x="124" y="161"/>
                    <a:pt x="122" y="164"/>
                    <a:pt x="116" y="164"/>
                  </a:cubicBezTo>
                  <a:cubicBezTo>
                    <a:pt x="110" y="161"/>
                    <a:pt x="105" y="156"/>
                    <a:pt x="102" y="150"/>
                  </a:cubicBezTo>
                  <a:cubicBezTo>
                    <a:pt x="102" y="147"/>
                    <a:pt x="99" y="144"/>
                    <a:pt x="99" y="142"/>
                  </a:cubicBezTo>
                  <a:cubicBezTo>
                    <a:pt x="99" y="133"/>
                    <a:pt x="96" y="125"/>
                    <a:pt x="96" y="119"/>
                  </a:cubicBezTo>
                  <a:cubicBezTo>
                    <a:pt x="93" y="113"/>
                    <a:pt x="93" y="113"/>
                    <a:pt x="93" y="108"/>
                  </a:cubicBezTo>
                  <a:lnTo>
                    <a:pt x="93" y="105"/>
                  </a:lnTo>
                  <a:lnTo>
                    <a:pt x="93" y="102"/>
                  </a:lnTo>
                  <a:lnTo>
                    <a:pt x="93" y="96"/>
                  </a:lnTo>
                  <a:lnTo>
                    <a:pt x="91" y="77"/>
                  </a:lnTo>
                  <a:cubicBezTo>
                    <a:pt x="88" y="71"/>
                    <a:pt x="88" y="65"/>
                    <a:pt x="85" y="60"/>
                  </a:cubicBezTo>
                  <a:lnTo>
                    <a:pt x="68" y="51"/>
                  </a:lnTo>
                  <a:cubicBezTo>
                    <a:pt x="62" y="54"/>
                    <a:pt x="57" y="60"/>
                    <a:pt x="54" y="68"/>
                  </a:cubicBezTo>
                  <a:lnTo>
                    <a:pt x="54" y="79"/>
                  </a:lnTo>
                  <a:lnTo>
                    <a:pt x="54" y="91"/>
                  </a:lnTo>
                  <a:lnTo>
                    <a:pt x="60" y="116"/>
                  </a:lnTo>
                  <a:cubicBezTo>
                    <a:pt x="60" y="119"/>
                    <a:pt x="62" y="125"/>
                    <a:pt x="62" y="127"/>
                  </a:cubicBezTo>
                  <a:cubicBezTo>
                    <a:pt x="65" y="130"/>
                    <a:pt x="68" y="136"/>
                    <a:pt x="68" y="142"/>
                  </a:cubicBezTo>
                  <a:cubicBezTo>
                    <a:pt x="68" y="144"/>
                    <a:pt x="68" y="150"/>
                    <a:pt x="71" y="153"/>
                  </a:cubicBezTo>
                  <a:cubicBezTo>
                    <a:pt x="74" y="156"/>
                    <a:pt x="74" y="158"/>
                    <a:pt x="77" y="164"/>
                  </a:cubicBezTo>
                  <a:cubicBezTo>
                    <a:pt x="77" y="167"/>
                    <a:pt x="79" y="170"/>
                    <a:pt x="82" y="173"/>
                  </a:cubicBezTo>
                  <a:lnTo>
                    <a:pt x="91" y="189"/>
                  </a:lnTo>
                  <a:cubicBezTo>
                    <a:pt x="91" y="192"/>
                    <a:pt x="93" y="195"/>
                    <a:pt x="96" y="198"/>
                  </a:cubicBezTo>
                  <a:cubicBezTo>
                    <a:pt x="102" y="206"/>
                    <a:pt x="108" y="212"/>
                    <a:pt x="113" y="221"/>
                  </a:cubicBezTo>
                  <a:cubicBezTo>
                    <a:pt x="116" y="223"/>
                    <a:pt x="116" y="226"/>
                    <a:pt x="119" y="232"/>
                  </a:cubicBezTo>
                  <a:cubicBezTo>
                    <a:pt x="122" y="235"/>
                    <a:pt x="122" y="240"/>
                    <a:pt x="124" y="243"/>
                  </a:cubicBezTo>
                  <a:cubicBezTo>
                    <a:pt x="124" y="246"/>
                    <a:pt x="127" y="246"/>
                    <a:pt x="127" y="249"/>
                  </a:cubicBezTo>
                  <a:cubicBezTo>
                    <a:pt x="130" y="249"/>
                    <a:pt x="130" y="252"/>
                    <a:pt x="133" y="252"/>
                  </a:cubicBezTo>
                  <a:cubicBezTo>
                    <a:pt x="141" y="263"/>
                    <a:pt x="150" y="277"/>
                    <a:pt x="156" y="291"/>
                  </a:cubicBezTo>
                  <a:cubicBezTo>
                    <a:pt x="161" y="299"/>
                    <a:pt x="167" y="311"/>
                    <a:pt x="170" y="322"/>
                  </a:cubicBezTo>
                  <a:lnTo>
                    <a:pt x="172" y="325"/>
                  </a:lnTo>
                  <a:cubicBezTo>
                    <a:pt x="172" y="325"/>
                    <a:pt x="172" y="328"/>
                    <a:pt x="175" y="328"/>
                  </a:cubicBezTo>
                  <a:cubicBezTo>
                    <a:pt x="178" y="333"/>
                    <a:pt x="181" y="339"/>
                    <a:pt x="181" y="345"/>
                  </a:cubicBezTo>
                  <a:cubicBezTo>
                    <a:pt x="181" y="347"/>
                    <a:pt x="184" y="350"/>
                    <a:pt x="184" y="353"/>
                  </a:cubicBezTo>
                  <a:cubicBezTo>
                    <a:pt x="187" y="359"/>
                    <a:pt x="187" y="364"/>
                    <a:pt x="189" y="370"/>
                  </a:cubicBezTo>
                  <a:cubicBezTo>
                    <a:pt x="189" y="373"/>
                    <a:pt x="189" y="373"/>
                    <a:pt x="192" y="376"/>
                  </a:cubicBezTo>
                  <a:lnTo>
                    <a:pt x="192" y="404"/>
                  </a:lnTo>
                  <a:lnTo>
                    <a:pt x="192" y="434"/>
                  </a:lnTo>
                  <a:cubicBezTo>
                    <a:pt x="189" y="445"/>
                    <a:pt x="181" y="454"/>
                    <a:pt x="172" y="462"/>
                  </a:cubicBezTo>
                  <a:cubicBezTo>
                    <a:pt x="167" y="468"/>
                    <a:pt x="161" y="471"/>
                    <a:pt x="156" y="471"/>
                  </a:cubicBezTo>
                  <a:cubicBezTo>
                    <a:pt x="153" y="471"/>
                    <a:pt x="153" y="471"/>
                    <a:pt x="150" y="473"/>
                  </a:cubicBezTo>
                  <a:cubicBezTo>
                    <a:pt x="147" y="476"/>
                    <a:pt x="141" y="476"/>
                    <a:pt x="139" y="476"/>
                  </a:cubicBezTo>
                  <a:cubicBezTo>
                    <a:pt x="136" y="476"/>
                    <a:pt x="136" y="479"/>
                    <a:pt x="133" y="479"/>
                  </a:cubicBezTo>
                  <a:lnTo>
                    <a:pt x="127" y="479"/>
                  </a:lnTo>
                  <a:cubicBezTo>
                    <a:pt x="108" y="476"/>
                    <a:pt x="91" y="471"/>
                    <a:pt x="77" y="456"/>
                  </a:cubicBezTo>
                  <a:cubicBezTo>
                    <a:pt x="74" y="451"/>
                    <a:pt x="71" y="448"/>
                    <a:pt x="68" y="442"/>
                  </a:cubicBezTo>
                  <a:cubicBezTo>
                    <a:pt x="62" y="437"/>
                    <a:pt x="60" y="428"/>
                    <a:pt x="60" y="417"/>
                  </a:cubicBezTo>
                  <a:lnTo>
                    <a:pt x="60" y="411"/>
                  </a:lnTo>
                  <a:cubicBezTo>
                    <a:pt x="60" y="409"/>
                    <a:pt x="57" y="407"/>
                    <a:pt x="54" y="404"/>
                  </a:cubicBezTo>
                  <a:cubicBezTo>
                    <a:pt x="51" y="401"/>
                    <a:pt x="51" y="398"/>
                    <a:pt x="48" y="395"/>
                  </a:cubicBezTo>
                  <a:lnTo>
                    <a:pt x="48" y="390"/>
                  </a:lnTo>
                  <a:lnTo>
                    <a:pt x="48" y="387"/>
                  </a:lnTo>
                  <a:lnTo>
                    <a:pt x="48" y="384"/>
                  </a:lnTo>
                  <a:lnTo>
                    <a:pt x="45" y="356"/>
                  </a:lnTo>
                  <a:cubicBezTo>
                    <a:pt x="45" y="347"/>
                    <a:pt x="43" y="336"/>
                    <a:pt x="40" y="328"/>
                  </a:cubicBezTo>
                  <a:cubicBezTo>
                    <a:pt x="45" y="322"/>
                    <a:pt x="51" y="316"/>
                    <a:pt x="57" y="314"/>
                  </a:cubicBezTo>
                  <a:lnTo>
                    <a:pt x="65" y="314"/>
                  </a:lnTo>
                  <a:cubicBezTo>
                    <a:pt x="68" y="314"/>
                    <a:pt x="74" y="316"/>
                    <a:pt x="79" y="316"/>
                  </a:cubicBezTo>
                  <a:cubicBezTo>
                    <a:pt x="79" y="319"/>
                    <a:pt x="82" y="319"/>
                    <a:pt x="85" y="319"/>
                  </a:cubicBezTo>
                  <a:cubicBezTo>
                    <a:pt x="85" y="322"/>
                    <a:pt x="88" y="322"/>
                    <a:pt x="88" y="325"/>
                  </a:cubicBezTo>
                  <a:cubicBezTo>
                    <a:pt x="88" y="325"/>
                    <a:pt x="88" y="328"/>
                    <a:pt x="85" y="328"/>
                  </a:cubicBezTo>
                  <a:cubicBezTo>
                    <a:pt x="85" y="331"/>
                    <a:pt x="85" y="336"/>
                    <a:pt x="88" y="339"/>
                  </a:cubicBezTo>
                  <a:lnTo>
                    <a:pt x="88" y="350"/>
                  </a:lnTo>
                  <a:cubicBezTo>
                    <a:pt x="88" y="353"/>
                    <a:pt x="88" y="353"/>
                    <a:pt x="91" y="356"/>
                  </a:cubicBezTo>
                  <a:cubicBezTo>
                    <a:pt x="91" y="359"/>
                    <a:pt x="91" y="362"/>
                    <a:pt x="88" y="362"/>
                  </a:cubicBezTo>
                  <a:lnTo>
                    <a:pt x="88" y="367"/>
                  </a:lnTo>
                  <a:cubicBezTo>
                    <a:pt x="91" y="373"/>
                    <a:pt x="93" y="378"/>
                    <a:pt x="93" y="384"/>
                  </a:cubicBezTo>
                  <a:cubicBezTo>
                    <a:pt x="93" y="390"/>
                    <a:pt x="96" y="395"/>
                    <a:pt x="96" y="404"/>
                  </a:cubicBezTo>
                  <a:cubicBezTo>
                    <a:pt x="105" y="414"/>
                    <a:pt x="105" y="414"/>
                    <a:pt x="116" y="420"/>
                  </a:cubicBezTo>
                  <a:lnTo>
                    <a:pt x="127" y="417"/>
                  </a:lnTo>
                  <a:cubicBezTo>
                    <a:pt x="130" y="414"/>
                    <a:pt x="133" y="411"/>
                    <a:pt x="133" y="407"/>
                  </a:cubicBezTo>
                  <a:cubicBezTo>
                    <a:pt x="133" y="404"/>
                    <a:pt x="133" y="398"/>
                    <a:pt x="136" y="395"/>
                  </a:cubicBezTo>
                  <a:cubicBezTo>
                    <a:pt x="136" y="393"/>
                    <a:pt x="136" y="387"/>
                    <a:pt x="133" y="384"/>
                  </a:cubicBezTo>
                  <a:lnTo>
                    <a:pt x="130" y="373"/>
                  </a:lnTo>
                  <a:cubicBezTo>
                    <a:pt x="127" y="364"/>
                    <a:pt x="124" y="359"/>
                    <a:pt x="122" y="353"/>
                  </a:cubicBezTo>
                  <a:cubicBezTo>
                    <a:pt x="122" y="350"/>
                    <a:pt x="119" y="347"/>
                    <a:pt x="122" y="347"/>
                  </a:cubicBezTo>
                  <a:cubicBezTo>
                    <a:pt x="122" y="345"/>
                    <a:pt x="119" y="342"/>
                    <a:pt x="119" y="342"/>
                  </a:cubicBezTo>
                  <a:cubicBezTo>
                    <a:pt x="119" y="339"/>
                    <a:pt x="119" y="336"/>
                    <a:pt x="116" y="333"/>
                  </a:cubicBezTo>
                  <a:cubicBezTo>
                    <a:pt x="113" y="331"/>
                    <a:pt x="113" y="328"/>
                    <a:pt x="113" y="328"/>
                  </a:cubicBezTo>
                  <a:cubicBezTo>
                    <a:pt x="110" y="322"/>
                    <a:pt x="110" y="319"/>
                    <a:pt x="108" y="314"/>
                  </a:cubicBezTo>
                  <a:cubicBezTo>
                    <a:pt x="105" y="311"/>
                    <a:pt x="105" y="308"/>
                    <a:pt x="105" y="305"/>
                  </a:cubicBezTo>
                  <a:cubicBezTo>
                    <a:pt x="105" y="299"/>
                    <a:pt x="102" y="297"/>
                    <a:pt x="99" y="294"/>
                  </a:cubicBezTo>
                  <a:cubicBezTo>
                    <a:pt x="93" y="291"/>
                    <a:pt x="91" y="283"/>
                    <a:pt x="91" y="277"/>
                  </a:cubicBezTo>
                  <a:cubicBezTo>
                    <a:pt x="85" y="274"/>
                    <a:pt x="82" y="268"/>
                    <a:pt x="79" y="263"/>
                  </a:cubicBezTo>
                  <a:cubicBezTo>
                    <a:pt x="77" y="260"/>
                    <a:pt x="77" y="257"/>
                    <a:pt x="74" y="254"/>
                  </a:cubicBezTo>
                  <a:cubicBezTo>
                    <a:pt x="65" y="246"/>
                    <a:pt x="60" y="237"/>
                    <a:pt x="54" y="226"/>
                  </a:cubicBezTo>
                  <a:cubicBezTo>
                    <a:pt x="51" y="223"/>
                    <a:pt x="51" y="221"/>
                    <a:pt x="48" y="218"/>
                  </a:cubicBezTo>
                  <a:cubicBezTo>
                    <a:pt x="45" y="215"/>
                    <a:pt x="45" y="212"/>
                    <a:pt x="43" y="209"/>
                  </a:cubicBezTo>
                  <a:cubicBezTo>
                    <a:pt x="37" y="198"/>
                    <a:pt x="31" y="189"/>
                    <a:pt x="26" y="181"/>
                  </a:cubicBezTo>
                  <a:cubicBezTo>
                    <a:pt x="26" y="178"/>
                    <a:pt x="23" y="178"/>
                    <a:pt x="23" y="175"/>
                  </a:cubicBezTo>
                  <a:cubicBezTo>
                    <a:pt x="23" y="167"/>
                    <a:pt x="20" y="158"/>
                    <a:pt x="14" y="153"/>
                  </a:cubicBezTo>
                  <a:lnTo>
                    <a:pt x="14" y="150"/>
                  </a:lnTo>
                  <a:lnTo>
                    <a:pt x="14" y="147"/>
                  </a:lnTo>
                  <a:lnTo>
                    <a:pt x="14" y="142"/>
                  </a:lnTo>
                  <a:lnTo>
                    <a:pt x="14" y="139"/>
                  </a:lnTo>
                  <a:cubicBezTo>
                    <a:pt x="14" y="136"/>
                    <a:pt x="12" y="133"/>
                    <a:pt x="12" y="130"/>
                  </a:cubicBezTo>
                  <a:lnTo>
                    <a:pt x="12" y="127"/>
                  </a:lnTo>
                  <a:lnTo>
                    <a:pt x="9" y="125"/>
                  </a:lnTo>
                  <a:cubicBezTo>
                    <a:pt x="9" y="122"/>
                    <a:pt x="9" y="119"/>
                    <a:pt x="6" y="116"/>
                  </a:cubicBezTo>
                  <a:lnTo>
                    <a:pt x="6" y="108"/>
                  </a:lnTo>
                  <a:lnTo>
                    <a:pt x="6" y="102"/>
                  </a:lnTo>
                  <a:cubicBezTo>
                    <a:pt x="3" y="96"/>
                    <a:pt x="3" y="94"/>
                    <a:pt x="3" y="91"/>
                  </a:cubicBezTo>
                  <a:lnTo>
                    <a:pt x="3" y="82"/>
                  </a:lnTo>
                  <a:cubicBezTo>
                    <a:pt x="0" y="77"/>
                    <a:pt x="0" y="74"/>
                    <a:pt x="0" y="68"/>
                  </a:cubicBezTo>
                  <a:lnTo>
                    <a:pt x="0" y="54"/>
                  </a:lnTo>
                  <a:lnTo>
                    <a:pt x="9" y="37"/>
                  </a:lnTo>
                  <a:cubicBezTo>
                    <a:pt x="12" y="32"/>
                    <a:pt x="14" y="26"/>
                    <a:pt x="17" y="23"/>
                  </a:cubicBezTo>
                  <a:cubicBezTo>
                    <a:pt x="20" y="23"/>
                    <a:pt x="23" y="23"/>
                    <a:pt x="26" y="20"/>
                  </a:cubicBezTo>
                  <a:cubicBezTo>
                    <a:pt x="29" y="17"/>
                    <a:pt x="31" y="15"/>
                    <a:pt x="37" y="12"/>
                  </a:cubicBezTo>
                  <a:cubicBezTo>
                    <a:pt x="45" y="9"/>
                    <a:pt x="51" y="6"/>
                    <a:pt x="57" y="3"/>
                  </a:cubicBezTo>
                  <a:cubicBezTo>
                    <a:pt x="60" y="3"/>
                    <a:pt x="62" y="0"/>
                    <a:pt x="65" y="3"/>
                  </a:cubicBezTo>
                  <a:lnTo>
                    <a:pt x="77" y="3"/>
                  </a:lnTo>
                  <a:cubicBezTo>
                    <a:pt x="82" y="3"/>
                    <a:pt x="91" y="3"/>
                    <a:pt x="96" y="6"/>
                  </a:cubicBezTo>
                  <a:cubicBezTo>
                    <a:pt x="99" y="9"/>
                    <a:pt x="99" y="9"/>
                    <a:pt x="102" y="9"/>
                  </a:cubicBezTo>
                  <a:cubicBezTo>
                    <a:pt x="108" y="9"/>
                    <a:pt x="110" y="12"/>
                    <a:pt x="113" y="15"/>
                  </a:cubicBezTo>
                  <a:lnTo>
                    <a:pt x="122" y="23"/>
                  </a:lnTo>
                  <a:cubicBezTo>
                    <a:pt x="127" y="29"/>
                    <a:pt x="133" y="37"/>
                    <a:pt x="136" y="46"/>
                  </a:cubicBezTo>
                  <a:cubicBezTo>
                    <a:pt x="136" y="46"/>
                    <a:pt x="136" y="48"/>
                    <a:pt x="139" y="48"/>
                  </a:cubicBezTo>
                  <a:lnTo>
                    <a:pt x="139" y="54"/>
                  </a:lnTo>
                  <a:cubicBezTo>
                    <a:pt x="141" y="54"/>
                    <a:pt x="141" y="57"/>
                    <a:pt x="141" y="57"/>
                  </a:cubicBezTo>
                  <a:lnTo>
                    <a:pt x="141" y="63"/>
                  </a:lnTo>
                  <a:cubicBezTo>
                    <a:pt x="141" y="65"/>
                    <a:pt x="144" y="68"/>
                    <a:pt x="144" y="71"/>
                  </a:cubicBezTo>
                  <a:cubicBezTo>
                    <a:pt x="144" y="71"/>
                    <a:pt x="144" y="74"/>
                    <a:pt x="147" y="74"/>
                  </a:cubicBezTo>
                  <a:cubicBezTo>
                    <a:pt x="147" y="77"/>
                    <a:pt x="153" y="79"/>
                    <a:pt x="150" y="85"/>
                  </a:cubicBezTo>
                  <a:lnTo>
                    <a:pt x="150" y="96"/>
                  </a:lnTo>
                  <a:cubicBezTo>
                    <a:pt x="150" y="96"/>
                    <a:pt x="150" y="95"/>
                    <a:pt x="150" y="96"/>
                  </a:cubicBezTo>
                  <a:lnTo>
                    <a:pt x="150" y="99"/>
                  </a:lnTo>
                  <a:close/>
                  <a:moveTo>
                    <a:pt x="23" y="82"/>
                  </a:moveTo>
                  <a:lnTo>
                    <a:pt x="29" y="82"/>
                  </a:lnTo>
                  <a:cubicBezTo>
                    <a:pt x="31" y="82"/>
                    <a:pt x="31" y="82"/>
                    <a:pt x="34" y="79"/>
                  </a:cubicBezTo>
                  <a:cubicBezTo>
                    <a:pt x="31" y="79"/>
                    <a:pt x="29" y="79"/>
                    <a:pt x="29" y="77"/>
                  </a:cubicBezTo>
                  <a:cubicBezTo>
                    <a:pt x="29" y="79"/>
                    <a:pt x="26" y="82"/>
                    <a:pt x="23" y="82"/>
                  </a:cubicBezTo>
                  <a:close/>
                  <a:moveTo>
                    <a:pt x="26" y="65"/>
                  </a:moveTo>
                  <a:lnTo>
                    <a:pt x="29" y="65"/>
                  </a:lnTo>
                  <a:cubicBezTo>
                    <a:pt x="31" y="65"/>
                    <a:pt x="31" y="65"/>
                    <a:pt x="29" y="60"/>
                  </a:cubicBezTo>
                  <a:lnTo>
                    <a:pt x="23" y="60"/>
                  </a:lnTo>
                  <a:lnTo>
                    <a:pt x="26" y="65"/>
                  </a:lnTo>
                  <a:close/>
                  <a:moveTo>
                    <a:pt x="31" y="48"/>
                  </a:moveTo>
                  <a:lnTo>
                    <a:pt x="29" y="48"/>
                  </a:lnTo>
                  <a:lnTo>
                    <a:pt x="26" y="48"/>
                  </a:lnTo>
                  <a:cubicBezTo>
                    <a:pt x="26" y="51"/>
                    <a:pt x="29" y="51"/>
                    <a:pt x="29" y="51"/>
                  </a:cubicBezTo>
                  <a:cubicBezTo>
                    <a:pt x="29" y="51"/>
                    <a:pt x="29" y="54"/>
                    <a:pt x="31" y="54"/>
                  </a:cubicBezTo>
                  <a:cubicBezTo>
                    <a:pt x="34" y="57"/>
                    <a:pt x="34" y="54"/>
                    <a:pt x="40" y="54"/>
                  </a:cubicBezTo>
                  <a:cubicBezTo>
                    <a:pt x="37" y="51"/>
                    <a:pt x="34" y="51"/>
                    <a:pt x="31" y="48"/>
                  </a:cubicBezTo>
                  <a:close/>
                  <a:moveTo>
                    <a:pt x="29" y="99"/>
                  </a:moveTo>
                  <a:cubicBezTo>
                    <a:pt x="26" y="96"/>
                    <a:pt x="26" y="99"/>
                    <a:pt x="29" y="99"/>
                  </a:cubicBezTo>
                  <a:close/>
                  <a:moveTo>
                    <a:pt x="37" y="116"/>
                  </a:moveTo>
                  <a:cubicBezTo>
                    <a:pt x="37" y="110"/>
                    <a:pt x="37" y="108"/>
                    <a:pt x="34" y="108"/>
                  </a:cubicBezTo>
                  <a:lnTo>
                    <a:pt x="31" y="108"/>
                  </a:lnTo>
                  <a:cubicBezTo>
                    <a:pt x="31" y="108"/>
                    <a:pt x="29" y="108"/>
                    <a:pt x="29" y="110"/>
                  </a:cubicBezTo>
                  <a:cubicBezTo>
                    <a:pt x="31" y="110"/>
                    <a:pt x="34" y="113"/>
                    <a:pt x="37" y="116"/>
                  </a:cubicBezTo>
                  <a:close/>
                  <a:moveTo>
                    <a:pt x="34" y="68"/>
                  </a:moveTo>
                  <a:cubicBezTo>
                    <a:pt x="34" y="68"/>
                    <a:pt x="37" y="71"/>
                    <a:pt x="37" y="74"/>
                  </a:cubicBezTo>
                  <a:lnTo>
                    <a:pt x="34" y="77"/>
                  </a:lnTo>
                  <a:cubicBezTo>
                    <a:pt x="43" y="74"/>
                    <a:pt x="43" y="74"/>
                    <a:pt x="40" y="65"/>
                  </a:cubicBezTo>
                  <a:lnTo>
                    <a:pt x="34" y="68"/>
                  </a:lnTo>
                  <a:close/>
                  <a:moveTo>
                    <a:pt x="34" y="60"/>
                  </a:moveTo>
                  <a:cubicBezTo>
                    <a:pt x="36" y="60"/>
                    <a:pt x="36" y="59"/>
                    <a:pt x="37" y="58"/>
                  </a:cubicBezTo>
                  <a:lnTo>
                    <a:pt x="34" y="60"/>
                  </a:lnTo>
                  <a:close/>
                  <a:moveTo>
                    <a:pt x="37" y="102"/>
                  </a:moveTo>
                  <a:cubicBezTo>
                    <a:pt x="37" y="99"/>
                    <a:pt x="37" y="96"/>
                    <a:pt x="40" y="96"/>
                  </a:cubicBezTo>
                  <a:cubicBezTo>
                    <a:pt x="34" y="96"/>
                    <a:pt x="31" y="96"/>
                    <a:pt x="37" y="102"/>
                  </a:cubicBezTo>
                  <a:close/>
                  <a:moveTo>
                    <a:pt x="40" y="51"/>
                  </a:moveTo>
                  <a:cubicBezTo>
                    <a:pt x="43" y="48"/>
                    <a:pt x="43" y="46"/>
                    <a:pt x="43" y="43"/>
                  </a:cubicBezTo>
                  <a:lnTo>
                    <a:pt x="37" y="43"/>
                  </a:lnTo>
                  <a:cubicBezTo>
                    <a:pt x="37" y="43"/>
                    <a:pt x="37" y="46"/>
                    <a:pt x="40" y="46"/>
                  </a:cubicBezTo>
                  <a:lnTo>
                    <a:pt x="40" y="51"/>
                  </a:lnTo>
                  <a:close/>
                  <a:moveTo>
                    <a:pt x="45" y="144"/>
                  </a:moveTo>
                  <a:lnTo>
                    <a:pt x="37" y="136"/>
                  </a:lnTo>
                  <a:cubicBezTo>
                    <a:pt x="40" y="142"/>
                    <a:pt x="43" y="142"/>
                    <a:pt x="45" y="144"/>
                  </a:cubicBezTo>
                  <a:close/>
                  <a:moveTo>
                    <a:pt x="40" y="127"/>
                  </a:moveTo>
                  <a:cubicBezTo>
                    <a:pt x="43" y="127"/>
                    <a:pt x="45" y="130"/>
                    <a:pt x="45" y="130"/>
                  </a:cubicBezTo>
                  <a:lnTo>
                    <a:pt x="43" y="127"/>
                  </a:lnTo>
                  <a:cubicBezTo>
                    <a:pt x="43" y="125"/>
                    <a:pt x="43" y="125"/>
                    <a:pt x="40" y="127"/>
                  </a:cubicBezTo>
                  <a:close/>
                  <a:moveTo>
                    <a:pt x="43" y="150"/>
                  </a:moveTo>
                  <a:lnTo>
                    <a:pt x="45" y="150"/>
                  </a:lnTo>
                  <a:lnTo>
                    <a:pt x="48" y="150"/>
                  </a:lnTo>
                  <a:cubicBezTo>
                    <a:pt x="48" y="147"/>
                    <a:pt x="45" y="147"/>
                    <a:pt x="45" y="147"/>
                  </a:cubicBezTo>
                  <a:lnTo>
                    <a:pt x="43" y="150"/>
                  </a:lnTo>
                  <a:close/>
                  <a:moveTo>
                    <a:pt x="48" y="26"/>
                  </a:moveTo>
                  <a:cubicBezTo>
                    <a:pt x="45" y="26"/>
                    <a:pt x="43" y="29"/>
                    <a:pt x="45" y="32"/>
                  </a:cubicBezTo>
                  <a:lnTo>
                    <a:pt x="48" y="32"/>
                  </a:lnTo>
                  <a:lnTo>
                    <a:pt x="48" y="26"/>
                  </a:lnTo>
                  <a:close/>
                  <a:moveTo>
                    <a:pt x="51" y="158"/>
                  </a:moveTo>
                  <a:cubicBezTo>
                    <a:pt x="51" y="164"/>
                    <a:pt x="54" y="164"/>
                    <a:pt x="57" y="161"/>
                  </a:cubicBezTo>
                  <a:lnTo>
                    <a:pt x="57" y="158"/>
                  </a:lnTo>
                  <a:lnTo>
                    <a:pt x="51" y="158"/>
                  </a:lnTo>
                  <a:close/>
                  <a:moveTo>
                    <a:pt x="57" y="26"/>
                  </a:moveTo>
                  <a:cubicBezTo>
                    <a:pt x="54" y="26"/>
                    <a:pt x="54" y="29"/>
                    <a:pt x="51" y="29"/>
                  </a:cubicBezTo>
                  <a:cubicBezTo>
                    <a:pt x="54" y="32"/>
                    <a:pt x="57" y="32"/>
                    <a:pt x="57" y="26"/>
                  </a:cubicBezTo>
                  <a:close/>
                  <a:moveTo>
                    <a:pt x="57" y="173"/>
                  </a:moveTo>
                  <a:cubicBezTo>
                    <a:pt x="54" y="173"/>
                    <a:pt x="54" y="170"/>
                    <a:pt x="51" y="170"/>
                  </a:cubicBezTo>
                  <a:cubicBezTo>
                    <a:pt x="51" y="175"/>
                    <a:pt x="51" y="175"/>
                    <a:pt x="57" y="173"/>
                  </a:cubicBezTo>
                  <a:close/>
                  <a:moveTo>
                    <a:pt x="57" y="34"/>
                  </a:moveTo>
                  <a:cubicBezTo>
                    <a:pt x="54" y="37"/>
                    <a:pt x="57" y="37"/>
                    <a:pt x="57" y="34"/>
                  </a:cubicBezTo>
                  <a:close/>
                  <a:moveTo>
                    <a:pt x="68" y="34"/>
                  </a:moveTo>
                  <a:lnTo>
                    <a:pt x="68" y="32"/>
                  </a:lnTo>
                  <a:lnTo>
                    <a:pt x="65" y="32"/>
                  </a:lnTo>
                  <a:cubicBezTo>
                    <a:pt x="62" y="37"/>
                    <a:pt x="62" y="37"/>
                    <a:pt x="68" y="34"/>
                  </a:cubicBezTo>
                  <a:close/>
                  <a:moveTo>
                    <a:pt x="68" y="23"/>
                  </a:moveTo>
                  <a:lnTo>
                    <a:pt x="65" y="23"/>
                  </a:lnTo>
                  <a:lnTo>
                    <a:pt x="65" y="26"/>
                  </a:lnTo>
                  <a:cubicBezTo>
                    <a:pt x="65" y="23"/>
                    <a:pt x="65" y="23"/>
                    <a:pt x="68" y="23"/>
                  </a:cubicBezTo>
                  <a:close/>
                  <a:moveTo>
                    <a:pt x="65" y="189"/>
                  </a:moveTo>
                  <a:lnTo>
                    <a:pt x="65" y="192"/>
                  </a:lnTo>
                  <a:lnTo>
                    <a:pt x="65" y="195"/>
                  </a:lnTo>
                  <a:lnTo>
                    <a:pt x="68" y="192"/>
                  </a:lnTo>
                  <a:lnTo>
                    <a:pt x="71" y="189"/>
                  </a:lnTo>
                  <a:lnTo>
                    <a:pt x="71" y="187"/>
                  </a:lnTo>
                  <a:lnTo>
                    <a:pt x="68" y="187"/>
                  </a:lnTo>
                  <a:cubicBezTo>
                    <a:pt x="68" y="189"/>
                    <a:pt x="65" y="189"/>
                    <a:pt x="65" y="189"/>
                  </a:cubicBezTo>
                  <a:close/>
                  <a:moveTo>
                    <a:pt x="74" y="204"/>
                  </a:moveTo>
                  <a:cubicBezTo>
                    <a:pt x="74" y="206"/>
                    <a:pt x="77" y="206"/>
                    <a:pt x="74" y="204"/>
                  </a:cubicBezTo>
                  <a:cubicBezTo>
                    <a:pt x="77" y="206"/>
                    <a:pt x="79" y="206"/>
                    <a:pt x="79" y="206"/>
                  </a:cubicBezTo>
                  <a:lnTo>
                    <a:pt x="85" y="201"/>
                  </a:lnTo>
                  <a:lnTo>
                    <a:pt x="82" y="198"/>
                  </a:lnTo>
                  <a:lnTo>
                    <a:pt x="79" y="198"/>
                  </a:lnTo>
                  <a:cubicBezTo>
                    <a:pt x="77" y="198"/>
                    <a:pt x="77" y="201"/>
                    <a:pt x="74" y="204"/>
                  </a:cubicBezTo>
                  <a:close/>
                  <a:moveTo>
                    <a:pt x="74" y="26"/>
                  </a:moveTo>
                  <a:lnTo>
                    <a:pt x="79" y="26"/>
                  </a:lnTo>
                  <a:cubicBezTo>
                    <a:pt x="79" y="23"/>
                    <a:pt x="79" y="23"/>
                    <a:pt x="77" y="23"/>
                  </a:cubicBezTo>
                  <a:lnTo>
                    <a:pt x="74" y="23"/>
                  </a:lnTo>
                  <a:lnTo>
                    <a:pt x="74" y="26"/>
                  </a:lnTo>
                  <a:close/>
                  <a:moveTo>
                    <a:pt x="91" y="37"/>
                  </a:moveTo>
                  <a:lnTo>
                    <a:pt x="88" y="37"/>
                  </a:lnTo>
                  <a:cubicBezTo>
                    <a:pt x="88" y="37"/>
                    <a:pt x="85" y="34"/>
                    <a:pt x="85" y="32"/>
                  </a:cubicBezTo>
                  <a:cubicBezTo>
                    <a:pt x="85" y="32"/>
                    <a:pt x="85" y="34"/>
                    <a:pt x="82" y="34"/>
                  </a:cubicBezTo>
                  <a:lnTo>
                    <a:pt x="74" y="34"/>
                  </a:lnTo>
                  <a:lnTo>
                    <a:pt x="77" y="37"/>
                  </a:lnTo>
                  <a:lnTo>
                    <a:pt x="79" y="40"/>
                  </a:lnTo>
                  <a:cubicBezTo>
                    <a:pt x="79" y="40"/>
                    <a:pt x="79" y="43"/>
                    <a:pt x="82" y="43"/>
                  </a:cubicBezTo>
                  <a:cubicBezTo>
                    <a:pt x="88" y="40"/>
                    <a:pt x="91" y="40"/>
                    <a:pt x="91" y="37"/>
                  </a:cubicBezTo>
                  <a:close/>
                  <a:moveTo>
                    <a:pt x="85" y="232"/>
                  </a:moveTo>
                  <a:lnTo>
                    <a:pt x="88" y="226"/>
                  </a:lnTo>
                  <a:lnTo>
                    <a:pt x="91" y="226"/>
                  </a:lnTo>
                  <a:lnTo>
                    <a:pt x="91" y="221"/>
                  </a:lnTo>
                  <a:lnTo>
                    <a:pt x="88" y="218"/>
                  </a:lnTo>
                  <a:lnTo>
                    <a:pt x="82" y="212"/>
                  </a:lnTo>
                  <a:lnTo>
                    <a:pt x="82" y="218"/>
                  </a:lnTo>
                  <a:lnTo>
                    <a:pt x="82" y="221"/>
                  </a:lnTo>
                  <a:lnTo>
                    <a:pt x="85" y="223"/>
                  </a:lnTo>
                  <a:cubicBezTo>
                    <a:pt x="82" y="226"/>
                    <a:pt x="82" y="229"/>
                    <a:pt x="85" y="232"/>
                  </a:cubicBezTo>
                  <a:close/>
                  <a:moveTo>
                    <a:pt x="88" y="235"/>
                  </a:moveTo>
                  <a:lnTo>
                    <a:pt x="88" y="243"/>
                  </a:lnTo>
                  <a:cubicBezTo>
                    <a:pt x="88" y="243"/>
                    <a:pt x="88" y="240"/>
                    <a:pt x="91" y="240"/>
                  </a:cubicBezTo>
                  <a:lnTo>
                    <a:pt x="93" y="237"/>
                  </a:lnTo>
                  <a:cubicBezTo>
                    <a:pt x="91" y="232"/>
                    <a:pt x="88" y="232"/>
                    <a:pt x="88" y="235"/>
                  </a:cubicBezTo>
                  <a:close/>
                  <a:moveTo>
                    <a:pt x="91" y="229"/>
                  </a:moveTo>
                  <a:cubicBezTo>
                    <a:pt x="91" y="226"/>
                    <a:pt x="93" y="226"/>
                    <a:pt x="93" y="223"/>
                  </a:cubicBezTo>
                  <a:cubicBezTo>
                    <a:pt x="91" y="223"/>
                    <a:pt x="91" y="223"/>
                    <a:pt x="91" y="229"/>
                  </a:cubicBezTo>
                  <a:close/>
                  <a:moveTo>
                    <a:pt x="99" y="246"/>
                  </a:moveTo>
                  <a:cubicBezTo>
                    <a:pt x="96" y="246"/>
                    <a:pt x="96" y="249"/>
                    <a:pt x="96" y="249"/>
                  </a:cubicBezTo>
                  <a:lnTo>
                    <a:pt x="96" y="252"/>
                  </a:lnTo>
                  <a:lnTo>
                    <a:pt x="102" y="252"/>
                  </a:lnTo>
                  <a:cubicBezTo>
                    <a:pt x="102" y="252"/>
                    <a:pt x="99" y="249"/>
                    <a:pt x="99" y="246"/>
                  </a:cubicBezTo>
                  <a:close/>
                  <a:moveTo>
                    <a:pt x="99" y="32"/>
                  </a:moveTo>
                  <a:cubicBezTo>
                    <a:pt x="99" y="32"/>
                    <a:pt x="102" y="32"/>
                    <a:pt x="99" y="32"/>
                  </a:cubicBezTo>
                  <a:lnTo>
                    <a:pt x="99" y="26"/>
                  </a:lnTo>
                  <a:cubicBezTo>
                    <a:pt x="96" y="32"/>
                    <a:pt x="99" y="32"/>
                    <a:pt x="99" y="32"/>
                  </a:cubicBezTo>
                  <a:close/>
                  <a:moveTo>
                    <a:pt x="105" y="54"/>
                  </a:moveTo>
                  <a:lnTo>
                    <a:pt x="108" y="57"/>
                  </a:lnTo>
                  <a:lnTo>
                    <a:pt x="110" y="54"/>
                  </a:lnTo>
                  <a:lnTo>
                    <a:pt x="113" y="54"/>
                  </a:lnTo>
                  <a:lnTo>
                    <a:pt x="116" y="54"/>
                  </a:lnTo>
                  <a:lnTo>
                    <a:pt x="116" y="51"/>
                  </a:lnTo>
                  <a:lnTo>
                    <a:pt x="113" y="48"/>
                  </a:lnTo>
                  <a:lnTo>
                    <a:pt x="110" y="46"/>
                  </a:lnTo>
                  <a:lnTo>
                    <a:pt x="108" y="48"/>
                  </a:lnTo>
                  <a:cubicBezTo>
                    <a:pt x="105" y="48"/>
                    <a:pt x="105" y="46"/>
                    <a:pt x="102" y="46"/>
                  </a:cubicBezTo>
                  <a:lnTo>
                    <a:pt x="105" y="54"/>
                  </a:lnTo>
                  <a:close/>
                  <a:moveTo>
                    <a:pt x="102" y="249"/>
                  </a:moveTo>
                  <a:cubicBezTo>
                    <a:pt x="108" y="249"/>
                    <a:pt x="108" y="246"/>
                    <a:pt x="108" y="243"/>
                  </a:cubicBezTo>
                  <a:cubicBezTo>
                    <a:pt x="105" y="243"/>
                    <a:pt x="105" y="246"/>
                    <a:pt x="102" y="249"/>
                  </a:cubicBezTo>
                  <a:close/>
                  <a:moveTo>
                    <a:pt x="113" y="79"/>
                  </a:moveTo>
                  <a:lnTo>
                    <a:pt x="110" y="79"/>
                  </a:lnTo>
                  <a:cubicBezTo>
                    <a:pt x="110" y="79"/>
                    <a:pt x="110" y="79"/>
                    <a:pt x="113" y="79"/>
                  </a:cubicBezTo>
                  <a:cubicBezTo>
                    <a:pt x="110" y="82"/>
                    <a:pt x="110" y="85"/>
                    <a:pt x="113" y="85"/>
                  </a:cubicBezTo>
                  <a:lnTo>
                    <a:pt x="113" y="79"/>
                  </a:lnTo>
                  <a:close/>
                  <a:moveTo>
                    <a:pt x="127" y="448"/>
                  </a:moveTo>
                  <a:cubicBezTo>
                    <a:pt x="124" y="445"/>
                    <a:pt x="122" y="445"/>
                    <a:pt x="122" y="442"/>
                  </a:cubicBezTo>
                  <a:lnTo>
                    <a:pt x="124" y="440"/>
                  </a:lnTo>
                  <a:lnTo>
                    <a:pt x="122" y="440"/>
                  </a:lnTo>
                  <a:lnTo>
                    <a:pt x="119" y="440"/>
                  </a:lnTo>
                  <a:cubicBezTo>
                    <a:pt x="116" y="440"/>
                    <a:pt x="113" y="440"/>
                    <a:pt x="110" y="437"/>
                  </a:cubicBezTo>
                  <a:cubicBezTo>
                    <a:pt x="113" y="440"/>
                    <a:pt x="116" y="445"/>
                    <a:pt x="119" y="448"/>
                  </a:cubicBezTo>
                  <a:lnTo>
                    <a:pt x="127" y="448"/>
                  </a:lnTo>
                  <a:close/>
                  <a:moveTo>
                    <a:pt x="110" y="431"/>
                  </a:moveTo>
                  <a:cubicBezTo>
                    <a:pt x="110" y="434"/>
                    <a:pt x="110" y="434"/>
                    <a:pt x="113" y="434"/>
                  </a:cubicBezTo>
                  <a:lnTo>
                    <a:pt x="116" y="434"/>
                  </a:lnTo>
                  <a:lnTo>
                    <a:pt x="116" y="431"/>
                  </a:lnTo>
                  <a:lnTo>
                    <a:pt x="110" y="431"/>
                  </a:lnTo>
                  <a:close/>
                  <a:moveTo>
                    <a:pt x="124" y="102"/>
                  </a:moveTo>
                  <a:lnTo>
                    <a:pt x="124" y="105"/>
                  </a:lnTo>
                  <a:cubicBezTo>
                    <a:pt x="127" y="102"/>
                    <a:pt x="127" y="102"/>
                    <a:pt x="127" y="99"/>
                  </a:cubicBezTo>
                  <a:cubicBezTo>
                    <a:pt x="124" y="94"/>
                    <a:pt x="122" y="91"/>
                    <a:pt x="113" y="88"/>
                  </a:cubicBezTo>
                  <a:lnTo>
                    <a:pt x="113" y="91"/>
                  </a:lnTo>
                  <a:lnTo>
                    <a:pt x="113" y="94"/>
                  </a:lnTo>
                  <a:cubicBezTo>
                    <a:pt x="116" y="94"/>
                    <a:pt x="119" y="96"/>
                    <a:pt x="122" y="96"/>
                  </a:cubicBezTo>
                  <a:cubicBezTo>
                    <a:pt x="122" y="99"/>
                    <a:pt x="124" y="99"/>
                    <a:pt x="124" y="102"/>
                  </a:cubicBezTo>
                  <a:close/>
                  <a:moveTo>
                    <a:pt x="116" y="274"/>
                  </a:moveTo>
                  <a:cubicBezTo>
                    <a:pt x="119" y="274"/>
                    <a:pt x="119" y="277"/>
                    <a:pt x="122" y="277"/>
                  </a:cubicBezTo>
                  <a:cubicBezTo>
                    <a:pt x="122" y="271"/>
                    <a:pt x="122" y="271"/>
                    <a:pt x="116" y="274"/>
                  </a:cubicBezTo>
                  <a:close/>
                  <a:moveTo>
                    <a:pt x="122" y="68"/>
                  </a:moveTo>
                  <a:cubicBezTo>
                    <a:pt x="122" y="65"/>
                    <a:pt x="122" y="65"/>
                    <a:pt x="116" y="65"/>
                  </a:cubicBezTo>
                  <a:cubicBezTo>
                    <a:pt x="119" y="68"/>
                    <a:pt x="119" y="68"/>
                    <a:pt x="122" y="68"/>
                  </a:cubicBezTo>
                  <a:close/>
                  <a:moveTo>
                    <a:pt x="119" y="263"/>
                  </a:moveTo>
                  <a:cubicBezTo>
                    <a:pt x="119" y="260"/>
                    <a:pt x="119" y="260"/>
                    <a:pt x="116" y="257"/>
                  </a:cubicBezTo>
                  <a:cubicBezTo>
                    <a:pt x="116" y="263"/>
                    <a:pt x="116" y="263"/>
                    <a:pt x="119" y="263"/>
                  </a:cubicBezTo>
                  <a:close/>
                  <a:moveTo>
                    <a:pt x="130" y="130"/>
                  </a:moveTo>
                  <a:lnTo>
                    <a:pt x="124" y="125"/>
                  </a:lnTo>
                  <a:lnTo>
                    <a:pt x="122" y="122"/>
                  </a:lnTo>
                  <a:lnTo>
                    <a:pt x="119" y="122"/>
                  </a:lnTo>
                  <a:cubicBezTo>
                    <a:pt x="122" y="127"/>
                    <a:pt x="122" y="127"/>
                    <a:pt x="124" y="127"/>
                  </a:cubicBezTo>
                  <a:cubicBezTo>
                    <a:pt x="127" y="127"/>
                    <a:pt x="127" y="130"/>
                    <a:pt x="127" y="133"/>
                  </a:cubicBezTo>
                  <a:lnTo>
                    <a:pt x="130" y="130"/>
                  </a:lnTo>
                  <a:close/>
                  <a:moveTo>
                    <a:pt x="133" y="119"/>
                  </a:moveTo>
                  <a:cubicBezTo>
                    <a:pt x="130" y="116"/>
                    <a:pt x="127" y="116"/>
                    <a:pt x="127" y="116"/>
                  </a:cubicBezTo>
                  <a:lnTo>
                    <a:pt x="124" y="119"/>
                  </a:lnTo>
                  <a:cubicBezTo>
                    <a:pt x="124" y="119"/>
                    <a:pt x="124" y="116"/>
                    <a:pt x="122" y="116"/>
                  </a:cubicBezTo>
                  <a:lnTo>
                    <a:pt x="119" y="113"/>
                  </a:lnTo>
                  <a:lnTo>
                    <a:pt x="116" y="113"/>
                  </a:lnTo>
                  <a:cubicBezTo>
                    <a:pt x="116" y="116"/>
                    <a:pt x="119" y="119"/>
                    <a:pt x="122" y="119"/>
                  </a:cubicBezTo>
                  <a:cubicBezTo>
                    <a:pt x="124" y="119"/>
                    <a:pt x="127" y="119"/>
                    <a:pt x="127" y="122"/>
                  </a:cubicBezTo>
                  <a:lnTo>
                    <a:pt x="133" y="119"/>
                  </a:lnTo>
                  <a:close/>
                  <a:moveTo>
                    <a:pt x="127" y="283"/>
                  </a:moveTo>
                  <a:lnTo>
                    <a:pt x="124" y="283"/>
                  </a:lnTo>
                  <a:lnTo>
                    <a:pt x="122" y="283"/>
                  </a:lnTo>
                  <a:lnTo>
                    <a:pt x="122" y="285"/>
                  </a:lnTo>
                  <a:cubicBezTo>
                    <a:pt x="124" y="288"/>
                    <a:pt x="127" y="288"/>
                    <a:pt x="130" y="291"/>
                  </a:cubicBezTo>
                  <a:cubicBezTo>
                    <a:pt x="133" y="288"/>
                    <a:pt x="133" y="285"/>
                    <a:pt x="136" y="285"/>
                  </a:cubicBezTo>
                  <a:lnTo>
                    <a:pt x="136" y="283"/>
                  </a:lnTo>
                  <a:lnTo>
                    <a:pt x="127" y="283"/>
                  </a:lnTo>
                  <a:close/>
                  <a:moveTo>
                    <a:pt x="122" y="437"/>
                  </a:moveTo>
                  <a:lnTo>
                    <a:pt x="127" y="437"/>
                  </a:lnTo>
                  <a:lnTo>
                    <a:pt x="127" y="434"/>
                  </a:lnTo>
                  <a:cubicBezTo>
                    <a:pt x="124" y="434"/>
                    <a:pt x="122" y="437"/>
                    <a:pt x="122" y="437"/>
                  </a:cubicBezTo>
                  <a:close/>
                  <a:moveTo>
                    <a:pt x="133" y="442"/>
                  </a:moveTo>
                  <a:cubicBezTo>
                    <a:pt x="133" y="442"/>
                    <a:pt x="133" y="440"/>
                    <a:pt x="136" y="440"/>
                  </a:cubicBezTo>
                  <a:cubicBezTo>
                    <a:pt x="133" y="440"/>
                    <a:pt x="130" y="440"/>
                    <a:pt x="130" y="437"/>
                  </a:cubicBezTo>
                  <a:lnTo>
                    <a:pt x="130" y="440"/>
                  </a:lnTo>
                  <a:cubicBezTo>
                    <a:pt x="127" y="442"/>
                    <a:pt x="130" y="442"/>
                    <a:pt x="133" y="442"/>
                  </a:cubicBezTo>
                  <a:close/>
                  <a:moveTo>
                    <a:pt x="127" y="299"/>
                  </a:moveTo>
                  <a:cubicBezTo>
                    <a:pt x="130" y="297"/>
                    <a:pt x="127" y="297"/>
                    <a:pt x="127" y="299"/>
                  </a:cubicBezTo>
                  <a:close/>
                  <a:moveTo>
                    <a:pt x="144" y="451"/>
                  </a:moveTo>
                  <a:lnTo>
                    <a:pt x="139" y="448"/>
                  </a:lnTo>
                  <a:cubicBezTo>
                    <a:pt x="136" y="448"/>
                    <a:pt x="136" y="445"/>
                    <a:pt x="133" y="445"/>
                  </a:cubicBezTo>
                  <a:lnTo>
                    <a:pt x="133" y="451"/>
                  </a:lnTo>
                  <a:cubicBezTo>
                    <a:pt x="139" y="456"/>
                    <a:pt x="141" y="456"/>
                    <a:pt x="144" y="451"/>
                  </a:cubicBezTo>
                  <a:close/>
                  <a:moveTo>
                    <a:pt x="136" y="299"/>
                  </a:moveTo>
                  <a:cubicBezTo>
                    <a:pt x="136" y="299"/>
                    <a:pt x="139" y="299"/>
                    <a:pt x="136" y="299"/>
                  </a:cubicBezTo>
                  <a:lnTo>
                    <a:pt x="141" y="299"/>
                  </a:lnTo>
                  <a:cubicBezTo>
                    <a:pt x="139" y="297"/>
                    <a:pt x="136" y="299"/>
                    <a:pt x="136" y="299"/>
                  </a:cubicBezTo>
                  <a:close/>
                  <a:moveTo>
                    <a:pt x="161" y="440"/>
                  </a:moveTo>
                  <a:cubicBezTo>
                    <a:pt x="158" y="437"/>
                    <a:pt x="156" y="437"/>
                    <a:pt x="153" y="434"/>
                  </a:cubicBezTo>
                  <a:lnTo>
                    <a:pt x="153" y="440"/>
                  </a:lnTo>
                  <a:lnTo>
                    <a:pt x="141" y="440"/>
                  </a:lnTo>
                  <a:lnTo>
                    <a:pt x="141" y="442"/>
                  </a:lnTo>
                  <a:cubicBezTo>
                    <a:pt x="144" y="442"/>
                    <a:pt x="147" y="442"/>
                    <a:pt x="150" y="445"/>
                  </a:cubicBezTo>
                  <a:lnTo>
                    <a:pt x="153" y="442"/>
                  </a:lnTo>
                  <a:lnTo>
                    <a:pt x="156" y="442"/>
                  </a:lnTo>
                  <a:lnTo>
                    <a:pt x="161" y="440"/>
                  </a:lnTo>
                  <a:close/>
                  <a:moveTo>
                    <a:pt x="147" y="305"/>
                  </a:moveTo>
                  <a:lnTo>
                    <a:pt x="150" y="305"/>
                  </a:lnTo>
                  <a:lnTo>
                    <a:pt x="150" y="302"/>
                  </a:lnTo>
                  <a:lnTo>
                    <a:pt x="150" y="299"/>
                  </a:lnTo>
                  <a:lnTo>
                    <a:pt x="147" y="299"/>
                  </a:lnTo>
                  <a:lnTo>
                    <a:pt x="147" y="305"/>
                  </a:lnTo>
                  <a:close/>
                  <a:moveTo>
                    <a:pt x="147" y="319"/>
                  </a:moveTo>
                  <a:lnTo>
                    <a:pt x="150" y="319"/>
                  </a:lnTo>
                  <a:cubicBezTo>
                    <a:pt x="150" y="316"/>
                    <a:pt x="150" y="316"/>
                    <a:pt x="147" y="314"/>
                  </a:cubicBezTo>
                  <a:lnTo>
                    <a:pt x="147" y="319"/>
                  </a:lnTo>
                  <a:close/>
                  <a:moveTo>
                    <a:pt x="147" y="342"/>
                  </a:moveTo>
                  <a:lnTo>
                    <a:pt x="153" y="342"/>
                  </a:lnTo>
                  <a:lnTo>
                    <a:pt x="153" y="339"/>
                  </a:lnTo>
                  <a:lnTo>
                    <a:pt x="147" y="342"/>
                  </a:lnTo>
                  <a:close/>
                  <a:moveTo>
                    <a:pt x="161" y="353"/>
                  </a:moveTo>
                  <a:cubicBezTo>
                    <a:pt x="158" y="350"/>
                    <a:pt x="156" y="350"/>
                    <a:pt x="153" y="350"/>
                  </a:cubicBezTo>
                  <a:lnTo>
                    <a:pt x="156" y="353"/>
                  </a:lnTo>
                  <a:lnTo>
                    <a:pt x="161" y="353"/>
                  </a:lnTo>
                  <a:close/>
                  <a:moveTo>
                    <a:pt x="158" y="342"/>
                  </a:moveTo>
                  <a:lnTo>
                    <a:pt x="156" y="342"/>
                  </a:lnTo>
                  <a:lnTo>
                    <a:pt x="156" y="345"/>
                  </a:lnTo>
                  <a:lnTo>
                    <a:pt x="158" y="342"/>
                  </a:lnTo>
                  <a:close/>
                  <a:moveTo>
                    <a:pt x="161" y="359"/>
                  </a:moveTo>
                  <a:lnTo>
                    <a:pt x="158" y="356"/>
                  </a:lnTo>
                  <a:lnTo>
                    <a:pt x="158" y="362"/>
                  </a:lnTo>
                  <a:lnTo>
                    <a:pt x="161" y="364"/>
                  </a:lnTo>
                  <a:lnTo>
                    <a:pt x="161" y="359"/>
                  </a:lnTo>
                  <a:close/>
                  <a:moveTo>
                    <a:pt x="170" y="425"/>
                  </a:moveTo>
                  <a:cubicBezTo>
                    <a:pt x="167" y="423"/>
                    <a:pt x="164" y="423"/>
                    <a:pt x="161" y="423"/>
                  </a:cubicBezTo>
                  <a:cubicBezTo>
                    <a:pt x="158" y="423"/>
                    <a:pt x="158" y="425"/>
                    <a:pt x="156" y="428"/>
                  </a:cubicBezTo>
                  <a:cubicBezTo>
                    <a:pt x="164" y="431"/>
                    <a:pt x="164" y="431"/>
                    <a:pt x="167" y="434"/>
                  </a:cubicBezTo>
                  <a:lnTo>
                    <a:pt x="170" y="431"/>
                  </a:lnTo>
                  <a:lnTo>
                    <a:pt x="167" y="428"/>
                  </a:lnTo>
                  <a:lnTo>
                    <a:pt x="170" y="425"/>
                  </a:lnTo>
                  <a:close/>
                  <a:moveTo>
                    <a:pt x="175" y="414"/>
                  </a:moveTo>
                  <a:cubicBezTo>
                    <a:pt x="175" y="411"/>
                    <a:pt x="172" y="411"/>
                    <a:pt x="172" y="409"/>
                  </a:cubicBezTo>
                  <a:cubicBezTo>
                    <a:pt x="170" y="409"/>
                    <a:pt x="164" y="410"/>
                    <a:pt x="161" y="407"/>
                  </a:cubicBezTo>
                  <a:lnTo>
                    <a:pt x="161" y="409"/>
                  </a:lnTo>
                  <a:cubicBezTo>
                    <a:pt x="164" y="409"/>
                    <a:pt x="167" y="409"/>
                    <a:pt x="167" y="411"/>
                  </a:cubicBezTo>
                  <a:cubicBezTo>
                    <a:pt x="170" y="411"/>
                    <a:pt x="172" y="411"/>
                    <a:pt x="175" y="414"/>
                  </a:cubicBezTo>
                  <a:close/>
                  <a:moveTo>
                    <a:pt x="167" y="417"/>
                  </a:moveTo>
                  <a:lnTo>
                    <a:pt x="167" y="414"/>
                  </a:lnTo>
                  <a:lnTo>
                    <a:pt x="164" y="414"/>
                  </a:lnTo>
                  <a:lnTo>
                    <a:pt x="164" y="420"/>
                  </a:lnTo>
                  <a:cubicBezTo>
                    <a:pt x="164" y="417"/>
                    <a:pt x="167" y="417"/>
                    <a:pt x="167" y="417"/>
                  </a:cubicBezTo>
                  <a:close/>
                  <a:moveTo>
                    <a:pt x="164" y="381"/>
                  </a:moveTo>
                  <a:lnTo>
                    <a:pt x="170" y="381"/>
                  </a:lnTo>
                  <a:cubicBezTo>
                    <a:pt x="172" y="381"/>
                    <a:pt x="172" y="381"/>
                    <a:pt x="170" y="376"/>
                  </a:cubicBezTo>
                  <a:lnTo>
                    <a:pt x="164" y="376"/>
                  </a:lnTo>
                  <a:lnTo>
                    <a:pt x="164" y="381"/>
                  </a:lnTo>
                  <a:close/>
                  <a:moveTo>
                    <a:pt x="172" y="387"/>
                  </a:moveTo>
                  <a:cubicBezTo>
                    <a:pt x="170" y="387"/>
                    <a:pt x="170" y="387"/>
                    <a:pt x="167" y="390"/>
                  </a:cubicBezTo>
                  <a:lnTo>
                    <a:pt x="164" y="390"/>
                  </a:lnTo>
                  <a:lnTo>
                    <a:pt x="167" y="393"/>
                  </a:lnTo>
                  <a:cubicBezTo>
                    <a:pt x="167" y="393"/>
                    <a:pt x="167" y="390"/>
                    <a:pt x="170" y="390"/>
                  </a:cubicBezTo>
                  <a:lnTo>
                    <a:pt x="172" y="387"/>
                  </a:lnTo>
                  <a:close/>
                  <a:moveTo>
                    <a:pt x="167" y="370"/>
                  </a:moveTo>
                  <a:lnTo>
                    <a:pt x="167" y="373"/>
                  </a:lnTo>
                  <a:lnTo>
                    <a:pt x="170" y="373"/>
                  </a:lnTo>
                  <a:lnTo>
                    <a:pt x="167" y="370"/>
                  </a:lnTo>
                  <a:close/>
                  <a:moveTo>
                    <a:pt x="167" y="364"/>
                  </a:moveTo>
                  <a:cubicBezTo>
                    <a:pt x="170" y="362"/>
                    <a:pt x="167" y="362"/>
                    <a:pt x="167" y="364"/>
                  </a:cubicBezTo>
                  <a:close/>
                  <a:moveTo>
                    <a:pt x="172" y="395"/>
                  </a:moveTo>
                  <a:cubicBezTo>
                    <a:pt x="170" y="395"/>
                    <a:pt x="170" y="398"/>
                    <a:pt x="172" y="39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1" name="Freeform 1462"/>
            <p:cNvSpPr>
              <a:spLocks noChangeArrowheads="1"/>
            </p:cNvSpPr>
            <p:nvPr/>
          </p:nvSpPr>
          <p:spPr bwMode="auto">
            <a:xfrm>
              <a:off x="4356100" y="2414588"/>
              <a:ext cx="69850" cy="176212"/>
            </a:xfrm>
            <a:custGeom>
              <a:avLst/>
              <a:gdLst>
                <a:gd name="T0" fmla="*/ 133 w 196"/>
                <a:gd name="T1" fmla="*/ 481 h 491"/>
                <a:gd name="T2" fmla="*/ 79 w 196"/>
                <a:gd name="T3" fmla="*/ 467 h 491"/>
                <a:gd name="T4" fmla="*/ 59 w 196"/>
                <a:gd name="T5" fmla="*/ 372 h 491"/>
                <a:gd name="T6" fmla="*/ 45 w 196"/>
                <a:gd name="T7" fmla="*/ 304 h 491"/>
                <a:gd name="T8" fmla="*/ 31 w 196"/>
                <a:gd name="T9" fmla="*/ 209 h 491"/>
                <a:gd name="T10" fmla="*/ 6 w 196"/>
                <a:gd name="T11" fmla="*/ 79 h 491"/>
                <a:gd name="T12" fmla="*/ 31 w 196"/>
                <a:gd name="T13" fmla="*/ 14 h 491"/>
                <a:gd name="T14" fmla="*/ 93 w 196"/>
                <a:gd name="T15" fmla="*/ 0 h 491"/>
                <a:gd name="T16" fmla="*/ 121 w 196"/>
                <a:gd name="T17" fmla="*/ 42 h 491"/>
                <a:gd name="T18" fmla="*/ 68 w 196"/>
                <a:gd name="T19" fmla="*/ 68 h 491"/>
                <a:gd name="T20" fmla="*/ 73 w 196"/>
                <a:gd name="T21" fmla="*/ 155 h 491"/>
                <a:gd name="T22" fmla="*/ 85 w 196"/>
                <a:gd name="T23" fmla="*/ 206 h 491"/>
                <a:gd name="T24" fmla="*/ 116 w 196"/>
                <a:gd name="T25" fmla="*/ 273 h 491"/>
                <a:gd name="T26" fmla="*/ 107 w 196"/>
                <a:gd name="T27" fmla="*/ 381 h 491"/>
                <a:gd name="T28" fmla="*/ 127 w 196"/>
                <a:gd name="T29" fmla="*/ 426 h 491"/>
                <a:gd name="T30" fmla="*/ 175 w 196"/>
                <a:gd name="T31" fmla="*/ 417 h 491"/>
                <a:gd name="T32" fmla="*/ 28 w 196"/>
                <a:gd name="T33" fmla="*/ 51 h 491"/>
                <a:gd name="T34" fmla="*/ 28 w 196"/>
                <a:gd name="T35" fmla="*/ 56 h 491"/>
                <a:gd name="T36" fmla="*/ 45 w 196"/>
                <a:gd name="T37" fmla="*/ 73 h 491"/>
                <a:gd name="T38" fmla="*/ 28 w 196"/>
                <a:gd name="T39" fmla="*/ 73 h 491"/>
                <a:gd name="T40" fmla="*/ 31 w 196"/>
                <a:gd name="T41" fmla="*/ 107 h 491"/>
                <a:gd name="T42" fmla="*/ 59 w 196"/>
                <a:gd name="T43" fmla="*/ 53 h 491"/>
                <a:gd name="T44" fmla="*/ 45 w 196"/>
                <a:gd name="T45" fmla="*/ 39 h 491"/>
                <a:gd name="T46" fmla="*/ 42 w 196"/>
                <a:gd name="T47" fmla="*/ 118 h 491"/>
                <a:gd name="T48" fmla="*/ 45 w 196"/>
                <a:gd name="T49" fmla="*/ 132 h 491"/>
                <a:gd name="T50" fmla="*/ 42 w 196"/>
                <a:gd name="T51" fmla="*/ 73 h 491"/>
                <a:gd name="T52" fmla="*/ 42 w 196"/>
                <a:gd name="T53" fmla="*/ 101 h 491"/>
                <a:gd name="T54" fmla="*/ 51 w 196"/>
                <a:gd name="T55" fmla="*/ 192 h 491"/>
                <a:gd name="T56" fmla="*/ 54 w 196"/>
                <a:gd name="T57" fmla="*/ 172 h 491"/>
                <a:gd name="T58" fmla="*/ 45 w 196"/>
                <a:gd name="T59" fmla="*/ 166 h 491"/>
                <a:gd name="T60" fmla="*/ 51 w 196"/>
                <a:gd name="T61" fmla="*/ 214 h 491"/>
                <a:gd name="T62" fmla="*/ 68 w 196"/>
                <a:gd name="T63" fmla="*/ 42 h 491"/>
                <a:gd name="T64" fmla="*/ 62 w 196"/>
                <a:gd name="T65" fmla="*/ 36 h 491"/>
                <a:gd name="T66" fmla="*/ 59 w 196"/>
                <a:gd name="T67" fmla="*/ 225 h 491"/>
                <a:gd name="T68" fmla="*/ 65 w 196"/>
                <a:gd name="T69" fmla="*/ 251 h 491"/>
                <a:gd name="T70" fmla="*/ 65 w 196"/>
                <a:gd name="T71" fmla="*/ 254 h 491"/>
                <a:gd name="T72" fmla="*/ 65 w 196"/>
                <a:gd name="T73" fmla="*/ 259 h 491"/>
                <a:gd name="T74" fmla="*/ 65 w 196"/>
                <a:gd name="T75" fmla="*/ 211 h 491"/>
                <a:gd name="T76" fmla="*/ 76 w 196"/>
                <a:gd name="T77" fmla="*/ 304 h 491"/>
                <a:gd name="T78" fmla="*/ 76 w 196"/>
                <a:gd name="T79" fmla="*/ 313 h 491"/>
                <a:gd name="T80" fmla="*/ 68 w 196"/>
                <a:gd name="T81" fmla="*/ 302 h 491"/>
                <a:gd name="T82" fmla="*/ 73 w 196"/>
                <a:gd name="T83" fmla="*/ 338 h 491"/>
                <a:gd name="T84" fmla="*/ 70 w 196"/>
                <a:gd name="T85" fmla="*/ 276 h 491"/>
                <a:gd name="T86" fmla="*/ 70 w 196"/>
                <a:gd name="T87" fmla="*/ 285 h 491"/>
                <a:gd name="T88" fmla="*/ 85 w 196"/>
                <a:gd name="T89" fmla="*/ 36 h 491"/>
                <a:gd name="T90" fmla="*/ 73 w 196"/>
                <a:gd name="T91" fmla="*/ 28 h 491"/>
                <a:gd name="T92" fmla="*/ 76 w 196"/>
                <a:gd name="T93" fmla="*/ 245 h 491"/>
                <a:gd name="T94" fmla="*/ 96 w 196"/>
                <a:gd name="T95" fmla="*/ 237 h 491"/>
                <a:gd name="T96" fmla="*/ 85 w 196"/>
                <a:gd name="T97" fmla="*/ 347 h 491"/>
                <a:gd name="T98" fmla="*/ 87 w 196"/>
                <a:gd name="T99" fmla="*/ 431 h 491"/>
                <a:gd name="T100" fmla="*/ 93 w 196"/>
                <a:gd name="T101" fmla="*/ 381 h 491"/>
                <a:gd name="T102" fmla="*/ 87 w 196"/>
                <a:gd name="T103" fmla="*/ 257 h 491"/>
                <a:gd name="T104" fmla="*/ 93 w 196"/>
                <a:gd name="T105" fmla="*/ 400 h 491"/>
                <a:gd name="T106" fmla="*/ 99 w 196"/>
                <a:gd name="T107" fmla="*/ 250 h 491"/>
                <a:gd name="T108" fmla="*/ 96 w 196"/>
                <a:gd name="T109" fmla="*/ 445 h 491"/>
                <a:gd name="T110" fmla="*/ 100 w 196"/>
                <a:gd name="T111" fmla="*/ 438 h 491"/>
                <a:gd name="T112" fmla="*/ 110 w 196"/>
                <a:gd name="T113" fmla="*/ 446 h 491"/>
                <a:gd name="T114" fmla="*/ 116 w 196"/>
                <a:gd name="T115" fmla="*/ 459 h 491"/>
                <a:gd name="T116" fmla="*/ 118 w 196"/>
                <a:gd name="T117" fmla="*/ 447 h 491"/>
                <a:gd name="T118" fmla="*/ 138 w 196"/>
                <a:gd name="T119" fmla="*/ 445 h 491"/>
                <a:gd name="T120" fmla="*/ 155 w 196"/>
                <a:gd name="T121" fmla="*/ 453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6" h="491">
                  <a:moveTo>
                    <a:pt x="192" y="434"/>
                  </a:moveTo>
                  <a:cubicBezTo>
                    <a:pt x="189" y="437"/>
                    <a:pt x="189" y="443"/>
                    <a:pt x="192" y="445"/>
                  </a:cubicBezTo>
                  <a:cubicBezTo>
                    <a:pt x="192" y="450"/>
                    <a:pt x="195" y="453"/>
                    <a:pt x="195" y="459"/>
                  </a:cubicBezTo>
                  <a:cubicBezTo>
                    <a:pt x="192" y="464"/>
                    <a:pt x="189" y="467"/>
                    <a:pt x="186" y="473"/>
                  </a:cubicBezTo>
                  <a:cubicBezTo>
                    <a:pt x="183" y="473"/>
                    <a:pt x="178" y="473"/>
                    <a:pt x="175" y="476"/>
                  </a:cubicBezTo>
                  <a:lnTo>
                    <a:pt x="164" y="476"/>
                  </a:lnTo>
                  <a:cubicBezTo>
                    <a:pt x="158" y="476"/>
                    <a:pt x="152" y="476"/>
                    <a:pt x="147" y="478"/>
                  </a:cubicBezTo>
                  <a:cubicBezTo>
                    <a:pt x="141" y="481"/>
                    <a:pt x="139" y="481"/>
                    <a:pt x="133" y="481"/>
                  </a:cubicBezTo>
                  <a:cubicBezTo>
                    <a:pt x="128" y="481"/>
                    <a:pt x="121" y="481"/>
                    <a:pt x="118" y="484"/>
                  </a:cubicBezTo>
                  <a:lnTo>
                    <a:pt x="116" y="484"/>
                  </a:lnTo>
                  <a:lnTo>
                    <a:pt x="113" y="484"/>
                  </a:lnTo>
                  <a:cubicBezTo>
                    <a:pt x="110" y="487"/>
                    <a:pt x="107" y="487"/>
                    <a:pt x="104" y="487"/>
                  </a:cubicBezTo>
                  <a:cubicBezTo>
                    <a:pt x="102" y="487"/>
                    <a:pt x="99" y="487"/>
                    <a:pt x="93" y="490"/>
                  </a:cubicBezTo>
                  <a:cubicBezTo>
                    <a:pt x="85" y="487"/>
                    <a:pt x="85" y="487"/>
                    <a:pt x="79" y="478"/>
                  </a:cubicBezTo>
                  <a:lnTo>
                    <a:pt x="79" y="473"/>
                  </a:lnTo>
                  <a:lnTo>
                    <a:pt x="79" y="467"/>
                  </a:lnTo>
                  <a:cubicBezTo>
                    <a:pt x="76" y="464"/>
                    <a:pt x="76" y="459"/>
                    <a:pt x="73" y="456"/>
                  </a:cubicBezTo>
                  <a:cubicBezTo>
                    <a:pt x="70" y="453"/>
                    <a:pt x="70" y="447"/>
                    <a:pt x="73" y="446"/>
                  </a:cubicBezTo>
                  <a:lnTo>
                    <a:pt x="73" y="443"/>
                  </a:lnTo>
                  <a:lnTo>
                    <a:pt x="73" y="440"/>
                  </a:lnTo>
                  <a:cubicBezTo>
                    <a:pt x="73" y="437"/>
                    <a:pt x="70" y="434"/>
                    <a:pt x="70" y="431"/>
                  </a:cubicBezTo>
                  <a:cubicBezTo>
                    <a:pt x="68" y="429"/>
                    <a:pt x="68" y="426"/>
                    <a:pt x="70" y="423"/>
                  </a:cubicBezTo>
                  <a:cubicBezTo>
                    <a:pt x="65" y="412"/>
                    <a:pt x="62" y="403"/>
                    <a:pt x="62" y="395"/>
                  </a:cubicBezTo>
                  <a:cubicBezTo>
                    <a:pt x="62" y="386"/>
                    <a:pt x="62" y="378"/>
                    <a:pt x="59" y="372"/>
                  </a:cubicBezTo>
                  <a:cubicBezTo>
                    <a:pt x="59" y="369"/>
                    <a:pt x="59" y="367"/>
                    <a:pt x="56" y="367"/>
                  </a:cubicBezTo>
                  <a:cubicBezTo>
                    <a:pt x="54" y="364"/>
                    <a:pt x="54" y="358"/>
                    <a:pt x="54" y="352"/>
                  </a:cubicBezTo>
                  <a:cubicBezTo>
                    <a:pt x="54" y="350"/>
                    <a:pt x="54" y="347"/>
                    <a:pt x="51" y="347"/>
                  </a:cubicBezTo>
                  <a:cubicBezTo>
                    <a:pt x="48" y="344"/>
                    <a:pt x="48" y="341"/>
                    <a:pt x="51" y="338"/>
                  </a:cubicBezTo>
                  <a:cubicBezTo>
                    <a:pt x="54" y="335"/>
                    <a:pt x="54" y="333"/>
                    <a:pt x="51" y="330"/>
                  </a:cubicBezTo>
                  <a:cubicBezTo>
                    <a:pt x="51" y="327"/>
                    <a:pt x="48" y="324"/>
                    <a:pt x="48" y="321"/>
                  </a:cubicBezTo>
                  <a:lnTo>
                    <a:pt x="48" y="313"/>
                  </a:lnTo>
                  <a:cubicBezTo>
                    <a:pt x="48" y="310"/>
                    <a:pt x="45" y="307"/>
                    <a:pt x="45" y="304"/>
                  </a:cubicBezTo>
                  <a:lnTo>
                    <a:pt x="45" y="299"/>
                  </a:lnTo>
                  <a:lnTo>
                    <a:pt x="45" y="276"/>
                  </a:lnTo>
                  <a:cubicBezTo>
                    <a:pt x="42" y="268"/>
                    <a:pt x="42" y="262"/>
                    <a:pt x="39" y="254"/>
                  </a:cubicBezTo>
                  <a:lnTo>
                    <a:pt x="39" y="248"/>
                  </a:lnTo>
                  <a:lnTo>
                    <a:pt x="39" y="242"/>
                  </a:lnTo>
                  <a:cubicBezTo>
                    <a:pt x="42" y="242"/>
                    <a:pt x="39" y="237"/>
                    <a:pt x="39" y="237"/>
                  </a:cubicBezTo>
                  <a:cubicBezTo>
                    <a:pt x="37" y="231"/>
                    <a:pt x="34" y="225"/>
                    <a:pt x="34" y="223"/>
                  </a:cubicBezTo>
                  <a:cubicBezTo>
                    <a:pt x="34" y="217"/>
                    <a:pt x="34" y="211"/>
                    <a:pt x="31" y="209"/>
                  </a:cubicBezTo>
                  <a:lnTo>
                    <a:pt x="25" y="183"/>
                  </a:lnTo>
                  <a:cubicBezTo>
                    <a:pt x="25" y="180"/>
                    <a:pt x="26" y="180"/>
                    <a:pt x="23" y="178"/>
                  </a:cubicBezTo>
                  <a:cubicBezTo>
                    <a:pt x="21" y="175"/>
                    <a:pt x="20" y="169"/>
                    <a:pt x="23" y="166"/>
                  </a:cubicBezTo>
                  <a:lnTo>
                    <a:pt x="23" y="161"/>
                  </a:lnTo>
                  <a:cubicBezTo>
                    <a:pt x="23" y="152"/>
                    <a:pt x="20" y="144"/>
                    <a:pt x="17" y="135"/>
                  </a:cubicBezTo>
                  <a:cubicBezTo>
                    <a:pt x="14" y="127"/>
                    <a:pt x="11" y="115"/>
                    <a:pt x="11" y="104"/>
                  </a:cubicBezTo>
                  <a:cubicBezTo>
                    <a:pt x="11" y="101"/>
                    <a:pt x="11" y="99"/>
                    <a:pt x="8" y="96"/>
                  </a:cubicBezTo>
                  <a:cubicBezTo>
                    <a:pt x="6" y="90"/>
                    <a:pt x="6" y="84"/>
                    <a:pt x="6" y="79"/>
                  </a:cubicBezTo>
                  <a:cubicBezTo>
                    <a:pt x="6" y="73"/>
                    <a:pt x="6" y="65"/>
                    <a:pt x="3" y="59"/>
                  </a:cubicBezTo>
                  <a:cubicBezTo>
                    <a:pt x="3" y="56"/>
                    <a:pt x="0" y="51"/>
                    <a:pt x="0" y="48"/>
                  </a:cubicBezTo>
                  <a:lnTo>
                    <a:pt x="0" y="36"/>
                  </a:lnTo>
                  <a:lnTo>
                    <a:pt x="0" y="31"/>
                  </a:lnTo>
                  <a:lnTo>
                    <a:pt x="0" y="28"/>
                  </a:lnTo>
                  <a:cubicBezTo>
                    <a:pt x="3" y="22"/>
                    <a:pt x="8" y="20"/>
                    <a:pt x="14" y="17"/>
                  </a:cubicBezTo>
                  <a:lnTo>
                    <a:pt x="23" y="14"/>
                  </a:lnTo>
                  <a:lnTo>
                    <a:pt x="31" y="14"/>
                  </a:lnTo>
                  <a:cubicBezTo>
                    <a:pt x="34" y="14"/>
                    <a:pt x="37" y="14"/>
                    <a:pt x="37" y="11"/>
                  </a:cubicBezTo>
                  <a:lnTo>
                    <a:pt x="42" y="11"/>
                  </a:lnTo>
                  <a:lnTo>
                    <a:pt x="48" y="8"/>
                  </a:lnTo>
                  <a:cubicBezTo>
                    <a:pt x="51" y="5"/>
                    <a:pt x="54" y="5"/>
                    <a:pt x="59" y="5"/>
                  </a:cubicBezTo>
                  <a:cubicBezTo>
                    <a:pt x="62" y="8"/>
                    <a:pt x="65" y="8"/>
                    <a:pt x="68" y="5"/>
                  </a:cubicBezTo>
                  <a:lnTo>
                    <a:pt x="76" y="5"/>
                  </a:lnTo>
                  <a:cubicBezTo>
                    <a:pt x="79" y="8"/>
                    <a:pt x="82" y="5"/>
                    <a:pt x="87" y="3"/>
                  </a:cubicBezTo>
                  <a:cubicBezTo>
                    <a:pt x="87" y="0"/>
                    <a:pt x="90" y="0"/>
                    <a:pt x="93" y="0"/>
                  </a:cubicBezTo>
                  <a:lnTo>
                    <a:pt x="102" y="0"/>
                  </a:lnTo>
                  <a:lnTo>
                    <a:pt x="113" y="0"/>
                  </a:lnTo>
                  <a:lnTo>
                    <a:pt x="121" y="11"/>
                  </a:lnTo>
                  <a:lnTo>
                    <a:pt x="118" y="14"/>
                  </a:lnTo>
                  <a:lnTo>
                    <a:pt x="118" y="20"/>
                  </a:lnTo>
                  <a:lnTo>
                    <a:pt x="118" y="25"/>
                  </a:lnTo>
                  <a:lnTo>
                    <a:pt x="118" y="31"/>
                  </a:lnTo>
                  <a:cubicBezTo>
                    <a:pt x="124" y="34"/>
                    <a:pt x="124" y="39"/>
                    <a:pt x="121" y="42"/>
                  </a:cubicBezTo>
                  <a:cubicBezTo>
                    <a:pt x="118" y="45"/>
                    <a:pt x="118" y="51"/>
                    <a:pt x="118" y="53"/>
                  </a:cubicBezTo>
                  <a:lnTo>
                    <a:pt x="113" y="53"/>
                  </a:lnTo>
                  <a:lnTo>
                    <a:pt x="110" y="53"/>
                  </a:lnTo>
                  <a:cubicBezTo>
                    <a:pt x="107" y="56"/>
                    <a:pt x="105" y="56"/>
                    <a:pt x="102" y="56"/>
                  </a:cubicBezTo>
                  <a:cubicBezTo>
                    <a:pt x="100" y="56"/>
                    <a:pt x="96" y="56"/>
                    <a:pt x="93" y="59"/>
                  </a:cubicBezTo>
                  <a:cubicBezTo>
                    <a:pt x="87" y="62"/>
                    <a:pt x="85" y="65"/>
                    <a:pt x="79" y="65"/>
                  </a:cubicBezTo>
                  <a:lnTo>
                    <a:pt x="73" y="65"/>
                  </a:lnTo>
                  <a:cubicBezTo>
                    <a:pt x="73" y="68"/>
                    <a:pt x="70" y="68"/>
                    <a:pt x="68" y="68"/>
                  </a:cubicBezTo>
                  <a:cubicBezTo>
                    <a:pt x="65" y="68"/>
                    <a:pt x="65" y="70"/>
                    <a:pt x="65" y="70"/>
                  </a:cubicBezTo>
                  <a:cubicBezTo>
                    <a:pt x="65" y="73"/>
                    <a:pt x="65" y="76"/>
                    <a:pt x="62" y="79"/>
                  </a:cubicBezTo>
                  <a:lnTo>
                    <a:pt x="62" y="87"/>
                  </a:lnTo>
                  <a:cubicBezTo>
                    <a:pt x="62" y="90"/>
                    <a:pt x="65" y="93"/>
                    <a:pt x="65" y="99"/>
                  </a:cubicBezTo>
                  <a:cubicBezTo>
                    <a:pt x="65" y="101"/>
                    <a:pt x="68" y="107"/>
                    <a:pt x="68" y="110"/>
                  </a:cubicBezTo>
                  <a:cubicBezTo>
                    <a:pt x="70" y="115"/>
                    <a:pt x="70" y="121"/>
                    <a:pt x="68" y="127"/>
                  </a:cubicBezTo>
                  <a:cubicBezTo>
                    <a:pt x="68" y="132"/>
                    <a:pt x="68" y="138"/>
                    <a:pt x="70" y="141"/>
                  </a:cubicBezTo>
                  <a:cubicBezTo>
                    <a:pt x="73" y="146"/>
                    <a:pt x="73" y="152"/>
                    <a:pt x="73" y="155"/>
                  </a:cubicBezTo>
                  <a:lnTo>
                    <a:pt x="73" y="158"/>
                  </a:lnTo>
                  <a:lnTo>
                    <a:pt x="73" y="161"/>
                  </a:lnTo>
                  <a:cubicBezTo>
                    <a:pt x="76" y="163"/>
                    <a:pt x="76" y="166"/>
                    <a:pt x="76" y="169"/>
                  </a:cubicBezTo>
                  <a:cubicBezTo>
                    <a:pt x="76" y="172"/>
                    <a:pt x="76" y="175"/>
                    <a:pt x="79" y="178"/>
                  </a:cubicBezTo>
                  <a:cubicBezTo>
                    <a:pt x="82" y="180"/>
                    <a:pt x="82" y="183"/>
                    <a:pt x="82" y="186"/>
                  </a:cubicBezTo>
                  <a:lnTo>
                    <a:pt x="82" y="192"/>
                  </a:lnTo>
                  <a:cubicBezTo>
                    <a:pt x="82" y="194"/>
                    <a:pt x="85" y="197"/>
                    <a:pt x="82" y="200"/>
                  </a:cubicBezTo>
                  <a:cubicBezTo>
                    <a:pt x="85" y="200"/>
                    <a:pt x="85" y="203"/>
                    <a:pt x="85" y="206"/>
                  </a:cubicBezTo>
                  <a:lnTo>
                    <a:pt x="85" y="211"/>
                  </a:lnTo>
                  <a:cubicBezTo>
                    <a:pt x="87" y="217"/>
                    <a:pt x="96" y="223"/>
                    <a:pt x="104" y="220"/>
                  </a:cubicBezTo>
                  <a:lnTo>
                    <a:pt x="110" y="220"/>
                  </a:lnTo>
                  <a:lnTo>
                    <a:pt x="116" y="220"/>
                  </a:lnTo>
                  <a:cubicBezTo>
                    <a:pt x="118" y="220"/>
                    <a:pt x="118" y="223"/>
                    <a:pt x="121" y="223"/>
                  </a:cubicBezTo>
                  <a:lnTo>
                    <a:pt x="127" y="228"/>
                  </a:lnTo>
                  <a:lnTo>
                    <a:pt x="133" y="262"/>
                  </a:lnTo>
                  <a:cubicBezTo>
                    <a:pt x="130" y="268"/>
                    <a:pt x="124" y="273"/>
                    <a:pt x="116" y="273"/>
                  </a:cubicBezTo>
                  <a:cubicBezTo>
                    <a:pt x="110" y="273"/>
                    <a:pt x="104" y="276"/>
                    <a:pt x="99" y="279"/>
                  </a:cubicBezTo>
                  <a:cubicBezTo>
                    <a:pt x="96" y="282"/>
                    <a:pt x="96" y="288"/>
                    <a:pt x="96" y="290"/>
                  </a:cubicBezTo>
                  <a:lnTo>
                    <a:pt x="96" y="310"/>
                  </a:lnTo>
                  <a:lnTo>
                    <a:pt x="96" y="316"/>
                  </a:lnTo>
                  <a:cubicBezTo>
                    <a:pt x="99" y="319"/>
                    <a:pt x="99" y="319"/>
                    <a:pt x="99" y="321"/>
                  </a:cubicBezTo>
                  <a:lnTo>
                    <a:pt x="104" y="352"/>
                  </a:lnTo>
                  <a:lnTo>
                    <a:pt x="102" y="355"/>
                  </a:lnTo>
                  <a:cubicBezTo>
                    <a:pt x="104" y="364"/>
                    <a:pt x="107" y="372"/>
                    <a:pt x="107" y="381"/>
                  </a:cubicBezTo>
                  <a:lnTo>
                    <a:pt x="107" y="383"/>
                  </a:lnTo>
                  <a:lnTo>
                    <a:pt x="107" y="386"/>
                  </a:lnTo>
                  <a:cubicBezTo>
                    <a:pt x="107" y="389"/>
                    <a:pt x="107" y="392"/>
                    <a:pt x="110" y="392"/>
                  </a:cubicBezTo>
                  <a:cubicBezTo>
                    <a:pt x="113" y="395"/>
                    <a:pt x="113" y="398"/>
                    <a:pt x="110" y="400"/>
                  </a:cubicBezTo>
                  <a:lnTo>
                    <a:pt x="110" y="409"/>
                  </a:lnTo>
                  <a:cubicBezTo>
                    <a:pt x="110" y="414"/>
                    <a:pt x="113" y="417"/>
                    <a:pt x="113" y="423"/>
                  </a:cubicBezTo>
                  <a:lnTo>
                    <a:pt x="118" y="423"/>
                  </a:lnTo>
                  <a:cubicBezTo>
                    <a:pt x="121" y="423"/>
                    <a:pt x="124" y="423"/>
                    <a:pt x="127" y="426"/>
                  </a:cubicBezTo>
                  <a:cubicBezTo>
                    <a:pt x="130" y="429"/>
                    <a:pt x="133" y="429"/>
                    <a:pt x="138" y="429"/>
                  </a:cubicBezTo>
                  <a:lnTo>
                    <a:pt x="141" y="429"/>
                  </a:lnTo>
                  <a:lnTo>
                    <a:pt x="144" y="429"/>
                  </a:lnTo>
                  <a:cubicBezTo>
                    <a:pt x="147" y="429"/>
                    <a:pt x="147" y="429"/>
                    <a:pt x="149" y="426"/>
                  </a:cubicBezTo>
                  <a:cubicBezTo>
                    <a:pt x="152" y="426"/>
                    <a:pt x="152" y="426"/>
                    <a:pt x="155" y="423"/>
                  </a:cubicBezTo>
                  <a:cubicBezTo>
                    <a:pt x="158" y="423"/>
                    <a:pt x="158" y="423"/>
                    <a:pt x="161" y="420"/>
                  </a:cubicBezTo>
                  <a:cubicBezTo>
                    <a:pt x="164" y="420"/>
                    <a:pt x="164" y="420"/>
                    <a:pt x="166" y="417"/>
                  </a:cubicBezTo>
                  <a:cubicBezTo>
                    <a:pt x="169" y="414"/>
                    <a:pt x="172" y="414"/>
                    <a:pt x="175" y="417"/>
                  </a:cubicBezTo>
                  <a:lnTo>
                    <a:pt x="181" y="417"/>
                  </a:lnTo>
                  <a:lnTo>
                    <a:pt x="186" y="417"/>
                  </a:lnTo>
                  <a:lnTo>
                    <a:pt x="195" y="426"/>
                  </a:lnTo>
                  <a:cubicBezTo>
                    <a:pt x="192" y="431"/>
                    <a:pt x="192" y="431"/>
                    <a:pt x="192" y="434"/>
                  </a:cubicBezTo>
                  <a:close/>
                  <a:moveTo>
                    <a:pt x="20" y="42"/>
                  </a:moveTo>
                  <a:lnTo>
                    <a:pt x="23" y="48"/>
                  </a:lnTo>
                  <a:cubicBezTo>
                    <a:pt x="23" y="51"/>
                    <a:pt x="23" y="51"/>
                    <a:pt x="25" y="53"/>
                  </a:cubicBezTo>
                  <a:cubicBezTo>
                    <a:pt x="25" y="53"/>
                    <a:pt x="28" y="53"/>
                    <a:pt x="28" y="51"/>
                  </a:cubicBezTo>
                  <a:lnTo>
                    <a:pt x="31" y="48"/>
                  </a:lnTo>
                  <a:lnTo>
                    <a:pt x="31" y="39"/>
                  </a:lnTo>
                  <a:lnTo>
                    <a:pt x="31" y="31"/>
                  </a:lnTo>
                  <a:lnTo>
                    <a:pt x="25" y="36"/>
                  </a:lnTo>
                  <a:lnTo>
                    <a:pt x="20" y="42"/>
                  </a:lnTo>
                  <a:close/>
                  <a:moveTo>
                    <a:pt x="37" y="59"/>
                  </a:moveTo>
                  <a:lnTo>
                    <a:pt x="34" y="56"/>
                  </a:lnTo>
                  <a:lnTo>
                    <a:pt x="28" y="56"/>
                  </a:lnTo>
                  <a:lnTo>
                    <a:pt x="31" y="70"/>
                  </a:lnTo>
                  <a:lnTo>
                    <a:pt x="34" y="70"/>
                  </a:lnTo>
                  <a:lnTo>
                    <a:pt x="37" y="73"/>
                  </a:lnTo>
                  <a:cubicBezTo>
                    <a:pt x="38" y="75"/>
                    <a:pt x="40" y="74"/>
                    <a:pt x="42" y="74"/>
                  </a:cubicBezTo>
                  <a:lnTo>
                    <a:pt x="42" y="73"/>
                  </a:lnTo>
                  <a:lnTo>
                    <a:pt x="42" y="74"/>
                  </a:lnTo>
                  <a:lnTo>
                    <a:pt x="43" y="74"/>
                  </a:lnTo>
                  <a:cubicBezTo>
                    <a:pt x="44" y="73"/>
                    <a:pt x="44" y="73"/>
                    <a:pt x="45" y="73"/>
                  </a:cubicBezTo>
                  <a:lnTo>
                    <a:pt x="45" y="72"/>
                  </a:lnTo>
                  <a:cubicBezTo>
                    <a:pt x="45" y="72"/>
                    <a:pt x="45" y="72"/>
                    <a:pt x="45" y="70"/>
                  </a:cubicBezTo>
                  <a:lnTo>
                    <a:pt x="45" y="68"/>
                  </a:lnTo>
                  <a:lnTo>
                    <a:pt x="42" y="70"/>
                  </a:lnTo>
                  <a:cubicBezTo>
                    <a:pt x="42" y="70"/>
                    <a:pt x="39" y="70"/>
                    <a:pt x="39" y="73"/>
                  </a:cubicBezTo>
                  <a:lnTo>
                    <a:pt x="39" y="70"/>
                  </a:lnTo>
                  <a:cubicBezTo>
                    <a:pt x="37" y="65"/>
                    <a:pt x="37" y="65"/>
                    <a:pt x="37" y="59"/>
                  </a:cubicBezTo>
                  <a:close/>
                  <a:moveTo>
                    <a:pt x="28" y="73"/>
                  </a:moveTo>
                  <a:lnTo>
                    <a:pt x="28" y="76"/>
                  </a:lnTo>
                  <a:lnTo>
                    <a:pt x="31" y="76"/>
                  </a:lnTo>
                  <a:lnTo>
                    <a:pt x="34" y="76"/>
                  </a:lnTo>
                  <a:lnTo>
                    <a:pt x="28" y="73"/>
                  </a:lnTo>
                  <a:close/>
                  <a:moveTo>
                    <a:pt x="28" y="84"/>
                  </a:moveTo>
                  <a:cubicBezTo>
                    <a:pt x="34" y="84"/>
                    <a:pt x="34" y="82"/>
                    <a:pt x="31" y="79"/>
                  </a:cubicBezTo>
                  <a:lnTo>
                    <a:pt x="28" y="84"/>
                  </a:lnTo>
                  <a:close/>
                  <a:moveTo>
                    <a:pt x="31" y="107"/>
                  </a:moveTo>
                  <a:lnTo>
                    <a:pt x="34" y="107"/>
                  </a:lnTo>
                  <a:lnTo>
                    <a:pt x="34" y="104"/>
                  </a:lnTo>
                  <a:cubicBezTo>
                    <a:pt x="34" y="104"/>
                    <a:pt x="31" y="104"/>
                    <a:pt x="31" y="107"/>
                  </a:cubicBezTo>
                  <a:close/>
                  <a:moveTo>
                    <a:pt x="31" y="48"/>
                  </a:moveTo>
                  <a:lnTo>
                    <a:pt x="31" y="53"/>
                  </a:lnTo>
                  <a:lnTo>
                    <a:pt x="39" y="59"/>
                  </a:lnTo>
                  <a:lnTo>
                    <a:pt x="48" y="56"/>
                  </a:lnTo>
                  <a:cubicBezTo>
                    <a:pt x="51" y="56"/>
                    <a:pt x="54" y="53"/>
                    <a:pt x="59" y="53"/>
                  </a:cubicBezTo>
                  <a:lnTo>
                    <a:pt x="59" y="51"/>
                  </a:lnTo>
                  <a:lnTo>
                    <a:pt x="59" y="48"/>
                  </a:lnTo>
                  <a:cubicBezTo>
                    <a:pt x="56" y="45"/>
                    <a:pt x="56" y="45"/>
                    <a:pt x="56" y="48"/>
                  </a:cubicBezTo>
                  <a:cubicBezTo>
                    <a:pt x="54" y="51"/>
                    <a:pt x="54" y="51"/>
                    <a:pt x="54" y="48"/>
                  </a:cubicBezTo>
                  <a:lnTo>
                    <a:pt x="45" y="53"/>
                  </a:lnTo>
                  <a:lnTo>
                    <a:pt x="45" y="48"/>
                  </a:lnTo>
                  <a:lnTo>
                    <a:pt x="45" y="42"/>
                  </a:lnTo>
                  <a:lnTo>
                    <a:pt x="45" y="39"/>
                  </a:lnTo>
                  <a:lnTo>
                    <a:pt x="37" y="39"/>
                  </a:lnTo>
                  <a:lnTo>
                    <a:pt x="37" y="48"/>
                  </a:lnTo>
                  <a:lnTo>
                    <a:pt x="31" y="48"/>
                  </a:lnTo>
                  <a:close/>
                  <a:moveTo>
                    <a:pt x="37" y="107"/>
                  </a:moveTo>
                  <a:lnTo>
                    <a:pt x="39" y="104"/>
                  </a:lnTo>
                  <a:cubicBezTo>
                    <a:pt x="37" y="104"/>
                    <a:pt x="37" y="104"/>
                    <a:pt x="37" y="107"/>
                  </a:cubicBezTo>
                  <a:close/>
                  <a:moveTo>
                    <a:pt x="39" y="118"/>
                  </a:moveTo>
                  <a:lnTo>
                    <a:pt x="42" y="118"/>
                  </a:lnTo>
                  <a:lnTo>
                    <a:pt x="42" y="115"/>
                  </a:lnTo>
                  <a:lnTo>
                    <a:pt x="39" y="118"/>
                  </a:lnTo>
                  <a:close/>
                  <a:moveTo>
                    <a:pt x="51" y="124"/>
                  </a:moveTo>
                  <a:cubicBezTo>
                    <a:pt x="48" y="121"/>
                    <a:pt x="48" y="121"/>
                    <a:pt x="45" y="124"/>
                  </a:cubicBezTo>
                  <a:cubicBezTo>
                    <a:pt x="42" y="127"/>
                    <a:pt x="42" y="127"/>
                    <a:pt x="39" y="127"/>
                  </a:cubicBezTo>
                  <a:lnTo>
                    <a:pt x="42" y="130"/>
                  </a:lnTo>
                  <a:cubicBezTo>
                    <a:pt x="42" y="130"/>
                    <a:pt x="45" y="132"/>
                    <a:pt x="45" y="135"/>
                  </a:cubicBezTo>
                  <a:lnTo>
                    <a:pt x="45" y="132"/>
                  </a:lnTo>
                  <a:cubicBezTo>
                    <a:pt x="48" y="127"/>
                    <a:pt x="48" y="127"/>
                    <a:pt x="51" y="124"/>
                  </a:cubicBezTo>
                  <a:close/>
                  <a:moveTo>
                    <a:pt x="39" y="34"/>
                  </a:moveTo>
                  <a:lnTo>
                    <a:pt x="48" y="39"/>
                  </a:lnTo>
                  <a:cubicBezTo>
                    <a:pt x="48" y="36"/>
                    <a:pt x="51" y="36"/>
                    <a:pt x="51" y="34"/>
                  </a:cubicBezTo>
                  <a:cubicBezTo>
                    <a:pt x="51" y="31"/>
                    <a:pt x="51" y="31"/>
                    <a:pt x="54" y="28"/>
                  </a:cubicBezTo>
                  <a:lnTo>
                    <a:pt x="48" y="31"/>
                  </a:lnTo>
                  <a:lnTo>
                    <a:pt x="39" y="34"/>
                  </a:lnTo>
                  <a:close/>
                  <a:moveTo>
                    <a:pt x="42" y="73"/>
                  </a:moveTo>
                  <a:cubicBezTo>
                    <a:pt x="43" y="74"/>
                    <a:pt x="43" y="74"/>
                    <a:pt x="43" y="74"/>
                  </a:cubicBezTo>
                  <a:lnTo>
                    <a:pt x="45" y="76"/>
                  </a:lnTo>
                  <a:cubicBezTo>
                    <a:pt x="48" y="76"/>
                    <a:pt x="48" y="73"/>
                    <a:pt x="48" y="70"/>
                  </a:cubicBezTo>
                  <a:lnTo>
                    <a:pt x="45" y="72"/>
                  </a:lnTo>
                  <a:lnTo>
                    <a:pt x="42" y="73"/>
                  </a:lnTo>
                  <a:close/>
                  <a:moveTo>
                    <a:pt x="48" y="99"/>
                  </a:moveTo>
                  <a:lnTo>
                    <a:pt x="42" y="99"/>
                  </a:lnTo>
                  <a:lnTo>
                    <a:pt x="42" y="101"/>
                  </a:lnTo>
                  <a:cubicBezTo>
                    <a:pt x="45" y="101"/>
                    <a:pt x="45" y="99"/>
                    <a:pt x="48" y="99"/>
                  </a:cubicBezTo>
                  <a:close/>
                  <a:moveTo>
                    <a:pt x="45" y="65"/>
                  </a:moveTo>
                  <a:cubicBezTo>
                    <a:pt x="45" y="68"/>
                    <a:pt x="48" y="68"/>
                    <a:pt x="51" y="65"/>
                  </a:cubicBezTo>
                  <a:cubicBezTo>
                    <a:pt x="48" y="65"/>
                    <a:pt x="48" y="62"/>
                    <a:pt x="48" y="62"/>
                  </a:cubicBezTo>
                  <a:cubicBezTo>
                    <a:pt x="48" y="59"/>
                    <a:pt x="45" y="59"/>
                    <a:pt x="42" y="62"/>
                  </a:cubicBezTo>
                  <a:lnTo>
                    <a:pt x="45" y="65"/>
                  </a:lnTo>
                  <a:close/>
                  <a:moveTo>
                    <a:pt x="45" y="189"/>
                  </a:moveTo>
                  <a:cubicBezTo>
                    <a:pt x="45" y="189"/>
                    <a:pt x="48" y="192"/>
                    <a:pt x="51" y="192"/>
                  </a:cubicBezTo>
                  <a:lnTo>
                    <a:pt x="48" y="183"/>
                  </a:lnTo>
                  <a:cubicBezTo>
                    <a:pt x="48" y="183"/>
                    <a:pt x="48" y="186"/>
                    <a:pt x="45" y="186"/>
                  </a:cubicBezTo>
                  <a:lnTo>
                    <a:pt x="45" y="189"/>
                  </a:lnTo>
                  <a:close/>
                  <a:moveTo>
                    <a:pt x="45" y="25"/>
                  </a:moveTo>
                  <a:cubicBezTo>
                    <a:pt x="45" y="28"/>
                    <a:pt x="45" y="28"/>
                    <a:pt x="48" y="28"/>
                  </a:cubicBezTo>
                  <a:lnTo>
                    <a:pt x="45" y="25"/>
                  </a:lnTo>
                  <a:close/>
                  <a:moveTo>
                    <a:pt x="59" y="175"/>
                  </a:moveTo>
                  <a:cubicBezTo>
                    <a:pt x="56" y="172"/>
                    <a:pt x="56" y="172"/>
                    <a:pt x="54" y="172"/>
                  </a:cubicBezTo>
                  <a:cubicBezTo>
                    <a:pt x="51" y="172"/>
                    <a:pt x="51" y="172"/>
                    <a:pt x="48" y="175"/>
                  </a:cubicBezTo>
                  <a:lnTo>
                    <a:pt x="48" y="180"/>
                  </a:lnTo>
                  <a:lnTo>
                    <a:pt x="51" y="178"/>
                  </a:lnTo>
                  <a:lnTo>
                    <a:pt x="59" y="175"/>
                  </a:lnTo>
                  <a:close/>
                  <a:moveTo>
                    <a:pt x="51" y="146"/>
                  </a:moveTo>
                  <a:lnTo>
                    <a:pt x="45" y="146"/>
                  </a:lnTo>
                  <a:cubicBezTo>
                    <a:pt x="51" y="149"/>
                    <a:pt x="51" y="149"/>
                    <a:pt x="51" y="146"/>
                  </a:cubicBezTo>
                  <a:close/>
                  <a:moveTo>
                    <a:pt x="45" y="166"/>
                  </a:moveTo>
                  <a:cubicBezTo>
                    <a:pt x="45" y="169"/>
                    <a:pt x="48" y="172"/>
                    <a:pt x="48" y="172"/>
                  </a:cubicBezTo>
                  <a:cubicBezTo>
                    <a:pt x="48" y="172"/>
                    <a:pt x="48" y="169"/>
                    <a:pt x="51" y="169"/>
                  </a:cubicBezTo>
                  <a:cubicBezTo>
                    <a:pt x="51" y="169"/>
                    <a:pt x="54" y="166"/>
                    <a:pt x="51" y="166"/>
                  </a:cubicBezTo>
                  <a:cubicBezTo>
                    <a:pt x="48" y="163"/>
                    <a:pt x="48" y="166"/>
                    <a:pt x="45" y="166"/>
                  </a:cubicBezTo>
                  <a:close/>
                  <a:moveTo>
                    <a:pt x="51" y="214"/>
                  </a:moveTo>
                  <a:lnTo>
                    <a:pt x="51" y="220"/>
                  </a:lnTo>
                  <a:lnTo>
                    <a:pt x="54" y="220"/>
                  </a:lnTo>
                  <a:lnTo>
                    <a:pt x="51" y="214"/>
                  </a:lnTo>
                  <a:close/>
                  <a:moveTo>
                    <a:pt x="51" y="203"/>
                  </a:moveTo>
                  <a:lnTo>
                    <a:pt x="51" y="211"/>
                  </a:lnTo>
                  <a:cubicBezTo>
                    <a:pt x="54" y="211"/>
                    <a:pt x="54" y="211"/>
                    <a:pt x="56" y="209"/>
                  </a:cubicBezTo>
                  <a:lnTo>
                    <a:pt x="51" y="203"/>
                  </a:lnTo>
                  <a:close/>
                  <a:moveTo>
                    <a:pt x="56" y="42"/>
                  </a:moveTo>
                  <a:cubicBezTo>
                    <a:pt x="59" y="39"/>
                    <a:pt x="59" y="39"/>
                    <a:pt x="62" y="39"/>
                  </a:cubicBezTo>
                  <a:lnTo>
                    <a:pt x="65" y="42"/>
                  </a:lnTo>
                  <a:lnTo>
                    <a:pt x="68" y="42"/>
                  </a:lnTo>
                  <a:cubicBezTo>
                    <a:pt x="68" y="42"/>
                    <a:pt x="70" y="42"/>
                    <a:pt x="70" y="39"/>
                  </a:cubicBezTo>
                  <a:lnTo>
                    <a:pt x="70" y="48"/>
                  </a:lnTo>
                  <a:lnTo>
                    <a:pt x="76" y="48"/>
                  </a:lnTo>
                  <a:lnTo>
                    <a:pt x="76" y="42"/>
                  </a:lnTo>
                  <a:cubicBezTo>
                    <a:pt x="76" y="39"/>
                    <a:pt x="73" y="39"/>
                    <a:pt x="70" y="39"/>
                  </a:cubicBezTo>
                  <a:lnTo>
                    <a:pt x="68" y="39"/>
                  </a:lnTo>
                  <a:lnTo>
                    <a:pt x="65" y="39"/>
                  </a:lnTo>
                  <a:cubicBezTo>
                    <a:pt x="62" y="39"/>
                    <a:pt x="62" y="36"/>
                    <a:pt x="62" y="36"/>
                  </a:cubicBezTo>
                  <a:lnTo>
                    <a:pt x="59" y="34"/>
                  </a:lnTo>
                  <a:cubicBezTo>
                    <a:pt x="56" y="36"/>
                    <a:pt x="56" y="39"/>
                    <a:pt x="56" y="42"/>
                  </a:cubicBezTo>
                  <a:close/>
                  <a:moveTo>
                    <a:pt x="62" y="209"/>
                  </a:moveTo>
                  <a:cubicBezTo>
                    <a:pt x="62" y="209"/>
                    <a:pt x="62" y="211"/>
                    <a:pt x="59" y="211"/>
                  </a:cubicBezTo>
                  <a:lnTo>
                    <a:pt x="56" y="214"/>
                  </a:lnTo>
                  <a:cubicBezTo>
                    <a:pt x="56" y="214"/>
                    <a:pt x="59" y="217"/>
                    <a:pt x="62" y="217"/>
                  </a:cubicBezTo>
                  <a:lnTo>
                    <a:pt x="62" y="209"/>
                  </a:lnTo>
                  <a:close/>
                  <a:moveTo>
                    <a:pt x="59" y="225"/>
                  </a:moveTo>
                  <a:cubicBezTo>
                    <a:pt x="62" y="228"/>
                    <a:pt x="62" y="228"/>
                    <a:pt x="65" y="228"/>
                  </a:cubicBezTo>
                  <a:cubicBezTo>
                    <a:pt x="65" y="223"/>
                    <a:pt x="65" y="223"/>
                    <a:pt x="59" y="225"/>
                  </a:cubicBezTo>
                  <a:close/>
                  <a:moveTo>
                    <a:pt x="76" y="240"/>
                  </a:moveTo>
                  <a:lnTo>
                    <a:pt x="68" y="240"/>
                  </a:lnTo>
                  <a:cubicBezTo>
                    <a:pt x="65" y="237"/>
                    <a:pt x="62" y="240"/>
                    <a:pt x="59" y="242"/>
                  </a:cubicBezTo>
                  <a:lnTo>
                    <a:pt x="59" y="251"/>
                  </a:lnTo>
                  <a:lnTo>
                    <a:pt x="62" y="251"/>
                  </a:lnTo>
                  <a:lnTo>
                    <a:pt x="65" y="251"/>
                  </a:lnTo>
                  <a:lnTo>
                    <a:pt x="62" y="248"/>
                  </a:lnTo>
                  <a:lnTo>
                    <a:pt x="68" y="248"/>
                  </a:lnTo>
                  <a:lnTo>
                    <a:pt x="70" y="248"/>
                  </a:lnTo>
                  <a:cubicBezTo>
                    <a:pt x="73" y="248"/>
                    <a:pt x="73" y="248"/>
                    <a:pt x="76" y="245"/>
                  </a:cubicBezTo>
                  <a:cubicBezTo>
                    <a:pt x="73" y="242"/>
                    <a:pt x="76" y="240"/>
                    <a:pt x="76" y="240"/>
                  </a:cubicBezTo>
                  <a:close/>
                  <a:moveTo>
                    <a:pt x="65" y="257"/>
                  </a:moveTo>
                  <a:cubicBezTo>
                    <a:pt x="65" y="257"/>
                    <a:pt x="65" y="254"/>
                    <a:pt x="68" y="254"/>
                  </a:cubicBezTo>
                  <a:lnTo>
                    <a:pt x="65" y="254"/>
                  </a:lnTo>
                  <a:lnTo>
                    <a:pt x="62" y="254"/>
                  </a:lnTo>
                  <a:lnTo>
                    <a:pt x="62" y="262"/>
                  </a:lnTo>
                  <a:cubicBezTo>
                    <a:pt x="65" y="259"/>
                    <a:pt x="65" y="257"/>
                    <a:pt x="65" y="257"/>
                  </a:cubicBezTo>
                  <a:close/>
                  <a:moveTo>
                    <a:pt x="76" y="262"/>
                  </a:moveTo>
                  <a:lnTo>
                    <a:pt x="73" y="262"/>
                  </a:lnTo>
                  <a:lnTo>
                    <a:pt x="70" y="259"/>
                  </a:lnTo>
                  <a:lnTo>
                    <a:pt x="68" y="257"/>
                  </a:lnTo>
                  <a:cubicBezTo>
                    <a:pt x="68" y="257"/>
                    <a:pt x="68" y="259"/>
                    <a:pt x="65" y="259"/>
                  </a:cubicBezTo>
                  <a:lnTo>
                    <a:pt x="62" y="262"/>
                  </a:lnTo>
                  <a:lnTo>
                    <a:pt x="59" y="265"/>
                  </a:lnTo>
                  <a:cubicBezTo>
                    <a:pt x="59" y="265"/>
                    <a:pt x="62" y="265"/>
                    <a:pt x="62" y="268"/>
                  </a:cubicBezTo>
                  <a:cubicBezTo>
                    <a:pt x="65" y="268"/>
                    <a:pt x="65" y="271"/>
                    <a:pt x="68" y="273"/>
                  </a:cubicBezTo>
                  <a:cubicBezTo>
                    <a:pt x="73" y="268"/>
                    <a:pt x="73" y="265"/>
                    <a:pt x="76" y="262"/>
                  </a:cubicBezTo>
                  <a:close/>
                  <a:moveTo>
                    <a:pt x="65" y="211"/>
                  </a:moveTo>
                  <a:cubicBezTo>
                    <a:pt x="70" y="214"/>
                    <a:pt x="70" y="211"/>
                    <a:pt x="68" y="209"/>
                  </a:cubicBezTo>
                  <a:cubicBezTo>
                    <a:pt x="68" y="209"/>
                    <a:pt x="68" y="211"/>
                    <a:pt x="65" y="211"/>
                  </a:cubicBezTo>
                  <a:close/>
                  <a:moveTo>
                    <a:pt x="73" y="234"/>
                  </a:moveTo>
                  <a:cubicBezTo>
                    <a:pt x="70" y="231"/>
                    <a:pt x="70" y="231"/>
                    <a:pt x="68" y="231"/>
                  </a:cubicBezTo>
                  <a:lnTo>
                    <a:pt x="68" y="234"/>
                  </a:lnTo>
                  <a:lnTo>
                    <a:pt x="68" y="237"/>
                  </a:lnTo>
                  <a:cubicBezTo>
                    <a:pt x="70" y="237"/>
                    <a:pt x="70" y="234"/>
                    <a:pt x="73" y="234"/>
                  </a:cubicBezTo>
                  <a:close/>
                  <a:moveTo>
                    <a:pt x="76" y="313"/>
                  </a:moveTo>
                  <a:cubicBezTo>
                    <a:pt x="79" y="313"/>
                    <a:pt x="79" y="310"/>
                    <a:pt x="82" y="310"/>
                  </a:cubicBezTo>
                  <a:cubicBezTo>
                    <a:pt x="79" y="307"/>
                    <a:pt x="79" y="304"/>
                    <a:pt x="76" y="304"/>
                  </a:cubicBezTo>
                  <a:cubicBezTo>
                    <a:pt x="76" y="304"/>
                    <a:pt x="76" y="307"/>
                    <a:pt x="73" y="307"/>
                  </a:cubicBezTo>
                  <a:lnTo>
                    <a:pt x="70" y="313"/>
                  </a:lnTo>
                  <a:cubicBezTo>
                    <a:pt x="68" y="313"/>
                    <a:pt x="68" y="310"/>
                    <a:pt x="65" y="310"/>
                  </a:cubicBezTo>
                  <a:lnTo>
                    <a:pt x="65" y="313"/>
                  </a:lnTo>
                  <a:cubicBezTo>
                    <a:pt x="68" y="313"/>
                    <a:pt x="68" y="316"/>
                    <a:pt x="70" y="316"/>
                  </a:cubicBezTo>
                  <a:lnTo>
                    <a:pt x="73" y="316"/>
                  </a:lnTo>
                  <a:lnTo>
                    <a:pt x="79" y="316"/>
                  </a:lnTo>
                  <a:lnTo>
                    <a:pt x="76" y="313"/>
                  </a:lnTo>
                  <a:close/>
                  <a:moveTo>
                    <a:pt x="73" y="290"/>
                  </a:moveTo>
                  <a:lnTo>
                    <a:pt x="70" y="290"/>
                  </a:lnTo>
                  <a:lnTo>
                    <a:pt x="70" y="293"/>
                  </a:lnTo>
                  <a:cubicBezTo>
                    <a:pt x="73" y="293"/>
                    <a:pt x="73" y="290"/>
                    <a:pt x="73" y="290"/>
                  </a:cubicBezTo>
                  <a:close/>
                  <a:moveTo>
                    <a:pt x="68" y="302"/>
                  </a:moveTo>
                  <a:lnTo>
                    <a:pt x="70" y="302"/>
                  </a:lnTo>
                  <a:lnTo>
                    <a:pt x="70" y="296"/>
                  </a:lnTo>
                  <a:cubicBezTo>
                    <a:pt x="70" y="299"/>
                    <a:pt x="70" y="302"/>
                    <a:pt x="68" y="302"/>
                  </a:cubicBezTo>
                  <a:close/>
                  <a:moveTo>
                    <a:pt x="82" y="225"/>
                  </a:moveTo>
                  <a:lnTo>
                    <a:pt x="79" y="225"/>
                  </a:lnTo>
                  <a:cubicBezTo>
                    <a:pt x="76" y="225"/>
                    <a:pt x="73" y="223"/>
                    <a:pt x="70" y="223"/>
                  </a:cubicBezTo>
                  <a:lnTo>
                    <a:pt x="70" y="225"/>
                  </a:lnTo>
                  <a:lnTo>
                    <a:pt x="76" y="228"/>
                  </a:lnTo>
                  <a:cubicBezTo>
                    <a:pt x="79" y="225"/>
                    <a:pt x="79" y="225"/>
                    <a:pt x="82" y="225"/>
                  </a:cubicBezTo>
                  <a:close/>
                  <a:moveTo>
                    <a:pt x="70" y="338"/>
                  </a:moveTo>
                  <a:lnTo>
                    <a:pt x="73" y="338"/>
                  </a:lnTo>
                  <a:lnTo>
                    <a:pt x="73" y="333"/>
                  </a:lnTo>
                  <a:lnTo>
                    <a:pt x="73" y="330"/>
                  </a:lnTo>
                  <a:lnTo>
                    <a:pt x="73" y="327"/>
                  </a:lnTo>
                  <a:cubicBezTo>
                    <a:pt x="70" y="327"/>
                    <a:pt x="70" y="330"/>
                    <a:pt x="70" y="330"/>
                  </a:cubicBezTo>
                  <a:lnTo>
                    <a:pt x="68" y="330"/>
                  </a:lnTo>
                  <a:lnTo>
                    <a:pt x="70" y="338"/>
                  </a:lnTo>
                  <a:close/>
                  <a:moveTo>
                    <a:pt x="70" y="273"/>
                  </a:moveTo>
                  <a:lnTo>
                    <a:pt x="70" y="276"/>
                  </a:lnTo>
                  <a:cubicBezTo>
                    <a:pt x="73" y="276"/>
                    <a:pt x="73" y="276"/>
                    <a:pt x="73" y="273"/>
                  </a:cubicBezTo>
                  <a:cubicBezTo>
                    <a:pt x="73" y="273"/>
                    <a:pt x="70" y="271"/>
                    <a:pt x="70" y="273"/>
                  </a:cubicBezTo>
                  <a:close/>
                  <a:moveTo>
                    <a:pt x="82" y="288"/>
                  </a:moveTo>
                  <a:cubicBezTo>
                    <a:pt x="79" y="288"/>
                    <a:pt x="79" y="288"/>
                    <a:pt x="79" y="285"/>
                  </a:cubicBezTo>
                  <a:lnTo>
                    <a:pt x="76" y="285"/>
                  </a:lnTo>
                  <a:cubicBezTo>
                    <a:pt x="79" y="282"/>
                    <a:pt x="76" y="282"/>
                    <a:pt x="73" y="282"/>
                  </a:cubicBezTo>
                  <a:lnTo>
                    <a:pt x="70" y="282"/>
                  </a:lnTo>
                  <a:lnTo>
                    <a:pt x="70" y="285"/>
                  </a:lnTo>
                  <a:lnTo>
                    <a:pt x="73" y="285"/>
                  </a:lnTo>
                  <a:lnTo>
                    <a:pt x="73" y="288"/>
                  </a:lnTo>
                  <a:lnTo>
                    <a:pt x="82" y="288"/>
                  </a:lnTo>
                  <a:close/>
                  <a:moveTo>
                    <a:pt x="73" y="28"/>
                  </a:moveTo>
                  <a:cubicBezTo>
                    <a:pt x="76" y="34"/>
                    <a:pt x="79" y="36"/>
                    <a:pt x="79" y="39"/>
                  </a:cubicBezTo>
                  <a:lnTo>
                    <a:pt x="82" y="39"/>
                  </a:lnTo>
                  <a:lnTo>
                    <a:pt x="85" y="42"/>
                  </a:lnTo>
                  <a:lnTo>
                    <a:pt x="85" y="36"/>
                  </a:lnTo>
                  <a:lnTo>
                    <a:pt x="85" y="31"/>
                  </a:lnTo>
                  <a:lnTo>
                    <a:pt x="82" y="28"/>
                  </a:lnTo>
                  <a:lnTo>
                    <a:pt x="79" y="25"/>
                  </a:lnTo>
                  <a:cubicBezTo>
                    <a:pt x="79" y="22"/>
                    <a:pt x="82" y="22"/>
                    <a:pt x="82" y="20"/>
                  </a:cubicBezTo>
                  <a:lnTo>
                    <a:pt x="79" y="22"/>
                  </a:lnTo>
                  <a:cubicBezTo>
                    <a:pt x="79" y="22"/>
                    <a:pt x="76" y="22"/>
                    <a:pt x="76" y="25"/>
                  </a:cubicBezTo>
                  <a:lnTo>
                    <a:pt x="73" y="25"/>
                  </a:lnTo>
                  <a:lnTo>
                    <a:pt x="73" y="28"/>
                  </a:lnTo>
                  <a:close/>
                  <a:moveTo>
                    <a:pt x="76" y="327"/>
                  </a:moveTo>
                  <a:cubicBezTo>
                    <a:pt x="76" y="330"/>
                    <a:pt x="79" y="330"/>
                    <a:pt x="82" y="327"/>
                  </a:cubicBezTo>
                  <a:cubicBezTo>
                    <a:pt x="79" y="327"/>
                    <a:pt x="79" y="324"/>
                    <a:pt x="79" y="324"/>
                  </a:cubicBezTo>
                  <a:cubicBezTo>
                    <a:pt x="79" y="321"/>
                    <a:pt x="76" y="321"/>
                    <a:pt x="73" y="324"/>
                  </a:cubicBezTo>
                  <a:cubicBezTo>
                    <a:pt x="76" y="324"/>
                    <a:pt x="76" y="324"/>
                    <a:pt x="76" y="327"/>
                  </a:cubicBezTo>
                  <a:close/>
                  <a:moveTo>
                    <a:pt x="85" y="248"/>
                  </a:moveTo>
                  <a:lnTo>
                    <a:pt x="85" y="245"/>
                  </a:lnTo>
                  <a:lnTo>
                    <a:pt x="76" y="245"/>
                  </a:lnTo>
                  <a:cubicBezTo>
                    <a:pt x="76" y="248"/>
                    <a:pt x="79" y="251"/>
                    <a:pt x="79" y="251"/>
                  </a:cubicBezTo>
                  <a:cubicBezTo>
                    <a:pt x="82" y="251"/>
                    <a:pt x="85" y="251"/>
                    <a:pt x="85" y="254"/>
                  </a:cubicBezTo>
                  <a:lnTo>
                    <a:pt x="85" y="248"/>
                  </a:lnTo>
                  <a:close/>
                  <a:moveTo>
                    <a:pt x="79" y="237"/>
                  </a:moveTo>
                  <a:lnTo>
                    <a:pt x="79" y="240"/>
                  </a:lnTo>
                  <a:cubicBezTo>
                    <a:pt x="79" y="240"/>
                    <a:pt x="79" y="242"/>
                    <a:pt x="82" y="242"/>
                  </a:cubicBezTo>
                  <a:cubicBezTo>
                    <a:pt x="85" y="240"/>
                    <a:pt x="87" y="240"/>
                    <a:pt x="90" y="240"/>
                  </a:cubicBezTo>
                  <a:cubicBezTo>
                    <a:pt x="93" y="240"/>
                    <a:pt x="93" y="240"/>
                    <a:pt x="96" y="237"/>
                  </a:cubicBezTo>
                  <a:lnTo>
                    <a:pt x="87" y="234"/>
                  </a:lnTo>
                  <a:cubicBezTo>
                    <a:pt x="85" y="234"/>
                    <a:pt x="82" y="237"/>
                    <a:pt x="79" y="237"/>
                  </a:cubicBezTo>
                  <a:close/>
                  <a:moveTo>
                    <a:pt x="82" y="352"/>
                  </a:moveTo>
                  <a:cubicBezTo>
                    <a:pt x="82" y="352"/>
                    <a:pt x="85" y="355"/>
                    <a:pt x="85" y="358"/>
                  </a:cubicBezTo>
                  <a:lnTo>
                    <a:pt x="87" y="355"/>
                  </a:lnTo>
                  <a:lnTo>
                    <a:pt x="85" y="352"/>
                  </a:lnTo>
                  <a:lnTo>
                    <a:pt x="82" y="350"/>
                  </a:lnTo>
                  <a:lnTo>
                    <a:pt x="85" y="347"/>
                  </a:lnTo>
                  <a:lnTo>
                    <a:pt x="82" y="347"/>
                  </a:lnTo>
                  <a:cubicBezTo>
                    <a:pt x="82" y="347"/>
                    <a:pt x="82" y="349"/>
                    <a:pt x="80" y="349"/>
                  </a:cubicBezTo>
                  <a:cubicBezTo>
                    <a:pt x="81" y="350"/>
                    <a:pt x="82" y="351"/>
                    <a:pt x="82" y="352"/>
                  </a:cubicBezTo>
                  <a:close/>
                  <a:moveTo>
                    <a:pt x="82" y="420"/>
                  </a:moveTo>
                  <a:lnTo>
                    <a:pt x="87" y="426"/>
                  </a:lnTo>
                  <a:lnTo>
                    <a:pt x="87" y="420"/>
                  </a:lnTo>
                  <a:lnTo>
                    <a:pt x="82" y="420"/>
                  </a:lnTo>
                  <a:close/>
                  <a:moveTo>
                    <a:pt x="87" y="431"/>
                  </a:moveTo>
                  <a:lnTo>
                    <a:pt x="90" y="431"/>
                  </a:lnTo>
                  <a:lnTo>
                    <a:pt x="90" y="429"/>
                  </a:lnTo>
                  <a:lnTo>
                    <a:pt x="82" y="429"/>
                  </a:lnTo>
                  <a:lnTo>
                    <a:pt x="87" y="431"/>
                  </a:lnTo>
                  <a:close/>
                  <a:moveTo>
                    <a:pt x="93" y="381"/>
                  </a:moveTo>
                  <a:cubicBezTo>
                    <a:pt x="93" y="378"/>
                    <a:pt x="90" y="378"/>
                    <a:pt x="90" y="378"/>
                  </a:cubicBezTo>
                  <a:lnTo>
                    <a:pt x="85" y="381"/>
                  </a:lnTo>
                  <a:lnTo>
                    <a:pt x="93" y="381"/>
                  </a:lnTo>
                  <a:close/>
                  <a:moveTo>
                    <a:pt x="90" y="245"/>
                  </a:moveTo>
                  <a:cubicBezTo>
                    <a:pt x="87" y="248"/>
                    <a:pt x="90" y="251"/>
                    <a:pt x="90" y="251"/>
                  </a:cubicBezTo>
                  <a:lnTo>
                    <a:pt x="90" y="245"/>
                  </a:lnTo>
                  <a:close/>
                  <a:moveTo>
                    <a:pt x="87" y="31"/>
                  </a:moveTo>
                  <a:cubicBezTo>
                    <a:pt x="90" y="31"/>
                    <a:pt x="90" y="31"/>
                    <a:pt x="90" y="28"/>
                  </a:cubicBezTo>
                  <a:lnTo>
                    <a:pt x="87" y="31"/>
                  </a:lnTo>
                  <a:close/>
                  <a:moveTo>
                    <a:pt x="90" y="254"/>
                  </a:moveTo>
                  <a:cubicBezTo>
                    <a:pt x="87" y="254"/>
                    <a:pt x="87" y="257"/>
                    <a:pt x="87" y="257"/>
                  </a:cubicBezTo>
                  <a:cubicBezTo>
                    <a:pt x="90" y="257"/>
                    <a:pt x="90" y="257"/>
                    <a:pt x="90" y="254"/>
                  </a:cubicBezTo>
                  <a:close/>
                  <a:moveTo>
                    <a:pt x="90" y="447"/>
                  </a:moveTo>
                  <a:lnTo>
                    <a:pt x="90" y="450"/>
                  </a:lnTo>
                  <a:lnTo>
                    <a:pt x="93" y="450"/>
                  </a:lnTo>
                  <a:lnTo>
                    <a:pt x="93" y="447"/>
                  </a:lnTo>
                  <a:lnTo>
                    <a:pt x="90" y="447"/>
                  </a:lnTo>
                  <a:close/>
                  <a:moveTo>
                    <a:pt x="93" y="406"/>
                  </a:moveTo>
                  <a:lnTo>
                    <a:pt x="93" y="400"/>
                  </a:lnTo>
                  <a:lnTo>
                    <a:pt x="90" y="400"/>
                  </a:lnTo>
                  <a:cubicBezTo>
                    <a:pt x="93" y="403"/>
                    <a:pt x="93" y="406"/>
                    <a:pt x="93" y="406"/>
                  </a:cubicBezTo>
                  <a:close/>
                  <a:moveTo>
                    <a:pt x="102" y="254"/>
                  </a:moveTo>
                  <a:cubicBezTo>
                    <a:pt x="102" y="251"/>
                    <a:pt x="102" y="251"/>
                    <a:pt x="100" y="251"/>
                  </a:cubicBezTo>
                  <a:cubicBezTo>
                    <a:pt x="99" y="254"/>
                    <a:pt x="99" y="254"/>
                    <a:pt x="102" y="254"/>
                  </a:cubicBezTo>
                  <a:close/>
                  <a:moveTo>
                    <a:pt x="99" y="245"/>
                  </a:moveTo>
                  <a:lnTo>
                    <a:pt x="96" y="245"/>
                  </a:lnTo>
                  <a:cubicBezTo>
                    <a:pt x="93" y="248"/>
                    <a:pt x="93" y="252"/>
                    <a:pt x="99" y="250"/>
                  </a:cubicBezTo>
                  <a:lnTo>
                    <a:pt x="99" y="245"/>
                  </a:lnTo>
                  <a:close/>
                  <a:moveTo>
                    <a:pt x="99" y="456"/>
                  </a:moveTo>
                  <a:cubicBezTo>
                    <a:pt x="96" y="456"/>
                    <a:pt x="93" y="459"/>
                    <a:pt x="93" y="459"/>
                  </a:cubicBezTo>
                  <a:lnTo>
                    <a:pt x="99" y="459"/>
                  </a:lnTo>
                  <a:lnTo>
                    <a:pt x="99" y="456"/>
                  </a:lnTo>
                  <a:close/>
                  <a:moveTo>
                    <a:pt x="99" y="445"/>
                  </a:moveTo>
                  <a:cubicBezTo>
                    <a:pt x="99" y="445"/>
                    <a:pt x="96" y="446"/>
                    <a:pt x="96" y="443"/>
                  </a:cubicBezTo>
                  <a:lnTo>
                    <a:pt x="96" y="445"/>
                  </a:lnTo>
                  <a:cubicBezTo>
                    <a:pt x="96" y="447"/>
                    <a:pt x="99" y="447"/>
                    <a:pt x="99" y="445"/>
                  </a:cubicBezTo>
                  <a:close/>
                  <a:moveTo>
                    <a:pt x="102" y="440"/>
                  </a:moveTo>
                  <a:lnTo>
                    <a:pt x="99" y="443"/>
                  </a:lnTo>
                  <a:lnTo>
                    <a:pt x="102" y="446"/>
                  </a:lnTo>
                  <a:cubicBezTo>
                    <a:pt x="102" y="443"/>
                    <a:pt x="104" y="443"/>
                    <a:pt x="104" y="440"/>
                  </a:cubicBezTo>
                  <a:cubicBezTo>
                    <a:pt x="104" y="437"/>
                    <a:pt x="107" y="437"/>
                    <a:pt x="107" y="434"/>
                  </a:cubicBezTo>
                  <a:lnTo>
                    <a:pt x="99" y="434"/>
                  </a:lnTo>
                  <a:lnTo>
                    <a:pt x="100" y="438"/>
                  </a:lnTo>
                  <a:cubicBezTo>
                    <a:pt x="101" y="438"/>
                    <a:pt x="102" y="438"/>
                    <a:pt x="102" y="440"/>
                  </a:cubicBezTo>
                  <a:close/>
                  <a:moveTo>
                    <a:pt x="107" y="447"/>
                  </a:moveTo>
                  <a:lnTo>
                    <a:pt x="102" y="447"/>
                  </a:lnTo>
                  <a:lnTo>
                    <a:pt x="102" y="450"/>
                  </a:lnTo>
                  <a:lnTo>
                    <a:pt x="107" y="447"/>
                  </a:lnTo>
                  <a:close/>
                  <a:moveTo>
                    <a:pt x="104" y="443"/>
                  </a:moveTo>
                  <a:lnTo>
                    <a:pt x="110" y="447"/>
                  </a:lnTo>
                  <a:lnTo>
                    <a:pt x="110" y="446"/>
                  </a:lnTo>
                  <a:lnTo>
                    <a:pt x="110" y="443"/>
                  </a:lnTo>
                  <a:cubicBezTo>
                    <a:pt x="107" y="440"/>
                    <a:pt x="107" y="443"/>
                    <a:pt x="104" y="443"/>
                  </a:cubicBezTo>
                  <a:close/>
                  <a:moveTo>
                    <a:pt x="121" y="456"/>
                  </a:moveTo>
                  <a:lnTo>
                    <a:pt x="121" y="459"/>
                  </a:lnTo>
                  <a:cubicBezTo>
                    <a:pt x="118" y="456"/>
                    <a:pt x="113" y="453"/>
                    <a:pt x="110" y="450"/>
                  </a:cubicBezTo>
                  <a:cubicBezTo>
                    <a:pt x="110" y="450"/>
                    <a:pt x="110" y="453"/>
                    <a:pt x="113" y="453"/>
                  </a:cubicBezTo>
                  <a:lnTo>
                    <a:pt x="113" y="461"/>
                  </a:lnTo>
                  <a:cubicBezTo>
                    <a:pt x="113" y="459"/>
                    <a:pt x="116" y="459"/>
                    <a:pt x="116" y="459"/>
                  </a:cubicBezTo>
                  <a:lnTo>
                    <a:pt x="116" y="456"/>
                  </a:lnTo>
                  <a:cubicBezTo>
                    <a:pt x="116" y="456"/>
                    <a:pt x="118" y="456"/>
                    <a:pt x="121" y="459"/>
                  </a:cubicBezTo>
                  <a:cubicBezTo>
                    <a:pt x="124" y="461"/>
                    <a:pt x="127" y="459"/>
                    <a:pt x="127" y="456"/>
                  </a:cubicBezTo>
                  <a:lnTo>
                    <a:pt x="121" y="456"/>
                  </a:lnTo>
                  <a:close/>
                  <a:moveTo>
                    <a:pt x="118" y="443"/>
                  </a:moveTo>
                  <a:lnTo>
                    <a:pt x="116" y="443"/>
                  </a:lnTo>
                  <a:cubicBezTo>
                    <a:pt x="116" y="445"/>
                    <a:pt x="116" y="445"/>
                    <a:pt x="118" y="443"/>
                  </a:cubicBezTo>
                  <a:cubicBezTo>
                    <a:pt x="116" y="446"/>
                    <a:pt x="118" y="445"/>
                    <a:pt x="118" y="447"/>
                  </a:cubicBezTo>
                  <a:lnTo>
                    <a:pt x="116" y="447"/>
                  </a:lnTo>
                  <a:lnTo>
                    <a:pt x="113" y="447"/>
                  </a:lnTo>
                  <a:lnTo>
                    <a:pt x="116" y="450"/>
                  </a:lnTo>
                  <a:cubicBezTo>
                    <a:pt x="121" y="450"/>
                    <a:pt x="121" y="445"/>
                    <a:pt x="118" y="443"/>
                  </a:cubicBezTo>
                  <a:close/>
                  <a:moveTo>
                    <a:pt x="138" y="445"/>
                  </a:moveTo>
                  <a:cubicBezTo>
                    <a:pt x="138" y="445"/>
                    <a:pt x="135" y="445"/>
                    <a:pt x="138" y="445"/>
                  </a:cubicBezTo>
                  <a:lnTo>
                    <a:pt x="135" y="450"/>
                  </a:lnTo>
                  <a:cubicBezTo>
                    <a:pt x="141" y="450"/>
                    <a:pt x="138" y="447"/>
                    <a:pt x="138" y="445"/>
                  </a:cubicBezTo>
                  <a:close/>
                  <a:moveTo>
                    <a:pt x="144" y="445"/>
                  </a:moveTo>
                  <a:cubicBezTo>
                    <a:pt x="144" y="450"/>
                    <a:pt x="147" y="453"/>
                    <a:pt x="149" y="456"/>
                  </a:cubicBezTo>
                  <a:cubicBezTo>
                    <a:pt x="152" y="450"/>
                    <a:pt x="149" y="447"/>
                    <a:pt x="144" y="445"/>
                  </a:cubicBezTo>
                  <a:close/>
                  <a:moveTo>
                    <a:pt x="164" y="445"/>
                  </a:moveTo>
                  <a:lnTo>
                    <a:pt x="158" y="445"/>
                  </a:lnTo>
                  <a:lnTo>
                    <a:pt x="158" y="447"/>
                  </a:lnTo>
                  <a:lnTo>
                    <a:pt x="158" y="450"/>
                  </a:lnTo>
                  <a:lnTo>
                    <a:pt x="155" y="453"/>
                  </a:lnTo>
                  <a:cubicBezTo>
                    <a:pt x="158" y="453"/>
                    <a:pt x="158" y="456"/>
                    <a:pt x="161" y="456"/>
                  </a:cubicBezTo>
                  <a:cubicBezTo>
                    <a:pt x="161" y="450"/>
                    <a:pt x="161" y="447"/>
                    <a:pt x="164" y="44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25456" y="1985818"/>
            <a:ext cx="6742545" cy="1939637"/>
          </a:xfrm>
        </p:spPr>
        <p:txBody>
          <a:bodyPr anchor="b">
            <a:normAutofit/>
          </a:bodyPr>
          <a:lstStyle>
            <a:lvl1pPr algn="l">
              <a:defRPr sz="4799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25456" y="3999346"/>
            <a:ext cx="6742545" cy="1258455"/>
          </a:xfrm>
        </p:spPr>
        <p:txBody>
          <a:bodyPr tIns="144000">
            <a:normAutofit/>
          </a:bodyPr>
          <a:lstStyle>
            <a:lvl1pPr marL="0" indent="0" algn="l">
              <a:buNone/>
              <a:defRPr sz="2799">
                <a:solidFill>
                  <a:schemeClr val="bg1"/>
                </a:solidFill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5246894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75566" y="2799774"/>
            <a:ext cx="5809672" cy="1258455"/>
          </a:xfrm>
        </p:spPr>
        <p:txBody>
          <a:bodyPr tIns="144000" anchor="ctr">
            <a:noAutofit/>
          </a:bodyPr>
          <a:lstStyle>
            <a:lvl1pPr marL="0" indent="0" algn="l">
              <a:buNone/>
              <a:defRPr sz="3999">
                <a:solidFill>
                  <a:schemeClr val="bg1"/>
                </a:solidFill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THANK YOU</a:t>
            </a:r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2875724" y="2418741"/>
            <a:ext cx="2132282" cy="2122848"/>
            <a:chOff x="3587750" y="2038350"/>
            <a:chExt cx="1076325" cy="1071563"/>
          </a:xfrm>
        </p:grpSpPr>
        <p:sp>
          <p:nvSpPr>
            <p:cNvPr id="5" name="Freeform 1"/>
            <p:cNvSpPr>
              <a:spLocks noChangeArrowheads="1"/>
            </p:cNvSpPr>
            <p:nvPr/>
          </p:nvSpPr>
          <p:spPr bwMode="auto">
            <a:xfrm>
              <a:off x="4298950" y="2070100"/>
              <a:ext cx="3175" cy="4763"/>
            </a:xfrm>
            <a:custGeom>
              <a:avLst/>
              <a:gdLst>
                <a:gd name="T0" fmla="*/ 9 w 10"/>
                <a:gd name="T1" fmla="*/ 12 h 15"/>
                <a:gd name="T2" fmla="*/ 9 w 10"/>
                <a:gd name="T3" fmla="*/ 6 h 15"/>
                <a:gd name="T4" fmla="*/ 0 w 10"/>
                <a:gd name="T5" fmla="*/ 0 h 15"/>
                <a:gd name="T6" fmla="*/ 9 w 10"/>
                <a:gd name="T7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5">
                  <a:moveTo>
                    <a:pt x="9" y="12"/>
                  </a:moveTo>
                  <a:cubicBezTo>
                    <a:pt x="9" y="9"/>
                    <a:pt x="9" y="9"/>
                    <a:pt x="9" y="6"/>
                  </a:cubicBezTo>
                  <a:cubicBezTo>
                    <a:pt x="6" y="3"/>
                    <a:pt x="3" y="0"/>
                    <a:pt x="0" y="0"/>
                  </a:cubicBezTo>
                  <a:cubicBezTo>
                    <a:pt x="3" y="9"/>
                    <a:pt x="3" y="14"/>
                    <a:pt x="9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" name="Freeform 2"/>
            <p:cNvSpPr>
              <a:spLocks noChangeArrowheads="1"/>
            </p:cNvSpPr>
            <p:nvPr/>
          </p:nvSpPr>
          <p:spPr bwMode="auto">
            <a:xfrm>
              <a:off x="3590925" y="2038350"/>
              <a:ext cx="1073150" cy="1071563"/>
            </a:xfrm>
            <a:custGeom>
              <a:avLst/>
              <a:gdLst>
                <a:gd name="T0" fmla="*/ 2858 w 2983"/>
                <a:gd name="T1" fmla="*/ 985 h 2976"/>
                <a:gd name="T2" fmla="*/ 2787 w 2983"/>
                <a:gd name="T3" fmla="*/ 815 h 2976"/>
                <a:gd name="T4" fmla="*/ 2612 w 2983"/>
                <a:gd name="T5" fmla="*/ 561 h 2976"/>
                <a:gd name="T6" fmla="*/ 2423 w 2983"/>
                <a:gd name="T7" fmla="*/ 367 h 2976"/>
                <a:gd name="T8" fmla="*/ 2118 w 2983"/>
                <a:gd name="T9" fmla="*/ 167 h 2976"/>
                <a:gd name="T10" fmla="*/ 1867 w 2983"/>
                <a:gd name="T11" fmla="*/ 82 h 2976"/>
                <a:gd name="T12" fmla="*/ 1625 w 2983"/>
                <a:gd name="T13" fmla="*/ 17 h 2976"/>
                <a:gd name="T14" fmla="*/ 1321 w 2983"/>
                <a:gd name="T15" fmla="*/ 11 h 2976"/>
                <a:gd name="T16" fmla="*/ 934 w 2983"/>
                <a:gd name="T17" fmla="*/ 150 h 2976"/>
                <a:gd name="T18" fmla="*/ 737 w 2983"/>
                <a:gd name="T19" fmla="*/ 246 h 2976"/>
                <a:gd name="T20" fmla="*/ 464 w 2983"/>
                <a:gd name="T21" fmla="*/ 462 h 2976"/>
                <a:gd name="T22" fmla="*/ 378 w 2983"/>
                <a:gd name="T23" fmla="*/ 553 h 2976"/>
                <a:gd name="T24" fmla="*/ 204 w 2983"/>
                <a:gd name="T25" fmla="*/ 796 h 2976"/>
                <a:gd name="T26" fmla="*/ 127 w 2983"/>
                <a:gd name="T27" fmla="*/ 965 h 2976"/>
                <a:gd name="T28" fmla="*/ 40 w 2983"/>
                <a:gd name="T29" fmla="*/ 1298 h 2976"/>
                <a:gd name="T30" fmla="*/ 29 w 2983"/>
                <a:gd name="T31" fmla="*/ 1547 h 2976"/>
                <a:gd name="T32" fmla="*/ 29 w 2983"/>
                <a:gd name="T33" fmla="*/ 1796 h 2976"/>
                <a:gd name="T34" fmla="*/ 119 w 2983"/>
                <a:gd name="T35" fmla="*/ 2002 h 2976"/>
                <a:gd name="T36" fmla="*/ 195 w 2983"/>
                <a:gd name="T37" fmla="*/ 2180 h 2976"/>
                <a:gd name="T38" fmla="*/ 266 w 2983"/>
                <a:gd name="T39" fmla="*/ 2284 h 2976"/>
                <a:gd name="T40" fmla="*/ 336 w 2983"/>
                <a:gd name="T41" fmla="*/ 2405 h 2976"/>
                <a:gd name="T42" fmla="*/ 460 w 2983"/>
                <a:gd name="T43" fmla="*/ 2543 h 2976"/>
                <a:gd name="T44" fmla="*/ 700 w 2983"/>
                <a:gd name="T45" fmla="*/ 2718 h 2976"/>
                <a:gd name="T46" fmla="*/ 884 w 2983"/>
                <a:gd name="T47" fmla="*/ 2848 h 2976"/>
                <a:gd name="T48" fmla="*/ 1109 w 2983"/>
                <a:gd name="T49" fmla="*/ 2907 h 2976"/>
                <a:gd name="T50" fmla="*/ 1462 w 2983"/>
                <a:gd name="T51" fmla="*/ 2964 h 2976"/>
                <a:gd name="T52" fmla="*/ 1673 w 2983"/>
                <a:gd name="T53" fmla="*/ 2953 h 2976"/>
                <a:gd name="T54" fmla="*/ 2008 w 2983"/>
                <a:gd name="T55" fmla="*/ 2868 h 2976"/>
                <a:gd name="T56" fmla="*/ 2324 w 2983"/>
                <a:gd name="T57" fmla="*/ 2704 h 2976"/>
                <a:gd name="T58" fmla="*/ 2513 w 2983"/>
                <a:gd name="T59" fmla="*/ 2543 h 2976"/>
                <a:gd name="T60" fmla="*/ 2632 w 2983"/>
                <a:gd name="T61" fmla="*/ 2405 h 2976"/>
                <a:gd name="T62" fmla="*/ 2846 w 2983"/>
                <a:gd name="T63" fmla="*/ 2072 h 2976"/>
                <a:gd name="T64" fmla="*/ 2897 w 2983"/>
                <a:gd name="T65" fmla="*/ 1923 h 2976"/>
                <a:gd name="T66" fmla="*/ 2920 w 2983"/>
                <a:gd name="T67" fmla="*/ 1816 h 2976"/>
                <a:gd name="T68" fmla="*/ 2934 w 2983"/>
                <a:gd name="T69" fmla="*/ 1607 h 2976"/>
                <a:gd name="T70" fmla="*/ 2859 w 2983"/>
                <a:gd name="T71" fmla="*/ 971 h 2976"/>
                <a:gd name="T72" fmla="*/ 464 w 2983"/>
                <a:gd name="T73" fmla="*/ 462 h 2976"/>
                <a:gd name="T74" fmla="*/ 184 w 2983"/>
                <a:gd name="T75" fmla="*/ 832 h 2976"/>
                <a:gd name="T76" fmla="*/ 23 w 2983"/>
                <a:gd name="T77" fmla="*/ 1542 h 2976"/>
                <a:gd name="T78" fmla="*/ 6 w 2983"/>
                <a:gd name="T79" fmla="*/ 1627 h 2976"/>
                <a:gd name="T80" fmla="*/ 283 w 2983"/>
                <a:gd name="T81" fmla="*/ 2354 h 2976"/>
                <a:gd name="T82" fmla="*/ 1687 w 2983"/>
                <a:gd name="T83" fmla="*/ 2953 h 2976"/>
                <a:gd name="T84" fmla="*/ 2930 w 2983"/>
                <a:gd name="T85" fmla="*/ 1823 h 2976"/>
                <a:gd name="T86" fmla="*/ 85 w 2983"/>
                <a:gd name="T87" fmla="*/ 1824 h 2976"/>
                <a:gd name="T88" fmla="*/ 297 w 2983"/>
                <a:gd name="T89" fmla="*/ 649 h 2976"/>
                <a:gd name="T90" fmla="*/ 57 w 2983"/>
                <a:gd name="T91" fmla="*/ 1576 h 2976"/>
                <a:gd name="T92" fmla="*/ 277 w 2983"/>
                <a:gd name="T93" fmla="*/ 2222 h 2976"/>
                <a:gd name="T94" fmla="*/ 915 w 2983"/>
                <a:gd name="T95" fmla="*/ 2828 h 2976"/>
                <a:gd name="T96" fmla="*/ 2869 w 2983"/>
                <a:gd name="T97" fmla="*/ 1979 h 2976"/>
                <a:gd name="T98" fmla="*/ 2561 w 2983"/>
                <a:gd name="T99" fmla="*/ 494 h 2976"/>
                <a:gd name="T100" fmla="*/ 2550 w 2983"/>
                <a:gd name="T101" fmla="*/ 488 h 2976"/>
                <a:gd name="T102" fmla="*/ 1817 w 2983"/>
                <a:gd name="T103" fmla="*/ 59 h 2976"/>
                <a:gd name="T104" fmla="*/ 1372 w 2983"/>
                <a:gd name="T105" fmla="*/ 34 h 2976"/>
                <a:gd name="T106" fmla="*/ 537 w 2983"/>
                <a:gd name="T107" fmla="*/ 381 h 2976"/>
                <a:gd name="T108" fmla="*/ 283 w 2983"/>
                <a:gd name="T109" fmla="*/ 638 h 2976"/>
                <a:gd name="T110" fmla="*/ 62 w 2983"/>
                <a:gd name="T111" fmla="*/ 1151 h 2976"/>
                <a:gd name="T112" fmla="*/ 99 w 2983"/>
                <a:gd name="T113" fmla="*/ 1968 h 2976"/>
                <a:gd name="T114" fmla="*/ 305 w 2983"/>
                <a:gd name="T115" fmla="*/ 2366 h 2976"/>
                <a:gd name="T116" fmla="*/ 573 w 2983"/>
                <a:gd name="T117" fmla="*/ 2656 h 2976"/>
                <a:gd name="T118" fmla="*/ 855 w 2983"/>
                <a:gd name="T119" fmla="*/ 2823 h 2976"/>
                <a:gd name="T120" fmla="*/ 2488 w 2983"/>
                <a:gd name="T121" fmla="*/ 2575 h 2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83" h="2976">
                  <a:moveTo>
                    <a:pt x="2982" y="1467"/>
                  </a:moveTo>
                  <a:cubicBezTo>
                    <a:pt x="2979" y="1456"/>
                    <a:pt x="2976" y="1444"/>
                    <a:pt x="2971" y="1436"/>
                  </a:cubicBezTo>
                  <a:cubicBezTo>
                    <a:pt x="2968" y="1427"/>
                    <a:pt x="2962" y="1422"/>
                    <a:pt x="2956" y="1416"/>
                  </a:cubicBezTo>
                  <a:lnTo>
                    <a:pt x="2956" y="1408"/>
                  </a:lnTo>
                  <a:cubicBezTo>
                    <a:pt x="2959" y="1399"/>
                    <a:pt x="2965" y="1391"/>
                    <a:pt x="2965" y="1382"/>
                  </a:cubicBezTo>
                  <a:cubicBezTo>
                    <a:pt x="2976" y="1354"/>
                    <a:pt x="2973" y="1320"/>
                    <a:pt x="2956" y="1295"/>
                  </a:cubicBezTo>
                  <a:cubicBezTo>
                    <a:pt x="2948" y="1286"/>
                    <a:pt x="2940" y="1278"/>
                    <a:pt x="2928" y="1269"/>
                  </a:cubicBezTo>
                  <a:cubicBezTo>
                    <a:pt x="2931" y="1269"/>
                    <a:pt x="2934" y="1264"/>
                    <a:pt x="2934" y="1261"/>
                  </a:cubicBezTo>
                  <a:cubicBezTo>
                    <a:pt x="2934" y="1258"/>
                    <a:pt x="2931" y="1255"/>
                    <a:pt x="2931" y="1253"/>
                  </a:cubicBezTo>
                  <a:cubicBezTo>
                    <a:pt x="2928" y="1247"/>
                    <a:pt x="2925" y="1241"/>
                    <a:pt x="2925" y="1236"/>
                  </a:cubicBezTo>
                  <a:cubicBezTo>
                    <a:pt x="2923" y="1227"/>
                    <a:pt x="2925" y="1219"/>
                    <a:pt x="2925" y="1210"/>
                  </a:cubicBezTo>
                  <a:cubicBezTo>
                    <a:pt x="2925" y="1205"/>
                    <a:pt x="2925" y="1199"/>
                    <a:pt x="2923" y="1193"/>
                  </a:cubicBezTo>
                  <a:cubicBezTo>
                    <a:pt x="2923" y="1185"/>
                    <a:pt x="2917" y="1174"/>
                    <a:pt x="2911" y="1168"/>
                  </a:cubicBezTo>
                  <a:cubicBezTo>
                    <a:pt x="2909" y="1159"/>
                    <a:pt x="2911" y="1151"/>
                    <a:pt x="2909" y="1143"/>
                  </a:cubicBezTo>
                  <a:cubicBezTo>
                    <a:pt x="2906" y="1131"/>
                    <a:pt x="2900" y="1120"/>
                    <a:pt x="2894" y="1109"/>
                  </a:cubicBezTo>
                  <a:cubicBezTo>
                    <a:pt x="2892" y="1103"/>
                    <a:pt x="2894" y="1095"/>
                    <a:pt x="2892" y="1089"/>
                  </a:cubicBezTo>
                  <a:cubicBezTo>
                    <a:pt x="2897" y="1075"/>
                    <a:pt x="2897" y="1064"/>
                    <a:pt x="2897" y="1049"/>
                  </a:cubicBezTo>
                  <a:cubicBezTo>
                    <a:pt x="2894" y="1035"/>
                    <a:pt x="2892" y="1021"/>
                    <a:pt x="2883" y="1010"/>
                  </a:cubicBezTo>
                  <a:cubicBezTo>
                    <a:pt x="2877" y="999"/>
                    <a:pt x="2866" y="990"/>
                    <a:pt x="2858" y="985"/>
                  </a:cubicBezTo>
                  <a:cubicBezTo>
                    <a:pt x="2858" y="982"/>
                    <a:pt x="2852" y="979"/>
                    <a:pt x="2852" y="976"/>
                  </a:cubicBezTo>
                  <a:lnTo>
                    <a:pt x="2852" y="968"/>
                  </a:lnTo>
                  <a:cubicBezTo>
                    <a:pt x="2855" y="969"/>
                    <a:pt x="2857" y="970"/>
                    <a:pt x="2859" y="971"/>
                  </a:cubicBezTo>
                  <a:cubicBezTo>
                    <a:pt x="2856" y="969"/>
                    <a:pt x="2853" y="967"/>
                    <a:pt x="2849" y="965"/>
                  </a:cubicBezTo>
                  <a:cubicBezTo>
                    <a:pt x="2846" y="956"/>
                    <a:pt x="2844" y="951"/>
                    <a:pt x="2841" y="942"/>
                  </a:cubicBezTo>
                  <a:cubicBezTo>
                    <a:pt x="2835" y="931"/>
                    <a:pt x="2835" y="920"/>
                    <a:pt x="2832" y="911"/>
                  </a:cubicBezTo>
                  <a:cubicBezTo>
                    <a:pt x="2832" y="897"/>
                    <a:pt x="2824" y="883"/>
                    <a:pt x="2815" y="875"/>
                  </a:cubicBezTo>
                  <a:lnTo>
                    <a:pt x="2807" y="858"/>
                  </a:lnTo>
                  <a:cubicBezTo>
                    <a:pt x="2804" y="858"/>
                    <a:pt x="2801" y="863"/>
                    <a:pt x="2796" y="866"/>
                  </a:cubicBezTo>
                  <a:lnTo>
                    <a:pt x="2793" y="860"/>
                  </a:lnTo>
                  <a:lnTo>
                    <a:pt x="2790" y="863"/>
                  </a:lnTo>
                  <a:lnTo>
                    <a:pt x="2787" y="863"/>
                  </a:lnTo>
                  <a:lnTo>
                    <a:pt x="2787" y="860"/>
                  </a:lnTo>
                  <a:cubicBezTo>
                    <a:pt x="2787" y="855"/>
                    <a:pt x="2793" y="846"/>
                    <a:pt x="2798" y="846"/>
                  </a:cubicBezTo>
                  <a:lnTo>
                    <a:pt x="2798" y="844"/>
                  </a:lnTo>
                  <a:cubicBezTo>
                    <a:pt x="2798" y="844"/>
                    <a:pt x="2796" y="844"/>
                    <a:pt x="2796" y="846"/>
                  </a:cubicBezTo>
                  <a:cubicBezTo>
                    <a:pt x="2793" y="844"/>
                    <a:pt x="2793" y="844"/>
                    <a:pt x="2796" y="841"/>
                  </a:cubicBezTo>
                  <a:cubicBezTo>
                    <a:pt x="2793" y="832"/>
                    <a:pt x="2787" y="824"/>
                    <a:pt x="2784" y="815"/>
                  </a:cubicBezTo>
                  <a:lnTo>
                    <a:pt x="2787" y="815"/>
                  </a:lnTo>
                  <a:cubicBezTo>
                    <a:pt x="2790" y="798"/>
                    <a:pt x="2787" y="781"/>
                    <a:pt x="2782" y="767"/>
                  </a:cubicBezTo>
                  <a:cubicBezTo>
                    <a:pt x="2779" y="753"/>
                    <a:pt x="2773" y="739"/>
                    <a:pt x="2762" y="728"/>
                  </a:cubicBezTo>
                  <a:cubicBezTo>
                    <a:pt x="2751" y="719"/>
                    <a:pt x="2739" y="711"/>
                    <a:pt x="2728" y="708"/>
                  </a:cubicBezTo>
                  <a:cubicBezTo>
                    <a:pt x="2725" y="705"/>
                    <a:pt x="2722" y="702"/>
                    <a:pt x="2719" y="702"/>
                  </a:cubicBezTo>
                  <a:cubicBezTo>
                    <a:pt x="2719" y="700"/>
                    <a:pt x="2717" y="700"/>
                    <a:pt x="2717" y="697"/>
                  </a:cubicBezTo>
                  <a:lnTo>
                    <a:pt x="2714" y="697"/>
                  </a:lnTo>
                  <a:cubicBezTo>
                    <a:pt x="2708" y="694"/>
                    <a:pt x="2708" y="694"/>
                    <a:pt x="2711" y="691"/>
                  </a:cubicBezTo>
                  <a:cubicBezTo>
                    <a:pt x="2705" y="683"/>
                    <a:pt x="2700" y="674"/>
                    <a:pt x="2691" y="666"/>
                  </a:cubicBezTo>
                  <a:cubicBezTo>
                    <a:pt x="2688" y="663"/>
                    <a:pt x="2688" y="657"/>
                    <a:pt x="2686" y="655"/>
                  </a:cubicBezTo>
                  <a:lnTo>
                    <a:pt x="2683" y="657"/>
                  </a:lnTo>
                  <a:cubicBezTo>
                    <a:pt x="2680" y="640"/>
                    <a:pt x="2669" y="624"/>
                    <a:pt x="2655" y="615"/>
                  </a:cubicBezTo>
                  <a:cubicBezTo>
                    <a:pt x="2652" y="612"/>
                    <a:pt x="2652" y="609"/>
                    <a:pt x="2649" y="609"/>
                  </a:cubicBezTo>
                  <a:cubicBezTo>
                    <a:pt x="2640" y="601"/>
                    <a:pt x="2635" y="590"/>
                    <a:pt x="2629" y="578"/>
                  </a:cubicBezTo>
                  <a:cubicBezTo>
                    <a:pt x="2626" y="576"/>
                    <a:pt x="2624" y="576"/>
                    <a:pt x="2621" y="573"/>
                  </a:cubicBezTo>
                  <a:cubicBezTo>
                    <a:pt x="2621" y="578"/>
                    <a:pt x="2621" y="584"/>
                    <a:pt x="2618" y="590"/>
                  </a:cubicBezTo>
                  <a:cubicBezTo>
                    <a:pt x="2615" y="584"/>
                    <a:pt x="2609" y="578"/>
                    <a:pt x="2609" y="573"/>
                  </a:cubicBezTo>
                  <a:cubicBezTo>
                    <a:pt x="2609" y="570"/>
                    <a:pt x="2612" y="567"/>
                    <a:pt x="2612" y="564"/>
                  </a:cubicBezTo>
                  <a:lnTo>
                    <a:pt x="2615" y="561"/>
                  </a:lnTo>
                  <a:lnTo>
                    <a:pt x="2612" y="561"/>
                  </a:lnTo>
                  <a:cubicBezTo>
                    <a:pt x="2612" y="553"/>
                    <a:pt x="2612" y="545"/>
                    <a:pt x="2609" y="539"/>
                  </a:cubicBezTo>
                  <a:cubicBezTo>
                    <a:pt x="2607" y="525"/>
                    <a:pt x="2604" y="510"/>
                    <a:pt x="2595" y="499"/>
                  </a:cubicBezTo>
                  <a:cubicBezTo>
                    <a:pt x="2587" y="487"/>
                    <a:pt x="2573" y="480"/>
                    <a:pt x="2561" y="474"/>
                  </a:cubicBezTo>
                  <a:cubicBezTo>
                    <a:pt x="2555" y="471"/>
                    <a:pt x="2547" y="468"/>
                    <a:pt x="2540" y="467"/>
                  </a:cubicBezTo>
                  <a:cubicBezTo>
                    <a:pt x="2541" y="469"/>
                    <a:pt x="2542" y="472"/>
                    <a:pt x="2542" y="474"/>
                  </a:cubicBezTo>
                  <a:cubicBezTo>
                    <a:pt x="2545" y="477"/>
                    <a:pt x="2542" y="480"/>
                    <a:pt x="2542" y="480"/>
                  </a:cubicBezTo>
                  <a:cubicBezTo>
                    <a:pt x="2539" y="474"/>
                    <a:pt x="2533" y="471"/>
                    <a:pt x="2528" y="466"/>
                  </a:cubicBezTo>
                  <a:cubicBezTo>
                    <a:pt x="2527" y="466"/>
                    <a:pt x="2526" y="466"/>
                    <a:pt x="2525" y="466"/>
                  </a:cubicBezTo>
                  <a:cubicBezTo>
                    <a:pt x="2519" y="460"/>
                    <a:pt x="2511" y="451"/>
                    <a:pt x="2505" y="443"/>
                  </a:cubicBezTo>
                  <a:cubicBezTo>
                    <a:pt x="2499" y="437"/>
                    <a:pt x="2494" y="435"/>
                    <a:pt x="2488" y="429"/>
                  </a:cubicBezTo>
                  <a:lnTo>
                    <a:pt x="2488" y="420"/>
                  </a:lnTo>
                  <a:cubicBezTo>
                    <a:pt x="2487" y="419"/>
                    <a:pt x="2487" y="417"/>
                    <a:pt x="2486" y="416"/>
                  </a:cubicBezTo>
                  <a:cubicBezTo>
                    <a:pt x="2486" y="415"/>
                    <a:pt x="2486" y="415"/>
                    <a:pt x="2485" y="415"/>
                  </a:cubicBezTo>
                  <a:cubicBezTo>
                    <a:pt x="2485" y="415"/>
                    <a:pt x="2485" y="415"/>
                    <a:pt x="2486" y="415"/>
                  </a:cubicBezTo>
                  <a:cubicBezTo>
                    <a:pt x="2480" y="404"/>
                    <a:pt x="2472" y="397"/>
                    <a:pt x="2463" y="389"/>
                  </a:cubicBezTo>
                  <a:cubicBezTo>
                    <a:pt x="2474" y="395"/>
                    <a:pt x="2482" y="403"/>
                    <a:pt x="2488" y="415"/>
                  </a:cubicBezTo>
                  <a:lnTo>
                    <a:pt x="2491" y="418"/>
                  </a:lnTo>
                  <a:cubicBezTo>
                    <a:pt x="2482" y="401"/>
                    <a:pt x="2468" y="387"/>
                    <a:pt x="2449" y="384"/>
                  </a:cubicBezTo>
                  <a:lnTo>
                    <a:pt x="2423" y="367"/>
                  </a:lnTo>
                  <a:cubicBezTo>
                    <a:pt x="2415" y="358"/>
                    <a:pt x="2406" y="350"/>
                    <a:pt x="2395" y="341"/>
                  </a:cubicBezTo>
                  <a:cubicBezTo>
                    <a:pt x="2392" y="330"/>
                    <a:pt x="2387" y="319"/>
                    <a:pt x="2381" y="308"/>
                  </a:cubicBezTo>
                  <a:cubicBezTo>
                    <a:pt x="2375" y="296"/>
                    <a:pt x="2364" y="285"/>
                    <a:pt x="2353" y="277"/>
                  </a:cubicBezTo>
                  <a:cubicBezTo>
                    <a:pt x="2333" y="265"/>
                    <a:pt x="2310" y="262"/>
                    <a:pt x="2288" y="265"/>
                  </a:cubicBezTo>
                  <a:cubicBezTo>
                    <a:pt x="2282" y="262"/>
                    <a:pt x="2276" y="262"/>
                    <a:pt x="2271" y="260"/>
                  </a:cubicBezTo>
                  <a:cubicBezTo>
                    <a:pt x="2265" y="257"/>
                    <a:pt x="2260" y="248"/>
                    <a:pt x="2254" y="243"/>
                  </a:cubicBezTo>
                  <a:cubicBezTo>
                    <a:pt x="2248" y="229"/>
                    <a:pt x="2237" y="220"/>
                    <a:pt x="2226" y="212"/>
                  </a:cubicBezTo>
                  <a:cubicBezTo>
                    <a:pt x="2220" y="209"/>
                    <a:pt x="2217" y="206"/>
                    <a:pt x="2212" y="203"/>
                  </a:cubicBezTo>
                  <a:cubicBezTo>
                    <a:pt x="2212" y="209"/>
                    <a:pt x="2214" y="214"/>
                    <a:pt x="2214" y="220"/>
                  </a:cubicBezTo>
                  <a:cubicBezTo>
                    <a:pt x="2214" y="220"/>
                    <a:pt x="2209" y="220"/>
                    <a:pt x="2209" y="217"/>
                  </a:cubicBezTo>
                  <a:cubicBezTo>
                    <a:pt x="2203" y="214"/>
                    <a:pt x="2203" y="212"/>
                    <a:pt x="2197" y="209"/>
                  </a:cubicBezTo>
                  <a:lnTo>
                    <a:pt x="2197" y="206"/>
                  </a:lnTo>
                  <a:cubicBezTo>
                    <a:pt x="2195" y="206"/>
                    <a:pt x="2192" y="203"/>
                    <a:pt x="2189" y="203"/>
                  </a:cubicBezTo>
                  <a:cubicBezTo>
                    <a:pt x="2186" y="203"/>
                    <a:pt x="2186" y="206"/>
                    <a:pt x="2183" y="206"/>
                  </a:cubicBezTo>
                  <a:cubicBezTo>
                    <a:pt x="2181" y="203"/>
                    <a:pt x="2178" y="200"/>
                    <a:pt x="2175" y="200"/>
                  </a:cubicBezTo>
                  <a:lnTo>
                    <a:pt x="2141" y="183"/>
                  </a:lnTo>
                  <a:cubicBezTo>
                    <a:pt x="2138" y="183"/>
                    <a:pt x="2138" y="181"/>
                    <a:pt x="2135" y="181"/>
                  </a:cubicBezTo>
                  <a:lnTo>
                    <a:pt x="2127" y="164"/>
                  </a:lnTo>
                  <a:cubicBezTo>
                    <a:pt x="2124" y="167"/>
                    <a:pt x="2121" y="164"/>
                    <a:pt x="2118" y="167"/>
                  </a:cubicBezTo>
                  <a:cubicBezTo>
                    <a:pt x="2116" y="167"/>
                    <a:pt x="2116" y="164"/>
                    <a:pt x="2113" y="164"/>
                  </a:cubicBezTo>
                  <a:cubicBezTo>
                    <a:pt x="2113" y="158"/>
                    <a:pt x="2116" y="152"/>
                    <a:pt x="2118" y="150"/>
                  </a:cubicBezTo>
                  <a:cubicBezTo>
                    <a:pt x="2116" y="144"/>
                    <a:pt x="2110" y="141"/>
                    <a:pt x="2104" y="136"/>
                  </a:cubicBezTo>
                  <a:cubicBezTo>
                    <a:pt x="2093" y="127"/>
                    <a:pt x="2079" y="124"/>
                    <a:pt x="2065" y="121"/>
                  </a:cubicBezTo>
                  <a:cubicBezTo>
                    <a:pt x="2059" y="121"/>
                    <a:pt x="2056" y="124"/>
                    <a:pt x="2051" y="124"/>
                  </a:cubicBezTo>
                  <a:cubicBezTo>
                    <a:pt x="2048" y="130"/>
                    <a:pt x="2039" y="130"/>
                    <a:pt x="2042" y="138"/>
                  </a:cubicBezTo>
                  <a:cubicBezTo>
                    <a:pt x="2037" y="138"/>
                    <a:pt x="2031" y="136"/>
                    <a:pt x="2025" y="136"/>
                  </a:cubicBezTo>
                  <a:cubicBezTo>
                    <a:pt x="2025" y="133"/>
                    <a:pt x="2028" y="130"/>
                    <a:pt x="2028" y="127"/>
                  </a:cubicBezTo>
                  <a:cubicBezTo>
                    <a:pt x="2025" y="127"/>
                    <a:pt x="2025" y="124"/>
                    <a:pt x="2025" y="124"/>
                  </a:cubicBezTo>
                  <a:cubicBezTo>
                    <a:pt x="2020" y="124"/>
                    <a:pt x="2017" y="130"/>
                    <a:pt x="2011" y="133"/>
                  </a:cubicBezTo>
                  <a:cubicBezTo>
                    <a:pt x="2008" y="133"/>
                    <a:pt x="2006" y="133"/>
                    <a:pt x="2006" y="130"/>
                  </a:cubicBezTo>
                  <a:cubicBezTo>
                    <a:pt x="2003" y="130"/>
                    <a:pt x="2003" y="127"/>
                    <a:pt x="2000" y="127"/>
                  </a:cubicBezTo>
                  <a:lnTo>
                    <a:pt x="2000" y="136"/>
                  </a:lnTo>
                  <a:cubicBezTo>
                    <a:pt x="1994" y="133"/>
                    <a:pt x="1989" y="136"/>
                    <a:pt x="1986" y="138"/>
                  </a:cubicBezTo>
                  <a:cubicBezTo>
                    <a:pt x="1980" y="133"/>
                    <a:pt x="1991" y="130"/>
                    <a:pt x="1994" y="127"/>
                  </a:cubicBezTo>
                  <a:cubicBezTo>
                    <a:pt x="1986" y="124"/>
                    <a:pt x="1980" y="119"/>
                    <a:pt x="1972" y="116"/>
                  </a:cubicBezTo>
                  <a:cubicBezTo>
                    <a:pt x="1960" y="113"/>
                    <a:pt x="1949" y="106"/>
                    <a:pt x="1938" y="104"/>
                  </a:cubicBezTo>
                  <a:cubicBezTo>
                    <a:pt x="1927" y="101"/>
                    <a:pt x="1915" y="96"/>
                    <a:pt x="1904" y="93"/>
                  </a:cubicBezTo>
                  <a:cubicBezTo>
                    <a:pt x="1893" y="90"/>
                    <a:pt x="1879" y="85"/>
                    <a:pt x="1867" y="82"/>
                  </a:cubicBezTo>
                  <a:cubicBezTo>
                    <a:pt x="1859" y="79"/>
                    <a:pt x="1848" y="76"/>
                    <a:pt x="1839" y="73"/>
                  </a:cubicBezTo>
                  <a:cubicBezTo>
                    <a:pt x="1839" y="71"/>
                    <a:pt x="1836" y="68"/>
                    <a:pt x="1836" y="65"/>
                  </a:cubicBezTo>
                  <a:cubicBezTo>
                    <a:pt x="1833" y="59"/>
                    <a:pt x="1828" y="57"/>
                    <a:pt x="1825" y="51"/>
                  </a:cubicBezTo>
                  <a:cubicBezTo>
                    <a:pt x="1814" y="42"/>
                    <a:pt x="1802" y="37"/>
                    <a:pt x="1788" y="37"/>
                  </a:cubicBezTo>
                  <a:cubicBezTo>
                    <a:pt x="1777" y="34"/>
                    <a:pt x="1763" y="31"/>
                    <a:pt x="1749" y="34"/>
                  </a:cubicBezTo>
                  <a:lnTo>
                    <a:pt x="1749" y="37"/>
                  </a:lnTo>
                  <a:lnTo>
                    <a:pt x="1746" y="37"/>
                  </a:lnTo>
                  <a:cubicBezTo>
                    <a:pt x="1746" y="37"/>
                    <a:pt x="1743" y="37"/>
                    <a:pt x="1743" y="34"/>
                  </a:cubicBezTo>
                  <a:cubicBezTo>
                    <a:pt x="1732" y="37"/>
                    <a:pt x="1721" y="42"/>
                    <a:pt x="1712" y="48"/>
                  </a:cubicBezTo>
                  <a:lnTo>
                    <a:pt x="1695" y="48"/>
                  </a:lnTo>
                  <a:lnTo>
                    <a:pt x="1694" y="47"/>
                  </a:lnTo>
                  <a:cubicBezTo>
                    <a:pt x="1694" y="47"/>
                    <a:pt x="1695" y="47"/>
                    <a:pt x="1695" y="48"/>
                  </a:cubicBezTo>
                  <a:lnTo>
                    <a:pt x="1692" y="48"/>
                  </a:lnTo>
                  <a:cubicBezTo>
                    <a:pt x="1692" y="48"/>
                    <a:pt x="1693" y="47"/>
                    <a:pt x="1694" y="47"/>
                  </a:cubicBezTo>
                  <a:cubicBezTo>
                    <a:pt x="1689" y="44"/>
                    <a:pt x="1686" y="39"/>
                    <a:pt x="1681" y="37"/>
                  </a:cubicBezTo>
                  <a:cubicBezTo>
                    <a:pt x="1670" y="28"/>
                    <a:pt x="1656" y="23"/>
                    <a:pt x="1642" y="20"/>
                  </a:cubicBezTo>
                  <a:cubicBezTo>
                    <a:pt x="1630" y="20"/>
                    <a:pt x="1618" y="24"/>
                    <a:pt x="1606" y="30"/>
                  </a:cubicBezTo>
                  <a:cubicBezTo>
                    <a:pt x="1606" y="30"/>
                    <a:pt x="1607" y="29"/>
                    <a:pt x="1608" y="28"/>
                  </a:cubicBezTo>
                  <a:cubicBezTo>
                    <a:pt x="1611" y="23"/>
                    <a:pt x="1619" y="20"/>
                    <a:pt x="1625" y="17"/>
                  </a:cubicBezTo>
                  <a:cubicBezTo>
                    <a:pt x="1608" y="20"/>
                    <a:pt x="1594" y="28"/>
                    <a:pt x="1582" y="37"/>
                  </a:cubicBezTo>
                  <a:lnTo>
                    <a:pt x="1548" y="37"/>
                  </a:lnTo>
                  <a:cubicBezTo>
                    <a:pt x="1543" y="37"/>
                    <a:pt x="1540" y="34"/>
                    <a:pt x="1534" y="34"/>
                  </a:cubicBezTo>
                  <a:cubicBezTo>
                    <a:pt x="1534" y="37"/>
                    <a:pt x="1532" y="37"/>
                    <a:pt x="1532" y="34"/>
                  </a:cubicBezTo>
                  <a:cubicBezTo>
                    <a:pt x="1526" y="34"/>
                    <a:pt x="1520" y="37"/>
                    <a:pt x="1515" y="37"/>
                  </a:cubicBezTo>
                  <a:cubicBezTo>
                    <a:pt x="1503" y="37"/>
                    <a:pt x="1492" y="40"/>
                    <a:pt x="1479" y="40"/>
                  </a:cubicBezTo>
                  <a:cubicBezTo>
                    <a:pt x="1473" y="40"/>
                    <a:pt x="1468" y="37"/>
                    <a:pt x="1462" y="37"/>
                  </a:cubicBezTo>
                  <a:lnTo>
                    <a:pt x="1462" y="34"/>
                  </a:lnTo>
                  <a:cubicBezTo>
                    <a:pt x="1459" y="34"/>
                    <a:pt x="1459" y="31"/>
                    <a:pt x="1456" y="34"/>
                  </a:cubicBezTo>
                  <a:cubicBezTo>
                    <a:pt x="1454" y="34"/>
                    <a:pt x="1448" y="37"/>
                    <a:pt x="1445" y="37"/>
                  </a:cubicBezTo>
                  <a:lnTo>
                    <a:pt x="1414" y="37"/>
                  </a:lnTo>
                  <a:cubicBezTo>
                    <a:pt x="1428" y="23"/>
                    <a:pt x="1442" y="14"/>
                    <a:pt x="1462" y="9"/>
                  </a:cubicBezTo>
                  <a:cubicBezTo>
                    <a:pt x="1468" y="3"/>
                    <a:pt x="1465" y="0"/>
                    <a:pt x="1456" y="0"/>
                  </a:cubicBezTo>
                  <a:cubicBezTo>
                    <a:pt x="1445" y="3"/>
                    <a:pt x="1434" y="9"/>
                    <a:pt x="1425" y="14"/>
                  </a:cubicBezTo>
                  <a:cubicBezTo>
                    <a:pt x="1417" y="20"/>
                    <a:pt x="1408" y="28"/>
                    <a:pt x="1403" y="37"/>
                  </a:cubicBezTo>
                  <a:lnTo>
                    <a:pt x="1403" y="34"/>
                  </a:lnTo>
                  <a:cubicBezTo>
                    <a:pt x="1400" y="31"/>
                    <a:pt x="1397" y="28"/>
                    <a:pt x="1391" y="25"/>
                  </a:cubicBezTo>
                  <a:cubicBezTo>
                    <a:pt x="1380" y="20"/>
                    <a:pt x="1369" y="17"/>
                    <a:pt x="1358" y="14"/>
                  </a:cubicBezTo>
                  <a:cubicBezTo>
                    <a:pt x="1346" y="11"/>
                    <a:pt x="1332" y="11"/>
                    <a:pt x="1321" y="11"/>
                  </a:cubicBezTo>
                  <a:cubicBezTo>
                    <a:pt x="1301" y="17"/>
                    <a:pt x="1287" y="28"/>
                    <a:pt x="1276" y="45"/>
                  </a:cubicBezTo>
                  <a:lnTo>
                    <a:pt x="1270" y="45"/>
                  </a:lnTo>
                  <a:cubicBezTo>
                    <a:pt x="1259" y="51"/>
                    <a:pt x="1248" y="54"/>
                    <a:pt x="1236" y="57"/>
                  </a:cubicBezTo>
                  <a:lnTo>
                    <a:pt x="1202" y="65"/>
                  </a:lnTo>
                  <a:lnTo>
                    <a:pt x="1200" y="62"/>
                  </a:lnTo>
                  <a:cubicBezTo>
                    <a:pt x="1185" y="57"/>
                    <a:pt x="1169" y="59"/>
                    <a:pt x="1154" y="68"/>
                  </a:cubicBezTo>
                  <a:lnTo>
                    <a:pt x="1154" y="73"/>
                  </a:lnTo>
                  <a:lnTo>
                    <a:pt x="1157" y="76"/>
                  </a:lnTo>
                  <a:cubicBezTo>
                    <a:pt x="1149" y="79"/>
                    <a:pt x="1143" y="79"/>
                    <a:pt x="1135" y="79"/>
                  </a:cubicBezTo>
                  <a:cubicBezTo>
                    <a:pt x="1126" y="82"/>
                    <a:pt x="1115" y="82"/>
                    <a:pt x="1106" y="85"/>
                  </a:cubicBezTo>
                  <a:cubicBezTo>
                    <a:pt x="1104" y="82"/>
                    <a:pt x="1098" y="82"/>
                    <a:pt x="1095" y="79"/>
                  </a:cubicBezTo>
                  <a:cubicBezTo>
                    <a:pt x="1084" y="73"/>
                    <a:pt x="1073" y="73"/>
                    <a:pt x="1061" y="73"/>
                  </a:cubicBezTo>
                  <a:lnTo>
                    <a:pt x="1047" y="73"/>
                  </a:lnTo>
                  <a:lnTo>
                    <a:pt x="1047" y="76"/>
                  </a:lnTo>
                  <a:lnTo>
                    <a:pt x="1044" y="76"/>
                  </a:lnTo>
                  <a:cubicBezTo>
                    <a:pt x="1036" y="76"/>
                    <a:pt x="1030" y="79"/>
                    <a:pt x="1022" y="79"/>
                  </a:cubicBezTo>
                  <a:cubicBezTo>
                    <a:pt x="1002" y="90"/>
                    <a:pt x="988" y="110"/>
                    <a:pt x="982" y="130"/>
                  </a:cubicBezTo>
                  <a:cubicBezTo>
                    <a:pt x="977" y="133"/>
                    <a:pt x="971" y="133"/>
                    <a:pt x="965" y="136"/>
                  </a:cubicBezTo>
                  <a:cubicBezTo>
                    <a:pt x="954" y="138"/>
                    <a:pt x="946" y="147"/>
                    <a:pt x="934" y="150"/>
                  </a:cubicBezTo>
                  <a:cubicBezTo>
                    <a:pt x="932" y="152"/>
                    <a:pt x="926" y="150"/>
                    <a:pt x="923" y="150"/>
                  </a:cubicBezTo>
                  <a:cubicBezTo>
                    <a:pt x="923" y="152"/>
                    <a:pt x="920" y="155"/>
                    <a:pt x="917" y="152"/>
                  </a:cubicBezTo>
                  <a:cubicBezTo>
                    <a:pt x="917" y="152"/>
                    <a:pt x="915" y="155"/>
                    <a:pt x="912" y="155"/>
                  </a:cubicBezTo>
                  <a:cubicBezTo>
                    <a:pt x="892" y="152"/>
                    <a:pt x="869" y="161"/>
                    <a:pt x="855" y="178"/>
                  </a:cubicBezTo>
                  <a:lnTo>
                    <a:pt x="855" y="181"/>
                  </a:lnTo>
                  <a:cubicBezTo>
                    <a:pt x="847" y="183"/>
                    <a:pt x="841" y="186"/>
                    <a:pt x="833" y="189"/>
                  </a:cubicBezTo>
                  <a:cubicBezTo>
                    <a:pt x="827" y="192"/>
                    <a:pt x="824" y="198"/>
                    <a:pt x="819" y="198"/>
                  </a:cubicBezTo>
                  <a:lnTo>
                    <a:pt x="807" y="198"/>
                  </a:lnTo>
                  <a:cubicBezTo>
                    <a:pt x="796" y="195"/>
                    <a:pt x="785" y="192"/>
                    <a:pt x="774" y="195"/>
                  </a:cubicBezTo>
                  <a:cubicBezTo>
                    <a:pt x="771" y="195"/>
                    <a:pt x="771" y="198"/>
                    <a:pt x="768" y="198"/>
                  </a:cubicBezTo>
                  <a:cubicBezTo>
                    <a:pt x="768" y="199"/>
                    <a:pt x="769" y="204"/>
                    <a:pt x="769" y="208"/>
                  </a:cubicBezTo>
                  <a:cubicBezTo>
                    <a:pt x="777" y="205"/>
                    <a:pt x="786" y="203"/>
                    <a:pt x="793" y="203"/>
                  </a:cubicBezTo>
                  <a:cubicBezTo>
                    <a:pt x="799" y="203"/>
                    <a:pt x="802" y="203"/>
                    <a:pt x="807" y="206"/>
                  </a:cubicBezTo>
                  <a:lnTo>
                    <a:pt x="805" y="206"/>
                  </a:lnTo>
                  <a:cubicBezTo>
                    <a:pt x="799" y="209"/>
                    <a:pt x="796" y="214"/>
                    <a:pt x="790" y="217"/>
                  </a:cubicBezTo>
                  <a:cubicBezTo>
                    <a:pt x="785" y="217"/>
                    <a:pt x="776" y="217"/>
                    <a:pt x="771" y="220"/>
                  </a:cubicBezTo>
                  <a:cubicBezTo>
                    <a:pt x="771" y="223"/>
                    <a:pt x="771" y="223"/>
                    <a:pt x="774" y="223"/>
                  </a:cubicBezTo>
                  <a:cubicBezTo>
                    <a:pt x="762" y="229"/>
                    <a:pt x="754" y="237"/>
                    <a:pt x="745" y="243"/>
                  </a:cubicBezTo>
                  <a:cubicBezTo>
                    <a:pt x="742" y="246"/>
                    <a:pt x="740" y="243"/>
                    <a:pt x="737" y="246"/>
                  </a:cubicBezTo>
                  <a:cubicBezTo>
                    <a:pt x="737" y="240"/>
                    <a:pt x="740" y="237"/>
                    <a:pt x="742" y="231"/>
                  </a:cubicBezTo>
                  <a:lnTo>
                    <a:pt x="740" y="231"/>
                  </a:lnTo>
                  <a:lnTo>
                    <a:pt x="740" y="223"/>
                  </a:lnTo>
                  <a:cubicBezTo>
                    <a:pt x="731" y="231"/>
                    <a:pt x="728" y="243"/>
                    <a:pt x="723" y="254"/>
                  </a:cubicBezTo>
                  <a:lnTo>
                    <a:pt x="720" y="254"/>
                  </a:lnTo>
                  <a:cubicBezTo>
                    <a:pt x="717" y="254"/>
                    <a:pt x="717" y="260"/>
                    <a:pt x="717" y="260"/>
                  </a:cubicBezTo>
                  <a:cubicBezTo>
                    <a:pt x="706" y="265"/>
                    <a:pt x="697" y="270"/>
                    <a:pt x="686" y="279"/>
                  </a:cubicBezTo>
                  <a:cubicBezTo>
                    <a:pt x="675" y="287"/>
                    <a:pt x="666" y="293"/>
                    <a:pt x="655" y="299"/>
                  </a:cubicBezTo>
                  <a:lnTo>
                    <a:pt x="652" y="302"/>
                  </a:lnTo>
                  <a:cubicBezTo>
                    <a:pt x="630" y="302"/>
                    <a:pt x="607" y="316"/>
                    <a:pt x="601" y="339"/>
                  </a:cubicBezTo>
                  <a:lnTo>
                    <a:pt x="596" y="339"/>
                  </a:lnTo>
                  <a:cubicBezTo>
                    <a:pt x="587" y="344"/>
                    <a:pt x="582" y="353"/>
                    <a:pt x="576" y="358"/>
                  </a:cubicBezTo>
                  <a:cubicBezTo>
                    <a:pt x="568" y="356"/>
                    <a:pt x="559" y="356"/>
                    <a:pt x="551" y="356"/>
                  </a:cubicBezTo>
                  <a:cubicBezTo>
                    <a:pt x="531" y="356"/>
                    <a:pt x="514" y="364"/>
                    <a:pt x="500" y="375"/>
                  </a:cubicBezTo>
                  <a:cubicBezTo>
                    <a:pt x="491" y="384"/>
                    <a:pt x="494" y="387"/>
                    <a:pt x="505" y="381"/>
                  </a:cubicBezTo>
                  <a:cubicBezTo>
                    <a:pt x="494" y="387"/>
                    <a:pt x="486" y="398"/>
                    <a:pt x="480" y="409"/>
                  </a:cubicBezTo>
                  <a:cubicBezTo>
                    <a:pt x="474" y="418"/>
                    <a:pt x="469" y="429"/>
                    <a:pt x="466" y="440"/>
                  </a:cubicBezTo>
                  <a:cubicBezTo>
                    <a:pt x="466" y="443"/>
                    <a:pt x="469" y="449"/>
                    <a:pt x="472" y="451"/>
                  </a:cubicBezTo>
                  <a:cubicBezTo>
                    <a:pt x="469" y="454"/>
                    <a:pt x="466" y="457"/>
                    <a:pt x="464" y="462"/>
                  </a:cubicBezTo>
                  <a:cubicBezTo>
                    <a:pt x="466" y="462"/>
                    <a:pt x="470" y="464"/>
                    <a:pt x="472" y="466"/>
                  </a:cubicBezTo>
                  <a:lnTo>
                    <a:pt x="472" y="477"/>
                  </a:lnTo>
                  <a:lnTo>
                    <a:pt x="446" y="485"/>
                  </a:lnTo>
                  <a:cubicBezTo>
                    <a:pt x="446" y="482"/>
                    <a:pt x="446" y="477"/>
                    <a:pt x="449" y="474"/>
                  </a:cubicBezTo>
                  <a:cubicBezTo>
                    <a:pt x="443" y="480"/>
                    <a:pt x="441" y="485"/>
                    <a:pt x="435" y="491"/>
                  </a:cubicBezTo>
                  <a:cubicBezTo>
                    <a:pt x="432" y="494"/>
                    <a:pt x="432" y="497"/>
                    <a:pt x="429" y="499"/>
                  </a:cubicBezTo>
                  <a:cubicBezTo>
                    <a:pt x="427" y="499"/>
                    <a:pt x="424" y="500"/>
                    <a:pt x="422" y="501"/>
                  </a:cubicBezTo>
                  <a:lnTo>
                    <a:pt x="421" y="499"/>
                  </a:lnTo>
                  <a:lnTo>
                    <a:pt x="422" y="501"/>
                  </a:lnTo>
                  <a:lnTo>
                    <a:pt x="421" y="501"/>
                  </a:lnTo>
                  <a:lnTo>
                    <a:pt x="421" y="502"/>
                  </a:lnTo>
                  <a:cubicBezTo>
                    <a:pt x="418" y="505"/>
                    <a:pt x="418" y="508"/>
                    <a:pt x="418" y="508"/>
                  </a:cubicBezTo>
                  <a:cubicBezTo>
                    <a:pt x="418" y="511"/>
                    <a:pt x="415" y="513"/>
                    <a:pt x="410" y="513"/>
                  </a:cubicBezTo>
                  <a:lnTo>
                    <a:pt x="407" y="516"/>
                  </a:lnTo>
                  <a:cubicBezTo>
                    <a:pt x="405" y="512"/>
                    <a:pt x="406" y="508"/>
                    <a:pt x="408" y="505"/>
                  </a:cubicBezTo>
                  <a:cubicBezTo>
                    <a:pt x="398" y="510"/>
                    <a:pt x="389" y="518"/>
                    <a:pt x="384" y="528"/>
                  </a:cubicBezTo>
                  <a:cubicBezTo>
                    <a:pt x="390" y="516"/>
                    <a:pt x="398" y="508"/>
                    <a:pt x="407" y="505"/>
                  </a:cubicBezTo>
                  <a:lnTo>
                    <a:pt x="410" y="502"/>
                  </a:lnTo>
                  <a:cubicBezTo>
                    <a:pt x="390" y="511"/>
                    <a:pt x="378" y="530"/>
                    <a:pt x="378" y="553"/>
                  </a:cubicBezTo>
                  <a:cubicBezTo>
                    <a:pt x="373" y="559"/>
                    <a:pt x="364" y="564"/>
                    <a:pt x="359" y="573"/>
                  </a:cubicBezTo>
                  <a:lnTo>
                    <a:pt x="353" y="578"/>
                  </a:lnTo>
                  <a:cubicBezTo>
                    <a:pt x="353" y="578"/>
                    <a:pt x="353" y="581"/>
                    <a:pt x="350" y="581"/>
                  </a:cubicBezTo>
                  <a:cubicBezTo>
                    <a:pt x="345" y="581"/>
                    <a:pt x="339" y="578"/>
                    <a:pt x="333" y="581"/>
                  </a:cubicBezTo>
                  <a:cubicBezTo>
                    <a:pt x="314" y="587"/>
                    <a:pt x="294" y="595"/>
                    <a:pt x="283" y="612"/>
                  </a:cubicBezTo>
                  <a:cubicBezTo>
                    <a:pt x="271" y="629"/>
                    <a:pt x="266" y="649"/>
                    <a:pt x="268" y="671"/>
                  </a:cubicBezTo>
                  <a:cubicBezTo>
                    <a:pt x="268" y="680"/>
                    <a:pt x="268" y="686"/>
                    <a:pt x="271" y="694"/>
                  </a:cubicBezTo>
                  <a:cubicBezTo>
                    <a:pt x="271" y="694"/>
                    <a:pt x="271" y="697"/>
                    <a:pt x="268" y="697"/>
                  </a:cubicBezTo>
                  <a:cubicBezTo>
                    <a:pt x="263" y="705"/>
                    <a:pt x="260" y="714"/>
                    <a:pt x="257" y="722"/>
                  </a:cubicBezTo>
                  <a:lnTo>
                    <a:pt x="254" y="722"/>
                  </a:lnTo>
                  <a:cubicBezTo>
                    <a:pt x="254" y="725"/>
                    <a:pt x="254" y="725"/>
                    <a:pt x="252" y="725"/>
                  </a:cubicBezTo>
                  <a:cubicBezTo>
                    <a:pt x="252" y="728"/>
                    <a:pt x="249" y="728"/>
                    <a:pt x="249" y="731"/>
                  </a:cubicBezTo>
                  <a:cubicBezTo>
                    <a:pt x="246" y="734"/>
                    <a:pt x="240" y="736"/>
                    <a:pt x="237" y="739"/>
                  </a:cubicBezTo>
                  <a:cubicBezTo>
                    <a:pt x="235" y="739"/>
                    <a:pt x="235" y="745"/>
                    <a:pt x="232" y="745"/>
                  </a:cubicBezTo>
                  <a:cubicBezTo>
                    <a:pt x="218" y="748"/>
                    <a:pt x="206" y="756"/>
                    <a:pt x="198" y="770"/>
                  </a:cubicBezTo>
                  <a:cubicBezTo>
                    <a:pt x="197" y="772"/>
                    <a:pt x="196" y="774"/>
                    <a:pt x="195" y="776"/>
                  </a:cubicBezTo>
                  <a:lnTo>
                    <a:pt x="212" y="776"/>
                  </a:lnTo>
                  <a:cubicBezTo>
                    <a:pt x="209" y="779"/>
                    <a:pt x="212" y="781"/>
                    <a:pt x="209" y="784"/>
                  </a:cubicBezTo>
                  <a:cubicBezTo>
                    <a:pt x="206" y="787"/>
                    <a:pt x="204" y="790"/>
                    <a:pt x="204" y="796"/>
                  </a:cubicBezTo>
                  <a:cubicBezTo>
                    <a:pt x="201" y="796"/>
                    <a:pt x="198" y="793"/>
                    <a:pt x="195" y="787"/>
                  </a:cubicBezTo>
                  <a:lnTo>
                    <a:pt x="192" y="787"/>
                  </a:lnTo>
                  <a:cubicBezTo>
                    <a:pt x="192" y="786"/>
                    <a:pt x="192" y="786"/>
                    <a:pt x="192" y="785"/>
                  </a:cubicBezTo>
                  <a:cubicBezTo>
                    <a:pt x="190" y="792"/>
                    <a:pt x="189" y="800"/>
                    <a:pt x="189" y="807"/>
                  </a:cubicBezTo>
                  <a:cubicBezTo>
                    <a:pt x="189" y="813"/>
                    <a:pt x="192" y="815"/>
                    <a:pt x="192" y="821"/>
                  </a:cubicBezTo>
                  <a:cubicBezTo>
                    <a:pt x="192" y="824"/>
                    <a:pt x="189" y="824"/>
                    <a:pt x="187" y="827"/>
                  </a:cubicBezTo>
                  <a:cubicBezTo>
                    <a:pt x="187" y="829"/>
                    <a:pt x="187" y="829"/>
                    <a:pt x="185" y="831"/>
                  </a:cubicBezTo>
                  <a:cubicBezTo>
                    <a:pt x="186" y="832"/>
                    <a:pt x="187" y="834"/>
                    <a:pt x="187" y="835"/>
                  </a:cubicBezTo>
                  <a:cubicBezTo>
                    <a:pt x="177" y="837"/>
                    <a:pt x="169" y="840"/>
                    <a:pt x="161" y="844"/>
                  </a:cubicBezTo>
                  <a:cubicBezTo>
                    <a:pt x="155" y="849"/>
                    <a:pt x="150" y="854"/>
                    <a:pt x="144" y="860"/>
                  </a:cubicBezTo>
                  <a:cubicBezTo>
                    <a:pt x="148" y="856"/>
                    <a:pt x="152" y="852"/>
                    <a:pt x="156" y="848"/>
                  </a:cubicBezTo>
                  <a:cubicBezTo>
                    <a:pt x="152" y="851"/>
                    <a:pt x="148" y="854"/>
                    <a:pt x="144" y="858"/>
                  </a:cubicBezTo>
                  <a:cubicBezTo>
                    <a:pt x="133" y="869"/>
                    <a:pt x="125" y="880"/>
                    <a:pt x="122" y="894"/>
                  </a:cubicBezTo>
                  <a:lnTo>
                    <a:pt x="122" y="911"/>
                  </a:lnTo>
                  <a:cubicBezTo>
                    <a:pt x="122" y="908"/>
                    <a:pt x="125" y="906"/>
                    <a:pt x="125" y="903"/>
                  </a:cubicBezTo>
                  <a:cubicBezTo>
                    <a:pt x="130" y="903"/>
                    <a:pt x="127" y="914"/>
                    <a:pt x="125" y="917"/>
                  </a:cubicBezTo>
                  <a:cubicBezTo>
                    <a:pt x="122" y="917"/>
                    <a:pt x="122" y="914"/>
                    <a:pt x="122" y="911"/>
                  </a:cubicBezTo>
                  <a:cubicBezTo>
                    <a:pt x="119" y="920"/>
                    <a:pt x="119" y="928"/>
                    <a:pt x="119" y="937"/>
                  </a:cubicBezTo>
                  <a:cubicBezTo>
                    <a:pt x="122" y="945"/>
                    <a:pt x="125" y="956"/>
                    <a:pt x="127" y="965"/>
                  </a:cubicBezTo>
                  <a:cubicBezTo>
                    <a:pt x="122" y="976"/>
                    <a:pt x="122" y="987"/>
                    <a:pt x="116" y="996"/>
                  </a:cubicBezTo>
                  <a:cubicBezTo>
                    <a:pt x="110" y="1007"/>
                    <a:pt x="108" y="1018"/>
                    <a:pt x="102" y="1030"/>
                  </a:cubicBezTo>
                  <a:lnTo>
                    <a:pt x="96" y="1041"/>
                  </a:lnTo>
                  <a:cubicBezTo>
                    <a:pt x="94" y="1038"/>
                    <a:pt x="96" y="1035"/>
                    <a:pt x="96" y="1033"/>
                  </a:cubicBezTo>
                  <a:cubicBezTo>
                    <a:pt x="96" y="1033"/>
                    <a:pt x="94" y="1030"/>
                    <a:pt x="94" y="1027"/>
                  </a:cubicBezTo>
                  <a:cubicBezTo>
                    <a:pt x="88" y="1033"/>
                    <a:pt x="85" y="1041"/>
                    <a:pt x="82" y="1049"/>
                  </a:cubicBezTo>
                  <a:cubicBezTo>
                    <a:pt x="88" y="1047"/>
                    <a:pt x="94" y="1044"/>
                    <a:pt x="102" y="1044"/>
                  </a:cubicBezTo>
                  <a:cubicBezTo>
                    <a:pt x="99" y="1049"/>
                    <a:pt x="94" y="1058"/>
                    <a:pt x="91" y="1064"/>
                  </a:cubicBezTo>
                  <a:cubicBezTo>
                    <a:pt x="88" y="1075"/>
                    <a:pt x="88" y="1089"/>
                    <a:pt x="85" y="1100"/>
                  </a:cubicBezTo>
                  <a:cubicBezTo>
                    <a:pt x="82" y="1109"/>
                    <a:pt x="77" y="1114"/>
                    <a:pt x="74" y="1123"/>
                  </a:cubicBezTo>
                  <a:cubicBezTo>
                    <a:pt x="65" y="1128"/>
                    <a:pt x="60" y="1137"/>
                    <a:pt x="60" y="1148"/>
                  </a:cubicBezTo>
                  <a:cubicBezTo>
                    <a:pt x="46" y="1145"/>
                    <a:pt x="37" y="1157"/>
                    <a:pt x="34" y="1171"/>
                  </a:cubicBezTo>
                  <a:cubicBezTo>
                    <a:pt x="29" y="1181"/>
                    <a:pt x="27" y="1193"/>
                    <a:pt x="28" y="1204"/>
                  </a:cubicBezTo>
                  <a:cubicBezTo>
                    <a:pt x="30" y="1204"/>
                    <a:pt x="31" y="1202"/>
                    <a:pt x="31" y="1202"/>
                  </a:cubicBezTo>
                  <a:cubicBezTo>
                    <a:pt x="40" y="1210"/>
                    <a:pt x="35" y="1213"/>
                    <a:pt x="29" y="1218"/>
                  </a:cubicBezTo>
                  <a:cubicBezTo>
                    <a:pt x="30" y="1221"/>
                    <a:pt x="30" y="1224"/>
                    <a:pt x="31" y="1227"/>
                  </a:cubicBezTo>
                  <a:cubicBezTo>
                    <a:pt x="37" y="1236"/>
                    <a:pt x="43" y="1241"/>
                    <a:pt x="48" y="1250"/>
                  </a:cubicBezTo>
                  <a:cubicBezTo>
                    <a:pt x="48" y="1253"/>
                    <a:pt x="46" y="1258"/>
                    <a:pt x="46" y="1264"/>
                  </a:cubicBezTo>
                  <a:cubicBezTo>
                    <a:pt x="43" y="1275"/>
                    <a:pt x="43" y="1286"/>
                    <a:pt x="40" y="1298"/>
                  </a:cubicBezTo>
                  <a:lnTo>
                    <a:pt x="40" y="1306"/>
                  </a:lnTo>
                  <a:cubicBezTo>
                    <a:pt x="34" y="1309"/>
                    <a:pt x="31" y="1315"/>
                    <a:pt x="26" y="1320"/>
                  </a:cubicBezTo>
                  <a:cubicBezTo>
                    <a:pt x="29" y="1312"/>
                    <a:pt x="34" y="1303"/>
                    <a:pt x="40" y="1298"/>
                  </a:cubicBezTo>
                  <a:cubicBezTo>
                    <a:pt x="37" y="1295"/>
                    <a:pt x="37" y="1292"/>
                    <a:pt x="34" y="1289"/>
                  </a:cubicBezTo>
                  <a:cubicBezTo>
                    <a:pt x="29" y="1292"/>
                    <a:pt x="26" y="1298"/>
                    <a:pt x="23" y="1301"/>
                  </a:cubicBezTo>
                  <a:cubicBezTo>
                    <a:pt x="15" y="1312"/>
                    <a:pt x="9" y="1326"/>
                    <a:pt x="9" y="1340"/>
                  </a:cubicBezTo>
                  <a:cubicBezTo>
                    <a:pt x="9" y="1353"/>
                    <a:pt x="11" y="1365"/>
                    <a:pt x="18" y="1376"/>
                  </a:cubicBezTo>
                  <a:cubicBezTo>
                    <a:pt x="16" y="1374"/>
                    <a:pt x="14" y="1374"/>
                    <a:pt x="12" y="1374"/>
                  </a:cubicBezTo>
                  <a:cubicBezTo>
                    <a:pt x="11" y="1373"/>
                    <a:pt x="10" y="1372"/>
                    <a:pt x="9" y="1370"/>
                  </a:cubicBezTo>
                  <a:cubicBezTo>
                    <a:pt x="14" y="1381"/>
                    <a:pt x="20" y="1391"/>
                    <a:pt x="29" y="1399"/>
                  </a:cubicBezTo>
                  <a:lnTo>
                    <a:pt x="29" y="1405"/>
                  </a:lnTo>
                  <a:cubicBezTo>
                    <a:pt x="29" y="1411"/>
                    <a:pt x="26" y="1416"/>
                    <a:pt x="26" y="1422"/>
                  </a:cubicBezTo>
                  <a:cubicBezTo>
                    <a:pt x="20" y="1427"/>
                    <a:pt x="15" y="1436"/>
                    <a:pt x="12" y="1444"/>
                  </a:cubicBezTo>
                  <a:cubicBezTo>
                    <a:pt x="20" y="1439"/>
                    <a:pt x="15" y="1442"/>
                    <a:pt x="12" y="1456"/>
                  </a:cubicBezTo>
                  <a:cubicBezTo>
                    <a:pt x="9" y="1464"/>
                    <a:pt x="9" y="1473"/>
                    <a:pt x="9" y="1484"/>
                  </a:cubicBezTo>
                  <a:cubicBezTo>
                    <a:pt x="9" y="1494"/>
                    <a:pt x="12" y="1505"/>
                    <a:pt x="17" y="1517"/>
                  </a:cubicBezTo>
                  <a:cubicBezTo>
                    <a:pt x="20" y="1525"/>
                    <a:pt x="26" y="1534"/>
                    <a:pt x="34" y="1539"/>
                  </a:cubicBezTo>
                  <a:lnTo>
                    <a:pt x="29" y="1539"/>
                  </a:lnTo>
                  <a:lnTo>
                    <a:pt x="29" y="1547"/>
                  </a:lnTo>
                  <a:cubicBezTo>
                    <a:pt x="30" y="1548"/>
                    <a:pt x="32" y="1549"/>
                    <a:pt x="34" y="1551"/>
                  </a:cubicBezTo>
                  <a:cubicBezTo>
                    <a:pt x="34" y="1555"/>
                    <a:pt x="33" y="1561"/>
                    <a:pt x="32" y="1566"/>
                  </a:cubicBezTo>
                  <a:cubicBezTo>
                    <a:pt x="32" y="1565"/>
                    <a:pt x="33" y="1563"/>
                    <a:pt x="34" y="1562"/>
                  </a:cubicBezTo>
                  <a:cubicBezTo>
                    <a:pt x="40" y="1562"/>
                    <a:pt x="43" y="1562"/>
                    <a:pt x="48" y="1565"/>
                  </a:cubicBezTo>
                  <a:cubicBezTo>
                    <a:pt x="48" y="1565"/>
                    <a:pt x="46" y="1565"/>
                    <a:pt x="46" y="1567"/>
                  </a:cubicBezTo>
                  <a:lnTo>
                    <a:pt x="51" y="1573"/>
                  </a:lnTo>
                  <a:cubicBezTo>
                    <a:pt x="34" y="1584"/>
                    <a:pt x="20" y="1604"/>
                    <a:pt x="15" y="1624"/>
                  </a:cubicBezTo>
                  <a:cubicBezTo>
                    <a:pt x="18" y="1618"/>
                    <a:pt x="22" y="1613"/>
                    <a:pt x="27" y="1607"/>
                  </a:cubicBezTo>
                  <a:cubicBezTo>
                    <a:pt x="12" y="1628"/>
                    <a:pt x="14" y="1658"/>
                    <a:pt x="31" y="1675"/>
                  </a:cubicBezTo>
                  <a:cubicBezTo>
                    <a:pt x="31" y="1677"/>
                    <a:pt x="34" y="1680"/>
                    <a:pt x="34" y="1683"/>
                  </a:cubicBezTo>
                  <a:cubicBezTo>
                    <a:pt x="34" y="1685"/>
                    <a:pt x="33" y="1687"/>
                    <a:pt x="32" y="1688"/>
                  </a:cubicBezTo>
                  <a:cubicBezTo>
                    <a:pt x="38" y="1695"/>
                    <a:pt x="44" y="1701"/>
                    <a:pt x="51" y="1706"/>
                  </a:cubicBezTo>
                  <a:cubicBezTo>
                    <a:pt x="51" y="1708"/>
                    <a:pt x="53" y="1710"/>
                    <a:pt x="53" y="1712"/>
                  </a:cubicBezTo>
                  <a:cubicBezTo>
                    <a:pt x="52" y="1712"/>
                    <a:pt x="51" y="1712"/>
                    <a:pt x="50" y="1712"/>
                  </a:cubicBezTo>
                  <a:cubicBezTo>
                    <a:pt x="50" y="1712"/>
                    <a:pt x="49" y="1711"/>
                    <a:pt x="48" y="1711"/>
                  </a:cubicBezTo>
                  <a:cubicBezTo>
                    <a:pt x="49" y="1712"/>
                    <a:pt x="49" y="1712"/>
                    <a:pt x="49" y="1712"/>
                  </a:cubicBezTo>
                  <a:cubicBezTo>
                    <a:pt x="45" y="1713"/>
                    <a:pt x="45" y="1715"/>
                    <a:pt x="43" y="1717"/>
                  </a:cubicBezTo>
                  <a:cubicBezTo>
                    <a:pt x="34" y="1728"/>
                    <a:pt x="29" y="1742"/>
                    <a:pt x="26" y="1754"/>
                  </a:cubicBezTo>
                  <a:cubicBezTo>
                    <a:pt x="23" y="1768"/>
                    <a:pt x="23" y="1782"/>
                    <a:pt x="29" y="1796"/>
                  </a:cubicBezTo>
                  <a:cubicBezTo>
                    <a:pt x="34" y="1816"/>
                    <a:pt x="48" y="1833"/>
                    <a:pt x="65" y="1844"/>
                  </a:cubicBezTo>
                  <a:cubicBezTo>
                    <a:pt x="65" y="1847"/>
                    <a:pt x="68" y="1850"/>
                    <a:pt x="71" y="1852"/>
                  </a:cubicBezTo>
                  <a:lnTo>
                    <a:pt x="71" y="1850"/>
                  </a:lnTo>
                  <a:lnTo>
                    <a:pt x="85" y="1857"/>
                  </a:lnTo>
                  <a:cubicBezTo>
                    <a:pt x="85" y="1857"/>
                    <a:pt x="85" y="1857"/>
                    <a:pt x="85" y="1858"/>
                  </a:cubicBezTo>
                  <a:lnTo>
                    <a:pt x="82" y="1858"/>
                  </a:lnTo>
                  <a:lnTo>
                    <a:pt x="88" y="1861"/>
                  </a:lnTo>
                  <a:lnTo>
                    <a:pt x="82" y="1864"/>
                  </a:lnTo>
                  <a:cubicBezTo>
                    <a:pt x="80" y="1861"/>
                    <a:pt x="77" y="1856"/>
                    <a:pt x="72" y="1855"/>
                  </a:cubicBezTo>
                  <a:cubicBezTo>
                    <a:pt x="75" y="1861"/>
                    <a:pt x="77" y="1867"/>
                    <a:pt x="77" y="1872"/>
                  </a:cubicBezTo>
                  <a:cubicBezTo>
                    <a:pt x="74" y="1881"/>
                    <a:pt x="65" y="1883"/>
                    <a:pt x="65" y="1889"/>
                  </a:cubicBezTo>
                  <a:cubicBezTo>
                    <a:pt x="62" y="1900"/>
                    <a:pt x="60" y="1912"/>
                    <a:pt x="60" y="1923"/>
                  </a:cubicBezTo>
                  <a:lnTo>
                    <a:pt x="60" y="1934"/>
                  </a:lnTo>
                  <a:lnTo>
                    <a:pt x="60" y="1937"/>
                  </a:lnTo>
                  <a:cubicBezTo>
                    <a:pt x="62" y="1945"/>
                    <a:pt x="65" y="1951"/>
                    <a:pt x="68" y="1957"/>
                  </a:cubicBezTo>
                  <a:cubicBezTo>
                    <a:pt x="77" y="1977"/>
                    <a:pt x="94" y="1991"/>
                    <a:pt x="113" y="2002"/>
                  </a:cubicBezTo>
                  <a:lnTo>
                    <a:pt x="113" y="2005"/>
                  </a:lnTo>
                  <a:lnTo>
                    <a:pt x="116" y="2005"/>
                  </a:lnTo>
                  <a:lnTo>
                    <a:pt x="119" y="2002"/>
                  </a:lnTo>
                  <a:cubicBezTo>
                    <a:pt x="119" y="2005"/>
                    <a:pt x="113" y="2008"/>
                    <a:pt x="113" y="2008"/>
                  </a:cubicBezTo>
                  <a:cubicBezTo>
                    <a:pt x="116" y="2013"/>
                    <a:pt x="122" y="2016"/>
                    <a:pt x="125" y="2022"/>
                  </a:cubicBezTo>
                  <a:cubicBezTo>
                    <a:pt x="125" y="2024"/>
                    <a:pt x="122" y="2024"/>
                    <a:pt x="122" y="2027"/>
                  </a:cubicBezTo>
                  <a:cubicBezTo>
                    <a:pt x="119" y="2047"/>
                    <a:pt x="122" y="2067"/>
                    <a:pt x="130" y="2084"/>
                  </a:cubicBezTo>
                  <a:cubicBezTo>
                    <a:pt x="136" y="2101"/>
                    <a:pt x="150" y="2115"/>
                    <a:pt x="167" y="2126"/>
                  </a:cubicBezTo>
                  <a:cubicBezTo>
                    <a:pt x="173" y="2134"/>
                    <a:pt x="175" y="2146"/>
                    <a:pt x="181" y="2154"/>
                  </a:cubicBezTo>
                  <a:cubicBezTo>
                    <a:pt x="181" y="2157"/>
                    <a:pt x="184" y="2160"/>
                    <a:pt x="187" y="2163"/>
                  </a:cubicBezTo>
                  <a:lnTo>
                    <a:pt x="192" y="2160"/>
                  </a:lnTo>
                  <a:cubicBezTo>
                    <a:pt x="195" y="2160"/>
                    <a:pt x="198" y="2163"/>
                    <a:pt x="198" y="2171"/>
                  </a:cubicBezTo>
                  <a:cubicBezTo>
                    <a:pt x="195" y="2168"/>
                    <a:pt x="192" y="2171"/>
                    <a:pt x="189" y="2171"/>
                  </a:cubicBezTo>
                  <a:cubicBezTo>
                    <a:pt x="189" y="2168"/>
                    <a:pt x="192" y="2163"/>
                    <a:pt x="192" y="2160"/>
                  </a:cubicBezTo>
                  <a:cubicBezTo>
                    <a:pt x="192" y="2163"/>
                    <a:pt x="187" y="2168"/>
                    <a:pt x="184" y="2171"/>
                  </a:cubicBezTo>
                  <a:cubicBezTo>
                    <a:pt x="181" y="2182"/>
                    <a:pt x="181" y="2194"/>
                    <a:pt x="184" y="2205"/>
                  </a:cubicBezTo>
                  <a:cubicBezTo>
                    <a:pt x="184" y="2208"/>
                    <a:pt x="187" y="2208"/>
                    <a:pt x="187" y="2211"/>
                  </a:cubicBezTo>
                  <a:cubicBezTo>
                    <a:pt x="189" y="2211"/>
                    <a:pt x="195" y="2213"/>
                    <a:pt x="198" y="2213"/>
                  </a:cubicBezTo>
                  <a:lnTo>
                    <a:pt x="201" y="2213"/>
                  </a:lnTo>
                  <a:cubicBezTo>
                    <a:pt x="195" y="2205"/>
                    <a:pt x="192" y="2197"/>
                    <a:pt x="192" y="2185"/>
                  </a:cubicBezTo>
                  <a:lnTo>
                    <a:pt x="192" y="2177"/>
                  </a:lnTo>
                  <a:cubicBezTo>
                    <a:pt x="192" y="2177"/>
                    <a:pt x="192" y="2180"/>
                    <a:pt x="195" y="2180"/>
                  </a:cubicBezTo>
                  <a:lnTo>
                    <a:pt x="204" y="2171"/>
                  </a:lnTo>
                  <a:cubicBezTo>
                    <a:pt x="204" y="2177"/>
                    <a:pt x="204" y="2180"/>
                    <a:pt x="201" y="2185"/>
                  </a:cubicBezTo>
                  <a:cubicBezTo>
                    <a:pt x="198" y="2185"/>
                    <a:pt x="201" y="2185"/>
                    <a:pt x="201" y="2188"/>
                  </a:cubicBezTo>
                  <a:cubicBezTo>
                    <a:pt x="201" y="2191"/>
                    <a:pt x="201" y="2191"/>
                    <a:pt x="204" y="2194"/>
                  </a:cubicBezTo>
                  <a:lnTo>
                    <a:pt x="204" y="2211"/>
                  </a:lnTo>
                  <a:cubicBezTo>
                    <a:pt x="204" y="2211"/>
                    <a:pt x="206" y="2211"/>
                    <a:pt x="206" y="2208"/>
                  </a:cubicBezTo>
                  <a:cubicBezTo>
                    <a:pt x="206" y="2211"/>
                    <a:pt x="212" y="2211"/>
                    <a:pt x="212" y="2213"/>
                  </a:cubicBezTo>
                  <a:cubicBezTo>
                    <a:pt x="218" y="2222"/>
                    <a:pt x="218" y="2236"/>
                    <a:pt x="223" y="2244"/>
                  </a:cubicBezTo>
                  <a:cubicBezTo>
                    <a:pt x="220" y="2242"/>
                    <a:pt x="218" y="2242"/>
                    <a:pt x="218" y="2239"/>
                  </a:cubicBezTo>
                  <a:lnTo>
                    <a:pt x="218" y="2236"/>
                  </a:lnTo>
                  <a:cubicBezTo>
                    <a:pt x="215" y="2236"/>
                    <a:pt x="212" y="2242"/>
                    <a:pt x="209" y="2244"/>
                  </a:cubicBezTo>
                  <a:cubicBezTo>
                    <a:pt x="218" y="2250"/>
                    <a:pt x="229" y="2256"/>
                    <a:pt x="237" y="2259"/>
                  </a:cubicBezTo>
                  <a:lnTo>
                    <a:pt x="235" y="2261"/>
                  </a:lnTo>
                  <a:lnTo>
                    <a:pt x="237" y="2261"/>
                  </a:lnTo>
                  <a:cubicBezTo>
                    <a:pt x="237" y="2261"/>
                    <a:pt x="240" y="2261"/>
                    <a:pt x="240" y="2259"/>
                  </a:cubicBezTo>
                  <a:cubicBezTo>
                    <a:pt x="257" y="2264"/>
                    <a:pt x="271" y="2264"/>
                    <a:pt x="266" y="2267"/>
                  </a:cubicBezTo>
                  <a:cubicBezTo>
                    <a:pt x="263" y="2267"/>
                    <a:pt x="257" y="2273"/>
                    <a:pt x="254" y="2273"/>
                  </a:cubicBezTo>
                  <a:cubicBezTo>
                    <a:pt x="260" y="2273"/>
                    <a:pt x="268" y="2270"/>
                    <a:pt x="271" y="2270"/>
                  </a:cubicBezTo>
                  <a:cubicBezTo>
                    <a:pt x="266" y="2273"/>
                    <a:pt x="263" y="2278"/>
                    <a:pt x="266" y="2284"/>
                  </a:cubicBezTo>
                  <a:cubicBezTo>
                    <a:pt x="257" y="2284"/>
                    <a:pt x="252" y="2278"/>
                    <a:pt x="246" y="2278"/>
                  </a:cubicBezTo>
                  <a:lnTo>
                    <a:pt x="254" y="2295"/>
                  </a:lnTo>
                  <a:lnTo>
                    <a:pt x="257" y="2295"/>
                  </a:lnTo>
                  <a:cubicBezTo>
                    <a:pt x="271" y="2292"/>
                    <a:pt x="257" y="2304"/>
                    <a:pt x="266" y="2307"/>
                  </a:cubicBezTo>
                  <a:lnTo>
                    <a:pt x="271" y="2307"/>
                  </a:lnTo>
                  <a:lnTo>
                    <a:pt x="271" y="2309"/>
                  </a:lnTo>
                  <a:cubicBezTo>
                    <a:pt x="274" y="2309"/>
                    <a:pt x="277" y="2312"/>
                    <a:pt x="277" y="2312"/>
                  </a:cubicBezTo>
                  <a:lnTo>
                    <a:pt x="277" y="2309"/>
                  </a:lnTo>
                  <a:lnTo>
                    <a:pt x="280" y="2309"/>
                  </a:lnTo>
                  <a:cubicBezTo>
                    <a:pt x="280" y="2312"/>
                    <a:pt x="283" y="2315"/>
                    <a:pt x="285" y="2318"/>
                  </a:cubicBezTo>
                  <a:cubicBezTo>
                    <a:pt x="283" y="2321"/>
                    <a:pt x="280" y="2321"/>
                    <a:pt x="277" y="2323"/>
                  </a:cubicBezTo>
                  <a:lnTo>
                    <a:pt x="277" y="2318"/>
                  </a:lnTo>
                  <a:cubicBezTo>
                    <a:pt x="277" y="2321"/>
                    <a:pt x="274" y="2323"/>
                    <a:pt x="274" y="2326"/>
                  </a:cubicBezTo>
                  <a:cubicBezTo>
                    <a:pt x="274" y="2329"/>
                    <a:pt x="271" y="2329"/>
                    <a:pt x="274" y="2332"/>
                  </a:cubicBezTo>
                  <a:cubicBezTo>
                    <a:pt x="280" y="2346"/>
                    <a:pt x="288" y="2360"/>
                    <a:pt x="302" y="2371"/>
                  </a:cubicBezTo>
                  <a:cubicBezTo>
                    <a:pt x="308" y="2377"/>
                    <a:pt x="314" y="2380"/>
                    <a:pt x="322" y="2383"/>
                  </a:cubicBezTo>
                  <a:cubicBezTo>
                    <a:pt x="324" y="2385"/>
                    <a:pt x="325" y="2389"/>
                    <a:pt x="325" y="2391"/>
                  </a:cubicBezTo>
                  <a:cubicBezTo>
                    <a:pt x="326" y="2391"/>
                    <a:pt x="327" y="2391"/>
                    <a:pt x="328" y="2391"/>
                  </a:cubicBezTo>
                  <a:cubicBezTo>
                    <a:pt x="331" y="2394"/>
                    <a:pt x="331" y="2402"/>
                    <a:pt x="336" y="2405"/>
                  </a:cubicBezTo>
                  <a:cubicBezTo>
                    <a:pt x="336" y="2405"/>
                    <a:pt x="339" y="2405"/>
                    <a:pt x="342" y="2402"/>
                  </a:cubicBezTo>
                  <a:cubicBezTo>
                    <a:pt x="345" y="2402"/>
                    <a:pt x="342" y="2402"/>
                    <a:pt x="342" y="2402"/>
                  </a:cubicBezTo>
                  <a:cubicBezTo>
                    <a:pt x="342" y="2405"/>
                    <a:pt x="345" y="2405"/>
                    <a:pt x="345" y="2408"/>
                  </a:cubicBezTo>
                  <a:lnTo>
                    <a:pt x="336" y="2408"/>
                  </a:lnTo>
                  <a:lnTo>
                    <a:pt x="342" y="2411"/>
                  </a:lnTo>
                  <a:cubicBezTo>
                    <a:pt x="342" y="2417"/>
                    <a:pt x="339" y="2425"/>
                    <a:pt x="339" y="2431"/>
                  </a:cubicBezTo>
                  <a:cubicBezTo>
                    <a:pt x="339" y="2450"/>
                    <a:pt x="347" y="2467"/>
                    <a:pt x="359" y="2481"/>
                  </a:cubicBezTo>
                  <a:cubicBezTo>
                    <a:pt x="367" y="2490"/>
                    <a:pt x="373" y="2490"/>
                    <a:pt x="367" y="2479"/>
                  </a:cubicBezTo>
                  <a:cubicBezTo>
                    <a:pt x="373" y="2487"/>
                    <a:pt x="384" y="2496"/>
                    <a:pt x="393" y="2498"/>
                  </a:cubicBezTo>
                  <a:cubicBezTo>
                    <a:pt x="401" y="2504"/>
                    <a:pt x="412" y="2510"/>
                    <a:pt x="424" y="2515"/>
                  </a:cubicBezTo>
                  <a:lnTo>
                    <a:pt x="429" y="2515"/>
                  </a:lnTo>
                  <a:cubicBezTo>
                    <a:pt x="432" y="2518"/>
                    <a:pt x="435" y="2524"/>
                    <a:pt x="438" y="2527"/>
                  </a:cubicBezTo>
                  <a:cubicBezTo>
                    <a:pt x="443" y="2529"/>
                    <a:pt x="443" y="2527"/>
                    <a:pt x="443" y="2529"/>
                  </a:cubicBezTo>
                  <a:cubicBezTo>
                    <a:pt x="443" y="2529"/>
                    <a:pt x="443" y="2532"/>
                    <a:pt x="446" y="2532"/>
                  </a:cubicBezTo>
                  <a:lnTo>
                    <a:pt x="446" y="2535"/>
                  </a:lnTo>
                  <a:lnTo>
                    <a:pt x="449" y="2535"/>
                  </a:lnTo>
                  <a:lnTo>
                    <a:pt x="455" y="2535"/>
                  </a:lnTo>
                  <a:cubicBezTo>
                    <a:pt x="455" y="2537"/>
                    <a:pt x="456" y="2539"/>
                    <a:pt x="458" y="2541"/>
                  </a:cubicBezTo>
                  <a:lnTo>
                    <a:pt x="460" y="2543"/>
                  </a:lnTo>
                  <a:lnTo>
                    <a:pt x="463" y="2543"/>
                  </a:lnTo>
                  <a:cubicBezTo>
                    <a:pt x="466" y="2560"/>
                    <a:pt x="472" y="2575"/>
                    <a:pt x="480" y="2589"/>
                  </a:cubicBezTo>
                  <a:cubicBezTo>
                    <a:pt x="491" y="2597"/>
                    <a:pt x="503" y="2606"/>
                    <a:pt x="517" y="2608"/>
                  </a:cubicBezTo>
                  <a:cubicBezTo>
                    <a:pt x="522" y="2608"/>
                    <a:pt x="528" y="2606"/>
                    <a:pt x="534" y="2606"/>
                  </a:cubicBezTo>
                  <a:lnTo>
                    <a:pt x="534" y="2611"/>
                  </a:lnTo>
                  <a:cubicBezTo>
                    <a:pt x="542" y="2617"/>
                    <a:pt x="548" y="2625"/>
                    <a:pt x="556" y="2634"/>
                  </a:cubicBezTo>
                  <a:lnTo>
                    <a:pt x="562" y="2634"/>
                  </a:lnTo>
                  <a:cubicBezTo>
                    <a:pt x="562" y="2637"/>
                    <a:pt x="565" y="2639"/>
                    <a:pt x="565" y="2645"/>
                  </a:cubicBezTo>
                  <a:cubicBezTo>
                    <a:pt x="568" y="2665"/>
                    <a:pt x="579" y="2682"/>
                    <a:pt x="593" y="2696"/>
                  </a:cubicBezTo>
                  <a:cubicBezTo>
                    <a:pt x="610" y="2707"/>
                    <a:pt x="630" y="2713"/>
                    <a:pt x="649" y="2710"/>
                  </a:cubicBezTo>
                  <a:lnTo>
                    <a:pt x="666" y="2710"/>
                  </a:lnTo>
                  <a:lnTo>
                    <a:pt x="666" y="2713"/>
                  </a:lnTo>
                  <a:cubicBezTo>
                    <a:pt x="669" y="2713"/>
                    <a:pt x="672" y="2716"/>
                    <a:pt x="675" y="2716"/>
                  </a:cubicBezTo>
                  <a:cubicBezTo>
                    <a:pt x="675" y="2713"/>
                    <a:pt x="675" y="2707"/>
                    <a:pt x="678" y="2704"/>
                  </a:cubicBezTo>
                  <a:cubicBezTo>
                    <a:pt x="683" y="2704"/>
                    <a:pt x="686" y="2704"/>
                    <a:pt x="692" y="2701"/>
                  </a:cubicBezTo>
                  <a:cubicBezTo>
                    <a:pt x="692" y="2704"/>
                    <a:pt x="695" y="2704"/>
                    <a:pt x="695" y="2704"/>
                  </a:cubicBezTo>
                  <a:cubicBezTo>
                    <a:pt x="692" y="2707"/>
                    <a:pt x="689" y="2710"/>
                    <a:pt x="683" y="2713"/>
                  </a:cubicBezTo>
                  <a:cubicBezTo>
                    <a:pt x="686" y="2713"/>
                    <a:pt x="689" y="2716"/>
                    <a:pt x="695" y="2716"/>
                  </a:cubicBezTo>
                  <a:cubicBezTo>
                    <a:pt x="695" y="2718"/>
                    <a:pt x="700" y="2718"/>
                    <a:pt x="700" y="2718"/>
                  </a:cubicBezTo>
                  <a:cubicBezTo>
                    <a:pt x="700" y="2721"/>
                    <a:pt x="695" y="2724"/>
                    <a:pt x="692" y="2724"/>
                  </a:cubicBezTo>
                  <a:lnTo>
                    <a:pt x="695" y="2724"/>
                  </a:lnTo>
                  <a:lnTo>
                    <a:pt x="697" y="2724"/>
                  </a:lnTo>
                  <a:cubicBezTo>
                    <a:pt x="697" y="2727"/>
                    <a:pt x="697" y="2727"/>
                    <a:pt x="700" y="2730"/>
                  </a:cubicBezTo>
                  <a:cubicBezTo>
                    <a:pt x="709" y="2747"/>
                    <a:pt x="723" y="2761"/>
                    <a:pt x="742" y="2769"/>
                  </a:cubicBezTo>
                  <a:cubicBezTo>
                    <a:pt x="745" y="2772"/>
                    <a:pt x="745" y="2775"/>
                    <a:pt x="742" y="2772"/>
                  </a:cubicBezTo>
                  <a:lnTo>
                    <a:pt x="740" y="2772"/>
                  </a:lnTo>
                  <a:cubicBezTo>
                    <a:pt x="751" y="2780"/>
                    <a:pt x="762" y="2786"/>
                    <a:pt x="774" y="2789"/>
                  </a:cubicBezTo>
                  <a:lnTo>
                    <a:pt x="802" y="2789"/>
                  </a:lnTo>
                  <a:cubicBezTo>
                    <a:pt x="805" y="2789"/>
                    <a:pt x="805" y="2792"/>
                    <a:pt x="807" y="2795"/>
                  </a:cubicBezTo>
                  <a:cubicBezTo>
                    <a:pt x="810" y="2797"/>
                    <a:pt x="816" y="2797"/>
                    <a:pt x="819" y="2797"/>
                  </a:cubicBezTo>
                  <a:cubicBezTo>
                    <a:pt x="820" y="2800"/>
                    <a:pt x="822" y="2803"/>
                    <a:pt x="823" y="2806"/>
                  </a:cubicBezTo>
                  <a:cubicBezTo>
                    <a:pt x="824" y="2806"/>
                    <a:pt x="825" y="2806"/>
                    <a:pt x="827" y="2809"/>
                  </a:cubicBezTo>
                  <a:cubicBezTo>
                    <a:pt x="832" y="2816"/>
                    <a:pt x="838" y="2824"/>
                    <a:pt x="845" y="2831"/>
                  </a:cubicBezTo>
                  <a:cubicBezTo>
                    <a:pt x="838" y="2825"/>
                    <a:pt x="832" y="2819"/>
                    <a:pt x="826" y="2812"/>
                  </a:cubicBezTo>
                  <a:cubicBezTo>
                    <a:pt x="830" y="2818"/>
                    <a:pt x="834" y="2824"/>
                    <a:pt x="838" y="2828"/>
                  </a:cubicBezTo>
                  <a:cubicBezTo>
                    <a:pt x="850" y="2840"/>
                    <a:pt x="861" y="2848"/>
                    <a:pt x="875" y="2854"/>
                  </a:cubicBezTo>
                  <a:lnTo>
                    <a:pt x="892" y="2854"/>
                  </a:lnTo>
                  <a:cubicBezTo>
                    <a:pt x="889" y="2854"/>
                    <a:pt x="886" y="2851"/>
                    <a:pt x="884" y="2848"/>
                  </a:cubicBezTo>
                  <a:cubicBezTo>
                    <a:pt x="884" y="2842"/>
                    <a:pt x="901" y="2845"/>
                    <a:pt x="901" y="2848"/>
                  </a:cubicBezTo>
                  <a:cubicBezTo>
                    <a:pt x="901" y="2851"/>
                    <a:pt x="895" y="2854"/>
                    <a:pt x="892" y="2854"/>
                  </a:cubicBezTo>
                  <a:cubicBezTo>
                    <a:pt x="901" y="2854"/>
                    <a:pt x="909" y="2851"/>
                    <a:pt x="915" y="2851"/>
                  </a:cubicBezTo>
                  <a:cubicBezTo>
                    <a:pt x="920" y="2851"/>
                    <a:pt x="926" y="2848"/>
                    <a:pt x="929" y="2848"/>
                  </a:cubicBezTo>
                  <a:lnTo>
                    <a:pt x="932" y="2851"/>
                  </a:lnTo>
                  <a:cubicBezTo>
                    <a:pt x="932" y="2851"/>
                    <a:pt x="929" y="2848"/>
                    <a:pt x="929" y="2845"/>
                  </a:cubicBezTo>
                  <a:lnTo>
                    <a:pt x="937" y="2845"/>
                  </a:lnTo>
                  <a:cubicBezTo>
                    <a:pt x="937" y="2848"/>
                    <a:pt x="934" y="2851"/>
                    <a:pt x="934" y="2854"/>
                  </a:cubicBezTo>
                  <a:lnTo>
                    <a:pt x="937" y="2854"/>
                  </a:lnTo>
                  <a:cubicBezTo>
                    <a:pt x="948" y="2857"/>
                    <a:pt x="957" y="2862"/>
                    <a:pt x="968" y="2865"/>
                  </a:cubicBezTo>
                  <a:cubicBezTo>
                    <a:pt x="974" y="2874"/>
                    <a:pt x="982" y="2882"/>
                    <a:pt x="988" y="2890"/>
                  </a:cubicBezTo>
                  <a:cubicBezTo>
                    <a:pt x="991" y="2893"/>
                    <a:pt x="994" y="2893"/>
                    <a:pt x="996" y="2896"/>
                  </a:cubicBezTo>
                  <a:cubicBezTo>
                    <a:pt x="996" y="2893"/>
                    <a:pt x="994" y="2890"/>
                    <a:pt x="994" y="2885"/>
                  </a:cubicBezTo>
                  <a:cubicBezTo>
                    <a:pt x="996" y="2882"/>
                    <a:pt x="999" y="2882"/>
                    <a:pt x="999" y="2882"/>
                  </a:cubicBezTo>
                  <a:cubicBezTo>
                    <a:pt x="1002" y="2885"/>
                    <a:pt x="1002" y="2893"/>
                    <a:pt x="996" y="2893"/>
                  </a:cubicBezTo>
                  <a:cubicBezTo>
                    <a:pt x="1013" y="2905"/>
                    <a:pt x="1033" y="2910"/>
                    <a:pt x="1050" y="2910"/>
                  </a:cubicBezTo>
                  <a:cubicBezTo>
                    <a:pt x="1061" y="2910"/>
                    <a:pt x="1070" y="2907"/>
                    <a:pt x="1081" y="2905"/>
                  </a:cubicBezTo>
                  <a:cubicBezTo>
                    <a:pt x="1090" y="2907"/>
                    <a:pt x="1098" y="2905"/>
                    <a:pt x="1106" y="2907"/>
                  </a:cubicBezTo>
                  <a:lnTo>
                    <a:pt x="1109" y="2907"/>
                  </a:lnTo>
                  <a:cubicBezTo>
                    <a:pt x="1112" y="2910"/>
                    <a:pt x="1118" y="2913"/>
                    <a:pt x="1118" y="2913"/>
                  </a:cubicBezTo>
                  <a:cubicBezTo>
                    <a:pt x="1126" y="2927"/>
                    <a:pt x="1138" y="2936"/>
                    <a:pt x="1152" y="2941"/>
                  </a:cubicBezTo>
                  <a:cubicBezTo>
                    <a:pt x="1164" y="2945"/>
                    <a:pt x="1177" y="2945"/>
                    <a:pt x="1190" y="2943"/>
                  </a:cubicBezTo>
                  <a:cubicBezTo>
                    <a:pt x="1192" y="2942"/>
                    <a:pt x="1193" y="2942"/>
                    <a:pt x="1195" y="2942"/>
                  </a:cubicBezTo>
                  <a:cubicBezTo>
                    <a:pt x="1200" y="2941"/>
                    <a:pt x="1206" y="2940"/>
                    <a:pt x="1211" y="2938"/>
                  </a:cubicBezTo>
                  <a:cubicBezTo>
                    <a:pt x="1214" y="2938"/>
                    <a:pt x="1217" y="2933"/>
                    <a:pt x="1219" y="2933"/>
                  </a:cubicBezTo>
                  <a:cubicBezTo>
                    <a:pt x="1228" y="2936"/>
                    <a:pt x="1236" y="2938"/>
                    <a:pt x="1245" y="2938"/>
                  </a:cubicBezTo>
                  <a:cubicBezTo>
                    <a:pt x="1256" y="2941"/>
                    <a:pt x="1267" y="2941"/>
                    <a:pt x="1279" y="2944"/>
                  </a:cubicBezTo>
                  <a:cubicBezTo>
                    <a:pt x="1290" y="2947"/>
                    <a:pt x="1301" y="2947"/>
                    <a:pt x="1315" y="2947"/>
                  </a:cubicBezTo>
                  <a:cubicBezTo>
                    <a:pt x="1315" y="2947"/>
                    <a:pt x="1315" y="2950"/>
                    <a:pt x="1318" y="2950"/>
                  </a:cubicBezTo>
                  <a:cubicBezTo>
                    <a:pt x="1321" y="2950"/>
                    <a:pt x="1327" y="2953"/>
                    <a:pt x="1329" y="2953"/>
                  </a:cubicBezTo>
                  <a:lnTo>
                    <a:pt x="1352" y="2953"/>
                  </a:lnTo>
                  <a:cubicBezTo>
                    <a:pt x="1363" y="2953"/>
                    <a:pt x="1375" y="2955"/>
                    <a:pt x="1386" y="2955"/>
                  </a:cubicBezTo>
                  <a:cubicBezTo>
                    <a:pt x="1397" y="2955"/>
                    <a:pt x="1408" y="2958"/>
                    <a:pt x="1417" y="2958"/>
                  </a:cubicBezTo>
                  <a:cubicBezTo>
                    <a:pt x="1420" y="2958"/>
                    <a:pt x="1423" y="2964"/>
                    <a:pt x="1423" y="2964"/>
                  </a:cubicBezTo>
                  <a:cubicBezTo>
                    <a:pt x="1423" y="2961"/>
                    <a:pt x="1420" y="2961"/>
                    <a:pt x="1420" y="2958"/>
                  </a:cubicBezTo>
                  <a:lnTo>
                    <a:pt x="1425" y="2958"/>
                  </a:lnTo>
                  <a:cubicBezTo>
                    <a:pt x="1428" y="2958"/>
                    <a:pt x="1431" y="2961"/>
                    <a:pt x="1434" y="2964"/>
                  </a:cubicBezTo>
                  <a:lnTo>
                    <a:pt x="1462" y="2964"/>
                  </a:lnTo>
                  <a:cubicBezTo>
                    <a:pt x="1473" y="2964"/>
                    <a:pt x="1485" y="2964"/>
                    <a:pt x="1495" y="2958"/>
                  </a:cubicBezTo>
                  <a:lnTo>
                    <a:pt x="1498" y="2955"/>
                  </a:lnTo>
                  <a:lnTo>
                    <a:pt x="1517" y="2955"/>
                  </a:lnTo>
                  <a:lnTo>
                    <a:pt x="1517" y="2955"/>
                  </a:lnTo>
                  <a:lnTo>
                    <a:pt x="1520" y="2955"/>
                  </a:lnTo>
                  <a:lnTo>
                    <a:pt x="1520" y="2956"/>
                  </a:lnTo>
                  <a:cubicBezTo>
                    <a:pt x="1521" y="2957"/>
                    <a:pt x="1521" y="2958"/>
                    <a:pt x="1523" y="2958"/>
                  </a:cubicBezTo>
                  <a:lnTo>
                    <a:pt x="1526" y="2958"/>
                  </a:lnTo>
                  <a:lnTo>
                    <a:pt x="1526" y="2955"/>
                  </a:lnTo>
                  <a:lnTo>
                    <a:pt x="1563" y="2955"/>
                  </a:lnTo>
                  <a:cubicBezTo>
                    <a:pt x="1565" y="2955"/>
                    <a:pt x="1571" y="2953"/>
                    <a:pt x="1574" y="2953"/>
                  </a:cubicBezTo>
                  <a:cubicBezTo>
                    <a:pt x="1580" y="2955"/>
                    <a:pt x="1585" y="2961"/>
                    <a:pt x="1594" y="2964"/>
                  </a:cubicBezTo>
                  <a:cubicBezTo>
                    <a:pt x="1598" y="2965"/>
                    <a:pt x="1602" y="2967"/>
                    <a:pt x="1607" y="2968"/>
                  </a:cubicBezTo>
                  <a:cubicBezTo>
                    <a:pt x="1601" y="2965"/>
                    <a:pt x="1596" y="2962"/>
                    <a:pt x="1591" y="2958"/>
                  </a:cubicBezTo>
                  <a:cubicBezTo>
                    <a:pt x="1596" y="2958"/>
                    <a:pt x="1599" y="2961"/>
                    <a:pt x="1605" y="2961"/>
                  </a:cubicBezTo>
                  <a:cubicBezTo>
                    <a:pt x="1605" y="2958"/>
                    <a:pt x="1605" y="2955"/>
                    <a:pt x="1599" y="2955"/>
                  </a:cubicBezTo>
                  <a:cubicBezTo>
                    <a:pt x="1602" y="2953"/>
                    <a:pt x="1608" y="2953"/>
                    <a:pt x="1608" y="2958"/>
                  </a:cubicBezTo>
                  <a:lnTo>
                    <a:pt x="1639" y="2958"/>
                  </a:lnTo>
                  <a:cubicBezTo>
                    <a:pt x="1650" y="2958"/>
                    <a:pt x="1661" y="2953"/>
                    <a:pt x="1673" y="2953"/>
                  </a:cubicBezTo>
                  <a:cubicBezTo>
                    <a:pt x="1676" y="2953"/>
                    <a:pt x="1679" y="2954"/>
                    <a:pt x="1682" y="2954"/>
                  </a:cubicBezTo>
                  <a:cubicBezTo>
                    <a:pt x="1683" y="2953"/>
                    <a:pt x="1683" y="2953"/>
                    <a:pt x="1684" y="2953"/>
                  </a:cubicBezTo>
                  <a:cubicBezTo>
                    <a:pt x="1690" y="2950"/>
                    <a:pt x="1698" y="2947"/>
                    <a:pt x="1701" y="2944"/>
                  </a:cubicBezTo>
                  <a:lnTo>
                    <a:pt x="1704" y="2944"/>
                  </a:lnTo>
                  <a:cubicBezTo>
                    <a:pt x="1709" y="2944"/>
                    <a:pt x="1715" y="2938"/>
                    <a:pt x="1723" y="2938"/>
                  </a:cubicBezTo>
                  <a:cubicBezTo>
                    <a:pt x="1729" y="2941"/>
                    <a:pt x="1738" y="2944"/>
                    <a:pt x="1743" y="2947"/>
                  </a:cubicBezTo>
                  <a:cubicBezTo>
                    <a:pt x="1757" y="2950"/>
                    <a:pt x="1771" y="2950"/>
                    <a:pt x="1786" y="2944"/>
                  </a:cubicBezTo>
                  <a:cubicBezTo>
                    <a:pt x="1800" y="2941"/>
                    <a:pt x="1814" y="2933"/>
                    <a:pt x="1825" y="2919"/>
                  </a:cubicBezTo>
                  <a:cubicBezTo>
                    <a:pt x="1831" y="2919"/>
                    <a:pt x="1836" y="2916"/>
                    <a:pt x="1842" y="2916"/>
                  </a:cubicBezTo>
                  <a:lnTo>
                    <a:pt x="1876" y="2907"/>
                  </a:lnTo>
                  <a:cubicBezTo>
                    <a:pt x="1884" y="2905"/>
                    <a:pt x="1890" y="2902"/>
                    <a:pt x="1898" y="2902"/>
                  </a:cubicBezTo>
                  <a:cubicBezTo>
                    <a:pt x="1907" y="2905"/>
                    <a:pt x="1918" y="2907"/>
                    <a:pt x="1927" y="2907"/>
                  </a:cubicBezTo>
                  <a:cubicBezTo>
                    <a:pt x="1941" y="2905"/>
                    <a:pt x="1955" y="2899"/>
                    <a:pt x="1966" y="2890"/>
                  </a:cubicBezTo>
                  <a:cubicBezTo>
                    <a:pt x="1975" y="2888"/>
                    <a:pt x="1980" y="2882"/>
                    <a:pt x="1989" y="2876"/>
                  </a:cubicBezTo>
                  <a:cubicBezTo>
                    <a:pt x="1994" y="2874"/>
                    <a:pt x="2000" y="2868"/>
                    <a:pt x="2006" y="2868"/>
                  </a:cubicBezTo>
                  <a:cubicBezTo>
                    <a:pt x="2003" y="2874"/>
                    <a:pt x="2000" y="2876"/>
                    <a:pt x="1997" y="2882"/>
                  </a:cubicBezTo>
                  <a:cubicBezTo>
                    <a:pt x="1977" y="2902"/>
                    <a:pt x="1952" y="2916"/>
                    <a:pt x="1921" y="2919"/>
                  </a:cubicBezTo>
                  <a:cubicBezTo>
                    <a:pt x="1946" y="2919"/>
                    <a:pt x="1972" y="2907"/>
                    <a:pt x="1991" y="2890"/>
                  </a:cubicBezTo>
                  <a:cubicBezTo>
                    <a:pt x="1997" y="2885"/>
                    <a:pt x="2003" y="2876"/>
                    <a:pt x="2008" y="2868"/>
                  </a:cubicBezTo>
                  <a:lnTo>
                    <a:pt x="2011" y="2868"/>
                  </a:lnTo>
                  <a:cubicBezTo>
                    <a:pt x="2020" y="2865"/>
                    <a:pt x="2025" y="2862"/>
                    <a:pt x="2034" y="2859"/>
                  </a:cubicBezTo>
                  <a:cubicBezTo>
                    <a:pt x="2048" y="2859"/>
                    <a:pt x="2059" y="2857"/>
                    <a:pt x="2073" y="2851"/>
                  </a:cubicBezTo>
                  <a:cubicBezTo>
                    <a:pt x="2087" y="2845"/>
                    <a:pt x="2099" y="2840"/>
                    <a:pt x="2107" y="2828"/>
                  </a:cubicBezTo>
                  <a:lnTo>
                    <a:pt x="2110" y="2828"/>
                  </a:lnTo>
                  <a:cubicBezTo>
                    <a:pt x="2121" y="2823"/>
                    <a:pt x="2130" y="2815"/>
                    <a:pt x="2141" y="2809"/>
                  </a:cubicBezTo>
                  <a:cubicBezTo>
                    <a:pt x="2152" y="2804"/>
                    <a:pt x="2164" y="2800"/>
                    <a:pt x="2172" y="2795"/>
                  </a:cubicBezTo>
                  <a:lnTo>
                    <a:pt x="2178" y="2795"/>
                  </a:lnTo>
                  <a:cubicBezTo>
                    <a:pt x="2192" y="2797"/>
                    <a:pt x="2206" y="2797"/>
                    <a:pt x="2217" y="2795"/>
                  </a:cubicBezTo>
                  <a:cubicBezTo>
                    <a:pt x="2231" y="2789"/>
                    <a:pt x="2245" y="2780"/>
                    <a:pt x="2254" y="2772"/>
                  </a:cubicBezTo>
                  <a:cubicBezTo>
                    <a:pt x="2265" y="2764"/>
                    <a:pt x="2274" y="2752"/>
                    <a:pt x="2279" y="2738"/>
                  </a:cubicBezTo>
                  <a:lnTo>
                    <a:pt x="2276" y="2735"/>
                  </a:lnTo>
                  <a:cubicBezTo>
                    <a:pt x="2282" y="2732"/>
                    <a:pt x="2291" y="2730"/>
                    <a:pt x="2296" y="2724"/>
                  </a:cubicBezTo>
                  <a:lnTo>
                    <a:pt x="2299" y="2721"/>
                  </a:lnTo>
                  <a:cubicBezTo>
                    <a:pt x="2293" y="2721"/>
                    <a:pt x="2291" y="2713"/>
                    <a:pt x="2291" y="2707"/>
                  </a:cubicBezTo>
                  <a:lnTo>
                    <a:pt x="2299" y="2707"/>
                  </a:lnTo>
                  <a:lnTo>
                    <a:pt x="2299" y="2721"/>
                  </a:lnTo>
                  <a:cubicBezTo>
                    <a:pt x="2308" y="2716"/>
                    <a:pt x="2313" y="2707"/>
                    <a:pt x="2322" y="2701"/>
                  </a:cubicBezTo>
                  <a:lnTo>
                    <a:pt x="2324" y="2704"/>
                  </a:lnTo>
                  <a:cubicBezTo>
                    <a:pt x="2339" y="2699"/>
                    <a:pt x="2347" y="2690"/>
                    <a:pt x="2355" y="2679"/>
                  </a:cubicBezTo>
                  <a:cubicBezTo>
                    <a:pt x="2361" y="2676"/>
                    <a:pt x="2364" y="2670"/>
                    <a:pt x="2370" y="2668"/>
                  </a:cubicBezTo>
                  <a:lnTo>
                    <a:pt x="2370" y="2670"/>
                  </a:lnTo>
                  <a:cubicBezTo>
                    <a:pt x="2364" y="2682"/>
                    <a:pt x="2355" y="2693"/>
                    <a:pt x="2344" y="2699"/>
                  </a:cubicBezTo>
                  <a:cubicBezTo>
                    <a:pt x="2358" y="2693"/>
                    <a:pt x="2370" y="2682"/>
                    <a:pt x="2375" y="2668"/>
                  </a:cubicBezTo>
                  <a:lnTo>
                    <a:pt x="2378" y="2665"/>
                  </a:lnTo>
                  <a:lnTo>
                    <a:pt x="2381" y="2665"/>
                  </a:lnTo>
                  <a:cubicBezTo>
                    <a:pt x="2384" y="2665"/>
                    <a:pt x="2387" y="2662"/>
                    <a:pt x="2387" y="2662"/>
                  </a:cubicBezTo>
                  <a:cubicBezTo>
                    <a:pt x="2395" y="2656"/>
                    <a:pt x="2401" y="2648"/>
                    <a:pt x="2409" y="2642"/>
                  </a:cubicBezTo>
                  <a:cubicBezTo>
                    <a:pt x="2415" y="2637"/>
                    <a:pt x="2418" y="2631"/>
                    <a:pt x="2426" y="2625"/>
                  </a:cubicBezTo>
                  <a:cubicBezTo>
                    <a:pt x="2426" y="2625"/>
                    <a:pt x="2429" y="2628"/>
                    <a:pt x="2429" y="2625"/>
                  </a:cubicBezTo>
                  <a:cubicBezTo>
                    <a:pt x="2434" y="2625"/>
                    <a:pt x="2440" y="2622"/>
                    <a:pt x="2446" y="2622"/>
                  </a:cubicBezTo>
                  <a:cubicBezTo>
                    <a:pt x="2460" y="2620"/>
                    <a:pt x="2471" y="2614"/>
                    <a:pt x="2482" y="2606"/>
                  </a:cubicBezTo>
                  <a:cubicBezTo>
                    <a:pt x="2494" y="2597"/>
                    <a:pt x="2502" y="2586"/>
                    <a:pt x="2505" y="2572"/>
                  </a:cubicBezTo>
                  <a:cubicBezTo>
                    <a:pt x="2507" y="2565"/>
                    <a:pt x="2511" y="2558"/>
                    <a:pt x="2513" y="2552"/>
                  </a:cubicBezTo>
                  <a:cubicBezTo>
                    <a:pt x="2512" y="2552"/>
                    <a:pt x="2511" y="2552"/>
                    <a:pt x="2511" y="2552"/>
                  </a:cubicBezTo>
                  <a:cubicBezTo>
                    <a:pt x="2511" y="2551"/>
                    <a:pt x="2512" y="2551"/>
                    <a:pt x="2513" y="2550"/>
                  </a:cubicBezTo>
                  <a:cubicBezTo>
                    <a:pt x="2513" y="2549"/>
                    <a:pt x="2513" y="2547"/>
                    <a:pt x="2513" y="2546"/>
                  </a:cubicBezTo>
                  <a:lnTo>
                    <a:pt x="2513" y="2543"/>
                  </a:lnTo>
                  <a:cubicBezTo>
                    <a:pt x="2516" y="2541"/>
                    <a:pt x="2519" y="2541"/>
                    <a:pt x="2522" y="2538"/>
                  </a:cubicBezTo>
                  <a:lnTo>
                    <a:pt x="2519" y="2538"/>
                  </a:lnTo>
                  <a:cubicBezTo>
                    <a:pt x="2519" y="2535"/>
                    <a:pt x="2522" y="2535"/>
                    <a:pt x="2522" y="2538"/>
                  </a:cubicBezTo>
                  <a:cubicBezTo>
                    <a:pt x="2528" y="2532"/>
                    <a:pt x="2533" y="2527"/>
                    <a:pt x="2536" y="2521"/>
                  </a:cubicBezTo>
                  <a:cubicBezTo>
                    <a:pt x="2547" y="2518"/>
                    <a:pt x="2559" y="2510"/>
                    <a:pt x="2570" y="2501"/>
                  </a:cubicBezTo>
                  <a:cubicBezTo>
                    <a:pt x="2578" y="2490"/>
                    <a:pt x="2587" y="2479"/>
                    <a:pt x="2590" y="2467"/>
                  </a:cubicBezTo>
                  <a:cubicBezTo>
                    <a:pt x="2590" y="2465"/>
                    <a:pt x="2593" y="2465"/>
                    <a:pt x="2593" y="2462"/>
                  </a:cubicBezTo>
                  <a:lnTo>
                    <a:pt x="2593" y="2459"/>
                  </a:lnTo>
                  <a:lnTo>
                    <a:pt x="2587" y="2456"/>
                  </a:lnTo>
                  <a:cubicBezTo>
                    <a:pt x="2590" y="2448"/>
                    <a:pt x="2590" y="2439"/>
                    <a:pt x="2590" y="2431"/>
                  </a:cubicBezTo>
                  <a:cubicBezTo>
                    <a:pt x="2590" y="2422"/>
                    <a:pt x="2587" y="2414"/>
                    <a:pt x="2584" y="2405"/>
                  </a:cubicBezTo>
                  <a:cubicBezTo>
                    <a:pt x="2587" y="2405"/>
                    <a:pt x="2595" y="2408"/>
                    <a:pt x="2598" y="2408"/>
                  </a:cubicBezTo>
                  <a:lnTo>
                    <a:pt x="2601" y="2408"/>
                  </a:lnTo>
                  <a:cubicBezTo>
                    <a:pt x="2601" y="2411"/>
                    <a:pt x="2598" y="2414"/>
                    <a:pt x="2598" y="2417"/>
                  </a:cubicBezTo>
                  <a:lnTo>
                    <a:pt x="2604" y="2417"/>
                  </a:lnTo>
                  <a:cubicBezTo>
                    <a:pt x="2604" y="2419"/>
                    <a:pt x="2601" y="2419"/>
                    <a:pt x="2598" y="2422"/>
                  </a:cubicBezTo>
                  <a:lnTo>
                    <a:pt x="2598" y="2450"/>
                  </a:lnTo>
                  <a:cubicBezTo>
                    <a:pt x="2601" y="2445"/>
                    <a:pt x="2609" y="2442"/>
                    <a:pt x="2612" y="2436"/>
                  </a:cubicBezTo>
                  <a:cubicBezTo>
                    <a:pt x="2621" y="2428"/>
                    <a:pt x="2624" y="2414"/>
                    <a:pt x="2632" y="2405"/>
                  </a:cubicBezTo>
                  <a:lnTo>
                    <a:pt x="2638" y="2405"/>
                  </a:lnTo>
                  <a:cubicBezTo>
                    <a:pt x="2646" y="2402"/>
                    <a:pt x="2657" y="2397"/>
                    <a:pt x="2663" y="2391"/>
                  </a:cubicBezTo>
                  <a:cubicBezTo>
                    <a:pt x="2674" y="2386"/>
                    <a:pt x="2686" y="2374"/>
                    <a:pt x="2694" y="2363"/>
                  </a:cubicBezTo>
                  <a:cubicBezTo>
                    <a:pt x="2703" y="2346"/>
                    <a:pt x="2708" y="2326"/>
                    <a:pt x="2705" y="2307"/>
                  </a:cubicBezTo>
                  <a:cubicBezTo>
                    <a:pt x="2711" y="2298"/>
                    <a:pt x="2711" y="2290"/>
                    <a:pt x="2717" y="2284"/>
                  </a:cubicBezTo>
                  <a:lnTo>
                    <a:pt x="2719" y="2287"/>
                  </a:lnTo>
                  <a:cubicBezTo>
                    <a:pt x="2736" y="2278"/>
                    <a:pt x="2748" y="2264"/>
                    <a:pt x="2756" y="2247"/>
                  </a:cubicBezTo>
                  <a:cubicBezTo>
                    <a:pt x="2758" y="2245"/>
                    <a:pt x="2763" y="2245"/>
                    <a:pt x="2763" y="2248"/>
                  </a:cubicBezTo>
                  <a:cubicBezTo>
                    <a:pt x="2768" y="2238"/>
                    <a:pt x="2771" y="2228"/>
                    <a:pt x="2773" y="2216"/>
                  </a:cubicBezTo>
                  <a:cubicBezTo>
                    <a:pt x="2776" y="2208"/>
                    <a:pt x="2776" y="2199"/>
                    <a:pt x="2776" y="2188"/>
                  </a:cubicBezTo>
                  <a:lnTo>
                    <a:pt x="2793" y="2154"/>
                  </a:lnTo>
                  <a:cubicBezTo>
                    <a:pt x="2796" y="2151"/>
                    <a:pt x="2793" y="2143"/>
                    <a:pt x="2796" y="2140"/>
                  </a:cubicBezTo>
                  <a:cubicBezTo>
                    <a:pt x="2798" y="2140"/>
                    <a:pt x="2804" y="2137"/>
                    <a:pt x="2807" y="2134"/>
                  </a:cubicBezTo>
                  <a:cubicBezTo>
                    <a:pt x="2804" y="2134"/>
                    <a:pt x="2804" y="2132"/>
                    <a:pt x="2801" y="2129"/>
                  </a:cubicBezTo>
                  <a:cubicBezTo>
                    <a:pt x="2801" y="2126"/>
                    <a:pt x="2807" y="2123"/>
                    <a:pt x="2807" y="2120"/>
                  </a:cubicBezTo>
                  <a:lnTo>
                    <a:pt x="2804" y="2118"/>
                  </a:lnTo>
                  <a:cubicBezTo>
                    <a:pt x="2813" y="2115"/>
                    <a:pt x="2818" y="2118"/>
                    <a:pt x="2824" y="2126"/>
                  </a:cubicBezTo>
                  <a:cubicBezTo>
                    <a:pt x="2830" y="2120"/>
                    <a:pt x="2832" y="2118"/>
                    <a:pt x="2835" y="2112"/>
                  </a:cubicBezTo>
                  <a:cubicBezTo>
                    <a:pt x="2844" y="2101"/>
                    <a:pt x="2846" y="2087"/>
                    <a:pt x="2846" y="2072"/>
                  </a:cubicBezTo>
                  <a:cubicBezTo>
                    <a:pt x="2848" y="2069"/>
                    <a:pt x="2849" y="2066"/>
                    <a:pt x="2849" y="2063"/>
                  </a:cubicBezTo>
                  <a:cubicBezTo>
                    <a:pt x="2848" y="2064"/>
                    <a:pt x="2846" y="2064"/>
                    <a:pt x="2844" y="2064"/>
                  </a:cubicBezTo>
                  <a:cubicBezTo>
                    <a:pt x="2844" y="2061"/>
                    <a:pt x="2846" y="2058"/>
                    <a:pt x="2846" y="2056"/>
                  </a:cubicBezTo>
                  <a:cubicBezTo>
                    <a:pt x="2843" y="2053"/>
                    <a:pt x="2839" y="2051"/>
                    <a:pt x="2835" y="2053"/>
                  </a:cubicBezTo>
                  <a:cubicBezTo>
                    <a:pt x="2838" y="2047"/>
                    <a:pt x="2838" y="2041"/>
                    <a:pt x="2838" y="2039"/>
                  </a:cubicBezTo>
                  <a:cubicBezTo>
                    <a:pt x="2841" y="2039"/>
                    <a:pt x="2844" y="2041"/>
                    <a:pt x="2846" y="2041"/>
                  </a:cubicBezTo>
                  <a:cubicBezTo>
                    <a:pt x="2846" y="2039"/>
                    <a:pt x="2846" y="2039"/>
                    <a:pt x="2844" y="2036"/>
                  </a:cubicBezTo>
                  <a:lnTo>
                    <a:pt x="2844" y="2030"/>
                  </a:lnTo>
                  <a:cubicBezTo>
                    <a:pt x="2844" y="2027"/>
                    <a:pt x="2844" y="2022"/>
                    <a:pt x="2846" y="2019"/>
                  </a:cubicBezTo>
                  <a:cubicBezTo>
                    <a:pt x="2846" y="2016"/>
                    <a:pt x="2849" y="2016"/>
                    <a:pt x="2849" y="2013"/>
                  </a:cubicBezTo>
                  <a:cubicBezTo>
                    <a:pt x="2858" y="2008"/>
                    <a:pt x="2866" y="1999"/>
                    <a:pt x="2875" y="1991"/>
                  </a:cubicBezTo>
                  <a:cubicBezTo>
                    <a:pt x="2877" y="1988"/>
                    <a:pt x="2875" y="1985"/>
                    <a:pt x="2877" y="1982"/>
                  </a:cubicBezTo>
                  <a:lnTo>
                    <a:pt x="2869" y="1982"/>
                  </a:lnTo>
                  <a:cubicBezTo>
                    <a:pt x="2866" y="1979"/>
                    <a:pt x="2866" y="1977"/>
                    <a:pt x="2866" y="1974"/>
                  </a:cubicBezTo>
                  <a:cubicBezTo>
                    <a:pt x="2868" y="1972"/>
                    <a:pt x="2874" y="1971"/>
                    <a:pt x="2877" y="1973"/>
                  </a:cubicBezTo>
                  <a:lnTo>
                    <a:pt x="2877" y="1974"/>
                  </a:lnTo>
                  <a:lnTo>
                    <a:pt x="2877" y="1973"/>
                  </a:lnTo>
                  <a:cubicBezTo>
                    <a:pt x="2879" y="1973"/>
                    <a:pt x="2880" y="1975"/>
                    <a:pt x="2880" y="1977"/>
                  </a:cubicBezTo>
                  <a:cubicBezTo>
                    <a:pt x="2892" y="1960"/>
                    <a:pt x="2897" y="1943"/>
                    <a:pt x="2897" y="1923"/>
                  </a:cubicBezTo>
                  <a:cubicBezTo>
                    <a:pt x="2897" y="1912"/>
                    <a:pt x="2892" y="1900"/>
                    <a:pt x="2889" y="1892"/>
                  </a:cubicBezTo>
                  <a:cubicBezTo>
                    <a:pt x="2889" y="1886"/>
                    <a:pt x="2892" y="1883"/>
                    <a:pt x="2894" y="1878"/>
                  </a:cubicBezTo>
                  <a:lnTo>
                    <a:pt x="2894" y="1875"/>
                  </a:lnTo>
                  <a:lnTo>
                    <a:pt x="2886" y="1883"/>
                  </a:lnTo>
                  <a:cubicBezTo>
                    <a:pt x="2883" y="1883"/>
                    <a:pt x="2880" y="1883"/>
                    <a:pt x="2880" y="1886"/>
                  </a:cubicBezTo>
                  <a:cubicBezTo>
                    <a:pt x="2880" y="1884"/>
                    <a:pt x="2882" y="1884"/>
                    <a:pt x="2884" y="1882"/>
                  </a:cubicBezTo>
                  <a:lnTo>
                    <a:pt x="2886" y="1883"/>
                  </a:lnTo>
                  <a:lnTo>
                    <a:pt x="2884" y="1882"/>
                  </a:lnTo>
                  <a:cubicBezTo>
                    <a:pt x="2885" y="1882"/>
                    <a:pt x="2885" y="1881"/>
                    <a:pt x="2886" y="1881"/>
                  </a:cubicBezTo>
                  <a:cubicBezTo>
                    <a:pt x="2886" y="1878"/>
                    <a:pt x="2880" y="1875"/>
                    <a:pt x="2880" y="1872"/>
                  </a:cubicBezTo>
                  <a:cubicBezTo>
                    <a:pt x="2886" y="1869"/>
                    <a:pt x="2894" y="1864"/>
                    <a:pt x="2894" y="1861"/>
                  </a:cubicBezTo>
                  <a:cubicBezTo>
                    <a:pt x="2894" y="1861"/>
                    <a:pt x="2897" y="1864"/>
                    <a:pt x="2897" y="1866"/>
                  </a:cubicBezTo>
                  <a:cubicBezTo>
                    <a:pt x="2900" y="1861"/>
                    <a:pt x="2897" y="1852"/>
                    <a:pt x="2900" y="1847"/>
                  </a:cubicBezTo>
                  <a:lnTo>
                    <a:pt x="2909" y="1847"/>
                  </a:lnTo>
                  <a:cubicBezTo>
                    <a:pt x="2914" y="1844"/>
                    <a:pt x="2917" y="1841"/>
                    <a:pt x="2923" y="1835"/>
                  </a:cubicBezTo>
                  <a:cubicBezTo>
                    <a:pt x="2924" y="1833"/>
                    <a:pt x="2926" y="1831"/>
                    <a:pt x="2927" y="1829"/>
                  </a:cubicBezTo>
                  <a:cubicBezTo>
                    <a:pt x="2923" y="1830"/>
                    <a:pt x="2919" y="1830"/>
                    <a:pt x="2917" y="1833"/>
                  </a:cubicBezTo>
                  <a:cubicBezTo>
                    <a:pt x="2917" y="1827"/>
                    <a:pt x="2920" y="1821"/>
                    <a:pt x="2923" y="1816"/>
                  </a:cubicBezTo>
                  <a:cubicBezTo>
                    <a:pt x="2920" y="1819"/>
                    <a:pt x="2920" y="1816"/>
                    <a:pt x="2920" y="1816"/>
                  </a:cubicBezTo>
                  <a:cubicBezTo>
                    <a:pt x="2914" y="1813"/>
                    <a:pt x="2920" y="1813"/>
                    <a:pt x="2923" y="1813"/>
                  </a:cubicBezTo>
                  <a:cubicBezTo>
                    <a:pt x="2920" y="1804"/>
                    <a:pt x="2909" y="1796"/>
                    <a:pt x="2923" y="1790"/>
                  </a:cubicBezTo>
                  <a:lnTo>
                    <a:pt x="2925" y="1793"/>
                  </a:lnTo>
                  <a:lnTo>
                    <a:pt x="2923" y="1793"/>
                  </a:lnTo>
                  <a:lnTo>
                    <a:pt x="2930" y="1823"/>
                  </a:lnTo>
                  <a:cubicBezTo>
                    <a:pt x="2933" y="1815"/>
                    <a:pt x="2935" y="1808"/>
                    <a:pt x="2937" y="1799"/>
                  </a:cubicBezTo>
                  <a:cubicBezTo>
                    <a:pt x="2942" y="1788"/>
                    <a:pt x="2942" y="1773"/>
                    <a:pt x="2940" y="1759"/>
                  </a:cubicBezTo>
                  <a:lnTo>
                    <a:pt x="2934" y="1759"/>
                  </a:lnTo>
                  <a:cubicBezTo>
                    <a:pt x="2934" y="1759"/>
                    <a:pt x="2937" y="1756"/>
                    <a:pt x="2934" y="1756"/>
                  </a:cubicBezTo>
                  <a:lnTo>
                    <a:pt x="2934" y="1754"/>
                  </a:lnTo>
                  <a:cubicBezTo>
                    <a:pt x="2931" y="1745"/>
                    <a:pt x="2925" y="1737"/>
                    <a:pt x="2920" y="1728"/>
                  </a:cubicBezTo>
                  <a:cubicBezTo>
                    <a:pt x="2920" y="1720"/>
                    <a:pt x="2923" y="1711"/>
                    <a:pt x="2923" y="1703"/>
                  </a:cubicBezTo>
                  <a:cubicBezTo>
                    <a:pt x="2923" y="1697"/>
                    <a:pt x="2928" y="1692"/>
                    <a:pt x="2928" y="1683"/>
                  </a:cubicBezTo>
                  <a:lnTo>
                    <a:pt x="2928" y="1680"/>
                  </a:lnTo>
                  <a:lnTo>
                    <a:pt x="2928" y="1675"/>
                  </a:lnTo>
                  <a:cubicBezTo>
                    <a:pt x="2934" y="1661"/>
                    <a:pt x="2934" y="1646"/>
                    <a:pt x="2931" y="1632"/>
                  </a:cubicBezTo>
                  <a:lnTo>
                    <a:pt x="2928" y="1632"/>
                  </a:lnTo>
                  <a:cubicBezTo>
                    <a:pt x="2928" y="1627"/>
                    <a:pt x="2931" y="1618"/>
                    <a:pt x="2931" y="1613"/>
                  </a:cubicBezTo>
                  <a:cubicBezTo>
                    <a:pt x="2931" y="1610"/>
                    <a:pt x="2934" y="1610"/>
                    <a:pt x="2934" y="1607"/>
                  </a:cubicBezTo>
                  <a:lnTo>
                    <a:pt x="2934" y="1599"/>
                  </a:lnTo>
                  <a:lnTo>
                    <a:pt x="2934" y="1573"/>
                  </a:lnTo>
                  <a:cubicBezTo>
                    <a:pt x="2931" y="1576"/>
                    <a:pt x="2928" y="1576"/>
                    <a:pt x="2925" y="1573"/>
                  </a:cubicBezTo>
                  <a:cubicBezTo>
                    <a:pt x="2928" y="1565"/>
                    <a:pt x="2931" y="1567"/>
                    <a:pt x="2934" y="1562"/>
                  </a:cubicBezTo>
                  <a:lnTo>
                    <a:pt x="2931" y="1562"/>
                  </a:lnTo>
                  <a:lnTo>
                    <a:pt x="2931" y="1531"/>
                  </a:lnTo>
                  <a:lnTo>
                    <a:pt x="2931" y="1500"/>
                  </a:lnTo>
                  <a:cubicBezTo>
                    <a:pt x="2931" y="1497"/>
                    <a:pt x="2931" y="1494"/>
                    <a:pt x="2934" y="1494"/>
                  </a:cubicBezTo>
                  <a:lnTo>
                    <a:pt x="2934" y="1461"/>
                  </a:lnTo>
                  <a:cubicBezTo>
                    <a:pt x="2934" y="1453"/>
                    <a:pt x="2937" y="1447"/>
                    <a:pt x="2934" y="1439"/>
                  </a:cubicBezTo>
                  <a:cubicBezTo>
                    <a:pt x="2928" y="1442"/>
                    <a:pt x="2925" y="1442"/>
                    <a:pt x="2920" y="1442"/>
                  </a:cubicBezTo>
                  <a:cubicBezTo>
                    <a:pt x="2920" y="1433"/>
                    <a:pt x="2925" y="1433"/>
                    <a:pt x="2928" y="1433"/>
                  </a:cubicBezTo>
                  <a:cubicBezTo>
                    <a:pt x="2962" y="1439"/>
                    <a:pt x="2973" y="1453"/>
                    <a:pt x="2982" y="1467"/>
                  </a:cubicBezTo>
                  <a:close/>
                  <a:moveTo>
                    <a:pt x="2875" y="982"/>
                  </a:moveTo>
                  <a:cubicBezTo>
                    <a:pt x="2886" y="993"/>
                    <a:pt x="2897" y="1007"/>
                    <a:pt x="2903" y="1021"/>
                  </a:cubicBezTo>
                  <a:cubicBezTo>
                    <a:pt x="2906" y="1033"/>
                    <a:pt x="2909" y="1044"/>
                    <a:pt x="2909" y="1055"/>
                  </a:cubicBezTo>
                  <a:cubicBezTo>
                    <a:pt x="2909" y="1044"/>
                    <a:pt x="2906" y="1033"/>
                    <a:pt x="2900" y="1021"/>
                  </a:cubicBezTo>
                  <a:cubicBezTo>
                    <a:pt x="2894" y="1007"/>
                    <a:pt x="2886" y="996"/>
                    <a:pt x="2877" y="987"/>
                  </a:cubicBezTo>
                  <a:cubicBezTo>
                    <a:pt x="2872" y="982"/>
                    <a:pt x="2866" y="976"/>
                    <a:pt x="2859" y="971"/>
                  </a:cubicBezTo>
                  <a:cubicBezTo>
                    <a:pt x="2864" y="974"/>
                    <a:pt x="2869" y="978"/>
                    <a:pt x="2875" y="982"/>
                  </a:cubicBezTo>
                  <a:close/>
                  <a:moveTo>
                    <a:pt x="2528" y="466"/>
                  </a:moveTo>
                  <a:lnTo>
                    <a:pt x="2528" y="466"/>
                  </a:lnTo>
                  <a:cubicBezTo>
                    <a:pt x="2530" y="466"/>
                    <a:pt x="2530" y="466"/>
                    <a:pt x="2533" y="463"/>
                  </a:cubicBezTo>
                  <a:cubicBezTo>
                    <a:pt x="2536" y="463"/>
                    <a:pt x="2539" y="464"/>
                    <a:pt x="2540" y="467"/>
                  </a:cubicBezTo>
                  <a:cubicBezTo>
                    <a:pt x="2536" y="466"/>
                    <a:pt x="2532" y="466"/>
                    <a:pt x="2528" y="466"/>
                  </a:cubicBezTo>
                  <a:close/>
                  <a:moveTo>
                    <a:pt x="2486" y="415"/>
                  </a:moveTo>
                  <a:cubicBezTo>
                    <a:pt x="2488" y="415"/>
                    <a:pt x="2488" y="418"/>
                    <a:pt x="2491" y="418"/>
                  </a:cubicBezTo>
                  <a:lnTo>
                    <a:pt x="2491" y="426"/>
                  </a:lnTo>
                  <a:cubicBezTo>
                    <a:pt x="2490" y="425"/>
                    <a:pt x="2489" y="423"/>
                    <a:pt x="2488" y="420"/>
                  </a:cubicBezTo>
                  <a:cubicBezTo>
                    <a:pt x="2488" y="419"/>
                    <a:pt x="2487" y="417"/>
                    <a:pt x="2486" y="416"/>
                  </a:cubicBezTo>
                  <a:cubicBezTo>
                    <a:pt x="2486" y="415"/>
                    <a:pt x="2486" y="415"/>
                    <a:pt x="2486" y="415"/>
                  </a:cubicBezTo>
                  <a:close/>
                  <a:moveTo>
                    <a:pt x="768" y="212"/>
                  </a:moveTo>
                  <a:lnTo>
                    <a:pt x="765" y="209"/>
                  </a:lnTo>
                  <a:cubicBezTo>
                    <a:pt x="766" y="208"/>
                    <a:pt x="768" y="208"/>
                    <a:pt x="769" y="208"/>
                  </a:cubicBezTo>
                  <a:cubicBezTo>
                    <a:pt x="769" y="209"/>
                    <a:pt x="769" y="211"/>
                    <a:pt x="768" y="212"/>
                  </a:cubicBezTo>
                  <a:close/>
                  <a:moveTo>
                    <a:pt x="463" y="463"/>
                  </a:moveTo>
                  <a:lnTo>
                    <a:pt x="460" y="463"/>
                  </a:lnTo>
                  <a:cubicBezTo>
                    <a:pt x="461" y="462"/>
                    <a:pt x="462" y="461"/>
                    <a:pt x="464" y="462"/>
                  </a:cubicBezTo>
                  <a:cubicBezTo>
                    <a:pt x="464" y="462"/>
                    <a:pt x="463" y="462"/>
                    <a:pt x="463" y="463"/>
                  </a:cubicBezTo>
                  <a:close/>
                  <a:moveTo>
                    <a:pt x="412" y="502"/>
                  </a:moveTo>
                  <a:cubicBezTo>
                    <a:pt x="411" y="503"/>
                    <a:pt x="409" y="504"/>
                    <a:pt x="408" y="505"/>
                  </a:cubicBezTo>
                  <a:cubicBezTo>
                    <a:pt x="408" y="504"/>
                    <a:pt x="409" y="503"/>
                    <a:pt x="410" y="502"/>
                  </a:cubicBezTo>
                  <a:cubicBezTo>
                    <a:pt x="412" y="499"/>
                    <a:pt x="415" y="499"/>
                    <a:pt x="421" y="499"/>
                  </a:cubicBezTo>
                  <a:lnTo>
                    <a:pt x="421" y="501"/>
                  </a:lnTo>
                  <a:cubicBezTo>
                    <a:pt x="418" y="502"/>
                    <a:pt x="415" y="502"/>
                    <a:pt x="412" y="502"/>
                  </a:cubicBezTo>
                  <a:close/>
                  <a:moveTo>
                    <a:pt x="195" y="777"/>
                  </a:moveTo>
                  <a:cubicBezTo>
                    <a:pt x="195" y="776"/>
                    <a:pt x="195" y="776"/>
                    <a:pt x="195" y="776"/>
                  </a:cubicBezTo>
                  <a:lnTo>
                    <a:pt x="195" y="776"/>
                  </a:lnTo>
                  <a:cubicBezTo>
                    <a:pt x="195" y="776"/>
                    <a:pt x="195" y="776"/>
                    <a:pt x="195" y="777"/>
                  </a:cubicBezTo>
                  <a:close/>
                  <a:moveTo>
                    <a:pt x="193" y="783"/>
                  </a:moveTo>
                  <a:cubicBezTo>
                    <a:pt x="194" y="781"/>
                    <a:pt x="195" y="780"/>
                    <a:pt x="195" y="777"/>
                  </a:cubicBezTo>
                  <a:cubicBezTo>
                    <a:pt x="194" y="779"/>
                    <a:pt x="194" y="781"/>
                    <a:pt x="193" y="783"/>
                  </a:cubicBezTo>
                  <a:close/>
                  <a:moveTo>
                    <a:pt x="192" y="785"/>
                  </a:moveTo>
                  <a:cubicBezTo>
                    <a:pt x="193" y="784"/>
                    <a:pt x="193" y="784"/>
                    <a:pt x="193" y="783"/>
                  </a:cubicBezTo>
                  <a:cubicBezTo>
                    <a:pt x="193" y="784"/>
                    <a:pt x="193" y="784"/>
                    <a:pt x="192" y="785"/>
                  </a:cubicBezTo>
                  <a:close/>
                  <a:moveTo>
                    <a:pt x="185" y="831"/>
                  </a:moveTo>
                  <a:cubicBezTo>
                    <a:pt x="185" y="831"/>
                    <a:pt x="185" y="832"/>
                    <a:pt x="184" y="832"/>
                  </a:cubicBezTo>
                  <a:cubicBezTo>
                    <a:pt x="176" y="835"/>
                    <a:pt x="169" y="839"/>
                    <a:pt x="161" y="844"/>
                  </a:cubicBezTo>
                  <a:cubicBezTo>
                    <a:pt x="160" y="845"/>
                    <a:pt x="158" y="846"/>
                    <a:pt x="156" y="848"/>
                  </a:cubicBezTo>
                  <a:cubicBezTo>
                    <a:pt x="165" y="839"/>
                    <a:pt x="175" y="832"/>
                    <a:pt x="187" y="827"/>
                  </a:cubicBezTo>
                  <a:cubicBezTo>
                    <a:pt x="185" y="828"/>
                    <a:pt x="185" y="829"/>
                    <a:pt x="185" y="831"/>
                  </a:cubicBezTo>
                  <a:close/>
                  <a:moveTo>
                    <a:pt x="29" y="1218"/>
                  </a:moveTo>
                  <a:lnTo>
                    <a:pt x="29" y="1219"/>
                  </a:lnTo>
                  <a:cubicBezTo>
                    <a:pt x="26" y="1213"/>
                    <a:pt x="26" y="1207"/>
                    <a:pt x="26" y="1205"/>
                  </a:cubicBezTo>
                  <a:cubicBezTo>
                    <a:pt x="26" y="1205"/>
                    <a:pt x="27" y="1204"/>
                    <a:pt x="28" y="1204"/>
                  </a:cubicBezTo>
                  <a:cubicBezTo>
                    <a:pt x="28" y="1209"/>
                    <a:pt x="28" y="1214"/>
                    <a:pt x="29" y="1218"/>
                  </a:cubicBezTo>
                  <a:close/>
                  <a:moveTo>
                    <a:pt x="3" y="1357"/>
                  </a:moveTo>
                  <a:cubicBezTo>
                    <a:pt x="5" y="1362"/>
                    <a:pt x="7" y="1366"/>
                    <a:pt x="9" y="1370"/>
                  </a:cubicBezTo>
                  <a:cubicBezTo>
                    <a:pt x="5" y="1366"/>
                    <a:pt x="3" y="1361"/>
                    <a:pt x="3" y="1357"/>
                  </a:cubicBezTo>
                  <a:close/>
                  <a:moveTo>
                    <a:pt x="29" y="1548"/>
                  </a:moveTo>
                  <a:lnTo>
                    <a:pt x="31" y="1551"/>
                  </a:lnTo>
                  <a:lnTo>
                    <a:pt x="24" y="1543"/>
                  </a:lnTo>
                  <a:lnTo>
                    <a:pt x="24" y="1543"/>
                  </a:lnTo>
                  <a:cubicBezTo>
                    <a:pt x="25" y="1544"/>
                    <a:pt x="27" y="1546"/>
                    <a:pt x="29" y="1547"/>
                  </a:cubicBezTo>
                  <a:lnTo>
                    <a:pt x="29" y="1548"/>
                  </a:lnTo>
                  <a:close/>
                  <a:moveTo>
                    <a:pt x="23" y="1542"/>
                  </a:moveTo>
                  <a:lnTo>
                    <a:pt x="20" y="1545"/>
                  </a:lnTo>
                  <a:cubicBezTo>
                    <a:pt x="20" y="1545"/>
                    <a:pt x="22" y="1544"/>
                    <a:pt x="24" y="1543"/>
                  </a:cubicBezTo>
                  <a:lnTo>
                    <a:pt x="23" y="1542"/>
                  </a:lnTo>
                  <a:close/>
                  <a:moveTo>
                    <a:pt x="26" y="1539"/>
                  </a:moveTo>
                  <a:lnTo>
                    <a:pt x="20" y="1534"/>
                  </a:lnTo>
                  <a:lnTo>
                    <a:pt x="20" y="1539"/>
                  </a:lnTo>
                  <a:cubicBezTo>
                    <a:pt x="21" y="1541"/>
                    <a:pt x="23" y="1542"/>
                    <a:pt x="24" y="1543"/>
                  </a:cubicBezTo>
                  <a:cubicBezTo>
                    <a:pt x="25" y="1542"/>
                    <a:pt x="26" y="1540"/>
                    <a:pt x="26" y="1539"/>
                  </a:cubicBezTo>
                  <a:close/>
                  <a:moveTo>
                    <a:pt x="31" y="1570"/>
                  </a:moveTo>
                  <a:cubicBezTo>
                    <a:pt x="31" y="1569"/>
                    <a:pt x="31" y="1567"/>
                    <a:pt x="32" y="1566"/>
                  </a:cubicBezTo>
                  <a:cubicBezTo>
                    <a:pt x="32" y="1567"/>
                    <a:pt x="31" y="1569"/>
                    <a:pt x="31" y="1570"/>
                  </a:cubicBezTo>
                  <a:close/>
                  <a:moveTo>
                    <a:pt x="26" y="1593"/>
                  </a:moveTo>
                  <a:cubicBezTo>
                    <a:pt x="20" y="1601"/>
                    <a:pt x="15" y="1613"/>
                    <a:pt x="15" y="1624"/>
                  </a:cubicBezTo>
                  <a:cubicBezTo>
                    <a:pt x="12" y="1635"/>
                    <a:pt x="12" y="1646"/>
                    <a:pt x="17" y="1658"/>
                  </a:cubicBezTo>
                  <a:cubicBezTo>
                    <a:pt x="21" y="1669"/>
                    <a:pt x="26" y="1679"/>
                    <a:pt x="32" y="1688"/>
                  </a:cubicBezTo>
                  <a:cubicBezTo>
                    <a:pt x="32" y="1689"/>
                    <a:pt x="31" y="1690"/>
                    <a:pt x="31" y="1692"/>
                  </a:cubicBezTo>
                  <a:cubicBezTo>
                    <a:pt x="26" y="1686"/>
                    <a:pt x="23" y="1675"/>
                    <a:pt x="17" y="1666"/>
                  </a:cubicBezTo>
                  <a:cubicBezTo>
                    <a:pt x="12" y="1666"/>
                    <a:pt x="9" y="1663"/>
                    <a:pt x="3" y="1661"/>
                  </a:cubicBezTo>
                  <a:cubicBezTo>
                    <a:pt x="0" y="1649"/>
                    <a:pt x="3" y="1638"/>
                    <a:pt x="6" y="1627"/>
                  </a:cubicBezTo>
                  <a:cubicBezTo>
                    <a:pt x="9" y="1615"/>
                    <a:pt x="15" y="1604"/>
                    <a:pt x="20" y="1596"/>
                  </a:cubicBezTo>
                  <a:cubicBezTo>
                    <a:pt x="29" y="1584"/>
                    <a:pt x="37" y="1576"/>
                    <a:pt x="46" y="1567"/>
                  </a:cubicBezTo>
                  <a:cubicBezTo>
                    <a:pt x="37" y="1576"/>
                    <a:pt x="31" y="1582"/>
                    <a:pt x="26" y="1593"/>
                  </a:cubicBezTo>
                  <a:close/>
                  <a:moveTo>
                    <a:pt x="72" y="1855"/>
                  </a:moveTo>
                  <a:lnTo>
                    <a:pt x="71" y="1855"/>
                  </a:lnTo>
                  <a:lnTo>
                    <a:pt x="71" y="1852"/>
                  </a:lnTo>
                  <a:cubicBezTo>
                    <a:pt x="71" y="1853"/>
                    <a:pt x="72" y="1854"/>
                    <a:pt x="72" y="1855"/>
                  </a:cubicBezTo>
                  <a:close/>
                  <a:moveTo>
                    <a:pt x="325" y="2391"/>
                  </a:moveTo>
                  <a:cubicBezTo>
                    <a:pt x="323" y="2390"/>
                    <a:pt x="321" y="2389"/>
                    <a:pt x="319" y="2388"/>
                  </a:cubicBezTo>
                  <a:cubicBezTo>
                    <a:pt x="321" y="2389"/>
                    <a:pt x="323" y="2390"/>
                    <a:pt x="325" y="2391"/>
                  </a:cubicBezTo>
                  <a:close/>
                  <a:moveTo>
                    <a:pt x="311" y="2383"/>
                  </a:moveTo>
                  <a:cubicBezTo>
                    <a:pt x="310" y="2382"/>
                    <a:pt x="308" y="2381"/>
                    <a:pt x="307" y="2381"/>
                  </a:cubicBezTo>
                  <a:cubicBezTo>
                    <a:pt x="309" y="2382"/>
                    <a:pt x="311" y="2384"/>
                    <a:pt x="314" y="2386"/>
                  </a:cubicBezTo>
                  <a:cubicBezTo>
                    <a:pt x="316" y="2386"/>
                    <a:pt x="317" y="2387"/>
                    <a:pt x="319" y="2388"/>
                  </a:cubicBezTo>
                  <a:cubicBezTo>
                    <a:pt x="316" y="2386"/>
                    <a:pt x="313" y="2385"/>
                    <a:pt x="311" y="2383"/>
                  </a:cubicBezTo>
                  <a:close/>
                  <a:moveTo>
                    <a:pt x="296" y="2371"/>
                  </a:moveTo>
                  <a:cubicBezTo>
                    <a:pt x="300" y="2375"/>
                    <a:pt x="303" y="2378"/>
                    <a:pt x="307" y="2381"/>
                  </a:cubicBezTo>
                  <a:cubicBezTo>
                    <a:pt x="303" y="2378"/>
                    <a:pt x="300" y="2375"/>
                    <a:pt x="296" y="2371"/>
                  </a:cubicBezTo>
                  <a:close/>
                  <a:moveTo>
                    <a:pt x="283" y="2354"/>
                  </a:moveTo>
                  <a:cubicBezTo>
                    <a:pt x="287" y="2361"/>
                    <a:pt x="291" y="2367"/>
                    <a:pt x="296" y="2371"/>
                  </a:cubicBezTo>
                  <a:cubicBezTo>
                    <a:pt x="291" y="2366"/>
                    <a:pt x="287" y="2360"/>
                    <a:pt x="283" y="2354"/>
                  </a:cubicBezTo>
                  <a:close/>
                  <a:moveTo>
                    <a:pt x="826" y="2812"/>
                  </a:moveTo>
                  <a:cubicBezTo>
                    <a:pt x="825" y="2810"/>
                    <a:pt x="823" y="2808"/>
                    <a:pt x="821" y="2806"/>
                  </a:cubicBezTo>
                  <a:cubicBezTo>
                    <a:pt x="822" y="2806"/>
                    <a:pt x="823" y="2806"/>
                    <a:pt x="823" y="2806"/>
                  </a:cubicBezTo>
                  <a:cubicBezTo>
                    <a:pt x="824" y="2808"/>
                    <a:pt x="825" y="2810"/>
                    <a:pt x="826" y="2812"/>
                  </a:cubicBezTo>
                  <a:close/>
                  <a:moveTo>
                    <a:pt x="1195" y="2942"/>
                  </a:moveTo>
                  <a:cubicBezTo>
                    <a:pt x="1199" y="2943"/>
                    <a:pt x="1201" y="2948"/>
                    <a:pt x="1205" y="2950"/>
                  </a:cubicBezTo>
                  <a:cubicBezTo>
                    <a:pt x="1202" y="2950"/>
                    <a:pt x="1200" y="2950"/>
                    <a:pt x="1194" y="2953"/>
                  </a:cubicBezTo>
                  <a:cubicBezTo>
                    <a:pt x="1191" y="2950"/>
                    <a:pt x="1191" y="2947"/>
                    <a:pt x="1188" y="2944"/>
                  </a:cubicBezTo>
                  <a:cubicBezTo>
                    <a:pt x="1189" y="2944"/>
                    <a:pt x="1189" y="2943"/>
                    <a:pt x="1190" y="2943"/>
                  </a:cubicBezTo>
                  <a:cubicBezTo>
                    <a:pt x="1192" y="2943"/>
                    <a:pt x="1193" y="2943"/>
                    <a:pt x="1195" y="2942"/>
                  </a:cubicBezTo>
                  <a:close/>
                  <a:moveTo>
                    <a:pt x="1517" y="2958"/>
                  </a:moveTo>
                  <a:lnTo>
                    <a:pt x="1517" y="2955"/>
                  </a:lnTo>
                  <a:cubicBezTo>
                    <a:pt x="1518" y="2955"/>
                    <a:pt x="1519" y="2956"/>
                    <a:pt x="1520" y="2956"/>
                  </a:cubicBezTo>
                  <a:lnTo>
                    <a:pt x="1517" y="2958"/>
                  </a:lnTo>
                  <a:close/>
                  <a:moveTo>
                    <a:pt x="1642" y="2969"/>
                  </a:moveTo>
                  <a:cubicBezTo>
                    <a:pt x="1655" y="2967"/>
                    <a:pt x="1668" y="2962"/>
                    <a:pt x="1682" y="2954"/>
                  </a:cubicBezTo>
                  <a:cubicBezTo>
                    <a:pt x="1683" y="2954"/>
                    <a:pt x="1685" y="2953"/>
                    <a:pt x="1687" y="2953"/>
                  </a:cubicBezTo>
                  <a:cubicBezTo>
                    <a:pt x="1692" y="2953"/>
                    <a:pt x="1692" y="2953"/>
                    <a:pt x="1684" y="2961"/>
                  </a:cubicBezTo>
                  <a:cubicBezTo>
                    <a:pt x="1673" y="2969"/>
                    <a:pt x="1659" y="2975"/>
                    <a:pt x="1642" y="2975"/>
                  </a:cubicBezTo>
                  <a:cubicBezTo>
                    <a:pt x="1629" y="2975"/>
                    <a:pt x="1617" y="2973"/>
                    <a:pt x="1607" y="2968"/>
                  </a:cubicBezTo>
                  <a:cubicBezTo>
                    <a:pt x="1618" y="2971"/>
                    <a:pt x="1630" y="2971"/>
                    <a:pt x="1642" y="2969"/>
                  </a:cubicBezTo>
                  <a:close/>
                  <a:moveTo>
                    <a:pt x="2513" y="2550"/>
                  </a:moveTo>
                  <a:cubicBezTo>
                    <a:pt x="2516" y="2548"/>
                    <a:pt x="2520" y="2546"/>
                    <a:pt x="2522" y="2543"/>
                  </a:cubicBezTo>
                  <a:cubicBezTo>
                    <a:pt x="2520" y="2548"/>
                    <a:pt x="2517" y="2551"/>
                    <a:pt x="2513" y="2552"/>
                  </a:cubicBezTo>
                  <a:cubicBezTo>
                    <a:pt x="2513" y="2551"/>
                    <a:pt x="2513" y="2551"/>
                    <a:pt x="2513" y="2550"/>
                  </a:cubicBezTo>
                  <a:close/>
                  <a:moveTo>
                    <a:pt x="2762" y="2250"/>
                  </a:moveTo>
                  <a:lnTo>
                    <a:pt x="2759" y="2253"/>
                  </a:lnTo>
                  <a:cubicBezTo>
                    <a:pt x="2760" y="2251"/>
                    <a:pt x="2761" y="2249"/>
                    <a:pt x="2763" y="2248"/>
                  </a:cubicBezTo>
                  <a:cubicBezTo>
                    <a:pt x="2763" y="2248"/>
                    <a:pt x="2762" y="2249"/>
                    <a:pt x="2762" y="2250"/>
                  </a:cubicBezTo>
                  <a:close/>
                  <a:moveTo>
                    <a:pt x="2849" y="2058"/>
                  </a:moveTo>
                  <a:cubicBezTo>
                    <a:pt x="2849" y="2058"/>
                    <a:pt x="2848" y="2057"/>
                    <a:pt x="2846" y="2056"/>
                  </a:cubicBezTo>
                  <a:cubicBezTo>
                    <a:pt x="2846" y="2056"/>
                    <a:pt x="2846" y="2056"/>
                    <a:pt x="2846" y="2055"/>
                  </a:cubicBezTo>
                  <a:lnTo>
                    <a:pt x="2852" y="2055"/>
                  </a:lnTo>
                  <a:cubicBezTo>
                    <a:pt x="2852" y="2061"/>
                    <a:pt x="2851" y="2063"/>
                    <a:pt x="2849" y="2063"/>
                  </a:cubicBezTo>
                  <a:cubicBezTo>
                    <a:pt x="2849" y="2061"/>
                    <a:pt x="2849" y="2060"/>
                    <a:pt x="2849" y="2058"/>
                  </a:cubicBezTo>
                  <a:close/>
                  <a:moveTo>
                    <a:pt x="2930" y="1823"/>
                  </a:moveTo>
                  <a:lnTo>
                    <a:pt x="2931" y="1827"/>
                  </a:lnTo>
                  <a:cubicBezTo>
                    <a:pt x="2930" y="1828"/>
                    <a:pt x="2928" y="1828"/>
                    <a:pt x="2927" y="1829"/>
                  </a:cubicBezTo>
                  <a:cubicBezTo>
                    <a:pt x="2928" y="1827"/>
                    <a:pt x="2929" y="1825"/>
                    <a:pt x="2930" y="1823"/>
                  </a:cubicBezTo>
                  <a:close/>
                  <a:moveTo>
                    <a:pt x="316" y="2371"/>
                  </a:moveTo>
                  <a:cubicBezTo>
                    <a:pt x="319" y="2369"/>
                    <a:pt x="322" y="2369"/>
                    <a:pt x="325" y="2369"/>
                  </a:cubicBezTo>
                  <a:cubicBezTo>
                    <a:pt x="325" y="2371"/>
                    <a:pt x="325" y="2369"/>
                    <a:pt x="322" y="2374"/>
                  </a:cubicBezTo>
                  <a:lnTo>
                    <a:pt x="325" y="2374"/>
                  </a:lnTo>
                  <a:lnTo>
                    <a:pt x="322" y="2377"/>
                  </a:lnTo>
                  <a:cubicBezTo>
                    <a:pt x="319" y="2377"/>
                    <a:pt x="319" y="2374"/>
                    <a:pt x="316" y="2371"/>
                  </a:cubicBezTo>
                  <a:close/>
                  <a:moveTo>
                    <a:pt x="74" y="1830"/>
                  </a:moveTo>
                  <a:lnTo>
                    <a:pt x="77" y="1830"/>
                  </a:lnTo>
                  <a:lnTo>
                    <a:pt x="77" y="1824"/>
                  </a:lnTo>
                  <a:cubicBezTo>
                    <a:pt x="77" y="1824"/>
                    <a:pt x="74" y="1827"/>
                    <a:pt x="74" y="1830"/>
                  </a:cubicBezTo>
                  <a:cubicBezTo>
                    <a:pt x="74" y="1827"/>
                    <a:pt x="71" y="1830"/>
                    <a:pt x="71" y="1827"/>
                  </a:cubicBezTo>
                  <a:lnTo>
                    <a:pt x="71" y="1824"/>
                  </a:lnTo>
                  <a:cubicBezTo>
                    <a:pt x="68" y="1824"/>
                    <a:pt x="68" y="1821"/>
                    <a:pt x="68" y="1821"/>
                  </a:cubicBezTo>
                  <a:lnTo>
                    <a:pt x="62" y="1816"/>
                  </a:lnTo>
                  <a:cubicBezTo>
                    <a:pt x="65" y="1813"/>
                    <a:pt x="65" y="1816"/>
                    <a:pt x="68" y="1816"/>
                  </a:cubicBezTo>
                  <a:lnTo>
                    <a:pt x="85" y="1824"/>
                  </a:lnTo>
                  <a:lnTo>
                    <a:pt x="88" y="1824"/>
                  </a:lnTo>
                  <a:cubicBezTo>
                    <a:pt x="91" y="1827"/>
                    <a:pt x="88" y="1833"/>
                    <a:pt x="88" y="1838"/>
                  </a:cubicBezTo>
                  <a:cubicBezTo>
                    <a:pt x="85" y="1838"/>
                    <a:pt x="85" y="1835"/>
                    <a:pt x="82" y="1835"/>
                  </a:cubicBezTo>
                  <a:cubicBezTo>
                    <a:pt x="79" y="1838"/>
                    <a:pt x="77" y="1838"/>
                    <a:pt x="71" y="1841"/>
                  </a:cubicBezTo>
                  <a:cubicBezTo>
                    <a:pt x="71" y="1838"/>
                    <a:pt x="74" y="1835"/>
                    <a:pt x="74" y="1833"/>
                  </a:cubicBezTo>
                  <a:cubicBezTo>
                    <a:pt x="77" y="1830"/>
                    <a:pt x="74" y="1830"/>
                    <a:pt x="74" y="1830"/>
                  </a:cubicBezTo>
                  <a:close/>
                  <a:moveTo>
                    <a:pt x="74" y="1841"/>
                  </a:moveTo>
                  <a:cubicBezTo>
                    <a:pt x="74" y="1844"/>
                    <a:pt x="74" y="1847"/>
                    <a:pt x="71" y="1850"/>
                  </a:cubicBezTo>
                  <a:cubicBezTo>
                    <a:pt x="71" y="1844"/>
                    <a:pt x="71" y="1841"/>
                    <a:pt x="74" y="1841"/>
                  </a:cubicBezTo>
                  <a:close/>
                  <a:moveTo>
                    <a:pt x="299" y="638"/>
                  </a:moveTo>
                  <a:cubicBezTo>
                    <a:pt x="299" y="636"/>
                    <a:pt x="300" y="636"/>
                    <a:pt x="301" y="636"/>
                  </a:cubicBezTo>
                  <a:cubicBezTo>
                    <a:pt x="300" y="637"/>
                    <a:pt x="300" y="637"/>
                    <a:pt x="300" y="638"/>
                  </a:cubicBezTo>
                  <a:cubicBezTo>
                    <a:pt x="300" y="638"/>
                    <a:pt x="300" y="638"/>
                    <a:pt x="299" y="638"/>
                  </a:cubicBezTo>
                  <a:close/>
                  <a:moveTo>
                    <a:pt x="302" y="638"/>
                  </a:moveTo>
                  <a:lnTo>
                    <a:pt x="305" y="638"/>
                  </a:lnTo>
                  <a:lnTo>
                    <a:pt x="308" y="638"/>
                  </a:lnTo>
                  <a:lnTo>
                    <a:pt x="305" y="640"/>
                  </a:lnTo>
                  <a:cubicBezTo>
                    <a:pt x="303" y="638"/>
                    <a:pt x="302" y="638"/>
                    <a:pt x="300" y="638"/>
                  </a:cubicBezTo>
                  <a:cubicBezTo>
                    <a:pt x="299" y="641"/>
                    <a:pt x="297" y="645"/>
                    <a:pt x="297" y="649"/>
                  </a:cubicBezTo>
                  <a:cubicBezTo>
                    <a:pt x="294" y="655"/>
                    <a:pt x="291" y="657"/>
                    <a:pt x="288" y="663"/>
                  </a:cubicBezTo>
                  <a:lnTo>
                    <a:pt x="285" y="663"/>
                  </a:lnTo>
                  <a:cubicBezTo>
                    <a:pt x="288" y="655"/>
                    <a:pt x="288" y="652"/>
                    <a:pt x="288" y="646"/>
                  </a:cubicBezTo>
                  <a:cubicBezTo>
                    <a:pt x="294" y="629"/>
                    <a:pt x="302" y="618"/>
                    <a:pt x="319" y="612"/>
                  </a:cubicBezTo>
                  <a:cubicBezTo>
                    <a:pt x="322" y="612"/>
                    <a:pt x="322" y="615"/>
                    <a:pt x="322" y="615"/>
                  </a:cubicBezTo>
                  <a:lnTo>
                    <a:pt x="319" y="612"/>
                  </a:lnTo>
                  <a:cubicBezTo>
                    <a:pt x="311" y="618"/>
                    <a:pt x="305" y="627"/>
                    <a:pt x="301" y="636"/>
                  </a:cubicBezTo>
                  <a:cubicBezTo>
                    <a:pt x="301" y="637"/>
                    <a:pt x="302" y="638"/>
                    <a:pt x="302" y="638"/>
                  </a:cubicBezTo>
                  <a:close/>
                  <a:moveTo>
                    <a:pt x="384" y="542"/>
                  </a:moveTo>
                  <a:lnTo>
                    <a:pt x="384" y="539"/>
                  </a:lnTo>
                  <a:lnTo>
                    <a:pt x="387" y="539"/>
                  </a:lnTo>
                  <a:cubicBezTo>
                    <a:pt x="387" y="539"/>
                    <a:pt x="387" y="542"/>
                    <a:pt x="384" y="542"/>
                  </a:cubicBezTo>
                  <a:close/>
                  <a:moveTo>
                    <a:pt x="71" y="1703"/>
                  </a:moveTo>
                  <a:lnTo>
                    <a:pt x="68" y="1703"/>
                  </a:lnTo>
                  <a:cubicBezTo>
                    <a:pt x="71" y="1703"/>
                    <a:pt x="71" y="1700"/>
                    <a:pt x="71" y="1703"/>
                  </a:cubicBezTo>
                  <a:close/>
                  <a:moveTo>
                    <a:pt x="57" y="1703"/>
                  </a:moveTo>
                  <a:lnTo>
                    <a:pt x="57" y="1706"/>
                  </a:lnTo>
                  <a:cubicBezTo>
                    <a:pt x="54" y="1706"/>
                    <a:pt x="57" y="1706"/>
                    <a:pt x="57" y="1703"/>
                  </a:cubicBezTo>
                  <a:close/>
                  <a:moveTo>
                    <a:pt x="57" y="1576"/>
                  </a:moveTo>
                  <a:cubicBezTo>
                    <a:pt x="53" y="1580"/>
                    <a:pt x="49" y="1584"/>
                    <a:pt x="44" y="1587"/>
                  </a:cubicBezTo>
                  <a:cubicBezTo>
                    <a:pt x="48" y="1581"/>
                    <a:pt x="50" y="1577"/>
                    <a:pt x="54" y="1573"/>
                  </a:cubicBezTo>
                  <a:cubicBezTo>
                    <a:pt x="54" y="1573"/>
                    <a:pt x="57" y="1573"/>
                    <a:pt x="57" y="1576"/>
                  </a:cubicBezTo>
                  <a:close/>
                  <a:moveTo>
                    <a:pt x="96" y="1875"/>
                  </a:moveTo>
                  <a:cubicBezTo>
                    <a:pt x="96" y="1875"/>
                    <a:pt x="99" y="1872"/>
                    <a:pt x="99" y="1869"/>
                  </a:cubicBezTo>
                  <a:cubicBezTo>
                    <a:pt x="99" y="1869"/>
                    <a:pt x="102" y="1872"/>
                    <a:pt x="99" y="1872"/>
                  </a:cubicBezTo>
                  <a:cubicBezTo>
                    <a:pt x="102" y="1875"/>
                    <a:pt x="99" y="1875"/>
                    <a:pt x="96" y="1875"/>
                  </a:cubicBezTo>
                  <a:close/>
                  <a:moveTo>
                    <a:pt x="277" y="2253"/>
                  </a:moveTo>
                  <a:lnTo>
                    <a:pt x="283" y="2253"/>
                  </a:lnTo>
                  <a:cubicBezTo>
                    <a:pt x="283" y="2253"/>
                    <a:pt x="285" y="2253"/>
                    <a:pt x="283" y="2253"/>
                  </a:cubicBezTo>
                  <a:cubicBezTo>
                    <a:pt x="280" y="2253"/>
                    <a:pt x="277" y="2256"/>
                    <a:pt x="274" y="2256"/>
                  </a:cubicBezTo>
                  <a:cubicBezTo>
                    <a:pt x="277" y="2256"/>
                    <a:pt x="277" y="2253"/>
                    <a:pt x="277" y="2253"/>
                  </a:cubicBezTo>
                  <a:close/>
                  <a:moveTo>
                    <a:pt x="277" y="2222"/>
                  </a:moveTo>
                  <a:lnTo>
                    <a:pt x="277" y="2213"/>
                  </a:lnTo>
                  <a:lnTo>
                    <a:pt x="288" y="2213"/>
                  </a:lnTo>
                  <a:lnTo>
                    <a:pt x="288" y="2242"/>
                  </a:lnTo>
                  <a:lnTo>
                    <a:pt x="299" y="2242"/>
                  </a:lnTo>
                  <a:cubicBezTo>
                    <a:pt x="299" y="2247"/>
                    <a:pt x="299" y="2250"/>
                    <a:pt x="297" y="2256"/>
                  </a:cubicBezTo>
                  <a:cubicBezTo>
                    <a:pt x="288" y="2247"/>
                    <a:pt x="283" y="2233"/>
                    <a:pt x="277" y="2222"/>
                  </a:cubicBezTo>
                  <a:close/>
                  <a:moveTo>
                    <a:pt x="367" y="2439"/>
                  </a:moveTo>
                  <a:cubicBezTo>
                    <a:pt x="367" y="2436"/>
                    <a:pt x="364" y="2433"/>
                    <a:pt x="364" y="2433"/>
                  </a:cubicBezTo>
                  <a:cubicBezTo>
                    <a:pt x="367" y="2433"/>
                    <a:pt x="367" y="2436"/>
                    <a:pt x="367" y="2439"/>
                  </a:cubicBezTo>
                  <a:close/>
                  <a:moveTo>
                    <a:pt x="395" y="2439"/>
                  </a:moveTo>
                  <a:lnTo>
                    <a:pt x="398" y="2445"/>
                  </a:lnTo>
                  <a:cubicBezTo>
                    <a:pt x="401" y="2445"/>
                    <a:pt x="404" y="2442"/>
                    <a:pt x="407" y="2442"/>
                  </a:cubicBezTo>
                  <a:lnTo>
                    <a:pt x="410" y="2445"/>
                  </a:lnTo>
                  <a:cubicBezTo>
                    <a:pt x="407" y="2448"/>
                    <a:pt x="407" y="2450"/>
                    <a:pt x="407" y="2453"/>
                  </a:cubicBezTo>
                  <a:cubicBezTo>
                    <a:pt x="398" y="2456"/>
                    <a:pt x="393" y="2450"/>
                    <a:pt x="384" y="2448"/>
                  </a:cubicBezTo>
                  <a:cubicBezTo>
                    <a:pt x="387" y="2445"/>
                    <a:pt x="390" y="2439"/>
                    <a:pt x="395" y="2439"/>
                  </a:cubicBezTo>
                  <a:close/>
                  <a:moveTo>
                    <a:pt x="915" y="2828"/>
                  </a:moveTo>
                  <a:cubicBezTo>
                    <a:pt x="920" y="2828"/>
                    <a:pt x="926" y="2826"/>
                    <a:pt x="932" y="2823"/>
                  </a:cubicBezTo>
                  <a:cubicBezTo>
                    <a:pt x="934" y="2820"/>
                    <a:pt x="934" y="2820"/>
                    <a:pt x="937" y="2823"/>
                  </a:cubicBezTo>
                  <a:lnTo>
                    <a:pt x="940" y="2820"/>
                  </a:lnTo>
                  <a:cubicBezTo>
                    <a:pt x="940" y="2823"/>
                    <a:pt x="937" y="2826"/>
                    <a:pt x="937" y="2828"/>
                  </a:cubicBezTo>
                  <a:lnTo>
                    <a:pt x="934" y="2826"/>
                  </a:lnTo>
                  <a:lnTo>
                    <a:pt x="934" y="2828"/>
                  </a:lnTo>
                  <a:cubicBezTo>
                    <a:pt x="929" y="2831"/>
                    <a:pt x="920" y="2831"/>
                    <a:pt x="915" y="2831"/>
                  </a:cubicBezTo>
                  <a:cubicBezTo>
                    <a:pt x="915" y="2831"/>
                    <a:pt x="915" y="2831"/>
                    <a:pt x="915" y="2828"/>
                  </a:cubicBezTo>
                  <a:close/>
                  <a:moveTo>
                    <a:pt x="934" y="2834"/>
                  </a:moveTo>
                  <a:cubicBezTo>
                    <a:pt x="932" y="2834"/>
                    <a:pt x="929" y="2837"/>
                    <a:pt x="926" y="2837"/>
                  </a:cubicBezTo>
                  <a:cubicBezTo>
                    <a:pt x="921" y="2837"/>
                    <a:pt x="927" y="2837"/>
                    <a:pt x="934" y="2833"/>
                  </a:cubicBezTo>
                  <a:lnTo>
                    <a:pt x="934" y="2834"/>
                  </a:lnTo>
                  <a:close/>
                  <a:moveTo>
                    <a:pt x="2759" y="779"/>
                  </a:moveTo>
                  <a:cubicBezTo>
                    <a:pt x="2762" y="781"/>
                    <a:pt x="2759" y="784"/>
                    <a:pt x="2759" y="787"/>
                  </a:cubicBezTo>
                  <a:lnTo>
                    <a:pt x="2759" y="779"/>
                  </a:lnTo>
                  <a:close/>
                  <a:moveTo>
                    <a:pt x="2917" y="1275"/>
                  </a:moveTo>
                  <a:cubicBezTo>
                    <a:pt x="2909" y="1278"/>
                    <a:pt x="2911" y="1269"/>
                    <a:pt x="2906" y="1269"/>
                  </a:cubicBezTo>
                  <a:cubicBezTo>
                    <a:pt x="2906" y="1267"/>
                    <a:pt x="2909" y="1269"/>
                    <a:pt x="2909" y="1267"/>
                  </a:cubicBezTo>
                  <a:cubicBezTo>
                    <a:pt x="2911" y="1264"/>
                    <a:pt x="2911" y="1264"/>
                    <a:pt x="2917" y="1261"/>
                  </a:cubicBezTo>
                  <a:cubicBezTo>
                    <a:pt x="2920" y="1267"/>
                    <a:pt x="2920" y="1272"/>
                    <a:pt x="2917" y="1275"/>
                  </a:cubicBezTo>
                  <a:close/>
                  <a:moveTo>
                    <a:pt x="2900" y="1275"/>
                  </a:moveTo>
                  <a:cubicBezTo>
                    <a:pt x="2900" y="1275"/>
                    <a:pt x="2900" y="1272"/>
                    <a:pt x="2900" y="1275"/>
                  </a:cubicBezTo>
                  <a:cubicBezTo>
                    <a:pt x="2906" y="1275"/>
                    <a:pt x="2911" y="1278"/>
                    <a:pt x="2914" y="1281"/>
                  </a:cubicBezTo>
                  <a:cubicBezTo>
                    <a:pt x="2909" y="1281"/>
                    <a:pt x="2903" y="1278"/>
                    <a:pt x="2900" y="1275"/>
                  </a:cubicBezTo>
                  <a:close/>
                  <a:moveTo>
                    <a:pt x="2869" y="1979"/>
                  </a:moveTo>
                  <a:cubicBezTo>
                    <a:pt x="2869" y="1980"/>
                    <a:pt x="2870" y="1980"/>
                    <a:pt x="2870" y="1980"/>
                  </a:cubicBezTo>
                  <a:cubicBezTo>
                    <a:pt x="2870" y="1981"/>
                    <a:pt x="2869" y="1981"/>
                    <a:pt x="2869" y="1979"/>
                  </a:cubicBezTo>
                  <a:close/>
                  <a:moveTo>
                    <a:pt x="2869" y="1979"/>
                  </a:moveTo>
                  <a:cubicBezTo>
                    <a:pt x="2870" y="1979"/>
                    <a:pt x="2870" y="1980"/>
                    <a:pt x="2870" y="1980"/>
                  </a:cubicBezTo>
                  <a:cubicBezTo>
                    <a:pt x="2872" y="1981"/>
                    <a:pt x="2871" y="1979"/>
                    <a:pt x="2869" y="1979"/>
                  </a:cubicBezTo>
                  <a:close/>
                  <a:moveTo>
                    <a:pt x="2945" y="1298"/>
                  </a:moveTo>
                  <a:cubicBezTo>
                    <a:pt x="2945" y="1292"/>
                    <a:pt x="2945" y="1286"/>
                    <a:pt x="2956" y="1301"/>
                  </a:cubicBezTo>
                  <a:cubicBezTo>
                    <a:pt x="2965" y="1312"/>
                    <a:pt x="2968" y="1326"/>
                    <a:pt x="2968" y="1343"/>
                  </a:cubicBezTo>
                  <a:cubicBezTo>
                    <a:pt x="2968" y="1363"/>
                    <a:pt x="2962" y="1382"/>
                    <a:pt x="2951" y="1399"/>
                  </a:cubicBezTo>
                  <a:lnTo>
                    <a:pt x="2951" y="1388"/>
                  </a:lnTo>
                  <a:cubicBezTo>
                    <a:pt x="2951" y="1379"/>
                    <a:pt x="2948" y="1371"/>
                    <a:pt x="2948" y="1363"/>
                  </a:cubicBezTo>
                  <a:lnTo>
                    <a:pt x="2948" y="1365"/>
                  </a:lnTo>
                  <a:cubicBezTo>
                    <a:pt x="2942" y="1363"/>
                    <a:pt x="2940" y="1357"/>
                    <a:pt x="2942" y="1351"/>
                  </a:cubicBezTo>
                  <a:cubicBezTo>
                    <a:pt x="2942" y="1348"/>
                    <a:pt x="2945" y="1348"/>
                    <a:pt x="2945" y="1348"/>
                  </a:cubicBezTo>
                  <a:lnTo>
                    <a:pt x="2945" y="1320"/>
                  </a:lnTo>
                  <a:cubicBezTo>
                    <a:pt x="2945" y="1317"/>
                    <a:pt x="2942" y="1312"/>
                    <a:pt x="2942" y="1306"/>
                  </a:cubicBezTo>
                  <a:cubicBezTo>
                    <a:pt x="2945" y="1303"/>
                    <a:pt x="2945" y="1301"/>
                    <a:pt x="2945" y="1298"/>
                  </a:cubicBezTo>
                  <a:close/>
                  <a:moveTo>
                    <a:pt x="2928" y="1267"/>
                  </a:moveTo>
                  <a:cubicBezTo>
                    <a:pt x="2926" y="1265"/>
                    <a:pt x="2924" y="1264"/>
                    <a:pt x="2923" y="1263"/>
                  </a:cubicBezTo>
                  <a:cubicBezTo>
                    <a:pt x="2928" y="1262"/>
                    <a:pt x="2928" y="1264"/>
                    <a:pt x="2928" y="1267"/>
                  </a:cubicBezTo>
                  <a:close/>
                  <a:moveTo>
                    <a:pt x="2561" y="494"/>
                  </a:moveTo>
                  <a:cubicBezTo>
                    <a:pt x="2573" y="499"/>
                    <a:pt x="2581" y="508"/>
                    <a:pt x="2587" y="519"/>
                  </a:cubicBezTo>
                  <a:cubicBezTo>
                    <a:pt x="2590" y="519"/>
                    <a:pt x="2590" y="525"/>
                    <a:pt x="2593" y="525"/>
                  </a:cubicBezTo>
                  <a:cubicBezTo>
                    <a:pt x="2593" y="528"/>
                    <a:pt x="2593" y="525"/>
                    <a:pt x="2590" y="525"/>
                  </a:cubicBezTo>
                  <a:lnTo>
                    <a:pt x="2593" y="528"/>
                  </a:lnTo>
                  <a:cubicBezTo>
                    <a:pt x="2595" y="533"/>
                    <a:pt x="2598" y="542"/>
                    <a:pt x="2598" y="547"/>
                  </a:cubicBezTo>
                  <a:cubicBezTo>
                    <a:pt x="2595" y="542"/>
                    <a:pt x="2590" y="536"/>
                    <a:pt x="2584" y="533"/>
                  </a:cubicBezTo>
                  <a:cubicBezTo>
                    <a:pt x="2584" y="539"/>
                    <a:pt x="2581" y="550"/>
                    <a:pt x="2581" y="556"/>
                  </a:cubicBezTo>
                  <a:cubicBezTo>
                    <a:pt x="2573" y="550"/>
                    <a:pt x="2573" y="536"/>
                    <a:pt x="2576" y="522"/>
                  </a:cubicBezTo>
                  <a:lnTo>
                    <a:pt x="2573" y="525"/>
                  </a:lnTo>
                  <a:lnTo>
                    <a:pt x="2556" y="499"/>
                  </a:lnTo>
                  <a:cubicBezTo>
                    <a:pt x="2556" y="505"/>
                    <a:pt x="2553" y="505"/>
                    <a:pt x="2550" y="508"/>
                  </a:cubicBezTo>
                  <a:cubicBezTo>
                    <a:pt x="2547" y="505"/>
                    <a:pt x="2542" y="508"/>
                    <a:pt x="2539" y="508"/>
                  </a:cubicBezTo>
                  <a:cubicBezTo>
                    <a:pt x="2536" y="505"/>
                    <a:pt x="2539" y="499"/>
                    <a:pt x="2547" y="499"/>
                  </a:cubicBezTo>
                  <a:cubicBezTo>
                    <a:pt x="2550" y="499"/>
                    <a:pt x="2553" y="497"/>
                    <a:pt x="2556" y="497"/>
                  </a:cubicBezTo>
                  <a:lnTo>
                    <a:pt x="2553" y="494"/>
                  </a:lnTo>
                  <a:cubicBezTo>
                    <a:pt x="2553" y="494"/>
                    <a:pt x="2550" y="494"/>
                    <a:pt x="2547" y="491"/>
                  </a:cubicBezTo>
                  <a:cubicBezTo>
                    <a:pt x="2556" y="491"/>
                    <a:pt x="2559" y="491"/>
                    <a:pt x="2561" y="494"/>
                  </a:cubicBezTo>
                  <a:close/>
                  <a:moveTo>
                    <a:pt x="2548" y="487"/>
                  </a:moveTo>
                  <a:cubicBezTo>
                    <a:pt x="2548" y="487"/>
                    <a:pt x="2549" y="487"/>
                    <a:pt x="2550" y="488"/>
                  </a:cubicBezTo>
                  <a:cubicBezTo>
                    <a:pt x="2549" y="487"/>
                    <a:pt x="2549" y="487"/>
                    <a:pt x="2548" y="487"/>
                  </a:cubicBezTo>
                  <a:close/>
                  <a:moveTo>
                    <a:pt x="2347" y="310"/>
                  </a:moveTo>
                  <a:cubicBezTo>
                    <a:pt x="2344" y="308"/>
                    <a:pt x="2339" y="305"/>
                    <a:pt x="2336" y="302"/>
                  </a:cubicBezTo>
                  <a:cubicBezTo>
                    <a:pt x="2344" y="302"/>
                    <a:pt x="2344" y="305"/>
                    <a:pt x="2347" y="310"/>
                  </a:cubicBezTo>
                  <a:close/>
                  <a:moveTo>
                    <a:pt x="2079" y="158"/>
                  </a:moveTo>
                  <a:cubicBezTo>
                    <a:pt x="2076" y="158"/>
                    <a:pt x="2076" y="155"/>
                    <a:pt x="2076" y="155"/>
                  </a:cubicBezTo>
                  <a:lnTo>
                    <a:pt x="2073" y="158"/>
                  </a:lnTo>
                  <a:cubicBezTo>
                    <a:pt x="2073" y="158"/>
                    <a:pt x="2070" y="155"/>
                    <a:pt x="2068" y="155"/>
                  </a:cubicBezTo>
                  <a:cubicBezTo>
                    <a:pt x="2068" y="152"/>
                    <a:pt x="2065" y="150"/>
                    <a:pt x="2065" y="147"/>
                  </a:cubicBezTo>
                  <a:cubicBezTo>
                    <a:pt x="2068" y="150"/>
                    <a:pt x="2079" y="147"/>
                    <a:pt x="2079" y="158"/>
                  </a:cubicBezTo>
                  <a:close/>
                  <a:moveTo>
                    <a:pt x="2056" y="144"/>
                  </a:moveTo>
                  <a:cubicBezTo>
                    <a:pt x="2048" y="144"/>
                    <a:pt x="2048" y="138"/>
                    <a:pt x="2048" y="133"/>
                  </a:cubicBezTo>
                  <a:cubicBezTo>
                    <a:pt x="2054" y="130"/>
                    <a:pt x="2056" y="138"/>
                    <a:pt x="2056" y="144"/>
                  </a:cubicBezTo>
                  <a:close/>
                  <a:moveTo>
                    <a:pt x="1817" y="59"/>
                  </a:moveTo>
                  <a:cubicBezTo>
                    <a:pt x="1822" y="62"/>
                    <a:pt x="1822" y="68"/>
                    <a:pt x="1828" y="71"/>
                  </a:cubicBezTo>
                  <a:lnTo>
                    <a:pt x="1825" y="71"/>
                  </a:lnTo>
                  <a:cubicBezTo>
                    <a:pt x="1817" y="68"/>
                    <a:pt x="1808" y="68"/>
                    <a:pt x="1797" y="65"/>
                  </a:cubicBezTo>
                  <a:cubicBezTo>
                    <a:pt x="1794" y="65"/>
                    <a:pt x="1788" y="65"/>
                    <a:pt x="1786" y="62"/>
                  </a:cubicBezTo>
                  <a:cubicBezTo>
                    <a:pt x="1797" y="59"/>
                    <a:pt x="1805" y="59"/>
                    <a:pt x="1817" y="59"/>
                  </a:cubicBezTo>
                  <a:close/>
                  <a:moveTo>
                    <a:pt x="1783" y="65"/>
                  </a:moveTo>
                  <a:cubicBezTo>
                    <a:pt x="1777" y="65"/>
                    <a:pt x="1769" y="62"/>
                    <a:pt x="1763" y="59"/>
                  </a:cubicBezTo>
                  <a:cubicBezTo>
                    <a:pt x="1771" y="57"/>
                    <a:pt x="1780" y="54"/>
                    <a:pt x="1783" y="65"/>
                  </a:cubicBezTo>
                  <a:close/>
                  <a:moveTo>
                    <a:pt x="1681" y="45"/>
                  </a:moveTo>
                  <a:lnTo>
                    <a:pt x="1673" y="45"/>
                  </a:lnTo>
                  <a:cubicBezTo>
                    <a:pt x="1670" y="42"/>
                    <a:pt x="1664" y="40"/>
                    <a:pt x="1661" y="40"/>
                  </a:cubicBezTo>
                  <a:cubicBezTo>
                    <a:pt x="1667" y="40"/>
                    <a:pt x="1675" y="42"/>
                    <a:pt x="1681" y="45"/>
                  </a:cubicBezTo>
                  <a:close/>
                  <a:moveTo>
                    <a:pt x="1611" y="40"/>
                  </a:moveTo>
                  <a:cubicBezTo>
                    <a:pt x="1611" y="40"/>
                    <a:pt x="1611" y="42"/>
                    <a:pt x="1608" y="42"/>
                  </a:cubicBezTo>
                  <a:cubicBezTo>
                    <a:pt x="1609" y="40"/>
                    <a:pt x="1611" y="38"/>
                    <a:pt x="1614" y="37"/>
                  </a:cubicBezTo>
                  <a:cubicBezTo>
                    <a:pt x="1612" y="38"/>
                    <a:pt x="1611" y="39"/>
                    <a:pt x="1611" y="40"/>
                  </a:cubicBezTo>
                  <a:close/>
                  <a:moveTo>
                    <a:pt x="1315" y="31"/>
                  </a:moveTo>
                  <a:cubicBezTo>
                    <a:pt x="1315" y="25"/>
                    <a:pt x="1318" y="23"/>
                    <a:pt x="1321" y="17"/>
                  </a:cubicBezTo>
                  <a:cubicBezTo>
                    <a:pt x="1332" y="14"/>
                    <a:pt x="1344" y="17"/>
                    <a:pt x="1355" y="20"/>
                  </a:cubicBezTo>
                  <a:cubicBezTo>
                    <a:pt x="1366" y="23"/>
                    <a:pt x="1377" y="28"/>
                    <a:pt x="1386" y="34"/>
                  </a:cubicBezTo>
                  <a:cubicBezTo>
                    <a:pt x="1389" y="34"/>
                    <a:pt x="1391" y="37"/>
                    <a:pt x="1391" y="37"/>
                  </a:cubicBezTo>
                  <a:lnTo>
                    <a:pt x="1377" y="37"/>
                  </a:lnTo>
                  <a:cubicBezTo>
                    <a:pt x="1376" y="35"/>
                    <a:pt x="1374" y="34"/>
                    <a:pt x="1373" y="33"/>
                  </a:cubicBezTo>
                  <a:lnTo>
                    <a:pt x="1372" y="34"/>
                  </a:lnTo>
                  <a:cubicBezTo>
                    <a:pt x="1352" y="23"/>
                    <a:pt x="1327" y="25"/>
                    <a:pt x="1307" y="42"/>
                  </a:cubicBezTo>
                  <a:lnTo>
                    <a:pt x="1304" y="45"/>
                  </a:lnTo>
                  <a:cubicBezTo>
                    <a:pt x="1298" y="45"/>
                    <a:pt x="1296" y="42"/>
                    <a:pt x="1290" y="45"/>
                  </a:cubicBezTo>
                  <a:cubicBezTo>
                    <a:pt x="1298" y="40"/>
                    <a:pt x="1307" y="34"/>
                    <a:pt x="1315" y="31"/>
                  </a:cubicBezTo>
                  <a:close/>
                  <a:moveTo>
                    <a:pt x="1358" y="25"/>
                  </a:moveTo>
                  <a:cubicBezTo>
                    <a:pt x="1363" y="28"/>
                    <a:pt x="1369" y="28"/>
                    <a:pt x="1375" y="31"/>
                  </a:cubicBezTo>
                  <a:lnTo>
                    <a:pt x="1373" y="33"/>
                  </a:lnTo>
                  <a:cubicBezTo>
                    <a:pt x="1368" y="30"/>
                    <a:pt x="1362" y="28"/>
                    <a:pt x="1358" y="25"/>
                  </a:cubicBezTo>
                  <a:close/>
                  <a:moveTo>
                    <a:pt x="1033" y="93"/>
                  </a:moveTo>
                  <a:cubicBezTo>
                    <a:pt x="1047" y="88"/>
                    <a:pt x="1061" y="90"/>
                    <a:pt x="1075" y="93"/>
                  </a:cubicBezTo>
                  <a:lnTo>
                    <a:pt x="1070" y="93"/>
                  </a:lnTo>
                  <a:cubicBezTo>
                    <a:pt x="1047" y="88"/>
                    <a:pt x="1022" y="96"/>
                    <a:pt x="1008" y="113"/>
                  </a:cubicBezTo>
                  <a:cubicBezTo>
                    <a:pt x="1005" y="113"/>
                    <a:pt x="1002" y="116"/>
                    <a:pt x="999" y="116"/>
                  </a:cubicBezTo>
                  <a:cubicBezTo>
                    <a:pt x="1008" y="104"/>
                    <a:pt x="1019" y="96"/>
                    <a:pt x="1033" y="93"/>
                  </a:cubicBezTo>
                  <a:close/>
                  <a:moveTo>
                    <a:pt x="545" y="378"/>
                  </a:moveTo>
                  <a:cubicBezTo>
                    <a:pt x="542" y="381"/>
                    <a:pt x="542" y="381"/>
                    <a:pt x="539" y="381"/>
                  </a:cubicBezTo>
                  <a:cubicBezTo>
                    <a:pt x="542" y="381"/>
                    <a:pt x="542" y="378"/>
                    <a:pt x="545" y="378"/>
                  </a:cubicBezTo>
                  <a:close/>
                  <a:moveTo>
                    <a:pt x="508" y="395"/>
                  </a:moveTo>
                  <a:cubicBezTo>
                    <a:pt x="516" y="387"/>
                    <a:pt x="526" y="382"/>
                    <a:pt x="537" y="381"/>
                  </a:cubicBezTo>
                  <a:cubicBezTo>
                    <a:pt x="535" y="381"/>
                    <a:pt x="534" y="382"/>
                    <a:pt x="534" y="384"/>
                  </a:cubicBezTo>
                  <a:lnTo>
                    <a:pt x="534" y="387"/>
                  </a:lnTo>
                  <a:cubicBezTo>
                    <a:pt x="517" y="392"/>
                    <a:pt x="505" y="406"/>
                    <a:pt x="500" y="420"/>
                  </a:cubicBezTo>
                  <a:lnTo>
                    <a:pt x="494" y="420"/>
                  </a:lnTo>
                  <a:cubicBezTo>
                    <a:pt x="497" y="412"/>
                    <a:pt x="503" y="403"/>
                    <a:pt x="508" y="395"/>
                  </a:cubicBezTo>
                  <a:close/>
                  <a:moveTo>
                    <a:pt x="390" y="530"/>
                  </a:moveTo>
                  <a:lnTo>
                    <a:pt x="384" y="536"/>
                  </a:lnTo>
                  <a:lnTo>
                    <a:pt x="384" y="533"/>
                  </a:lnTo>
                  <a:cubicBezTo>
                    <a:pt x="387" y="533"/>
                    <a:pt x="387" y="530"/>
                    <a:pt x="390" y="530"/>
                  </a:cubicBezTo>
                  <a:close/>
                  <a:moveTo>
                    <a:pt x="325" y="584"/>
                  </a:moveTo>
                  <a:cubicBezTo>
                    <a:pt x="331" y="584"/>
                    <a:pt x="336" y="590"/>
                    <a:pt x="336" y="595"/>
                  </a:cubicBezTo>
                  <a:cubicBezTo>
                    <a:pt x="336" y="595"/>
                    <a:pt x="333" y="595"/>
                    <a:pt x="331" y="598"/>
                  </a:cubicBezTo>
                  <a:cubicBezTo>
                    <a:pt x="331" y="601"/>
                    <a:pt x="331" y="601"/>
                    <a:pt x="328" y="604"/>
                  </a:cubicBezTo>
                  <a:cubicBezTo>
                    <a:pt x="322" y="601"/>
                    <a:pt x="319" y="595"/>
                    <a:pt x="319" y="590"/>
                  </a:cubicBezTo>
                  <a:cubicBezTo>
                    <a:pt x="322" y="587"/>
                    <a:pt x="322" y="584"/>
                    <a:pt x="325" y="584"/>
                  </a:cubicBezTo>
                  <a:close/>
                  <a:moveTo>
                    <a:pt x="280" y="632"/>
                  </a:moveTo>
                  <a:lnTo>
                    <a:pt x="285" y="632"/>
                  </a:lnTo>
                  <a:cubicBezTo>
                    <a:pt x="285" y="635"/>
                    <a:pt x="283" y="638"/>
                    <a:pt x="283" y="638"/>
                  </a:cubicBezTo>
                  <a:cubicBezTo>
                    <a:pt x="280" y="638"/>
                    <a:pt x="283" y="638"/>
                    <a:pt x="283" y="638"/>
                  </a:cubicBezTo>
                  <a:cubicBezTo>
                    <a:pt x="283" y="635"/>
                    <a:pt x="280" y="635"/>
                    <a:pt x="280" y="632"/>
                  </a:cubicBezTo>
                  <a:close/>
                  <a:moveTo>
                    <a:pt x="150" y="875"/>
                  </a:moveTo>
                  <a:cubicBezTo>
                    <a:pt x="153" y="872"/>
                    <a:pt x="156" y="866"/>
                    <a:pt x="161" y="863"/>
                  </a:cubicBezTo>
                  <a:cubicBezTo>
                    <a:pt x="161" y="863"/>
                    <a:pt x="161" y="860"/>
                    <a:pt x="158" y="860"/>
                  </a:cubicBezTo>
                  <a:cubicBezTo>
                    <a:pt x="158" y="855"/>
                    <a:pt x="158" y="849"/>
                    <a:pt x="164" y="849"/>
                  </a:cubicBezTo>
                  <a:cubicBezTo>
                    <a:pt x="164" y="852"/>
                    <a:pt x="170" y="855"/>
                    <a:pt x="170" y="858"/>
                  </a:cubicBezTo>
                  <a:lnTo>
                    <a:pt x="161" y="883"/>
                  </a:lnTo>
                  <a:cubicBezTo>
                    <a:pt x="156" y="889"/>
                    <a:pt x="150" y="897"/>
                    <a:pt x="147" y="906"/>
                  </a:cubicBezTo>
                  <a:cubicBezTo>
                    <a:pt x="144" y="908"/>
                    <a:pt x="144" y="914"/>
                    <a:pt x="141" y="917"/>
                  </a:cubicBezTo>
                  <a:cubicBezTo>
                    <a:pt x="139" y="911"/>
                    <a:pt x="139" y="906"/>
                    <a:pt x="136" y="903"/>
                  </a:cubicBezTo>
                  <a:cubicBezTo>
                    <a:pt x="141" y="891"/>
                    <a:pt x="144" y="880"/>
                    <a:pt x="150" y="875"/>
                  </a:cubicBezTo>
                  <a:close/>
                  <a:moveTo>
                    <a:pt x="62" y="1151"/>
                  </a:moveTo>
                  <a:lnTo>
                    <a:pt x="62" y="1157"/>
                  </a:lnTo>
                  <a:cubicBezTo>
                    <a:pt x="60" y="1168"/>
                    <a:pt x="60" y="1182"/>
                    <a:pt x="60" y="1193"/>
                  </a:cubicBezTo>
                  <a:cubicBezTo>
                    <a:pt x="60" y="1199"/>
                    <a:pt x="54" y="1207"/>
                    <a:pt x="54" y="1213"/>
                  </a:cubicBezTo>
                  <a:cubicBezTo>
                    <a:pt x="51" y="1207"/>
                    <a:pt x="51" y="1198"/>
                    <a:pt x="51" y="1190"/>
                  </a:cubicBezTo>
                  <a:cubicBezTo>
                    <a:pt x="51" y="1181"/>
                    <a:pt x="51" y="1174"/>
                    <a:pt x="54" y="1165"/>
                  </a:cubicBezTo>
                  <a:cubicBezTo>
                    <a:pt x="54" y="1165"/>
                    <a:pt x="54" y="1162"/>
                    <a:pt x="51" y="1162"/>
                  </a:cubicBezTo>
                  <a:cubicBezTo>
                    <a:pt x="51" y="1157"/>
                    <a:pt x="51" y="1148"/>
                    <a:pt x="62" y="1151"/>
                  </a:cubicBezTo>
                  <a:close/>
                  <a:moveTo>
                    <a:pt x="29" y="1382"/>
                  </a:moveTo>
                  <a:cubicBezTo>
                    <a:pt x="28" y="1382"/>
                    <a:pt x="28" y="1381"/>
                    <a:pt x="28" y="1380"/>
                  </a:cubicBezTo>
                  <a:cubicBezTo>
                    <a:pt x="28" y="1381"/>
                    <a:pt x="29" y="1381"/>
                    <a:pt x="29" y="1382"/>
                  </a:cubicBezTo>
                  <a:close/>
                  <a:moveTo>
                    <a:pt x="20" y="1494"/>
                  </a:moveTo>
                  <a:cubicBezTo>
                    <a:pt x="20" y="1497"/>
                    <a:pt x="17" y="1497"/>
                    <a:pt x="17" y="1500"/>
                  </a:cubicBezTo>
                  <a:cubicBezTo>
                    <a:pt x="15" y="1500"/>
                    <a:pt x="12" y="1487"/>
                    <a:pt x="17" y="1490"/>
                  </a:cubicBezTo>
                  <a:lnTo>
                    <a:pt x="20" y="1487"/>
                  </a:lnTo>
                  <a:cubicBezTo>
                    <a:pt x="17" y="1481"/>
                    <a:pt x="17" y="1473"/>
                    <a:pt x="20" y="1467"/>
                  </a:cubicBezTo>
                  <a:cubicBezTo>
                    <a:pt x="20" y="1464"/>
                    <a:pt x="26" y="1461"/>
                    <a:pt x="26" y="1458"/>
                  </a:cubicBezTo>
                  <a:cubicBezTo>
                    <a:pt x="26" y="1464"/>
                    <a:pt x="23" y="1470"/>
                    <a:pt x="23" y="1473"/>
                  </a:cubicBezTo>
                  <a:cubicBezTo>
                    <a:pt x="23" y="1484"/>
                    <a:pt x="26" y="1494"/>
                    <a:pt x="26" y="1505"/>
                  </a:cubicBezTo>
                  <a:cubicBezTo>
                    <a:pt x="23" y="1503"/>
                    <a:pt x="23" y="1500"/>
                    <a:pt x="20" y="1494"/>
                  </a:cubicBezTo>
                  <a:close/>
                  <a:moveTo>
                    <a:pt x="77" y="1866"/>
                  </a:moveTo>
                  <a:cubicBezTo>
                    <a:pt x="79" y="1864"/>
                    <a:pt x="79" y="1864"/>
                    <a:pt x="82" y="1864"/>
                  </a:cubicBezTo>
                  <a:cubicBezTo>
                    <a:pt x="82" y="1864"/>
                    <a:pt x="79" y="1864"/>
                    <a:pt x="77" y="1866"/>
                  </a:cubicBezTo>
                  <a:close/>
                  <a:moveTo>
                    <a:pt x="79" y="1945"/>
                  </a:moveTo>
                  <a:cubicBezTo>
                    <a:pt x="73" y="1931"/>
                    <a:pt x="74" y="1917"/>
                    <a:pt x="79" y="1903"/>
                  </a:cubicBezTo>
                  <a:lnTo>
                    <a:pt x="79" y="1909"/>
                  </a:lnTo>
                  <a:cubicBezTo>
                    <a:pt x="74" y="1931"/>
                    <a:pt x="82" y="1954"/>
                    <a:pt x="99" y="1968"/>
                  </a:cubicBezTo>
                  <a:cubicBezTo>
                    <a:pt x="99" y="1971"/>
                    <a:pt x="102" y="1974"/>
                    <a:pt x="102" y="1977"/>
                  </a:cubicBezTo>
                  <a:cubicBezTo>
                    <a:pt x="91" y="1971"/>
                    <a:pt x="84" y="1960"/>
                    <a:pt x="79" y="1945"/>
                  </a:cubicBezTo>
                  <a:close/>
                  <a:moveTo>
                    <a:pt x="141" y="2081"/>
                  </a:moveTo>
                  <a:lnTo>
                    <a:pt x="141" y="2075"/>
                  </a:lnTo>
                  <a:cubicBezTo>
                    <a:pt x="144" y="2078"/>
                    <a:pt x="141" y="2084"/>
                    <a:pt x="144" y="2087"/>
                  </a:cubicBezTo>
                  <a:cubicBezTo>
                    <a:pt x="141" y="2084"/>
                    <a:pt x="141" y="2084"/>
                    <a:pt x="141" y="2081"/>
                  </a:cubicBezTo>
                  <a:close/>
                  <a:moveTo>
                    <a:pt x="229" y="2244"/>
                  </a:moveTo>
                  <a:cubicBezTo>
                    <a:pt x="235" y="2242"/>
                    <a:pt x="237" y="2244"/>
                    <a:pt x="240" y="2250"/>
                  </a:cubicBezTo>
                  <a:cubicBezTo>
                    <a:pt x="238" y="2250"/>
                    <a:pt x="235" y="2248"/>
                    <a:pt x="230" y="2245"/>
                  </a:cubicBezTo>
                  <a:cubicBezTo>
                    <a:pt x="230" y="2246"/>
                    <a:pt x="229" y="2246"/>
                    <a:pt x="229" y="2244"/>
                  </a:cubicBezTo>
                  <a:close/>
                  <a:moveTo>
                    <a:pt x="229" y="2244"/>
                  </a:moveTo>
                  <a:cubicBezTo>
                    <a:pt x="230" y="2244"/>
                    <a:pt x="230" y="2245"/>
                    <a:pt x="230" y="2245"/>
                  </a:cubicBezTo>
                  <a:cubicBezTo>
                    <a:pt x="230" y="2245"/>
                    <a:pt x="229" y="2245"/>
                    <a:pt x="229" y="2244"/>
                  </a:cubicBezTo>
                  <a:close/>
                  <a:moveTo>
                    <a:pt x="294" y="2354"/>
                  </a:moveTo>
                  <a:cubicBezTo>
                    <a:pt x="290" y="2351"/>
                    <a:pt x="288" y="2347"/>
                    <a:pt x="286" y="2342"/>
                  </a:cubicBezTo>
                  <a:cubicBezTo>
                    <a:pt x="289" y="2346"/>
                    <a:pt x="291" y="2349"/>
                    <a:pt x="294" y="2354"/>
                  </a:cubicBezTo>
                  <a:cubicBezTo>
                    <a:pt x="297" y="2354"/>
                    <a:pt x="299" y="2352"/>
                    <a:pt x="302" y="2352"/>
                  </a:cubicBezTo>
                  <a:lnTo>
                    <a:pt x="302" y="2357"/>
                  </a:lnTo>
                  <a:cubicBezTo>
                    <a:pt x="305" y="2360"/>
                    <a:pt x="305" y="2363"/>
                    <a:pt x="305" y="2366"/>
                  </a:cubicBezTo>
                  <a:cubicBezTo>
                    <a:pt x="299" y="2363"/>
                    <a:pt x="297" y="2357"/>
                    <a:pt x="294" y="2354"/>
                  </a:cubicBezTo>
                  <a:close/>
                  <a:moveTo>
                    <a:pt x="283" y="2332"/>
                  </a:moveTo>
                  <a:cubicBezTo>
                    <a:pt x="284" y="2333"/>
                    <a:pt x="284" y="2335"/>
                    <a:pt x="284" y="2336"/>
                  </a:cubicBezTo>
                  <a:cubicBezTo>
                    <a:pt x="283" y="2335"/>
                    <a:pt x="283" y="2333"/>
                    <a:pt x="283" y="2332"/>
                  </a:cubicBezTo>
                  <a:close/>
                  <a:moveTo>
                    <a:pt x="384" y="2470"/>
                  </a:moveTo>
                  <a:cubicBezTo>
                    <a:pt x="380" y="2466"/>
                    <a:pt x="377" y="2461"/>
                    <a:pt x="374" y="2455"/>
                  </a:cubicBezTo>
                  <a:lnTo>
                    <a:pt x="376" y="2456"/>
                  </a:lnTo>
                  <a:lnTo>
                    <a:pt x="378" y="2453"/>
                  </a:lnTo>
                  <a:cubicBezTo>
                    <a:pt x="381" y="2462"/>
                    <a:pt x="387" y="2467"/>
                    <a:pt x="395" y="2473"/>
                  </a:cubicBezTo>
                  <a:cubicBezTo>
                    <a:pt x="395" y="2473"/>
                    <a:pt x="395" y="2476"/>
                    <a:pt x="398" y="2476"/>
                  </a:cubicBezTo>
                  <a:lnTo>
                    <a:pt x="401" y="2476"/>
                  </a:lnTo>
                  <a:cubicBezTo>
                    <a:pt x="401" y="2476"/>
                    <a:pt x="398" y="2479"/>
                    <a:pt x="398" y="2481"/>
                  </a:cubicBezTo>
                  <a:cubicBezTo>
                    <a:pt x="393" y="2479"/>
                    <a:pt x="390" y="2476"/>
                    <a:pt x="384" y="2470"/>
                  </a:cubicBezTo>
                  <a:close/>
                  <a:moveTo>
                    <a:pt x="404" y="2510"/>
                  </a:moveTo>
                  <a:cubicBezTo>
                    <a:pt x="407" y="2510"/>
                    <a:pt x="407" y="2507"/>
                    <a:pt x="404" y="2510"/>
                  </a:cubicBezTo>
                  <a:close/>
                  <a:moveTo>
                    <a:pt x="573" y="2656"/>
                  </a:moveTo>
                  <a:cubicBezTo>
                    <a:pt x="573" y="2654"/>
                    <a:pt x="576" y="2651"/>
                    <a:pt x="579" y="2648"/>
                  </a:cubicBezTo>
                  <a:cubicBezTo>
                    <a:pt x="582" y="2651"/>
                    <a:pt x="582" y="2654"/>
                    <a:pt x="587" y="2656"/>
                  </a:cubicBezTo>
                  <a:cubicBezTo>
                    <a:pt x="582" y="2659"/>
                    <a:pt x="576" y="2659"/>
                    <a:pt x="573" y="2656"/>
                  </a:cubicBezTo>
                  <a:close/>
                  <a:moveTo>
                    <a:pt x="607" y="2670"/>
                  </a:moveTo>
                  <a:cubicBezTo>
                    <a:pt x="610" y="2673"/>
                    <a:pt x="616" y="2676"/>
                    <a:pt x="618" y="2679"/>
                  </a:cubicBezTo>
                  <a:cubicBezTo>
                    <a:pt x="621" y="2682"/>
                    <a:pt x="627" y="2682"/>
                    <a:pt x="630" y="2685"/>
                  </a:cubicBezTo>
                  <a:cubicBezTo>
                    <a:pt x="621" y="2682"/>
                    <a:pt x="613" y="2676"/>
                    <a:pt x="607" y="2670"/>
                  </a:cubicBezTo>
                  <a:close/>
                  <a:moveTo>
                    <a:pt x="627" y="2699"/>
                  </a:moveTo>
                  <a:lnTo>
                    <a:pt x="618" y="2699"/>
                  </a:lnTo>
                  <a:lnTo>
                    <a:pt x="618" y="2696"/>
                  </a:lnTo>
                  <a:lnTo>
                    <a:pt x="624" y="2696"/>
                  </a:lnTo>
                  <a:cubicBezTo>
                    <a:pt x="627" y="2696"/>
                    <a:pt x="627" y="2696"/>
                    <a:pt x="627" y="2699"/>
                  </a:cubicBezTo>
                  <a:close/>
                  <a:moveTo>
                    <a:pt x="649" y="2693"/>
                  </a:moveTo>
                  <a:lnTo>
                    <a:pt x="649" y="2690"/>
                  </a:lnTo>
                  <a:cubicBezTo>
                    <a:pt x="651" y="2689"/>
                    <a:pt x="653" y="2690"/>
                    <a:pt x="656" y="2691"/>
                  </a:cubicBezTo>
                  <a:cubicBezTo>
                    <a:pt x="654" y="2691"/>
                    <a:pt x="652" y="2692"/>
                    <a:pt x="649" y="2693"/>
                  </a:cubicBezTo>
                  <a:close/>
                  <a:moveTo>
                    <a:pt x="836" y="2811"/>
                  </a:moveTo>
                  <a:cubicBezTo>
                    <a:pt x="838" y="2811"/>
                    <a:pt x="838" y="2814"/>
                    <a:pt x="841" y="2814"/>
                  </a:cubicBezTo>
                  <a:cubicBezTo>
                    <a:pt x="842" y="2815"/>
                    <a:pt x="843" y="2817"/>
                    <a:pt x="845" y="2817"/>
                  </a:cubicBezTo>
                  <a:cubicBezTo>
                    <a:pt x="840" y="2818"/>
                    <a:pt x="836" y="2818"/>
                    <a:pt x="836" y="2811"/>
                  </a:cubicBezTo>
                  <a:close/>
                  <a:moveTo>
                    <a:pt x="861" y="2828"/>
                  </a:moveTo>
                  <a:lnTo>
                    <a:pt x="855" y="2823"/>
                  </a:lnTo>
                  <a:cubicBezTo>
                    <a:pt x="858" y="2824"/>
                    <a:pt x="861" y="2827"/>
                    <a:pt x="863" y="2829"/>
                  </a:cubicBezTo>
                  <a:cubicBezTo>
                    <a:pt x="862" y="2829"/>
                    <a:pt x="862" y="2829"/>
                    <a:pt x="861" y="2828"/>
                  </a:cubicBezTo>
                  <a:close/>
                  <a:moveTo>
                    <a:pt x="1140" y="2924"/>
                  </a:moveTo>
                  <a:cubicBezTo>
                    <a:pt x="1146" y="2921"/>
                    <a:pt x="1149" y="2921"/>
                    <a:pt x="1152" y="2924"/>
                  </a:cubicBezTo>
                  <a:cubicBezTo>
                    <a:pt x="1152" y="2927"/>
                    <a:pt x="1152" y="2927"/>
                    <a:pt x="1149" y="2927"/>
                  </a:cubicBezTo>
                  <a:lnTo>
                    <a:pt x="1154" y="2927"/>
                  </a:lnTo>
                  <a:cubicBezTo>
                    <a:pt x="1154" y="2930"/>
                    <a:pt x="1152" y="2930"/>
                    <a:pt x="1152" y="2933"/>
                  </a:cubicBezTo>
                  <a:cubicBezTo>
                    <a:pt x="1149" y="2930"/>
                    <a:pt x="1143" y="2927"/>
                    <a:pt x="1140" y="2924"/>
                  </a:cubicBezTo>
                  <a:close/>
                  <a:moveTo>
                    <a:pt x="2296" y="2701"/>
                  </a:moveTo>
                  <a:cubicBezTo>
                    <a:pt x="2296" y="2699"/>
                    <a:pt x="2299" y="2696"/>
                    <a:pt x="2305" y="2696"/>
                  </a:cubicBezTo>
                  <a:cubicBezTo>
                    <a:pt x="2305" y="2699"/>
                    <a:pt x="2302" y="2699"/>
                    <a:pt x="2302" y="2699"/>
                  </a:cubicBezTo>
                  <a:cubicBezTo>
                    <a:pt x="2299" y="2699"/>
                    <a:pt x="2299" y="2701"/>
                    <a:pt x="2296" y="2701"/>
                  </a:cubicBezTo>
                  <a:close/>
                  <a:moveTo>
                    <a:pt x="2468" y="2597"/>
                  </a:moveTo>
                  <a:cubicBezTo>
                    <a:pt x="2468" y="2600"/>
                    <a:pt x="2466" y="2600"/>
                    <a:pt x="2466" y="2606"/>
                  </a:cubicBezTo>
                  <a:cubicBezTo>
                    <a:pt x="2463" y="2606"/>
                    <a:pt x="2466" y="2603"/>
                    <a:pt x="2466" y="2600"/>
                  </a:cubicBezTo>
                  <a:lnTo>
                    <a:pt x="2460" y="2600"/>
                  </a:lnTo>
                  <a:lnTo>
                    <a:pt x="2466" y="2594"/>
                  </a:lnTo>
                  <a:cubicBezTo>
                    <a:pt x="2468" y="2591"/>
                    <a:pt x="2468" y="2589"/>
                    <a:pt x="2471" y="2589"/>
                  </a:cubicBezTo>
                  <a:cubicBezTo>
                    <a:pt x="2477" y="2583"/>
                    <a:pt x="2482" y="2580"/>
                    <a:pt x="2488" y="2575"/>
                  </a:cubicBezTo>
                  <a:cubicBezTo>
                    <a:pt x="2482" y="2583"/>
                    <a:pt x="2477" y="2589"/>
                    <a:pt x="2468" y="2597"/>
                  </a:cubicBezTo>
                  <a:close/>
                  <a:moveTo>
                    <a:pt x="2584" y="2380"/>
                  </a:moveTo>
                  <a:cubicBezTo>
                    <a:pt x="2584" y="2366"/>
                    <a:pt x="2584" y="2352"/>
                    <a:pt x="2578" y="2340"/>
                  </a:cubicBezTo>
                  <a:cubicBezTo>
                    <a:pt x="2570" y="2329"/>
                    <a:pt x="2539" y="2329"/>
                    <a:pt x="2556" y="2307"/>
                  </a:cubicBezTo>
                  <a:cubicBezTo>
                    <a:pt x="2576" y="2318"/>
                    <a:pt x="2593" y="2335"/>
                    <a:pt x="2598" y="2357"/>
                  </a:cubicBezTo>
                  <a:cubicBezTo>
                    <a:pt x="2595" y="2366"/>
                    <a:pt x="2590" y="2371"/>
                    <a:pt x="2584" y="2380"/>
                  </a:cubicBezTo>
                  <a:close/>
                  <a:moveTo>
                    <a:pt x="2925" y="1788"/>
                  </a:moveTo>
                  <a:cubicBezTo>
                    <a:pt x="2925" y="1785"/>
                    <a:pt x="2925" y="1782"/>
                    <a:pt x="2928" y="1779"/>
                  </a:cubicBezTo>
                  <a:cubicBezTo>
                    <a:pt x="2928" y="1785"/>
                    <a:pt x="2928" y="1788"/>
                    <a:pt x="2925" y="178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" name="Freeform 3"/>
            <p:cNvSpPr>
              <a:spLocks noChangeArrowheads="1"/>
            </p:cNvSpPr>
            <p:nvPr/>
          </p:nvSpPr>
          <p:spPr bwMode="auto">
            <a:xfrm>
              <a:off x="4621213" y="2771775"/>
              <a:ext cx="1587" cy="1588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0 h 6"/>
                <a:gd name="T4" fmla="*/ 0 w 3"/>
                <a:gd name="T5" fmla="*/ 5 h 6"/>
                <a:gd name="T6" fmla="*/ 0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0"/>
                  </a:moveTo>
                  <a:lnTo>
                    <a:pt x="0" y="0"/>
                  </a:lnTo>
                  <a:cubicBezTo>
                    <a:pt x="0" y="3"/>
                    <a:pt x="0" y="3"/>
                    <a:pt x="0" y="5"/>
                  </a:cubicBezTo>
                  <a:cubicBezTo>
                    <a:pt x="2" y="3"/>
                    <a:pt x="2" y="3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" name="Freeform 4"/>
            <p:cNvSpPr>
              <a:spLocks noChangeArrowheads="1"/>
            </p:cNvSpPr>
            <p:nvPr/>
          </p:nvSpPr>
          <p:spPr bwMode="auto">
            <a:xfrm>
              <a:off x="3600450" y="2051050"/>
              <a:ext cx="1057275" cy="1055688"/>
            </a:xfrm>
            <a:custGeom>
              <a:avLst/>
              <a:gdLst>
                <a:gd name="T0" fmla="*/ 1768 w 2937"/>
                <a:gd name="T1" fmla="*/ 82 h 2931"/>
                <a:gd name="T2" fmla="*/ 1703 w 2937"/>
                <a:gd name="T3" fmla="*/ 56 h 2931"/>
                <a:gd name="T4" fmla="*/ 1582 w 2937"/>
                <a:gd name="T5" fmla="*/ 87 h 2931"/>
                <a:gd name="T6" fmla="*/ 1460 w 2937"/>
                <a:gd name="T7" fmla="*/ 180 h 2931"/>
                <a:gd name="T8" fmla="*/ 1374 w 2937"/>
                <a:gd name="T9" fmla="*/ 2603 h 2931"/>
                <a:gd name="T10" fmla="*/ 1246 w 2937"/>
                <a:gd name="T11" fmla="*/ 198 h 2931"/>
                <a:gd name="T12" fmla="*/ 1202 w 2937"/>
                <a:gd name="T13" fmla="*/ 107 h 2931"/>
                <a:gd name="T14" fmla="*/ 1078 w 2937"/>
                <a:gd name="T15" fmla="*/ 2732 h 2931"/>
                <a:gd name="T16" fmla="*/ 1078 w 2937"/>
                <a:gd name="T17" fmla="*/ 1145 h 2931"/>
                <a:gd name="T18" fmla="*/ 1038 w 2937"/>
                <a:gd name="T19" fmla="*/ 767 h 2931"/>
                <a:gd name="T20" fmla="*/ 948 w 2937"/>
                <a:gd name="T21" fmla="*/ 2713 h 2931"/>
                <a:gd name="T22" fmla="*/ 920 w 2937"/>
                <a:gd name="T23" fmla="*/ 144 h 2931"/>
                <a:gd name="T24" fmla="*/ 846 w 2937"/>
                <a:gd name="T25" fmla="*/ 2526 h 2931"/>
                <a:gd name="T26" fmla="*/ 731 w 2937"/>
                <a:gd name="T27" fmla="*/ 2524 h 2931"/>
                <a:gd name="T28" fmla="*/ 680 w 2937"/>
                <a:gd name="T29" fmla="*/ 2512 h 2931"/>
                <a:gd name="T30" fmla="*/ 440 w 2937"/>
                <a:gd name="T31" fmla="*/ 2431 h 2931"/>
                <a:gd name="T32" fmla="*/ 463 w 2937"/>
                <a:gd name="T33" fmla="*/ 2213 h 2931"/>
                <a:gd name="T34" fmla="*/ 400 w 2937"/>
                <a:gd name="T35" fmla="*/ 688 h 2931"/>
                <a:gd name="T36" fmla="*/ 530 w 2937"/>
                <a:gd name="T37" fmla="*/ 2442 h 2931"/>
                <a:gd name="T38" fmla="*/ 609 w 2937"/>
                <a:gd name="T39" fmla="*/ 2411 h 2931"/>
                <a:gd name="T40" fmla="*/ 451 w 2937"/>
                <a:gd name="T41" fmla="*/ 773 h 2931"/>
                <a:gd name="T42" fmla="*/ 347 w 2937"/>
                <a:gd name="T43" fmla="*/ 2284 h 2931"/>
                <a:gd name="T44" fmla="*/ 179 w 2937"/>
                <a:gd name="T45" fmla="*/ 1680 h 2931"/>
                <a:gd name="T46" fmla="*/ 282 w 2937"/>
                <a:gd name="T47" fmla="*/ 1962 h 2931"/>
                <a:gd name="T48" fmla="*/ 228 w 2937"/>
                <a:gd name="T49" fmla="*/ 2072 h 2931"/>
                <a:gd name="T50" fmla="*/ 183 w 2937"/>
                <a:gd name="T51" fmla="*/ 1466 h 2931"/>
                <a:gd name="T52" fmla="*/ 121 w 2937"/>
                <a:gd name="T53" fmla="*/ 1441 h 2931"/>
                <a:gd name="T54" fmla="*/ 130 w 2937"/>
                <a:gd name="T55" fmla="*/ 1689 h 2931"/>
                <a:gd name="T56" fmla="*/ 68 w 2937"/>
                <a:gd name="T57" fmla="*/ 1424 h 2931"/>
                <a:gd name="T58" fmla="*/ 130 w 2937"/>
                <a:gd name="T59" fmla="*/ 2013 h 2931"/>
                <a:gd name="T60" fmla="*/ 285 w 2937"/>
                <a:gd name="T61" fmla="*/ 2292 h 2931"/>
                <a:gd name="T62" fmla="*/ 403 w 2937"/>
                <a:gd name="T63" fmla="*/ 2408 h 2931"/>
                <a:gd name="T64" fmla="*/ 629 w 2937"/>
                <a:gd name="T65" fmla="*/ 2566 h 2931"/>
                <a:gd name="T66" fmla="*/ 855 w 2937"/>
                <a:gd name="T67" fmla="*/ 2659 h 2931"/>
                <a:gd name="T68" fmla="*/ 996 w 2937"/>
                <a:gd name="T69" fmla="*/ 2673 h 2931"/>
                <a:gd name="T70" fmla="*/ 1210 w 2937"/>
                <a:gd name="T71" fmla="*/ 2467 h 2931"/>
                <a:gd name="T72" fmla="*/ 1428 w 2937"/>
                <a:gd name="T73" fmla="*/ 2462 h 2931"/>
                <a:gd name="T74" fmla="*/ 1675 w 2937"/>
                <a:gd name="T75" fmla="*/ 2780 h 2931"/>
                <a:gd name="T76" fmla="*/ 2555 w 2937"/>
                <a:gd name="T77" fmla="*/ 2431 h 2931"/>
                <a:gd name="T78" fmla="*/ 2569 w 2937"/>
                <a:gd name="T79" fmla="*/ 2191 h 2931"/>
                <a:gd name="T80" fmla="*/ 2637 w 2937"/>
                <a:gd name="T81" fmla="*/ 1204 h 2931"/>
                <a:gd name="T82" fmla="*/ 2705 w 2937"/>
                <a:gd name="T83" fmla="*/ 1669 h 2931"/>
                <a:gd name="T84" fmla="*/ 2617 w 2937"/>
                <a:gd name="T85" fmla="*/ 1514 h 2931"/>
                <a:gd name="T86" fmla="*/ 2586 w 2937"/>
                <a:gd name="T87" fmla="*/ 1134 h 2931"/>
                <a:gd name="T88" fmla="*/ 2507 w 2937"/>
                <a:gd name="T89" fmla="*/ 2126 h 2931"/>
                <a:gd name="T90" fmla="*/ 2730 w 2937"/>
                <a:gd name="T91" fmla="*/ 2041 h 2931"/>
                <a:gd name="T92" fmla="*/ 2835 w 2937"/>
                <a:gd name="T93" fmla="*/ 1641 h 2931"/>
                <a:gd name="T94" fmla="*/ 2871 w 2937"/>
                <a:gd name="T95" fmla="*/ 1340 h 2931"/>
                <a:gd name="T96" fmla="*/ 2719 w 2937"/>
                <a:gd name="T97" fmla="*/ 781 h 2931"/>
                <a:gd name="T98" fmla="*/ 2423 w 2937"/>
                <a:gd name="T99" fmla="*/ 1379 h 2931"/>
                <a:gd name="T100" fmla="*/ 2383 w 2937"/>
                <a:gd name="T101" fmla="*/ 1210 h 2931"/>
                <a:gd name="T102" fmla="*/ 2363 w 2937"/>
                <a:gd name="T103" fmla="*/ 807 h 2931"/>
                <a:gd name="T104" fmla="*/ 2262 w 2937"/>
                <a:gd name="T105" fmla="*/ 2549 h 2931"/>
                <a:gd name="T106" fmla="*/ 2135 w 2937"/>
                <a:gd name="T107" fmla="*/ 307 h 2931"/>
                <a:gd name="T108" fmla="*/ 2044 w 2937"/>
                <a:gd name="T109" fmla="*/ 2422 h 2931"/>
                <a:gd name="T110" fmla="*/ 1997 w 2937"/>
                <a:gd name="T111" fmla="*/ 274 h 2931"/>
                <a:gd name="T112" fmla="*/ 1853 w 2937"/>
                <a:gd name="T113" fmla="*/ 118 h 2931"/>
                <a:gd name="T114" fmla="*/ 2016 w 2937"/>
                <a:gd name="T115" fmla="*/ 2605 h 2931"/>
                <a:gd name="T116" fmla="*/ 2129 w 2937"/>
                <a:gd name="T117" fmla="*/ 2433 h 2931"/>
                <a:gd name="T118" fmla="*/ 2349 w 2937"/>
                <a:gd name="T119" fmla="*/ 2622 h 2931"/>
                <a:gd name="T120" fmla="*/ 2513 w 2937"/>
                <a:gd name="T121" fmla="*/ 2354 h 2931"/>
                <a:gd name="T122" fmla="*/ 2710 w 2937"/>
                <a:gd name="T123" fmla="*/ 2233 h 2931"/>
                <a:gd name="T124" fmla="*/ 2851 w 2937"/>
                <a:gd name="T125" fmla="*/ 1878 h 29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37" h="2931">
                  <a:moveTo>
                    <a:pt x="8" y="1658"/>
                  </a:moveTo>
                  <a:cubicBezTo>
                    <a:pt x="14" y="1658"/>
                    <a:pt x="20" y="1652"/>
                    <a:pt x="25" y="1652"/>
                  </a:cubicBezTo>
                  <a:cubicBezTo>
                    <a:pt x="28" y="1655"/>
                    <a:pt x="28" y="1660"/>
                    <a:pt x="31" y="1663"/>
                  </a:cubicBezTo>
                  <a:cubicBezTo>
                    <a:pt x="22" y="1666"/>
                    <a:pt x="14" y="1666"/>
                    <a:pt x="8" y="1658"/>
                  </a:cubicBezTo>
                  <a:close/>
                  <a:moveTo>
                    <a:pt x="28" y="1703"/>
                  </a:moveTo>
                  <a:cubicBezTo>
                    <a:pt x="22" y="1700"/>
                    <a:pt x="31" y="1703"/>
                    <a:pt x="28" y="1703"/>
                  </a:cubicBezTo>
                  <a:close/>
                  <a:moveTo>
                    <a:pt x="39" y="1801"/>
                  </a:moveTo>
                  <a:cubicBezTo>
                    <a:pt x="36" y="1799"/>
                    <a:pt x="45" y="1801"/>
                    <a:pt x="39" y="1801"/>
                  </a:cubicBezTo>
                  <a:close/>
                  <a:moveTo>
                    <a:pt x="59" y="1872"/>
                  </a:moveTo>
                  <a:cubicBezTo>
                    <a:pt x="59" y="1872"/>
                    <a:pt x="59" y="1869"/>
                    <a:pt x="59" y="1872"/>
                  </a:cubicBezTo>
                  <a:cubicBezTo>
                    <a:pt x="59" y="1869"/>
                    <a:pt x="62" y="1869"/>
                    <a:pt x="62" y="1869"/>
                  </a:cubicBezTo>
                  <a:cubicBezTo>
                    <a:pt x="76" y="1866"/>
                    <a:pt x="59" y="1889"/>
                    <a:pt x="59" y="1872"/>
                  </a:cubicBezTo>
                  <a:close/>
                  <a:moveTo>
                    <a:pt x="262" y="2253"/>
                  </a:moveTo>
                  <a:cubicBezTo>
                    <a:pt x="262" y="2264"/>
                    <a:pt x="251" y="2239"/>
                    <a:pt x="262" y="2253"/>
                  </a:cubicBezTo>
                  <a:close/>
                  <a:moveTo>
                    <a:pt x="378" y="2442"/>
                  </a:moveTo>
                  <a:cubicBezTo>
                    <a:pt x="375" y="2439"/>
                    <a:pt x="381" y="2442"/>
                    <a:pt x="378" y="2442"/>
                  </a:cubicBezTo>
                  <a:close/>
                  <a:moveTo>
                    <a:pt x="685" y="2690"/>
                  </a:moveTo>
                  <a:lnTo>
                    <a:pt x="683" y="2687"/>
                  </a:lnTo>
                  <a:cubicBezTo>
                    <a:pt x="683" y="2687"/>
                    <a:pt x="685" y="2687"/>
                    <a:pt x="685" y="2684"/>
                  </a:cubicBezTo>
                  <a:cubicBezTo>
                    <a:pt x="685" y="2687"/>
                    <a:pt x="688" y="2690"/>
                    <a:pt x="685" y="2690"/>
                  </a:cubicBezTo>
                  <a:close/>
                  <a:moveTo>
                    <a:pt x="1841" y="62"/>
                  </a:moveTo>
                  <a:cubicBezTo>
                    <a:pt x="1847" y="56"/>
                    <a:pt x="1839" y="70"/>
                    <a:pt x="1841" y="62"/>
                  </a:cubicBezTo>
                  <a:close/>
                  <a:moveTo>
                    <a:pt x="1850" y="79"/>
                  </a:moveTo>
                  <a:cubicBezTo>
                    <a:pt x="1850" y="85"/>
                    <a:pt x="1858" y="93"/>
                    <a:pt x="1855" y="99"/>
                  </a:cubicBezTo>
                  <a:cubicBezTo>
                    <a:pt x="1844" y="99"/>
                    <a:pt x="1841" y="102"/>
                    <a:pt x="1836" y="90"/>
                  </a:cubicBezTo>
                  <a:cubicBezTo>
                    <a:pt x="1839" y="87"/>
                    <a:pt x="1841" y="82"/>
                    <a:pt x="1850" y="79"/>
                  </a:cubicBezTo>
                  <a:close/>
                  <a:moveTo>
                    <a:pt x="1853" y="2397"/>
                  </a:moveTo>
                  <a:cubicBezTo>
                    <a:pt x="1853" y="2399"/>
                    <a:pt x="1844" y="2402"/>
                    <a:pt x="1841" y="2402"/>
                  </a:cubicBezTo>
                  <a:cubicBezTo>
                    <a:pt x="1839" y="2397"/>
                    <a:pt x="1850" y="2394"/>
                    <a:pt x="1853" y="2397"/>
                  </a:cubicBezTo>
                  <a:close/>
                  <a:moveTo>
                    <a:pt x="1833" y="141"/>
                  </a:moveTo>
                  <a:cubicBezTo>
                    <a:pt x="1833" y="135"/>
                    <a:pt x="1839" y="135"/>
                    <a:pt x="1839" y="133"/>
                  </a:cubicBezTo>
                  <a:cubicBezTo>
                    <a:pt x="1841" y="135"/>
                    <a:pt x="1841" y="138"/>
                    <a:pt x="1841" y="141"/>
                  </a:cubicBezTo>
                  <a:cubicBezTo>
                    <a:pt x="1839" y="141"/>
                    <a:pt x="1836" y="144"/>
                    <a:pt x="1833" y="141"/>
                  </a:cubicBezTo>
                  <a:close/>
                  <a:moveTo>
                    <a:pt x="1830" y="87"/>
                  </a:moveTo>
                  <a:cubicBezTo>
                    <a:pt x="1836" y="79"/>
                    <a:pt x="1830" y="96"/>
                    <a:pt x="1830" y="87"/>
                  </a:cubicBezTo>
                  <a:close/>
                  <a:moveTo>
                    <a:pt x="1839" y="169"/>
                  </a:moveTo>
                  <a:cubicBezTo>
                    <a:pt x="1836" y="172"/>
                    <a:pt x="1833" y="175"/>
                    <a:pt x="1830" y="175"/>
                  </a:cubicBezTo>
                  <a:cubicBezTo>
                    <a:pt x="1830" y="172"/>
                    <a:pt x="1836" y="169"/>
                    <a:pt x="1839" y="169"/>
                  </a:cubicBezTo>
                  <a:close/>
                  <a:moveTo>
                    <a:pt x="1827" y="90"/>
                  </a:moveTo>
                  <a:cubicBezTo>
                    <a:pt x="1830" y="96"/>
                    <a:pt x="1822" y="96"/>
                    <a:pt x="1819" y="99"/>
                  </a:cubicBezTo>
                  <a:cubicBezTo>
                    <a:pt x="1819" y="96"/>
                    <a:pt x="1824" y="93"/>
                    <a:pt x="1827" y="90"/>
                  </a:cubicBezTo>
                  <a:close/>
                  <a:moveTo>
                    <a:pt x="1827" y="133"/>
                  </a:moveTo>
                  <a:cubicBezTo>
                    <a:pt x="1819" y="138"/>
                    <a:pt x="1810" y="127"/>
                    <a:pt x="1807" y="121"/>
                  </a:cubicBezTo>
                  <a:cubicBezTo>
                    <a:pt x="1816" y="118"/>
                    <a:pt x="1824" y="121"/>
                    <a:pt x="1827" y="130"/>
                  </a:cubicBezTo>
                  <a:lnTo>
                    <a:pt x="1827" y="133"/>
                  </a:lnTo>
                  <a:close/>
                  <a:moveTo>
                    <a:pt x="1813" y="2165"/>
                  </a:moveTo>
                  <a:cubicBezTo>
                    <a:pt x="1813" y="2163"/>
                    <a:pt x="1819" y="2160"/>
                    <a:pt x="1822" y="2160"/>
                  </a:cubicBezTo>
                  <a:cubicBezTo>
                    <a:pt x="1822" y="2163"/>
                    <a:pt x="1816" y="2165"/>
                    <a:pt x="1813" y="2165"/>
                  </a:cubicBezTo>
                  <a:close/>
                  <a:moveTo>
                    <a:pt x="1816" y="2301"/>
                  </a:moveTo>
                  <a:cubicBezTo>
                    <a:pt x="1816" y="2295"/>
                    <a:pt x="1824" y="2304"/>
                    <a:pt x="1816" y="2301"/>
                  </a:cubicBezTo>
                  <a:close/>
                  <a:moveTo>
                    <a:pt x="1813" y="149"/>
                  </a:moveTo>
                  <a:cubicBezTo>
                    <a:pt x="1810" y="149"/>
                    <a:pt x="1807" y="147"/>
                    <a:pt x="1805" y="144"/>
                  </a:cubicBezTo>
                  <a:cubicBezTo>
                    <a:pt x="1810" y="141"/>
                    <a:pt x="1813" y="147"/>
                    <a:pt x="1813" y="149"/>
                  </a:cubicBezTo>
                  <a:close/>
                  <a:moveTo>
                    <a:pt x="1816" y="68"/>
                  </a:moveTo>
                  <a:cubicBezTo>
                    <a:pt x="1816" y="70"/>
                    <a:pt x="1816" y="76"/>
                    <a:pt x="1819" y="79"/>
                  </a:cubicBezTo>
                  <a:cubicBezTo>
                    <a:pt x="1813" y="79"/>
                    <a:pt x="1810" y="73"/>
                    <a:pt x="1810" y="68"/>
                  </a:cubicBezTo>
                  <a:lnTo>
                    <a:pt x="1816" y="68"/>
                  </a:lnTo>
                  <a:close/>
                  <a:moveTo>
                    <a:pt x="1810" y="99"/>
                  </a:moveTo>
                  <a:lnTo>
                    <a:pt x="1819" y="99"/>
                  </a:lnTo>
                  <a:cubicBezTo>
                    <a:pt x="1822" y="104"/>
                    <a:pt x="1816" y="104"/>
                    <a:pt x="1819" y="110"/>
                  </a:cubicBezTo>
                  <a:cubicBezTo>
                    <a:pt x="1810" y="110"/>
                    <a:pt x="1813" y="116"/>
                    <a:pt x="1805" y="116"/>
                  </a:cubicBezTo>
                  <a:cubicBezTo>
                    <a:pt x="1805" y="110"/>
                    <a:pt x="1807" y="104"/>
                    <a:pt x="1810" y="99"/>
                  </a:cubicBezTo>
                  <a:close/>
                  <a:moveTo>
                    <a:pt x="1819" y="203"/>
                  </a:moveTo>
                  <a:cubicBezTo>
                    <a:pt x="1827" y="220"/>
                    <a:pt x="1799" y="231"/>
                    <a:pt x="1791" y="214"/>
                  </a:cubicBezTo>
                  <a:cubicBezTo>
                    <a:pt x="1793" y="217"/>
                    <a:pt x="1802" y="212"/>
                    <a:pt x="1807" y="212"/>
                  </a:cubicBezTo>
                  <a:cubicBezTo>
                    <a:pt x="1807" y="209"/>
                    <a:pt x="1805" y="206"/>
                    <a:pt x="1799" y="206"/>
                  </a:cubicBezTo>
                  <a:cubicBezTo>
                    <a:pt x="1802" y="200"/>
                    <a:pt x="1816" y="203"/>
                    <a:pt x="1819" y="203"/>
                  </a:cubicBezTo>
                  <a:close/>
                  <a:moveTo>
                    <a:pt x="1816" y="2439"/>
                  </a:moveTo>
                  <a:cubicBezTo>
                    <a:pt x="1813" y="2445"/>
                    <a:pt x="1810" y="2447"/>
                    <a:pt x="1805" y="2447"/>
                  </a:cubicBezTo>
                  <a:cubicBezTo>
                    <a:pt x="1807" y="2445"/>
                    <a:pt x="1810" y="2439"/>
                    <a:pt x="1816" y="2439"/>
                  </a:cubicBezTo>
                  <a:close/>
                  <a:moveTo>
                    <a:pt x="1807" y="2399"/>
                  </a:moveTo>
                  <a:cubicBezTo>
                    <a:pt x="1807" y="2394"/>
                    <a:pt x="1816" y="2402"/>
                    <a:pt x="1807" y="2399"/>
                  </a:cubicBezTo>
                  <a:close/>
                  <a:moveTo>
                    <a:pt x="1802" y="2684"/>
                  </a:moveTo>
                  <a:cubicBezTo>
                    <a:pt x="1802" y="2679"/>
                    <a:pt x="1810" y="2690"/>
                    <a:pt x="1802" y="2684"/>
                  </a:cubicBezTo>
                  <a:close/>
                  <a:moveTo>
                    <a:pt x="1796" y="2368"/>
                  </a:moveTo>
                  <a:cubicBezTo>
                    <a:pt x="1796" y="2363"/>
                    <a:pt x="1805" y="2371"/>
                    <a:pt x="1796" y="2368"/>
                  </a:cubicBezTo>
                  <a:close/>
                  <a:moveTo>
                    <a:pt x="1782" y="2862"/>
                  </a:moveTo>
                  <a:cubicBezTo>
                    <a:pt x="1782" y="2856"/>
                    <a:pt x="1791" y="2865"/>
                    <a:pt x="1782" y="2862"/>
                  </a:cubicBezTo>
                  <a:close/>
                  <a:moveTo>
                    <a:pt x="1782" y="2352"/>
                  </a:moveTo>
                  <a:cubicBezTo>
                    <a:pt x="1785" y="2343"/>
                    <a:pt x="1785" y="2360"/>
                    <a:pt x="1782" y="2352"/>
                  </a:cubicBezTo>
                  <a:close/>
                  <a:moveTo>
                    <a:pt x="1785" y="189"/>
                  </a:moveTo>
                  <a:cubicBezTo>
                    <a:pt x="1788" y="189"/>
                    <a:pt x="1791" y="186"/>
                    <a:pt x="1793" y="186"/>
                  </a:cubicBezTo>
                  <a:cubicBezTo>
                    <a:pt x="1793" y="189"/>
                    <a:pt x="1796" y="192"/>
                    <a:pt x="1796" y="197"/>
                  </a:cubicBezTo>
                  <a:cubicBezTo>
                    <a:pt x="1791" y="200"/>
                    <a:pt x="1785" y="195"/>
                    <a:pt x="1785" y="189"/>
                  </a:cubicBezTo>
                  <a:close/>
                  <a:moveTo>
                    <a:pt x="1796" y="209"/>
                  </a:moveTo>
                  <a:cubicBezTo>
                    <a:pt x="1793" y="203"/>
                    <a:pt x="1805" y="209"/>
                    <a:pt x="1796" y="209"/>
                  </a:cubicBezTo>
                  <a:close/>
                  <a:moveTo>
                    <a:pt x="1793" y="166"/>
                  </a:moveTo>
                  <a:cubicBezTo>
                    <a:pt x="1796" y="169"/>
                    <a:pt x="1796" y="172"/>
                    <a:pt x="1799" y="172"/>
                  </a:cubicBezTo>
                  <a:cubicBezTo>
                    <a:pt x="1796" y="175"/>
                    <a:pt x="1793" y="175"/>
                    <a:pt x="1793" y="178"/>
                  </a:cubicBezTo>
                  <a:cubicBezTo>
                    <a:pt x="1791" y="175"/>
                    <a:pt x="1788" y="175"/>
                    <a:pt x="1788" y="172"/>
                  </a:cubicBezTo>
                  <a:cubicBezTo>
                    <a:pt x="1788" y="169"/>
                    <a:pt x="1793" y="166"/>
                    <a:pt x="1793" y="166"/>
                  </a:cubicBezTo>
                  <a:close/>
                  <a:moveTo>
                    <a:pt x="1782" y="121"/>
                  </a:moveTo>
                  <a:cubicBezTo>
                    <a:pt x="1788" y="116"/>
                    <a:pt x="1779" y="130"/>
                    <a:pt x="1782" y="121"/>
                  </a:cubicBezTo>
                  <a:close/>
                  <a:moveTo>
                    <a:pt x="1785" y="169"/>
                  </a:moveTo>
                  <a:cubicBezTo>
                    <a:pt x="1785" y="183"/>
                    <a:pt x="1771" y="164"/>
                    <a:pt x="1785" y="169"/>
                  </a:cubicBezTo>
                  <a:close/>
                  <a:moveTo>
                    <a:pt x="1776" y="178"/>
                  </a:moveTo>
                  <a:cubicBezTo>
                    <a:pt x="1776" y="172"/>
                    <a:pt x="1788" y="178"/>
                    <a:pt x="1776" y="178"/>
                  </a:cubicBezTo>
                  <a:close/>
                  <a:moveTo>
                    <a:pt x="1788" y="2185"/>
                  </a:moveTo>
                  <a:cubicBezTo>
                    <a:pt x="1788" y="2191"/>
                    <a:pt x="1776" y="2188"/>
                    <a:pt x="1774" y="2188"/>
                  </a:cubicBezTo>
                  <a:cubicBezTo>
                    <a:pt x="1774" y="2185"/>
                    <a:pt x="1776" y="2179"/>
                    <a:pt x="1782" y="2179"/>
                  </a:cubicBezTo>
                  <a:cubicBezTo>
                    <a:pt x="1785" y="2182"/>
                    <a:pt x="1788" y="2182"/>
                    <a:pt x="1788" y="2185"/>
                  </a:cubicBezTo>
                  <a:close/>
                  <a:moveTo>
                    <a:pt x="1768" y="76"/>
                  </a:moveTo>
                  <a:cubicBezTo>
                    <a:pt x="1771" y="68"/>
                    <a:pt x="1779" y="82"/>
                    <a:pt x="1768" y="76"/>
                  </a:cubicBezTo>
                  <a:close/>
                  <a:moveTo>
                    <a:pt x="1768" y="82"/>
                  </a:moveTo>
                  <a:cubicBezTo>
                    <a:pt x="1774" y="82"/>
                    <a:pt x="1771" y="93"/>
                    <a:pt x="1774" y="96"/>
                  </a:cubicBezTo>
                  <a:cubicBezTo>
                    <a:pt x="1768" y="99"/>
                    <a:pt x="1768" y="85"/>
                    <a:pt x="1768" y="82"/>
                  </a:cubicBezTo>
                  <a:close/>
                  <a:moveTo>
                    <a:pt x="1751" y="65"/>
                  </a:moveTo>
                  <a:cubicBezTo>
                    <a:pt x="1754" y="70"/>
                    <a:pt x="1760" y="76"/>
                    <a:pt x="1762" y="79"/>
                  </a:cubicBezTo>
                  <a:cubicBezTo>
                    <a:pt x="1760" y="90"/>
                    <a:pt x="1740" y="68"/>
                    <a:pt x="1751" y="65"/>
                  </a:cubicBezTo>
                  <a:close/>
                  <a:moveTo>
                    <a:pt x="1748" y="2275"/>
                  </a:moveTo>
                  <a:cubicBezTo>
                    <a:pt x="1748" y="2270"/>
                    <a:pt x="1751" y="2270"/>
                    <a:pt x="1745" y="2267"/>
                  </a:cubicBezTo>
                  <a:cubicBezTo>
                    <a:pt x="1748" y="2264"/>
                    <a:pt x="1754" y="2264"/>
                    <a:pt x="1757" y="2261"/>
                  </a:cubicBezTo>
                  <a:cubicBezTo>
                    <a:pt x="1757" y="2267"/>
                    <a:pt x="1757" y="2278"/>
                    <a:pt x="1748" y="2275"/>
                  </a:cubicBezTo>
                  <a:close/>
                  <a:moveTo>
                    <a:pt x="1751" y="2433"/>
                  </a:moveTo>
                  <a:cubicBezTo>
                    <a:pt x="1754" y="2425"/>
                    <a:pt x="1757" y="2439"/>
                    <a:pt x="1751" y="2433"/>
                  </a:cubicBezTo>
                  <a:close/>
                  <a:moveTo>
                    <a:pt x="1748" y="166"/>
                  </a:moveTo>
                  <a:cubicBezTo>
                    <a:pt x="1751" y="164"/>
                    <a:pt x="1757" y="161"/>
                    <a:pt x="1760" y="164"/>
                  </a:cubicBezTo>
                  <a:cubicBezTo>
                    <a:pt x="1760" y="166"/>
                    <a:pt x="1751" y="164"/>
                    <a:pt x="1748" y="166"/>
                  </a:cubicBezTo>
                  <a:close/>
                  <a:moveTo>
                    <a:pt x="1757" y="175"/>
                  </a:moveTo>
                  <a:cubicBezTo>
                    <a:pt x="1754" y="169"/>
                    <a:pt x="1765" y="175"/>
                    <a:pt x="1757" y="175"/>
                  </a:cubicBezTo>
                  <a:close/>
                  <a:moveTo>
                    <a:pt x="1745" y="180"/>
                  </a:moveTo>
                  <a:cubicBezTo>
                    <a:pt x="1751" y="178"/>
                    <a:pt x="1740" y="189"/>
                    <a:pt x="1745" y="180"/>
                  </a:cubicBezTo>
                  <a:close/>
                  <a:moveTo>
                    <a:pt x="1748" y="2645"/>
                  </a:moveTo>
                  <a:cubicBezTo>
                    <a:pt x="1743" y="2651"/>
                    <a:pt x="1740" y="2636"/>
                    <a:pt x="1748" y="2645"/>
                  </a:cubicBezTo>
                  <a:close/>
                  <a:moveTo>
                    <a:pt x="1714" y="56"/>
                  </a:moveTo>
                  <a:cubicBezTo>
                    <a:pt x="1717" y="51"/>
                    <a:pt x="1723" y="65"/>
                    <a:pt x="1714" y="56"/>
                  </a:cubicBezTo>
                  <a:close/>
                  <a:moveTo>
                    <a:pt x="1712" y="102"/>
                  </a:moveTo>
                  <a:cubicBezTo>
                    <a:pt x="1709" y="82"/>
                    <a:pt x="1740" y="99"/>
                    <a:pt x="1712" y="102"/>
                  </a:cubicBezTo>
                  <a:close/>
                  <a:moveTo>
                    <a:pt x="1669" y="209"/>
                  </a:moveTo>
                  <a:cubicBezTo>
                    <a:pt x="1666" y="200"/>
                    <a:pt x="1658" y="192"/>
                    <a:pt x="1664" y="186"/>
                  </a:cubicBezTo>
                  <a:cubicBezTo>
                    <a:pt x="1658" y="178"/>
                    <a:pt x="1652" y="200"/>
                    <a:pt x="1647" y="186"/>
                  </a:cubicBezTo>
                  <a:cubicBezTo>
                    <a:pt x="1681" y="161"/>
                    <a:pt x="1709" y="186"/>
                    <a:pt x="1731" y="220"/>
                  </a:cubicBezTo>
                  <a:cubicBezTo>
                    <a:pt x="1712" y="226"/>
                    <a:pt x="1689" y="220"/>
                    <a:pt x="1669" y="209"/>
                  </a:cubicBezTo>
                  <a:close/>
                  <a:moveTo>
                    <a:pt x="1728" y="2478"/>
                  </a:moveTo>
                  <a:cubicBezTo>
                    <a:pt x="1743" y="2484"/>
                    <a:pt x="1720" y="2490"/>
                    <a:pt x="1728" y="2478"/>
                  </a:cubicBezTo>
                  <a:close/>
                  <a:moveTo>
                    <a:pt x="1717" y="2383"/>
                  </a:moveTo>
                  <a:cubicBezTo>
                    <a:pt x="1717" y="2380"/>
                    <a:pt x="1728" y="2380"/>
                    <a:pt x="1726" y="2385"/>
                  </a:cubicBezTo>
                  <a:lnTo>
                    <a:pt x="1720" y="2385"/>
                  </a:lnTo>
                  <a:cubicBezTo>
                    <a:pt x="1720" y="2383"/>
                    <a:pt x="1717" y="2383"/>
                    <a:pt x="1717" y="2383"/>
                  </a:cubicBezTo>
                  <a:close/>
                  <a:moveTo>
                    <a:pt x="1720" y="2682"/>
                  </a:moveTo>
                  <a:lnTo>
                    <a:pt x="1720" y="2687"/>
                  </a:lnTo>
                  <a:lnTo>
                    <a:pt x="1714" y="2687"/>
                  </a:lnTo>
                  <a:lnTo>
                    <a:pt x="1714" y="2682"/>
                  </a:lnTo>
                  <a:lnTo>
                    <a:pt x="1720" y="2682"/>
                  </a:lnTo>
                  <a:close/>
                  <a:moveTo>
                    <a:pt x="1703" y="228"/>
                  </a:moveTo>
                  <a:cubicBezTo>
                    <a:pt x="1703" y="223"/>
                    <a:pt x="1714" y="228"/>
                    <a:pt x="1703" y="228"/>
                  </a:cubicBezTo>
                  <a:close/>
                  <a:moveTo>
                    <a:pt x="1697" y="2682"/>
                  </a:moveTo>
                  <a:cubicBezTo>
                    <a:pt x="1697" y="2684"/>
                    <a:pt x="1692" y="2684"/>
                    <a:pt x="1692" y="2687"/>
                  </a:cubicBezTo>
                  <a:cubicBezTo>
                    <a:pt x="1689" y="2687"/>
                    <a:pt x="1689" y="2682"/>
                    <a:pt x="1689" y="2679"/>
                  </a:cubicBezTo>
                  <a:cubicBezTo>
                    <a:pt x="1692" y="2679"/>
                    <a:pt x="1695" y="2679"/>
                    <a:pt x="1697" y="2682"/>
                  </a:cubicBezTo>
                  <a:close/>
                  <a:moveTo>
                    <a:pt x="1692" y="2459"/>
                  </a:moveTo>
                  <a:cubicBezTo>
                    <a:pt x="1686" y="2467"/>
                    <a:pt x="1683" y="2450"/>
                    <a:pt x="1692" y="2459"/>
                  </a:cubicBezTo>
                  <a:close/>
                  <a:moveTo>
                    <a:pt x="1669" y="2676"/>
                  </a:moveTo>
                  <a:cubicBezTo>
                    <a:pt x="1669" y="2670"/>
                    <a:pt x="1678" y="2679"/>
                    <a:pt x="1669" y="2676"/>
                  </a:cubicBezTo>
                  <a:close/>
                  <a:moveTo>
                    <a:pt x="1658" y="226"/>
                  </a:moveTo>
                  <a:cubicBezTo>
                    <a:pt x="1658" y="226"/>
                    <a:pt x="1661" y="223"/>
                    <a:pt x="1658" y="226"/>
                  </a:cubicBezTo>
                  <a:cubicBezTo>
                    <a:pt x="1661" y="223"/>
                    <a:pt x="1664" y="226"/>
                    <a:pt x="1666" y="226"/>
                  </a:cubicBezTo>
                  <a:cubicBezTo>
                    <a:pt x="1664" y="226"/>
                    <a:pt x="1658" y="228"/>
                    <a:pt x="1658" y="226"/>
                  </a:cubicBezTo>
                  <a:close/>
                  <a:moveTo>
                    <a:pt x="1664" y="2329"/>
                  </a:moveTo>
                  <a:lnTo>
                    <a:pt x="1664" y="2335"/>
                  </a:lnTo>
                  <a:lnTo>
                    <a:pt x="1658" y="2335"/>
                  </a:lnTo>
                  <a:lnTo>
                    <a:pt x="1658" y="2329"/>
                  </a:lnTo>
                  <a:lnTo>
                    <a:pt x="1664" y="2329"/>
                  </a:lnTo>
                  <a:close/>
                  <a:moveTo>
                    <a:pt x="1678" y="121"/>
                  </a:moveTo>
                  <a:cubicBezTo>
                    <a:pt x="1678" y="124"/>
                    <a:pt x="1675" y="124"/>
                    <a:pt x="1672" y="127"/>
                  </a:cubicBezTo>
                  <a:cubicBezTo>
                    <a:pt x="1672" y="130"/>
                    <a:pt x="1672" y="127"/>
                    <a:pt x="1675" y="130"/>
                  </a:cubicBezTo>
                  <a:cubicBezTo>
                    <a:pt x="1678" y="127"/>
                    <a:pt x="1678" y="130"/>
                    <a:pt x="1681" y="127"/>
                  </a:cubicBezTo>
                  <a:cubicBezTo>
                    <a:pt x="1682" y="132"/>
                    <a:pt x="1688" y="135"/>
                    <a:pt x="1692" y="139"/>
                  </a:cubicBezTo>
                  <a:cubicBezTo>
                    <a:pt x="1693" y="133"/>
                    <a:pt x="1695" y="128"/>
                    <a:pt x="1697" y="121"/>
                  </a:cubicBezTo>
                  <a:cubicBezTo>
                    <a:pt x="1703" y="126"/>
                    <a:pt x="1701" y="138"/>
                    <a:pt x="1694" y="143"/>
                  </a:cubicBezTo>
                  <a:cubicBezTo>
                    <a:pt x="1695" y="144"/>
                    <a:pt x="1695" y="145"/>
                    <a:pt x="1695" y="147"/>
                  </a:cubicBezTo>
                  <a:cubicBezTo>
                    <a:pt x="1697" y="147"/>
                    <a:pt x="1698" y="149"/>
                    <a:pt x="1695" y="149"/>
                  </a:cubicBezTo>
                  <a:lnTo>
                    <a:pt x="1695" y="149"/>
                  </a:lnTo>
                  <a:cubicBezTo>
                    <a:pt x="1700" y="149"/>
                    <a:pt x="1706" y="155"/>
                    <a:pt x="1714" y="152"/>
                  </a:cubicBezTo>
                  <a:cubicBezTo>
                    <a:pt x="1709" y="164"/>
                    <a:pt x="1692" y="169"/>
                    <a:pt x="1681" y="164"/>
                  </a:cubicBezTo>
                  <a:cubicBezTo>
                    <a:pt x="1675" y="161"/>
                    <a:pt x="1669" y="155"/>
                    <a:pt x="1666" y="147"/>
                  </a:cubicBezTo>
                  <a:lnTo>
                    <a:pt x="1664" y="147"/>
                  </a:lnTo>
                  <a:cubicBezTo>
                    <a:pt x="1664" y="144"/>
                    <a:pt x="1669" y="144"/>
                    <a:pt x="1669" y="144"/>
                  </a:cubicBezTo>
                  <a:cubicBezTo>
                    <a:pt x="1669" y="138"/>
                    <a:pt x="1669" y="133"/>
                    <a:pt x="1672" y="130"/>
                  </a:cubicBezTo>
                  <a:cubicBezTo>
                    <a:pt x="1672" y="127"/>
                    <a:pt x="1669" y="124"/>
                    <a:pt x="1667" y="119"/>
                  </a:cubicBezTo>
                  <a:cubicBezTo>
                    <a:pt x="1665" y="119"/>
                    <a:pt x="1663" y="119"/>
                    <a:pt x="1661" y="118"/>
                  </a:cubicBezTo>
                  <a:cubicBezTo>
                    <a:pt x="1669" y="113"/>
                    <a:pt x="1681" y="99"/>
                    <a:pt x="1695" y="102"/>
                  </a:cubicBezTo>
                  <a:cubicBezTo>
                    <a:pt x="1697" y="104"/>
                    <a:pt x="1695" y="110"/>
                    <a:pt x="1695" y="113"/>
                  </a:cubicBezTo>
                  <a:cubicBezTo>
                    <a:pt x="1689" y="116"/>
                    <a:pt x="1683" y="110"/>
                    <a:pt x="1678" y="113"/>
                  </a:cubicBezTo>
                  <a:lnTo>
                    <a:pt x="1686" y="113"/>
                  </a:lnTo>
                  <a:lnTo>
                    <a:pt x="1686" y="118"/>
                  </a:lnTo>
                  <a:lnTo>
                    <a:pt x="1681" y="121"/>
                  </a:lnTo>
                  <a:cubicBezTo>
                    <a:pt x="1678" y="118"/>
                    <a:pt x="1678" y="116"/>
                    <a:pt x="1678" y="113"/>
                  </a:cubicBezTo>
                  <a:cubicBezTo>
                    <a:pt x="1678" y="114"/>
                    <a:pt x="1676" y="117"/>
                    <a:pt x="1672" y="118"/>
                  </a:cubicBezTo>
                  <a:cubicBezTo>
                    <a:pt x="1674" y="119"/>
                    <a:pt x="1676" y="121"/>
                    <a:pt x="1678" y="121"/>
                  </a:cubicBezTo>
                  <a:close/>
                  <a:moveTo>
                    <a:pt x="1706" y="107"/>
                  </a:moveTo>
                  <a:lnTo>
                    <a:pt x="1714" y="107"/>
                  </a:lnTo>
                  <a:cubicBezTo>
                    <a:pt x="1714" y="110"/>
                    <a:pt x="1709" y="113"/>
                    <a:pt x="1709" y="116"/>
                  </a:cubicBezTo>
                  <a:cubicBezTo>
                    <a:pt x="1703" y="116"/>
                    <a:pt x="1709" y="113"/>
                    <a:pt x="1706" y="107"/>
                  </a:cubicBezTo>
                  <a:close/>
                  <a:moveTo>
                    <a:pt x="1712" y="149"/>
                  </a:moveTo>
                  <a:cubicBezTo>
                    <a:pt x="1706" y="152"/>
                    <a:pt x="1706" y="144"/>
                    <a:pt x="1703" y="147"/>
                  </a:cubicBezTo>
                  <a:cubicBezTo>
                    <a:pt x="1700" y="144"/>
                    <a:pt x="1712" y="144"/>
                    <a:pt x="1712" y="149"/>
                  </a:cubicBezTo>
                  <a:close/>
                  <a:moveTo>
                    <a:pt x="1712" y="118"/>
                  </a:moveTo>
                  <a:cubicBezTo>
                    <a:pt x="1712" y="113"/>
                    <a:pt x="1717" y="110"/>
                    <a:pt x="1717" y="104"/>
                  </a:cubicBezTo>
                  <a:lnTo>
                    <a:pt x="1726" y="104"/>
                  </a:lnTo>
                  <a:cubicBezTo>
                    <a:pt x="1726" y="116"/>
                    <a:pt x="1717" y="118"/>
                    <a:pt x="1712" y="118"/>
                  </a:cubicBezTo>
                  <a:close/>
                  <a:moveTo>
                    <a:pt x="1712" y="70"/>
                  </a:moveTo>
                  <a:cubicBezTo>
                    <a:pt x="1714" y="65"/>
                    <a:pt x="1714" y="79"/>
                    <a:pt x="1712" y="70"/>
                  </a:cubicBezTo>
                  <a:close/>
                  <a:moveTo>
                    <a:pt x="1712" y="104"/>
                  </a:moveTo>
                  <a:cubicBezTo>
                    <a:pt x="1706" y="110"/>
                    <a:pt x="1703" y="96"/>
                    <a:pt x="1712" y="104"/>
                  </a:cubicBezTo>
                  <a:close/>
                  <a:moveTo>
                    <a:pt x="1703" y="56"/>
                  </a:moveTo>
                  <a:cubicBezTo>
                    <a:pt x="1697" y="59"/>
                    <a:pt x="1697" y="48"/>
                    <a:pt x="1697" y="45"/>
                  </a:cubicBezTo>
                  <a:cubicBezTo>
                    <a:pt x="1703" y="39"/>
                    <a:pt x="1706" y="54"/>
                    <a:pt x="1703" y="56"/>
                  </a:cubicBezTo>
                  <a:close/>
                  <a:moveTo>
                    <a:pt x="1692" y="31"/>
                  </a:moveTo>
                  <a:lnTo>
                    <a:pt x="1700" y="31"/>
                  </a:lnTo>
                  <a:cubicBezTo>
                    <a:pt x="1700" y="34"/>
                    <a:pt x="1697" y="37"/>
                    <a:pt x="1695" y="37"/>
                  </a:cubicBezTo>
                  <a:lnTo>
                    <a:pt x="1692" y="37"/>
                  </a:lnTo>
                  <a:cubicBezTo>
                    <a:pt x="1695" y="37"/>
                    <a:pt x="1692" y="34"/>
                    <a:pt x="1692" y="31"/>
                  </a:cubicBezTo>
                  <a:close/>
                  <a:moveTo>
                    <a:pt x="1695" y="68"/>
                  </a:moveTo>
                  <a:cubicBezTo>
                    <a:pt x="1695" y="65"/>
                    <a:pt x="1697" y="62"/>
                    <a:pt x="1697" y="59"/>
                  </a:cubicBezTo>
                  <a:cubicBezTo>
                    <a:pt x="1700" y="59"/>
                    <a:pt x="1703" y="68"/>
                    <a:pt x="1703" y="70"/>
                  </a:cubicBezTo>
                  <a:lnTo>
                    <a:pt x="1706" y="70"/>
                  </a:lnTo>
                  <a:cubicBezTo>
                    <a:pt x="1706" y="73"/>
                    <a:pt x="1700" y="73"/>
                    <a:pt x="1697" y="73"/>
                  </a:cubicBezTo>
                  <a:lnTo>
                    <a:pt x="1695" y="68"/>
                  </a:lnTo>
                  <a:close/>
                  <a:moveTo>
                    <a:pt x="1689" y="82"/>
                  </a:moveTo>
                  <a:lnTo>
                    <a:pt x="1686" y="85"/>
                  </a:lnTo>
                  <a:cubicBezTo>
                    <a:pt x="1686" y="82"/>
                    <a:pt x="1686" y="76"/>
                    <a:pt x="1689" y="82"/>
                  </a:cubicBezTo>
                  <a:close/>
                  <a:moveTo>
                    <a:pt x="1672" y="31"/>
                  </a:moveTo>
                  <a:cubicBezTo>
                    <a:pt x="1678" y="25"/>
                    <a:pt x="1678" y="39"/>
                    <a:pt x="1672" y="31"/>
                  </a:cubicBezTo>
                  <a:close/>
                  <a:moveTo>
                    <a:pt x="1669" y="65"/>
                  </a:moveTo>
                  <a:cubicBezTo>
                    <a:pt x="1669" y="68"/>
                    <a:pt x="1672" y="68"/>
                    <a:pt x="1675" y="65"/>
                  </a:cubicBezTo>
                  <a:cubicBezTo>
                    <a:pt x="1681" y="68"/>
                    <a:pt x="1666" y="79"/>
                    <a:pt x="1664" y="70"/>
                  </a:cubicBezTo>
                  <a:lnTo>
                    <a:pt x="1669" y="65"/>
                  </a:lnTo>
                  <a:close/>
                  <a:moveTo>
                    <a:pt x="1652" y="102"/>
                  </a:moveTo>
                  <a:cubicBezTo>
                    <a:pt x="1661" y="87"/>
                    <a:pt x="1652" y="113"/>
                    <a:pt x="1652" y="102"/>
                  </a:cubicBezTo>
                  <a:close/>
                  <a:moveTo>
                    <a:pt x="1649" y="42"/>
                  </a:moveTo>
                  <a:cubicBezTo>
                    <a:pt x="1648" y="43"/>
                    <a:pt x="1646" y="43"/>
                    <a:pt x="1645" y="42"/>
                  </a:cubicBezTo>
                  <a:cubicBezTo>
                    <a:pt x="1643" y="43"/>
                    <a:pt x="1640" y="44"/>
                    <a:pt x="1638" y="42"/>
                  </a:cubicBezTo>
                  <a:cubicBezTo>
                    <a:pt x="1638" y="45"/>
                    <a:pt x="1638" y="42"/>
                    <a:pt x="1635" y="45"/>
                  </a:cubicBezTo>
                  <a:cubicBezTo>
                    <a:pt x="1624" y="48"/>
                    <a:pt x="1621" y="31"/>
                    <a:pt x="1627" y="28"/>
                  </a:cubicBezTo>
                  <a:cubicBezTo>
                    <a:pt x="1630" y="28"/>
                    <a:pt x="1635" y="31"/>
                    <a:pt x="1638" y="37"/>
                  </a:cubicBezTo>
                  <a:cubicBezTo>
                    <a:pt x="1640" y="37"/>
                    <a:pt x="1641" y="37"/>
                    <a:pt x="1643" y="37"/>
                  </a:cubicBezTo>
                  <a:cubicBezTo>
                    <a:pt x="1642" y="36"/>
                    <a:pt x="1642" y="35"/>
                    <a:pt x="1641" y="34"/>
                  </a:cubicBezTo>
                  <a:cubicBezTo>
                    <a:pt x="1649" y="31"/>
                    <a:pt x="1649" y="39"/>
                    <a:pt x="1649" y="42"/>
                  </a:cubicBezTo>
                  <a:close/>
                  <a:moveTo>
                    <a:pt x="1647" y="155"/>
                  </a:moveTo>
                  <a:cubicBezTo>
                    <a:pt x="1638" y="164"/>
                    <a:pt x="1635" y="149"/>
                    <a:pt x="1647" y="155"/>
                  </a:cubicBezTo>
                  <a:close/>
                  <a:moveTo>
                    <a:pt x="1633" y="73"/>
                  </a:moveTo>
                  <a:cubicBezTo>
                    <a:pt x="1633" y="70"/>
                    <a:pt x="1638" y="68"/>
                    <a:pt x="1641" y="68"/>
                  </a:cubicBezTo>
                  <a:cubicBezTo>
                    <a:pt x="1641" y="70"/>
                    <a:pt x="1635" y="73"/>
                    <a:pt x="1633" y="73"/>
                  </a:cubicBezTo>
                  <a:close/>
                  <a:moveTo>
                    <a:pt x="1638" y="65"/>
                  </a:moveTo>
                  <a:cubicBezTo>
                    <a:pt x="1638" y="59"/>
                    <a:pt x="1647" y="70"/>
                    <a:pt x="1638" y="65"/>
                  </a:cubicBezTo>
                  <a:close/>
                  <a:moveTo>
                    <a:pt x="1635" y="54"/>
                  </a:moveTo>
                  <a:cubicBezTo>
                    <a:pt x="1633" y="56"/>
                    <a:pt x="1635" y="62"/>
                    <a:pt x="1630" y="62"/>
                  </a:cubicBezTo>
                  <a:cubicBezTo>
                    <a:pt x="1630" y="59"/>
                    <a:pt x="1630" y="56"/>
                    <a:pt x="1627" y="56"/>
                  </a:cubicBezTo>
                  <a:cubicBezTo>
                    <a:pt x="1630" y="56"/>
                    <a:pt x="1633" y="56"/>
                    <a:pt x="1635" y="54"/>
                  </a:cubicBezTo>
                  <a:close/>
                  <a:moveTo>
                    <a:pt x="1604" y="20"/>
                  </a:moveTo>
                  <a:cubicBezTo>
                    <a:pt x="1610" y="17"/>
                    <a:pt x="1610" y="31"/>
                    <a:pt x="1618" y="28"/>
                  </a:cubicBezTo>
                  <a:cubicBezTo>
                    <a:pt x="1618" y="34"/>
                    <a:pt x="1616" y="37"/>
                    <a:pt x="1610" y="37"/>
                  </a:cubicBezTo>
                  <a:lnTo>
                    <a:pt x="1607" y="37"/>
                  </a:lnTo>
                  <a:cubicBezTo>
                    <a:pt x="1601" y="34"/>
                    <a:pt x="1601" y="23"/>
                    <a:pt x="1604" y="20"/>
                  </a:cubicBezTo>
                  <a:close/>
                  <a:moveTo>
                    <a:pt x="1607" y="144"/>
                  </a:moveTo>
                  <a:cubicBezTo>
                    <a:pt x="1610" y="152"/>
                    <a:pt x="1624" y="149"/>
                    <a:pt x="1630" y="144"/>
                  </a:cubicBezTo>
                  <a:cubicBezTo>
                    <a:pt x="1635" y="149"/>
                    <a:pt x="1618" y="155"/>
                    <a:pt x="1613" y="161"/>
                  </a:cubicBezTo>
                  <a:cubicBezTo>
                    <a:pt x="1613" y="152"/>
                    <a:pt x="1599" y="158"/>
                    <a:pt x="1599" y="149"/>
                  </a:cubicBezTo>
                  <a:cubicBezTo>
                    <a:pt x="1604" y="147"/>
                    <a:pt x="1607" y="147"/>
                    <a:pt x="1607" y="144"/>
                  </a:cubicBezTo>
                  <a:close/>
                  <a:moveTo>
                    <a:pt x="1621" y="220"/>
                  </a:moveTo>
                  <a:cubicBezTo>
                    <a:pt x="1624" y="215"/>
                    <a:pt x="1632" y="222"/>
                    <a:pt x="1623" y="220"/>
                  </a:cubicBezTo>
                  <a:cubicBezTo>
                    <a:pt x="1622" y="220"/>
                    <a:pt x="1622" y="220"/>
                    <a:pt x="1621" y="220"/>
                  </a:cubicBezTo>
                  <a:close/>
                  <a:moveTo>
                    <a:pt x="1621" y="220"/>
                  </a:moveTo>
                  <a:cubicBezTo>
                    <a:pt x="1623" y="222"/>
                    <a:pt x="1624" y="221"/>
                    <a:pt x="1623" y="220"/>
                  </a:cubicBezTo>
                  <a:cubicBezTo>
                    <a:pt x="1622" y="220"/>
                    <a:pt x="1622" y="220"/>
                    <a:pt x="1621" y="220"/>
                  </a:cubicBezTo>
                  <a:close/>
                  <a:moveTo>
                    <a:pt x="1624" y="155"/>
                  </a:moveTo>
                  <a:cubicBezTo>
                    <a:pt x="1627" y="149"/>
                    <a:pt x="1621" y="164"/>
                    <a:pt x="1624" y="155"/>
                  </a:cubicBezTo>
                  <a:close/>
                  <a:moveTo>
                    <a:pt x="1618" y="226"/>
                  </a:moveTo>
                  <a:cubicBezTo>
                    <a:pt x="1618" y="220"/>
                    <a:pt x="1627" y="228"/>
                    <a:pt x="1618" y="226"/>
                  </a:cubicBezTo>
                  <a:close/>
                  <a:moveTo>
                    <a:pt x="1607" y="2653"/>
                  </a:moveTo>
                  <a:cubicBezTo>
                    <a:pt x="1601" y="2659"/>
                    <a:pt x="1593" y="2651"/>
                    <a:pt x="1607" y="2653"/>
                  </a:cubicBezTo>
                  <a:close/>
                  <a:moveTo>
                    <a:pt x="1596" y="2761"/>
                  </a:moveTo>
                  <a:cubicBezTo>
                    <a:pt x="1596" y="2755"/>
                    <a:pt x="1607" y="2763"/>
                    <a:pt x="1596" y="2761"/>
                  </a:cubicBezTo>
                  <a:close/>
                  <a:moveTo>
                    <a:pt x="1601" y="209"/>
                  </a:moveTo>
                  <a:cubicBezTo>
                    <a:pt x="1601" y="203"/>
                    <a:pt x="1613" y="212"/>
                    <a:pt x="1601" y="209"/>
                  </a:cubicBezTo>
                  <a:close/>
                  <a:moveTo>
                    <a:pt x="1607" y="2735"/>
                  </a:moveTo>
                  <a:cubicBezTo>
                    <a:pt x="1613" y="2738"/>
                    <a:pt x="1604" y="2746"/>
                    <a:pt x="1601" y="2746"/>
                  </a:cubicBezTo>
                  <a:cubicBezTo>
                    <a:pt x="1599" y="2741"/>
                    <a:pt x="1607" y="2741"/>
                    <a:pt x="1607" y="2735"/>
                  </a:cubicBezTo>
                  <a:close/>
                  <a:moveTo>
                    <a:pt x="1599" y="147"/>
                  </a:moveTo>
                  <a:cubicBezTo>
                    <a:pt x="1596" y="141"/>
                    <a:pt x="1607" y="147"/>
                    <a:pt x="1599" y="147"/>
                  </a:cubicBezTo>
                  <a:close/>
                  <a:moveTo>
                    <a:pt x="1604" y="155"/>
                  </a:moveTo>
                  <a:cubicBezTo>
                    <a:pt x="1601" y="158"/>
                    <a:pt x="1601" y="164"/>
                    <a:pt x="1599" y="164"/>
                  </a:cubicBezTo>
                  <a:cubicBezTo>
                    <a:pt x="1599" y="161"/>
                    <a:pt x="1599" y="158"/>
                    <a:pt x="1596" y="155"/>
                  </a:cubicBezTo>
                  <a:lnTo>
                    <a:pt x="1604" y="155"/>
                  </a:lnTo>
                  <a:close/>
                  <a:moveTo>
                    <a:pt x="1590" y="217"/>
                  </a:moveTo>
                  <a:cubicBezTo>
                    <a:pt x="1593" y="209"/>
                    <a:pt x="1596" y="223"/>
                    <a:pt x="1590" y="217"/>
                  </a:cubicBezTo>
                  <a:close/>
                  <a:moveTo>
                    <a:pt x="1590" y="189"/>
                  </a:moveTo>
                  <a:cubicBezTo>
                    <a:pt x="1585" y="192"/>
                    <a:pt x="1573" y="192"/>
                    <a:pt x="1573" y="183"/>
                  </a:cubicBezTo>
                  <a:cubicBezTo>
                    <a:pt x="1576" y="189"/>
                    <a:pt x="1590" y="183"/>
                    <a:pt x="1590" y="189"/>
                  </a:cubicBezTo>
                  <a:close/>
                  <a:moveTo>
                    <a:pt x="1582" y="2583"/>
                  </a:moveTo>
                  <a:cubicBezTo>
                    <a:pt x="1582" y="2577"/>
                    <a:pt x="1590" y="2586"/>
                    <a:pt x="1582" y="2583"/>
                  </a:cubicBezTo>
                  <a:close/>
                  <a:moveTo>
                    <a:pt x="1579" y="217"/>
                  </a:moveTo>
                  <a:cubicBezTo>
                    <a:pt x="1579" y="212"/>
                    <a:pt x="1587" y="220"/>
                    <a:pt x="1579" y="217"/>
                  </a:cubicBezTo>
                  <a:close/>
                  <a:moveTo>
                    <a:pt x="1579" y="155"/>
                  </a:moveTo>
                  <a:cubicBezTo>
                    <a:pt x="1587" y="158"/>
                    <a:pt x="1587" y="175"/>
                    <a:pt x="1587" y="183"/>
                  </a:cubicBezTo>
                  <a:cubicBezTo>
                    <a:pt x="1573" y="186"/>
                    <a:pt x="1556" y="161"/>
                    <a:pt x="1579" y="155"/>
                  </a:cubicBezTo>
                  <a:close/>
                  <a:moveTo>
                    <a:pt x="1562" y="178"/>
                  </a:moveTo>
                  <a:cubicBezTo>
                    <a:pt x="1565" y="169"/>
                    <a:pt x="1570" y="183"/>
                    <a:pt x="1562" y="178"/>
                  </a:cubicBezTo>
                  <a:close/>
                  <a:moveTo>
                    <a:pt x="1565" y="99"/>
                  </a:moveTo>
                  <a:cubicBezTo>
                    <a:pt x="1565" y="96"/>
                    <a:pt x="1573" y="102"/>
                    <a:pt x="1565" y="99"/>
                  </a:cubicBezTo>
                  <a:close/>
                  <a:moveTo>
                    <a:pt x="1579" y="11"/>
                  </a:moveTo>
                  <a:cubicBezTo>
                    <a:pt x="1582" y="11"/>
                    <a:pt x="1585" y="14"/>
                    <a:pt x="1585" y="17"/>
                  </a:cubicBezTo>
                  <a:cubicBezTo>
                    <a:pt x="1579" y="20"/>
                    <a:pt x="1576" y="14"/>
                    <a:pt x="1579" y="11"/>
                  </a:cubicBezTo>
                  <a:close/>
                  <a:moveTo>
                    <a:pt x="1576" y="28"/>
                  </a:moveTo>
                  <a:cubicBezTo>
                    <a:pt x="1579" y="31"/>
                    <a:pt x="1585" y="31"/>
                    <a:pt x="1585" y="39"/>
                  </a:cubicBezTo>
                  <a:cubicBezTo>
                    <a:pt x="1576" y="51"/>
                    <a:pt x="1568" y="37"/>
                    <a:pt x="1565" y="39"/>
                  </a:cubicBezTo>
                  <a:cubicBezTo>
                    <a:pt x="1562" y="34"/>
                    <a:pt x="1570" y="34"/>
                    <a:pt x="1576" y="28"/>
                  </a:cubicBezTo>
                  <a:close/>
                  <a:moveTo>
                    <a:pt x="1573" y="51"/>
                  </a:moveTo>
                  <a:cubicBezTo>
                    <a:pt x="1579" y="54"/>
                    <a:pt x="1562" y="54"/>
                    <a:pt x="1573" y="51"/>
                  </a:cubicBezTo>
                  <a:close/>
                  <a:moveTo>
                    <a:pt x="1562" y="56"/>
                  </a:moveTo>
                  <a:cubicBezTo>
                    <a:pt x="1579" y="56"/>
                    <a:pt x="1576" y="79"/>
                    <a:pt x="1582" y="87"/>
                  </a:cubicBezTo>
                  <a:cubicBezTo>
                    <a:pt x="1576" y="96"/>
                    <a:pt x="1568" y="96"/>
                    <a:pt x="1562" y="96"/>
                  </a:cubicBezTo>
                  <a:cubicBezTo>
                    <a:pt x="1562" y="99"/>
                    <a:pt x="1565" y="104"/>
                    <a:pt x="1568" y="104"/>
                  </a:cubicBezTo>
                  <a:cubicBezTo>
                    <a:pt x="1562" y="107"/>
                    <a:pt x="1562" y="96"/>
                    <a:pt x="1556" y="96"/>
                  </a:cubicBezTo>
                  <a:cubicBezTo>
                    <a:pt x="1551" y="96"/>
                    <a:pt x="1554" y="104"/>
                    <a:pt x="1548" y="107"/>
                  </a:cubicBezTo>
                  <a:cubicBezTo>
                    <a:pt x="1548" y="104"/>
                    <a:pt x="1548" y="104"/>
                    <a:pt x="1545" y="102"/>
                  </a:cubicBezTo>
                  <a:cubicBezTo>
                    <a:pt x="1537" y="110"/>
                    <a:pt x="1520" y="102"/>
                    <a:pt x="1517" y="85"/>
                  </a:cubicBezTo>
                  <a:cubicBezTo>
                    <a:pt x="1522" y="85"/>
                    <a:pt x="1528" y="82"/>
                    <a:pt x="1534" y="79"/>
                  </a:cubicBezTo>
                  <a:cubicBezTo>
                    <a:pt x="1537" y="93"/>
                    <a:pt x="1542" y="90"/>
                    <a:pt x="1551" y="96"/>
                  </a:cubicBezTo>
                  <a:cubicBezTo>
                    <a:pt x="1556" y="93"/>
                    <a:pt x="1548" y="90"/>
                    <a:pt x="1551" y="87"/>
                  </a:cubicBezTo>
                  <a:cubicBezTo>
                    <a:pt x="1553" y="87"/>
                    <a:pt x="1553" y="87"/>
                    <a:pt x="1554" y="89"/>
                  </a:cubicBezTo>
                  <a:cubicBezTo>
                    <a:pt x="1553" y="79"/>
                    <a:pt x="1550" y="76"/>
                    <a:pt x="1542" y="79"/>
                  </a:cubicBezTo>
                  <a:cubicBezTo>
                    <a:pt x="1551" y="56"/>
                    <a:pt x="1559" y="70"/>
                    <a:pt x="1562" y="56"/>
                  </a:cubicBezTo>
                  <a:close/>
                  <a:moveTo>
                    <a:pt x="1525" y="2777"/>
                  </a:moveTo>
                  <a:cubicBezTo>
                    <a:pt x="1525" y="2783"/>
                    <a:pt x="1520" y="2783"/>
                    <a:pt x="1517" y="2786"/>
                  </a:cubicBezTo>
                  <a:cubicBezTo>
                    <a:pt x="1517" y="2780"/>
                    <a:pt x="1522" y="2777"/>
                    <a:pt x="1525" y="2777"/>
                  </a:cubicBezTo>
                  <a:close/>
                  <a:moveTo>
                    <a:pt x="1517" y="180"/>
                  </a:moveTo>
                  <a:cubicBezTo>
                    <a:pt x="1525" y="178"/>
                    <a:pt x="1517" y="192"/>
                    <a:pt x="1517" y="180"/>
                  </a:cubicBezTo>
                  <a:close/>
                  <a:moveTo>
                    <a:pt x="1539" y="82"/>
                  </a:moveTo>
                  <a:cubicBezTo>
                    <a:pt x="1542" y="76"/>
                    <a:pt x="1551" y="87"/>
                    <a:pt x="1539" y="82"/>
                  </a:cubicBezTo>
                  <a:close/>
                  <a:moveTo>
                    <a:pt x="1554" y="62"/>
                  </a:moveTo>
                  <a:cubicBezTo>
                    <a:pt x="1554" y="68"/>
                    <a:pt x="1542" y="62"/>
                    <a:pt x="1542" y="59"/>
                  </a:cubicBezTo>
                  <a:cubicBezTo>
                    <a:pt x="1539" y="65"/>
                    <a:pt x="1528" y="68"/>
                    <a:pt x="1528" y="76"/>
                  </a:cubicBezTo>
                  <a:cubicBezTo>
                    <a:pt x="1520" y="73"/>
                    <a:pt x="1520" y="68"/>
                    <a:pt x="1508" y="76"/>
                  </a:cubicBezTo>
                  <a:cubicBezTo>
                    <a:pt x="1511" y="70"/>
                    <a:pt x="1511" y="62"/>
                    <a:pt x="1520" y="62"/>
                  </a:cubicBezTo>
                  <a:cubicBezTo>
                    <a:pt x="1520" y="63"/>
                    <a:pt x="1520" y="63"/>
                    <a:pt x="1521" y="64"/>
                  </a:cubicBezTo>
                  <a:cubicBezTo>
                    <a:pt x="1522" y="60"/>
                    <a:pt x="1525" y="58"/>
                    <a:pt x="1522" y="54"/>
                  </a:cubicBezTo>
                  <a:cubicBezTo>
                    <a:pt x="1528" y="45"/>
                    <a:pt x="1542" y="45"/>
                    <a:pt x="1548" y="54"/>
                  </a:cubicBezTo>
                  <a:cubicBezTo>
                    <a:pt x="1551" y="56"/>
                    <a:pt x="1551" y="59"/>
                    <a:pt x="1554" y="62"/>
                  </a:cubicBezTo>
                  <a:close/>
                  <a:moveTo>
                    <a:pt x="1517" y="68"/>
                  </a:moveTo>
                  <a:cubicBezTo>
                    <a:pt x="1517" y="70"/>
                    <a:pt x="1517" y="70"/>
                    <a:pt x="1520" y="68"/>
                  </a:cubicBezTo>
                  <a:cubicBezTo>
                    <a:pt x="1520" y="67"/>
                    <a:pt x="1520" y="67"/>
                    <a:pt x="1520" y="66"/>
                  </a:cubicBezTo>
                  <a:cubicBezTo>
                    <a:pt x="1519" y="66"/>
                    <a:pt x="1518" y="67"/>
                    <a:pt x="1517" y="68"/>
                  </a:cubicBezTo>
                  <a:close/>
                  <a:moveTo>
                    <a:pt x="1508" y="223"/>
                  </a:moveTo>
                  <a:cubicBezTo>
                    <a:pt x="1508" y="220"/>
                    <a:pt x="1514" y="217"/>
                    <a:pt x="1517" y="220"/>
                  </a:cubicBezTo>
                  <a:cubicBezTo>
                    <a:pt x="1517" y="223"/>
                    <a:pt x="1517" y="226"/>
                    <a:pt x="1514" y="226"/>
                  </a:cubicBezTo>
                  <a:lnTo>
                    <a:pt x="1514" y="228"/>
                  </a:lnTo>
                  <a:cubicBezTo>
                    <a:pt x="1512" y="228"/>
                    <a:pt x="1511" y="225"/>
                    <a:pt x="1510" y="223"/>
                  </a:cubicBezTo>
                  <a:cubicBezTo>
                    <a:pt x="1510" y="224"/>
                    <a:pt x="1508" y="225"/>
                    <a:pt x="1508" y="223"/>
                  </a:cubicBezTo>
                  <a:close/>
                  <a:moveTo>
                    <a:pt x="1508" y="2391"/>
                  </a:moveTo>
                  <a:lnTo>
                    <a:pt x="1508" y="2390"/>
                  </a:lnTo>
                  <a:cubicBezTo>
                    <a:pt x="1510" y="2391"/>
                    <a:pt x="1511" y="2392"/>
                    <a:pt x="1508" y="2391"/>
                  </a:cubicBezTo>
                  <a:cubicBezTo>
                    <a:pt x="1506" y="2388"/>
                    <a:pt x="1507" y="2389"/>
                    <a:pt x="1508" y="2390"/>
                  </a:cubicBezTo>
                  <a:lnTo>
                    <a:pt x="1508" y="2391"/>
                  </a:lnTo>
                  <a:close/>
                  <a:moveTo>
                    <a:pt x="1531" y="14"/>
                  </a:moveTo>
                  <a:cubicBezTo>
                    <a:pt x="1528" y="8"/>
                    <a:pt x="1522" y="8"/>
                    <a:pt x="1517" y="6"/>
                  </a:cubicBezTo>
                  <a:cubicBezTo>
                    <a:pt x="1520" y="0"/>
                    <a:pt x="1537" y="11"/>
                    <a:pt x="1531" y="14"/>
                  </a:cubicBezTo>
                  <a:close/>
                  <a:moveTo>
                    <a:pt x="1520" y="56"/>
                  </a:moveTo>
                  <a:lnTo>
                    <a:pt x="1506" y="56"/>
                  </a:lnTo>
                  <a:cubicBezTo>
                    <a:pt x="1506" y="54"/>
                    <a:pt x="1520" y="51"/>
                    <a:pt x="1520" y="56"/>
                  </a:cubicBezTo>
                  <a:close/>
                  <a:moveTo>
                    <a:pt x="1497" y="65"/>
                  </a:moveTo>
                  <a:cubicBezTo>
                    <a:pt x="1500" y="65"/>
                    <a:pt x="1503" y="68"/>
                    <a:pt x="1506" y="73"/>
                  </a:cubicBezTo>
                  <a:cubicBezTo>
                    <a:pt x="1500" y="76"/>
                    <a:pt x="1497" y="70"/>
                    <a:pt x="1497" y="65"/>
                  </a:cubicBezTo>
                  <a:close/>
                  <a:moveTo>
                    <a:pt x="1494" y="2402"/>
                  </a:moveTo>
                  <a:cubicBezTo>
                    <a:pt x="1494" y="2397"/>
                    <a:pt x="1506" y="2405"/>
                    <a:pt x="1494" y="2402"/>
                  </a:cubicBezTo>
                  <a:close/>
                  <a:moveTo>
                    <a:pt x="1494" y="8"/>
                  </a:moveTo>
                  <a:cubicBezTo>
                    <a:pt x="1494" y="11"/>
                    <a:pt x="1486" y="14"/>
                    <a:pt x="1483" y="14"/>
                  </a:cubicBezTo>
                  <a:cubicBezTo>
                    <a:pt x="1483" y="11"/>
                    <a:pt x="1491" y="11"/>
                    <a:pt x="1494" y="8"/>
                  </a:cubicBezTo>
                  <a:close/>
                  <a:moveTo>
                    <a:pt x="1472" y="11"/>
                  </a:moveTo>
                  <a:cubicBezTo>
                    <a:pt x="1477" y="11"/>
                    <a:pt x="1483" y="14"/>
                    <a:pt x="1486" y="20"/>
                  </a:cubicBezTo>
                  <a:cubicBezTo>
                    <a:pt x="1480" y="20"/>
                    <a:pt x="1480" y="25"/>
                    <a:pt x="1475" y="25"/>
                  </a:cubicBezTo>
                  <a:cubicBezTo>
                    <a:pt x="1469" y="17"/>
                    <a:pt x="1475" y="23"/>
                    <a:pt x="1472" y="11"/>
                  </a:cubicBezTo>
                  <a:close/>
                  <a:moveTo>
                    <a:pt x="1486" y="2459"/>
                  </a:moveTo>
                  <a:cubicBezTo>
                    <a:pt x="1483" y="2467"/>
                    <a:pt x="1477" y="2450"/>
                    <a:pt x="1486" y="2453"/>
                  </a:cubicBezTo>
                  <a:cubicBezTo>
                    <a:pt x="1486" y="2453"/>
                    <a:pt x="1483" y="2459"/>
                    <a:pt x="1486" y="2459"/>
                  </a:cubicBezTo>
                  <a:close/>
                  <a:moveTo>
                    <a:pt x="1475" y="2651"/>
                  </a:moveTo>
                  <a:cubicBezTo>
                    <a:pt x="1466" y="2648"/>
                    <a:pt x="1477" y="2636"/>
                    <a:pt x="1483" y="2634"/>
                  </a:cubicBezTo>
                  <a:cubicBezTo>
                    <a:pt x="1483" y="2642"/>
                    <a:pt x="1475" y="2645"/>
                    <a:pt x="1475" y="2651"/>
                  </a:cubicBezTo>
                  <a:close/>
                  <a:moveTo>
                    <a:pt x="1480" y="2786"/>
                  </a:moveTo>
                  <a:cubicBezTo>
                    <a:pt x="1480" y="2789"/>
                    <a:pt x="1475" y="2792"/>
                    <a:pt x="1472" y="2792"/>
                  </a:cubicBezTo>
                  <a:cubicBezTo>
                    <a:pt x="1472" y="2789"/>
                    <a:pt x="1477" y="2786"/>
                    <a:pt x="1480" y="2786"/>
                  </a:cubicBezTo>
                  <a:close/>
                  <a:moveTo>
                    <a:pt x="1480" y="226"/>
                  </a:moveTo>
                  <a:cubicBezTo>
                    <a:pt x="1489" y="231"/>
                    <a:pt x="1469" y="231"/>
                    <a:pt x="1480" y="226"/>
                  </a:cubicBezTo>
                  <a:close/>
                  <a:moveTo>
                    <a:pt x="1480" y="82"/>
                  </a:moveTo>
                  <a:cubicBezTo>
                    <a:pt x="1480" y="82"/>
                    <a:pt x="1477" y="79"/>
                    <a:pt x="1477" y="76"/>
                  </a:cubicBezTo>
                  <a:lnTo>
                    <a:pt x="1480" y="76"/>
                  </a:lnTo>
                  <a:lnTo>
                    <a:pt x="1480" y="82"/>
                  </a:lnTo>
                  <a:close/>
                  <a:moveTo>
                    <a:pt x="1469" y="203"/>
                  </a:moveTo>
                  <a:cubicBezTo>
                    <a:pt x="1469" y="200"/>
                    <a:pt x="1466" y="195"/>
                    <a:pt x="1463" y="195"/>
                  </a:cubicBezTo>
                  <a:cubicBezTo>
                    <a:pt x="1466" y="189"/>
                    <a:pt x="1480" y="203"/>
                    <a:pt x="1469" y="203"/>
                  </a:cubicBezTo>
                  <a:close/>
                  <a:moveTo>
                    <a:pt x="1459" y="2329"/>
                  </a:moveTo>
                  <a:lnTo>
                    <a:pt x="1459" y="2320"/>
                  </a:lnTo>
                  <a:cubicBezTo>
                    <a:pt x="1463" y="2318"/>
                    <a:pt x="1463" y="2332"/>
                    <a:pt x="1459" y="2329"/>
                  </a:cubicBezTo>
                  <a:close/>
                  <a:moveTo>
                    <a:pt x="1459" y="2244"/>
                  </a:moveTo>
                  <a:cubicBezTo>
                    <a:pt x="1459" y="2239"/>
                    <a:pt x="1469" y="2247"/>
                    <a:pt x="1459" y="2244"/>
                  </a:cubicBezTo>
                  <a:close/>
                  <a:moveTo>
                    <a:pt x="1466" y="2538"/>
                  </a:moveTo>
                  <a:cubicBezTo>
                    <a:pt x="1460" y="2543"/>
                    <a:pt x="1459" y="2529"/>
                    <a:pt x="1466" y="2538"/>
                  </a:cubicBezTo>
                  <a:close/>
                  <a:moveTo>
                    <a:pt x="1456" y="226"/>
                  </a:moveTo>
                  <a:cubicBezTo>
                    <a:pt x="1460" y="226"/>
                    <a:pt x="1463" y="231"/>
                    <a:pt x="1469" y="231"/>
                  </a:cubicBezTo>
                  <a:cubicBezTo>
                    <a:pt x="1466" y="237"/>
                    <a:pt x="1456" y="231"/>
                    <a:pt x="1456" y="226"/>
                  </a:cubicBezTo>
                  <a:close/>
                  <a:moveTo>
                    <a:pt x="1469" y="186"/>
                  </a:moveTo>
                  <a:cubicBezTo>
                    <a:pt x="1466" y="186"/>
                    <a:pt x="1463" y="180"/>
                    <a:pt x="1463" y="180"/>
                  </a:cubicBezTo>
                  <a:cubicBezTo>
                    <a:pt x="1477" y="180"/>
                    <a:pt x="1469" y="183"/>
                    <a:pt x="1469" y="186"/>
                  </a:cubicBezTo>
                  <a:close/>
                  <a:moveTo>
                    <a:pt x="1460" y="59"/>
                  </a:moveTo>
                  <a:cubicBezTo>
                    <a:pt x="1460" y="54"/>
                    <a:pt x="1469" y="62"/>
                    <a:pt x="1460" y="59"/>
                  </a:cubicBezTo>
                  <a:close/>
                  <a:moveTo>
                    <a:pt x="1463" y="54"/>
                  </a:moveTo>
                  <a:lnTo>
                    <a:pt x="1456" y="54"/>
                  </a:lnTo>
                  <a:cubicBezTo>
                    <a:pt x="1453" y="45"/>
                    <a:pt x="1459" y="42"/>
                    <a:pt x="1463" y="42"/>
                  </a:cubicBezTo>
                  <a:lnTo>
                    <a:pt x="1463" y="54"/>
                  </a:lnTo>
                  <a:close/>
                  <a:moveTo>
                    <a:pt x="1456" y="14"/>
                  </a:moveTo>
                  <a:cubicBezTo>
                    <a:pt x="1459" y="14"/>
                    <a:pt x="1460" y="17"/>
                    <a:pt x="1463" y="17"/>
                  </a:cubicBezTo>
                  <a:cubicBezTo>
                    <a:pt x="1460" y="23"/>
                    <a:pt x="1459" y="25"/>
                    <a:pt x="1453" y="31"/>
                  </a:cubicBezTo>
                  <a:cubicBezTo>
                    <a:pt x="1453" y="25"/>
                    <a:pt x="1453" y="20"/>
                    <a:pt x="1456" y="14"/>
                  </a:cubicBezTo>
                  <a:close/>
                  <a:moveTo>
                    <a:pt x="1456" y="155"/>
                  </a:moveTo>
                  <a:cubicBezTo>
                    <a:pt x="1463" y="158"/>
                    <a:pt x="1459" y="172"/>
                    <a:pt x="1460" y="180"/>
                  </a:cubicBezTo>
                  <a:cubicBezTo>
                    <a:pt x="1459" y="178"/>
                    <a:pt x="1453" y="172"/>
                    <a:pt x="1450" y="166"/>
                  </a:cubicBezTo>
                  <a:cubicBezTo>
                    <a:pt x="1456" y="166"/>
                    <a:pt x="1456" y="161"/>
                    <a:pt x="1456" y="155"/>
                  </a:cubicBezTo>
                  <a:close/>
                  <a:moveTo>
                    <a:pt x="1456" y="1990"/>
                  </a:moveTo>
                  <a:cubicBezTo>
                    <a:pt x="1453" y="1990"/>
                    <a:pt x="1450" y="1988"/>
                    <a:pt x="1447" y="1985"/>
                  </a:cubicBezTo>
                  <a:cubicBezTo>
                    <a:pt x="1447" y="1982"/>
                    <a:pt x="1456" y="1985"/>
                    <a:pt x="1456" y="1990"/>
                  </a:cubicBezTo>
                  <a:close/>
                  <a:moveTo>
                    <a:pt x="1450" y="93"/>
                  </a:moveTo>
                  <a:cubicBezTo>
                    <a:pt x="1453" y="99"/>
                    <a:pt x="1447" y="102"/>
                    <a:pt x="1442" y="104"/>
                  </a:cubicBezTo>
                  <a:cubicBezTo>
                    <a:pt x="1442" y="96"/>
                    <a:pt x="1444" y="93"/>
                    <a:pt x="1450" y="93"/>
                  </a:cubicBezTo>
                  <a:close/>
                  <a:moveTo>
                    <a:pt x="1439" y="2529"/>
                  </a:moveTo>
                  <a:cubicBezTo>
                    <a:pt x="1444" y="2521"/>
                    <a:pt x="1442" y="2538"/>
                    <a:pt x="1439" y="2529"/>
                  </a:cubicBezTo>
                  <a:close/>
                  <a:moveTo>
                    <a:pt x="1439" y="192"/>
                  </a:moveTo>
                  <a:cubicBezTo>
                    <a:pt x="1433" y="186"/>
                    <a:pt x="1450" y="186"/>
                    <a:pt x="1439" y="192"/>
                  </a:cubicBezTo>
                  <a:close/>
                  <a:moveTo>
                    <a:pt x="1436" y="144"/>
                  </a:moveTo>
                  <a:cubicBezTo>
                    <a:pt x="1442" y="141"/>
                    <a:pt x="1442" y="149"/>
                    <a:pt x="1444" y="152"/>
                  </a:cubicBezTo>
                  <a:cubicBezTo>
                    <a:pt x="1442" y="152"/>
                    <a:pt x="1436" y="149"/>
                    <a:pt x="1436" y="144"/>
                  </a:cubicBezTo>
                  <a:close/>
                  <a:moveTo>
                    <a:pt x="1436" y="65"/>
                  </a:moveTo>
                  <a:lnTo>
                    <a:pt x="1436" y="59"/>
                  </a:lnTo>
                  <a:cubicBezTo>
                    <a:pt x="1439" y="59"/>
                    <a:pt x="1442" y="62"/>
                    <a:pt x="1442" y="65"/>
                  </a:cubicBezTo>
                  <a:lnTo>
                    <a:pt x="1436" y="65"/>
                  </a:lnTo>
                  <a:close/>
                  <a:moveTo>
                    <a:pt x="1433" y="28"/>
                  </a:moveTo>
                  <a:cubicBezTo>
                    <a:pt x="1436" y="28"/>
                    <a:pt x="1436" y="28"/>
                    <a:pt x="1439" y="31"/>
                  </a:cubicBezTo>
                  <a:cubicBezTo>
                    <a:pt x="1439" y="31"/>
                    <a:pt x="1442" y="31"/>
                    <a:pt x="1442" y="34"/>
                  </a:cubicBezTo>
                  <a:cubicBezTo>
                    <a:pt x="1444" y="37"/>
                    <a:pt x="1444" y="42"/>
                    <a:pt x="1436" y="45"/>
                  </a:cubicBezTo>
                  <a:cubicBezTo>
                    <a:pt x="1433" y="39"/>
                    <a:pt x="1433" y="34"/>
                    <a:pt x="1433" y="28"/>
                  </a:cubicBezTo>
                  <a:close/>
                  <a:moveTo>
                    <a:pt x="1428" y="2013"/>
                  </a:moveTo>
                  <a:cubicBezTo>
                    <a:pt x="1428" y="2005"/>
                    <a:pt x="1439" y="2016"/>
                    <a:pt x="1428" y="2013"/>
                  </a:cubicBezTo>
                  <a:close/>
                  <a:moveTo>
                    <a:pt x="1416" y="231"/>
                  </a:moveTo>
                  <a:cubicBezTo>
                    <a:pt x="1428" y="231"/>
                    <a:pt x="1411" y="245"/>
                    <a:pt x="1416" y="231"/>
                  </a:cubicBezTo>
                  <a:close/>
                  <a:moveTo>
                    <a:pt x="1413" y="85"/>
                  </a:moveTo>
                  <a:cubicBezTo>
                    <a:pt x="1416" y="85"/>
                    <a:pt x="1422" y="87"/>
                    <a:pt x="1422" y="93"/>
                  </a:cubicBezTo>
                  <a:cubicBezTo>
                    <a:pt x="1419" y="93"/>
                    <a:pt x="1416" y="93"/>
                    <a:pt x="1416" y="96"/>
                  </a:cubicBezTo>
                  <a:cubicBezTo>
                    <a:pt x="1416" y="93"/>
                    <a:pt x="1413" y="87"/>
                    <a:pt x="1413" y="85"/>
                  </a:cubicBezTo>
                  <a:close/>
                  <a:moveTo>
                    <a:pt x="1430" y="2597"/>
                  </a:moveTo>
                  <a:cubicBezTo>
                    <a:pt x="1428" y="2600"/>
                    <a:pt x="1425" y="2603"/>
                    <a:pt x="1422" y="2603"/>
                  </a:cubicBezTo>
                  <a:cubicBezTo>
                    <a:pt x="1419" y="2597"/>
                    <a:pt x="1428" y="2597"/>
                    <a:pt x="1430" y="2597"/>
                  </a:cubicBezTo>
                  <a:close/>
                  <a:moveTo>
                    <a:pt x="1422" y="228"/>
                  </a:moveTo>
                  <a:cubicBezTo>
                    <a:pt x="1428" y="220"/>
                    <a:pt x="1428" y="234"/>
                    <a:pt x="1422" y="228"/>
                  </a:cubicBezTo>
                  <a:close/>
                  <a:moveTo>
                    <a:pt x="1425" y="2148"/>
                  </a:moveTo>
                  <a:cubicBezTo>
                    <a:pt x="1425" y="2143"/>
                    <a:pt x="1433" y="2151"/>
                    <a:pt x="1425" y="2148"/>
                  </a:cubicBezTo>
                  <a:close/>
                  <a:moveTo>
                    <a:pt x="1433" y="6"/>
                  </a:moveTo>
                  <a:cubicBezTo>
                    <a:pt x="1433" y="20"/>
                    <a:pt x="1428" y="17"/>
                    <a:pt x="1422" y="8"/>
                  </a:cubicBezTo>
                  <a:cubicBezTo>
                    <a:pt x="1425" y="8"/>
                    <a:pt x="1430" y="8"/>
                    <a:pt x="1433" y="6"/>
                  </a:cubicBezTo>
                  <a:close/>
                  <a:moveTo>
                    <a:pt x="1425" y="48"/>
                  </a:moveTo>
                  <a:cubicBezTo>
                    <a:pt x="1433" y="42"/>
                    <a:pt x="1422" y="56"/>
                    <a:pt x="1425" y="48"/>
                  </a:cubicBezTo>
                  <a:close/>
                  <a:moveTo>
                    <a:pt x="1433" y="23"/>
                  </a:moveTo>
                  <a:cubicBezTo>
                    <a:pt x="1428" y="28"/>
                    <a:pt x="1419" y="20"/>
                    <a:pt x="1433" y="23"/>
                  </a:cubicBezTo>
                  <a:close/>
                  <a:moveTo>
                    <a:pt x="1425" y="68"/>
                  </a:moveTo>
                  <a:lnTo>
                    <a:pt x="1426" y="69"/>
                  </a:lnTo>
                  <a:cubicBezTo>
                    <a:pt x="1430" y="75"/>
                    <a:pt x="1428" y="82"/>
                    <a:pt x="1433" y="85"/>
                  </a:cubicBezTo>
                  <a:cubicBezTo>
                    <a:pt x="1425" y="87"/>
                    <a:pt x="1413" y="85"/>
                    <a:pt x="1408" y="79"/>
                  </a:cubicBezTo>
                  <a:cubicBezTo>
                    <a:pt x="1411" y="76"/>
                    <a:pt x="1422" y="73"/>
                    <a:pt x="1425" y="68"/>
                  </a:cubicBezTo>
                  <a:close/>
                  <a:moveTo>
                    <a:pt x="1397" y="2509"/>
                  </a:moveTo>
                  <a:cubicBezTo>
                    <a:pt x="1397" y="2501"/>
                    <a:pt x="1405" y="2512"/>
                    <a:pt x="1397" y="2509"/>
                  </a:cubicBezTo>
                  <a:close/>
                  <a:moveTo>
                    <a:pt x="1397" y="2594"/>
                  </a:moveTo>
                  <a:cubicBezTo>
                    <a:pt x="1397" y="2588"/>
                    <a:pt x="1405" y="2597"/>
                    <a:pt x="1397" y="2594"/>
                  </a:cubicBezTo>
                  <a:close/>
                  <a:moveTo>
                    <a:pt x="1397" y="209"/>
                  </a:moveTo>
                  <a:cubicBezTo>
                    <a:pt x="1397" y="203"/>
                    <a:pt x="1408" y="209"/>
                    <a:pt x="1397" y="209"/>
                  </a:cubicBezTo>
                  <a:close/>
                  <a:moveTo>
                    <a:pt x="1411" y="214"/>
                  </a:moveTo>
                  <a:cubicBezTo>
                    <a:pt x="1411" y="217"/>
                    <a:pt x="1405" y="223"/>
                    <a:pt x="1405" y="226"/>
                  </a:cubicBezTo>
                  <a:cubicBezTo>
                    <a:pt x="1399" y="223"/>
                    <a:pt x="1408" y="214"/>
                    <a:pt x="1411" y="214"/>
                  </a:cubicBezTo>
                  <a:close/>
                  <a:moveTo>
                    <a:pt x="1397" y="147"/>
                  </a:moveTo>
                  <a:cubicBezTo>
                    <a:pt x="1397" y="144"/>
                    <a:pt x="1399" y="141"/>
                    <a:pt x="1402" y="138"/>
                  </a:cubicBezTo>
                  <a:cubicBezTo>
                    <a:pt x="1405" y="144"/>
                    <a:pt x="1399" y="147"/>
                    <a:pt x="1397" y="147"/>
                  </a:cubicBezTo>
                  <a:close/>
                  <a:moveTo>
                    <a:pt x="1402" y="45"/>
                  </a:moveTo>
                  <a:cubicBezTo>
                    <a:pt x="1399" y="45"/>
                    <a:pt x="1397" y="39"/>
                    <a:pt x="1397" y="37"/>
                  </a:cubicBezTo>
                  <a:cubicBezTo>
                    <a:pt x="1399" y="37"/>
                    <a:pt x="1402" y="42"/>
                    <a:pt x="1402" y="45"/>
                  </a:cubicBezTo>
                  <a:close/>
                  <a:moveTo>
                    <a:pt x="1394" y="99"/>
                  </a:moveTo>
                  <a:cubicBezTo>
                    <a:pt x="1398" y="99"/>
                    <a:pt x="1401" y="104"/>
                    <a:pt x="1400" y="107"/>
                  </a:cubicBezTo>
                  <a:lnTo>
                    <a:pt x="1402" y="107"/>
                  </a:lnTo>
                  <a:cubicBezTo>
                    <a:pt x="1402" y="113"/>
                    <a:pt x="1394" y="116"/>
                    <a:pt x="1391" y="107"/>
                  </a:cubicBezTo>
                  <a:lnTo>
                    <a:pt x="1396" y="107"/>
                  </a:lnTo>
                  <a:cubicBezTo>
                    <a:pt x="1395" y="105"/>
                    <a:pt x="1394" y="102"/>
                    <a:pt x="1394" y="99"/>
                  </a:cubicBezTo>
                  <a:close/>
                  <a:moveTo>
                    <a:pt x="1391" y="2137"/>
                  </a:moveTo>
                  <a:cubicBezTo>
                    <a:pt x="1391" y="2129"/>
                    <a:pt x="1399" y="2140"/>
                    <a:pt x="1391" y="2137"/>
                  </a:cubicBezTo>
                  <a:close/>
                  <a:moveTo>
                    <a:pt x="1388" y="183"/>
                  </a:moveTo>
                  <a:cubicBezTo>
                    <a:pt x="1388" y="178"/>
                    <a:pt x="1397" y="186"/>
                    <a:pt x="1388" y="183"/>
                  </a:cubicBezTo>
                  <a:close/>
                  <a:moveTo>
                    <a:pt x="1388" y="104"/>
                  </a:moveTo>
                  <a:lnTo>
                    <a:pt x="1388" y="110"/>
                  </a:lnTo>
                  <a:lnTo>
                    <a:pt x="1383" y="110"/>
                  </a:lnTo>
                  <a:cubicBezTo>
                    <a:pt x="1382" y="113"/>
                    <a:pt x="1378" y="117"/>
                    <a:pt x="1380" y="107"/>
                  </a:cubicBezTo>
                  <a:lnTo>
                    <a:pt x="1380" y="107"/>
                  </a:lnTo>
                  <a:cubicBezTo>
                    <a:pt x="1380" y="106"/>
                    <a:pt x="1380" y="105"/>
                    <a:pt x="1380" y="104"/>
                  </a:cubicBezTo>
                  <a:lnTo>
                    <a:pt x="1388" y="104"/>
                  </a:lnTo>
                  <a:close/>
                  <a:moveTo>
                    <a:pt x="1388" y="2817"/>
                  </a:moveTo>
                  <a:cubicBezTo>
                    <a:pt x="1385" y="2814"/>
                    <a:pt x="1377" y="2814"/>
                    <a:pt x="1371" y="2814"/>
                  </a:cubicBezTo>
                  <a:cubicBezTo>
                    <a:pt x="1374" y="2808"/>
                    <a:pt x="1391" y="2808"/>
                    <a:pt x="1388" y="2817"/>
                  </a:cubicBezTo>
                  <a:close/>
                  <a:moveTo>
                    <a:pt x="1374" y="2777"/>
                  </a:moveTo>
                  <a:cubicBezTo>
                    <a:pt x="1373" y="2777"/>
                    <a:pt x="1372" y="2776"/>
                    <a:pt x="1371" y="2775"/>
                  </a:cubicBezTo>
                  <a:cubicBezTo>
                    <a:pt x="1371" y="2780"/>
                    <a:pt x="1363" y="2778"/>
                    <a:pt x="1360" y="2783"/>
                  </a:cubicBezTo>
                  <a:cubicBezTo>
                    <a:pt x="1354" y="2780"/>
                    <a:pt x="1367" y="2775"/>
                    <a:pt x="1371" y="2775"/>
                  </a:cubicBezTo>
                  <a:cubicBezTo>
                    <a:pt x="1362" y="2766"/>
                    <a:pt x="1357" y="2754"/>
                    <a:pt x="1360" y="2744"/>
                  </a:cubicBezTo>
                  <a:cubicBezTo>
                    <a:pt x="1374" y="2741"/>
                    <a:pt x="1377" y="2761"/>
                    <a:pt x="1374" y="2777"/>
                  </a:cubicBezTo>
                  <a:close/>
                  <a:moveTo>
                    <a:pt x="1380" y="290"/>
                  </a:moveTo>
                  <a:lnTo>
                    <a:pt x="1380" y="296"/>
                  </a:lnTo>
                  <a:lnTo>
                    <a:pt x="1374" y="296"/>
                  </a:lnTo>
                  <a:cubicBezTo>
                    <a:pt x="1374" y="296"/>
                    <a:pt x="1371" y="293"/>
                    <a:pt x="1371" y="290"/>
                  </a:cubicBezTo>
                  <a:cubicBezTo>
                    <a:pt x="1374" y="293"/>
                    <a:pt x="1377" y="293"/>
                    <a:pt x="1380" y="290"/>
                  </a:cubicBezTo>
                  <a:close/>
                  <a:moveTo>
                    <a:pt x="1374" y="226"/>
                  </a:moveTo>
                  <a:cubicBezTo>
                    <a:pt x="1377" y="226"/>
                    <a:pt x="1377" y="231"/>
                    <a:pt x="1377" y="234"/>
                  </a:cubicBezTo>
                  <a:cubicBezTo>
                    <a:pt x="1374" y="234"/>
                    <a:pt x="1374" y="228"/>
                    <a:pt x="1374" y="226"/>
                  </a:cubicBezTo>
                  <a:close/>
                  <a:moveTo>
                    <a:pt x="1385" y="2752"/>
                  </a:moveTo>
                  <a:cubicBezTo>
                    <a:pt x="1385" y="2755"/>
                    <a:pt x="1382" y="2758"/>
                    <a:pt x="1382" y="2763"/>
                  </a:cubicBezTo>
                  <a:cubicBezTo>
                    <a:pt x="1377" y="2761"/>
                    <a:pt x="1380" y="2749"/>
                    <a:pt x="1385" y="2752"/>
                  </a:cubicBezTo>
                  <a:close/>
                  <a:moveTo>
                    <a:pt x="1374" y="2603"/>
                  </a:moveTo>
                  <a:lnTo>
                    <a:pt x="1375" y="2603"/>
                  </a:lnTo>
                  <a:cubicBezTo>
                    <a:pt x="1374" y="2604"/>
                    <a:pt x="1373" y="2605"/>
                    <a:pt x="1374" y="2603"/>
                  </a:cubicBezTo>
                  <a:cubicBezTo>
                    <a:pt x="1377" y="2600"/>
                    <a:pt x="1376" y="2601"/>
                    <a:pt x="1375" y="2603"/>
                  </a:cubicBezTo>
                  <a:lnTo>
                    <a:pt x="1374" y="2603"/>
                  </a:lnTo>
                  <a:close/>
                  <a:moveTo>
                    <a:pt x="1377" y="14"/>
                  </a:moveTo>
                  <a:cubicBezTo>
                    <a:pt x="1380" y="14"/>
                    <a:pt x="1382" y="17"/>
                    <a:pt x="1385" y="20"/>
                  </a:cubicBezTo>
                  <a:lnTo>
                    <a:pt x="1380" y="20"/>
                  </a:lnTo>
                  <a:cubicBezTo>
                    <a:pt x="1377" y="20"/>
                    <a:pt x="1377" y="17"/>
                    <a:pt x="1377" y="14"/>
                  </a:cubicBezTo>
                  <a:close/>
                  <a:moveTo>
                    <a:pt x="1368" y="39"/>
                  </a:moveTo>
                  <a:lnTo>
                    <a:pt x="1380" y="39"/>
                  </a:lnTo>
                  <a:cubicBezTo>
                    <a:pt x="1377" y="42"/>
                    <a:pt x="1374" y="51"/>
                    <a:pt x="1368" y="48"/>
                  </a:cubicBezTo>
                  <a:lnTo>
                    <a:pt x="1368" y="39"/>
                  </a:lnTo>
                  <a:close/>
                  <a:moveTo>
                    <a:pt x="1365" y="31"/>
                  </a:moveTo>
                  <a:cubicBezTo>
                    <a:pt x="1374" y="34"/>
                    <a:pt x="1360" y="39"/>
                    <a:pt x="1365" y="31"/>
                  </a:cubicBezTo>
                  <a:close/>
                  <a:moveTo>
                    <a:pt x="1374" y="99"/>
                  </a:moveTo>
                  <a:cubicBezTo>
                    <a:pt x="1374" y="107"/>
                    <a:pt x="1363" y="110"/>
                    <a:pt x="1365" y="118"/>
                  </a:cubicBezTo>
                  <a:cubicBezTo>
                    <a:pt x="1357" y="116"/>
                    <a:pt x="1363" y="104"/>
                    <a:pt x="1357" y="96"/>
                  </a:cubicBezTo>
                  <a:cubicBezTo>
                    <a:pt x="1363" y="96"/>
                    <a:pt x="1365" y="99"/>
                    <a:pt x="1374" y="99"/>
                  </a:cubicBezTo>
                  <a:close/>
                  <a:moveTo>
                    <a:pt x="1365" y="2061"/>
                  </a:moveTo>
                  <a:cubicBezTo>
                    <a:pt x="1365" y="2055"/>
                    <a:pt x="1374" y="2064"/>
                    <a:pt x="1365" y="2061"/>
                  </a:cubicBezTo>
                  <a:close/>
                  <a:moveTo>
                    <a:pt x="1354" y="172"/>
                  </a:moveTo>
                  <a:lnTo>
                    <a:pt x="1360" y="172"/>
                  </a:lnTo>
                  <a:lnTo>
                    <a:pt x="1360" y="178"/>
                  </a:lnTo>
                  <a:cubicBezTo>
                    <a:pt x="1358" y="178"/>
                    <a:pt x="1356" y="179"/>
                    <a:pt x="1354" y="180"/>
                  </a:cubicBezTo>
                  <a:cubicBezTo>
                    <a:pt x="1358" y="196"/>
                    <a:pt x="1353" y="193"/>
                    <a:pt x="1343" y="200"/>
                  </a:cubicBezTo>
                  <a:cubicBezTo>
                    <a:pt x="1329" y="200"/>
                    <a:pt x="1332" y="183"/>
                    <a:pt x="1334" y="172"/>
                  </a:cubicBezTo>
                  <a:cubicBezTo>
                    <a:pt x="1343" y="172"/>
                    <a:pt x="1346" y="175"/>
                    <a:pt x="1351" y="172"/>
                  </a:cubicBezTo>
                  <a:cubicBezTo>
                    <a:pt x="1352" y="174"/>
                    <a:pt x="1352" y="175"/>
                    <a:pt x="1353" y="176"/>
                  </a:cubicBezTo>
                  <a:cubicBezTo>
                    <a:pt x="1353" y="175"/>
                    <a:pt x="1354" y="173"/>
                    <a:pt x="1354" y="172"/>
                  </a:cubicBezTo>
                  <a:close/>
                  <a:moveTo>
                    <a:pt x="1351" y="144"/>
                  </a:moveTo>
                  <a:cubicBezTo>
                    <a:pt x="1360" y="149"/>
                    <a:pt x="1349" y="144"/>
                    <a:pt x="1351" y="144"/>
                  </a:cubicBezTo>
                  <a:close/>
                  <a:moveTo>
                    <a:pt x="1357" y="2033"/>
                  </a:moveTo>
                  <a:cubicBezTo>
                    <a:pt x="1357" y="2027"/>
                    <a:pt x="1365" y="2036"/>
                    <a:pt x="1357" y="2033"/>
                  </a:cubicBezTo>
                  <a:close/>
                  <a:moveTo>
                    <a:pt x="1365" y="2055"/>
                  </a:moveTo>
                  <a:cubicBezTo>
                    <a:pt x="1365" y="2061"/>
                    <a:pt x="1357" y="2061"/>
                    <a:pt x="1354" y="2058"/>
                  </a:cubicBezTo>
                  <a:cubicBezTo>
                    <a:pt x="1357" y="2055"/>
                    <a:pt x="1363" y="2055"/>
                    <a:pt x="1365" y="2055"/>
                  </a:cubicBezTo>
                  <a:close/>
                  <a:moveTo>
                    <a:pt x="1360" y="28"/>
                  </a:moveTo>
                  <a:cubicBezTo>
                    <a:pt x="1357" y="28"/>
                    <a:pt x="1354" y="28"/>
                    <a:pt x="1351" y="31"/>
                  </a:cubicBezTo>
                  <a:lnTo>
                    <a:pt x="1351" y="25"/>
                  </a:lnTo>
                  <a:cubicBezTo>
                    <a:pt x="1354" y="23"/>
                    <a:pt x="1357" y="23"/>
                    <a:pt x="1360" y="28"/>
                  </a:cubicBezTo>
                  <a:close/>
                  <a:moveTo>
                    <a:pt x="1349" y="65"/>
                  </a:moveTo>
                  <a:cubicBezTo>
                    <a:pt x="1349" y="59"/>
                    <a:pt x="1357" y="68"/>
                    <a:pt x="1349" y="65"/>
                  </a:cubicBezTo>
                  <a:close/>
                  <a:moveTo>
                    <a:pt x="1346" y="59"/>
                  </a:moveTo>
                  <a:lnTo>
                    <a:pt x="1346" y="65"/>
                  </a:lnTo>
                  <a:lnTo>
                    <a:pt x="1340" y="65"/>
                  </a:lnTo>
                  <a:cubicBezTo>
                    <a:pt x="1340" y="65"/>
                    <a:pt x="1337" y="62"/>
                    <a:pt x="1337" y="59"/>
                  </a:cubicBezTo>
                  <a:cubicBezTo>
                    <a:pt x="1340" y="62"/>
                    <a:pt x="1346" y="59"/>
                    <a:pt x="1346" y="59"/>
                  </a:cubicBezTo>
                  <a:close/>
                  <a:moveTo>
                    <a:pt x="1337" y="37"/>
                  </a:moveTo>
                  <a:cubicBezTo>
                    <a:pt x="1343" y="39"/>
                    <a:pt x="1332" y="54"/>
                    <a:pt x="1332" y="42"/>
                  </a:cubicBezTo>
                  <a:cubicBezTo>
                    <a:pt x="1334" y="39"/>
                    <a:pt x="1337" y="39"/>
                    <a:pt x="1337" y="37"/>
                  </a:cubicBezTo>
                  <a:close/>
                  <a:moveTo>
                    <a:pt x="1343" y="113"/>
                  </a:moveTo>
                  <a:cubicBezTo>
                    <a:pt x="1337" y="118"/>
                    <a:pt x="1329" y="107"/>
                    <a:pt x="1343" y="113"/>
                  </a:cubicBezTo>
                  <a:close/>
                  <a:moveTo>
                    <a:pt x="1326" y="54"/>
                  </a:moveTo>
                  <a:cubicBezTo>
                    <a:pt x="1326" y="48"/>
                    <a:pt x="1337" y="56"/>
                    <a:pt x="1326" y="54"/>
                  </a:cubicBezTo>
                  <a:close/>
                  <a:moveTo>
                    <a:pt x="1323" y="8"/>
                  </a:moveTo>
                  <a:cubicBezTo>
                    <a:pt x="1323" y="3"/>
                    <a:pt x="1332" y="11"/>
                    <a:pt x="1323" y="8"/>
                  </a:cubicBezTo>
                  <a:close/>
                  <a:moveTo>
                    <a:pt x="1318" y="51"/>
                  </a:moveTo>
                  <a:cubicBezTo>
                    <a:pt x="1315" y="45"/>
                    <a:pt x="1326" y="51"/>
                    <a:pt x="1318" y="51"/>
                  </a:cubicBezTo>
                  <a:close/>
                  <a:moveTo>
                    <a:pt x="1303" y="8"/>
                  </a:moveTo>
                  <a:cubicBezTo>
                    <a:pt x="1303" y="11"/>
                    <a:pt x="1298" y="14"/>
                    <a:pt x="1295" y="14"/>
                  </a:cubicBezTo>
                  <a:cubicBezTo>
                    <a:pt x="1298" y="14"/>
                    <a:pt x="1303" y="17"/>
                    <a:pt x="1303" y="20"/>
                  </a:cubicBezTo>
                  <a:cubicBezTo>
                    <a:pt x="1301" y="23"/>
                    <a:pt x="1298" y="20"/>
                    <a:pt x="1295" y="17"/>
                  </a:cubicBezTo>
                  <a:lnTo>
                    <a:pt x="1295" y="14"/>
                  </a:lnTo>
                  <a:cubicBezTo>
                    <a:pt x="1298" y="11"/>
                    <a:pt x="1301" y="11"/>
                    <a:pt x="1303" y="8"/>
                  </a:cubicBezTo>
                  <a:close/>
                  <a:moveTo>
                    <a:pt x="1303" y="23"/>
                  </a:moveTo>
                  <a:cubicBezTo>
                    <a:pt x="1303" y="25"/>
                    <a:pt x="1301" y="31"/>
                    <a:pt x="1295" y="31"/>
                  </a:cubicBezTo>
                  <a:cubicBezTo>
                    <a:pt x="1295" y="28"/>
                    <a:pt x="1295" y="25"/>
                    <a:pt x="1292" y="25"/>
                  </a:cubicBezTo>
                  <a:cubicBezTo>
                    <a:pt x="1298" y="23"/>
                    <a:pt x="1301" y="23"/>
                    <a:pt x="1303" y="23"/>
                  </a:cubicBezTo>
                  <a:close/>
                  <a:moveTo>
                    <a:pt x="1284" y="28"/>
                  </a:moveTo>
                  <a:cubicBezTo>
                    <a:pt x="1286" y="20"/>
                    <a:pt x="1292" y="37"/>
                    <a:pt x="1284" y="28"/>
                  </a:cubicBezTo>
                  <a:close/>
                  <a:moveTo>
                    <a:pt x="1281" y="189"/>
                  </a:moveTo>
                  <a:cubicBezTo>
                    <a:pt x="1278" y="189"/>
                    <a:pt x="1278" y="186"/>
                    <a:pt x="1278" y="186"/>
                  </a:cubicBezTo>
                  <a:lnTo>
                    <a:pt x="1282" y="186"/>
                  </a:lnTo>
                  <a:cubicBezTo>
                    <a:pt x="1281" y="184"/>
                    <a:pt x="1280" y="182"/>
                    <a:pt x="1281" y="180"/>
                  </a:cubicBezTo>
                  <a:cubicBezTo>
                    <a:pt x="1284" y="183"/>
                    <a:pt x="1292" y="183"/>
                    <a:pt x="1295" y="192"/>
                  </a:cubicBezTo>
                  <a:cubicBezTo>
                    <a:pt x="1291" y="192"/>
                    <a:pt x="1285" y="189"/>
                    <a:pt x="1282" y="186"/>
                  </a:cubicBezTo>
                  <a:cubicBezTo>
                    <a:pt x="1281" y="187"/>
                    <a:pt x="1281" y="189"/>
                    <a:pt x="1281" y="189"/>
                  </a:cubicBezTo>
                  <a:close/>
                  <a:moveTo>
                    <a:pt x="1278" y="2154"/>
                  </a:moveTo>
                  <a:cubicBezTo>
                    <a:pt x="1278" y="2148"/>
                    <a:pt x="1289" y="2157"/>
                    <a:pt x="1278" y="2154"/>
                  </a:cubicBezTo>
                  <a:close/>
                  <a:moveTo>
                    <a:pt x="1281" y="28"/>
                  </a:moveTo>
                  <a:cubicBezTo>
                    <a:pt x="1284" y="31"/>
                    <a:pt x="1272" y="34"/>
                    <a:pt x="1272" y="28"/>
                  </a:cubicBezTo>
                  <a:lnTo>
                    <a:pt x="1281" y="28"/>
                  </a:lnTo>
                  <a:close/>
                  <a:moveTo>
                    <a:pt x="1275" y="302"/>
                  </a:moveTo>
                  <a:lnTo>
                    <a:pt x="1275" y="307"/>
                  </a:lnTo>
                  <a:lnTo>
                    <a:pt x="1270" y="307"/>
                  </a:lnTo>
                  <a:cubicBezTo>
                    <a:pt x="1270" y="307"/>
                    <a:pt x="1267" y="305"/>
                    <a:pt x="1267" y="302"/>
                  </a:cubicBezTo>
                  <a:lnTo>
                    <a:pt x="1275" y="302"/>
                  </a:lnTo>
                  <a:close/>
                  <a:moveTo>
                    <a:pt x="1270" y="2160"/>
                  </a:moveTo>
                  <a:cubicBezTo>
                    <a:pt x="1270" y="2154"/>
                    <a:pt x="1278" y="2163"/>
                    <a:pt x="1270" y="2160"/>
                  </a:cubicBezTo>
                  <a:close/>
                  <a:moveTo>
                    <a:pt x="1267" y="2662"/>
                  </a:moveTo>
                  <a:cubicBezTo>
                    <a:pt x="1275" y="2656"/>
                    <a:pt x="1264" y="2667"/>
                    <a:pt x="1267" y="2662"/>
                  </a:cubicBezTo>
                  <a:close/>
                  <a:moveTo>
                    <a:pt x="1261" y="2698"/>
                  </a:moveTo>
                  <a:cubicBezTo>
                    <a:pt x="1272" y="2698"/>
                    <a:pt x="1264" y="2713"/>
                    <a:pt x="1258" y="2713"/>
                  </a:cubicBezTo>
                  <a:cubicBezTo>
                    <a:pt x="1258" y="2707"/>
                    <a:pt x="1264" y="2704"/>
                    <a:pt x="1261" y="2698"/>
                  </a:cubicBezTo>
                  <a:close/>
                  <a:moveTo>
                    <a:pt x="1270" y="17"/>
                  </a:moveTo>
                  <a:cubicBezTo>
                    <a:pt x="1270" y="23"/>
                    <a:pt x="1261" y="20"/>
                    <a:pt x="1261" y="20"/>
                  </a:cubicBezTo>
                  <a:cubicBezTo>
                    <a:pt x="1261" y="14"/>
                    <a:pt x="1270" y="17"/>
                    <a:pt x="1270" y="17"/>
                  </a:cubicBezTo>
                  <a:close/>
                  <a:moveTo>
                    <a:pt x="1264" y="265"/>
                  </a:moveTo>
                  <a:cubicBezTo>
                    <a:pt x="1261" y="265"/>
                    <a:pt x="1258" y="262"/>
                    <a:pt x="1255" y="259"/>
                  </a:cubicBezTo>
                  <a:cubicBezTo>
                    <a:pt x="1261" y="257"/>
                    <a:pt x="1264" y="262"/>
                    <a:pt x="1264" y="265"/>
                  </a:cubicBezTo>
                  <a:close/>
                  <a:moveTo>
                    <a:pt x="1244" y="192"/>
                  </a:moveTo>
                  <a:lnTo>
                    <a:pt x="1250" y="192"/>
                  </a:lnTo>
                  <a:lnTo>
                    <a:pt x="1250" y="197"/>
                  </a:lnTo>
                  <a:cubicBezTo>
                    <a:pt x="1248" y="197"/>
                    <a:pt x="1247" y="197"/>
                    <a:pt x="1246" y="198"/>
                  </a:cubicBezTo>
                  <a:cubicBezTo>
                    <a:pt x="1247" y="196"/>
                    <a:pt x="1246" y="194"/>
                    <a:pt x="1244" y="192"/>
                  </a:cubicBezTo>
                  <a:close/>
                  <a:moveTo>
                    <a:pt x="1244" y="200"/>
                  </a:moveTo>
                  <a:cubicBezTo>
                    <a:pt x="1245" y="199"/>
                    <a:pt x="1246" y="199"/>
                    <a:pt x="1246" y="198"/>
                  </a:cubicBezTo>
                  <a:cubicBezTo>
                    <a:pt x="1245" y="198"/>
                    <a:pt x="1244" y="199"/>
                    <a:pt x="1244" y="200"/>
                  </a:cubicBezTo>
                  <a:close/>
                  <a:moveTo>
                    <a:pt x="1244" y="130"/>
                  </a:moveTo>
                  <a:lnTo>
                    <a:pt x="1233" y="130"/>
                  </a:lnTo>
                  <a:cubicBezTo>
                    <a:pt x="1233" y="127"/>
                    <a:pt x="1233" y="121"/>
                    <a:pt x="1238" y="118"/>
                  </a:cubicBezTo>
                  <a:cubicBezTo>
                    <a:pt x="1241" y="124"/>
                    <a:pt x="1244" y="127"/>
                    <a:pt x="1244" y="130"/>
                  </a:cubicBezTo>
                  <a:close/>
                  <a:moveTo>
                    <a:pt x="1238" y="231"/>
                  </a:moveTo>
                  <a:cubicBezTo>
                    <a:pt x="1233" y="228"/>
                    <a:pt x="1230" y="223"/>
                    <a:pt x="1227" y="217"/>
                  </a:cubicBezTo>
                  <a:cubicBezTo>
                    <a:pt x="1233" y="220"/>
                    <a:pt x="1241" y="226"/>
                    <a:pt x="1238" y="231"/>
                  </a:cubicBezTo>
                  <a:close/>
                  <a:moveTo>
                    <a:pt x="1230" y="189"/>
                  </a:moveTo>
                  <a:cubicBezTo>
                    <a:pt x="1227" y="183"/>
                    <a:pt x="1238" y="189"/>
                    <a:pt x="1230" y="189"/>
                  </a:cubicBezTo>
                  <a:close/>
                  <a:moveTo>
                    <a:pt x="1236" y="259"/>
                  </a:moveTo>
                  <a:cubicBezTo>
                    <a:pt x="1238" y="254"/>
                    <a:pt x="1247" y="262"/>
                    <a:pt x="1236" y="259"/>
                  </a:cubicBezTo>
                  <a:close/>
                  <a:moveTo>
                    <a:pt x="1222" y="2422"/>
                  </a:moveTo>
                  <a:cubicBezTo>
                    <a:pt x="1224" y="2416"/>
                    <a:pt x="1236" y="2428"/>
                    <a:pt x="1222" y="2422"/>
                  </a:cubicBezTo>
                  <a:close/>
                  <a:moveTo>
                    <a:pt x="1230" y="2298"/>
                  </a:moveTo>
                  <a:lnTo>
                    <a:pt x="1224" y="2298"/>
                  </a:lnTo>
                  <a:cubicBezTo>
                    <a:pt x="1224" y="2295"/>
                    <a:pt x="1224" y="2295"/>
                    <a:pt x="1222" y="2295"/>
                  </a:cubicBezTo>
                  <a:cubicBezTo>
                    <a:pt x="1222" y="2289"/>
                    <a:pt x="1233" y="2292"/>
                    <a:pt x="1230" y="2298"/>
                  </a:cubicBezTo>
                  <a:close/>
                  <a:moveTo>
                    <a:pt x="1236" y="2515"/>
                  </a:moveTo>
                  <a:cubicBezTo>
                    <a:pt x="1238" y="2518"/>
                    <a:pt x="1238" y="2524"/>
                    <a:pt x="1236" y="2526"/>
                  </a:cubicBezTo>
                  <a:cubicBezTo>
                    <a:pt x="1233" y="2526"/>
                    <a:pt x="1227" y="2526"/>
                    <a:pt x="1224" y="2529"/>
                  </a:cubicBezTo>
                  <a:cubicBezTo>
                    <a:pt x="1224" y="2526"/>
                    <a:pt x="1222" y="2521"/>
                    <a:pt x="1222" y="2518"/>
                  </a:cubicBezTo>
                  <a:cubicBezTo>
                    <a:pt x="1224" y="2515"/>
                    <a:pt x="1230" y="2515"/>
                    <a:pt x="1236" y="2515"/>
                  </a:cubicBezTo>
                  <a:close/>
                  <a:moveTo>
                    <a:pt x="1233" y="2704"/>
                  </a:moveTo>
                  <a:lnTo>
                    <a:pt x="1244" y="2704"/>
                  </a:lnTo>
                  <a:cubicBezTo>
                    <a:pt x="1247" y="2710"/>
                    <a:pt x="1238" y="2707"/>
                    <a:pt x="1233" y="2710"/>
                  </a:cubicBezTo>
                  <a:lnTo>
                    <a:pt x="1233" y="2704"/>
                  </a:lnTo>
                  <a:close/>
                  <a:moveTo>
                    <a:pt x="1241" y="56"/>
                  </a:moveTo>
                  <a:cubicBezTo>
                    <a:pt x="1236" y="59"/>
                    <a:pt x="1236" y="54"/>
                    <a:pt x="1230" y="54"/>
                  </a:cubicBezTo>
                  <a:cubicBezTo>
                    <a:pt x="1230" y="51"/>
                    <a:pt x="1241" y="51"/>
                    <a:pt x="1241" y="56"/>
                  </a:cubicBezTo>
                  <a:close/>
                  <a:moveTo>
                    <a:pt x="1233" y="42"/>
                  </a:moveTo>
                  <a:lnTo>
                    <a:pt x="1233" y="48"/>
                  </a:lnTo>
                  <a:lnTo>
                    <a:pt x="1227" y="48"/>
                  </a:lnTo>
                  <a:cubicBezTo>
                    <a:pt x="1227" y="48"/>
                    <a:pt x="1224" y="45"/>
                    <a:pt x="1224" y="42"/>
                  </a:cubicBezTo>
                  <a:lnTo>
                    <a:pt x="1233" y="42"/>
                  </a:lnTo>
                  <a:close/>
                  <a:moveTo>
                    <a:pt x="1224" y="178"/>
                  </a:moveTo>
                  <a:cubicBezTo>
                    <a:pt x="1227" y="169"/>
                    <a:pt x="1230" y="186"/>
                    <a:pt x="1224" y="178"/>
                  </a:cubicBezTo>
                  <a:close/>
                  <a:moveTo>
                    <a:pt x="1224" y="169"/>
                  </a:moveTo>
                  <a:lnTo>
                    <a:pt x="1219" y="169"/>
                  </a:lnTo>
                  <a:lnTo>
                    <a:pt x="1219" y="164"/>
                  </a:lnTo>
                  <a:cubicBezTo>
                    <a:pt x="1219" y="164"/>
                    <a:pt x="1222" y="161"/>
                    <a:pt x="1224" y="161"/>
                  </a:cubicBezTo>
                  <a:lnTo>
                    <a:pt x="1224" y="169"/>
                  </a:lnTo>
                  <a:close/>
                  <a:moveTo>
                    <a:pt x="1210" y="195"/>
                  </a:moveTo>
                  <a:lnTo>
                    <a:pt x="1210" y="183"/>
                  </a:lnTo>
                  <a:cubicBezTo>
                    <a:pt x="1213" y="186"/>
                    <a:pt x="1219" y="183"/>
                    <a:pt x="1222" y="189"/>
                  </a:cubicBezTo>
                  <a:cubicBezTo>
                    <a:pt x="1219" y="192"/>
                    <a:pt x="1213" y="195"/>
                    <a:pt x="1210" y="195"/>
                  </a:cubicBezTo>
                  <a:close/>
                  <a:moveTo>
                    <a:pt x="1216" y="2467"/>
                  </a:moveTo>
                  <a:cubicBezTo>
                    <a:pt x="1216" y="2462"/>
                    <a:pt x="1224" y="2470"/>
                    <a:pt x="1216" y="2467"/>
                  </a:cubicBezTo>
                  <a:close/>
                  <a:moveTo>
                    <a:pt x="1191" y="231"/>
                  </a:moveTo>
                  <a:cubicBezTo>
                    <a:pt x="1191" y="220"/>
                    <a:pt x="1199" y="228"/>
                    <a:pt x="1202" y="217"/>
                  </a:cubicBezTo>
                  <a:cubicBezTo>
                    <a:pt x="1205" y="220"/>
                    <a:pt x="1210" y="223"/>
                    <a:pt x="1210" y="228"/>
                  </a:cubicBezTo>
                  <a:cubicBezTo>
                    <a:pt x="1202" y="228"/>
                    <a:pt x="1199" y="234"/>
                    <a:pt x="1191" y="231"/>
                  </a:cubicBezTo>
                  <a:close/>
                  <a:moveTo>
                    <a:pt x="1196" y="310"/>
                  </a:moveTo>
                  <a:lnTo>
                    <a:pt x="1196" y="316"/>
                  </a:lnTo>
                  <a:lnTo>
                    <a:pt x="1191" y="316"/>
                  </a:lnTo>
                  <a:lnTo>
                    <a:pt x="1191" y="310"/>
                  </a:lnTo>
                  <a:lnTo>
                    <a:pt x="1196" y="310"/>
                  </a:lnTo>
                  <a:close/>
                  <a:moveTo>
                    <a:pt x="1199" y="121"/>
                  </a:moveTo>
                  <a:cubicBezTo>
                    <a:pt x="1202" y="124"/>
                    <a:pt x="1210" y="124"/>
                    <a:pt x="1210" y="130"/>
                  </a:cubicBezTo>
                  <a:cubicBezTo>
                    <a:pt x="1207" y="127"/>
                    <a:pt x="1202" y="127"/>
                    <a:pt x="1199" y="121"/>
                  </a:cubicBezTo>
                  <a:close/>
                  <a:moveTo>
                    <a:pt x="1216" y="166"/>
                  </a:moveTo>
                  <a:cubicBezTo>
                    <a:pt x="1210" y="166"/>
                    <a:pt x="1205" y="164"/>
                    <a:pt x="1202" y="158"/>
                  </a:cubicBezTo>
                  <a:cubicBezTo>
                    <a:pt x="1205" y="158"/>
                    <a:pt x="1207" y="158"/>
                    <a:pt x="1207" y="155"/>
                  </a:cubicBezTo>
                  <a:cubicBezTo>
                    <a:pt x="1207" y="164"/>
                    <a:pt x="1216" y="161"/>
                    <a:pt x="1216" y="166"/>
                  </a:cubicBezTo>
                  <a:close/>
                  <a:moveTo>
                    <a:pt x="1205" y="259"/>
                  </a:moveTo>
                  <a:lnTo>
                    <a:pt x="1206" y="259"/>
                  </a:lnTo>
                  <a:cubicBezTo>
                    <a:pt x="1206" y="262"/>
                    <a:pt x="1206" y="266"/>
                    <a:pt x="1205" y="259"/>
                  </a:cubicBezTo>
                  <a:cubicBezTo>
                    <a:pt x="1205" y="256"/>
                    <a:pt x="1205" y="257"/>
                    <a:pt x="1206" y="259"/>
                  </a:cubicBezTo>
                  <a:lnTo>
                    <a:pt x="1205" y="259"/>
                  </a:lnTo>
                  <a:close/>
                  <a:moveTo>
                    <a:pt x="1207" y="296"/>
                  </a:moveTo>
                  <a:lnTo>
                    <a:pt x="1207" y="290"/>
                  </a:lnTo>
                  <a:lnTo>
                    <a:pt x="1210" y="290"/>
                  </a:lnTo>
                  <a:cubicBezTo>
                    <a:pt x="1210" y="293"/>
                    <a:pt x="1213" y="293"/>
                    <a:pt x="1213" y="293"/>
                  </a:cubicBezTo>
                  <a:cubicBezTo>
                    <a:pt x="1210" y="296"/>
                    <a:pt x="1207" y="299"/>
                    <a:pt x="1207" y="296"/>
                  </a:cubicBezTo>
                  <a:close/>
                  <a:moveTo>
                    <a:pt x="1207" y="2800"/>
                  </a:moveTo>
                  <a:cubicBezTo>
                    <a:pt x="1207" y="2806"/>
                    <a:pt x="1202" y="2806"/>
                    <a:pt x="1199" y="2808"/>
                  </a:cubicBezTo>
                  <a:cubicBezTo>
                    <a:pt x="1196" y="2803"/>
                    <a:pt x="1202" y="2800"/>
                    <a:pt x="1207" y="2800"/>
                  </a:cubicBezTo>
                  <a:close/>
                  <a:moveTo>
                    <a:pt x="1205" y="2676"/>
                  </a:moveTo>
                  <a:cubicBezTo>
                    <a:pt x="1222" y="2676"/>
                    <a:pt x="1202" y="2698"/>
                    <a:pt x="1205" y="2676"/>
                  </a:cubicBezTo>
                  <a:close/>
                  <a:moveTo>
                    <a:pt x="1207" y="2442"/>
                  </a:moveTo>
                  <a:cubicBezTo>
                    <a:pt x="1213" y="2442"/>
                    <a:pt x="1216" y="2456"/>
                    <a:pt x="1219" y="2462"/>
                  </a:cubicBezTo>
                  <a:cubicBezTo>
                    <a:pt x="1210" y="2462"/>
                    <a:pt x="1207" y="2450"/>
                    <a:pt x="1207" y="2442"/>
                  </a:cubicBezTo>
                  <a:close/>
                  <a:moveTo>
                    <a:pt x="1213" y="39"/>
                  </a:moveTo>
                  <a:lnTo>
                    <a:pt x="1219" y="39"/>
                  </a:lnTo>
                  <a:lnTo>
                    <a:pt x="1219" y="45"/>
                  </a:lnTo>
                  <a:lnTo>
                    <a:pt x="1213" y="45"/>
                  </a:lnTo>
                  <a:lnTo>
                    <a:pt x="1213" y="39"/>
                  </a:lnTo>
                  <a:close/>
                  <a:moveTo>
                    <a:pt x="1213" y="73"/>
                  </a:moveTo>
                  <a:cubicBezTo>
                    <a:pt x="1216" y="70"/>
                    <a:pt x="1219" y="70"/>
                    <a:pt x="1219" y="70"/>
                  </a:cubicBezTo>
                  <a:cubicBezTo>
                    <a:pt x="1219" y="73"/>
                    <a:pt x="1222" y="76"/>
                    <a:pt x="1222" y="79"/>
                  </a:cubicBezTo>
                  <a:lnTo>
                    <a:pt x="1219" y="79"/>
                  </a:lnTo>
                  <a:cubicBezTo>
                    <a:pt x="1219" y="82"/>
                    <a:pt x="1216" y="82"/>
                    <a:pt x="1216" y="85"/>
                  </a:cubicBezTo>
                  <a:cubicBezTo>
                    <a:pt x="1210" y="85"/>
                    <a:pt x="1207" y="76"/>
                    <a:pt x="1213" y="73"/>
                  </a:cubicBezTo>
                  <a:close/>
                  <a:moveTo>
                    <a:pt x="1213" y="73"/>
                  </a:moveTo>
                  <a:cubicBezTo>
                    <a:pt x="1213" y="70"/>
                    <a:pt x="1210" y="70"/>
                    <a:pt x="1213" y="73"/>
                  </a:cubicBezTo>
                  <a:close/>
                  <a:moveTo>
                    <a:pt x="1213" y="73"/>
                  </a:moveTo>
                  <a:cubicBezTo>
                    <a:pt x="1213" y="65"/>
                    <a:pt x="1216" y="70"/>
                    <a:pt x="1213" y="73"/>
                  </a:cubicBezTo>
                  <a:close/>
                  <a:moveTo>
                    <a:pt x="1202" y="107"/>
                  </a:moveTo>
                  <a:cubicBezTo>
                    <a:pt x="1205" y="110"/>
                    <a:pt x="1210" y="118"/>
                    <a:pt x="1213" y="121"/>
                  </a:cubicBezTo>
                  <a:cubicBezTo>
                    <a:pt x="1207" y="121"/>
                    <a:pt x="1202" y="116"/>
                    <a:pt x="1196" y="118"/>
                  </a:cubicBezTo>
                  <a:cubicBezTo>
                    <a:pt x="1191" y="113"/>
                    <a:pt x="1202" y="113"/>
                    <a:pt x="1202" y="107"/>
                  </a:cubicBezTo>
                  <a:close/>
                  <a:moveTo>
                    <a:pt x="1193" y="93"/>
                  </a:moveTo>
                  <a:cubicBezTo>
                    <a:pt x="1188" y="90"/>
                    <a:pt x="1202" y="96"/>
                    <a:pt x="1193" y="93"/>
                  </a:cubicBezTo>
                  <a:close/>
                  <a:moveTo>
                    <a:pt x="1165" y="48"/>
                  </a:moveTo>
                  <a:cubicBezTo>
                    <a:pt x="1168" y="42"/>
                    <a:pt x="1162" y="56"/>
                    <a:pt x="1165" y="48"/>
                  </a:cubicBezTo>
                  <a:close/>
                  <a:moveTo>
                    <a:pt x="1159" y="96"/>
                  </a:moveTo>
                  <a:cubicBezTo>
                    <a:pt x="1162" y="90"/>
                    <a:pt x="1165" y="82"/>
                    <a:pt x="1171" y="85"/>
                  </a:cubicBezTo>
                  <a:cubicBezTo>
                    <a:pt x="1171" y="79"/>
                    <a:pt x="1168" y="79"/>
                    <a:pt x="1171" y="73"/>
                  </a:cubicBezTo>
                  <a:cubicBezTo>
                    <a:pt x="1179" y="76"/>
                    <a:pt x="1176" y="68"/>
                    <a:pt x="1185" y="68"/>
                  </a:cubicBezTo>
                  <a:cubicBezTo>
                    <a:pt x="1182" y="70"/>
                    <a:pt x="1185" y="76"/>
                    <a:pt x="1188" y="79"/>
                  </a:cubicBezTo>
                  <a:lnTo>
                    <a:pt x="1188" y="76"/>
                  </a:lnTo>
                  <a:cubicBezTo>
                    <a:pt x="1193" y="73"/>
                    <a:pt x="1202" y="82"/>
                    <a:pt x="1199" y="87"/>
                  </a:cubicBezTo>
                  <a:lnTo>
                    <a:pt x="1196" y="87"/>
                  </a:lnTo>
                  <a:lnTo>
                    <a:pt x="1196" y="90"/>
                  </a:lnTo>
                  <a:cubicBezTo>
                    <a:pt x="1193" y="93"/>
                    <a:pt x="1188" y="76"/>
                    <a:pt x="1179" y="79"/>
                  </a:cubicBezTo>
                  <a:cubicBezTo>
                    <a:pt x="1171" y="79"/>
                    <a:pt x="1176" y="87"/>
                    <a:pt x="1176" y="90"/>
                  </a:cubicBezTo>
                  <a:cubicBezTo>
                    <a:pt x="1179" y="93"/>
                    <a:pt x="1179" y="87"/>
                    <a:pt x="1182" y="87"/>
                  </a:cubicBezTo>
                  <a:cubicBezTo>
                    <a:pt x="1185" y="93"/>
                    <a:pt x="1176" y="93"/>
                    <a:pt x="1176" y="96"/>
                  </a:cubicBezTo>
                  <a:cubicBezTo>
                    <a:pt x="1179" y="102"/>
                    <a:pt x="1182" y="102"/>
                    <a:pt x="1179" y="110"/>
                  </a:cubicBezTo>
                  <a:cubicBezTo>
                    <a:pt x="1174" y="104"/>
                    <a:pt x="1168" y="113"/>
                    <a:pt x="1162" y="107"/>
                  </a:cubicBezTo>
                  <a:cubicBezTo>
                    <a:pt x="1162" y="102"/>
                    <a:pt x="1162" y="104"/>
                    <a:pt x="1159" y="96"/>
                  </a:cubicBezTo>
                  <a:cubicBezTo>
                    <a:pt x="1162" y="96"/>
                    <a:pt x="1168" y="99"/>
                    <a:pt x="1168" y="102"/>
                  </a:cubicBezTo>
                  <a:cubicBezTo>
                    <a:pt x="1171" y="99"/>
                    <a:pt x="1165" y="99"/>
                    <a:pt x="1168" y="96"/>
                  </a:cubicBezTo>
                  <a:lnTo>
                    <a:pt x="1159" y="96"/>
                  </a:lnTo>
                  <a:close/>
                  <a:moveTo>
                    <a:pt x="1185" y="2653"/>
                  </a:moveTo>
                  <a:cubicBezTo>
                    <a:pt x="1185" y="2648"/>
                    <a:pt x="1193" y="2656"/>
                    <a:pt x="1185" y="2653"/>
                  </a:cubicBezTo>
                  <a:close/>
                  <a:moveTo>
                    <a:pt x="1165" y="118"/>
                  </a:moveTo>
                  <a:cubicBezTo>
                    <a:pt x="1162" y="116"/>
                    <a:pt x="1168" y="113"/>
                    <a:pt x="1171" y="110"/>
                  </a:cubicBezTo>
                  <a:cubicBezTo>
                    <a:pt x="1168" y="116"/>
                    <a:pt x="1168" y="118"/>
                    <a:pt x="1165" y="118"/>
                  </a:cubicBezTo>
                  <a:close/>
                  <a:moveTo>
                    <a:pt x="1168" y="226"/>
                  </a:moveTo>
                  <a:cubicBezTo>
                    <a:pt x="1165" y="226"/>
                    <a:pt x="1162" y="226"/>
                    <a:pt x="1159" y="228"/>
                  </a:cubicBezTo>
                  <a:lnTo>
                    <a:pt x="1159" y="223"/>
                  </a:lnTo>
                  <a:cubicBezTo>
                    <a:pt x="1162" y="220"/>
                    <a:pt x="1164" y="220"/>
                    <a:pt x="1167" y="224"/>
                  </a:cubicBezTo>
                  <a:cubicBezTo>
                    <a:pt x="1167" y="223"/>
                    <a:pt x="1168" y="224"/>
                    <a:pt x="1168" y="226"/>
                  </a:cubicBezTo>
                  <a:close/>
                  <a:moveTo>
                    <a:pt x="1171" y="172"/>
                  </a:moveTo>
                  <a:cubicBezTo>
                    <a:pt x="1171" y="175"/>
                    <a:pt x="1176" y="172"/>
                    <a:pt x="1176" y="172"/>
                  </a:cubicBezTo>
                  <a:cubicBezTo>
                    <a:pt x="1176" y="178"/>
                    <a:pt x="1174" y="180"/>
                    <a:pt x="1171" y="183"/>
                  </a:cubicBezTo>
                  <a:cubicBezTo>
                    <a:pt x="1171" y="180"/>
                    <a:pt x="1168" y="169"/>
                    <a:pt x="1171" y="172"/>
                  </a:cubicBezTo>
                  <a:close/>
                  <a:moveTo>
                    <a:pt x="1165" y="2557"/>
                  </a:moveTo>
                  <a:cubicBezTo>
                    <a:pt x="1168" y="2552"/>
                    <a:pt x="1176" y="2559"/>
                    <a:pt x="1167" y="2558"/>
                  </a:cubicBezTo>
                  <a:cubicBezTo>
                    <a:pt x="1166" y="2558"/>
                    <a:pt x="1166" y="2557"/>
                    <a:pt x="1165" y="2557"/>
                  </a:cubicBezTo>
                  <a:close/>
                  <a:moveTo>
                    <a:pt x="1165" y="2557"/>
                  </a:moveTo>
                  <a:cubicBezTo>
                    <a:pt x="1167" y="2560"/>
                    <a:pt x="1168" y="2558"/>
                    <a:pt x="1167" y="2558"/>
                  </a:cubicBezTo>
                  <a:cubicBezTo>
                    <a:pt x="1166" y="2558"/>
                    <a:pt x="1166" y="2558"/>
                    <a:pt x="1165" y="2557"/>
                  </a:cubicBezTo>
                  <a:close/>
                  <a:moveTo>
                    <a:pt x="1168" y="220"/>
                  </a:moveTo>
                  <a:cubicBezTo>
                    <a:pt x="1174" y="220"/>
                    <a:pt x="1176" y="237"/>
                    <a:pt x="1176" y="240"/>
                  </a:cubicBezTo>
                  <a:cubicBezTo>
                    <a:pt x="1171" y="240"/>
                    <a:pt x="1168" y="223"/>
                    <a:pt x="1168" y="220"/>
                  </a:cubicBezTo>
                  <a:close/>
                  <a:moveTo>
                    <a:pt x="1182" y="262"/>
                  </a:moveTo>
                  <a:cubicBezTo>
                    <a:pt x="1185" y="265"/>
                    <a:pt x="1182" y="271"/>
                    <a:pt x="1182" y="274"/>
                  </a:cubicBezTo>
                  <a:cubicBezTo>
                    <a:pt x="1176" y="276"/>
                    <a:pt x="1176" y="271"/>
                    <a:pt x="1171" y="271"/>
                  </a:cubicBezTo>
                  <a:cubicBezTo>
                    <a:pt x="1174" y="268"/>
                    <a:pt x="1176" y="265"/>
                    <a:pt x="1182" y="262"/>
                  </a:cubicBezTo>
                  <a:close/>
                  <a:moveTo>
                    <a:pt x="1176" y="259"/>
                  </a:moveTo>
                  <a:cubicBezTo>
                    <a:pt x="1174" y="257"/>
                    <a:pt x="1176" y="257"/>
                    <a:pt x="1176" y="259"/>
                  </a:cubicBezTo>
                  <a:cubicBezTo>
                    <a:pt x="1176" y="257"/>
                    <a:pt x="1176" y="254"/>
                    <a:pt x="1174" y="254"/>
                  </a:cubicBezTo>
                  <a:cubicBezTo>
                    <a:pt x="1179" y="251"/>
                    <a:pt x="1179" y="259"/>
                    <a:pt x="1179" y="262"/>
                  </a:cubicBezTo>
                  <a:cubicBezTo>
                    <a:pt x="1179" y="259"/>
                    <a:pt x="1176" y="259"/>
                    <a:pt x="1176" y="259"/>
                  </a:cubicBezTo>
                  <a:close/>
                  <a:moveTo>
                    <a:pt x="1176" y="259"/>
                  </a:moveTo>
                  <a:cubicBezTo>
                    <a:pt x="1174" y="259"/>
                    <a:pt x="1171" y="262"/>
                    <a:pt x="1176" y="259"/>
                  </a:cubicBezTo>
                  <a:close/>
                  <a:moveTo>
                    <a:pt x="1157" y="135"/>
                  </a:moveTo>
                  <a:cubicBezTo>
                    <a:pt x="1159" y="127"/>
                    <a:pt x="1162" y="144"/>
                    <a:pt x="1157" y="135"/>
                  </a:cubicBezTo>
                  <a:close/>
                  <a:moveTo>
                    <a:pt x="1159" y="2594"/>
                  </a:moveTo>
                  <a:cubicBezTo>
                    <a:pt x="1179" y="2605"/>
                    <a:pt x="1145" y="2614"/>
                    <a:pt x="1159" y="2594"/>
                  </a:cubicBezTo>
                  <a:close/>
                  <a:moveTo>
                    <a:pt x="1148" y="299"/>
                  </a:moveTo>
                  <a:cubicBezTo>
                    <a:pt x="1146" y="298"/>
                    <a:pt x="1144" y="298"/>
                    <a:pt x="1143" y="299"/>
                  </a:cubicBezTo>
                  <a:cubicBezTo>
                    <a:pt x="1143" y="301"/>
                    <a:pt x="1141" y="303"/>
                    <a:pt x="1140" y="300"/>
                  </a:cubicBezTo>
                  <a:cubicBezTo>
                    <a:pt x="1139" y="300"/>
                    <a:pt x="1137" y="300"/>
                    <a:pt x="1134" y="299"/>
                  </a:cubicBezTo>
                  <a:cubicBezTo>
                    <a:pt x="1134" y="293"/>
                    <a:pt x="1148" y="293"/>
                    <a:pt x="1148" y="299"/>
                  </a:cubicBezTo>
                  <a:close/>
                  <a:moveTo>
                    <a:pt x="1131" y="2526"/>
                  </a:moveTo>
                  <a:cubicBezTo>
                    <a:pt x="1131" y="2521"/>
                    <a:pt x="1143" y="2529"/>
                    <a:pt x="1131" y="2526"/>
                  </a:cubicBezTo>
                  <a:close/>
                  <a:moveTo>
                    <a:pt x="1143" y="34"/>
                  </a:moveTo>
                  <a:lnTo>
                    <a:pt x="1143" y="42"/>
                  </a:lnTo>
                  <a:cubicBezTo>
                    <a:pt x="1140" y="42"/>
                    <a:pt x="1140" y="39"/>
                    <a:pt x="1137" y="39"/>
                  </a:cubicBezTo>
                  <a:cubicBezTo>
                    <a:pt x="1134" y="39"/>
                    <a:pt x="1140" y="37"/>
                    <a:pt x="1143" y="34"/>
                  </a:cubicBezTo>
                  <a:close/>
                  <a:moveTo>
                    <a:pt x="1140" y="62"/>
                  </a:moveTo>
                  <a:cubicBezTo>
                    <a:pt x="1151" y="65"/>
                    <a:pt x="1134" y="73"/>
                    <a:pt x="1126" y="76"/>
                  </a:cubicBezTo>
                  <a:cubicBezTo>
                    <a:pt x="1123" y="68"/>
                    <a:pt x="1143" y="70"/>
                    <a:pt x="1140" y="62"/>
                  </a:cubicBezTo>
                  <a:close/>
                  <a:moveTo>
                    <a:pt x="1134" y="130"/>
                  </a:moveTo>
                  <a:cubicBezTo>
                    <a:pt x="1131" y="130"/>
                    <a:pt x="1128" y="127"/>
                    <a:pt x="1126" y="124"/>
                  </a:cubicBezTo>
                  <a:cubicBezTo>
                    <a:pt x="1131" y="124"/>
                    <a:pt x="1134" y="127"/>
                    <a:pt x="1134" y="130"/>
                  </a:cubicBezTo>
                  <a:close/>
                  <a:moveTo>
                    <a:pt x="1137" y="282"/>
                  </a:moveTo>
                  <a:cubicBezTo>
                    <a:pt x="1137" y="288"/>
                    <a:pt x="1131" y="290"/>
                    <a:pt x="1126" y="290"/>
                  </a:cubicBezTo>
                  <a:cubicBezTo>
                    <a:pt x="1128" y="288"/>
                    <a:pt x="1131" y="282"/>
                    <a:pt x="1137" y="282"/>
                  </a:cubicBezTo>
                  <a:close/>
                  <a:moveTo>
                    <a:pt x="1140" y="2639"/>
                  </a:moveTo>
                  <a:cubicBezTo>
                    <a:pt x="1132" y="2639"/>
                    <a:pt x="1127" y="2637"/>
                    <a:pt x="1125" y="2635"/>
                  </a:cubicBezTo>
                  <a:cubicBezTo>
                    <a:pt x="1124" y="2635"/>
                    <a:pt x="1122" y="2634"/>
                    <a:pt x="1120" y="2634"/>
                  </a:cubicBezTo>
                  <a:cubicBezTo>
                    <a:pt x="1114" y="2631"/>
                    <a:pt x="1112" y="2628"/>
                    <a:pt x="1112" y="2625"/>
                  </a:cubicBezTo>
                  <a:cubicBezTo>
                    <a:pt x="1114" y="2625"/>
                    <a:pt x="1117" y="2625"/>
                    <a:pt x="1120" y="2628"/>
                  </a:cubicBezTo>
                  <a:lnTo>
                    <a:pt x="1123" y="2631"/>
                  </a:lnTo>
                  <a:cubicBezTo>
                    <a:pt x="1122" y="2624"/>
                    <a:pt x="1134" y="2618"/>
                    <a:pt x="1140" y="2639"/>
                  </a:cubicBezTo>
                  <a:close/>
                  <a:moveTo>
                    <a:pt x="1140" y="2605"/>
                  </a:moveTo>
                  <a:cubicBezTo>
                    <a:pt x="1143" y="2603"/>
                    <a:pt x="1143" y="2605"/>
                    <a:pt x="1140" y="2605"/>
                  </a:cubicBezTo>
                  <a:close/>
                  <a:moveTo>
                    <a:pt x="1117" y="141"/>
                  </a:moveTo>
                  <a:cubicBezTo>
                    <a:pt x="1120" y="135"/>
                    <a:pt x="1128" y="144"/>
                    <a:pt x="1117" y="141"/>
                  </a:cubicBezTo>
                  <a:close/>
                  <a:moveTo>
                    <a:pt x="1109" y="2532"/>
                  </a:moveTo>
                  <a:cubicBezTo>
                    <a:pt x="1128" y="2532"/>
                    <a:pt x="1106" y="2574"/>
                    <a:pt x="1123" y="2574"/>
                  </a:cubicBezTo>
                  <a:cubicBezTo>
                    <a:pt x="1103" y="2594"/>
                    <a:pt x="1097" y="2543"/>
                    <a:pt x="1109" y="2532"/>
                  </a:cubicBezTo>
                  <a:close/>
                  <a:moveTo>
                    <a:pt x="1117" y="2586"/>
                  </a:moveTo>
                  <a:cubicBezTo>
                    <a:pt x="1117" y="2588"/>
                    <a:pt x="1112" y="2591"/>
                    <a:pt x="1109" y="2591"/>
                  </a:cubicBezTo>
                  <a:cubicBezTo>
                    <a:pt x="1112" y="2588"/>
                    <a:pt x="1114" y="2586"/>
                    <a:pt x="1117" y="2586"/>
                  </a:cubicBezTo>
                  <a:close/>
                  <a:moveTo>
                    <a:pt x="1083" y="1618"/>
                  </a:moveTo>
                  <a:cubicBezTo>
                    <a:pt x="1069" y="1604"/>
                    <a:pt x="1109" y="1610"/>
                    <a:pt x="1083" y="1618"/>
                  </a:cubicBezTo>
                  <a:close/>
                  <a:moveTo>
                    <a:pt x="1089" y="2541"/>
                  </a:moveTo>
                  <a:cubicBezTo>
                    <a:pt x="1086" y="2546"/>
                    <a:pt x="1092" y="2538"/>
                    <a:pt x="1089" y="2541"/>
                  </a:cubicBezTo>
                  <a:close/>
                  <a:moveTo>
                    <a:pt x="1078" y="2732"/>
                  </a:moveTo>
                  <a:cubicBezTo>
                    <a:pt x="1080" y="2727"/>
                    <a:pt x="1089" y="2735"/>
                    <a:pt x="1078" y="2732"/>
                  </a:cubicBezTo>
                  <a:close/>
                  <a:moveTo>
                    <a:pt x="1078" y="1663"/>
                  </a:moveTo>
                  <a:lnTo>
                    <a:pt x="1079" y="1663"/>
                  </a:lnTo>
                  <a:cubicBezTo>
                    <a:pt x="1078" y="1664"/>
                    <a:pt x="1076" y="1665"/>
                    <a:pt x="1078" y="1663"/>
                  </a:cubicBezTo>
                  <a:cubicBezTo>
                    <a:pt x="1080" y="1662"/>
                    <a:pt x="1080" y="1663"/>
                    <a:pt x="1079" y="1663"/>
                  </a:cubicBezTo>
                  <a:lnTo>
                    <a:pt x="1078" y="1663"/>
                  </a:lnTo>
                  <a:close/>
                  <a:moveTo>
                    <a:pt x="1092" y="1584"/>
                  </a:moveTo>
                  <a:cubicBezTo>
                    <a:pt x="1086" y="1581"/>
                    <a:pt x="1086" y="1579"/>
                    <a:pt x="1086" y="1576"/>
                  </a:cubicBezTo>
                  <a:cubicBezTo>
                    <a:pt x="1085" y="1576"/>
                    <a:pt x="1084" y="1576"/>
                    <a:pt x="1083" y="1577"/>
                  </a:cubicBezTo>
                  <a:cubicBezTo>
                    <a:pt x="1082" y="1579"/>
                    <a:pt x="1077" y="1579"/>
                    <a:pt x="1075" y="1579"/>
                  </a:cubicBezTo>
                  <a:cubicBezTo>
                    <a:pt x="1075" y="1576"/>
                    <a:pt x="1075" y="1573"/>
                    <a:pt x="1078" y="1573"/>
                  </a:cubicBezTo>
                  <a:lnTo>
                    <a:pt x="1075" y="1573"/>
                  </a:lnTo>
                  <a:cubicBezTo>
                    <a:pt x="1078" y="1567"/>
                    <a:pt x="1086" y="1567"/>
                    <a:pt x="1089" y="1562"/>
                  </a:cubicBezTo>
                  <a:cubicBezTo>
                    <a:pt x="1095" y="1565"/>
                    <a:pt x="1095" y="1570"/>
                    <a:pt x="1095" y="1573"/>
                  </a:cubicBezTo>
                  <a:cubicBezTo>
                    <a:pt x="1095" y="1573"/>
                    <a:pt x="1097" y="1576"/>
                    <a:pt x="1092" y="1584"/>
                  </a:cubicBezTo>
                  <a:close/>
                  <a:moveTo>
                    <a:pt x="1052" y="2656"/>
                  </a:moveTo>
                  <a:cubicBezTo>
                    <a:pt x="1055" y="2653"/>
                    <a:pt x="1061" y="2648"/>
                    <a:pt x="1064" y="2651"/>
                  </a:cubicBezTo>
                  <a:cubicBezTo>
                    <a:pt x="1064" y="2656"/>
                    <a:pt x="1058" y="2656"/>
                    <a:pt x="1052" y="2656"/>
                  </a:cubicBezTo>
                  <a:close/>
                  <a:moveTo>
                    <a:pt x="1052" y="2698"/>
                  </a:moveTo>
                  <a:cubicBezTo>
                    <a:pt x="1055" y="2693"/>
                    <a:pt x="1064" y="2701"/>
                    <a:pt x="1052" y="2698"/>
                  </a:cubicBezTo>
                  <a:close/>
                  <a:moveTo>
                    <a:pt x="1055" y="1691"/>
                  </a:moveTo>
                  <a:lnTo>
                    <a:pt x="1055" y="1690"/>
                  </a:lnTo>
                  <a:cubicBezTo>
                    <a:pt x="1063" y="1687"/>
                    <a:pt x="1076" y="1683"/>
                    <a:pt x="1055" y="1691"/>
                  </a:cubicBezTo>
                  <a:cubicBezTo>
                    <a:pt x="1048" y="1694"/>
                    <a:pt x="1050" y="1692"/>
                    <a:pt x="1055" y="1690"/>
                  </a:cubicBezTo>
                  <a:lnTo>
                    <a:pt x="1055" y="1691"/>
                  </a:lnTo>
                  <a:close/>
                  <a:moveTo>
                    <a:pt x="1052" y="2560"/>
                  </a:moveTo>
                  <a:cubicBezTo>
                    <a:pt x="1064" y="2563"/>
                    <a:pt x="1044" y="2572"/>
                    <a:pt x="1052" y="2560"/>
                  </a:cubicBezTo>
                  <a:close/>
                  <a:moveTo>
                    <a:pt x="1030" y="1660"/>
                  </a:moveTo>
                  <a:cubicBezTo>
                    <a:pt x="1047" y="1649"/>
                    <a:pt x="1033" y="1694"/>
                    <a:pt x="1030" y="1660"/>
                  </a:cubicBezTo>
                  <a:close/>
                  <a:moveTo>
                    <a:pt x="1033" y="1756"/>
                  </a:moveTo>
                  <a:cubicBezTo>
                    <a:pt x="1030" y="1756"/>
                    <a:pt x="1035" y="1751"/>
                    <a:pt x="1033" y="1756"/>
                  </a:cubicBezTo>
                  <a:close/>
                  <a:moveTo>
                    <a:pt x="1044" y="1463"/>
                  </a:moveTo>
                  <a:cubicBezTo>
                    <a:pt x="1030" y="1457"/>
                    <a:pt x="1058" y="1444"/>
                    <a:pt x="1044" y="1463"/>
                  </a:cubicBezTo>
                  <a:close/>
                  <a:moveTo>
                    <a:pt x="1044" y="1497"/>
                  </a:moveTo>
                  <a:cubicBezTo>
                    <a:pt x="1047" y="1497"/>
                    <a:pt x="1049" y="1502"/>
                    <a:pt x="1055" y="1502"/>
                  </a:cubicBezTo>
                  <a:lnTo>
                    <a:pt x="1055" y="1508"/>
                  </a:lnTo>
                  <a:cubicBezTo>
                    <a:pt x="1060" y="1512"/>
                    <a:pt x="1063" y="1516"/>
                    <a:pt x="1064" y="1521"/>
                  </a:cubicBezTo>
                  <a:cubicBezTo>
                    <a:pt x="1065" y="1518"/>
                    <a:pt x="1074" y="1525"/>
                    <a:pt x="1064" y="1522"/>
                  </a:cubicBezTo>
                  <a:cubicBezTo>
                    <a:pt x="1064" y="1525"/>
                    <a:pt x="1063" y="1528"/>
                    <a:pt x="1061" y="1531"/>
                  </a:cubicBezTo>
                  <a:lnTo>
                    <a:pt x="1058" y="1533"/>
                  </a:lnTo>
                  <a:cubicBezTo>
                    <a:pt x="1058" y="1533"/>
                    <a:pt x="1058" y="1531"/>
                    <a:pt x="1055" y="1531"/>
                  </a:cubicBezTo>
                  <a:cubicBezTo>
                    <a:pt x="1058" y="1536"/>
                    <a:pt x="1055" y="1542"/>
                    <a:pt x="1052" y="1545"/>
                  </a:cubicBezTo>
                  <a:cubicBezTo>
                    <a:pt x="1041" y="1545"/>
                    <a:pt x="1049" y="1531"/>
                    <a:pt x="1041" y="1528"/>
                  </a:cubicBezTo>
                  <a:cubicBezTo>
                    <a:pt x="1038" y="1525"/>
                    <a:pt x="1035" y="1525"/>
                    <a:pt x="1035" y="1522"/>
                  </a:cubicBezTo>
                  <a:cubicBezTo>
                    <a:pt x="1024" y="1525"/>
                    <a:pt x="1024" y="1517"/>
                    <a:pt x="1030" y="1517"/>
                  </a:cubicBezTo>
                  <a:cubicBezTo>
                    <a:pt x="1030" y="1511"/>
                    <a:pt x="1030" y="1508"/>
                    <a:pt x="1035" y="1502"/>
                  </a:cubicBezTo>
                  <a:cubicBezTo>
                    <a:pt x="1038" y="1502"/>
                    <a:pt x="1041" y="1502"/>
                    <a:pt x="1041" y="1505"/>
                  </a:cubicBezTo>
                  <a:cubicBezTo>
                    <a:pt x="1041" y="1504"/>
                    <a:pt x="1041" y="1502"/>
                    <a:pt x="1042" y="1500"/>
                  </a:cubicBezTo>
                  <a:cubicBezTo>
                    <a:pt x="1040" y="1501"/>
                    <a:pt x="1037" y="1502"/>
                    <a:pt x="1035" y="1502"/>
                  </a:cubicBezTo>
                  <a:cubicBezTo>
                    <a:pt x="1035" y="1497"/>
                    <a:pt x="1041" y="1497"/>
                    <a:pt x="1044" y="1497"/>
                  </a:cubicBezTo>
                  <a:close/>
                  <a:moveTo>
                    <a:pt x="1041" y="1348"/>
                  </a:moveTo>
                  <a:cubicBezTo>
                    <a:pt x="1038" y="1343"/>
                    <a:pt x="1052" y="1348"/>
                    <a:pt x="1052" y="1343"/>
                  </a:cubicBezTo>
                  <a:cubicBezTo>
                    <a:pt x="1058" y="1343"/>
                    <a:pt x="1055" y="1354"/>
                    <a:pt x="1052" y="1357"/>
                  </a:cubicBezTo>
                  <a:cubicBezTo>
                    <a:pt x="1047" y="1357"/>
                    <a:pt x="1047" y="1348"/>
                    <a:pt x="1041" y="1348"/>
                  </a:cubicBezTo>
                  <a:close/>
                  <a:moveTo>
                    <a:pt x="1041" y="1227"/>
                  </a:moveTo>
                  <a:cubicBezTo>
                    <a:pt x="1041" y="1224"/>
                    <a:pt x="1049" y="1224"/>
                    <a:pt x="1049" y="1221"/>
                  </a:cubicBezTo>
                  <a:cubicBezTo>
                    <a:pt x="1055" y="1227"/>
                    <a:pt x="1047" y="1230"/>
                    <a:pt x="1041" y="1227"/>
                  </a:cubicBezTo>
                  <a:close/>
                  <a:moveTo>
                    <a:pt x="1030" y="1408"/>
                  </a:moveTo>
                  <a:cubicBezTo>
                    <a:pt x="1033" y="1405"/>
                    <a:pt x="1038" y="1402"/>
                    <a:pt x="1041" y="1399"/>
                  </a:cubicBezTo>
                  <a:cubicBezTo>
                    <a:pt x="1052" y="1405"/>
                    <a:pt x="1033" y="1422"/>
                    <a:pt x="1030" y="1408"/>
                  </a:cubicBezTo>
                  <a:close/>
                  <a:moveTo>
                    <a:pt x="1033" y="1457"/>
                  </a:moveTo>
                  <a:cubicBezTo>
                    <a:pt x="1021" y="1457"/>
                    <a:pt x="1035" y="1444"/>
                    <a:pt x="1033" y="1457"/>
                  </a:cubicBezTo>
                  <a:close/>
                  <a:moveTo>
                    <a:pt x="1033" y="1267"/>
                  </a:moveTo>
                  <a:cubicBezTo>
                    <a:pt x="1033" y="1261"/>
                    <a:pt x="1041" y="1261"/>
                    <a:pt x="1044" y="1264"/>
                  </a:cubicBezTo>
                  <a:cubicBezTo>
                    <a:pt x="1041" y="1267"/>
                    <a:pt x="1035" y="1267"/>
                    <a:pt x="1033" y="1267"/>
                  </a:cubicBezTo>
                  <a:close/>
                  <a:moveTo>
                    <a:pt x="1041" y="1275"/>
                  </a:moveTo>
                  <a:cubicBezTo>
                    <a:pt x="1041" y="1281"/>
                    <a:pt x="1033" y="1283"/>
                    <a:pt x="1030" y="1281"/>
                  </a:cubicBezTo>
                  <a:cubicBezTo>
                    <a:pt x="1030" y="1278"/>
                    <a:pt x="1035" y="1275"/>
                    <a:pt x="1041" y="1275"/>
                  </a:cubicBezTo>
                  <a:close/>
                  <a:moveTo>
                    <a:pt x="1033" y="1207"/>
                  </a:moveTo>
                  <a:cubicBezTo>
                    <a:pt x="1033" y="1210"/>
                    <a:pt x="1030" y="1213"/>
                    <a:pt x="1030" y="1213"/>
                  </a:cubicBezTo>
                  <a:cubicBezTo>
                    <a:pt x="1027" y="1213"/>
                    <a:pt x="1027" y="1210"/>
                    <a:pt x="1024" y="1210"/>
                  </a:cubicBezTo>
                  <a:cubicBezTo>
                    <a:pt x="1021" y="1210"/>
                    <a:pt x="1018" y="1202"/>
                    <a:pt x="1021" y="1190"/>
                  </a:cubicBezTo>
                  <a:cubicBezTo>
                    <a:pt x="1033" y="1196"/>
                    <a:pt x="1035" y="1204"/>
                    <a:pt x="1033" y="1207"/>
                  </a:cubicBezTo>
                  <a:close/>
                  <a:moveTo>
                    <a:pt x="1027" y="1244"/>
                  </a:moveTo>
                  <a:cubicBezTo>
                    <a:pt x="1041" y="1250"/>
                    <a:pt x="1016" y="1264"/>
                    <a:pt x="1027" y="1244"/>
                  </a:cubicBezTo>
                  <a:close/>
                  <a:moveTo>
                    <a:pt x="1083" y="1439"/>
                  </a:moveTo>
                  <a:cubicBezTo>
                    <a:pt x="1080" y="1444"/>
                    <a:pt x="1078" y="1450"/>
                    <a:pt x="1078" y="1456"/>
                  </a:cubicBezTo>
                  <a:cubicBezTo>
                    <a:pt x="1066" y="1453"/>
                    <a:pt x="1066" y="1447"/>
                    <a:pt x="1058" y="1441"/>
                  </a:cubicBezTo>
                  <a:cubicBezTo>
                    <a:pt x="1061" y="1436"/>
                    <a:pt x="1064" y="1439"/>
                    <a:pt x="1064" y="1441"/>
                  </a:cubicBezTo>
                  <a:cubicBezTo>
                    <a:pt x="1069" y="1441"/>
                    <a:pt x="1072" y="1436"/>
                    <a:pt x="1083" y="1439"/>
                  </a:cubicBezTo>
                  <a:close/>
                  <a:moveTo>
                    <a:pt x="1072" y="1410"/>
                  </a:moveTo>
                  <a:cubicBezTo>
                    <a:pt x="1072" y="1413"/>
                    <a:pt x="1061" y="1413"/>
                    <a:pt x="1064" y="1408"/>
                  </a:cubicBezTo>
                  <a:cubicBezTo>
                    <a:pt x="1069" y="1408"/>
                    <a:pt x="1072" y="1410"/>
                    <a:pt x="1072" y="1410"/>
                  </a:cubicBezTo>
                  <a:close/>
                  <a:moveTo>
                    <a:pt x="1069" y="1241"/>
                  </a:moveTo>
                  <a:cubicBezTo>
                    <a:pt x="1066" y="1244"/>
                    <a:pt x="1075" y="1238"/>
                    <a:pt x="1069" y="1241"/>
                  </a:cubicBezTo>
                  <a:close/>
                  <a:moveTo>
                    <a:pt x="1078" y="1320"/>
                  </a:moveTo>
                  <a:cubicBezTo>
                    <a:pt x="1092" y="1326"/>
                    <a:pt x="1066" y="1340"/>
                    <a:pt x="1078" y="1320"/>
                  </a:cubicBezTo>
                  <a:close/>
                  <a:moveTo>
                    <a:pt x="1078" y="1408"/>
                  </a:moveTo>
                  <a:cubicBezTo>
                    <a:pt x="1075" y="1408"/>
                    <a:pt x="1080" y="1405"/>
                    <a:pt x="1078" y="1408"/>
                  </a:cubicBezTo>
                  <a:close/>
                  <a:moveTo>
                    <a:pt x="1078" y="1252"/>
                  </a:moveTo>
                  <a:cubicBezTo>
                    <a:pt x="1083" y="1252"/>
                    <a:pt x="1075" y="1255"/>
                    <a:pt x="1078" y="1252"/>
                  </a:cubicBezTo>
                  <a:close/>
                  <a:moveTo>
                    <a:pt x="1083" y="1457"/>
                  </a:moveTo>
                  <a:lnTo>
                    <a:pt x="1078" y="1457"/>
                  </a:lnTo>
                  <a:cubicBezTo>
                    <a:pt x="1078" y="1455"/>
                    <a:pt x="1080" y="1455"/>
                    <a:pt x="1083" y="1455"/>
                  </a:cubicBezTo>
                  <a:lnTo>
                    <a:pt x="1083" y="1457"/>
                  </a:lnTo>
                  <a:close/>
                  <a:moveTo>
                    <a:pt x="1080" y="1508"/>
                  </a:moveTo>
                  <a:cubicBezTo>
                    <a:pt x="1078" y="1508"/>
                    <a:pt x="1078" y="1500"/>
                    <a:pt x="1078" y="1494"/>
                  </a:cubicBezTo>
                  <a:cubicBezTo>
                    <a:pt x="1083" y="1494"/>
                    <a:pt x="1080" y="1508"/>
                    <a:pt x="1080" y="1508"/>
                  </a:cubicBezTo>
                  <a:close/>
                  <a:moveTo>
                    <a:pt x="1089" y="1528"/>
                  </a:moveTo>
                  <a:cubicBezTo>
                    <a:pt x="1089" y="1531"/>
                    <a:pt x="1086" y="1533"/>
                    <a:pt x="1080" y="1533"/>
                  </a:cubicBezTo>
                  <a:lnTo>
                    <a:pt x="1078" y="1533"/>
                  </a:lnTo>
                  <a:cubicBezTo>
                    <a:pt x="1078" y="1533"/>
                    <a:pt x="1078" y="1531"/>
                    <a:pt x="1075" y="1531"/>
                  </a:cubicBezTo>
                  <a:cubicBezTo>
                    <a:pt x="1078" y="1528"/>
                    <a:pt x="1083" y="1525"/>
                    <a:pt x="1089" y="1528"/>
                  </a:cubicBezTo>
                  <a:close/>
                  <a:moveTo>
                    <a:pt x="1078" y="1145"/>
                  </a:moveTo>
                  <a:cubicBezTo>
                    <a:pt x="1080" y="1140"/>
                    <a:pt x="1089" y="1148"/>
                    <a:pt x="1078" y="1145"/>
                  </a:cubicBezTo>
                  <a:close/>
                  <a:moveTo>
                    <a:pt x="1072" y="795"/>
                  </a:moveTo>
                  <a:cubicBezTo>
                    <a:pt x="1058" y="776"/>
                    <a:pt x="1095" y="793"/>
                    <a:pt x="1072" y="795"/>
                  </a:cubicBezTo>
                  <a:close/>
                  <a:moveTo>
                    <a:pt x="1058" y="1477"/>
                  </a:moveTo>
                  <a:cubicBezTo>
                    <a:pt x="1066" y="1480"/>
                    <a:pt x="1055" y="1491"/>
                    <a:pt x="1058" y="1477"/>
                  </a:cubicBezTo>
                  <a:close/>
                  <a:moveTo>
                    <a:pt x="1066" y="1627"/>
                  </a:moveTo>
                  <a:cubicBezTo>
                    <a:pt x="1066" y="1629"/>
                    <a:pt x="1061" y="1632"/>
                    <a:pt x="1055" y="1629"/>
                  </a:cubicBezTo>
                  <a:cubicBezTo>
                    <a:pt x="1055" y="1627"/>
                    <a:pt x="1055" y="1624"/>
                    <a:pt x="1058" y="1624"/>
                  </a:cubicBezTo>
                  <a:cubicBezTo>
                    <a:pt x="1061" y="1624"/>
                    <a:pt x="1064" y="1624"/>
                    <a:pt x="1066" y="1627"/>
                  </a:cubicBezTo>
                  <a:close/>
                  <a:moveTo>
                    <a:pt x="1047" y="1629"/>
                  </a:moveTo>
                  <a:cubicBezTo>
                    <a:pt x="1047" y="1624"/>
                    <a:pt x="1058" y="1632"/>
                    <a:pt x="1047" y="1629"/>
                  </a:cubicBezTo>
                  <a:close/>
                  <a:moveTo>
                    <a:pt x="1049" y="1610"/>
                  </a:moveTo>
                  <a:cubicBezTo>
                    <a:pt x="1047" y="1612"/>
                    <a:pt x="1055" y="1607"/>
                    <a:pt x="1049" y="1610"/>
                  </a:cubicBezTo>
                  <a:close/>
                  <a:moveTo>
                    <a:pt x="1035" y="1652"/>
                  </a:moveTo>
                  <a:cubicBezTo>
                    <a:pt x="1028" y="1652"/>
                    <a:pt x="1029" y="1644"/>
                    <a:pt x="1035" y="1643"/>
                  </a:cubicBezTo>
                  <a:cubicBezTo>
                    <a:pt x="1032" y="1640"/>
                    <a:pt x="1030" y="1638"/>
                    <a:pt x="1030" y="1632"/>
                  </a:cubicBezTo>
                  <a:cubicBezTo>
                    <a:pt x="1033" y="1632"/>
                    <a:pt x="1035" y="1632"/>
                    <a:pt x="1038" y="1635"/>
                  </a:cubicBezTo>
                  <a:cubicBezTo>
                    <a:pt x="1038" y="1639"/>
                    <a:pt x="1036" y="1642"/>
                    <a:pt x="1036" y="1643"/>
                  </a:cubicBezTo>
                  <a:cubicBezTo>
                    <a:pt x="1036" y="1643"/>
                    <a:pt x="1037" y="1643"/>
                    <a:pt x="1038" y="1643"/>
                  </a:cubicBezTo>
                  <a:cubicBezTo>
                    <a:pt x="1035" y="1649"/>
                    <a:pt x="1041" y="1649"/>
                    <a:pt x="1035" y="1652"/>
                  </a:cubicBezTo>
                  <a:close/>
                  <a:moveTo>
                    <a:pt x="1041" y="1615"/>
                  </a:moveTo>
                  <a:cubicBezTo>
                    <a:pt x="1052" y="1627"/>
                    <a:pt x="1027" y="1641"/>
                    <a:pt x="1041" y="1615"/>
                  </a:cubicBezTo>
                  <a:close/>
                  <a:moveTo>
                    <a:pt x="1035" y="1584"/>
                  </a:moveTo>
                  <a:cubicBezTo>
                    <a:pt x="1041" y="1584"/>
                    <a:pt x="1038" y="1601"/>
                    <a:pt x="1030" y="1598"/>
                  </a:cubicBezTo>
                  <a:cubicBezTo>
                    <a:pt x="1030" y="1590"/>
                    <a:pt x="1038" y="1593"/>
                    <a:pt x="1035" y="1584"/>
                  </a:cubicBezTo>
                  <a:close/>
                  <a:moveTo>
                    <a:pt x="1038" y="1725"/>
                  </a:moveTo>
                  <a:cubicBezTo>
                    <a:pt x="1047" y="1722"/>
                    <a:pt x="1038" y="1734"/>
                    <a:pt x="1047" y="1734"/>
                  </a:cubicBezTo>
                  <a:cubicBezTo>
                    <a:pt x="1047" y="1739"/>
                    <a:pt x="1035" y="1737"/>
                    <a:pt x="1035" y="1734"/>
                  </a:cubicBezTo>
                  <a:cubicBezTo>
                    <a:pt x="1035" y="1731"/>
                    <a:pt x="1041" y="1731"/>
                    <a:pt x="1038" y="1725"/>
                  </a:cubicBezTo>
                  <a:close/>
                  <a:moveTo>
                    <a:pt x="1038" y="1677"/>
                  </a:moveTo>
                  <a:cubicBezTo>
                    <a:pt x="1035" y="1675"/>
                    <a:pt x="1044" y="1669"/>
                    <a:pt x="1047" y="1666"/>
                  </a:cubicBezTo>
                  <a:cubicBezTo>
                    <a:pt x="1049" y="1669"/>
                    <a:pt x="1044" y="1680"/>
                    <a:pt x="1038" y="1677"/>
                  </a:cubicBezTo>
                  <a:close/>
                  <a:moveTo>
                    <a:pt x="1041" y="1649"/>
                  </a:moveTo>
                  <a:cubicBezTo>
                    <a:pt x="1041" y="1646"/>
                    <a:pt x="1038" y="1643"/>
                    <a:pt x="1041" y="1641"/>
                  </a:cubicBezTo>
                  <a:cubicBezTo>
                    <a:pt x="1044" y="1641"/>
                    <a:pt x="1047" y="1643"/>
                    <a:pt x="1047" y="1643"/>
                  </a:cubicBezTo>
                  <a:cubicBezTo>
                    <a:pt x="1049" y="1643"/>
                    <a:pt x="1049" y="1641"/>
                    <a:pt x="1049" y="1638"/>
                  </a:cubicBezTo>
                  <a:cubicBezTo>
                    <a:pt x="1052" y="1638"/>
                    <a:pt x="1052" y="1643"/>
                    <a:pt x="1058" y="1643"/>
                  </a:cubicBezTo>
                  <a:cubicBezTo>
                    <a:pt x="1055" y="1652"/>
                    <a:pt x="1047" y="1649"/>
                    <a:pt x="1041" y="1649"/>
                  </a:cubicBezTo>
                  <a:close/>
                  <a:moveTo>
                    <a:pt x="1058" y="1714"/>
                  </a:moveTo>
                  <a:cubicBezTo>
                    <a:pt x="1066" y="1708"/>
                    <a:pt x="1055" y="1722"/>
                    <a:pt x="1058" y="1714"/>
                  </a:cubicBezTo>
                  <a:close/>
                  <a:moveTo>
                    <a:pt x="1061" y="2532"/>
                  </a:moveTo>
                  <a:cubicBezTo>
                    <a:pt x="1078" y="2535"/>
                    <a:pt x="1058" y="2560"/>
                    <a:pt x="1061" y="2532"/>
                  </a:cubicBezTo>
                  <a:close/>
                  <a:moveTo>
                    <a:pt x="1066" y="1559"/>
                  </a:moveTo>
                  <a:cubicBezTo>
                    <a:pt x="1049" y="1539"/>
                    <a:pt x="1086" y="1559"/>
                    <a:pt x="1066" y="1559"/>
                  </a:cubicBezTo>
                  <a:close/>
                  <a:moveTo>
                    <a:pt x="1069" y="2555"/>
                  </a:moveTo>
                  <a:cubicBezTo>
                    <a:pt x="1069" y="2555"/>
                    <a:pt x="1072" y="2557"/>
                    <a:pt x="1069" y="2560"/>
                  </a:cubicBezTo>
                  <a:lnTo>
                    <a:pt x="1066" y="2560"/>
                  </a:lnTo>
                  <a:cubicBezTo>
                    <a:pt x="1069" y="2557"/>
                    <a:pt x="1066" y="2557"/>
                    <a:pt x="1069" y="2555"/>
                  </a:cubicBezTo>
                  <a:close/>
                  <a:moveTo>
                    <a:pt x="1075" y="2642"/>
                  </a:moveTo>
                  <a:cubicBezTo>
                    <a:pt x="1075" y="2645"/>
                    <a:pt x="1069" y="2648"/>
                    <a:pt x="1066" y="2648"/>
                  </a:cubicBezTo>
                  <a:cubicBezTo>
                    <a:pt x="1069" y="2645"/>
                    <a:pt x="1072" y="2642"/>
                    <a:pt x="1075" y="2642"/>
                  </a:cubicBezTo>
                  <a:close/>
                  <a:moveTo>
                    <a:pt x="1072" y="2665"/>
                  </a:moveTo>
                  <a:cubicBezTo>
                    <a:pt x="1072" y="2659"/>
                    <a:pt x="1080" y="2667"/>
                    <a:pt x="1072" y="2665"/>
                  </a:cubicBezTo>
                  <a:close/>
                  <a:moveTo>
                    <a:pt x="1103" y="1505"/>
                  </a:moveTo>
                  <a:cubicBezTo>
                    <a:pt x="1117" y="1517"/>
                    <a:pt x="1078" y="1514"/>
                    <a:pt x="1103" y="1505"/>
                  </a:cubicBezTo>
                  <a:close/>
                  <a:moveTo>
                    <a:pt x="1097" y="1457"/>
                  </a:moveTo>
                  <a:cubicBezTo>
                    <a:pt x="1080" y="1444"/>
                    <a:pt x="1120" y="1450"/>
                    <a:pt x="1097" y="1457"/>
                  </a:cubicBezTo>
                  <a:close/>
                  <a:moveTo>
                    <a:pt x="1100" y="1125"/>
                  </a:moveTo>
                  <a:cubicBezTo>
                    <a:pt x="1114" y="1131"/>
                    <a:pt x="1089" y="1145"/>
                    <a:pt x="1100" y="1125"/>
                  </a:cubicBezTo>
                  <a:close/>
                  <a:moveTo>
                    <a:pt x="1100" y="1474"/>
                  </a:moveTo>
                  <a:cubicBezTo>
                    <a:pt x="1103" y="1474"/>
                    <a:pt x="1097" y="1477"/>
                    <a:pt x="1095" y="1474"/>
                  </a:cubicBezTo>
                  <a:cubicBezTo>
                    <a:pt x="1092" y="1471"/>
                    <a:pt x="1097" y="1474"/>
                    <a:pt x="1100" y="1474"/>
                  </a:cubicBezTo>
                  <a:close/>
                  <a:moveTo>
                    <a:pt x="1112" y="127"/>
                  </a:moveTo>
                  <a:cubicBezTo>
                    <a:pt x="1114" y="121"/>
                    <a:pt x="1126" y="130"/>
                    <a:pt x="1112" y="127"/>
                  </a:cubicBezTo>
                  <a:close/>
                  <a:moveTo>
                    <a:pt x="1117" y="113"/>
                  </a:moveTo>
                  <a:cubicBezTo>
                    <a:pt x="1117" y="107"/>
                    <a:pt x="1126" y="116"/>
                    <a:pt x="1117" y="113"/>
                  </a:cubicBezTo>
                  <a:close/>
                  <a:moveTo>
                    <a:pt x="1112" y="104"/>
                  </a:moveTo>
                  <a:cubicBezTo>
                    <a:pt x="1114" y="96"/>
                    <a:pt x="1123" y="107"/>
                    <a:pt x="1112" y="104"/>
                  </a:cubicBezTo>
                  <a:close/>
                  <a:moveTo>
                    <a:pt x="1095" y="293"/>
                  </a:moveTo>
                  <a:cubicBezTo>
                    <a:pt x="1100" y="293"/>
                    <a:pt x="1103" y="290"/>
                    <a:pt x="1109" y="293"/>
                  </a:cubicBezTo>
                  <a:cubicBezTo>
                    <a:pt x="1112" y="299"/>
                    <a:pt x="1095" y="299"/>
                    <a:pt x="1095" y="293"/>
                  </a:cubicBezTo>
                  <a:close/>
                  <a:moveTo>
                    <a:pt x="1103" y="279"/>
                  </a:moveTo>
                  <a:cubicBezTo>
                    <a:pt x="1103" y="274"/>
                    <a:pt x="1112" y="282"/>
                    <a:pt x="1103" y="279"/>
                  </a:cubicBezTo>
                  <a:close/>
                  <a:moveTo>
                    <a:pt x="1103" y="186"/>
                  </a:moveTo>
                  <a:cubicBezTo>
                    <a:pt x="1103" y="189"/>
                    <a:pt x="1097" y="192"/>
                    <a:pt x="1092" y="192"/>
                  </a:cubicBezTo>
                  <a:cubicBezTo>
                    <a:pt x="1095" y="186"/>
                    <a:pt x="1100" y="186"/>
                    <a:pt x="1103" y="186"/>
                  </a:cubicBezTo>
                  <a:close/>
                  <a:moveTo>
                    <a:pt x="1097" y="1345"/>
                  </a:moveTo>
                  <a:cubicBezTo>
                    <a:pt x="1106" y="1365"/>
                    <a:pt x="1086" y="1331"/>
                    <a:pt x="1097" y="1345"/>
                  </a:cubicBezTo>
                  <a:close/>
                  <a:moveTo>
                    <a:pt x="1092" y="1430"/>
                  </a:moveTo>
                  <a:cubicBezTo>
                    <a:pt x="1089" y="1430"/>
                    <a:pt x="1097" y="1427"/>
                    <a:pt x="1092" y="1430"/>
                  </a:cubicBezTo>
                  <a:close/>
                  <a:moveTo>
                    <a:pt x="1092" y="1502"/>
                  </a:moveTo>
                  <a:cubicBezTo>
                    <a:pt x="1078" y="1497"/>
                    <a:pt x="1106" y="1483"/>
                    <a:pt x="1092" y="1502"/>
                  </a:cubicBezTo>
                  <a:close/>
                  <a:moveTo>
                    <a:pt x="1089" y="73"/>
                  </a:moveTo>
                  <a:cubicBezTo>
                    <a:pt x="1086" y="76"/>
                    <a:pt x="1086" y="82"/>
                    <a:pt x="1080" y="82"/>
                  </a:cubicBezTo>
                  <a:cubicBezTo>
                    <a:pt x="1083" y="76"/>
                    <a:pt x="1086" y="73"/>
                    <a:pt x="1089" y="73"/>
                  </a:cubicBezTo>
                  <a:close/>
                  <a:moveTo>
                    <a:pt x="1075" y="279"/>
                  </a:moveTo>
                  <a:cubicBezTo>
                    <a:pt x="1075" y="274"/>
                    <a:pt x="1086" y="282"/>
                    <a:pt x="1075" y="279"/>
                  </a:cubicBezTo>
                  <a:close/>
                  <a:moveTo>
                    <a:pt x="1078" y="739"/>
                  </a:moveTo>
                  <a:cubicBezTo>
                    <a:pt x="1061" y="725"/>
                    <a:pt x="1100" y="731"/>
                    <a:pt x="1078" y="739"/>
                  </a:cubicBezTo>
                  <a:close/>
                  <a:moveTo>
                    <a:pt x="1069" y="116"/>
                  </a:moveTo>
                  <a:cubicBezTo>
                    <a:pt x="1066" y="110"/>
                    <a:pt x="1078" y="116"/>
                    <a:pt x="1069" y="116"/>
                  </a:cubicBezTo>
                  <a:close/>
                  <a:moveTo>
                    <a:pt x="1064" y="62"/>
                  </a:moveTo>
                  <a:cubicBezTo>
                    <a:pt x="1066" y="56"/>
                    <a:pt x="1072" y="68"/>
                    <a:pt x="1064" y="62"/>
                  </a:cubicBezTo>
                  <a:close/>
                  <a:moveTo>
                    <a:pt x="1072" y="189"/>
                  </a:moveTo>
                  <a:cubicBezTo>
                    <a:pt x="1069" y="189"/>
                    <a:pt x="1066" y="192"/>
                    <a:pt x="1066" y="192"/>
                  </a:cubicBezTo>
                  <a:cubicBezTo>
                    <a:pt x="1061" y="192"/>
                    <a:pt x="1058" y="183"/>
                    <a:pt x="1052" y="183"/>
                  </a:cubicBezTo>
                  <a:cubicBezTo>
                    <a:pt x="1058" y="180"/>
                    <a:pt x="1072" y="183"/>
                    <a:pt x="1072" y="189"/>
                  </a:cubicBezTo>
                  <a:close/>
                  <a:moveTo>
                    <a:pt x="1052" y="62"/>
                  </a:moveTo>
                  <a:cubicBezTo>
                    <a:pt x="1055" y="62"/>
                    <a:pt x="1058" y="65"/>
                    <a:pt x="1061" y="65"/>
                  </a:cubicBezTo>
                  <a:cubicBezTo>
                    <a:pt x="1061" y="68"/>
                    <a:pt x="1049" y="65"/>
                    <a:pt x="1052" y="62"/>
                  </a:cubicBezTo>
                  <a:close/>
                  <a:moveTo>
                    <a:pt x="1058" y="773"/>
                  </a:moveTo>
                  <a:cubicBezTo>
                    <a:pt x="1064" y="767"/>
                    <a:pt x="1061" y="767"/>
                    <a:pt x="1066" y="762"/>
                  </a:cubicBezTo>
                  <a:cubicBezTo>
                    <a:pt x="1069" y="764"/>
                    <a:pt x="1072" y="762"/>
                    <a:pt x="1072" y="759"/>
                  </a:cubicBezTo>
                  <a:cubicBezTo>
                    <a:pt x="1086" y="773"/>
                    <a:pt x="1058" y="776"/>
                    <a:pt x="1058" y="790"/>
                  </a:cubicBezTo>
                  <a:cubicBezTo>
                    <a:pt x="1049" y="784"/>
                    <a:pt x="1044" y="776"/>
                    <a:pt x="1038" y="767"/>
                  </a:cubicBezTo>
                  <a:cubicBezTo>
                    <a:pt x="1049" y="750"/>
                    <a:pt x="1052" y="773"/>
                    <a:pt x="1058" y="773"/>
                  </a:cubicBezTo>
                  <a:close/>
                  <a:moveTo>
                    <a:pt x="1049" y="731"/>
                  </a:moveTo>
                  <a:lnTo>
                    <a:pt x="1049" y="730"/>
                  </a:lnTo>
                  <a:cubicBezTo>
                    <a:pt x="1049" y="728"/>
                    <a:pt x="1052" y="726"/>
                    <a:pt x="1049" y="731"/>
                  </a:cubicBezTo>
                  <a:lnTo>
                    <a:pt x="1049" y="730"/>
                  </a:lnTo>
                  <a:lnTo>
                    <a:pt x="1049" y="731"/>
                  </a:lnTo>
                  <a:close/>
                  <a:moveTo>
                    <a:pt x="1044" y="293"/>
                  </a:moveTo>
                  <a:cubicBezTo>
                    <a:pt x="1044" y="288"/>
                    <a:pt x="1052" y="296"/>
                    <a:pt x="1044" y="293"/>
                  </a:cubicBezTo>
                  <a:close/>
                  <a:moveTo>
                    <a:pt x="1049" y="133"/>
                  </a:moveTo>
                  <a:lnTo>
                    <a:pt x="1044" y="133"/>
                  </a:lnTo>
                  <a:lnTo>
                    <a:pt x="1044" y="130"/>
                  </a:lnTo>
                  <a:cubicBezTo>
                    <a:pt x="1047" y="130"/>
                    <a:pt x="1049" y="130"/>
                    <a:pt x="1049" y="133"/>
                  </a:cubicBezTo>
                  <a:close/>
                  <a:moveTo>
                    <a:pt x="1041" y="90"/>
                  </a:moveTo>
                  <a:cubicBezTo>
                    <a:pt x="1047" y="85"/>
                    <a:pt x="1035" y="99"/>
                    <a:pt x="1041" y="90"/>
                  </a:cubicBezTo>
                  <a:close/>
                  <a:moveTo>
                    <a:pt x="1041" y="728"/>
                  </a:moveTo>
                  <a:cubicBezTo>
                    <a:pt x="1047" y="736"/>
                    <a:pt x="1049" y="745"/>
                    <a:pt x="1044" y="753"/>
                  </a:cubicBezTo>
                  <a:cubicBezTo>
                    <a:pt x="1035" y="750"/>
                    <a:pt x="1035" y="739"/>
                    <a:pt x="1041" y="728"/>
                  </a:cubicBezTo>
                  <a:close/>
                  <a:moveTo>
                    <a:pt x="1033" y="214"/>
                  </a:moveTo>
                  <a:cubicBezTo>
                    <a:pt x="1033" y="212"/>
                    <a:pt x="1044" y="217"/>
                    <a:pt x="1033" y="214"/>
                  </a:cubicBezTo>
                  <a:close/>
                  <a:moveTo>
                    <a:pt x="1033" y="195"/>
                  </a:moveTo>
                  <a:cubicBezTo>
                    <a:pt x="1035" y="197"/>
                    <a:pt x="1033" y="197"/>
                    <a:pt x="1033" y="195"/>
                  </a:cubicBezTo>
                  <a:close/>
                  <a:moveTo>
                    <a:pt x="1035" y="220"/>
                  </a:moveTo>
                  <a:cubicBezTo>
                    <a:pt x="1035" y="223"/>
                    <a:pt x="1030" y="226"/>
                    <a:pt x="1027" y="226"/>
                  </a:cubicBezTo>
                  <a:cubicBezTo>
                    <a:pt x="1030" y="223"/>
                    <a:pt x="1033" y="223"/>
                    <a:pt x="1035" y="220"/>
                  </a:cubicBezTo>
                  <a:close/>
                  <a:moveTo>
                    <a:pt x="1021" y="220"/>
                  </a:moveTo>
                  <a:cubicBezTo>
                    <a:pt x="1024" y="212"/>
                    <a:pt x="1030" y="226"/>
                    <a:pt x="1021" y="220"/>
                  </a:cubicBezTo>
                  <a:close/>
                  <a:moveTo>
                    <a:pt x="1018" y="228"/>
                  </a:moveTo>
                  <a:lnTo>
                    <a:pt x="1024" y="228"/>
                  </a:lnTo>
                  <a:lnTo>
                    <a:pt x="1024" y="234"/>
                  </a:lnTo>
                  <a:lnTo>
                    <a:pt x="1018" y="234"/>
                  </a:lnTo>
                  <a:lnTo>
                    <a:pt x="1018" y="228"/>
                  </a:lnTo>
                  <a:close/>
                  <a:moveTo>
                    <a:pt x="1018" y="248"/>
                  </a:moveTo>
                  <a:cubicBezTo>
                    <a:pt x="1018" y="245"/>
                    <a:pt x="1021" y="248"/>
                    <a:pt x="1024" y="248"/>
                  </a:cubicBezTo>
                  <a:cubicBezTo>
                    <a:pt x="1021" y="248"/>
                    <a:pt x="1018" y="251"/>
                    <a:pt x="1018" y="248"/>
                  </a:cubicBezTo>
                  <a:close/>
                  <a:moveTo>
                    <a:pt x="1038" y="2552"/>
                  </a:moveTo>
                  <a:cubicBezTo>
                    <a:pt x="1033" y="2566"/>
                    <a:pt x="1004" y="2543"/>
                    <a:pt x="1010" y="2524"/>
                  </a:cubicBezTo>
                  <a:cubicBezTo>
                    <a:pt x="1024" y="2526"/>
                    <a:pt x="1024" y="2546"/>
                    <a:pt x="1038" y="2552"/>
                  </a:cubicBezTo>
                  <a:close/>
                  <a:moveTo>
                    <a:pt x="1013" y="2614"/>
                  </a:moveTo>
                  <a:cubicBezTo>
                    <a:pt x="1007" y="2614"/>
                    <a:pt x="999" y="2608"/>
                    <a:pt x="999" y="2603"/>
                  </a:cubicBezTo>
                  <a:cubicBezTo>
                    <a:pt x="1001" y="2597"/>
                    <a:pt x="1013" y="2603"/>
                    <a:pt x="1016" y="2608"/>
                  </a:cubicBezTo>
                  <a:cubicBezTo>
                    <a:pt x="1016" y="2608"/>
                    <a:pt x="1018" y="2608"/>
                    <a:pt x="1018" y="2605"/>
                  </a:cubicBezTo>
                  <a:cubicBezTo>
                    <a:pt x="1021" y="2605"/>
                    <a:pt x="1024" y="2603"/>
                    <a:pt x="1024" y="2603"/>
                  </a:cubicBezTo>
                  <a:lnTo>
                    <a:pt x="1024" y="2605"/>
                  </a:lnTo>
                  <a:cubicBezTo>
                    <a:pt x="1033" y="2608"/>
                    <a:pt x="1038" y="2617"/>
                    <a:pt x="1035" y="2628"/>
                  </a:cubicBezTo>
                  <a:cubicBezTo>
                    <a:pt x="1024" y="2628"/>
                    <a:pt x="1016" y="2622"/>
                    <a:pt x="1013" y="2614"/>
                  </a:cubicBezTo>
                  <a:close/>
                  <a:moveTo>
                    <a:pt x="1027" y="2642"/>
                  </a:moveTo>
                  <a:cubicBezTo>
                    <a:pt x="1044" y="2645"/>
                    <a:pt x="1024" y="2670"/>
                    <a:pt x="1027" y="2642"/>
                  </a:cubicBezTo>
                  <a:close/>
                  <a:moveTo>
                    <a:pt x="1018" y="2651"/>
                  </a:moveTo>
                  <a:cubicBezTo>
                    <a:pt x="1007" y="2651"/>
                    <a:pt x="1016" y="2631"/>
                    <a:pt x="1027" y="2634"/>
                  </a:cubicBezTo>
                  <a:cubicBezTo>
                    <a:pt x="1024" y="2639"/>
                    <a:pt x="1016" y="2642"/>
                    <a:pt x="1018" y="2651"/>
                  </a:cubicBezTo>
                  <a:close/>
                  <a:moveTo>
                    <a:pt x="1013" y="310"/>
                  </a:moveTo>
                  <a:cubicBezTo>
                    <a:pt x="1010" y="313"/>
                    <a:pt x="1004" y="316"/>
                    <a:pt x="1001" y="316"/>
                  </a:cubicBezTo>
                  <a:cubicBezTo>
                    <a:pt x="999" y="310"/>
                    <a:pt x="1007" y="310"/>
                    <a:pt x="1013" y="310"/>
                  </a:cubicBezTo>
                  <a:close/>
                  <a:moveTo>
                    <a:pt x="1001" y="282"/>
                  </a:moveTo>
                  <a:cubicBezTo>
                    <a:pt x="999" y="276"/>
                    <a:pt x="1010" y="282"/>
                    <a:pt x="1001" y="282"/>
                  </a:cubicBezTo>
                  <a:close/>
                  <a:moveTo>
                    <a:pt x="1001" y="350"/>
                  </a:moveTo>
                  <a:cubicBezTo>
                    <a:pt x="1004" y="344"/>
                    <a:pt x="1012" y="352"/>
                    <a:pt x="1003" y="350"/>
                  </a:cubicBezTo>
                  <a:cubicBezTo>
                    <a:pt x="1003" y="350"/>
                    <a:pt x="1002" y="350"/>
                    <a:pt x="1001" y="350"/>
                  </a:cubicBezTo>
                  <a:close/>
                  <a:moveTo>
                    <a:pt x="1001" y="350"/>
                  </a:moveTo>
                  <a:cubicBezTo>
                    <a:pt x="1004" y="352"/>
                    <a:pt x="1004" y="351"/>
                    <a:pt x="1003" y="350"/>
                  </a:cubicBezTo>
                  <a:cubicBezTo>
                    <a:pt x="1002" y="350"/>
                    <a:pt x="1002" y="350"/>
                    <a:pt x="1001" y="350"/>
                  </a:cubicBezTo>
                  <a:close/>
                  <a:moveTo>
                    <a:pt x="1001" y="2555"/>
                  </a:moveTo>
                  <a:cubicBezTo>
                    <a:pt x="1004" y="2549"/>
                    <a:pt x="1013" y="2560"/>
                    <a:pt x="1001" y="2555"/>
                  </a:cubicBezTo>
                  <a:close/>
                  <a:moveTo>
                    <a:pt x="1007" y="2667"/>
                  </a:moveTo>
                  <a:cubicBezTo>
                    <a:pt x="1004" y="2667"/>
                    <a:pt x="999" y="2665"/>
                    <a:pt x="999" y="2665"/>
                  </a:cubicBezTo>
                  <a:cubicBezTo>
                    <a:pt x="996" y="2662"/>
                    <a:pt x="1010" y="2662"/>
                    <a:pt x="1007" y="2667"/>
                  </a:cubicBezTo>
                  <a:close/>
                  <a:moveTo>
                    <a:pt x="1016" y="2583"/>
                  </a:moveTo>
                  <a:cubicBezTo>
                    <a:pt x="1016" y="2577"/>
                    <a:pt x="1027" y="2586"/>
                    <a:pt x="1016" y="2583"/>
                  </a:cubicBezTo>
                  <a:close/>
                  <a:moveTo>
                    <a:pt x="1021" y="2583"/>
                  </a:moveTo>
                  <a:cubicBezTo>
                    <a:pt x="1024" y="2580"/>
                    <a:pt x="1027" y="2577"/>
                    <a:pt x="1030" y="2577"/>
                  </a:cubicBezTo>
                  <a:cubicBezTo>
                    <a:pt x="1030" y="2580"/>
                    <a:pt x="1027" y="2583"/>
                    <a:pt x="1021" y="2583"/>
                  </a:cubicBezTo>
                  <a:close/>
                  <a:moveTo>
                    <a:pt x="1018" y="268"/>
                  </a:moveTo>
                  <a:cubicBezTo>
                    <a:pt x="1018" y="274"/>
                    <a:pt x="1010" y="271"/>
                    <a:pt x="1010" y="265"/>
                  </a:cubicBezTo>
                  <a:cubicBezTo>
                    <a:pt x="1013" y="259"/>
                    <a:pt x="1013" y="268"/>
                    <a:pt x="1018" y="268"/>
                  </a:cubicBezTo>
                  <a:close/>
                  <a:moveTo>
                    <a:pt x="1007" y="237"/>
                  </a:moveTo>
                  <a:cubicBezTo>
                    <a:pt x="1007" y="231"/>
                    <a:pt x="1016" y="240"/>
                    <a:pt x="1007" y="237"/>
                  </a:cubicBezTo>
                  <a:close/>
                  <a:moveTo>
                    <a:pt x="1004" y="200"/>
                  </a:moveTo>
                  <a:cubicBezTo>
                    <a:pt x="1010" y="195"/>
                    <a:pt x="1007" y="209"/>
                    <a:pt x="1004" y="200"/>
                  </a:cubicBezTo>
                  <a:close/>
                  <a:moveTo>
                    <a:pt x="1004" y="265"/>
                  </a:moveTo>
                  <a:cubicBezTo>
                    <a:pt x="1008" y="261"/>
                    <a:pt x="1008" y="267"/>
                    <a:pt x="1007" y="268"/>
                  </a:cubicBezTo>
                  <a:lnTo>
                    <a:pt x="1007" y="268"/>
                  </a:lnTo>
                  <a:cubicBezTo>
                    <a:pt x="1004" y="276"/>
                    <a:pt x="999" y="268"/>
                    <a:pt x="996" y="268"/>
                  </a:cubicBezTo>
                  <a:cubicBezTo>
                    <a:pt x="994" y="264"/>
                    <a:pt x="1002" y="266"/>
                    <a:pt x="1005" y="267"/>
                  </a:cubicBezTo>
                  <a:cubicBezTo>
                    <a:pt x="1005" y="267"/>
                    <a:pt x="1005" y="266"/>
                    <a:pt x="1004" y="265"/>
                  </a:cubicBezTo>
                  <a:close/>
                  <a:moveTo>
                    <a:pt x="985" y="2645"/>
                  </a:moveTo>
                  <a:cubicBezTo>
                    <a:pt x="985" y="2648"/>
                    <a:pt x="982" y="2651"/>
                    <a:pt x="979" y="2651"/>
                  </a:cubicBezTo>
                  <a:cubicBezTo>
                    <a:pt x="973" y="2659"/>
                    <a:pt x="965" y="2670"/>
                    <a:pt x="954" y="2667"/>
                  </a:cubicBezTo>
                  <a:cubicBezTo>
                    <a:pt x="954" y="2651"/>
                    <a:pt x="965" y="2653"/>
                    <a:pt x="968" y="2642"/>
                  </a:cubicBezTo>
                  <a:cubicBezTo>
                    <a:pt x="962" y="2639"/>
                    <a:pt x="962" y="2636"/>
                    <a:pt x="959" y="2628"/>
                  </a:cubicBezTo>
                  <a:cubicBezTo>
                    <a:pt x="965" y="2628"/>
                    <a:pt x="968" y="2628"/>
                    <a:pt x="970" y="2634"/>
                  </a:cubicBezTo>
                  <a:cubicBezTo>
                    <a:pt x="970" y="2631"/>
                    <a:pt x="965" y="2628"/>
                    <a:pt x="962" y="2622"/>
                  </a:cubicBezTo>
                  <a:cubicBezTo>
                    <a:pt x="968" y="2622"/>
                    <a:pt x="973" y="2620"/>
                    <a:pt x="979" y="2617"/>
                  </a:cubicBezTo>
                  <a:cubicBezTo>
                    <a:pt x="985" y="2620"/>
                    <a:pt x="987" y="2631"/>
                    <a:pt x="987" y="2636"/>
                  </a:cubicBezTo>
                  <a:cubicBezTo>
                    <a:pt x="985" y="2636"/>
                    <a:pt x="979" y="2639"/>
                    <a:pt x="979" y="2639"/>
                  </a:cubicBezTo>
                  <a:cubicBezTo>
                    <a:pt x="982" y="2645"/>
                    <a:pt x="985" y="2645"/>
                    <a:pt x="985" y="2645"/>
                  </a:cubicBezTo>
                  <a:close/>
                  <a:moveTo>
                    <a:pt x="970" y="2730"/>
                  </a:moveTo>
                  <a:lnTo>
                    <a:pt x="970" y="2744"/>
                  </a:lnTo>
                  <a:lnTo>
                    <a:pt x="956" y="2744"/>
                  </a:lnTo>
                  <a:lnTo>
                    <a:pt x="956" y="2730"/>
                  </a:lnTo>
                  <a:lnTo>
                    <a:pt x="970" y="2730"/>
                  </a:lnTo>
                  <a:close/>
                  <a:moveTo>
                    <a:pt x="959" y="2701"/>
                  </a:moveTo>
                  <a:cubicBezTo>
                    <a:pt x="976" y="2701"/>
                    <a:pt x="956" y="2724"/>
                    <a:pt x="959" y="2701"/>
                  </a:cubicBezTo>
                  <a:close/>
                  <a:moveTo>
                    <a:pt x="948" y="2713"/>
                  </a:moveTo>
                  <a:cubicBezTo>
                    <a:pt x="962" y="2713"/>
                    <a:pt x="945" y="2735"/>
                    <a:pt x="948" y="2713"/>
                  </a:cubicBezTo>
                  <a:close/>
                  <a:moveTo>
                    <a:pt x="948" y="2707"/>
                  </a:moveTo>
                  <a:cubicBezTo>
                    <a:pt x="948" y="2701"/>
                    <a:pt x="956" y="2710"/>
                    <a:pt x="948" y="2707"/>
                  </a:cubicBezTo>
                  <a:close/>
                  <a:moveTo>
                    <a:pt x="956" y="2560"/>
                  </a:moveTo>
                  <a:cubicBezTo>
                    <a:pt x="955" y="2559"/>
                    <a:pt x="956" y="2559"/>
                    <a:pt x="956" y="2559"/>
                  </a:cubicBezTo>
                  <a:cubicBezTo>
                    <a:pt x="956" y="2560"/>
                    <a:pt x="956" y="2560"/>
                    <a:pt x="956" y="2560"/>
                  </a:cubicBezTo>
                  <a:close/>
                  <a:moveTo>
                    <a:pt x="957" y="2560"/>
                  </a:moveTo>
                  <a:cubicBezTo>
                    <a:pt x="958" y="2558"/>
                    <a:pt x="957" y="2558"/>
                    <a:pt x="956" y="2559"/>
                  </a:cubicBezTo>
                  <a:cubicBezTo>
                    <a:pt x="957" y="2559"/>
                    <a:pt x="957" y="2559"/>
                    <a:pt x="957" y="2560"/>
                  </a:cubicBezTo>
                  <a:close/>
                  <a:moveTo>
                    <a:pt x="956" y="2560"/>
                  </a:moveTo>
                  <a:cubicBezTo>
                    <a:pt x="957" y="2560"/>
                    <a:pt x="957" y="2560"/>
                    <a:pt x="957" y="2560"/>
                  </a:cubicBezTo>
                  <a:cubicBezTo>
                    <a:pt x="957" y="2560"/>
                    <a:pt x="957" y="2560"/>
                    <a:pt x="956" y="2560"/>
                  </a:cubicBezTo>
                  <a:close/>
                  <a:moveTo>
                    <a:pt x="968" y="2580"/>
                  </a:moveTo>
                  <a:cubicBezTo>
                    <a:pt x="965" y="2574"/>
                    <a:pt x="976" y="2574"/>
                    <a:pt x="979" y="2574"/>
                  </a:cubicBezTo>
                  <a:cubicBezTo>
                    <a:pt x="976" y="2580"/>
                    <a:pt x="970" y="2580"/>
                    <a:pt x="968" y="2580"/>
                  </a:cubicBezTo>
                  <a:close/>
                  <a:moveTo>
                    <a:pt x="959" y="296"/>
                  </a:moveTo>
                  <a:lnTo>
                    <a:pt x="970" y="296"/>
                  </a:lnTo>
                  <a:cubicBezTo>
                    <a:pt x="973" y="302"/>
                    <a:pt x="956" y="305"/>
                    <a:pt x="959" y="296"/>
                  </a:cubicBezTo>
                  <a:close/>
                  <a:moveTo>
                    <a:pt x="962" y="1754"/>
                  </a:moveTo>
                  <a:cubicBezTo>
                    <a:pt x="965" y="1754"/>
                    <a:pt x="962" y="1756"/>
                    <a:pt x="962" y="1754"/>
                  </a:cubicBezTo>
                  <a:close/>
                  <a:moveTo>
                    <a:pt x="982" y="319"/>
                  </a:moveTo>
                  <a:cubicBezTo>
                    <a:pt x="976" y="316"/>
                    <a:pt x="984" y="308"/>
                    <a:pt x="987" y="310"/>
                  </a:cubicBezTo>
                  <a:cubicBezTo>
                    <a:pt x="987" y="309"/>
                    <a:pt x="987" y="308"/>
                    <a:pt x="987" y="307"/>
                  </a:cubicBezTo>
                  <a:cubicBezTo>
                    <a:pt x="993" y="307"/>
                    <a:pt x="993" y="322"/>
                    <a:pt x="987" y="322"/>
                  </a:cubicBezTo>
                  <a:cubicBezTo>
                    <a:pt x="986" y="318"/>
                    <a:pt x="986" y="314"/>
                    <a:pt x="987" y="312"/>
                  </a:cubicBezTo>
                  <a:cubicBezTo>
                    <a:pt x="985" y="313"/>
                    <a:pt x="979" y="314"/>
                    <a:pt x="982" y="319"/>
                  </a:cubicBezTo>
                  <a:close/>
                  <a:moveTo>
                    <a:pt x="982" y="209"/>
                  </a:moveTo>
                  <a:lnTo>
                    <a:pt x="987" y="209"/>
                  </a:lnTo>
                  <a:lnTo>
                    <a:pt x="987" y="214"/>
                  </a:lnTo>
                  <a:cubicBezTo>
                    <a:pt x="987" y="214"/>
                    <a:pt x="985" y="217"/>
                    <a:pt x="982" y="217"/>
                  </a:cubicBezTo>
                  <a:lnTo>
                    <a:pt x="982" y="209"/>
                  </a:lnTo>
                  <a:close/>
                  <a:moveTo>
                    <a:pt x="985" y="279"/>
                  </a:moveTo>
                  <a:cubicBezTo>
                    <a:pt x="985" y="276"/>
                    <a:pt x="993" y="276"/>
                    <a:pt x="996" y="276"/>
                  </a:cubicBezTo>
                  <a:cubicBezTo>
                    <a:pt x="996" y="279"/>
                    <a:pt x="987" y="279"/>
                    <a:pt x="985" y="279"/>
                  </a:cubicBezTo>
                  <a:close/>
                  <a:moveTo>
                    <a:pt x="993" y="195"/>
                  </a:moveTo>
                  <a:cubicBezTo>
                    <a:pt x="990" y="195"/>
                    <a:pt x="987" y="189"/>
                    <a:pt x="990" y="189"/>
                  </a:cubicBezTo>
                  <a:cubicBezTo>
                    <a:pt x="990" y="189"/>
                    <a:pt x="990" y="186"/>
                    <a:pt x="987" y="183"/>
                  </a:cubicBezTo>
                  <a:cubicBezTo>
                    <a:pt x="990" y="180"/>
                    <a:pt x="996" y="183"/>
                    <a:pt x="996" y="186"/>
                  </a:cubicBezTo>
                  <a:lnTo>
                    <a:pt x="996" y="189"/>
                  </a:lnTo>
                  <a:cubicBezTo>
                    <a:pt x="999" y="192"/>
                    <a:pt x="993" y="189"/>
                    <a:pt x="993" y="195"/>
                  </a:cubicBezTo>
                  <a:close/>
                  <a:moveTo>
                    <a:pt x="1004" y="257"/>
                  </a:moveTo>
                  <a:cubicBezTo>
                    <a:pt x="999" y="259"/>
                    <a:pt x="993" y="257"/>
                    <a:pt x="990" y="251"/>
                  </a:cubicBezTo>
                  <a:cubicBezTo>
                    <a:pt x="996" y="251"/>
                    <a:pt x="1004" y="248"/>
                    <a:pt x="1004" y="257"/>
                  </a:cubicBezTo>
                  <a:close/>
                  <a:moveTo>
                    <a:pt x="990" y="2617"/>
                  </a:moveTo>
                  <a:cubicBezTo>
                    <a:pt x="990" y="2611"/>
                    <a:pt x="1001" y="2620"/>
                    <a:pt x="990" y="2617"/>
                  </a:cubicBezTo>
                  <a:close/>
                  <a:moveTo>
                    <a:pt x="987" y="302"/>
                  </a:moveTo>
                  <a:cubicBezTo>
                    <a:pt x="990" y="302"/>
                    <a:pt x="993" y="302"/>
                    <a:pt x="996" y="299"/>
                  </a:cubicBezTo>
                  <a:lnTo>
                    <a:pt x="996" y="305"/>
                  </a:lnTo>
                  <a:cubicBezTo>
                    <a:pt x="993" y="307"/>
                    <a:pt x="990" y="305"/>
                    <a:pt x="987" y="305"/>
                  </a:cubicBezTo>
                  <a:lnTo>
                    <a:pt x="987" y="302"/>
                  </a:lnTo>
                  <a:close/>
                  <a:moveTo>
                    <a:pt x="993" y="220"/>
                  </a:moveTo>
                  <a:cubicBezTo>
                    <a:pt x="993" y="214"/>
                    <a:pt x="1001" y="214"/>
                    <a:pt x="1004" y="217"/>
                  </a:cubicBezTo>
                  <a:cubicBezTo>
                    <a:pt x="1004" y="220"/>
                    <a:pt x="999" y="220"/>
                    <a:pt x="993" y="220"/>
                  </a:cubicBezTo>
                  <a:close/>
                  <a:moveTo>
                    <a:pt x="1004" y="116"/>
                  </a:moveTo>
                  <a:lnTo>
                    <a:pt x="999" y="116"/>
                  </a:lnTo>
                  <a:lnTo>
                    <a:pt x="999" y="110"/>
                  </a:lnTo>
                  <a:lnTo>
                    <a:pt x="1004" y="110"/>
                  </a:lnTo>
                  <a:lnTo>
                    <a:pt x="1004" y="116"/>
                  </a:lnTo>
                  <a:close/>
                  <a:moveTo>
                    <a:pt x="1004" y="96"/>
                  </a:moveTo>
                  <a:cubicBezTo>
                    <a:pt x="1001" y="102"/>
                    <a:pt x="990" y="90"/>
                    <a:pt x="1004" y="96"/>
                  </a:cubicBezTo>
                  <a:close/>
                  <a:moveTo>
                    <a:pt x="990" y="104"/>
                  </a:moveTo>
                  <a:cubicBezTo>
                    <a:pt x="996" y="102"/>
                    <a:pt x="985" y="113"/>
                    <a:pt x="990" y="104"/>
                  </a:cubicBezTo>
                  <a:close/>
                  <a:moveTo>
                    <a:pt x="985" y="118"/>
                  </a:moveTo>
                  <a:cubicBezTo>
                    <a:pt x="987" y="116"/>
                    <a:pt x="985" y="113"/>
                    <a:pt x="990" y="110"/>
                  </a:cubicBezTo>
                  <a:cubicBezTo>
                    <a:pt x="993" y="110"/>
                    <a:pt x="993" y="116"/>
                    <a:pt x="996" y="116"/>
                  </a:cubicBezTo>
                  <a:cubicBezTo>
                    <a:pt x="996" y="121"/>
                    <a:pt x="985" y="121"/>
                    <a:pt x="987" y="127"/>
                  </a:cubicBezTo>
                  <a:cubicBezTo>
                    <a:pt x="993" y="130"/>
                    <a:pt x="996" y="135"/>
                    <a:pt x="996" y="141"/>
                  </a:cubicBezTo>
                  <a:cubicBezTo>
                    <a:pt x="993" y="147"/>
                    <a:pt x="990" y="147"/>
                    <a:pt x="990" y="149"/>
                  </a:cubicBezTo>
                  <a:cubicBezTo>
                    <a:pt x="982" y="147"/>
                    <a:pt x="982" y="130"/>
                    <a:pt x="970" y="135"/>
                  </a:cubicBezTo>
                  <a:cubicBezTo>
                    <a:pt x="970" y="127"/>
                    <a:pt x="970" y="121"/>
                    <a:pt x="973" y="113"/>
                  </a:cubicBezTo>
                  <a:cubicBezTo>
                    <a:pt x="979" y="113"/>
                    <a:pt x="985" y="116"/>
                    <a:pt x="985" y="118"/>
                  </a:cubicBezTo>
                  <a:close/>
                  <a:moveTo>
                    <a:pt x="976" y="99"/>
                  </a:moveTo>
                  <a:lnTo>
                    <a:pt x="976" y="110"/>
                  </a:lnTo>
                  <a:cubicBezTo>
                    <a:pt x="970" y="110"/>
                    <a:pt x="968" y="102"/>
                    <a:pt x="976" y="99"/>
                  </a:cubicBezTo>
                  <a:close/>
                  <a:moveTo>
                    <a:pt x="973" y="274"/>
                  </a:moveTo>
                  <a:cubicBezTo>
                    <a:pt x="973" y="276"/>
                    <a:pt x="968" y="279"/>
                    <a:pt x="965" y="279"/>
                  </a:cubicBezTo>
                  <a:cubicBezTo>
                    <a:pt x="965" y="276"/>
                    <a:pt x="970" y="274"/>
                    <a:pt x="973" y="274"/>
                  </a:cubicBezTo>
                  <a:close/>
                  <a:moveTo>
                    <a:pt x="956" y="268"/>
                  </a:moveTo>
                  <a:cubicBezTo>
                    <a:pt x="959" y="262"/>
                    <a:pt x="968" y="271"/>
                    <a:pt x="956" y="268"/>
                  </a:cubicBezTo>
                  <a:close/>
                  <a:moveTo>
                    <a:pt x="951" y="1694"/>
                  </a:moveTo>
                  <a:cubicBezTo>
                    <a:pt x="951" y="1689"/>
                    <a:pt x="954" y="1683"/>
                    <a:pt x="959" y="1686"/>
                  </a:cubicBezTo>
                  <a:cubicBezTo>
                    <a:pt x="959" y="1689"/>
                    <a:pt x="956" y="1694"/>
                    <a:pt x="951" y="1694"/>
                  </a:cubicBezTo>
                  <a:close/>
                  <a:moveTo>
                    <a:pt x="948" y="138"/>
                  </a:moveTo>
                  <a:cubicBezTo>
                    <a:pt x="951" y="138"/>
                    <a:pt x="956" y="141"/>
                    <a:pt x="959" y="141"/>
                  </a:cubicBezTo>
                  <a:cubicBezTo>
                    <a:pt x="954" y="141"/>
                    <a:pt x="948" y="149"/>
                    <a:pt x="948" y="138"/>
                  </a:cubicBezTo>
                  <a:close/>
                  <a:moveTo>
                    <a:pt x="952" y="2532"/>
                  </a:moveTo>
                  <a:cubicBezTo>
                    <a:pt x="952" y="2531"/>
                    <a:pt x="954" y="2528"/>
                    <a:pt x="954" y="2532"/>
                  </a:cubicBezTo>
                  <a:cubicBezTo>
                    <a:pt x="953" y="2533"/>
                    <a:pt x="952" y="2533"/>
                    <a:pt x="952" y="2532"/>
                  </a:cubicBezTo>
                  <a:close/>
                  <a:moveTo>
                    <a:pt x="951" y="2636"/>
                  </a:moveTo>
                  <a:cubicBezTo>
                    <a:pt x="973" y="2659"/>
                    <a:pt x="928" y="2662"/>
                    <a:pt x="951" y="2636"/>
                  </a:cubicBezTo>
                  <a:close/>
                  <a:moveTo>
                    <a:pt x="942" y="110"/>
                  </a:moveTo>
                  <a:cubicBezTo>
                    <a:pt x="942" y="107"/>
                    <a:pt x="942" y="104"/>
                    <a:pt x="939" y="102"/>
                  </a:cubicBezTo>
                  <a:cubicBezTo>
                    <a:pt x="945" y="99"/>
                    <a:pt x="948" y="110"/>
                    <a:pt x="942" y="110"/>
                  </a:cubicBezTo>
                  <a:close/>
                  <a:moveTo>
                    <a:pt x="939" y="118"/>
                  </a:moveTo>
                  <a:lnTo>
                    <a:pt x="942" y="118"/>
                  </a:lnTo>
                  <a:lnTo>
                    <a:pt x="942" y="116"/>
                  </a:lnTo>
                  <a:cubicBezTo>
                    <a:pt x="942" y="116"/>
                    <a:pt x="942" y="118"/>
                    <a:pt x="945" y="118"/>
                  </a:cubicBezTo>
                  <a:cubicBezTo>
                    <a:pt x="942" y="118"/>
                    <a:pt x="945" y="121"/>
                    <a:pt x="942" y="121"/>
                  </a:cubicBezTo>
                  <a:cubicBezTo>
                    <a:pt x="939" y="127"/>
                    <a:pt x="931" y="124"/>
                    <a:pt x="925" y="124"/>
                  </a:cubicBezTo>
                  <a:cubicBezTo>
                    <a:pt x="925" y="121"/>
                    <a:pt x="934" y="118"/>
                    <a:pt x="939" y="118"/>
                  </a:cubicBezTo>
                  <a:close/>
                  <a:moveTo>
                    <a:pt x="931" y="158"/>
                  </a:moveTo>
                  <a:cubicBezTo>
                    <a:pt x="934" y="152"/>
                    <a:pt x="939" y="166"/>
                    <a:pt x="931" y="158"/>
                  </a:cubicBezTo>
                  <a:close/>
                  <a:moveTo>
                    <a:pt x="925" y="166"/>
                  </a:moveTo>
                  <a:cubicBezTo>
                    <a:pt x="934" y="161"/>
                    <a:pt x="922" y="175"/>
                    <a:pt x="925" y="166"/>
                  </a:cubicBezTo>
                  <a:close/>
                  <a:moveTo>
                    <a:pt x="920" y="144"/>
                  </a:moveTo>
                  <a:cubicBezTo>
                    <a:pt x="922" y="138"/>
                    <a:pt x="931" y="147"/>
                    <a:pt x="920" y="144"/>
                  </a:cubicBezTo>
                  <a:close/>
                  <a:moveTo>
                    <a:pt x="906" y="113"/>
                  </a:moveTo>
                  <a:cubicBezTo>
                    <a:pt x="911" y="116"/>
                    <a:pt x="894" y="118"/>
                    <a:pt x="906" y="113"/>
                  </a:cubicBezTo>
                  <a:close/>
                  <a:moveTo>
                    <a:pt x="903" y="183"/>
                  </a:moveTo>
                  <a:cubicBezTo>
                    <a:pt x="897" y="180"/>
                    <a:pt x="911" y="186"/>
                    <a:pt x="903" y="183"/>
                  </a:cubicBezTo>
                  <a:close/>
                  <a:moveTo>
                    <a:pt x="897" y="169"/>
                  </a:moveTo>
                  <a:cubicBezTo>
                    <a:pt x="903" y="164"/>
                    <a:pt x="894" y="178"/>
                    <a:pt x="897" y="169"/>
                  </a:cubicBezTo>
                  <a:close/>
                  <a:moveTo>
                    <a:pt x="894" y="200"/>
                  </a:moveTo>
                  <a:cubicBezTo>
                    <a:pt x="894" y="195"/>
                    <a:pt x="903" y="200"/>
                    <a:pt x="894" y="200"/>
                  </a:cubicBezTo>
                  <a:close/>
                  <a:moveTo>
                    <a:pt x="897" y="141"/>
                  </a:moveTo>
                  <a:cubicBezTo>
                    <a:pt x="894" y="141"/>
                    <a:pt x="891" y="133"/>
                    <a:pt x="891" y="130"/>
                  </a:cubicBezTo>
                  <a:cubicBezTo>
                    <a:pt x="897" y="124"/>
                    <a:pt x="900" y="138"/>
                    <a:pt x="897" y="141"/>
                  </a:cubicBezTo>
                  <a:close/>
                  <a:moveTo>
                    <a:pt x="906" y="2620"/>
                  </a:moveTo>
                  <a:cubicBezTo>
                    <a:pt x="906" y="2620"/>
                    <a:pt x="903" y="2622"/>
                    <a:pt x="903" y="2620"/>
                  </a:cubicBezTo>
                  <a:lnTo>
                    <a:pt x="903" y="2622"/>
                  </a:lnTo>
                  <a:cubicBezTo>
                    <a:pt x="906" y="2622"/>
                    <a:pt x="906" y="2620"/>
                    <a:pt x="906" y="2620"/>
                  </a:cubicBezTo>
                  <a:close/>
                  <a:moveTo>
                    <a:pt x="897" y="2617"/>
                  </a:moveTo>
                  <a:lnTo>
                    <a:pt x="894" y="2617"/>
                  </a:lnTo>
                  <a:cubicBezTo>
                    <a:pt x="894" y="2620"/>
                    <a:pt x="891" y="2617"/>
                    <a:pt x="891" y="2617"/>
                  </a:cubicBezTo>
                  <a:cubicBezTo>
                    <a:pt x="886" y="2614"/>
                    <a:pt x="891" y="2605"/>
                    <a:pt x="894" y="2603"/>
                  </a:cubicBezTo>
                  <a:cubicBezTo>
                    <a:pt x="897" y="2605"/>
                    <a:pt x="900" y="2608"/>
                    <a:pt x="897" y="2614"/>
                  </a:cubicBezTo>
                  <a:lnTo>
                    <a:pt x="900" y="2614"/>
                  </a:lnTo>
                  <a:lnTo>
                    <a:pt x="903" y="2617"/>
                  </a:lnTo>
                  <a:lnTo>
                    <a:pt x="903" y="2620"/>
                  </a:lnTo>
                  <a:cubicBezTo>
                    <a:pt x="900" y="2620"/>
                    <a:pt x="900" y="2617"/>
                    <a:pt x="897" y="2617"/>
                  </a:cubicBezTo>
                  <a:close/>
                  <a:moveTo>
                    <a:pt x="911" y="2614"/>
                  </a:moveTo>
                  <a:cubicBezTo>
                    <a:pt x="903" y="2625"/>
                    <a:pt x="917" y="2603"/>
                    <a:pt x="911" y="2614"/>
                  </a:cubicBezTo>
                  <a:close/>
                  <a:moveTo>
                    <a:pt x="875" y="2636"/>
                  </a:moveTo>
                  <a:lnTo>
                    <a:pt x="876" y="2636"/>
                  </a:lnTo>
                  <a:cubicBezTo>
                    <a:pt x="875" y="2638"/>
                    <a:pt x="873" y="2639"/>
                    <a:pt x="875" y="2636"/>
                  </a:cubicBezTo>
                  <a:cubicBezTo>
                    <a:pt x="877" y="2634"/>
                    <a:pt x="877" y="2635"/>
                    <a:pt x="876" y="2636"/>
                  </a:cubicBezTo>
                  <a:lnTo>
                    <a:pt x="875" y="2636"/>
                  </a:lnTo>
                  <a:close/>
                  <a:moveTo>
                    <a:pt x="872" y="2667"/>
                  </a:moveTo>
                  <a:cubicBezTo>
                    <a:pt x="875" y="2659"/>
                    <a:pt x="875" y="2651"/>
                    <a:pt x="875" y="2642"/>
                  </a:cubicBezTo>
                  <a:cubicBezTo>
                    <a:pt x="880" y="2642"/>
                    <a:pt x="886" y="2642"/>
                    <a:pt x="889" y="2648"/>
                  </a:cubicBezTo>
                  <a:cubicBezTo>
                    <a:pt x="880" y="2651"/>
                    <a:pt x="894" y="2662"/>
                    <a:pt x="889" y="2670"/>
                  </a:cubicBezTo>
                  <a:cubicBezTo>
                    <a:pt x="883" y="2670"/>
                    <a:pt x="877" y="2670"/>
                    <a:pt x="872" y="2667"/>
                  </a:cubicBezTo>
                  <a:close/>
                  <a:moveTo>
                    <a:pt x="889" y="2704"/>
                  </a:moveTo>
                  <a:cubicBezTo>
                    <a:pt x="880" y="2701"/>
                    <a:pt x="875" y="2696"/>
                    <a:pt x="875" y="2690"/>
                  </a:cubicBezTo>
                  <a:cubicBezTo>
                    <a:pt x="880" y="2690"/>
                    <a:pt x="886" y="2696"/>
                    <a:pt x="889" y="2704"/>
                  </a:cubicBezTo>
                  <a:close/>
                  <a:moveTo>
                    <a:pt x="889" y="2715"/>
                  </a:moveTo>
                  <a:cubicBezTo>
                    <a:pt x="886" y="2715"/>
                    <a:pt x="886" y="2711"/>
                    <a:pt x="886" y="2708"/>
                  </a:cubicBezTo>
                  <a:cubicBezTo>
                    <a:pt x="887" y="2710"/>
                    <a:pt x="889" y="2712"/>
                    <a:pt x="890" y="2714"/>
                  </a:cubicBezTo>
                  <a:cubicBezTo>
                    <a:pt x="912" y="2752"/>
                    <a:pt x="821" y="2735"/>
                    <a:pt x="880" y="2701"/>
                  </a:cubicBezTo>
                  <a:cubicBezTo>
                    <a:pt x="882" y="2704"/>
                    <a:pt x="884" y="2706"/>
                    <a:pt x="886" y="2708"/>
                  </a:cubicBezTo>
                  <a:lnTo>
                    <a:pt x="886" y="2707"/>
                  </a:lnTo>
                  <a:cubicBezTo>
                    <a:pt x="891" y="2705"/>
                    <a:pt x="891" y="2710"/>
                    <a:pt x="890" y="2714"/>
                  </a:cubicBezTo>
                  <a:cubicBezTo>
                    <a:pt x="889" y="2714"/>
                    <a:pt x="889" y="2715"/>
                    <a:pt x="889" y="2715"/>
                  </a:cubicBezTo>
                  <a:close/>
                  <a:moveTo>
                    <a:pt x="900" y="257"/>
                  </a:moveTo>
                  <a:lnTo>
                    <a:pt x="900" y="251"/>
                  </a:lnTo>
                  <a:lnTo>
                    <a:pt x="906" y="251"/>
                  </a:lnTo>
                  <a:cubicBezTo>
                    <a:pt x="906" y="251"/>
                    <a:pt x="908" y="254"/>
                    <a:pt x="908" y="257"/>
                  </a:cubicBezTo>
                  <a:cubicBezTo>
                    <a:pt x="903" y="254"/>
                    <a:pt x="900" y="257"/>
                    <a:pt x="900" y="257"/>
                  </a:cubicBezTo>
                  <a:close/>
                  <a:moveTo>
                    <a:pt x="894" y="265"/>
                  </a:moveTo>
                  <a:cubicBezTo>
                    <a:pt x="897" y="257"/>
                    <a:pt x="903" y="271"/>
                    <a:pt x="894" y="265"/>
                  </a:cubicBezTo>
                  <a:close/>
                  <a:moveTo>
                    <a:pt x="891" y="2555"/>
                  </a:moveTo>
                  <a:lnTo>
                    <a:pt x="891" y="2557"/>
                  </a:lnTo>
                  <a:cubicBezTo>
                    <a:pt x="872" y="2557"/>
                    <a:pt x="880" y="2572"/>
                    <a:pt x="877" y="2580"/>
                  </a:cubicBezTo>
                  <a:cubicBezTo>
                    <a:pt x="872" y="2579"/>
                    <a:pt x="870" y="2573"/>
                    <a:pt x="869" y="2567"/>
                  </a:cubicBezTo>
                  <a:cubicBezTo>
                    <a:pt x="865" y="2572"/>
                    <a:pt x="847" y="2573"/>
                    <a:pt x="863" y="2557"/>
                  </a:cubicBezTo>
                  <a:cubicBezTo>
                    <a:pt x="866" y="2559"/>
                    <a:pt x="868" y="2560"/>
                    <a:pt x="869" y="2562"/>
                  </a:cubicBezTo>
                  <a:cubicBezTo>
                    <a:pt x="869" y="2550"/>
                    <a:pt x="876" y="2538"/>
                    <a:pt x="889" y="2538"/>
                  </a:cubicBezTo>
                  <a:lnTo>
                    <a:pt x="889" y="2549"/>
                  </a:lnTo>
                  <a:cubicBezTo>
                    <a:pt x="889" y="2546"/>
                    <a:pt x="891" y="2543"/>
                    <a:pt x="891" y="2543"/>
                  </a:cubicBezTo>
                  <a:cubicBezTo>
                    <a:pt x="906" y="2543"/>
                    <a:pt x="897" y="2555"/>
                    <a:pt x="891" y="2555"/>
                  </a:cubicBezTo>
                  <a:close/>
                  <a:moveTo>
                    <a:pt x="855" y="2645"/>
                  </a:moveTo>
                  <a:lnTo>
                    <a:pt x="863" y="2645"/>
                  </a:lnTo>
                  <a:lnTo>
                    <a:pt x="866" y="2645"/>
                  </a:lnTo>
                  <a:cubicBezTo>
                    <a:pt x="866" y="2645"/>
                    <a:pt x="869" y="2648"/>
                    <a:pt x="869" y="2651"/>
                  </a:cubicBezTo>
                  <a:lnTo>
                    <a:pt x="866" y="2651"/>
                  </a:lnTo>
                  <a:cubicBezTo>
                    <a:pt x="863" y="2656"/>
                    <a:pt x="849" y="2665"/>
                    <a:pt x="855" y="2645"/>
                  </a:cubicBezTo>
                  <a:close/>
                  <a:moveTo>
                    <a:pt x="858" y="2769"/>
                  </a:moveTo>
                  <a:cubicBezTo>
                    <a:pt x="863" y="2763"/>
                    <a:pt x="852" y="2777"/>
                    <a:pt x="858" y="2769"/>
                  </a:cubicBezTo>
                  <a:close/>
                  <a:moveTo>
                    <a:pt x="858" y="2611"/>
                  </a:moveTo>
                  <a:cubicBezTo>
                    <a:pt x="877" y="2620"/>
                    <a:pt x="829" y="2628"/>
                    <a:pt x="858" y="2611"/>
                  </a:cubicBezTo>
                  <a:close/>
                  <a:moveTo>
                    <a:pt x="855" y="2594"/>
                  </a:moveTo>
                  <a:cubicBezTo>
                    <a:pt x="860" y="2594"/>
                    <a:pt x="860" y="2600"/>
                    <a:pt x="858" y="2603"/>
                  </a:cubicBezTo>
                  <a:cubicBezTo>
                    <a:pt x="855" y="2603"/>
                    <a:pt x="855" y="2597"/>
                    <a:pt x="855" y="2594"/>
                  </a:cubicBezTo>
                  <a:close/>
                  <a:moveTo>
                    <a:pt x="860" y="2526"/>
                  </a:moveTo>
                  <a:cubicBezTo>
                    <a:pt x="863" y="2521"/>
                    <a:pt x="872" y="2529"/>
                    <a:pt x="860" y="2526"/>
                  </a:cubicBezTo>
                  <a:close/>
                  <a:moveTo>
                    <a:pt x="866" y="302"/>
                  </a:moveTo>
                  <a:cubicBezTo>
                    <a:pt x="863" y="296"/>
                    <a:pt x="875" y="302"/>
                    <a:pt x="875" y="299"/>
                  </a:cubicBezTo>
                  <a:cubicBezTo>
                    <a:pt x="869" y="288"/>
                    <a:pt x="880" y="290"/>
                    <a:pt x="877" y="276"/>
                  </a:cubicBezTo>
                  <a:lnTo>
                    <a:pt x="886" y="276"/>
                  </a:lnTo>
                  <a:cubicBezTo>
                    <a:pt x="891" y="290"/>
                    <a:pt x="877" y="305"/>
                    <a:pt x="866" y="302"/>
                  </a:cubicBezTo>
                  <a:close/>
                  <a:moveTo>
                    <a:pt x="886" y="2526"/>
                  </a:moveTo>
                  <a:cubicBezTo>
                    <a:pt x="900" y="2526"/>
                    <a:pt x="883" y="2549"/>
                    <a:pt x="886" y="2526"/>
                  </a:cubicBezTo>
                  <a:close/>
                  <a:moveTo>
                    <a:pt x="894" y="240"/>
                  </a:moveTo>
                  <a:cubicBezTo>
                    <a:pt x="900" y="243"/>
                    <a:pt x="886" y="251"/>
                    <a:pt x="894" y="240"/>
                  </a:cubicBezTo>
                  <a:close/>
                  <a:moveTo>
                    <a:pt x="889" y="234"/>
                  </a:moveTo>
                  <a:cubicBezTo>
                    <a:pt x="889" y="228"/>
                    <a:pt x="897" y="237"/>
                    <a:pt x="889" y="234"/>
                  </a:cubicBezTo>
                  <a:close/>
                  <a:moveTo>
                    <a:pt x="891" y="214"/>
                  </a:moveTo>
                  <a:cubicBezTo>
                    <a:pt x="891" y="217"/>
                    <a:pt x="889" y="223"/>
                    <a:pt x="883" y="223"/>
                  </a:cubicBezTo>
                  <a:cubicBezTo>
                    <a:pt x="883" y="220"/>
                    <a:pt x="883" y="217"/>
                    <a:pt x="880" y="217"/>
                  </a:cubicBezTo>
                  <a:cubicBezTo>
                    <a:pt x="883" y="214"/>
                    <a:pt x="889" y="214"/>
                    <a:pt x="891" y="214"/>
                  </a:cubicBezTo>
                  <a:close/>
                  <a:moveTo>
                    <a:pt x="877" y="186"/>
                  </a:moveTo>
                  <a:cubicBezTo>
                    <a:pt x="883" y="192"/>
                    <a:pt x="886" y="200"/>
                    <a:pt x="880" y="203"/>
                  </a:cubicBezTo>
                  <a:cubicBezTo>
                    <a:pt x="875" y="203"/>
                    <a:pt x="877" y="192"/>
                    <a:pt x="872" y="192"/>
                  </a:cubicBezTo>
                  <a:cubicBezTo>
                    <a:pt x="872" y="189"/>
                    <a:pt x="877" y="189"/>
                    <a:pt x="877" y="186"/>
                  </a:cubicBezTo>
                  <a:close/>
                  <a:moveTo>
                    <a:pt x="880" y="206"/>
                  </a:moveTo>
                  <a:cubicBezTo>
                    <a:pt x="877" y="231"/>
                    <a:pt x="852" y="214"/>
                    <a:pt x="846" y="200"/>
                  </a:cubicBezTo>
                  <a:cubicBezTo>
                    <a:pt x="855" y="195"/>
                    <a:pt x="858" y="200"/>
                    <a:pt x="866" y="203"/>
                  </a:cubicBezTo>
                  <a:cubicBezTo>
                    <a:pt x="869" y="206"/>
                    <a:pt x="877" y="203"/>
                    <a:pt x="880" y="206"/>
                  </a:cubicBezTo>
                  <a:close/>
                  <a:moveTo>
                    <a:pt x="846" y="2526"/>
                  </a:moveTo>
                  <a:cubicBezTo>
                    <a:pt x="846" y="2529"/>
                    <a:pt x="846" y="2529"/>
                    <a:pt x="843" y="2529"/>
                  </a:cubicBezTo>
                  <a:cubicBezTo>
                    <a:pt x="852" y="2540"/>
                    <a:pt x="818" y="2533"/>
                    <a:pt x="833" y="2525"/>
                  </a:cubicBezTo>
                  <a:cubicBezTo>
                    <a:pt x="832" y="2524"/>
                    <a:pt x="832" y="2524"/>
                    <a:pt x="835" y="2524"/>
                  </a:cubicBezTo>
                  <a:cubicBezTo>
                    <a:pt x="841" y="2524"/>
                    <a:pt x="846" y="2524"/>
                    <a:pt x="846" y="2526"/>
                  </a:cubicBezTo>
                  <a:close/>
                  <a:moveTo>
                    <a:pt x="832" y="1731"/>
                  </a:moveTo>
                  <a:cubicBezTo>
                    <a:pt x="827" y="1728"/>
                    <a:pt x="835" y="1720"/>
                    <a:pt x="838" y="1725"/>
                  </a:cubicBezTo>
                  <a:cubicBezTo>
                    <a:pt x="838" y="1728"/>
                    <a:pt x="832" y="1728"/>
                    <a:pt x="832" y="1731"/>
                  </a:cubicBezTo>
                  <a:close/>
                  <a:moveTo>
                    <a:pt x="843" y="1711"/>
                  </a:moveTo>
                  <a:cubicBezTo>
                    <a:pt x="843" y="1706"/>
                    <a:pt x="852" y="1714"/>
                    <a:pt x="843" y="1711"/>
                  </a:cubicBezTo>
                  <a:close/>
                  <a:moveTo>
                    <a:pt x="852" y="1697"/>
                  </a:moveTo>
                  <a:cubicBezTo>
                    <a:pt x="852" y="1694"/>
                    <a:pt x="841" y="1694"/>
                    <a:pt x="843" y="1689"/>
                  </a:cubicBezTo>
                  <a:cubicBezTo>
                    <a:pt x="842" y="1689"/>
                    <a:pt x="840" y="1689"/>
                    <a:pt x="838" y="1689"/>
                  </a:cubicBezTo>
                  <a:cubicBezTo>
                    <a:pt x="838" y="1680"/>
                    <a:pt x="849" y="1680"/>
                    <a:pt x="855" y="1680"/>
                  </a:cubicBezTo>
                  <a:cubicBezTo>
                    <a:pt x="853" y="1682"/>
                    <a:pt x="851" y="1687"/>
                    <a:pt x="845" y="1689"/>
                  </a:cubicBezTo>
                  <a:cubicBezTo>
                    <a:pt x="849" y="1690"/>
                    <a:pt x="854" y="1692"/>
                    <a:pt x="852" y="1697"/>
                  </a:cubicBezTo>
                  <a:close/>
                  <a:moveTo>
                    <a:pt x="846" y="1643"/>
                  </a:moveTo>
                  <a:cubicBezTo>
                    <a:pt x="855" y="1646"/>
                    <a:pt x="843" y="1658"/>
                    <a:pt x="846" y="1643"/>
                  </a:cubicBezTo>
                  <a:close/>
                  <a:moveTo>
                    <a:pt x="841" y="147"/>
                  </a:moveTo>
                  <a:cubicBezTo>
                    <a:pt x="843" y="141"/>
                    <a:pt x="852" y="152"/>
                    <a:pt x="841" y="147"/>
                  </a:cubicBezTo>
                  <a:close/>
                  <a:moveTo>
                    <a:pt x="827" y="220"/>
                  </a:moveTo>
                  <a:cubicBezTo>
                    <a:pt x="841" y="209"/>
                    <a:pt x="855" y="223"/>
                    <a:pt x="827" y="220"/>
                  </a:cubicBezTo>
                  <a:close/>
                  <a:moveTo>
                    <a:pt x="829" y="245"/>
                  </a:moveTo>
                  <a:cubicBezTo>
                    <a:pt x="829" y="248"/>
                    <a:pt x="824" y="251"/>
                    <a:pt x="821" y="251"/>
                  </a:cubicBezTo>
                  <a:cubicBezTo>
                    <a:pt x="821" y="248"/>
                    <a:pt x="824" y="245"/>
                    <a:pt x="829" y="245"/>
                  </a:cubicBezTo>
                  <a:close/>
                  <a:moveTo>
                    <a:pt x="827" y="1706"/>
                  </a:moveTo>
                  <a:cubicBezTo>
                    <a:pt x="827" y="1708"/>
                    <a:pt x="812" y="1708"/>
                    <a:pt x="815" y="1703"/>
                  </a:cubicBezTo>
                  <a:cubicBezTo>
                    <a:pt x="818" y="1703"/>
                    <a:pt x="824" y="1703"/>
                    <a:pt x="827" y="1706"/>
                  </a:cubicBezTo>
                  <a:close/>
                  <a:moveTo>
                    <a:pt x="821" y="2529"/>
                  </a:moveTo>
                  <a:cubicBezTo>
                    <a:pt x="818" y="2543"/>
                    <a:pt x="812" y="2518"/>
                    <a:pt x="821" y="2529"/>
                  </a:cubicBezTo>
                  <a:close/>
                  <a:moveTo>
                    <a:pt x="812" y="2591"/>
                  </a:moveTo>
                  <a:cubicBezTo>
                    <a:pt x="812" y="2594"/>
                    <a:pt x="807" y="2597"/>
                    <a:pt x="804" y="2597"/>
                  </a:cubicBezTo>
                  <a:cubicBezTo>
                    <a:pt x="807" y="2594"/>
                    <a:pt x="810" y="2591"/>
                    <a:pt x="812" y="2591"/>
                  </a:cubicBezTo>
                  <a:close/>
                  <a:moveTo>
                    <a:pt x="807" y="2591"/>
                  </a:moveTo>
                  <a:lnTo>
                    <a:pt x="807" y="2583"/>
                  </a:lnTo>
                  <a:lnTo>
                    <a:pt x="812" y="2583"/>
                  </a:lnTo>
                  <a:cubicBezTo>
                    <a:pt x="812" y="2584"/>
                    <a:pt x="813" y="2585"/>
                    <a:pt x="813" y="2585"/>
                  </a:cubicBezTo>
                  <a:cubicBezTo>
                    <a:pt x="815" y="2568"/>
                    <a:pt x="791" y="2557"/>
                    <a:pt x="812" y="2549"/>
                  </a:cubicBezTo>
                  <a:cubicBezTo>
                    <a:pt x="815" y="2560"/>
                    <a:pt x="818" y="2569"/>
                    <a:pt x="821" y="2577"/>
                  </a:cubicBezTo>
                  <a:cubicBezTo>
                    <a:pt x="827" y="2574"/>
                    <a:pt x="835" y="2574"/>
                    <a:pt x="829" y="2560"/>
                  </a:cubicBezTo>
                  <a:cubicBezTo>
                    <a:pt x="841" y="2563"/>
                    <a:pt x="846" y="2572"/>
                    <a:pt x="843" y="2577"/>
                  </a:cubicBezTo>
                  <a:cubicBezTo>
                    <a:pt x="849" y="2577"/>
                    <a:pt x="852" y="2574"/>
                    <a:pt x="855" y="2574"/>
                  </a:cubicBezTo>
                  <a:cubicBezTo>
                    <a:pt x="852" y="2580"/>
                    <a:pt x="843" y="2583"/>
                    <a:pt x="846" y="2591"/>
                  </a:cubicBezTo>
                  <a:cubicBezTo>
                    <a:pt x="841" y="2591"/>
                    <a:pt x="841" y="2583"/>
                    <a:pt x="838" y="2577"/>
                  </a:cubicBezTo>
                  <a:cubicBezTo>
                    <a:pt x="838" y="2580"/>
                    <a:pt x="831" y="2587"/>
                    <a:pt x="823" y="2588"/>
                  </a:cubicBezTo>
                  <a:cubicBezTo>
                    <a:pt x="830" y="2596"/>
                    <a:pt x="832" y="2607"/>
                    <a:pt x="827" y="2617"/>
                  </a:cubicBezTo>
                  <a:cubicBezTo>
                    <a:pt x="829" y="2614"/>
                    <a:pt x="829" y="2614"/>
                    <a:pt x="835" y="2617"/>
                  </a:cubicBezTo>
                  <a:cubicBezTo>
                    <a:pt x="825" y="2617"/>
                    <a:pt x="821" y="2626"/>
                    <a:pt x="814" y="2630"/>
                  </a:cubicBezTo>
                  <a:cubicBezTo>
                    <a:pt x="815" y="2629"/>
                    <a:pt x="815" y="2627"/>
                    <a:pt x="815" y="2625"/>
                  </a:cubicBezTo>
                  <a:cubicBezTo>
                    <a:pt x="812" y="2625"/>
                    <a:pt x="812" y="2622"/>
                    <a:pt x="812" y="2620"/>
                  </a:cubicBezTo>
                  <a:cubicBezTo>
                    <a:pt x="810" y="2620"/>
                    <a:pt x="804" y="2617"/>
                    <a:pt x="807" y="2605"/>
                  </a:cubicBezTo>
                  <a:cubicBezTo>
                    <a:pt x="810" y="2605"/>
                    <a:pt x="810" y="2605"/>
                    <a:pt x="812" y="2608"/>
                  </a:cubicBezTo>
                  <a:cubicBezTo>
                    <a:pt x="815" y="2600"/>
                    <a:pt x="818" y="2591"/>
                    <a:pt x="821" y="2586"/>
                  </a:cubicBezTo>
                  <a:cubicBezTo>
                    <a:pt x="819" y="2586"/>
                    <a:pt x="817" y="2587"/>
                    <a:pt x="814" y="2588"/>
                  </a:cubicBezTo>
                  <a:cubicBezTo>
                    <a:pt x="815" y="2589"/>
                    <a:pt x="815" y="2590"/>
                    <a:pt x="815" y="2591"/>
                  </a:cubicBezTo>
                  <a:lnTo>
                    <a:pt x="812" y="2591"/>
                  </a:lnTo>
                  <a:cubicBezTo>
                    <a:pt x="813" y="2591"/>
                    <a:pt x="813" y="2591"/>
                    <a:pt x="812" y="2591"/>
                  </a:cubicBezTo>
                  <a:lnTo>
                    <a:pt x="807" y="2591"/>
                  </a:lnTo>
                  <a:close/>
                  <a:moveTo>
                    <a:pt x="815" y="276"/>
                  </a:moveTo>
                  <a:cubicBezTo>
                    <a:pt x="812" y="279"/>
                    <a:pt x="810" y="282"/>
                    <a:pt x="807" y="282"/>
                  </a:cubicBezTo>
                  <a:cubicBezTo>
                    <a:pt x="801" y="276"/>
                    <a:pt x="810" y="276"/>
                    <a:pt x="815" y="276"/>
                  </a:cubicBezTo>
                  <a:close/>
                  <a:moveTo>
                    <a:pt x="818" y="2639"/>
                  </a:moveTo>
                  <a:cubicBezTo>
                    <a:pt x="821" y="2653"/>
                    <a:pt x="815" y="2662"/>
                    <a:pt x="804" y="2662"/>
                  </a:cubicBezTo>
                  <a:lnTo>
                    <a:pt x="804" y="2642"/>
                  </a:lnTo>
                  <a:cubicBezTo>
                    <a:pt x="807" y="2639"/>
                    <a:pt x="812" y="2639"/>
                    <a:pt x="818" y="2639"/>
                  </a:cubicBezTo>
                  <a:close/>
                  <a:moveTo>
                    <a:pt x="810" y="186"/>
                  </a:moveTo>
                  <a:cubicBezTo>
                    <a:pt x="795" y="189"/>
                    <a:pt x="812" y="172"/>
                    <a:pt x="810" y="186"/>
                  </a:cubicBezTo>
                  <a:close/>
                  <a:moveTo>
                    <a:pt x="798" y="2541"/>
                  </a:moveTo>
                  <a:cubicBezTo>
                    <a:pt x="798" y="2535"/>
                    <a:pt x="807" y="2543"/>
                    <a:pt x="798" y="2541"/>
                  </a:cubicBezTo>
                  <a:close/>
                  <a:moveTo>
                    <a:pt x="798" y="276"/>
                  </a:moveTo>
                  <a:cubicBezTo>
                    <a:pt x="801" y="271"/>
                    <a:pt x="804" y="288"/>
                    <a:pt x="798" y="276"/>
                  </a:cubicBezTo>
                  <a:close/>
                  <a:moveTo>
                    <a:pt x="797" y="313"/>
                  </a:moveTo>
                  <a:cubicBezTo>
                    <a:pt x="799" y="315"/>
                    <a:pt x="801" y="319"/>
                    <a:pt x="801" y="322"/>
                  </a:cubicBezTo>
                  <a:lnTo>
                    <a:pt x="793" y="322"/>
                  </a:lnTo>
                  <a:cubicBezTo>
                    <a:pt x="795" y="322"/>
                    <a:pt x="795" y="316"/>
                    <a:pt x="795" y="313"/>
                  </a:cubicBezTo>
                  <a:cubicBezTo>
                    <a:pt x="795" y="308"/>
                    <a:pt x="803" y="315"/>
                    <a:pt x="797" y="313"/>
                  </a:cubicBezTo>
                  <a:close/>
                  <a:moveTo>
                    <a:pt x="787" y="243"/>
                  </a:moveTo>
                  <a:cubicBezTo>
                    <a:pt x="790" y="243"/>
                    <a:pt x="793" y="245"/>
                    <a:pt x="795" y="248"/>
                  </a:cubicBezTo>
                  <a:lnTo>
                    <a:pt x="790" y="248"/>
                  </a:lnTo>
                  <a:cubicBezTo>
                    <a:pt x="787" y="248"/>
                    <a:pt x="787" y="245"/>
                    <a:pt x="787" y="243"/>
                  </a:cubicBezTo>
                  <a:close/>
                  <a:moveTo>
                    <a:pt x="779" y="254"/>
                  </a:moveTo>
                  <a:lnTo>
                    <a:pt x="784" y="254"/>
                  </a:lnTo>
                  <a:lnTo>
                    <a:pt x="784" y="259"/>
                  </a:lnTo>
                  <a:lnTo>
                    <a:pt x="779" y="259"/>
                  </a:lnTo>
                  <a:cubicBezTo>
                    <a:pt x="776" y="259"/>
                    <a:pt x="779" y="257"/>
                    <a:pt x="779" y="254"/>
                  </a:cubicBezTo>
                  <a:close/>
                  <a:moveTo>
                    <a:pt x="790" y="279"/>
                  </a:moveTo>
                  <a:cubicBezTo>
                    <a:pt x="787" y="285"/>
                    <a:pt x="779" y="282"/>
                    <a:pt x="776" y="282"/>
                  </a:cubicBezTo>
                  <a:cubicBezTo>
                    <a:pt x="776" y="279"/>
                    <a:pt x="787" y="282"/>
                    <a:pt x="790" y="279"/>
                  </a:cubicBezTo>
                  <a:close/>
                  <a:moveTo>
                    <a:pt x="776" y="2552"/>
                  </a:moveTo>
                  <a:cubicBezTo>
                    <a:pt x="795" y="2552"/>
                    <a:pt x="767" y="2580"/>
                    <a:pt x="776" y="2552"/>
                  </a:cubicBezTo>
                  <a:close/>
                  <a:moveTo>
                    <a:pt x="779" y="2569"/>
                  </a:moveTo>
                  <a:lnTo>
                    <a:pt x="779" y="2572"/>
                  </a:lnTo>
                  <a:cubicBezTo>
                    <a:pt x="793" y="2574"/>
                    <a:pt x="770" y="2597"/>
                    <a:pt x="776" y="2574"/>
                  </a:cubicBezTo>
                  <a:cubicBezTo>
                    <a:pt x="773" y="2574"/>
                    <a:pt x="770" y="2569"/>
                    <a:pt x="779" y="2569"/>
                  </a:cubicBezTo>
                  <a:close/>
                  <a:moveTo>
                    <a:pt x="767" y="1756"/>
                  </a:moveTo>
                  <a:cubicBezTo>
                    <a:pt x="770" y="1765"/>
                    <a:pt x="753" y="1759"/>
                    <a:pt x="756" y="1754"/>
                  </a:cubicBezTo>
                  <a:cubicBezTo>
                    <a:pt x="759" y="1754"/>
                    <a:pt x="767" y="1751"/>
                    <a:pt x="767" y="1756"/>
                  </a:cubicBezTo>
                  <a:close/>
                  <a:moveTo>
                    <a:pt x="750" y="2549"/>
                  </a:moveTo>
                  <a:cubicBezTo>
                    <a:pt x="753" y="2549"/>
                    <a:pt x="759" y="2546"/>
                    <a:pt x="762" y="2546"/>
                  </a:cubicBezTo>
                  <a:cubicBezTo>
                    <a:pt x="764" y="2555"/>
                    <a:pt x="753" y="2566"/>
                    <a:pt x="750" y="2549"/>
                  </a:cubicBezTo>
                  <a:close/>
                  <a:moveTo>
                    <a:pt x="756" y="2560"/>
                  </a:moveTo>
                  <a:cubicBezTo>
                    <a:pt x="759" y="2555"/>
                    <a:pt x="767" y="2563"/>
                    <a:pt x="756" y="2560"/>
                  </a:cubicBezTo>
                  <a:close/>
                  <a:moveTo>
                    <a:pt x="731" y="2524"/>
                  </a:moveTo>
                  <a:cubicBezTo>
                    <a:pt x="739" y="2524"/>
                    <a:pt x="753" y="2524"/>
                    <a:pt x="753" y="2538"/>
                  </a:cubicBezTo>
                  <a:cubicBezTo>
                    <a:pt x="742" y="2541"/>
                    <a:pt x="731" y="2538"/>
                    <a:pt x="731" y="2524"/>
                  </a:cubicBezTo>
                  <a:close/>
                  <a:moveTo>
                    <a:pt x="736" y="2538"/>
                  </a:moveTo>
                  <a:cubicBezTo>
                    <a:pt x="756" y="2538"/>
                    <a:pt x="728" y="2566"/>
                    <a:pt x="736" y="2538"/>
                  </a:cubicBezTo>
                  <a:close/>
                  <a:moveTo>
                    <a:pt x="743" y="2447"/>
                  </a:moveTo>
                  <a:cubicBezTo>
                    <a:pt x="743" y="2446"/>
                    <a:pt x="745" y="2446"/>
                    <a:pt x="745" y="2447"/>
                  </a:cubicBezTo>
                  <a:cubicBezTo>
                    <a:pt x="741" y="2451"/>
                    <a:pt x="741" y="2449"/>
                    <a:pt x="743" y="2447"/>
                  </a:cubicBezTo>
                  <a:close/>
                  <a:moveTo>
                    <a:pt x="739" y="2363"/>
                  </a:moveTo>
                  <a:cubicBezTo>
                    <a:pt x="753" y="2363"/>
                    <a:pt x="736" y="2385"/>
                    <a:pt x="739" y="2363"/>
                  </a:cubicBezTo>
                  <a:close/>
                  <a:moveTo>
                    <a:pt x="736" y="2388"/>
                  </a:moveTo>
                  <a:cubicBezTo>
                    <a:pt x="753" y="2388"/>
                    <a:pt x="733" y="2411"/>
                    <a:pt x="736" y="2388"/>
                  </a:cubicBezTo>
                  <a:close/>
                  <a:moveTo>
                    <a:pt x="745" y="2405"/>
                  </a:moveTo>
                  <a:cubicBezTo>
                    <a:pt x="742" y="2411"/>
                    <a:pt x="748" y="2402"/>
                    <a:pt x="745" y="2405"/>
                  </a:cubicBezTo>
                  <a:close/>
                  <a:moveTo>
                    <a:pt x="764" y="2504"/>
                  </a:moveTo>
                  <a:lnTo>
                    <a:pt x="764" y="2518"/>
                  </a:lnTo>
                  <a:lnTo>
                    <a:pt x="750" y="2518"/>
                  </a:lnTo>
                  <a:lnTo>
                    <a:pt x="750" y="2504"/>
                  </a:lnTo>
                  <a:lnTo>
                    <a:pt x="764" y="2504"/>
                  </a:lnTo>
                  <a:close/>
                  <a:moveTo>
                    <a:pt x="750" y="2388"/>
                  </a:moveTo>
                  <a:cubicBezTo>
                    <a:pt x="767" y="2385"/>
                    <a:pt x="750" y="2411"/>
                    <a:pt x="750" y="2388"/>
                  </a:cubicBezTo>
                  <a:close/>
                  <a:moveTo>
                    <a:pt x="753" y="1722"/>
                  </a:moveTo>
                  <a:cubicBezTo>
                    <a:pt x="756" y="1720"/>
                    <a:pt x="756" y="1711"/>
                    <a:pt x="762" y="1711"/>
                  </a:cubicBezTo>
                  <a:cubicBezTo>
                    <a:pt x="762" y="1714"/>
                    <a:pt x="759" y="1722"/>
                    <a:pt x="753" y="1722"/>
                  </a:cubicBezTo>
                  <a:close/>
                  <a:moveTo>
                    <a:pt x="759" y="1610"/>
                  </a:moveTo>
                  <a:cubicBezTo>
                    <a:pt x="764" y="1618"/>
                    <a:pt x="762" y="1621"/>
                    <a:pt x="762" y="1632"/>
                  </a:cubicBezTo>
                  <a:cubicBezTo>
                    <a:pt x="756" y="1632"/>
                    <a:pt x="756" y="1627"/>
                    <a:pt x="750" y="1627"/>
                  </a:cubicBezTo>
                  <a:lnTo>
                    <a:pt x="759" y="1610"/>
                  </a:lnTo>
                  <a:close/>
                  <a:moveTo>
                    <a:pt x="748" y="1739"/>
                  </a:moveTo>
                  <a:cubicBezTo>
                    <a:pt x="748" y="1734"/>
                    <a:pt x="756" y="1742"/>
                    <a:pt x="748" y="1739"/>
                  </a:cubicBezTo>
                  <a:close/>
                  <a:moveTo>
                    <a:pt x="750" y="2464"/>
                  </a:moveTo>
                  <a:cubicBezTo>
                    <a:pt x="770" y="2464"/>
                    <a:pt x="742" y="2493"/>
                    <a:pt x="750" y="2464"/>
                  </a:cubicBezTo>
                  <a:close/>
                  <a:moveTo>
                    <a:pt x="748" y="1748"/>
                  </a:moveTo>
                  <a:lnTo>
                    <a:pt x="748" y="1759"/>
                  </a:lnTo>
                  <a:cubicBezTo>
                    <a:pt x="739" y="1759"/>
                    <a:pt x="739" y="1748"/>
                    <a:pt x="748" y="1748"/>
                  </a:cubicBezTo>
                  <a:close/>
                  <a:moveTo>
                    <a:pt x="742" y="322"/>
                  </a:moveTo>
                  <a:cubicBezTo>
                    <a:pt x="748" y="319"/>
                    <a:pt x="736" y="330"/>
                    <a:pt x="742" y="322"/>
                  </a:cubicBezTo>
                  <a:close/>
                  <a:moveTo>
                    <a:pt x="739" y="209"/>
                  </a:moveTo>
                  <a:cubicBezTo>
                    <a:pt x="745" y="206"/>
                    <a:pt x="733" y="217"/>
                    <a:pt x="739" y="209"/>
                  </a:cubicBezTo>
                  <a:close/>
                  <a:moveTo>
                    <a:pt x="731" y="1734"/>
                  </a:moveTo>
                  <a:cubicBezTo>
                    <a:pt x="731" y="1731"/>
                    <a:pt x="736" y="1728"/>
                    <a:pt x="739" y="1728"/>
                  </a:cubicBezTo>
                  <a:cubicBezTo>
                    <a:pt x="739" y="1731"/>
                    <a:pt x="733" y="1734"/>
                    <a:pt x="731" y="1734"/>
                  </a:cubicBezTo>
                  <a:close/>
                  <a:moveTo>
                    <a:pt x="733" y="285"/>
                  </a:moveTo>
                  <a:cubicBezTo>
                    <a:pt x="733" y="279"/>
                    <a:pt x="742" y="288"/>
                    <a:pt x="733" y="285"/>
                  </a:cubicBezTo>
                  <a:close/>
                  <a:moveTo>
                    <a:pt x="739" y="299"/>
                  </a:moveTo>
                  <a:cubicBezTo>
                    <a:pt x="731" y="307"/>
                    <a:pt x="731" y="293"/>
                    <a:pt x="739" y="299"/>
                  </a:cubicBezTo>
                  <a:close/>
                  <a:moveTo>
                    <a:pt x="745" y="2431"/>
                  </a:moveTo>
                  <a:lnTo>
                    <a:pt x="745" y="2436"/>
                  </a:lnTo>
                  <a:cubicBezTo>
                    <a:pt x="742" y="2439"/>
                    <a:pt x="739" y="2442"/>
                    <a:pt x="736" y="2442"/>
                  </a:cubicBezTo>
                  <a:cubicBezTo>
                    <a:pt x="733" y="2442"/>
                    <a:pt x="728" y="2439"/>
                    <a:pt x="725" y="2439"/>
                  </a:cubicBezTo>
                  <a:cubicBezTo>
                    <a:pt x="716" y="2414"/>
                    <a:pt x="742" y="2419"/>
                    <a:pt x="745" y="2431"/>
                  </a:cubicBezTo>
                  <a:close/>
                  <a:moveTo>
                    <a:pt x="722" y="2518"/>
                  </a:moveTo>
                  <a:cubicBezTo>
                    <a:pt x="725" y="2524"/>
                    <a:pt x="725" y="2529"/>
                    <a:pt x="725" y="2535"/>
                  </a:cubicBezTo>
                  <a:lnTo>
                    <a:pt x="722" y="2535"/>
                  </a:lnTo>
                  <a:lnTo>
                    <a:pt x="722" y="2518"/>
                  </a:lnTo>
                  <a:close/>
                  <a:moveTo>
                    <a:pt x="716" y="463"/>
                  </a:moveTo>
                  <a:cubicBezTo>
                    <a:pt x="716" y="457"/>
                    <a:pt x="728" y="465"/>
                    <a:pt x="716" y="463"/>
                  </a:cubicBezTo>
                  <a:close/>
                  <a:moveTo>
                    <a:pt x="714" y="2433"/>
                  </a:moveTo>
                  <a:cubicBezTo>
                    <a:pt x="733" y="2439"/>
                    <a:pt x="700" y="2450"/>
                    <a:pt x="714" y="2433"/>
                  </a:cubicBezTo>
                  <a:close/>
                  <a:moveTo>
                    <a:pt x="722" y="2385"/>
                  </a:moveTo>
                  <a:cubicBezTo>
                    <a:pt x="736" y="2385"/>
                    <a:pt x="719" y="2408"/>
                    <a:pt x="722" y="2385"/>
                  </a:cubicBezTo>
                  <a:close/>
                  <a:moveTo>
                    <a:pt x="722" y="302"/>
                  </a:moveTo>
                  <a:cubicBezTo>
                    <a:pt x="728" y="293"/>
                    <a:pt x="728" y="310"/>
                    <a:pt x="722" y="302"/>
                  </a:cubicBezTo>
                  <a:close/>
                  <a:moveTo>
                    <a:pt x="716" y="234"/>
                  </a:moveTo>
                  <a:cubicBezTo>
                    <a:pt x="716" y="228"/>
                    <a:pt x="728" y="237"/>
                    <a:pt x="716" y="234"/>
                  </a:cubicBezTo>
                  <a:close/>
                  <a:moveTo>
                    <a:pt x="731" y="293"/>
                  </a:moveTo>
                  <a:cubicBezTo>
                    <a:pt x="725" y="296"/>
                    <a:pt x="719" y="296"/>
                    <a:pt x="714" y="299"/>
                  </a:cubicBezTo>
                  <a:cubicBezTo>
                    <a:pt x="714" y="296"/>
                    <a:pt x="711" y="290"/>
                    <a:pt x="711" y="288"/>
                  </a:cubicBezTo>
                  <a:cubicBezTo>
                    <a:pt x="719" y="282"/>
                    <a:pt x="728" y="282"/>
                    <a:pt x="731" y="293"/>
                  </a:cubicBezTo>
                  <a:close/>
                  <a:moveTo>
                    <a:pt x="716" y="415"/>
                  </a:moveTo>
                  <a:cubicBezTo>
                    <a:pt x="716" y="420"/>
                    <a:pt x="708" y="423"/>
                    <a:pt x="705" y="423"/>
                  </a:cubicBezTo>
                  <a:cubicBezTo>
                    <a:pt x="705" y="420"/>
                    <a:pt x="711" y="417"/>
                    <a:pt x="716" y="415"/>
                  </a:cubicBezTo>
                  <a:close/>
                  <a:moveTo>
                    <a:pt x="702" y="2445"/>
                  </a:moveTo>
                  <a:lnTo>
                    <a:pt x="725" y="2445"/>
                  </a:lnTo>
                  <a:cubicBezTo>
                    <a:pt x="728" y="2456"/>
                    <a:pt x="719" y="2456"/>
                    <a:pt x="719" y="2464"/>
                  </a:cubicBezTo>
                  <a:cubicBezTo>
                    <a:pt x="714" y="2464"/>
                    <a:pt x="711" y="2459"/>
                    <a:pt x="705" y="2459"/>
                  </a:cubicBezTo>
                  <a:cubicBezTo>
                    <a:pt x="702" y="2456"/>
                    <a:pt x="702" y="2450"/>
                    <a:pt x="702" y="2445"/>
                  </a:cubicBezTo>
                  <a:close/>
                  <a:moveTo>
                    <a:pt x="702" y="2535"/>
                  </a:moveTo>
                  <a:cubicBezTo>
                    <a:pt x="711" y="2532"/>
                    <a:pt x="714" y="2546"/>
                    <a:pt x="716" y="2555"/>
                  </a:cubicBezTo>
                  <a:cubicBezTo>
                    <a:pt x="705" y="2555"/>
                    <a:pt x="702" y="2543"/>
                    <a:pt x="702" y="2535"/>
                  </a:cubicBezTo>
                  <a:close/>
                  <a:moveTo>
                    <a:pt x="711" y="2557"/>
                  </a:moveTo>
                  <a:cubicBezTo>
                    <a:pt x="708" y="2563"/>
                    <a:pt x="708" y="2569"/>
                    <a:pt x="711" y="2574"/>
                  </a:cubicBezTo>
                  <a:cubicBezTo>
                    <a:pt x="714" y="2572"/>
                    <a:pt x="714" y="2572"/>
                    <a:pt x="716" y="2572"/>
                  </a:cubicBezTo>
                  <a:cubicBezTo>
                    <a:pt x="714" y="2574"/>
                    <a:pt x="716" y="2577"/>
                    <a:pt x="714" y="2580"/>
                  </a:cubicBezTo>
                  <a:cubicBezTo>
                    <a:pt x="719" y="2586"/>
                    <a:pt x="728" y="2580"/>
                    <a:pt x="731" y="2566"/>
                  </a:cubicBezTo>
                  <a:cubicBezTo>
                    <a:pt x="750" y="2591"/>
                    <a:pt x="705" y="2597"/>
                    <a:pt x="697" y="2600"/>
                  </a:cubicBezTo>
                  <a:cubicBezTo>
                    <a:pt x="683" y="2594"/>
                    <a:pt x="688" y="2550"/>
                    <a:pt x="710" y="2557"/>
                  </a:cubicBezTo>
                  <a:cubicBezTo>
                    <a:pt x="710" y="2558"/>
                    <a:pt x="709" y="2561"/>
                    <a:pt x="711" y="2557"/>
                  </a:cubicBezTo>
                  <a:close/>
                  <a:moveTo>
                    <a:pt x="710" y="2557"/>
                  </a:moveTo>
                  <a:lnTo>
                    <a:pt x="711" y="2557"/>
                  </a:lnTo>
                  <a:cubicBezTo>
                    <a:pt x="711" y="2557"/>
                    <a:pt x="711" y="2557"/>
                    <a:pt x="710" y="2557"/>
                  </a:cubicBezTo>
                  <a:close/>
                  <a:moveTo>
                    <a:pt x="669" y="2586"/>
                  </a:moveTo>
                  <a:cubicBezTo>
                    <a:pt x="666" y="2586"/>
                    <a:pt x="663" y="2583"/>
                    <a:pt x="660" y="2583"/>
                  </a:cubicBezTo>
                  <a:cubicBezTo>
                    <a:pt x="666" y="2583"/>
                    <a:pt x="683" y="2586"/>
                    <a:pt x="669" y="2586"/>
                  </a:cubicBezTo>
                  <a:close/>
                  <a:moveTo>
                    <a:pt x="666" y="2603"/>
                  </a:moveTo>
                  <a:cubicBezTo>
                    <a:pt x="666" y="2597"/>
                    <a:pt x="677" y="2605"/>
                    <a:pt x="666" y="2603"/>
                  </a:cubicBezTo>
                  <a:close/>
                  <a:moveTo>
                    <a:pt x="671" y="2484"/>
                  </a:moveTo>
                  <a:cubicBezTo>
                    <a:pt x="685" y="2487"/>
                    <a:pt x="669" y="2498"/>
                    <a:pt x="671" y="2484"/>
                  </a:cubicBezTo>
                  <a:close/>
                  <a:moveTo>
                    <a:pt x="683" y="2445"/>
                  </a:moveTo>
                  <a:cubicBezTo>
                    <a:pt x="705" y="2453"/>
                    <a:pt x="657" y="2462"/>
                    <a:pt x="683" y="2445"/>
                  </a:cubicBezTo>
                  <a:close/>
                  <a:moveTo>
                    <a:pt x="680" y="2512"/>
                  </a:moveTo>
                  <a:cubicBezTo>
                    <a:pt x="680" y="2513"/>
                    <a:pt x="680" y="2514"/>
                    <a:pt x="679" y="2515"/>
                  </a:cubicBezTo>
                  <a:cubicBezTo>
                    <a:pt x="680" y="2514"/>
                    <a:pt x="681" y="2513"/>
                    <a:pt x="683" y="2512"/>
                  </a:cubicBezTo>
                  <a:cubicBezTo>
                    <a:pt x="708" y="2542"/>
                    <a:pt x="660" y="2539"/>
                    <a:pt x="674" y="2520"/>
                  </a:cubicBezTo>
                  <a:cubicBezTo>
                    <a:pt x="673" y="2521"/>
                    <a:pt x="672" y="2521"/>
                    <a:pt x="671" y="2521"/>
                  </a:cubicBezTo>
                  <a:lnTo>
                    <a:pt x="671" y="2515"/>
                  </a:lnTo>
                  <a:cubicBezTo>
                    <a:pt x="674" y="2512"/>
                    <a:pt x="677" y="2512"/>
                    <a:pt x="680" y="2512"/>
                  </a:cubicBezTo>
                  <a:close/>
                  <a:moveTo>
                    <a:pt x="688" y="2507"/>
                  </a:moveTo>
                  <a:cubicBezTo>
                    <a:pt x="702" y="2504"/>
                    <a:pt x="685" y="2529"/>
                    <a:pt x="688" y="2507"/>
                  </a:cubicBezTo>
                  <a:close/>
                  <a:moveTo>
                    <a:pt x="694" y="288"/>
                  </a:moveTo>
                  <a:cubicBezTo>
                    <a:pt x="688" y="288"/>
                    <a:pt x="691" y="274"/>
                    <a:pt x="697" y="276"/>
                  </a:cubicBezTo>
                  <a:cubicBezTo>
                    <a:pt x="697" y="279"/>
                    <a:pt x="697" y="285"/>
                    <a:pt x="694" y="288"/>
                  </a:cubicBezTo>
                  <a:close/>
                  <a:moveTo>
                    <a:pt x="694" y="293"/>
                  </a:moveTo>
                  <a:cubicBezTo>
                    <a:pt x="691" y="293"/>
                    <a:pt x="700" y="296"/>
                    <a:pt x="694" y="293"/>
                  </a:cubicBezTo>
                  <a:close/>
                  <a:moveTo>
                    <a:pt x="691" y="1739"/>
                  </a:moveTo>
                  <a:cubicBezTo>
                    <a:pt x="691" y="1734"/>
                    <a:pt x="702" y="1742"/>
                    <a:pt x="691" y="1739"/>
                  </a:cubicBezTo>
                  <a:close/>
                  <a:moveTo>
                    <a:pt x="694" y="2473"/>
                  </a:moveTo>
                  <a:cubicBezTo>
                    <a:pt x="705" y="2476"/>
                    <a:pt x="711" y="2487"/>
                    <a:pt x="708" y="2501"/>
                  </a:cubicBezTo>
                  <a:cubicBezTo>
                    <a:pt x="691" y="2507"/>
                    <a:pt x="697" y="2484"/>
                    <a:pt x="694" y="2473"/>
                  </a:cubicBezTo>
                  <a:close/>
                  <a:moveTo>
                    <a:pt x="697" y="271"/>
                  </a:moveTo>
                  <a:cubicBezTo>
                    <a:pt x="697" y="265"/>
                    <a:pt x="705" y="274"/>
                    <a:pt x="697" y="271"/>
                  </a:cubicBezTo>
                  <a:close/>
                  <a:moveTo>
                    <a:pt x="700" y="217"/>
                  </a:moveTo>
                  <a:cubicBezTo>
                    <a:pt x="705" y="228"/>
                    <a:pt x="694" y="231"/>
                    <a:pt x="685" y="234"/>
                  </a:cubicBezTo>
                  <a:cubicBezTo>
                    <a:pt x="685" y="226"/>
                    <a:pt x="691" y="220"/>
                    <a:pt x="700" y="217"/>
                  </a:cubicBezTo>
                  <a:close/>
                  <a:moveTo>
                    <a:pt x="688" y="285"/>
                  </a:moveTo>
                  <a:cubicBezTo>
                    <a:pt x="685" y="293"/>
                    <a:pt x="677" y="282"/>
                    <a:pt x="688" y="285"/>
                  </a:cubicBezTo>
                  <a:close/>
                  <a:moveTo>
                    <a:pt x="683" y="2363"/>
                  </a:moveTo>
                  <a:cubicBezTo>
                    <a:pt x="700" y="2366"/>
                    <a:pt x="680" y="2391"/>
                    <a:pt x="683" y="2363"/>
                  </a:cubicBezTo>
                  <a:close/>
                  <a:moveTo>
                    <a:pt x="680" y="322"/>
                  </a:moveTo>
                  <a:lnTo>
                    <a:pt x="685" y="322"/>
                  </a:lnTo>
                  <a:lnTo>
                    <a:pt x="685" y="327"/>
                  </a:lnTo>
                  <a:lnTo>
                    <a:pt x="680" y="327"/>
                  </a:lnTo>
                  <a:lnTo>
                    <a:pt x="680" y="322"/>
                  </a:lnTo>
                  <a:close/>
                  <a:moveTo>
                    <a:pt x="691" y="2422"/>
                  </a:moveTo>
                  <a:cubicBezTo>
                    <a:pt x="671" y="2425"/>
                    <a:pt x="674" y="2399"/>
                    <a:pt x="669" y="2388"/>
                  </a:cubicBezTo>
                  <a:cubicBezTo>
                    <a:pt x="683" y="2394"/>
                    <a:pt x="691" y="2405"/>
                    <a:pt x="691" y="2422"/>
                  </a:cubicBezTo>
                  <a:close/>
                  <a:moveTo>
                    <a:pt x="669" y="2439"/>
                  </a:moveTo>
                  <a:cubicBezTo>
                    <a:pt x="669" y="2436"/>
                    <a:pt x="666" y="2445"/>
                    <a:pt x="669" y="2439"/>
                  </a:cubicBezTo>
                  <a:close/>
                  <a:moveTo>
                    <a:pt x="660" y="2366"/>
                  </a:moveTo>
                  <a:cubicBezTo>
                    <a:pt x="677" y="2380"/>
                    <a:pt x="643" y="2354"/>
                    <a:pt x="660" y="2366"/>
                  </a:cubicBezTo>
                  <a:close/>
                  <a:moveTo>
                    <a:pt x="657" y="2464"/>
                  </a:moveTo>
                  <a:cubicBezTo>
                    <a:pt x="656" y="2464"/>
                    <a:pt x="655" y="2463"/>
                    <a:pt x="655" y="2463"/>
                  </a:cubicBezTo>
                  <a:cubicBezTo>
                    <a:pt x="652" y="2461"/>
                    <a:pt x="651" y="2459"/>
                    <a:pt x="649" y="2459"/>
                  </a:cubicBezTo>
                  <a:cubicBezTo>
                    <a:pt x="649" y="2459"/>
                    <a:pt x="652" y="2456"/>
                    <a:pt x="654" y="2459"/>
                  </a:cubicBezTo>
                  <a:cubicBezTo>
                    <a:pt x="657" y="2459"/>
                    <a:pt x="660" y="2464"/>
                    <a:pt x="660" y="2464"/>
                  </a:cubicBezTo>
                  <a:lnTo>
                    <a:pt x="657" y="2464"/>
                  </a:lnTo>
                  <a:close/>
                  <a:moveTo>
                    <a:pt x="654" y="2529"/>
                  </a:moveTo>
                  <a:cubicBezTo>
                    <a:pt x="654" y="2524"/>
                    <a:pt x="663" y="2532"/>
                    <a:pt x="654" y="2529"/>
                  </a:cubicBezTo>
                  <a:close/>
                  <a:moveTo>
                    <a:pt x="654" y="2397"/>
                  </a:moveTo>
                  <a:cubicBezTo>
                    <a:pt x="669" y="2394"/>
                    <a:pt x="652" y="2419"/>
                    <a:pt x="654" y="2397"/>
                  </a:cubicBezTo>
                  <a:close/>
                  <a:moveTo>
                    <a:pt x="649" y="440"/>
                  </a:moveTo>
                  <a:cubicBezTo>
                    <a:pt x="649" y="434"/>
                    <a:pt x="660" y="443"/>
                    <a:pt x="649" y="440"/>
                  </a:cubicBezTo>
                  <a:close/>
                  <a:moveTo>
                    <a:pt x="652" y="262"/>
                  </a:moveTo>
                  <a:cubicBezTo>
                    <a:pt x="649" y="262"/>
                    <a:pt x="654" y="265"/>
                    <a:pt x="652" y="262"/>
                  </a:cubicBezTo>
                  <a:close/>
                  <a:moveTo>
                    <a:pt x="643" y="310"/>
                  </a:moveTo>
                  <a:cubicBezTo>
                    <a:pt x="640" y="307"/>
                    <a:pt x="649" y="310"/>
                    <a:pt x="643" y="310"/>
                  </a:cubicBezTo>
                  <a:close/>
                  <a:moveTo>
                    <a:pt x="646" y="1687"/>
                  </a:moveTo>
                  <a:cubicBezTo>
                    <a:pt x="645" y="1687"/>
                    <a:pt x="642" y="1686"/>
                    <a:pt x="646" y="1686"/>
                  </a:cubicBezTo>
                  <a:cubicBezTo>
                    <a:pt x="647" y="1687"/>
                    <a:pt x="647" y="1687"/>
                    <a:pt x="646" y="1687"/>
                  </a:cubicBezTo>
                  <a:close/>
                  <a:moveTo>
                    <a:pt x="640" y="1573"/>
                  </a:moveTo>
                  <a:cubicBezTo>
                    <a:pt x="643" y="1573"/>
                    <a:pt x="635" y="1570"/>
                    <a:pt x="640" y="1573"/>
                  </a:cubicBezTo>
                  <a:close/>
                  <a:moveTo>
                    <a:pt x="654" y="2416"/>
                  </a:moveTo>
                  <a:cubicBezTo>
                    <a:pt x="643" y="2436"/>
                    <a:pt x="632" y="2399"/>
                    <a:pt x="637" y="2388"/>
                  </a:cubicBezTo>
                  <a:cubicBezTo>
                    <a:pt x="650" y="2386"/>
                    <a:pt x="643" y="2410"/>
                    <a:pt x="650" y="2415"/>
                  </a:cubicBezTo>
                  <a:cubicBezTo>
                    <a:pt x="651" y="2416"/>
                    <a:pt x="652" y="2417"/>
                    <a:pt x="654" y="2416"/>
                  </a:cubicBezTo>
                  <a:close/>
                  <a:moveTo>
                    <a:pt x="601" y="2447"/>
                  </a:moveTo>
                  <a:cubicBezTo>
                    <a:pt x="604" y="2439"/>
                    <a:pt x="621" y="2442"/>
                    <a:pt x="629" y="2439"/>
                  </a:cubicBezTo>
                  <a:cubicBezTo>
                    <a:pt x="629" y="2447"/>
                    <a:pt x="629" y="2459"/>
                    <a:pt x="635" y="2459"/>
                  </a:cubicBezTo>
                  <a:cubicBezTo>
                    <a:pt x="623" y="2481"/>
                    <a:pt x="606" y="2453"/>
                    <a:pt x="601" y="2447"/>
                  </a:cubicBezTo>
                  <a:close/>
                  <a:moveTo>
                    <a:pt x="616" y="2566"/>
                  </a:moveTo>
                  <a:cubicBezTo>
                    <a:pt x="616" y="2567"/>
                    <a:pt x="615" y="2570"/>
                    <a:pt x="615" y="2566"/>
                  </a:cubicBezTo>
                  <a:cubicBezTo>
                    <a:pt x="616" y="2565"/>
                    <a:pt x="616" y="2565"/>
                    <a:pt x="616" y="2566"/>
                  </a:cubicBezTo>
                  <a:close/>
                  <a:moveTo>
                    <a:pt x="558" y="1300"/>
                  </a:moveTo>
                  <a:cubicBezTo>
                    <a:pt x="550" y="1320"/>
                    <a:pt x="561" y="1281"/>
                    <a:pt x="558" y="1300"/>
                  </a:cubicBezTo>
                  <a:close/>
                  <a:moveTo>
                    <a:pt x="539" y="801"/>
                  </a:moveTo>
                  <a:cubicBezTo>
                    <a:pt x="550" y="790"/>
                    <a:pt x="556" y="801"/>
                    <a:pt x="564" y="801"/>
                  </a:cubicBezTo>
                  <a:cubicBezTo>
                    <a:pt x="570" y="807"/>
                    <a:pt x="542" y="815"/>
                    <a:pt x="539" y="801"/>
                  </a:cubicBezTo>
                  <a:close/>
                  <a:moveTo>
                    <a:pt x="508" y="810"/>
                  </a:moveTo>
                  <a:cubicBezTo>
                    <a:pt x="502" y="832"/>
                    <a:pt x="485" y="804"/>
                    <a:pt x="508" y="810"/>
                  </a:cubicBezTo>
                  <a:close/>
                  <a:moveTo>
                    <a:pt x="499" y="2383"/>
                  </a:moveTo>
                  <a:cubicBezTo>
                    <a:pt x="498" y="2383"/>
                    <a:pt x="498" y="2382"/>
                    <a:pt x="497" y="2382"/>
                  </a:cubicBezTo>
                  <a:cubicBezTo>
                    <a:pt x="497" y="2381"/>
                    <a:pt x="497" y="2381"/>
                    <a:pt x="499" y="2383"/>
                  </a:cubicBezTo>
                  <a:cubicBezTo>
                    <a:pt x="498" y="2383"/>
                    <a:pt x="498" y="2382"/>
                    <a:pt x="497" y="2382"/>
                  </a:cubicBezTo>
                  <a:cubicBezTo>
                    <a:pt x="496" y="2381"/>
                    <a:pt x="496" y="2380"/>
                    <a:pt x="496" y="2380"/>
                  </a:cubicBezTo>
                  <a:cubicBezTo>
                    <a:pt x="496" y="2377"/>
                    <a:pt x="499" y="2380"/>
                    <a:pt x="499" y="2383"/>
                  </a:cubicBezTo>
                  <a:close/>
                  <a:moveTo>
                    <a:pt x="488" y="795"/>
                  </a:moveTo>
                  <a:cubicBezTo>
                    <a:pt x="491" y="795"/>
                    <a:pt x="494" y="798"/>
                    <a:pt x="496" y="798"/>
                  </a:cubicBezTo>
                  <a:cubicBezTo>
                    <a:pt x="496" y="801"/>
                    <a:pt x="485" y="801"/>
                    <a:pt x="488" y="795"/>
                  </a:cubicBezTo>
                  <a:close/>
                  <a:moveTo>
                    <a:pt x="494" y="1345"/>
                  </a:moveTo>
                  <a:cubicBezTo>
                    <a:pt x="496" y="1345"/>
                    <a:pt x="488" y="1343"/>
                    <a:pt x="494" y="1345"/>
                  </a:cubicBezTo>
                  <a:close/>
                  <a:moveTo>
                    <a:pt x="491" y="2326"/>
                  </a:moveTo>
                  <a:cubicBezTo>
                    <a:pt x="488" y="2332"/>
                    <a:pt x="491" y="2323"/>
                    <a:pt x="491" y="2326"/>
                  </a:cubicBezTo>
                  <a:close/>
                  <a:moveTo>
                    <a:pt x="496" y="587"/>
                  </a:moveTo>
                  <a:cubicBezTo>
                    <a:pt x="502" y="601"/>
                    <a:pt x="474" y="592"/>
                    <a:pt x="496" y="587"/>
                  </a:cubicBezTo>
                  <a:close/>
                  <a:moveTo>
                    <a:pt x="454" y="2380"/>
                  </a:moveTo>
                  <a:cubicBezTo>
                    <a:pt x="460" y="2371"/>
                    <a:pt x="463" y="2354"/>
                    <a:pt x="477" y="2357"/>
                  </a:cubicBezTo>
                  <a:cubicBezTo>
                    <a:pt x="477" y="2357"/>
                    <a:pt x="479" y="2354"/>
                    <a:pt x="477" y="2357"/>
                  </a:cubicBezTo>
                  <a:lnTo>
                    <a:pt x="477" y="2354"/>
                  </a:lnTo>
                  <a:cubicBezTo>
                    <a:pt x="479" y="2354"/>
                    <a:pt x="479" y="2357"/>
                    <a:pt x="482" y="2357"/>
                  </a:cubicBezTo>
                  <a:cubicBezTo>
                    <a:pt x="482" y="2363"/>
                    <a:pt x="485" y="2371"/>
                    <a:pt x="485" y="2380"/>
                  </a:cubicBezTo>
                  <a:cubicBezTo>
                    <a:pt x="477" y="2383"/>
                    <a:pt x="463" y="2380"/>
                    <a:pt x="454" y="2380"/>
                  </a:cubicBezTo>
                  <a:close/>
                  <a:moveTo>
                    <a:pt x="460" y="2433"/>
                  </a:moveTo>
                  <a:cubicBezTo>
                    <a:pt x="479" y="2439"/>
                    <a:pt x="446" y="2453"/>
                    <a:pt x="460" y="2433"/>
                  </a:cubicBezTo>
                  <a:close/>
                  <a:moveTo>
                    <a:pt x="446" y="2422"/>
                  </a:moveTo>
                  <a:lnTo>
                    <a:pt x="440" y="2422"/>
                  </a:lnTo>
                  <a:cubicBezTo>
                    <a:pt x="426" y="2425"/>
                    <a:pt x="432" y="2402"/>
                    <a:pt x="429" y="2391"/>
                  </a:cubicBezTo>
                  <a:cubicBezTo>
                    <a:pt x="437" y="2396"/>
                    <a:pt x="442" y="2407"/>
                    <a:pt x="445" y="2421"/>
                  </a:cubicBezTo>
                  <a:cubicBezTo>
                    <a:pt x="445" y="2421"/>
                    <a:pt x="446" y="2421"/>
                    <a:pt x="446" y="2422"/>
                  </a:cubicBezTo>
                  <a:close/>
                  <a:moveTo>
                    <a:pt x="440" y="2431"/>
                  </a:moveTo>
                  <a:lnTo>
                    <a:pt x="440" y="2429"/>
                  </a:lnTo>
                  <a:cubicBezTo>
                    <a:pt x="441" y="2428"/>
                    <a:pt x="441" y="2428"/>
                    <a:pt x="440" y="2431"/>
                  </a:cubicBezTo>
                  <a:cubicBezTo>
                    <a:pt x="439" y="2432"/>
                    <a:pt x="439" y="2431"/>
                    <a:pt x="440" y="2429"/>
                  </a:cubicBezTo>
                  <a:lnTo>
                    <a:pt x="440" y="2431"/>
                  </a:lnTo>
                  <a:close/>
                  <a:moveTo>
                    <a:pt x="457" y="2354"/>
                  </a:moveTo>
                  <a:cubicBezTo>
                    <a:pt x="423" y="2343"/>
                    <a:pt x="448" y="2320"/>
                    <a:pt x="457" y="2354"/>
                  </a:cubicBezTo>
                  <a:close/>
                  <a:moveTo>
                    <a:pt x="417" y="2185"/>
                  </a:moveTo>
                  <a:cubicBezTo>
                    <a:pt x="406" y="2177"/>
                    <a:pt x="426" y="2157"/>
                    <a:pt x="432" y="2157"/>
                  </a:cubicBezTo>
                  <a:lnTo>
                    <a:pt x="423" y="2157"/>
                  </a:lnTo>
                  <a:cubicBezTo>
                    <a:pt x="426" y="2146"/>
                    <a:pt x="420" y="2146"/>
                    <a:pt x="423" y="2137"/>
                  </a:cubicBezTo>
                  <a:cubicBezTo>
                    <a:pt x="426" y="2137"/>
                    <a:pt x="432" y="2140"/>
                    <a:pt x="432" y="2146"/>
                  </a:cubicBezTo>
                  <a:cubicBezTo>
                    <a:pt x="448" y="2143"/>
                    <a:pt x="443" y="2160"/>
                    <a:pt x="457" y="2160"/>
                  </a:cubicBezTo>
                  <a:cubicBezTo>
                    <a:pt x="455" y="2168"/>
                    <a:pt x="443" y="2167"/>
                    <a:pt x="436" y="2162"/>
                  </a:cubicBezTo>
                  <a:cubicBezTo>
                    <a:pt x="438" y="2170"/>
                    <a:pt x="422" y="2181"/>
                    <a:pt x="417" y="2185"/>
                  </a:cubicBezTo>
                  <a:close/>
                  <a:moveTo>
                    <a:pt x="406" y="2346"/>
                  </a:moveTo>
                  <a:cubicBezTo>
                    <a:pt x="398" y="2343"/>
                    <a:pt x="403" y="2326"/>
                    <a:pt x="395" y="2326"/>
                  </a:cubicBezTo>
                  <a:cubicBezTo>
                    <a:pt x="392" y="2329"/>
                    <a:pt x="386" y="2326"/>
                    <a:pt x="389" y="2312"/>
                  </a:cubicBezTo>
                  <a:cubicBezTo>
                    <a:pt x="395" y="2312"/>
                    <a:pt x="400" y="2318"/>
                    <a:pt x="398" y="2320"/>
                  </a:cubicBezTo>
                  <a:cubicBezTo>
                    <a:pt x="403" y="2315"/>
                    <a:pt x="415" y="2332"/>
                    <a:pt x="423" y="2329"/>
                  </a:cubicBezTo>
                  <a:cubicBezTo>
                    <a:pt x="420" y="2337"/>
                    <a:pt x="415" y="2343"/>
                    <a:pt x="406" y="2346"/>
                  </a:cubicBezTo>
                  <a:close/>
                  <a:moveTo>
                    <a:pt x="415" y="2346"/>
                  </a:moveTo>
                  <a:lnTo>
                    <a:pt x="415" y="2345"/>
                  </a:lnTo>
                  <a:cubicBezTo>
                    <a:pt x="415" y="2346"/>
                    <a:pt x="416" y="2346"/>
                    <a:pt x="415" y="2346"/>
                  </a:cubicBezTo>
                  <a:cubicBezTo>
                    <a:pt x="411" y="2344"/>
                    <a:pt x="413" y="2345"/>
                    <a:pt x="415" y="2345"/>
                  </a:cubicBezTo>
                  <a:lnTo>
                    <a:pt x="415" y="2346"/>
                  </a:lnTo>
                  <a:close/>
                  <a:moveTo>
                    <a:pt x="398" y="2354"/>
                  </a:moveTo>
                  <a:cubicBezTo>
                    <a:pt x="407" y="2352"/>
                    <a:pt x="415" y="2355"/>
                    <a:pt x="423" y="2360"/>
                  </a:cubicBezTo>
                  <a:cubicBezTo>
                    <a:pt x="426" y="2357"/>
                    <a:pt x="434" y="2357"/>
                    <a:pt x="429" y="2346"/>
                  </a:cubicBezTo>
                  <a:cubicBezTo>
                    <a:pt x="446" y="2340"/>
                    <a:pt x="437" y="2363"/>
                    <a:pt x="426" y="2366"/>
                  </a:cubicBezTo>
                  <a:lnTo>
                    <a:pt x="429" y="2368"/>
                  </a:lnTo>
                  <a:cubicBezTo>
                    <a:pt x="417" y="2377"/>
                    <a:pt x="415" y="2368"/>
                    <a:pt x="403" y="2380"/>
                  </a:cubicBezTo>
                  <a:cubicBezTo>
                    <a:pt x="400" y="2374"/>
                    <a:pt x="392" y="2363"/>
                    <a:pt x="398" y="2354"/>
                  </a:cubicBezTo>
                  <a:close/>
                  <a:moveTo>
                    <a:pt x="384" y="2247"/>
                  </a:moveTo>
                  <a:lnTo>
                    <a:pt x="372" y="2247"/>
                  </a:lnTo>
                  <a:lnTo>
                    <a:pt x="372" y="2236"/>
                  </a:lnTo>
                  <a:cubicBezTo>
                    <a:pt x="375" y="2236"/>
                    <a:pt x="381" y="2233"/>
                    <a:pt x="384" y="2233"/>
                  </a:cubicBezTo>
                  <a:lnTo>
                    <a:pt x="384" y="2242"/>
                  </a:lnTo>
                  <a:cubicBezTo>
                    <a:pt x="384" y="2239"/>
                    <a:pt x="386" y="2233"/>
                    <a:pt x="392" y="2236"/>
                  </a:cubicBezTo>
                  <a:cubicBezTo>
                    <a:pt x="395" y="2242"/>
                    <a:pt x="392" y="2244"/>
                    <a:pt x="392" y="2250"/>
                  </a:cubicBezTo>
                  <a:cubicBezTo>
                    <a:pt x="389" y="2250"/>
                    <a:pt x="381" y="2250"/>
                    <a:pt x="384" y="2247"/>
                  </a:cubicBezTo>
                  <a:close/>
                  <a:moveTo>
                    <a:pt x="381" y="2278"/>
                  </a:moveTo>
                  <a:lnTo>
                    <a:pt x="379" y="2278"/>
                  </a:lnTo>
                  <a:cubicBezTo>
                    <a:pt x="380" y="2285"/>
                    <a:pt x="370" y="2293"/>
                    <a:pt x="372" y="2273"/>
                  </a:cubicBezTo>
                  <a:cubicBezTo>
                    <a:pt x="377" y="2273"/>
                    <a:pt x="379" y="2276"/>
                    <a:pt x="379" y="2278"/>
                  </a:cubicBezTo>
                  <a:cubicBezTo>
                    <a:pt x="380" y="2278"/>
                    <a:pt x="382" y="2278"/>
                    <a:pt x="381" y="2278"/>
                  </a:cubicBezTo>
                  <a:close/>
                  <a:moveTo>
                    <a:pt x="364" y="2098"/>
                  </a:moveTo>
                  <a:cubicBezTo>
                    <a:pt x="378" y="2098"/>
                    <a:pt x="386" y="2106"/>
                    <a:pt x="384" y="2120"/>
                  </a:cubicBezTo>
                  <a:cubicBezTo>
                    <a:pt x="372" y="2120"/>
                    <a:pt x="364" y="2115"/>
                    <a:pt x="364" y="2106"/>
                  </a:cubicBezTo>
                  <a:lnTo>
                    <a:pt x="361" y="2109"/>
                  </a:lnTo>
                  <a:cubicBezTo>
                    <a:pt x="361" y="2106"/>
                    <a:pt x="364" y="2103"/>
                    <a:pt x="364" y="2103"/>
                  </a:cubicBezTo>
                  <a:lnTo>
                    <a:pt x="364" y="2098"/>
                  </a:lnTo>
                  <a:close/>
                  <a:moveTo>
                    <a:pt x="378" y="2084"/>
                  </a:moveTo>
                  <a:lnTo>
                    <a:pt x="377" y="2084"/>
                  </a:lnTo>
                  <a:cubicBezTo>
                    <a:pt x="378" y="2083"/>
                    <a:pt x="378" y="2083"/>
                    <a:pt x="378" y="2084"/>
                  </a:cubicBezTo>
                  <a:cubicBezTo>
                    <a:pt x="376" y="2087"/>
                    <a:pt x="377" y="2085"/>
                    <a:pt x="377" y="2084"/>
                  </a:cubicBezTo>
                  <a:lnTo>
                    <a:pt x="378" y="2084"/>
                  </a:lnTo>
                  <a:close/>
                  <a:moveTo>
                    <a:pt x="437" y="2117"/>
                  </a:moveTo>
                  <a:cubicBezTo>
                    <a:pt x="440" y="2123"/>
                    <a:pt x="434" y="2126"/>
                    <a:pt x="437" y="2129"/>
                  </a:cubicBezTo>
                  <a:cubicBezTo>
                    <a:pt x="429" y="2134"/>
                    <a:pt x="429" y="2115"/>
                    <a:pt x="437" y="2117"/>
                  </a:cubicBezTo>
                  <a:close/>
                  <a:moveTo>
                    <a:pt x="443" y="2051"/>
                  </a:moveTo>
                  <a:cubicBezTo>
                    <a:pt x="444" y="2051"/>
                    <a:pt x="447" y="2053"/>
                    <a:pt x="443" y="2053"/>
                  </a:cubicBezTo>
                  <a:cubicBezTo>
                    <a:pt x="442" y="2052"/>
                    <a:pt x="442" y="2051"/>
                    <a:pt x="443" y="2051"/>
                  </a:cubicBezTo>
                  <a:close/>
                  <a:moveTo>
                    <a:pt x="485" y="536"/>
                  </a:moveTo>
                  <a:cubicBezTo>
                    <a:pt x="482" y="536"/>
                    <a:pt x="479" y="539"/>
                    <a:pt x="474" y="536"/>
                  </a:cubicBezTo>
                  <a:cubicBezTo>
                    <a:pt x="474" y="530"/>
                    <a:pt x="477" y="525"/>
                    <a:pt x="479" y="519"/>
                  </a:cubicBezTo>
                  <a:cubicBezTo>
                    <a:pt x="488" y="522"/>
                    <a:pt x="485" y="533"/>
                    <a:pt x="485" y="536"/>
                  </a:cubicBezTo>
                  <a:close/>
                  <a:moveTo>
                    <a:pt x="482" y="728"/>
                  </a:moveTo>
                  <a:cubicBezTo>
                    <a:pt x="488" y="742"/>
                    <a:pt x="460" y="733"/>
                    <a:pt x="482" y="728"/>
                  </a:cubicBezTo>
                  <a:close/>
                  <a:moveTo>
                    <a:pt x="454" y="2275"/>
                  </a:moveTo>
                  <a:cubicBezTo>
                    <a:pt x="451" y="2289"/>
                    <a:pt x="457" y="2289"/>
                    <a:pt x="451" y="2304"/>
                  </a:cubicBezTo>
                  <a:cubicBezTo>
                    <a:pt x="443" y="2298"/>
                    <a:pt x="448" y="2287"/>
                    <a:pt x="454" y="2275"/>
                  </a:cubicBezTo>
                  <a:lnTo>
                    <a:pt x="453" y="2274"/>
                  </a:lnTo>
                  <a:cubicBezTo>
                    <a:pt x="451" y="2279"/>
                    <a:pt x="448" y="2281"/>
                    <a:pt x="443" y="2284"/>
                  </a:cubicBezTo>
                  <a:cubicBezTo>
                    <a:pt x="437" y="2273"/>
                    <a:pt x="437" y="2262"/>
                    <a:pt x="440" y="2251"/>
                  </a:cubicBezTo>
                  <a:cubicBezTo>
                    <a:pt x="438" y="2255"/>
                    <a:pt x="424" y="2250"/>
                    <a:pt x="440" y="2244"/>
                  </a:cubicBezTo>
                  <a:lnTo>
                    <a:pt x="440" y="2250"/>
                  </a:lnTo>
                  <a:cubicBezTo>
                    <a:pt x="442" y="2244"/>
                    <a:pt x="444" y="2239"/>
                    <a:pt x="445" y="2234"/>
                  </a:cubicBezTo>
                  <a:cubicBezTo>
                    <a:pt x="441" y="2238"/>
                    <a:pt x="428" y="2232"/>
                    <a:pt x="446" y="2227"/>
                  </a:cubicBezTo>
                  <a:cubicBezTo>
                    <a:pt x="454" y="2239"/>
                    <a:pt x="454" y="2253"/>
                    <a:pt x="451" y="2267"/>
                  </a:cubicBezTo>
                  <a:cubicBezTo>
                    <a:pt x="454" y="2270"/>
                    <a:pt x="457" y="2273"/>
                    <a:pt x="454" y="2275"/>
                  </a:cubicBezTo>
                  <a:close/>
                  <a:moveTo>
                    <a:pt x="454" y="2273"/>
                  </a:moveTo>
                  <a:cubicBezTo>
                    <a:pt x="454" y="2273"/>
                    <a:pt x="456" y="2273"/>
                    <a:pt x="454" y="2273"/>
                  </a:cubicBezTo>
                  <a:close/>
                  <a:moveTo>
                    <a:pt x="451" y="2332"/>
                  </a:moveTo>
                  <a:cubicBezTo>
                    <a:pt x="448" y="2337"/>
                    <a:pt x="454" y="2329"/>
                    <a:pt x="451" y="2332"/>
                  </a:cubicBezTo>
                  <a:close/>
                  <a:moveTo>
                    <a:pt x="437" y="2185"/>
                  </a:moveTo>
                  <a:cubicBezTo>
                    <a:pt x="440" y="2182"/>
                    <a:pt x="443" y="2179"/>
                    <a:pt x="443" y="2174"/>
                  </a:cubicBezTo>
                  <a:cubicBezTo>
                    <a:pt x="446" y="2175"/>
                    <a:pt x="450" y="2177"/>
                    <a:pt x="454" y="2179"/>
                  </a:cubicBezTo>
                  <a:cubicBezTo>
                    <a:pt x="454" y="2178"/>
                    <a:pt x="456" y="2176"/>
                    <a:pt x="454" y="2179"/>
                  </a:cubicBezTo>
                  <a:lnTo>
                    <a:pt x="454" y="2180"/>
                  </a:lnTo>
                  <a:cubicBezTo>
                    <a:pt x="466" y="2187"/>
                    <a:pt x="478" y="2200"/>
                    <a:pt x="463" y="2213"/>
                  </a:cubicBezTo>
                  <a:cubicBezTo>
                    <a:pt x="463" y="2213"/>
                    <a:pt x="463" y="2212"/>
                    <a:pt x="463" y="2211"/>
                  </a:cubicBezTo>
                  <a:cubicBezTo>
                    <a:pt x="464" y="2210"/>
                    <a:pt x="465" y="2209"/>
                    <a:pt x="463" y="2205"/>
                  </a:cubicBezTo>
                  <a:cubicBezTo>
                    <a:pt x="460" y="2207"/>
                    <a:pt x="458" y="2209"/>
                    <a:pt x="455" y="2211"/>
                  </a:cubicBezTo>
                  <a:cubicBezTo>
                    <a:pt x="456" y="2211"/>
                    <a:pt x="457" y="2213"/>
                    <a:pt x="457" y="2214"/>
                  </a:cubicBezTo>
                  <a:cubicBezTo>
                    <a:pt x="458" y="2213"/>
                    <a:pt x="460" y="2212"/>
                    <a:pt x="461" y="2212"/>
                  </a:cubicBezTo>
                  <a:lnTo>
                    <a:pt x="458" y="2215"/>
                  </a:lnTo>
                  <a:cubicBezTo>
                    <a:pt x="458" y="2216"/>
                    <a:pt x="459" y="2216"/>
                    <a:pt x="460" y="2216"/>
                  </a:cubicBezTo>
                  <a:cubicBezTo>
                    <a:pt x="459" y="2216"/>
                    <a:pt x="458" y="2216"/>
                    <a:pt x="457" y="2216"/>
                  </a:cubicBezTo>
                  <a:lnTo>
                    <a:pt x="457" y="2216"/>
                  </a:lnTo>
                  <a:cubicBezTo>
                    <a:pt x="457" y="2216"/>
                    <a:pt x="457" y="2216"/>
                    <a:pt x="457" y="2215"/>
                  </a:cubicBezTo>
                  <a:cubicBezTo>
                    <a:pt x="456" y="2215"/>
                    <a:pt x="455" y="2214"/>
                    <a:pt x="454" y="2213"/>
                  </a:cubicBezTo>
                  <a:lnTo>
                    <a:pt x="452" y="2212"/>
                  </a:lnTo>
                  <a:cubicBezTo>
                    <a:pt x="446" y="2214"/>
                    <a:pt x="439" y="2214"/>
                    <a:pt x="432" y="2210"/>
                  </a:cubicBezTo>
                  <a:cubicBezTo>
                    <a:pt x="429" y="2199"/>
                    <a:pt x="432" y="2191"/>
                    <a:pt x="437" y="2185"/>
                  </a:cubicBezTo>
                  <a:close/>
                  <a:moveTo>
                    <a:pt x="465" y="2213"/>
                  </a:moveTo>
                  <a:cubicBezTo>
                    <a:pt x="464" y="2215"/>
                    <a:pt x="463" y="2215"/>
                    <a:pt x="463" y="2213"/>
                  </a:cubicBezTo>
                  <a:lnTo>
                    <a:pt x="465" y="2213"/>
                  </a:lnTo>
                  <a:close/>
                  <a:moveTo>
                    <a:pt x="463" y="2210"/>
                  </a:moveTo>
                  <a:lnTo>
                    <a:pt x="461" y="2212"/>
                  </a:lnTo>
                  <a:cubicBezTo>
                    <a:pt x="462" y="2212"/>
                    <a:pt x="462" y="2211"/>
                    <a:pt x="463" y="2211"/>
                  </a:cubicBezTo>
                  <a:cubicBezTo>
                    <a:pt x="463" y="2211"/>
                    <a:pt x="463" y="2211"/>
                    <a:pt x="463" y="2210"/>
                  </a:cubicBezTo>
                  <a:close/>
                  <a:moveTo>
                    <a:pt x="457" y="2216"/>
                  </a:moveTo>
                  <a:lnTo>
                    <a:pt x="457" y="2215"/>
                  </a:lnTo>
                  <a:cubicBezTo>
                    <a:pt x="457" y="2215"/>
                    <a:pt x="457" y="2215"/>
                    <a:pt x="457" y="2214"/>
                  </a:cubicBezTo>
                  <a:cubicBezTo>
                    <a:pt x="458" y="2215"/>
                    <a:pt x="458" y="2215"/>
                    <a:pt x="458" y="2215"/>
                  </a:cubicBezTo>
                  <a:cubicBezTo>
                    <a:pt x="458" y="2215"/>
                    <a:pt x="458" y="2215"/>
                    <a:pt x="457" y="2216"/>
                  </a:cubicBezTo>
                  <a:close/>
                  <a:moveTo>
                    <a:pt x="468" y="2120"/>
                  </a:moveTo>
                  <a:cubicBezTo>
                    <a:pt x="468" y="2115"/>
                    <a:pt x="471" y="2115"/>
                    <a:pt x="474" y="2112"/>
                  </a:cubicBezTo>
                  <a:cubicBezTo>
                    <a:pt x="477" y="2109"/>
                    <a:pt x="474" y="2109"/>
                    <a:pt x="477" y="2106"/>
                  </a:cubicBezTo>
                  <a:cubicBezTo>
                    <a:pt x="477" y="2109"/>
                    <a:pt x="479" y="2112"/>
                    <a:pt x="477" y="2115"/>
                  </a:cubicBezTo>
                  <a:cubicBezTo>
                    <a:pt x="474" y="2120"/>
                    <a:pt x="468" y="2120"/>
                    <a:pt x="471" y="2126"/>
                  </a:cubicBezTo>
                  <a:cubicBezTo>
                    <a:pt x="494" y="2137"/>
                    <a:pt x="448" y="2129"/>
                    <a:pt x="468" y="2120"/>
                  </a:cubicBezTo>
                  <a:close/>
                  <a:moveTo>
                    <a:pt x="465" y="2275"/>
                  </a:moveTo>
                  <a:cubicBezTo>
                    <a:pt x="465" y="2270"/>
                    <a:pt x="477" y="2281"/>
                    <a:pt x="465" y="2275"/>
                  </a:cubicBezTo>
                  <a:close/>
                  <a:moveTo>
                    <a:pt x="465" y="770"/>
                  </a:moveTo>
                  <a:cubicBezTo>
                    <a:pt x="465" y="762"/>
                    <a:pt x="477" y="773"/>
                    <a:pt x="465" y="770"/>
                  </a:cubicBezTo>
                  <a:close/>
                  <a:moveTo>
                    <a:pt x="468" y="1928"/>
                  </a:moveTo>
                  <a:cubicBezTo>
                    <a:pt x="468" y="1931"/>
                    <a:pt x="465" y="1934"/>
                    <a:pt x="463" y="1937"/>
                  </a:cubicBezTo>
                  <a:cubicBezTo>
                    <a:pt x="460" y="1940"/>
                    <a:pt x="460" y="1943"/>
                    <a:pt x="454" y="1943"/>
                  </a:cubicBezTo>
                  <a:cubicBezTo>
                    <a:pt x="454" y="1940"/>
                    <a:pt x="457" y="1934"/>
                    <a:pt x="460" y="1934"/>
                  </a:cubicBezTo>
                  <a:cubicBezTo>
                    <a:pt x="463" y="1931"/>
                    <a:pt x="463" y="1931"/>
                    <a:pt x="468" y="1928"/>
                  </a:cubicBezTo>
                  <a:close/>
                  <a:moveTo>
                    <a:pt x="463" y="2067"/>
                  </a:moveTo>
                  <a:cubicBezTo>
                    <a:pt x="460" y="2072"/>
                    <a:pt x="465" y="2064"/>
                    <a:pt x="463" y="2067"/>
                  </a:cubicBezTo>
                  <a:close/>
                  <a:moveTo>
                    <a:pt x="457" y="2225"/>
                  </a:moveTo>
                  <a:cubicBezTo>
                    <a:pt x="454" y="2225"/>
                    <a:pt x="448" y="2227"/>
                    <a:pt x="446" y="2227"/>
                  </a:cubicBezTo>
                  <a:cubicBezTo>
                    <a:pt x="440" y="2213"/>
                    <a:pt x="451" y="2210"/>
                    <a:pt x="457" y="2225"/>
                  </a:cubicBezTo>
                  <a:close/>
                  <a:moveTo>
                    <a:pt x="454" y="2242"/>
                  </a:moveTo>
                  <a:lnTo>
                    <a:pt x="454" y="2240"/>
                  </a:lnTo>
                  <a:cubicBezTo>
                    <a:pt x="455" y="2241"/>
                    <a:pt x="455" y="2242"/>
                    <a:pt x="454" y="2242"/>
                  </a:cubicBezTo>
                  <a:cubicBezTo>
                    <a:pt x="453" y="2240"/>
                    <a:pt x="453" y="2240"/>
                    <a:pt x="454" y="2240"/>
                  </a:cubicBezTo>
                  <a:lnTo>
                    <a:pt x="454" y="2242"/>
                  </a:lnTo>
                  <a:close/>
                  <a:moveTo>
                    <a:pt x="457" y="2264"/>
                  </a:moveTo>
                  <a:cubicBezTo>
                    <a:pt x="477" y="2267"/>
                    <a:pt x="448" y="2295"/>
                    <a:pt x="457" y="2264"/>
                  </a:cubicBezTo>
                  <a:close/>
                  <a:moveTo>
                    <a:pt x="460" y="2304"/>
                  </a:moveTo>
                  <a:cubicBezTo>
                    <a:pt x="465" y="2304"/>
                    <a:pt x="471" y="2304"/>
                    <a:pt x="477" y="2301"/>
                  </a:cubicBezTo>
                  <a:cubicBezTo>
                    <a:pt x="485" y="2315"/>
                    <a:pt x="454" y="2320"/>
                    <a:pt x="460" y="2304"/>
                  </a:cubicBezTo>
                  <a:close/>
                  <a:moveTo>
                    <a:pt x="474" y="2092"/>
                  </a:moveTo>
                  <a:cubicBezTo>
                    <a:pt x="474" y="2086"/>
                    <a:pt x="482" y="2098"/>
                    <a:pt x="474" y="2092"/>
                  </a:cubicBezTo>
                  <a:close/>
                  <a:moveTo>
                    <a:pt x="478" y="2078"/>
                  </a:moveTo>
                  <a:cubicBezTo>
                    <a:pt x="478" y="2079"/>
                    <a:pt x="477" y="2082"/>
                    <a:pt x="477" y="2078"/>
                  </a:cubicBezTo>
                  <a:cubicBezTo>
                    <a:pt x="478" y="2077"/>
                    <a:pt x="478" y="2077"/>
                    <a:pt x="478" y="2078"/>
                  </a:cubicBezTo>
                  <a:close/>
                  <a:moveTo>
                    <a:pt x="479" y="742"/>
                  </a:moveTo>
                  <a:cubicBezTo>
                    <a:pt x="482" y="747"/>
                    <a:pt x="471" y="747"/>
                    <a:pt x="468" y="747"/>
                  </a:cubicBezTo>
                  <a:cubicBezTo>
                    <a:pt x="471" y="745"/>
                    <a:pt x="474" y="742"/>
                    <a:pt x="479" y="742"/>
                  </a:cubicBezTo>
                  <a:close/>
                  <a:moveTo>
                    <a:pt x="463" y="536"/>
                  </a:moveTo>
                  <a:cubicBezTo>
                    <a:pt x="457" y="533"/>
                    <a:pt x="468" y="525"/>
                    <a:pt x="474" y="527"/>
                  </a:cubicBezTo>
                  <a:cubicBezTo>
                    <a:pt x="471" y="530"/>
                    <a:pt x="463" y="530"/>
                    <a:pt x="463" y="536"/>
                  </a:cubicBezTo>
                  <a:close/>
                  <a:moveTo>
                    <a:pt x="465" y="742"/>
                  </a:moveTo>
                  <a:cubicBezTo>
                    <a:pt x="468" y="742"/>
                    <a:pt x="460" y="739"/>
                    <a:pt x="465" y="742"/>
                  </a:cubicBezTo>
                  <a:close/>
                  <a:moveTo>
                    <a:pt x="465" y="1830"/>
                  </a:moveTo>
                  <a:cubicBezTo>
                    <a:pt x="465" y="1835"/>
                    <a:pt x="463" y="1841"/>
                    <a:pt x="463" y="1847"/>
                  </a:cubicBezTo>
                  <a:cubicBezTo>
                    <a:pt x="454" y="1847"/>
                    <a:pt x="454" y="1827"/>
                    <a:pt x="465" y="1830"/>
                  </a:cubicBezTo>
                  <a:close/>
                  <a:moveTo>
                    <a:pt x="460" y="790"/>
                  </a:moveTo>
                  <a:lnTo>
                    <a:pt x="451" y="787"/>
                  </a:lnTo>
                  <a:cubicBezTo>
                    <a:pt x="451" y="784"/>
                    <a:pt x="465" y="784"/>
                    <a:pt x="460" y="790"/>
                  </a:cubicBezTo>
                  <a:close/>
                  <a:moveTo>
                    <a:pt x="429" y="2081"/>
                  </a:moveTo>
                  <a:cubicBezTo>
                    <a:pt x="423" y="2084"/>
                    <a:pt x="420" y="2078"/>
                    <a:pt x="417" y="2081"/>
                  </a:cubicBezTo>
                  <a:cubicBezTo>
                    <a:pt x="412" y="2075"/>
                    <a:pt x="432" y="2072"/>
                    <a:pt x="429" y="2081"/>
                  </a:cubicBezTo>
                  <a:close/>
                  <a:moveTo>
                    <a:pt x="403" y="2182"/>
                  </a:moveTo>
                  <a:cubicBezTo>
                    <a:pt x="437" y="2182"/>
                    <a:pt x="415" y="2216"/>
                    <a:pt x="403" y="2182"/>
                  </a:cubicBezTo>
                  <a:close/>
                  <a:moveTo>
                    <a:pt x="412" y="2250"/>
                  </a:moveTo>
                  <a:cubicBezTo>
                    <a:pt x="415" y="2250"/>
                    <a:pt x="409" y="2256"/>
                    <a:pt x="412" y="2250"/>
                  </a:cubicBezTo>
                  <a:close/>
                  <a:moveTo>
                    <a:pt x="409" y="2222"/>
                  </a:moveTo>
                  <a:cubicBezTo>
                    <a:pt x="409" y="2219"/>
                    <a:pt x="406" y="2227"/>
                    <a:pt x="409" y="2222"/>
                  </a:cubicBezTo>
                  <a:close/>
                  <a:moveTo>
                    <a:pt x="412" y="1759"/>
                  </a:moveTo>
                  <a:cubicBezTo>
                    <a:pt x="406" y="1773"/>
                    <a:pt x="403" y="1748"/>
                    <a:pt x="412" y="1759"/>
                  </a:cubicBezTo>
                  <a:close/>
                  <a:moveTo>
                    <a:pt x="409" y="702"/>
                  </a:moveTo>
                  <a:cubicBezTo>
                    <a:pt x="409" y="702"/>
                    <a:pt x="410" y="702"/>
                    <a:pt x="409" y="702"/>
                  </a:cubicBezTo>
                  <a:close/>
                  <a:moveTo>
                    <a:pt x="417" y="2157"/>
                  </a:moveTo>
                  <a:cubicBezTo>
                    <a:pt x="412" y="2171"/>
                    <a:pt x="403" y="2148"/>
                    <a:pt x="417" y="2157"/>
                  </a:cubicBezTo>
                  <a:close/>
                  <a:moveTo>
                    <a:pt x="409" y="2126"/>
                  </a:moveTo>
                  <a:cubicBezTo>
                    <a:pt x="412" y="2126"/>
                    <a:pt x="409" y="2131"/>
                    <a:pt x="409" y="2126"/>
                  </a:cubicBezTo>
                  <a:close/>
                  <a:moveTo>
                    <a:pt x="415" y="1999"/>
                  </a:moveTo>
                  <a:cubicBezTo>
                    <a:pt x="417" y="1990"/>
                    <a:pt x="420" y="2007"/>
                    <a:pt x="415" y="1999"/>
                  </a:cubicBezTo>
                  <a:close/>
                  <a:moveTo>
                    <a:pt x="423" y="1993"/>
                  </a:moveTo>
                  <a:cubicBezTo>
                    <a:pt x="420" y="1993"/>
                    <a:pt x="417" y="1993"/>
                    <a:pt x="415" y="1988"/>
                  </a:cubicBezTo>
                  <a:lnTo>
                    <a:pt x="415" y="1985"/>
                  </a:lnTo>
                  <a:lnTo>
                    <a:pt x="420" y="1985"/>
                  </a:lnTo>
                  <a:cubicBezTo>
                    <a:pt x="423" y="1988"/>
                    <a:pt x="423" y="1990"/>
                    <a:pt x="423" y="1993"/>
                  </a:cubicBezTo>
                  <a:close/>
                  <a:moveTo>
                    <a:pt x="415" y="1974"/>
                  </a:moveTo>
                  <a:cubicBezTo>
                    <a:pt x="415" y="1968"/>
                    <a:pt x="423" y="1976"/>
                    <a:pt x="415" y="1974"/>
                  </a:cubicBezTo>
                  <a:close/>
                  <a:moveTo>
                    <a:pt x="417" y="812"/>
                  </a:moveTo>
                  <a:lnTo>
                    <a:pt x="420" y="815"/>
                  </a:lnTo>
                  <a:lnTo>
                    <a:pt x="417" y="815"/>
                  </a:lnTo>
                  <a:lnTo>
                    <a:pt x="417" y="812"/>
                  </a:lnTo>
                  <a:close/>
                  <a:moveTo>
                    <a:pt x="409" y="553"/>
                  </a:moveTo>
                  <a:cubicBezTo>
                    <a:pt x="409" y="548"/>
                    <a:pt x="414" y="547"/>
                    <a:pt x="414" y="545"/>
                  </a:cubicBezTo>
                  <a:cubicBezTo>
                    <a:pt x="413" y="546"/>
                    <a:pt x="409" y="546"/>
                    <a:pt x="403" y="544"/>
                  </a:cubicBezTo>
                  <a:cubicBezTo>
                    <a:pt x="405" y="539"/>
                    <a:pt x="407" y="536"/>
                    <a:pt x="409" y="536"/>
                  </a:cubicBezTo>
                  <a:lnTo>
                    <a:pt x="409" y="536"/>
                  </a:lnTo>
                  <a:cubicBezTo>
                    <a:pt x="406" y="527"/>
                    <a:pt x="417" y="530"/>
                    <a:pt x="417" y="527"/>
                  </a:cubicBezTo>
                  <a:cubicBezTo>
                    <a:pt x="425" y="530"/>
                    <a:pt x="419" y="537"/>
                    <a:pt x="412" y="536"/>
                  </a:cubicBezTo>
                  <a:cubicBezTo>
                    <a:pt x="415" y="538"/>
                    <a:pt x="417" y="543"/>
                    <a:pt x="415" y="545"/>
                  </a:cubicBezTo>
                  <a:cubicBezTo>
                    <a:pt x="417" y="550"/>
                    <a:pt x="418" y="550"/>
                    <a:pt x="423" y="556"/>
                  </a:cubicBezTo>
                  <a:cubicBezTo>
                    <a:pt x="417" y="556"/>
                    <a:pt x="417" y="550"/>
                    <a:pt x="409" y="553"/>
                  </a:cubicBezTo>
                  <a:close/>
                  <a:moveTo>
                    <a:pt x="415" y="652"/>
                  </a:moveTo>
                  <a:cubicBezTo>
                    <a:pt x="415" y="671"/>
                    <a:pt x="395" y="640"/>
                    <a:pt x="415" y="652"/>
                  </a:cubicBezTo>
                  <a:close/>
                  <a:moveTo>
                    <a:pt x="409" y="691"/>
                  </a:moveTo>
                  <a:lnTo>
                    <a:pt x="403" y="691"/>
                  </a:lnTo>
                  <a:cubicBezTo>
                    <a:pt x="403" y="688"/>
                    <a:pt x="403" y="688"/>
                    <a:pt x="400" y="688"/>
                  </a:cubicBezTo>
                  <a:cubicBezTo>
                    <a:pt x="400" y="685"/>
                    <a:pt x="412" y="685"/>
                    <a:pt x="409" y="691"/>
                  </a:cubicBezTo>
                  <a:close/>
                  <a:moveTo>
                    <a:pt x="398" y="1878"/>
                  </a:moveTo>
                  <a:cubicBezTo>
                    <a:pt x="400" y="1869"/>
                    <a:pt x="412" y="1880"/>
                    <a:pt x="398" y="1878"/>
                  </a:cubicBezTo>
                  <a:close/>
                  <a:moveTo>
                    <a:pt x="398" y="1985"/>
                  </a:moveTo>
                  <a:cubicBezTo>
                    <a:pt x="403" y="1982"/>
                    <a:pt x="392" y="1993"/>
                    <a:pt x="398" y="1985"/>
                  </a:cubicBezTo>
                  <a:close/>
                  <a:moveTo>
                    <a:pt x="403" y="2287"/>
                  </a:moveTo>
                  <a:cubicBezTo>
                    <a:pt x="403" y="2292"/>
                    <a:pt x="403" y="2295"/>
                    <a:pt x="400" y="2301"/>
                  </a:cubicBezTo>
                  <a:lnTo>
                    <a:pt x="406" y="2301"/>
                  </a:lnTo>
                  <a:cubicBezTo>
                    <a:pt x="406" y="2304"/>
                    <a:pt x="403" y="2304"/>
                    <a:pt x="403" y="2306"/>
                  </a:cubicBezTo>
                  <a:lnTo>
                    <a:pt x="400" y="2306"/>
                  </a:lnTo>
                  <a:cubicBezTo>
                    <a:pt x="392" y="2309"/>
                    <a:pt x="386" y="2304"/>
                    <a:pt x="386" y="2298"/>
                  </a:cubicBezTo>
                  <a:lnTo>
                    <a:pt x="386" y="2289"/>
                  </a:lnTo>
                  <a:lnTo>
                    <a:pt x="395" y="2289"/>
                  </a:lnTo>
                  <a:cubicBezTo>
                    <a:pt x="398" y="2289"/>
                    <a:pt x="400" y="2287"/>
                    <a:pt x="403" y="2287"/>
                  </a:cubicBezTo>
                  <a:close/>
                  <a:moveTo>
                    <a:pt x="369" y="2140"/>
                  </a:moveTo>
                  <a:cubicBezTo>
                    <a:pt x="375" y="2120"/>
                    <a:pt x="386" y="2146"/>
                    <a:pt x="398" y="2140"/>
                  </a:cubicBezTo>
                  <a:cubicBezTo>
                    <a:pt x="398" y="2157"/>
                    <a:pt x="372" y="2143"/>
                    <a:pt x="369" y="2140"/>
                  </a:cubicBezTo>
                  <a:close/>
                  <a:moveTo>
                    <a:pt x="381" y="2160"/>
                  </a:moveTo>
                  <a:cubicBezTo>
                    <a:pt x="381" y="2160"/>
                    <a:pt x="379" y="2163"/>
                    <a:pt x="381" y="2160"/>
                  </a:cubicBezTo>
                  <a:close/>
                  <a:moveTo>
                    <a:pt x="384" y="2021"/>
                  </a:moveTo>
                  <a:cubicBezTo>
                    <a:pt x="386" y="2016"/>
                    <a:pt x="395" y="2024"/>
                    <a:pt x="384" y="2021"/>
                  </a:cubicBezTo>
                  <a:close/>
                  <a:moveTo>
                    <a:pt x="386" y="1945"/>
                  </a:moveTo>
                  <a:cubicBezTo>
                    <a:pt x="386" y="1940"/>
                    <a:pt x="398" y="1948"/>
                    <a:pt x="386" y="1945"/>
                  </a:cubicBezTo>
                  <a:close/>
                  <a:moveTo>
                    <a:pt x="386" y="2134"/>
                  </a:moveTo>
                  <a:cubicBezTo>
                    <a:pt x="372" y="2129"/>
                    <a:pt x="403" y="2120"/>
                    <a:pt x="386" y="2134"/>
                  </a:cubicBezTo>
                  <a:close/>
                  <a:moveTo>
                    <a:pt x="398" y="2163"/>
                  </a:moveTo>
                  <a:cubicBezTo>
                    <a:pt x="395" y="2165"/>
                    <a:pt x="398" y="2157"/>
                    <a:pt x="398" y="2163"/>
                  </a:cubicBezTo>
                  <a:close/>
                  <a:moveTo>
                    <a:pt x="398" y="1889"/>
                  </a:moveTo>
                  <a:cubicBezTo>
                    <a:pt x="398" y="1895"/>
                    <a:pt x="392" y="1897"/>
                    <a:pt x="386" y="1897"/>
                  </a:cubicBezTo>
                  <a:cubicBezTo>
                    <a:pt x="386" y="1892"/>
                    <a:pt x="392" y="1889"/>
                    <a:pt x="398" y="1889"/>
                  </a:cubicBezTo>
                  <a:close/>
                  <a:moveTo>
                    <a:pt x="389" y="635"/>
                  </a:moveTo>
                  <a:lnTo>
                    <a:pt x="389" y="623"/>
                  </a:lnTo>
                  <a:cubicBezTo>
                    <a:pt x="392" y="623"/>
                    <a:pt x="395" y="626"/>
                    <a:pt x="398" y="626"/>
                  </a:cubicBezTo>
                  <a:cubicBezTo>
                    <a:pt x="395" y="629"/>
                    <a:pt x="395" y="635"/>
                    <a:pt x="389" y="635"/>
                  </a:cubicBezTo>
                  <a:close/>
                  <a:moveTo>
                    <a:pt x="398" y="1920"/>
                  </a:moveTo>
                  <a:cubicBezTo>
                    <a:pt x="392" y="1926"/>
                    <a:pt x="389" y="1934"/>
                    <a:pt x="389" y="1943"/>
                  </a:cubicBezTo>
                  <a:cubicBezTo>
                    <a:pt x="384" y="1943"/>
                    <a:pt x="381" y="1937"/>
                    <a:pt x="375" y="1937"/>
                  </a:cubicBezTo>
                  <a:lnTo>
                    <a:pt x="375" y="1920"/>
                  </a:lnTo>
                  <a:lnTo>
                    <a:pt x="398" y="1920"/>
                  </a:lnTo>
                  <a:close/>
                  <a:moveTo>
                    <a:pt x="361" y="2227"/>
                  </a:moveTo>
                  <a:cubicBezTo>
                    <a:pt x="375" y="2227"/>
                    <a:pt x="358" y="2250"/>
                    <a:pt x="361" y="2227"/>
                  </a:cubicBezTo>
                  <a:close/>
                  <a:moveTo>
                    <a:pt x="367" y="2292"/>
                  </a:moveTo>
                  <a:cubicBezTo>
                    <a:pt x="352" y="2295"/>
                    <a:pt x="367" y="2273"/>
                    <a:pt x="367" y="2292"/>
                  </a:cubicBezTo>
                  <a:close/>
                  <a:moveTo>
                    <a:pt x="369" y="2264"/>
                  </a:moveTo>
                  <a:cubicBezTo>
                    <a:pt x="372" y="2270"/>
                    <a:pt x="367" y="2273"/>
                    <a:pt x="369" y="2275"/>
                  </a:cubicBezTo>
                  <a:cubicBezTo>
                    <a:pt x="361" y="2281"/>
                    <a:pt x="361" y="2261"/>
                    <a:pt x="369" y="2264"/>
                  </a:cubicBezTo>
                  <a:close/>
                  <a:moveTo>
                    <a:pt x="367" y="2202"/>
                  </a:moveTo>
                  <a:lnTo>
                    <a:pt x="375" y="2202"/>
                  </a:lnTo>
                  <a:cubicBezTo>
                    <a:pt x="372" y="2196"/>
                    <a:pt x="381" y="2182"/>
                    <a:pt x="384" y="2179"/>
                  </a:cubicBezTo>
                  <a:cubicBezTo>
                    <a:pt x="398" y="2182"/>
                    <a:pt x="381" y="2188"/>
                    <a:pt x="384" y="2202"/>
                  </a:cubicBezTo>
                  <a:cubicBezTo>
                    <a:pt x="384" y="2199"/>
                    <a:pt x="386" y="2196"/>
                    <a:pt x="386" y="2194"/>
                  </a:cubicBezTo>
                  <a:cubicBezTo>
                    <a:pt x="400" y="2185"/>
                    <a:pt x="384" y="2216"/>
                    <a:pt x="389" y="2230"/>
                  </a:cubicBezTo>
                  <a:cubicBezTo>
                    <a:pt x="381" y="2227"/>
                    <a:pt x="375" y="2222"/>
                    <a:pt x="378" y="2216"/>
                  </a:cubicBezTo>
                  <a:cubicBezTo>
                    <a:pt x="372" y="2213"/>
                    <a:pt x="369" y="2205"/>
                    <a:pt x="367" y="2202"/>
                  </a:cubicBezTo>
                  <a:close/>
                  <a:moveTo>
                    <a:pt x="412" y="2289"/>
                  </a:moveTo>
                  <a:lnTo>
                    <a:pt x="412" y="2278"/>
                  </a:lnTo>
                  <a:lnTo>
                    <a:pt x="423" y="2278"/>
                  </a:lnTo>
                  <a:cubicBezTo>
                    <a:pt x="423" y="2281"/>
                    <a:pt x="426" y="2287"/>
                    <a:pt x="426" y="2289"/>
                  </a:cubicBezTo>
                  <a:cubicBezTo>
                    <a:pt x="423" y="2287"/>
                    <a:pt x="415" y="2289"/>
                    <a:pt x="412" y="2289"/>
                  </a:cubicBezTo>
                  <a:close/>
                  <a:moveTo>
                    <a:pt x="420" y="2295"/>
                  </a:moveTo>
                  <a:cubicBezTo>
                    <a:pt x="434" y="2292"/>
                    <a:pt x="417" y="2318"/>
                    <a:pt x="420" y="2295"/>
                  </a:cubicBezTo>
                  <a:close/>
                  <a:moveTo>
                    <a:pt x="429" y="2312"/>
                  </a:moveTo>
                  <a:lnTo>
                    <a:pt x="434" y="2312"/>
                  </a:lnTo>
                  <a:cubicBezTo>
                    <a:pt x="437" y="2306"/>
                    <a:pt x="443" y="2306"/>
                    <a:pt x="446" y="2306"/>
                  </a:cubicBezTo>
                  <a:cubicBezTo>
                    <a:pt x="448" y="2315"/>
                    <a:pt x="443" y="2318"/>
                    <a:pt x="437" y="2320"/>
                  </a:cubicBezTo>
                  <a:cubicBezTo>
                    <a:pt x="440" y="2326"/>
                    <a:pt x="423" y="2332"/>
                    <a:pt x="429" y="2312"/>
                  </a:cubicBezTo>
                  <a:close/>
                  <a:moveTo>
                    <a:pt x="474" y="2397"/>
                  </a:moveTo>
                  <a:cubicBezTo>
                    <a:pt x="494" y="2402"/>
                    <a:pt x="460" y="2416"/>
                    <a:pt x="474" y="2397"/>
                  </a:cubicBezTo>
                  <a:close/>
                  <a:moveTo>
                    <a:pt x="468" y="2419"/>
                  </a:moveTo>
                  <a:cubicBezTo>
                    <a:pt x="474" y="2419"/>
                    <a:pt x="474" y="2416"/>
                    <a:pt x="477" y="2414"/>
                  </a:cubicBezTo>
                  <a:cubicBezTo>
                    <a:pt x="488" y="2411"/>
                    <a:pt x="487" y="2432"/>
                    <a:pt x="478" y="2437"/>
                  </a:cubicBezTo>
                  <a:cubicBezTo>
                    <a:pt x="487" y="2437"/>
                    <a:pt x="494" y="2451"/>
                    <a:pt x="479" y="2473"/>
                  </a:cubicBezTo>
                  <a:cubicBezTo>
                    <a:pt x="474" y="2476"/>
                    <a:pt x="468" y="2470"/>
                    <a:pt x="463" y="2473"/>
                  </a:cubicBezTo>
                  <a:cubicBezTo>
                    <a:pt x="460" y="2451"/>
                    <a:pt x="467" y="2440"/>
                    <a:pt x="474" y="2437"/>
                  </a:cubicBezTo>
                  <a:cubicBezTo>
                    <a:pt x="473" y="2437"/>
                    <a:pt x="472" y="2437"/>
                    <a:pt x="471" y="2436"/>
                  </a:cubicBezTo>
                  <a:cubicBezTo>
                    <a:pt x="468" y="2428"/>
                    <a:pt x="468" y="2422"/>
                    <a:pt x="468" y="2419"/>
                  </a:cubicBezTo>
                  <a:close/>
                  <a:moveTo>
                    <a:pt x="479" y="1835"/>
                  </a:moveTo>
                  <a:lnTo>
                    <a:pt x="479" y="1827"/>
                  </a:lnTo>
                  <a:cubicBezTo>
                    <a:pt x="485" y="1824"/>
                    <a:pt x="485" y="1838"/>
                    <a:pt x="479" y="1835"/>
                  </a:cubicBezTo>
                  <a:close/>
                  <a:moveTo>
                    <a:pt x="474" y="485"/>
                  </a:moveTo>
                  <a:cubicBezTo>
                    <a:pt x="468" y="471"/>
                    <a:pt x="491" y="468"/>
                    <a:pt x="479" y="454"/>
                  </a:cubicBezTo>
                  <a:cubicBezTo>
                    <a:pt x="482" y="451"/>
                    <a:pt x="485" y="451"/>
                    <a:pt x="485" y="454"/>
                  </a:cubicBezTo>
                  <a:lnTo>
                    <a:pt x="485" y="457"/>
                  </a:lnTo>
                  <a:cubicBezTo>
                    <a:pt x="488" y="454"/>
                    <a:pt x="494" y="454"/>
                    <a:pt x="496" y="451"/>
                  </a:cubicBezTo>
                  <a:cubicBezTo>
                    <a:pt x="499" y="465"/>
                    <a:pt x="488" y="479"/>
                    <a:pt x="474" y="485"/>
                  </a:cubicBezTo>
                  <a:close/>
                  <a:moveTo>
                    <a:pt x="499" y="750"/>
                  </a:moveTo>
                  <a:cubicBezTo>
                    <a:pt x="499" y="751"/>
                    <a:pt x="498" y="752"/>
                    <a:pt x="498" y="752"/>
                  </a:cubicBezTo>
                  <a:cubicBezTo>
                    <a:pt x="498" y="753"/>
                    <a:pt x="499" y="752"/>
                    <a:pt x="499" y="750"/>
                  </a:cubicBezTo>
                  <a:close/>
                  <a:moveTo>
                    <a:pt x="505" y="773"/>
                  </a:moveTo>
                  <a:cubicBezTo>
                    <a:pt x="496" y="764"/>
                    <a:pt x="499" y="759"/>
                    <a:pt x="499" y="750"/>
                  </a:cubicBezTo>
                  <a:cubicBezTo>
                    <a:pt x="513" y="745"/>
                    <a:pt x="522" y="767"/>
                    <a:pt x="505" y="773"/>
                  </a:cubicBezTo>
                  <a:close/>
                  <a:moveTo>
                    <a:pt x="499" y="750"/>
                  </a:moveTo>
                  <a:cubicBezTo>
                    <a:pt x="498" y="751"/>
                    <a:pt x="498" y="752"/>
                    <a:pt x="498" y="752"/>
                  </a:cubicBezTo>
                  <a:cubicBezTo>
                    <a:pt x="495" y="756"/>
                    <a:pt x="492" y="755"/>
                    <a:pt x="499" y="750"/>
                  </a:cubicBezTo>
                  <a:close/>
                  <a:moveTo>
                    <a:pt x="513" y="1357"/>
                  </a:moveTo>
                  <a:cubicBezTo>
                    <a:pt x="513" y="1362"/>
                    <a:pt x="505" y="1362"/>
                    <a:pt x="499" y="1365"/>
                  </a:cubicBezTo>
                  <a:cubicBezTo>
                    <a:pt x="499" y="1360"/>
                    <a:pt x="511" y="1351"/>
                    <a:pt x="513" y="1357"/>
                  </a:cubicBezTo>
                  <a:close/>
                  <a:moveTo>
                    <a:pt x="511" y="1745"/>
                  </a:moveTo>
                  <a:cubicBezTo>
                    <a:pt x="519" y="1745"/>
                    <a:pt x="511" y="1756"/>
                    <a:pt x="502" y="1754"/>
                  </a:cubicBezTo>
                  <a:cubicBezTo>
                    <a:pt x="502" y="1748"/>
                    <a:pt x="513" y="1751"/>
                    <a:pt x="511" y="1745"/>
                  </a:cubicBezTo>
                  <a:close/>
                  <a:moveTo>
                    <a:pt x="513" y="2419"/>
                  </a:moveTo>
                  <a:cubicBezTo>
                    <a:pt x="511" y="2422"/>
                    <a:pt x="513" y="2416"/>
                    <a:pt x="513" y="2419"/>
                  </a:cubicBezTo>
                  <a:close/>
                  <a:moveTo>
                    <a:pt x="522" y="2385"/>
                  </a:moveTo>
                  <a:cubicBezTo>
                    <a:pt x="542" y="2397"/>
                    <a:pt x="530" y="2419"/>
                    <a:pt x="530" y="2442"/>
                  </a:cubicBezTo>
                  <a:lnTo>
                    <a:pt x="508" y="2442"/>
                  </a:lnTo>
                  <a:cubicBezTo>
                    <a:pt x="525" y="2416"/>
                    <a:pt x="513" y="2405"/>
                    <a:pt x="522" y="2385"/>
                  </a:cubicBezTo>
                  <a:close/>
                  <a:moveTo>
                    <a:pt x="525" y="516"/>
                  </a:moveTo>
                  <a:cubicBezTo>
                    <a:pt x="530" y="513"/>
                    <a:pt x="533" y="542"/>
                    <a:pt x="519" y="544"/>
                  </a:cubicBezTo>
                  <a:cubicBezTo>
                    <a:pt x="513" y="533"/>
                    <a:pt x="525" y="525"/>
                    <a:pt x="525" y="516"/>
                  </a:cubicBezTo>
                  <a:close/>
                  <a:moveTo>
                    <a:pt x="536" y="1731"/>
                  </a:moveTo>
                  <a:cubicBezTo>
                    <a:pt x="536" y="1745"/>
                    <a:pt x="508" y="1737"/>
                    <a:pt x="536" y="1731"/>
                  </a:cubicBezTo>
                  <a:close/>
                  <a:moveTo>
                    <a:pt x="522" y="2385"/>
                  </a:moveTo>
                  <a:cubicBezTo>
                    <a:pt x="522" y="2383"/>
                    <a:pt x="519" y="2391"/>
                    <a:pt x="522" y="2385"/>
                  </a:cubicBezTo>
                  <a:close/>
                  <a:moveTo>
                    <a:pt x="519" y="2377"/>
                  </a:moveTo>
                  <a:cubicBezTo>
                    <a:pt x="519" y="2368"/>
                    <a:pt x="522" y="2363"/>
                    <a:pt x="530" y="2360"/>
                  </a:cubicBezTo>
                  <a:cubicBezTo>
                    <a:pt x="533" y="2360"/>
                    <a:pt x="536" y="2360"/>
                    <a:pt x="539" y="2363"/>
                  </a:cubicBezTo>
                  <a:cubicBezTo>
                    <a:pt x="536" y="2371"/>
                    <a:pt x="527" y="2377"/>
                    <a:pt x="519" y="2377"/>
                  </a:cubicBezTo>
                  <a:close/>
                  <a:moveTo>
                    <a:pt x="544" y="1329"/>
                  </a:moveTo>
                  <a:cubicBezTo>
                    <a:pt x="539" y="1329"/>
                    <a:pt x="539" y="1326"/>
                    <a:pt x="533" y="1329"/>
                  </a:cubicBezTo>
                  <a:cubicBezTo>
                    <a:pt x="533" y="1326"/>
                    <a:pt x="547" y="1323"/>
                    <a:pt x="544" y="1329"/>
                  </a:cubicBezTo>
                  <a:close/>
                  <a:moveTo>
                    <a:pt x="542" y="1312"/>
                  </a:moveTo>
                  <a:cubicBezTo>
                    <a:pt x="542" y="1314"/>
                    <a:pt x="539" y="1317"/>
                    <a:pt x="536" y="1320"/>
                  </a:cubicBezTo>
                  <a:cubicBezTo>
                    <a:pt x="533" y="1320"/>
                    <a:pt x="539" y="1309"/>
                    <a:pt x="542" y="1312"/>
                  </a:cubicBezTo>
                  <a:close/>
                  <a:moveTo>
                    <a:pt x="544" y="2385"/>
                  </a:moveTo>
                  <a:cubicBezTo>
                    <a:pt x="564" y="2397"/>
                    <a:pt x="527" y="2397"/>
                    <a:pt x="544" y="2385"/>
                  </a:cubicBezTo>
                  <a:close/>
                  <a:moveTo>
                    <a:pt x="567" y="465"/>
                  </a:moveTo>
                  <a:cubicBezTo>
                    <a:pt x="550" y="463"/>
                    <a:pt x="564" y="448"/>
                    <a:pt x="567" y="465"/>
                  </a:cubicBezTo>
                  <a:close/>
                  <a:moveTo>
                    <a:pt x="558" y="1131"/>
                  </a:moveTo>
                  <a:cubicBezTo>
                    <a:pt x="558" y="1125"/>
                    <a:pt x="567" y="1134"/>
                    <a:pt x="558" y="1131"/>
                  </a:cubicBezTo>
                  <a:close/>
                  <a:moveTo>
                    <a:pt x="564" y="1142"/>
                  </a:moveTo>
                  <a:lnTo>
                    <a:pt x="567" y="1140"/>
                  </a:lnTo>
                  <a:cubicBezTo>
                    <a:pt x="570" y="1134"/>
                    <a:pt x="570" y="1148"/>
                    <a:pt x="567" y="1148"/>
                  </a:cubicBezTo>
                  <a:lnTo>
                    <a:pt x="564" y="1145"/>
                  </a:lnTo>
                  <a:cubicBezTo>
                    <a:pt x="567" y="1156"/>
                    <a:pt x="550" y="1148"/>
                    <a:pt x="564" y="1142"/>
                  </a:cubicBezTo>
                  <a:close/>
                  <a:moveTo>
                    <a:pt x="561" y="2380"/>
                  </a:moveTo>
                  <a:cubicBezTo>
                    <a:pt x="575" y="2377"/>
                    <a:pt x="558" y="2402"/>
                    <a:pt x="561" y="2380"/>
                  </a:cubicBezTo>
                  <a:close/>
                  <a:moveTo>
                    <a:pt x="587" y="2411"/>
                  </a:moveTo>
                  <a:cubicBezTo>
                    <a:pt x="584" y="2422"/>
                    <a:pt x="561" y="2408"/>
                    <a:pt x="561" y="2394"/>
                  </a:cubicBezTo>
                  <a:cubicBezTo>
                    <a:pt x="575" y="2394"/>
                    <a:pt x="578" y="2408"/>
                    <a:pt x="587" y="2411"/>
                  </a:cubicBezTo>
                  <a:close/>
                  <a:moveTo>
                    <a:pt x="573" y="1621"/>
                  </a:moveTo>
                  <a:cubicBezTo>
                    <a:pt x="575" y="1621"/>
                    <a:pt x="567" y="1618"/>
                    <a:pt x="573" y="1621"/>
                  </a:cubicBezTo>
                  <a:close/>
                  <a:moveTo>
                    <a:pt x="595" y="1708"/>
                  </a:moveTo>
                  <a:cubicBezTo>
                    <a:pt x="601" y="1722"/>
                    <a:pt x="573" y="1714"/>
                    <a:pt x="595" y="1708"/>
                  </a:cubicBezTo>
                  <a:close/>
                  <a:moveTo>
                    <a:pt x="595" y="2385"/>
                  </a:moveTo>
                  <a:cubicBezTo>
                    <a:pt x="595" y="2384"/>
                    <a:pt x="593" y="2379"/>
                    <a:pt x="590" y="2376"/>
                  </a:cubicBezTo>
                  <a:cubicBezTo>
                    <a:pt x="592" y="2380"/>
                    <a:pt x="593" y="2383"/>
                    <a:pt x="595" y="2385"/>
                  </a:cubicBezTo>
                  <a:close/>
                  <a:moveTo>
                    <a:pt x="587" y="2371"/>
                  </a:moveTo>
                  <a:lnTo>
                    <a:pt x="587" y="2368"/>
                  </a:lnTo>
                  <a:lnTo>
                    <a:pt x="590" y="2368"/>
                  </a:lnTo>
                  <a:lnTo>
                    <a:pt x="590" y="2374"/>
                  </a:lnTo>
                  <a:cubicBezTo>
                    <a:pt x="590" y="2375"/>
                    <a:pt x="590" y="2375"/>
                    <a:pt x="590" y="2376"/>
                  </a:cubicBezTo>
                  <a:cubicBezTo>
                    <a:pt x="589" y="2374"/>
                    <a:pt x="588" y="2372"/>
                    <a:pt x="587" y="2371"/>
                  </a:cubicBezTo>
                  <a:close/>
                  <a:moveTo>
                    <a:pt x="584" y="587"/>
                  </a:moveTo>
                  <a:cubicBezTo>
                    <a:pt x="581" y="587"/>
                    <a:pt x="581" y="581"/>
                    <a:pt x="581" y="578"/>
                  </a:cubicBezTo>
                  <a:cubicBezTo>
                    <a:pt x="587" y="575"/>
                    <a:pt x="587" y="584"/>
                    <a:pt x="584" y="587"/>
                  </a:cubicBezTo>
                  <a:close/>
                  <a:moveTo>
                    <a:pt x="578" y="1567"/>
                  </a:moveTo>
                  <a:lnTo>
                    <a:pt x="578" y="1559"/>
                  </a:lnTo>
                  <a:cubicBezTo>
                    <a:pt x="581" y="1565"/>
                    <a:pt x="584" y="1579"/>
                    <a:pt x="578" y="1567"/>
                  </a:cubicBezTo>
                  <a:close/>
                  <a:moveTo>
                    <a:pt x="581" y="1711"/>
                  </a:moveTo>
                  <a:cubicBezTo>
                    <a:pt x="584" y="1711"/>
                    <a:pt x="575" y="1708"/>
                    <a:pt x="581" y="1711"/>
                  </a:cubicBezTo>
                  <a:close/>
                  <a:moveTo>
                    <a:pt x="595" y="2467"/>
                  </a:moveTo>
                  <a:cubicBezTo>
                    <a:pt x="587" y="2470"/>
                    <a:pt x="578" y="2464"/>
                    <a:pt x="578" y="2459"/>
                  </a:cubicBezTo>
                  <a:lnTo>
                    <a:pt x="578" y="2453"/>
                  </a:lnTo>
                  <a:cubicBezTo>
                    <a:pt x="587" y="2450"/>
                    <a:pt x="595" y="2456"/>
                    <a:pt x="595" y="2462"/>
                  </a:cubicBezTo>
                  <a:lnTo>
                    <a:pt x="595" y="2467"/>
                  </a:lnTo>
                  <a:close/>
                  <a:moveTo>
                    <a:pt x="590" y="2408"/>
                  </a:moveTo>
                  <a:lnTo>
                    <a:pt x="590" y="2385"/>
                  </a:lnTo>
                  <a:lnTo>
                    <a:pt x="595" y="2385"/>
                  </a:lnTo>
                  <a:lnTo>
                    <a:pt x="604" y="2385"/>
                  </a:lnTo>
                  <a:cubicBezTo>
                    <a:pt x="606" y="2399"/>
                    <a:pt x="601" y="2408"/>
                    <a:pt x="590" y="2408"/>
                  </a:cubicBezTo>
                  <a:close/>
                  <a:moveTo>
                    <a:pt x="606" y="1632"/>
                  </a:moveTo>
                  <a:cubicBezTo>
                    <a:pt x="598" y="1652"/>
                    <a:pt x="609" y="1612"/>
                    <a:pt x="606" y="1632"/>
                  </a:cubicBezTo>
                  <a:close/>
                  <a:moveTo>
                    <a:pt x="604" y="2363"/>
                  </a:moveTo>
                  <a:cubicBezTo>
                    <a:pt x="604" y="2366"/>
                    <a:pt x="598" y="2363"/>
                    <a:pt x="604" y="2363"/>
                  </a:cubicBezTo>
                  <a:close/>
                  <a:moveTo>
                    <a:pt x="606" y="1598"/>
                  </a:moveTo>
                  <a:cubicBezTo>
                    <a:pt x="595" y="1618"/>
                    <a:pt x="606" y="1579"/>
                    <a:pt x="606" y="1598"/>
                  </a:cubicBezTo>
                  <a:close/>
                  <a:moveTo>
                    <a:pt x="598" y="1754"/>
                  </a:moveTo>
                  <a:cubicBezTo>
                    <a:pt x="595" y="1751"/>
                    <a:pt x="604" y="1754"/>
                    <a:pt x="598" y="1754"/>
                  </a:cubicBezTo>
                  <a:close/>
                  <a:moveTo>
                    <a:pt x="609" y="2419"/>
                  </a:moveTo>
                  <a:cubicBezTo>
                    <a:pt x="609" y="2422"/>
                    <a:pt x="612" y="2422"/>
                    <a:pt x="612" y="2425"/>
                  </a:cubicBezTo>
                  <a:cubicBezTo>
                    <a:pt x="615" y="2425"/>
                    <a:pt x="615" y="2422"/>
                    <a:pt x="615" y="2419"/>
                  </a:cubicBezTo>
                  <a:cubicBezTo>
                    <a:pt x="623" y="2419"/>
                    <a:pt x="615" y="2442"/>
                    <a:pt x="606" y="2433"/>
                  </a:cubicBezTo>
                  <a:cubicBezTo>
                    <a:pt x="606" y="2431"/>
                    <a:pt x="609" y="2428"/>
                    <a:pt x="609" y="2428"/>
                  </a:cubicBezTo>
                  <a:cubicBezTo>
                    <a:pt x="609" y="2425"/>
                    <a:pt x="595" y="2408"/>
                    <a:pt x="609" y="2419"/>
                  </a:cubicBezTo>
                  <a:close/>
                  <a:moveTo>
                    <a:pt x="615" y="2388"/>
                  </a:moveTo>
                  <a:cubicBezTo>
                    <a:pt x="629" y="2402"/>
                    <a:pt x="595" y="2377"/>
                    <a:pt x="615" y="2388"/>
                  </a:cubicBezTo>
                  <a:close/>
                  <a:moveTo>
                    <a:pt x="606" y="578"/>
                  </a:moveTo>
                  <a:cubicBezTo>
                    <a:pt x="606" y="573"/>
                    <a:pt x="618" y="581"/>
                    <a:pt x="606" y="578"/>
                  </a:cubicBezTo>
                  <a:close/>
                  <a:moveTo>
                    <a:pt x="629" y="1643"/>
                  </a:moveTo>
                  <a:cubicBezTo>
                    <a:pt x="626" y="1649"/>
                    <a:pt x="618" y="1641"/>
                    <a:pt x="612" y="1643"/>
                  </a:cubicBezTo>
                  <a:cubicBezTo>
                    <a:pt x="609" y="1638"/>
                    <a:pt x="621" y="1641"/>
                    <a:pt x="623" y="1638"/>
                  </a:cubicBezTo>
                  <a:lnTo>
                    <a:pt x="623" y="1641"/>
                  </a:lnTo>
                  <a:cubicBezTo>
                    <a:pt x="626" y="1641"/>
                    <a:pt x="629" y="1643"/>
                    <a:pt x="629" y="1643"/>
                  </a:cubicBezTo>
                  <a:close/>
                  <a:moveTo>
                    <a:pt x="623" y="1687"/>
                  </a:moveTo>
                  <a:cubicBezTo>
                    <a:pt x="622" y="1687"/>
                    <a:pt x="620" y="1686"/>
                    <a:pt x="623" y="1686"/>
                  </a:cubicBezTo>
                  <a:cubicBezTo>
                    <a:pt x="624" y="1687"/>
                    <a:pt x="624" y="1687"/>
                    <a:pt x="623" y="1687"/>
                  </a:cubicBezTo>
                  <a:close/>
                  <a:moveTo>
                    <a:pt x="623" y="1737"/>
                  </a:moveTo>
                  <a:cubicBezTo>
                    <a:pt x="621" y="1739"/>
                    <a:pt x="618" y="1742"/>
                    <a:pt x="615" y="1742"/>
                  </a:cubicBezTo>
                  <a:cubicBezTo>
                    <a:pt x="615" y="1737"/>
                    <a:pt x="621" y="1734"/>
                    <a:pt x="623" y="1737"/>
                  </a:cubicBezTo>
                  <a:close/>
                  <a:moveTo>
                    <a:pt x="626" y="2399"/>
                  </a:moveTo>
                  <a:lnTo>
                    <a:pt x="625" y="2398"/>
                  </a:lnTo>
                  <a:cubicBezTo>
                    <a:pt x="625" y="2397"/>
                    <a:pt x="626" y="2397"/>
                    <a:pt x="626" y="2399"/>
                  </a:cubicBezTo>
                  <a:cubicBezTo>
                    <a:pt x="625" y="2401"/>
                    <a:pt x="625" y="2399"/>
                    <a:pt x="625" y="2398"/>
                  </a:cubicBezTo>
                  <a:lnTo>
                    <a:pt x="626" y="2399"/>
                  </a:lnTo>
                  <a:close/>
                  <a:moveTo>
                    <a:pt x="609" y="2411"/>
                  </a:moveTo>
                  <a:lnTo>
                    <a:pt x="612" y="2414"/>
                  </a:lnTo>
                  <a:lnTo>
                    <a:pt x="609" y="2414"/>
                  </a:lnTo>
                  <a:cubicBezTo>
                    <a:pt x="612" y="2414"/>
                    <a:pt x="609" y="2411"/>
                    <a:pt x="609" y="2411"/>
                  </a:cubicBezTo>
                  <a:close/>
                  <a:moveTo>
                    <a:pt x="635" y="2518"/>
                  </a:moveTo>
                  <a:cubicBezTo>
                    <a:pt x="637" y="2515"/>
                    <a:pt x="632" y="2524"/>
                    <a:pt x="635" y="2518"/>
                  </a:cubicBezTo>
                  <a:close/>
                  <a:moveTo>
                    <a:pt x="629" y="2368"/>
                  </a:moveTo>
                  <a:cubicBezTo>
                    <a:pt x="643" y="2368"/>
                    <a:pt x="626" y="2391"/>
                    <a:pt x="629" y="2368"/>
                  </a:cubicBezTo>
                  <a:close/>
                  <a:moveTo>
                    <a:pt x="629" y="1587"/>
                  </a:moveTo>
                  <a:cubicBezTo>
                    <a:pt x="629" y="1581"/>
                    <a:pt x="635" y="1581"/>
                    <a:pt x="635" y="1579"/>
                  </a:cubicBezTo>
                  <a:cubicBezTo>
                    <a:pt x="637" y="1581"/>
                    <a:pt x="632" y="1590"/>
                    <a:pt x="629" y="1587"/>
                  </a:cubicBezTo>
                  <a:close/>
                  <a:moveTo>
                    <a:pt x="629" y="392"/>
                  </a:moveTo>
                  <a:cubicBezTo>
                    <a:pt x="632" y="386"/>
                    <a:pt x="640" y="395"/>
                    <a:pt x="629" y="392"/>
                  </a:cubicBezTo>
                  <a:close/>
                  <a:moveTo>
                    <a:pt x="635" y="401"/>
                  </a:moveTo>
                  <a:cubicBezTo>
                    <a:pt x="635" y="406"/>
                    <a:pt x="626" y="406"/>
                    <a:pt x="621" y="406"/>
                  </a:cubicBezTo>
                  <a:cubicBezTo>
                    <a:pt x="621" y="401"/>
                    <a:pt x="629" y="398"/>
                    <a:pt x="635" y="401"/>
                  </a:cubicBezTo>
                  <a:close/>
                  <a:moveTo>
                    <a:pt x="618" y="322"/>
                  </a:moveTo>
                  <a:cubicBezTo>
                    <a:pt x="621" y="313"/>
                    <a:pt x="621" y="330"/>
                    <a:pt x="618" y="322"/>
                  </a:cubicBezTo>
                  <a:close/>
                  <a:moveTo>
                    <a:pt x="618" y="288"/>
                  </a:moveTo>
                  <a:cubicBezTo>
                    <a:pt x="621" y="290"/>
                    <a:pt x="612" y="288"/>
                    <a:pt x="618" y="288"/>
                  </a:cubicBezTo>
                  <a:close/>
                  <a:moveTo>
                    <a:pt x="609" y="502"/>
                  </a:moveTo>
                  <a:cubicBezTo>
                    <a:pt x="609" y="496"/>
                    <a:pt x="618" y="505"/>
                    <a:pt x="609" y="502"/>
                  </a:cubicBezTo>
                  <a:close/>
                  <a:moveTo>
                    <a:pt x="615" y="542"/>
                  </a:moveTo>
                  <a:cubicBezTo>
                    <a:pt x="612" y="542"/>
                    <a:pt x="606" y="542"/>
                    <a:pt x="604" y="539"/>
                  </a:cubicBezTo>
                  <a:cubicBezTo>
                    <a:pt x="601" y="536"/>
                    <a:pt x="618" y="536"/>
                    <a:pt x="615" y="542"/>
                  </a:cubicBezTo>
                  <a:close/>
                  <a:moveTo>
                    <a:pt x="609" y="313"/>
                  </a:moveTo>
                  <a:cubicBezTo>
                    <a:pt x="609" y="316"/>
                    <a:pt x="601" y="316"/>
                    <a:pt x="598" y="316"/>
                  </a:cubicBezTo>
                  <a:cubicBezTo>
                    <a:pt x="598" y="313"/>
                    <a:pt x="606" y="313"/>
                    <a:pt x="609" y="313"/>
                  </a:cubicBezTo>
                  <a:close/>
                  <a:moveTo>
                    <a:pt x="592" y="293"/>
                  </a:moveTo>
                  <a:cubicBezTo>
                    <a:pt x="600" y="288"/>
                    <a:pt x="608" y="310"/>
                    <a:pt x="597" y="313"/>
                  </a:cubicBezTo>
                  <a:cubicBezTo>
                    <a:pt x="596" y="313"/>
                    <a:pt x="594" y="313"/>
                    <a:pt x="592" y="313"/>
                  </a:cubicBezTo>
                  <a:lnTo>
                    <a:pt x="592" y="312"/>
                  </a:lnTo>
                  <a:cubicBezTo>
                    <a:pt x="594" y="312"/>
                    <a:pt x="596" y="311"/>
                    <a:pt x="598" y="310"/>
                  </a:cubicBezTo>
                  <a:cubicBezTo>
                    <a:pt x="598" y="311"/>
                    <a:pt x="598" y="312"/>
                    <a:pt x="597" y="313"/>
                  </a:cubicBezTo>
                  <a:cubicBezTo>
                    <a:pt x="594" y="316"/>
                    <a:pt x="586" y="316"/>
                    <a:pt x="581" y="319"/>
                  </a:cubicBezTo>
                  <a:cubicBezTo>
                    <a:pt x="581" y="315"/>
                    <a:pt x="587" y="314"/>
                    <a:pt x="592" y="312"/>
                  </a:cubicBezTo>
                  <a:cubicBezTo>
                    <a:pt x="590" y="304"/>
                    <a:pt x="592" y="299"/>
                    <a:pt x="592" y="293"/>
                  </a:cubicBezTo>
                  <a:close/>
                  <a:moveTo>
                    <a:pt x="587" y="375"/>
                  </a:moveTo>
                  <a:cubicBezTo>
                    <a:pt x="584" y="378"/>
                    <a:pt x="581" y="381"/>
                    <a:pt x="578" y="381"/>
                  </a:cubicBezTo>
                  <a:cubicBezTo>
                    <a:pt x="578" y="375"/>
                    <a:pt x="584" y="375"/>
                    <a:pt x="587" y="375"/>
                  </a:cubicBezTo>
                  <a:close/>
                  <a:moveTo>
                    <a:pt x="575" y="584"/>
                  </a:moveTo>
                  <a:cubicBezTo>
                    <a:pt x="575" y="578"/>
                    <a:pt x="584" y="587"/>
                    <a:pt x="575" y="584"/>
                  </a:cubicBezTo>
                  <a:close/>
                  <a:moveTo>
                    <a:pt x="575" y="1573"/>
                  </a:moveTo>
                  <a:cubicBezTo>
                    <a:pt x="581" y="1587"/>
                    <a:pt x="553" y="1579"/>
                    <a:pt x="575" y="1573"/>
                  </a:cubicBezTo>
                  <a:close/>
                  <a:moveTo>
                    <a:pt x="567" y="544"/>
                  </a:moveTo>
                  <a:cubicBezTo>
                    <a:pt x="567" y="539"/>
                    <a:pt x="575" y="547"/>
                    <a:pt x="567" y="544"/>
                  </a:cubicBezTo>
                  <a:close/>
                  <a:moveTo>
                    <a:pt x="570" y="319"/>
                  </a:moveTo>
                  <a:cubicBezTo>
                    <a:pt x="570" y="322"/>
                    <a:pt x="573" y="327"/>
                    <a:pt x="573" y="330"/>
                  </a:cubicBezTo>
                  <a:cubicBezTo>
                    <a:pt x="570" y="330"/>
                    <a:pt x="564" y="333"/>
                    <a:pt x="561" y="333"/>
                  </a:cubicBezTo>
                  <a:cubicBezTo>
                    <a:pt x="561" y="330"/>
                    <a:pt x="558" y="324"/>
                    <a:pt x="556" y="322"/>
                  </a:cubicBezTo>
                  <a:cubicBezTo>
                    <a:pt x="558" y="322"/>
                    <a:pt x="564" y="319"/>
                    <a:pt x="570" y="319"/>
                  </a:cubicBezTo>
                  <a:close/>
                  <a:moveTo>
                    <a:pt x="567" y="406"/>
                  </a:moveTo>
                  <a:cubicBezTo>
                    <a:pt x="567" y="412"/>
                    <a:pt x="561" y="417"/>
                    <a:pt x="556" y="415"/>
                  </a:cubicBezTo>
                  <a:cubicBezTo>
                    <a:pt x="553" y="412"/>
                    <a:pt x="558" y="406"/>
                    <a:pt x="567" y="406"/>
                  </a:cubicBezTo>
                  <a:close/>
                  <a:moveTo>
                    <a:pt x="561" y="477"/>
                  </a:moveTo>
                  <a:cubicBezTo>
                    <a:pt x="558" y="477"/>
                    <a:pt x="556" y="477"/>
                    <a:pt x="553" y="471"/>
                  </a:cubicBezTo>
                  <a:lnTo>
                    <a:pt x="553" y="468"/>
                  </a:lnTo>
                  <a:cubicBezTo>
                    <a:pt x="556" y="468"/>
                    <a:pt x="558" y="474"/>
                    <a:pt x="561" y="477"/>
                  </a:cubicBezTo>
                  <a:close/>
                  <a:moveTo>
                    <a:pt x="556" y="499"/>
                  </a:moveTo>
                  <a:cubicBezTo>
                    <a:pt x="564" y="499"/>
                    <a:pt x="556" y="511"/>
                    <a:pt x="550" y="505"/>
                  </a:cubicBezTo>
                  <a:cubicBezTo>
                    <a:pt x="553" y="502"/>
                    <a:pt x="556" y="502"/>
                    <a:pt x="556" y="499"/>
                  </a:cubicBezTo>
                  <a:close/>
                  <a:moveTo>
                    <a:pt x="547" y="499"/>
                  </a:moveTo>
                  <a:cubicBezTo>
                    <a:pt x="547" y="494"/>
                    <a:pt x="556" y="502"/>
                    <a:pt x="547" y="499"/>
                  </a:cubicBezTo>
                  <a:close/>
                  <a:moveTo>
                    <a:pt x="547" y="508"/>
                  </a:moveTo>
                  <a:cubicBezTo>
                    <a:pt x="547" y="502"/>
                    <a:pt x="556" y="511"/>
                    <a:pt x="547" y="508"/>
                  </a:cubicBezTo>
                  <a:close/>
                  <a:moveTo>
                    <a:pt x="558" y="601"/>
                  </a:moveTo>
                  <a:cubicBezTo>
                    <a:pt x="556" y="606"/>
                    <a:pt x="550" y="601"/>
                    <a:pt x="544" y="601"/>
                  </a:cubicBezTo>
                  <a:cubicBezTo>
                    <a:pt x="547" y="598"/>
                    <a:pt x="556" y="601"/>
                    <a:pt x="558" y="601"/>
                  </a:cubicBezTo>
                  <a:close/>
                  <a:moveTo>
                    <a:pt x="536" y="587"/>
                  </a:moveTo>
                  <a:cubicBezTo>
                    <a:pt x="539" y="581"/>
                    <a:pt x="547" y="592"/>
                    <a:pt x="536" y="587"/>
                  </a:cubicBezTo>
                  <a:close/>
                  <a:moveTo>
                    <a:pt x="536" y="575"/>
                  </a:moveTo>
                  <a:cubicBezTo>
                    <a:pt x="536" y="570"/>
                    <a:pt x="544" y="578"/>
                    <a:pt x="536" y="575"/>
                  </a:cubicBezTo>
                  <a:close/>
                  <a:moveTo>
                    <a:pt x="533" y="338"/>
                  </a:moveTo>
                  <a:cubicBezTo>
                    <a:pt x="536" y="338"/>
                    <a:pt x="539" y="341"/>
                    <a:pt x="542" y="341"/>
                  </a:cubicBezTo>
                  <a:cubicBezTo>
                    <a:pt x="542" y="344"/>
                    <a:pt x="530" y="341"/>
                    <a:pt x="533" y="338"/>
                  </a:cubicBezTo>
                  <a:close/>
                  <a:moveTo>
                    <a:pt x="536" y="471"/>
                  </a:moveTo>
                  <a:cubicBezTo>
                    <a:pt x="539" y="488"/>
                    <a:pt x="516" y="477"/>
                    <a:pt x="511" y="479"/>
                  </a:cubicBezTo>
                  <a:cubicBezTo>
                    <a:pt x="508" y="463"/>
                    <a:pt x="530" y="474"/>
                    <a:pt x="536" y="471"/>
                  </a:cubicBezTo>
                  <a:close/>
                  <a:moveTo>
                    <a:pt x="525" y="437"/>
                  </a:moveTo>
                  <a:cubicBezTo>
                    <a:pt x="522" y="440"/>
                    <a:pt x="516" y="443"/>
                    <a:pt x="511" y="443"/>
                  </a:cubicBezTo>
                  <a:cubicBezTo>
                    <a:pt x="511" y="437"/>
                    <a:pt x="519" y="437"/>
                    <a:pt x="525" y="437"/>
                  </a:cubicBezTo>
                  <a:close/>
                  <a:moveTo>
                    <a:pt x="485" y="384"/>
                  </a:moveTo>
                  <a:cubicBezTo>
                    <a:pt x="491" y="401"/>
                    <a:pt x="499" y="415"/>
                    <a:pt x="513" y="426"/>
                  </a:cubicBezTo>
                  <a:cubicBezTo>
                    <a:pt x="496" y="426"/>
                    <a:pt x="485" y="412"/>
                    <a:pt x="477" y="398"/>
                  </a:cubicBezTo>
                  <a:cubicBezTo>
                    <a:pt x="479" y="395"/>
                    <a:pt x="485" y="392"/>
                    <a:pt x="485" y="384"/>
                  </a:cubicBezTo>
                  <a:close/>
                  <a:moveTo>
                    <a:pt x="479" y="384"/>
                  </a:moveTo>
                  <a:cubicBezTo>
                    <a:pt x="485" y="392"/>
                    <a:pt x="477" y="398"/>
                    <a:pt x="471" y="401"/>
                  </a:cubicBezTo>
                  <a:cubicBezTo>
                    <a:pt x="468" y="395"/>
                    <a:pt x="471" y="386"/>
                    <a:pt x="479" y="384"/>
                  </a:cubicBezTo>
                  <a:close/>
                  <a:moveTo>
                    <a:pt x="471" y="448"/>
                  </a:moveTo>
                  <a:cubicBezTo>
                    <a:pt x="474" y="448"/>
                    <a:pt x="474" y="454"/>
                    <a:pt x="474" y="457"/>
                  </a:cubicBezTo>
                  <a:lnTo>
                    <a:pt x="468" y="457"/>
                  </a:lnTo>
                  <a:cubicBezTo>
                    <a:pt x="468" y="451"/>
                    <a:pt x="471" y="451"/>
                    <a:pt x="471" y="448"/>
                  </a:cubicBezTo>
                  <a:close/>
                  <a:moveTo>
                    <a:pt x="479" y="499"/>
                  </a:moveTo>
                  <a:cubicBezTo>
                    <a:pt x="482" y="505"/>
                    <a:pt x="477" y="505"/>
                    <a:pt x="474" y="505"/>
                  </a:cubicBezTo>
                  <a:cubicBezTo>
                    <a:pt x="471" y="513"/>
                    <a:pt x="471" y="522"/>
                    <a:pt x="457" y="519"/>
                  </a:cubicBezTo>
                  <a:cubicBezTo>
                    <a:pt x="454" y="508"/>
                    <a:pt x="471" y="496"/>
                    <a:pt x="479" y="499"/>
                  </a:cubicBezTo>
                  <a:close/>
                  <a:moveTo>
                    <a:pt x="457" y="440"/>
                  </a:moveTo>
                  <a:cubicBezTo>
                    <a:pt x="460" y="440"/>
                    <a:pt x="454" y="437"/>
                    <a:pt x="457" y="440"/>
                  </a:cubicBezTo>
                  <a:close/>
                  <a:moveTo>
                    <a:pt x="448" y="513"/>
                  </a:moveTo>
                  <a:cubicBezTo>
                    <a:pt x="451" y="508"/>
                    <a:pt x="460" y="519"/>
                    <a:pt x="448" y="513"/>
                  </a:cubicBezTo>
                  <a:close/>
                  <a:moveTo>
                    <a:pt x="451" y="573"/>
                  </a:moveTo>
                  <a:cubicBezTo>
                    <a:pt x="448" y="570"/>
                    <a:pt x="457" y="573"/>
                    <a:pt x="451" y="573"/>
                  </a:cubicBezTo>
                  <a:close/>
                  <a:moveTo>
                    <a:pt x="457" y="680"/>
                  </a:moveTo>
                  <a:cubicBezTo>
                    <a:pt x="460" y="700"/>
                    <a:pt x="437" y="668"/>
                    <a:pt x="457" y="680"/>
                  </a:cubicBezTo>
                  <a:close/>
                  <a:moveTo>
                    <a:pt x="454" y="747"/>
                  </a:moveTo>
                  <a:cubicBezTo>
                    <a:pt x="460" y="762"/>
                    <a:pt x="432" y="753"/>
                    <a:pt x="454" y="747"/>
                  </a:cubicBezTo>
                  <a:close/>
                  <a:moveTo>
                    <a:pt x="451" y="767"/>
                  </a:moveTo>
                  <a:lnTo>
                    <a:pt x="451" y="773"/>
                  </a:lnTo>
                  <a:lnTo>
                    <a:pt x="446" y="773"/>
                  </a:lnTo>
                  <a:lnTo>
                    <a:pt x="446" y="767"/>
                  </a:lnTo>
                  <a:lnTo>
                    <a:pt x="451" y="767"/>
                  </a:lnTo>
                  <a:close/>
                  <a:moveTo>
                    <a:pt x="443" y="1974"/>
                  </a:moveTo>
                  <a:cubicBezTo>
                    <a:pt x="460" y="1974"/>
                    <a:pt x="443" y="1993"/>
                    <a:pt x="440" y="1982"/>
                  </a:cubicBezTo>
                  <a:cubicBezTo>
                    <a:pt x="434" y="1979"/>
                    <a:pt x="432" y="1974"/>
                    <a:pt x="429" y="1968"/>
                  </a:cubicBezTo>
                  <a:cubicBezTo>
                    <a:pt x="437" y="1971"/>
                    <a:pt x="440" y="1971"/>
                    <a:pt x="443" y="1974"/>
                  </a:cubicBezTo>
                  <a:close/>
                  <a:moveTo>
                    <a:pt x="437" y="1799"/>
                  </a:moveTo>
                  <a:cubicBezTo>
                    <a:pt x="437" y="1810"/>
                    <a:pt x="420" y="1799"/>
                    <a:pt x="437" y="1799"/>
                  </a:cubicBezTo>
                  <a:close/>
                  <a:moveTo>
                    <a:pt x="434" y="781"/>
                  </a:moveTo>
                  <a:cubicBezTo>
                    <a:pt x="434" y="784"/>
                    <a:pt x="429" y="787"/>
                    <a:pt x="426" y="787"/>
                  </a:cubicBezTo>
                  <a:cubicBezTo>
                    <a:pt x="429" y="784"/>
                    <a:pt x="432" y="781"/>
                    <a:pt x="434" y="781"/>
                  </a:cubicBezTo>
                  <a:close/>
                  <a:moveTo>
                    <a:pt x="429" y="1864"/>
                  </a:moveTo>
                  <a:cubicBezTo>
                    <a:pt x="429" y="1866"/>
                    <a:pt x="423" y="1869"/>
                    <a:pt x="420" y="1869"/>
                  </a:cubicBezTo>
                  <a:cubicBezTo>
                    <a:pt x="423" y="1866"/>
                    <a:pt x="426" y="1864"/>
                    <a:pt x="429" y="1864"/>
                  </a:cubicBezTo>
                  <a:close/>
                  <a:moveTo>
                    <a:pt x="417" y="508"/>
                  </a:moveTo>
                  <a:cubicBezTo>
                    <a:pt x="417" y="502"/>
                    <a:pt x="429" y="511"/>
                    <a:pt x="417" y="508"/>
                  </a:cubicBezTo>
                  <a:close/>
                  <a:moveTo>
                    <a:pt x="415" y="474"/>
                  </a:moveTo>
                  <a:cubicBezTo>
                    <a:pt x="417" y="474"/>
                    <a:pt x="409" y="471"/>
                    <a:pt x="415" y="474"/>
                  </a:cubicBezTo>
                  <a:close/>
                  <a:moveTo>
                    <a:pt x="417" y="454"/>
                  </a:moveTo>
                  <a:cubicBezTo>
                    <a:pt x="420" y="460"/>
                    <a:pt x="403" y="465"/>
                    <a:pt x="403" y="457"/>
                  </a:cubicBezTo>
                  <a:cubicBezTo>
                    <a:pt x="409" y="457"/>
                    <a:pt x="412" y="454"/>
                    <a:pt x="417" y="454"/>
                  </a:cubicBezTo>
                  <a:close/>
                  <a:moveTo>
                    <a:pt x="406" y="668"/>
                  </a:moveTo>
                  <a:cubicBezTo>
                    <a:pt x="412" y="683"/>
                    <a:pt x="384" y="674"/>
                    <a:pt x="406" y="668"/>
                  </a:cubicBezTo>
                  <a:close/>
                  <a:moveTo>
                    <a:pt x="403" y="621"/>
                  </a:moveTo>
                  <a:cubicBezTo>
                    <a:pt x="395" y="640"/>
                    <a:pt x="406" y="601"/>
                    <a:pt x="403" y="621"/>
                  </a:cubicBezTo>
                  <a:close/>
                  <a:moveTo>
                    <a:pt x="403" y="502"/>
                  </a:moveTo>
                  <a:cubicBezTo>
                    <a:pt x="409" y="516"/>
                    <a:pt x="381" y="508"/>
                    <a:pt x="403" y="502"/>
                  </a:cubicBezTo>
                  <a:close/>
                  <a:moveTo>
                    <a:pt x="398" y="522"/>
                  </a:moveTo>
                  <a:cubicBezTo>
                    <a:pt x="406" y="527"/>
                    <a:pt x="392" y="533"/>
                    <a:pt x="386" y="530"/>
                  </a:cubicBezTo>
                  <a:cubicBezTo>
                    <a:pt x="384" y="525"/>
                    <a:pt x="395" y="527"/>
                    <a:pt x="398" y="522"/>
                  </a:cubicBezTo>
                  <a:close/>
                  <a:moveTo>
                    <a:pt x="392" y="1832"/>
                  </a:moveTo>
                  <a:cubicBezTo>
                    <a:pt x="406" y="1855"/>
                    <a:pt x="369" y="1818"/>
                    <a:pt x="392" y="1832"/>
                  </a:cubicBezTo>
                  <a:close/>
                  <a:moveTo>
                    <a:pt x="384" y="1869"/>
                  </a:moveTo>
                  <a:cubicBezTo>
                    <a:pt x="386" y="1869"/>
                    <a:pt x="378" y="1866"/>
                    <a:pt x="384" y="1869"/>
                  </a:cubicBezTo>
                  <a:close/>
                  <a:moveTo>
                    <a:pt x="381" y="632"/>
                  </a:moveTo>
                  <a:cubicBezTo>
                    <a:pt x="378" y="637"/>
                    <a:pt x="367" y="626"/>
                    <a:pt x="381" y="632"/>
                  </a:cubicBezTo>
                  <a:close/>
                  <a:moveTo>
                    <a:pt x="372" y="2067"/>
                  </a:moveTo>
                  <a:cubicBezTo>
                    <a:pt x="369" y="2089"/>
                    <a:pt x="355" y="2055"/>
                    <a:pt x="372" y="2067"/>
                  </a:cubicBezTo>
                  <a:close/>
                  <a:moveTo>
                    <a:pt x="364" y="2027"/>
                  </a:moveTo>
                  <a:cubicBezTo>
                    <a:pt x="361" y="2024"/>
                    <a:pt x="367" y="2027"/>
                    <a:pt x="364" y="2027"/>
                  </a:cubicBezTo>
                  <a:close/>
                  <a:moveTo>
                    <a:pt x="369" y="2005"/>
                  </a:moveTo>
                  <a:cubicBezTo>
                    <a:pt x="361" y="2002"/>
                    <a:pt x="347" y="2002"/>
                    <a:pt x="350" y="1985"/>
                  </a:cubicBezTo>
                  <a:cubicBezTo>
                    <a:pt x="358" y="1990"/>
                    <a:pt x="369" y="1993"/>
                    <a:pt x="369" y="2005"/>
                  </a:cubicBezTo>
                  <a:close/>
                  <a:moveTo>
                    <a:pt x="347" y="1801"/>
                  </a:moveTo>
                  <a:cubicBezTo>
                    <a:pt x="347" y="1813"/>
                    <a:pt x="330" y="1807"/>
                    <a:pt x="324" y="1807"/>
                  </a:cubicBezTo>
                  <a:cubicBezTo>
                    <a:pt x="327" y="1793"/>
                    <a:pt x="338" y="1807"/>
                    <a:pt x="347" y="1801"/>
                  </a:cubicBezTo>
                  <a:close/>
                  <a:moveTo>
                    <a:pt x="333" y="1773"/>
                  </a:moveTo>
                  <a:cubicBezTo>
                    <a:pt x="333" y="1768"/>
                    <a:pt x="341" y="1776"/>
                    <a:pt x="333" y="1773"/>
                  </a:cubicBezTo>
                  <a:close/>
                  <a:moveTo>
                    <a:pt x="344" y="1957"/>
                  </a:moveTo>
                  <a:cubicBezTo>
                    <a:pt x="347" y="1951"/>
                    <a:pt x="355" y="1948"/>
                    <a:pt x="361" y="1948"/>
                  </a:cubicBezTo>
                  <a:cubicBezTo>
                    <a:pt x="364" y="1957"/>
                    <a:pt x="352" y="1957"/>
                    <a:pt x="344" y="1957"/>
                  </a:cubicBezTo>
                  <a:close/>
                  <a:moveTo>
                    <a:pt x="350" y="2010"/>
                  </a:moveTo>
                  <a:cubicBezTo>
                    <a:pt x="350" y="2030"/>
                    <a:pt x="327" y="1999"/>
                    <a:pt x="350" y="2010"/>
                  </a:cubicBezTo>
                  <a:close/>
                  <a:moveTo>
                    <a:pt x="352" y="1790"/>
                  </a:moveTo>
                  <a:cubicBezTo>
                    <a:pt x="369" y="1790"/>
                    <a:pt x="352" y="1813"/>
                    <a:pt x="352" y="1790"/>
                  </a:cubicBezTo>
                  <a:close/>
                  <a:moveTo>
                    <a:pt x="364" y="1810"/>
                  </a:moveTo>
                  <a:cubicBezTo>
                    <a:pt x="364" y="1832"/>
                    <a:pt x="350" y="1796"/>
                    <a:pt x="364" y="1810"/>
                  </a:cubicBezTo>
                  <a:close/>
                  <a:moveTo>
                    <a:pt x="361" y="570"/>
                  </a:moveTo>
                  <a:cubicBezTo>
                    <a:pt x="367" y="584"/>
                    <a:pt x="338" y="575"/>
                    <a:pt x="361" y="570"/>
                  </a:cubicBezTo>
                  <a:close/>
                  <a:moveTo>
                    <a:pt x="350" y="556"/>
                  </a:moveTo>
                  <a:cubicBezTo>
                    <a:pt x="352" y="553"/>
                    <a:pt x="355" y="544"/>
                    <a:pt x="358" y="547"/>
                  </a:cubicBezTo>
                  <a:cubicBezTo>
                    <a:pt x="358" y="547"/>
                    <a:pt x="358" y="556"/>
                    <a:pt x="350" y="556"/>
                  </a:cubicBezTo>
                  <a:close/>
                  <a:moveTo>
                    <a:pt x="364" y="683"/>
                  </a:moveTo>
                  <a:cubicBezTo>
                    <a:pt x="358" y="683"/>
                    <a:pt x="358" y="677"/>
                    <a:pt x="355" y="677"/>
                  </a:cubicBezTo>
                  <a:cubicBezTo>
                    <a:pt x="355" y="674"/>
                    <a:pt x="367" y="677"/>
                    <a:pt x="364" y="683"/>
                  </a:cubicBezTo>
                  <a:close/>
                  <a:moveTo>
                    <a:pt x="364" y="711"/>
                  </a:moveTo>
                  <a:cubicBezTo>
                    <a:pt x="364" y="719"/>
                    <a:pt x="350" y="719"/>
                    <a:pt x="344" y="722"/>
                  </a:cubicBezTo>
                  <a:cubicBezTo>
                    <a:pt x="344" y="719"/>
                    <a:pt x="344" y="719"/>
                    <a:pt x="341" y="716"/>
                  </a:cubicBezTo>
                  <a:cubicBezTo>
                    <a:pt x="352" y="705"/>
                    <a:pt x="350" y="711"/>
                    <a:pt x="364" y="711"/>
                  </a:cubicBezTo>
                  <a:close/>
                  <a:moveTo>
                    <a:pt x="352" y="793"/>
                  </a:moveTo>
                  <a:cubicBezTo>
                    <a:pt x="344" y="810"/>
                    <a:pt x="355" y="770"/>
                    <a:pt x="352" y="793"/>
                  </a:cubicBezTo>
                  <a:close/>
                  <a:moveTo>
                    <a:pt x="347" y="733"/>
                  </a:moveTo>
                  <a:cubicBezTo>
                    <a:pt x="344" y="731"/>
                    <a:pt x="352" y="733"/>
                    <a:pt x="347" y="733"/>
                  </a:cubicBezTo>
                  <a:close/>
                  <a:moveTo>
                    <a:pt x="347" y="1785"/>
                  </a:moveTo>
                  <a:cubicBezTo>
                    <a:pt x="344" y="1785"/>
                    <a:pt x="341" y="1782"/>
                    <a:pt x="338" y="1782"/>
                  </a:cubicBezTo>
                  <a:cubicBezTo>
                    <a:pt x="344" y="1782"/>
                    <a:pt x="361" y="1785"/>
                    <a:pt x="347" y="1785"/>
                  </a:cubicBezTo>
                  <a:close/>
                  <a:moveTo>
                    <a:pt x="341" y="1832"/>
                  </a:moveTo>
                  <a:cubicBezTo>
                    <a:pt x="341" y="1838"/>
                    <a:pt x="338" y="1844"/>
                    <a:pt x="333" y="1841"/>
                  </a:cubicBezTo>
                  <a:cubicBezTo>
                    <a:pt x="333" y="1838"/>
                    <a:pt x="333" y="1835"/>
                    <a:pt x="330" y="1835"/>
                  </a:cubicBezTo>
                  <a:cubicBezTo>
                    <a:pt x="333" y="1832"/>
                    <a:pt x="338" y="1832"/>
                    <a:pt x="341" y="1832"/>
                  </a:cubicBezTo>
                  <a:close/>
                  <a:moveTo>
                    <a:pt x="355" y="2081"/>
                  </a:moveTo>
                  <a:cubicBezTo>
                    <a:pt x="361" y="2098"/>
                    <a:pt x="344" y="2100"/>
                    <a:pt x="341" y="2112"/>
                  </a:cubicBezTo>
                  <a:cubicBezTo>
                    <a:pt x="330" y="2109"/>
                    <a:pt x="336" y="2100"/>
                    <a:pt x="330" y="2092"/>
                  </a:cubicBezTo>
                  <a:cubicBezTo>
                    <a:pt x="336" y="2081"/>
                    <a:pt x="344" y="2078"/>
                    <a:pt x="355" y="2081"/>
                  </a:cubicBezTo>
                  <a:close/>
                  <a:moveTo>
                    <a:pt x="330" y="2112"/>
                  </a:moveTo>
                  <a:cubicBezTo>
                    <a:pt x="344" y="2112"/>
                    <a:pt x="327" y="2134"/>
                    <a:pt x="330" y="2112"/>
                  </a:cubicBezTo>
                  <a:close/>
                  <a:moveTo>
                    <a:pt x="336" y="2264"/>
                  </a:moveTo>
                  <a:cubicBezTo>
                    <a:pt x="338" y="2261"/>
                    <a:pt x="333" y="2270"/>
                    <a:pt x="336" y="2264"/>
                  </a:cubicBezTo>
                  <a:close/>
                  <a:moveTo>
                    <a:pt x="338" y="2273"/>
                  </a:moveTo>
                  <a:cubicBezTo>
                    <a:pt x="336" y="2270"/>
                    <a:pt x="341" y="2273"/>
                    <a:pt x="338" y="2273"/>
                  </a:cubicBezTo>
                  <a:close/>
                  <a:moveTo>
                    <a:pt x="330" y="2304"/>
                  </a:moveTo>
                  <a:cubicBezTo>
                    <a:pt x="330" y="2298"/>
                    <a:pt x="336" y="2292"/>
                    <a:pt x="344" y="2292"/>
                  </a:cubicBezTo>
                  <a:cubicBezTo>
                    <a:pt x="341" y="2298"/>
                    <a:pt x="338" y="2304"/>
                    <a:pt x="330" y="2304"/>
                  </a:cubicBezTo>
                  <a:close/>
                  <a:moveTo>
                    <a:pt x="341" y="2315"/>
                  </a:moveTo>
                  <a:cubicBezTo>
                    <a:pt x="347" y="2329"/>
                    <a:pt x="319" y="2320"/>
                    <a:pt x="341" y="2315"/>
                  </a:cubicBezTo>
                  <a:close/>
                  <a:moveTo>
                    <a:pt x="341" y="2278"/>
                  </a:moveTo>
                  <a:lnTo>
                    <a:pt x="341" y="2264"/>
                  </a:lnTo>
                  <a:cubicBezTo>
                    <a:pt x="344" y="2267"/>
                    <a:pt x="344" y="2273"/>
                    <a:pt x="344" y="2275"/>
                  </a:cubicBezTo>
                  <a:lnTo>
                    <a:pt x="341" y="2278"/>
                  </a:lnTo>
                  <a:lnTo>
                    <a:pt x="344" y="2278"/>
                  </a:lnTo>
                  <a:cubicBezTo>
                    <a:pt x="344" y="2280"/>
                    <a:pt x="344" y="2280"/>
                    <a:pt x="345" y="2281"/>
                  </a:cubicBezTo>
                  <a:cubicBezTo>
                    <a:pt x="343" y="2280"/>
                    <a:pt x="341" y="2280"/>
                    <a:pt x="341" y="2278"/>
                  </a:cubicBezTo>
                  <a:close/>
                  <a:moveTo>
                    <a:pt x="347" y="2284"/>
                  </a:moveTo>
                  <a:cubicBezTo>
                    <a:pt x="347" y="2283"/>
                    <a:pt x="346" y="2282"/>
                    <a:pt x="345" y="2281"/>
                  </a:cubicBezTo>
                  <a:cubicBezTo>
                    <a:pt x="345" y="2282"/>
                    <a:pt x="346" y="2283"/>
                    <a:pt x="347" y="2284"/>
                  </a:cubicBezTo>
                  <a:close/>
                  <a:moveTo>
                    <a:pt x="336" y="2256"/>
                  </a:moveTo>
                  <a:lnTo>
                    <a:pt x="336" y="2239"/>
                  </a:lnTo>
                  <a:lnTo>
                    <a:pt x="336" y="2236"/>
                  </a:lnTo>
                  <a:cubicBezTo>
                    <a:pt x="336" y="2236"/>
                    <a:pt x="333" y="2233"/>
                    <a:pt x="333" y="2230"/>
                  </a:cubicBezTo>
                  <a:lnTo>
                    <a:pt x="336" y="2230"/>
                  </a:lnTo>
                  <a:cubicBezTo>
                    <a:pt x="336" y="2227"/>
                    <a:pt x="338" y="2225"/>
                    <a:pt x="338" y="2222"/>
                  </a:cubicBezTo>
                  <a:cubicBezTo>
                    <a:pt x="344" y="2222"/>
                    <a:pt x="347" y="2225"/>
                    <a:pt x="347" y="2227"/>
                  </a:cubicBezTo>
                  <a:lnTo>
                    <a:pt x="350" y="2227"/>
                  </a:lnTo>
                  <a:cubicBezTo>
                    <a:pt x="355" y="2247"/>
                    <a:pt x="347" y="2256"/>
                    <a:pt x="336" y="2256"/>
                  </a:cubicBezTo>
                  <a:close/>
                  <a:moveTo>
                    <a:pt x="341" y="2179"/>
                  </a:moveTo>
                  <a:cubicBezTo>
                    <a:pt x="344" y="2177"/>
                    <a:pt x="352" y="2177"/>
                    <a:pt x="355" y="2182"/>
                  </a:cubicBezTo>
                  <a:cubicBezTo>
                    <a:pt x="358" y="2185"/>
                    <a:pt x="358" y="2188"/>
                    <a:pt x="358" y="2188"/>
                  </a:cubicBezTo>
                  <a:cubicBezTo>
                    <a:pt x="350" y="2191"/>
                    <a:pt x="344" y="2188"/>
                    <a:pt x="341" y="2179"/>
                  </a:cubicBezTo>
                  <a:close/>
                  <a:moveTo>
                    <a:pt x="352" y="2126"/>
                  </a:moveTo>
                  <a:cubicBezTo>
                    <a:pt x="367" y="2129"/>
                    <a:pt x="350" y="2154"/>
                    <a:pt x="352" y="2126"/>
                  </a:cubicBezTo>
                  <a:close/>
                  <a:moveTo>
                    <a:pt x="367" y="527"/>
                  </a:moveTo>
                  <a:cubicBezTo>
                    <a:pt x="367" y="547"/>
                    <a:pt x="344" y="516"/>
                    <a:pt x="367" y="527"/>
                  </a:cubicBezTo>
                  <a:close/>
                  <a:moveTo>
                    <a:pt x="355" y="522"/>
                  </a:moveTo>
                  <a:cubicBezTo>
                    <a:pt x="352" y="525"/>
                    <a:pt x="350" y="527"/>
                    <a:pt x="347" y="527"/>
                  </a:cubicBezTo>
                  <a:cubicBezTo>
                    <a:pt x="347" y="525"/>
                    <a:pt x="352" y="522"/>
                    <a:pt x="355" y="522"/>
                  </a:cubicBezTo>
                  <a:close/>
                  <a:moveTo>
                    <a:pt x="350" y="697"/>
                  </a:moveTo>
                  <a:cubicBezTo>
                    <a:pt x="352" y="714"/>
                    <a:pt x="321" y="705"/>
                    <a:pt x="350" y="697"/>
                  </a:cubicBezTo>
                  <a:close/>
                  <a:moveTo>
                    <a:pt x="333" y="1675"/>
                  </a:moveTo>
                  <a:cubicBezTo>
                    <a:pt x="330" y="1686"/>
                    <a:pt x="321" y="1663"/>
                    <a:pt x="333" y="1675"/>
                  </a:cubicBezTo>
                  <a:close/>
                  <a:moveTo>
                    <a:pt x="330" y="652"/>
                  </a:moveTo>
                  <a:cubicBezTo>
                    <a:pt x="333" y="652"/>
                    <a:pt x="324" y="649"/>
                    <a:pt x="330" y="652"/>
                  </a:cubicBezTo>
                  <a:close/>
                  <a:moveTo>
                    <a:pt x="321" y="601"/>
                  </a:moveTo>
                  <a:cubicBezTo>
                    <a:pt x="321" y="595"/>
                    <a:pt x="330" y="604"/>
                    <a:pt x="321" y="601"/>
                  </a:cubicBezTo>
                  <a:close/>
                  <a:moveTo>
                    <a:pt x="321" y="1658"/>
                  </a:moveTo>
                  <a:cubicBezTo>
                    <a:pt x="324" y="1669"/>
                    <a:pt x="307" y="1658"/>
                    <a:pt x="321" y="1658"/>
                  </a:cubicBezTo>
                  <a:close/>
                  <a:moveTo>
                    <a:pt x="305" y="2067"/>
                  </a:moveTo>
                  <a:cubicBezTo>
                    <a:pt x="310" y="2067"/>
                    <a:pt x="313" y="2072"/>
                    <a:pt x="316" y="2072"/>
                  </a:cubicBezTo>
                  <a:cubicBezTo>
                    <a:pt x="318" y="2072"/>
                    <a:pt x="312" y="2074"/>
                    <a:pt x="309" y="2077"/>
                  </a:cubicBezTo>
                  <a:cubicBezTo>
                    <a:pt x="307" y="2079"/>
                    <a:pt x="304" y="2081"/>
                    <a:pt x="302" y="2081"/>
                  </a:cubicBezTo>
                  <a:cubicBezTo>
                    <a:pt x="302" y="2079"/>
                    <a:pt x="303" y="2075"/>
                    <a:pt x="306" y="2073"/>
                  </a:cubicBezTo>
                  <a:cubicBezTo>
                    <a:pt x="305" y="2071"/>
                    <a:pt x="305" y="2068"/>
                    <a:pt x="305" y="2067"/>
                  </a:cubicBezTo>
                  <a:close/>
                  <a:moveTo>
                    <a:pt x="316" y="2188"/>
                  </a:moveTo>
                  <a:cubicBezTo>
                    <a:pt x="319" y="2191"/>
                    <a:pt x="313" y="2188"/>
                    <a:pt x="316" y="2188"/>
                  </a:cubicBezTo>
                  <a:close/>
                  <a:moveTo>
                    <a:pt x="307" y="2129"/>
                  </a:moveTo>
                  <a:cubicBezTo>
                    <a:pt x="288" y="2126"/>
                    <a:pt x="307" y="2115"/>
                    <a:pt x="302" y="2100"/>
                  </a:cubicBezTo>
                  <a:cubicBezTo>
                    <a:pt x="319" y="2106"/>
                    <a:pt x="302" y="2120"/>
                    <a:pt x="307" y="2129"/>
                  </a:cubicBezTo>
                  <a:close/>
                  <a:moveTo>
                    <a:pt x="293" y="2095"/>
                  </a:moveTo>
                  <a:cubicBezTo>
                    <a:pt x="290" y="2100"/>
                    <a:pt x="288" y="2103"/>
                    <a:pt x="282" y="2100"/>
                  </a:cubicBezTo>
                  <a:cubicBezTo>
                    <a:pt x="282" y="2100"/>
                    <a:pt x="279" y="2100"/>
                    <a:pt x="279" y="2098"/>
                  </a:cubicBezTo>
                  <a:lnTo>
                    <a:pt x="276" y="2098"/>
                  </a:lnTo>
                  <a:cubicBezTo>
                    <a:pt x="276" y="2095"/>
                    <a:pt x="273" y="2095"/>
                    <a:pt x="273" y="2095"/>
                  </a:cubicBezTo>
                  <a:cubicBezTo>
                    <a:pt x="273" y="2095"/>
                    <a:pt x="273" y="2092"/>
                    <a:pt x="271" y="2092"/>
                  </a:cubicBezTo>
                  <a:cubicBezTo>
                    <a:pt x="273" y="2086"/>
                    <a:pt x="273" y="2084"/>
                    <a:pt x="276" y="2084"/>
                  </a:cubicBezTo>
                  <a:cubicBezTo>
                    <a:pt x="279" y="2081"/>
                    <a:pt x="282" y="2081"/>
                    <a:pt x="285" y="2078"/>
                  </a:cubicBezTo>
                  <a:lnTo>
                    <a:pt x="285" y="2086"/>
                  </a:lnTo>
                  <a:cubicBezTo>
                    <a:pt x="288" y="2092"/>
                    <a:pt x="290" y="2095"/>
                    <a:pt x="293" y="2095"/>
                  </a:cubicBezTo>
                  <a:close/>
                  <a:moveTo>
                    <a:pt x="290" y="2145"/>
                  </a:moveTo>
                  <a:cubicBezTo>
                    <a:pt x="289" y="2145"/>
                    <a:pt x="289" y="2146"/>
                    <a:pt x="288" y="2146"/>
                  </a:cubicBezTo>
                  <a:cubicBezTo>
                    <a:pt x="288" y="2146"/>
                    <a:pt x="289" y="2146"/>
                    <a:pt x="290" y="2145"/>
                  </a:cubicBezTo>
                  <a:close/>
                  <a:moveTo>
                    <a:pt x="290" y="2143"/>
                  </a:moveTo>
                  <a:cubicBezTo>
                    <a:pt x="290" y="2143"/>
                    <a:pt x="290" y="2144"/>
                    <a:pt x="290" y="2145"/>
                  </a:cubicBezTo>
                  <a:cubicBezTo>
                    <a:pt x="290" y="2144"/>
                    <a:pt x="290" y="2144"/>
                    <a:pt x="290" y="2143"/>
                  </a:cubicBezTo>
                  <a:close/>
                  <a:moveTo>
                    <a:pt x="273" y="2050"/>
                  </a:moveTo>
                  <a:cubicBezTo>
                    <a:pt x="268" y="2058"/>
                    <a:pt x="268" y="2067"/>
                    <a:pt x="262" y="2072"/>
                  </a:cubicBezTo>
                  <a:cubicBezTo>
                    <a:pt x="257" y="2061"/>
                    <a:pt x="248" y="2053"/>
                    <a:pt x="240" y="2047"/>
                  </a:cubicBezTo>
                  <a:cubicBezTo>
                    <a:pt x="242" y="2033"/>
                    <a:pt x="254" y="2019"/>
                    <a:pt x="268" y="2013"/>
                  </a:cubicBezTo>
                  <a:lnTo>
                    <a:pt x="265" y="2013"/>
                  </a:lnTo>
                  <a:cubicBezTo>
                    <a:pt x="262" y="2013"/>
                    <a:pt x="259" y="2016"/>
                    <a:pt x="257" y="2016"/>
                  </a:cubicBezTo>
                  <a:cubicBezTo>
                    <a:pt x="259" y="2013"/>
                    <a:pt x="262" y="2010"/>
                    <a:pt x="268" y="2007"/>
                  </a:cubicBezTo>
                  <a:lnTo>
                    <a:pt x="268" y="2010"/>
                  </a:lnTo>
                  <a:cubicBezTo>
                    <a:pt x="268" y="2010"/>
                    <a:pt x="268" y="2013"/>
                    <a:pt x="271" y="2013"/>
                  </a:cubicBezTo>
                  <a:lnTo>
                    <a:pt x="271" y="2019"/>
                  </a:lnTo>
                  <a:cubicBezTo>
                    <a:pt x="276" y="2016"/>
                    <a:pt x="279" y="2016"/>
                    <a:pt x="285" y="2013"/>
                  </a:cubicBezTo>
                  <a:cubicBezTo>
                    <a:pt x="276" y="2033"/>
                    <a:pt x="305" y="2041"/>
                    <a:pt x="299" y="2058"/>
                  </a:cubicBezTo>
                  <a:cubicBezTo>
                    <a:pt x="290" y="2058"/>
                    <a:pt x="282" y="2055"/>
                    <a:pt x="273" y="2050"/>
                  </a:cubicBezTo>
                  <a:close/>
                  <a:moveTo>
                    <a:pt x="254" y="2103"/>
                  </a:moveTo>
                  <a:lnTo>
                    <a:pt x="254" y="2102"/>
                  </a:lnTo>
                  <a:cubicBezTo>
                    <a:pt x="254" y="2101"/>
                    <a:pt x="255" y="2100"/>
                    <a:pt x="254" y="2103"/>
                  </a:cubicBezTo>
                  <a:cubicBezTo>
                    <a:pt x="252" y="2105"/>
                    <a:pt x="253" y="2103"/>
                    <a:pt x="254" y="2102"/>
                  </a:cubicBezTo>
                  <a:lnTo>
                    <a:pt x="254" y="2103"/>
                  </a:lnTo>
                  <a:close/>
                  <a:moveTo>
                    <a:pt x="228" y="1943"/>
                  </a:moveTo>
                  <a:cubicBezTo>
                    <a:pt x="220" y="1943"/>
                    <a:pt x="217" y="1917"/>
                    <a:pt x="231" y="1920"/>
                  </a:cubicBezTo>
                  <a:cubicBezTo>
                    <a:pt x="231" y="1928"/>
                    <a:pt x="240" y="1926"/>
                    <a:pt x="237" y="1937"/>
                  </a:cubicBezTo>
                  <a:cubicBezTo>
                    <a:pt x="231" y="1934"/>
                    <a:pt x="228" y="1937"/>
                    <a:pt x="228" y="1943"/>
                  </a:cubicBezTo>
                  <a:close/>
                  <a:moveTo>
                    <a:pt x="220" y="2016"/>
                  </a:moveTo>
                  <a:cubicBezTo>
                    <a:pt x="209" y="2010"/>
                    <a:pt x="200" y="1976"/>
                    <a:pt x="223" y="1974"/>
                  </a:cubicBezTo>
                  <a:cubicBezTo>
                    <a:pt x="226" y="1988"/>
                    <a:pt x="211" y="1996"/>
                    <a:pt x="220" y="2016"/>
                  </a:cubicBezTo>
                  <a:close/>
                  <a:moveTo>
                    <a:pt x="211" y="2095"/>
                  </a:moveTo>
                  <a:cubicBezTo>
                    <a:pt x="192" y="2103"/>
                    <a:pt x="203" y="2067"/>
                    <a:pt x="211" y="2095"/>
                  </a:cubicBezTo>
                  <a:close/>
                  <a:moveTo>
                    <a:pt x="189" y="1570"/>
                  </a:moveTo>
                  <a:cubicBezTo>
                    <a:pt x="191" y="1577"/>
                    <a:pt x="186" y="1580"/>
                    <a:pt x="183" y="1580"/>
                  </a:cubicBezTo>
                  <a:lnTo>
                    <a:pt x="183" y="1581"/>
                  </a:lnTo>
                  <a:cubicBezTo>
                    <a:pt x="180" y="1581"/>
                    <a:pt x="178" y="1584"/>
                    <a:pt x="175" y="1584"/>
                  </a:cubicBezTo>
                  <a:lnTo>
                    <a:pt x="178" y="1579"/>
                  </a:lnTo>
                  <a:cubicBezTo>
                    <a:pt x="180" y="1579"/>
                    <a:pt x="178" y="1576"/>
                    <a:pt x="180" y="1579"/>
                  </a:cubicBezTo>
                  <a:cubicBezTo>
                    <a:pt x="178" y="1573"/>
                    <a:pt x="183" y="1573"/>
                    <a:pt x="189" y="1570"/>
                  </a:cubicBezTo>
                  <a:close/>
                  <a:moveTo>
                    <a:pt x="186" y="1799"/>
                  </a:moveTo>
                  <a:cubicBezTo>
                    <a:pt x="200" y="1799"/>
                    <a:pt x="183" y="1821"/>
                    <a:pt x="186" y="1799"/>
                  </a:cubicBezTo>
                  <a:close/>
                  <a:moveTo>
                    <a:pt x="186" y="1708"/>
                  </a:moveTo>
                  <a:cubicBezTo>
                    <a:pt x="200" y="1728"/>
                    <a:pt x="161" y="1691"/>
                    <a:pt x="186" y="1708"/>
                  </a:cubicBezTo>
                  <a:close/>
                  <a:moveTo>
                    <a:pt x="183" y="1847"/>
                  </a:moveTo>
                  <a:cubicBezTo>
                    <a:pt x="186" y="1847"/>
                    <a:pt x="178" y="1844"/>
                    <a:pt x="183" y="1847"/>
                  </a:cubicBezTo>
                  <a:close/>
                  <a:moveTo>
                    <a:pt x="180" y="1911"/>
                  </a:moveTo>
                  <a:cubicBezTo>
                    <a:pt x="178" y="1909"/>
                    <a:pt x="186" y="1911"/>
                    <a:pt x="180" y="1911"/>
                  </a:cubicBezTo>
                  <a:close/>
                  <a:moveTo>
                    <a:pt x="183" y="1694"/>
                  </a:moveTo>
                  <a:cubicBezTo>
                    <a:pt x="180" y="1703"/>
                    <a:pt x="163" y="1691"/>
                    <a:pt x="183" y="1694"/>
                  </a:cubicBezTo>
                  <a:close/>
                  <a:moveTo>
                    <a:pt x="179" y="1680"/>
                  </a:moveTo>
                  <a:cubicBezTo>
                    <a:pt x="175" y="1682"/>
                    <a:pt x="169" y="1682"/>
                    <a:pt x="169" y="1675"/>
                  </a:cubicBezTo>
                  <a:lnTo>
                    <a:pt x="183" y="1675"/>
                  </a:lnTo>
                  <a:cubicBezTo>
                    <a:pt x="198" y="1679"/>
                    <a:pt x="174" y="1689"/>
                    <a:pt x="179" y="1680"/>
                  </a:cubicBezTo>
                  <a:close/>
                  <a:moveTo>
                    <a:pt x="178" y="1607"/>
                  </a:moveTo>
                  <a:cubicBezTo>
                    <a:pt x="172" y="1607"/>
                    <a:pt x="178" y="1601"/>
                    <a:pt x="178" y="1596"/>
                  </a:cubicBezTo>
                  <a:cubicBezTo>
                    <a:pt x="180" y="1598"/>
                    <a:pt x="178" y="1607"/>
                    <a:pt x="178" y="1607"/>
                  </a:cubicBezTo>
                  <a:close/>
                  <a:moveTo>
                    <a:pt x="178" y="1624"/>
                  </a:moveTo>
                  <a:cubicBezTo>
                    <a:pt x="175" y="1627"/>
                    <a:pt x="180" y="1618"/>
                    <a:pt x="178" y="1624"/>
                  </a:cubicBezTo>
                  <a:close/>
                  <a:moveTo>
                    <a:pt x="178" y="1689"/>
                  </a:moveTo>
                  <a:cubicBezTo>
                    <a:pt x="175" y="1691"/>
                    <a:pt x="172" y="1694"/>
                    <a:pt x="169" y="1694"/>
                  </a:cubicBezTo>
                  <a:cubicBezTo>
                    <a:pt x="166" y="1689"/>
                    <a:pt x="175" y="1689"/>
                    <a:pt x="178" y="1689"/>
                  </a:cubicBezTo>
                  <a:close/>
                  <a:moveTo>
                    <a:pt x="172" y="1838"/>
                  </a:moveTo>
                  <a:cubicBezTo>
                    <a:pt x="175" y="1838"/>
                    <a:pt x="175" y="1844"/>
                    <a:pt x="175" y="1847"/>
                  </a:cubicBezTo>
                  <a:lnTo>
                    <a:pt x="169" y="1847"/>
                  </a:lnTo>
                  <a:cubicBezTo>
                    <a:pt x="166" y="1844"/>
                    <a:pt x="172" y="1844"/>
                    <a:pt x="172" y="1838"/>
                  </a:cubicBezTo>
                  <a:close/>
                  <a:moveTo>
                    <a:pt x="172" y="1700"/>
                  </a:moveTo>
                  <a:cubicBezTo>
                    <a:pt x="175" y="1700"/>
                    <a:pt x="178" y="1708"/>
                    <a:pt x="180" y="1711"/>
                  </a:cubicBezTo>
                  <a:cubicBezTo>
                    <a:pt x="169" y="1717"/>
                    <a:pt x="169" y="1703"/>
                    <a:pt x="172" y="1700"/>
                  </a:cubicBezTo>
                  <a:close/>
                  <a:moveTo>
                    <a:pt x="183" y="1717"/>
                  </a:moveTo>
                  <a:cubicBezTo>
                    <a:pt x="178" y="1734"/>
                    <a:pt x="175" y="1706"/>
                    <a:pt x="183" y="1717"/>
                  </a:cubicBezTo>
                  <a:close/>
                  <a:moveTo>
                    <a:pt x="186" y="2060"/>
                  </a:moveTo>
                  <a:cubicBezTo>
                    <a:pt x="189" y="2059"/>
                    <a:pt x="192" y="2058"/>
                    <a:pt x="194" y="2058"/>
                  </a:cubicBezTo>
                  <a:lnTo>
                    <a:pt x="192" y="2058"/>
                  </a:lnTo>
                  <a:cubicBezTo>
                    <a:pt x="197" y="2053"/>
                    <a:pt x="200" y="2055"/>
                    <a:pt x="197" y="2061"/>
                  </a:cubicBezTo>
                  <a:cubicBezTo>
                    <a:pt x="197" y="2067"/>
                    <a:pt x="197" y="2069"/>
                    <a:pt x="194" y="2072"/>
                  </a:cubicBezTo>
                  <a:cubicBezTo>
                    <a:pt x="194" y="2075"/>
                    <a:pt x="194" y="2081"/>
                    <a:pt x="197" y="2084"/>
                  </a:cubicBezTo>
                  <a:cubicBezTo>
                    <a:pt x="192" y="2084"/>
                    <a:pt x="189" y="2084"/>
                    <a:pt x="189" y="2089"/>
                  </a:cubicBezTo>
                  <a:cubicBezTo>
                    <a:pt x="183" y="2086"/>
                    <a:pt x="186" y="2084"/>
                    <a:pt x="189" y="2078"/>
                  </a:cubicBezTo>
                  <a:cubicBezTo>
                    <a:pt x="180" y="2081"/>
                    <a:pt x="172" y="2081"/>
                    <a:pt x="163" y="2081"/>
                  </a:cubicBezTo>
                  <a:cubicBezTo>
                    <a:pt x="166" y="2078"/>
                    <a:pt x="166" y="2072"/>
                    <a:pt x="169" y="2069"/>
                  </a:cubicBezTo>
                  <a:lnTo>
                    <a:pt x="166" y="2069"/>
                  </a:lnTo>
                  <a:lnTo>
                    <a:pt x="166" y="2064"/>
                  </a:lnTo>
                  <a:cubicBezTo>
                    <a:pt x="172" y="2061"/>
                    <a:pt x="175" y="2061"/>
                    <a:pt x="175" y="2064"/>
                  </a:cubicBezTo>
                  <a:cubicBezTo>
                    <a:pt x="177" y="2062"/>
                    <a:pt x="181" y="2061"/>
                    <a:pt x="184" y="2060"/>
                  </a:cubicBezTo>
                  <a:cubicBezTo>
                    <a:pt x="162" y="2046"/>
                    <a:pt x="183" y="2020"/>
                    <a:pt x="186" y="2060"/>
                  </a:cubicBezTo>
                  <a:close/>
                  <a:moveTo>
                    <a:pt x="179" y="1959"/>
                  </a:moveTo>
                  <a:lnTo>
                    <a:pt x="179" y="1959"/>
                  </a:lnTo>
                  <a:cubicBezTo>
                    <a:pt x="179" y="1955"/>
                    <a:pt x="179" y="1952"/>
                    <a:pt x="178" y="1951"/>
                  </a:cubicBezTo>
                  <a:cubicBezTo>
                    <a:pt x="186" y="1948"/>
                    <a:pt x="189" y="1957"/>
                    <a:pt x="192" y="1965"/>
                  </a:cubicBezTo>
                  <a:cubicBezTo>
                    <a:pt x="189" y="1965"/>
                    <a:pt x="186" y="1968"/>
                    <a:pt x="186" y="1971"/>
                  </a:cubicBezTo>
                  <a:cubicBezTo>
                    <a:pt x="181" y="1971"/>
                    <a:pt x="180" y="1965"/>
                    <a:pt x="179" y="1960"/>
                  </a:cubicBezTo>
                  <a:cubicBezTo>
                    <a:pt x="179" y="1960"/>
                    <a:pt x="179" y="1960"/>
                    <a:pt x="179" y="1959"/>
                  </a:cubicBezTo>
                  <a:close/>
                  <a:moveTo>
                    <a:pt x="197" y="1990"/>
                  </a:moveTo>
                  <a:cubicBezTo>
                    <a:pt x="192" y="1999"/>
                    <a:pt x="189" y="1982"/>
                    <a:pt x="197" y="1990"/>
                  </a:cubicBezTo>
                  <a:close/>
                  <a:moveTo>
                    <a:pt x="209" y="1770"/>
                  </a:moveTo>
                  <a:cubicBezTo>
                    <a:pt x="200" y="1773"/>
                    <a:pt x="197" y="1765"/>
                    <a:pt x="194" y="1759"/>
                  </a:cubicBezTo>
                  <a:cubicBezTo>
                    <a:pt x="197" y="1759"/>
                    <a:pt x="206" y="1762"/>
                    <a:pt x="209" y="1770"/>
                  </a:cubicBezTo>
                  <a:close/>
                  <a:moveTo>
                    <a:pt x="194" y="1737"/>
                  </a:moveTo>
                  <a:cubicBezTo>
                    <a:pt x="194" y="1731"/>
                    <a:pt x="200" y="1731"/>
                    <a:pt x="200" y="1728"/>
                  </a:cubicBezTo>
                  <a:cubicBezTo>
                    <a:pt x="206" y="1731"/>
                    <a:pt x="200" y="1739"/>
                    <a:pt x="194" y="1737"/>
                  </a:cubicBezTo>
                  <a:close/>
                  <a:moveTo>
                    <a:pt x="217" y="1768"/>
                  </a:moveTo>
                  <a:cubicBezTo>
                    <a:pt x="214" y="1759"/>
                    <a:pt x="211" y="1751"/>
                    <a:pt x="211" y="1742"/>
                  </a:cubicBezTo>
                  <a:lnTo>
                    <a:pt x="206" y="1742"/>
                  </a:lnTo>
                  <a:cubicBezTo>
                    <a:pt x="211" y="1734"/>
                    <a:pt x="240" y="1762"/>
                    <a:pt x="217" y="1768"/>
                  </a:cubicBezTo>
                  <a:close/>
                  <a:moveTo>
                    <a:pt x="206" y="1739"/>
                  </a:moveTo>
                  <a:cubicBezTo>
                    <a:pt x="206" y="1737"/>
                    <a:pt x="209" y="1739"/>
                    <a:pt x="206" y="1739"/>
                  </a:cubicBezTo>
                  <a:close/>
                  <a:moveTo>
                    <a:pt x="211" y="1731"/>
                  </a:moveTo>
                  <a:lnTo>
                    <a:pt x="211" y="1732"/>
                  </a:lnTo>
                  <a:cubicBezTo>
                    <a:pt x="211" y="1732"/>
                    <a:pt x="210" y="1731"/>
                    <a:pt x="211" y="1731"/>
                  </a:cubicBezTo>
                  <a:cubicBezTo>
                    <a:pt x="213" y="1732"/>
                    <a:pt x="212" y="1732"/>
                    <a:pt x="211" y="1732"/>
                  </a:cubicBezTo>
                  <a:lnTo>
                    <a:pt x="211" y="1731"/>
                  </a:lnTo>
                  <a:close/>
                  <a:moveTo>
                    <a:pt x="228" y="1694"/>
                  </a:moveTo>
                  <a:lnTo>
                    <a:pt x="228" y="1706"/>
                  </a:lnTo>
                  <a:lnTo>
                    <a:pt x="217" y="1706"/>
                  </a:lnTo>
                  <a:cubicBezTo>
                    <a:pt x="217" y="1703"/>
                    <a:pt x="214" y="1697"/>
                    <a:pt x="214" y="1694"/>
                  </a:cubicBezTo>
                  <a:cubicBezTo>
                    <a:pt x="217" y="1697"/>
                    <a:pt x="223" y="1694"/>
                    <a:pt x="228" y="1694"/>
                  </a:cubicBezTo>
                  <a:close/>
                  <a:moveTo>
                    <a:pt x="248" y="1598"/>
                  </a:moveTo>
                  <a:cubicBezTo>
                    <a:pt x="245" y="1598"/>
                    <a:pt x="240" y="1601"/>
                    <a:pt x="237" y="1601"/>
                  </a:cubicBezTo>
                  <a:cubicBezTo>
                    <a:pt x="237" y="1596"/>
                    <a:pt x="234" y="1593"/>
                    <a:pt x="234" y="1587"/>
                  </a:cubicBezTo>
                  <a:cubicBezTo>
                    <a:pt x="240" y="1587"/>
                    <a:pt x="251" y="1587"/>
                    <a:pt x="248" y="1598"/>
                  </a:cubicBezTo>
                  <a:close/>
                  <a:moveTo>
                    <a:pt x="240" y="787"/>
                  </a:moveTo>
                  <a:cubicBezTo>
                    <a:pt x="240" y="781"/>
                    <a:pt x="251" y="790"/>
                    <a:pt x="240" y="787"/>
                  </a:cubicBezTo>
                  <a:close/>
                  <a:moveTo>
                    <a:pt x="259" y="1686"/>
                  </a:moveTo>
                  <a:cubicBezTo>
                    <a:pt x="262" y="1700"/>
                    <a:pt x="234" y="1691"/>
                    <a:pt x="259" y="1686"/>
                  </a:cubicBezTo>
                  <a:close/>
                  <a:moveTo>
                    <a:pt x="271" y="1694"/>
                  </a:moveTo>
                  <a:cubicBezTo>
                    <a:pt x="293" y="1703"/>
                    <a:pt x="242" y="1711"/>
                    <a:pt x="271" y="1694"/>
                  </a:cubicBezTo>
                  <a:close/>
                  <a:moveTo>
                    <a:pt x="262" y="1635"/>
                  </a:moveTo>
                  <a:cubicBezTo>
                    <a:pt x="265" y="1629"/>
                    <a:pt x="273" y="1638"/>
                    <a:pt x="262" y="1635"/>
                  </a:cubicBezTo>
                  <a:close/>
                  <a:moveTo>
                    <a:pt x="285" y="1646"/>
                  </a:moveTo>
                  <a:cubicBezTo>
                    <a:pt x="296" y="1641"/>
                    <a:pt x="302" y="1652"/>
                    <a:pt x="310" y="1652"/>
                  </a:cubicBezTo>
                  <a:cubicBezTo>
                    <a:pt x="302" y="1663"/>
                    <a:pt x="290" y="1672"/>
                    <a:pt x="296" y="1691"/>
                  </a:cubicBezTo>
                  <a:cubicBezTo>
                    <a:pt x="282" y="1694"/>
                    <a:pt x="290" y="1675"/>
                    <a:pt x="276" y="1689"/>
                  </a:cubicBezTo>
                  <a:cubicBezTo>
                    <a:pt x="268" y="1666"/>
                    <a:pt x="293" y="1666"/>
                    <a:pt x="285" y="1646"/>
                  </a:cubicBezTo>
                  <a:close/>
                  <a:moveTo>
                    <a:pt x="302" y="779"/>
                  </a:moveTo>
                  <a:cubicBezTo>
                    <a:pt x="307" y="793"/>
                    <a:pt x="279" y="784"/>
                    <a:pt x="302" y="779"/>
                  </a:cubicBezTo>
                  <a:close/>
                  <a:moveTo>
                    <a:pt x="302" y="1782"/>
                  </a:moveTo>
                  <a:cubicBezTo>
                    <a:pt x="302" y="1776"/>
                    <a:pt x="310" y="1785"/>
                    <a:pt x="302" y="1782"/>
                  </a:cubicBezTo>
                  <a:close/>
                  <a:moveTo>
                    <a:pt x="307" y="1816"/>
                  </a:moveTo>
                  <a:cubicBezTo>
                    <a:pt x="305" y="1816"/>
                    <a:pt x="299" y="1813"/>
                    <a:pt x="299" y="1813"/>
                  </a:cubicBezTo>
                  <a:cubicBezTo>
                    <a:pt x="296" y="1810"/>
                    <a:pt x="310" y="1810"/>
                    <a:pt x="307" y="1816"/>
                  </a:cubicBezTo>
                  <a:close/>
                  <a:moveTo>
                    <a:pt x="299" y="1835"/>
                  </a:moveTo>
                  <a:cubicBezTo>
                    <a:pt x="293" y="1835"/>
                    <a:pt x="290" y="1827"/>
                    <a:pt x="285" y="1827"/>
                  </a:cubicBezTo>
                  <a:cubicBezTo>
                    <a:pt x="296" y="1821"/>
                    <a:pt x="299" y="1827"/>
                    <a:pt x="299" y="1835"/>
                  </a:cubicBezTo>
                  <a:close/>
                  <a:moveTo>
                    <a:pt x="288" y="1804"/>
                  </a:moveTo>
                  <a:cubicBezTo>
                    <a:pt x="285" y="1807"/>
                    <a:pt x="288" y="1801"/>
                    <a:pt x="288" y="1804"/>
                  </a:cubicBezTo>
                  <a:close/>
                  <a:moveTo>
                    <a:pt x="280" y="1877"/>
                  </a:moveTo>
                  <a:cubicBezTo>
                    <a:pt x="279" y="1877"/>
                    <a:pt x="277" y="1877"/>
                    <a:pt x="276" y="1878"/>
                  </a:cubicBezTo>
                  <a:cubicBezTo>
                    <a:pt x="273" y="1872"/>
                    <a:pt x="279" y="1869"/>
                    <a:pt x="285" y="1866"/>
                  </a:cubicBezTo>
                  <a:lnTo>
                    <a:pt x="282" y="1864"/>
                  </a:lnTo>
                  <a:cubicBezTo>
                    <a:pt x="285" y="1864"/>
                    <a:pt x="288" y="1864"/>
                    <a:pt x="285" y="1858"/>
                  </a:cubicBezTo>
                  <a:cubicBezTo>
                    <a:pt x="296" y="1861"/>
                    <a:pt x="310" y="1864"/>
                    <a:pt x="324" y="1866"/>
                  </a:cubicBezTo>
                  <a:cubicBezTo>
                    <a:pt x="317" y="1878"/>
                    <a:pt x="300" y="1874"/>
                    <a:pt x="284" y="1876"/>
                  </a:cubicBezTo>
                  <a:cubicBezTo>
                    <a:pt x="294" y="1881"/>
                    <a:pt x="266" y="1890"/>
                    <a:pt x="280" y="1877"/>
                  </a:cubicBezTo>
                  <a:close/>
                  <a:moveTo>
                    <a:pt x="282" y="1962"/>
                  </a:moveTo>
                  <a:cubicBezTo>
                    <a:pt x="273" y="1974"/>
                    <a:pt x="288" y="1948"/>
                    <a:pt x="282" y="1962"/>
                  </a:cubicBezTo>
                  <a:close/>
                  <a:moveTo>
                    <a:pt x="279" y="1796"/>
                  </a:moveTo>
                  <a:cubicBezTo>
                    <a:pt x="276" y="1799"/>
                    <a:pt x="273" y="1801"/>
                    <a:pt x="271" y="1801"/>
                  </a:cubicBezTo>
                  <a:cubicBezTo>
                    <a:pt x="271" y="1799"/>
                    <a:pt x="273" y="1799"/>
                    <a:pt x="279" y="1796"/>
                  </a:cubicBezTo>
                  <a:close/>
                  <a:moveTo>
                    <a:pt x="273" y="1770"/>
                  </a:moveTo>
                  <a:lnTo>
                    <a:pt x="272" y="1770"/>
                  </a:lnTo>
                  <a:cubicBezTo>
                    <a:pt x="273" y="1770"/>
                    <a:pt x="273" y="1769"/>
                    <a:pt x="273" y="1770"/>
                  </a:cubicBezTo>
                  <a:cubicBezTo>
                    <a:pt x="272" y="1772"/>
                    <a:pt x="272" y="1771"/>
                    <a:pt x="272" y="1770"/>
                  </a:cubicBezTo>
                  <a:lnTo>
                    <a:pt x="273" y="1770"/>
                  </a:lnTo>
                  <a:close/>
                  <a:moveTo>
                    <a:pt x="279" y="1739"/>
                  </a:moveTo>
                  <a:cubicBezTo>
                    <a:pt x="282" y="1742"/>
                    <a:pt x="273" y="1739"/>
                    <a:pt x="279" y="1739"/>
                  </a:cubicBezTo>
                  <a:close/>
                  <a:moveTo>
                    <a:pt x="276" y="1722"/>
                  </a:moveTo>
                  <a:cubicBezTo>
                    <a:pt x="296" y="1742"/>
                    <a:pt x="262" y="1745"/>
                    <a:pt x="276" y="1722"/>
                  </a:cubicBezTo>
                  <a:close/>
                  <a:moveTo>
                    <a:pt x="282" y="1717"/>
                  </a:moveTo>
                  <a:cubicBezTo>
                    <a:pt x="276" y="1731"/>
                    <a:pt x="273" y="1706"/>
                    <a:pt x="282" y="1717"/>
                  </a:cubicBezTo>
                  <a:close/>
                  <a:moveTo>
                    <a:pt x="271" y="1852"/>
                  </a:moveTo>
                  <a:cubicBezTo>
                    <a:pt x="276" y="1866"/>
                    <a:pt x="248" y="1858"/>
                    <a:pt x="271" y="1852"/>
                  </a:cubicBezTo>
                  <a:close/>
                  <a:moveTo>
                    <a:pt x="254" y="1773"/>
                  </a:moveTo>
                  <a:cubicBezTo>
                    <a:pt x="257" y="1782"/>
                    <a:pt x="248" y="1793"/>
                    <a:pt x="242" y="1787"/>
                  </a:cubicBezTo>
                  <a:cubicBezTo>
                    <a:pt x="237" y="1782"/>
                    <a:pt x="245" y="1776"/>
                    <a:pt x="254" y="1773"/>
                  </a:cubicBezTo>
                  <a:close/>
                  <a:moveTo>
                    <a:pt x="251" y="1754"/>
                  </a:moveTo>
                  <a:cubicBezTo>
                    <a:pt x="271" y="1754"/>
                    <a:pt x="242" y="1782"/>
                    <a:pt x="251" y="1754"/>
                  </a:cubicBezTo>
                  <a:close/>
                  <a:moveTo>
                    <a:pt x="254" y="1807"/>
                  </a:moveTo>
                  <a:cubicBezTo>
                    <a:pt x="242" y="1816"/>
                    <a:pt x="248" y="1793"/>
                    <a:pt x="237" y="1801"/>
                  </a:cubicBezTo>
                  <a:cubicBezTo>
                    <a:pt x="240" y="1790"/>
                    <a:pt x="257" y="1796"/>
                    <a:pt x="254" y="1807"/>
                  </a:cubicBezTo>
                  <a:close/>
                  <a:moveTo>
                    <a:pt x="240" y="1838"/>
                  </a:moveTo>
                  <a:cubicBezTo>
                    <a:pt x="240" y="1832"/>
                    <a:pt x="251" y="1832"/>
                    <a:pt x="257" y="1830"/>
                  </a:cubicBezTo>
                  <a:cubicBezTo>
                    <a:pt x="257" y="1832"/>
                    <a:pt x="259" y="1835"/>
                    <a:pt x="257" y="1838"/>
                  </a:cubicBezTo>
                  <a:lnTo>
                    <a:pt x="259" y="1841"/>
                  </a:lnTo>
                  <a:cubicBezTo>
                    <a:pt x="245" y="1858"/>
                    <a:pt x="240" y="1847"/>
                    <a:pt x="240" y="1838"/>
                  </a:cubicBezTo>
                  <a:close/>
                  <a:moveTo>
                    <a:pt x="251" y="1878"/>
                  </a:moveTo>
                  <a:cubicBezTo>
                    <a:pt x="257" y="1892"/>
                    <a:pt x="228" y="1883"/>
                    <a:pt x="251" y="1878"/>
                  </a:cubicBezTo>
                  <a:close/>
                  <a:moveTo>
                    <a:pt x="259" y="1945"/>
                  </a:moveTo>
                  <a:cubicBezTo>
                    <a:pt x="273" y="1968"/>
                    <a:pt x="234" y="1931"/>
                    <a:pt x="259" y="1945"/>
                  </a:cubicBezTo>
                  <a:close/>
                  <a:moveTo>
                    <a:pt x="257" y="1954"/>
                  </a:moveTo>
                  <a:cubicBezTo>
                    <a:pt x="273" y="1957"/>
                    <a:pt x="254" y="1982"/>
                    <a:pt x="257" y="1954"/>
                  </a:cubicBezTo>
                  <a:close/>
                  <a:moveTo>
                    <a:pt x="257" y="1799"/>
                  </a:moveTo>
                  <a:cubicBezTo>
                    <a:pt x="271" y="1799"/>
                    <a:pt x="254" y="1824"/>
                    <a:pt x="257" y="1799"/>
                  </a:cubicBezTo>
                  <a:close/>
                  <a:moveTo>
                    <a:pt x="257" y="1714"/>
                  </a:moveTo>
                  <a:cubicBezTo>
                    <a:pt x="251" y="1717"/>
                    <a:pt x="251" y="1700"/>
                    <a:pt x="259" y="1700"/>
                  </a:cubicBezTo>
                  <a:cubicBezTo>
                    <a:pt x="262" y="1708"/>
                    <a:pt x="257" y="1708"/>
                    <a:pt x="257" y="1714"/>
                  </a:cubicBezTo>
                  <a:close/>
                  <a:moveTo>
                    <a:pt x="251" y="1768"/>
                  </a:moveTo>
                  <a:cubicBezTo>
                    <a:pt x="245" y="1770"/>
                    <a:pt x="242" y="1768"/>
                    <a:pt x="234" y="1770"/>
                  </a:cubicBezTo>
                  <a:cubicBezTo>
                    <a:pt x="234" y="1759"/>
                    <a:pt x="248" y="1768"/>
                    <a:pt x="251" y="1768"/>
                  </a:cubicBezTo>
                  <a:close/>
                  <a:moveTo>
                    <a:pt x="240" y="1683"/>
                  </a:moveTo>
                  <a:cubicBezTo>
                    <a:pt x="234" y="1686"/>
                    <a:pt x="240" y="1680"/>
                    <a:pt x="240" y="1683"/>
                  </a:cubicBezTo>
                  <a:close/>
                  <a:moveTo>
                    <a:pt x="237" y="1731"/>
                  </a:moveTo>
                  <a:cubicBezTo>
                    <a:pt x="237" y="1728"/>
                    <a:pt x="242" y="1725"/>
                    <a:pt x="248" y="1725"/>
                  </a:cubicBezTo>
                  <a:cubicBezTo>
                    <a:pt x="251" y="1731"/>
                    <a:pt x="240" y="1728"/>
                    <a:pt x="237" y="1731"/>
                  </a:cubicBezTo>
                  <a:close/>
                  <a:moveTo>
                    <a:pt x="240" y="770"/>
                  </a:moveTo>
                  <a:cubicBezTo>
                    <a:pt x="237" y="770"/>
                    <a:pt x="237" y="767"/>
                    <a:pt x="234" y="767"/>
                  </a:cubicBezTo>
                  <a:cubicBezTo>
                    <a:pt x="237" y="767"/>
                    <a:pt x="242" y="770"/>
                    <a:pt x="240" y="770"/>
                  </a:cubicBezTo>
                  <a:close/>
                  <a:moveTo>
                    <a:pt x="240" y="793"/>
                  </a:moveTo>
                  <a:cubicBezTo>
                    <a:pt x="234" y="801"/>
                    <a:pt x="226" y="790"/>
                    <a:pt x="240" y="793"/>
                  </a:cubicBezTo>
                  <a:close/>
                  <a:moveTo>
                    <a:pt x="231" y="1536"/>
                  </a:moveTo>
                  <a:cubicBezTo>
                    <a:pt x="231" y="1536"/>
                    <a:pt x="234" y="1539"/>
                    <a:pt x="231" y="1542"/>
                  </a:cubicBezTo>
                  <a:lnTo>
                    <a:pt x="228" y="1542"/>
                  </a:lnTo>
                  <a:cubicBezTo>
                    <a:pt x="231" y="1542"/>
                    <a:pt x="231" y="1539"/>
                    <a:pt x="231" y="1536"/>
                  </a:cubicBezTo>
                  <a:close/>
                  <a:moveTo>
                    <a:pt x="231" y="1598"/>
                  </a:moveTo>
                  <a:cubicBezTo>
                    <a:pt x="237" y="1601"/>
                    <a:pt x="231" y="1607"/>
                    <a:pt x="231" y="1610"/>
                  </a:cubicBezTo>
                  <a:cubicBezTo>
                    <a:pt x="223" y="1610"/>
                    <a:pt x="231" y="1601"/>
                    <a:pt x="231" y="1598"/>
                  </a:cubicBezTo>
                  <a:close/>
                  <a:moveTo>
                    <a:pt x="226" y="1748"/>
                  </a:moveTo>
                  <a:cubicBezTo>
                    <a:pt x="226" y="1745"/>
                    <a:pt x="226" y="1742"/>
                    <a:pt x="223" y="1739"/>
                  </a:cubicBezTo>
                  <a:cubicBezTo>
                    <a:pt x="226" y="1739"/>
                    <a:pt x="228" y="1739"/>
                    <a:pt x="231" y="1737"/>
                  </a:cubicBezTo>
                  <a:cubicBezTo>
                    <a:pt x="231" y="1739"/>
                    <a:pt x="234" y="1742"/>
                    <a:pt x="234" y="1745"/>
                  </a:cubicBezTo>
                  <a:cubicBezTo>
                    <a:pt x="231" y="1748"/>
                    <a:pt x="226" y="1748"/>
                    <a:pt x="226" y="1748"/>
                  </a:cubicBezTo>
                  <a:close/>
                  <a:moveTo>
                    <a:pt x="231" y="1776"/>
                  </a:moveTo>
                  <a:lnTo>
                    <a:pt x="231" y="1782"/>
                  </a:lnTo>
                  <a:lnTo>
                    <a:pt x="226" y="1782"/>
                  </a:lnTo>
                  <a:lnTo>
                    <a:pt x="226" y="1776"/>
                  </a:lnTo>
                  <a:lnTo>
                    <a:pt x="231" y="1776"/>
                  </a:lnTo>
                  <a:close/>
                  <a:moveTo>
                    <a:pt x="223" y="1711"/>
                  </a:moveTo>
                  <a:cubicBezTo>
                    <a:pt x="223" y="1708"/>
                    <a:pt x="220" y="1714"/>
                    <a:pt x="223" y="1711"/>
                  </a:cubicBezTo>
                  <a:close/>
                  <a:moveTo>
                    <a:pt x="220" y="1821"/>
                  </a:moveTo>
                  <a:cubicBezTo>
                    <a:pt x="217" y="1827"/>
                    <a:pt x="214" y="1824"/>
                    <a:pt x="209" y="1824"/>
                  </a:cubicBezTo>
                  <a:cubicBezTo>
                    <a:pt x="209" y="1818"/>
                    <a:pt x="217" y="1818"/>
                    <a:pt x="220" y="1821"/>
                  </a:cubicBezTo>
                  <a:close/>
                  <a:moveTo>
                    <a:pt x="214" y="1818"/>
                  </a:moveTo>
                  <a:cubicBezTo>
                    <a:pt x="214" y="1818"/>
                    <a:pt x="211" y="1816"/>
                    <a:pt x="211" y="1813"/>
                  </a:cubicBezTo>
                  <a:lnTo>
                    <a:pt x="211" y="1810"/>
                  </a:lnTo>
                  <a:lnTo>
                    <a:pt x="214" y="1810"/>
                  </a:lnTo>
                  <a:lnTo>
                    <a:pt x="211" y="1813"/>
                  </a:lnTo>
                  <a:cubicBezTo>
                    <a:pt x="211" y="1813"/>
                    <a:pt x="214" y="1816"/>
                    <a:pt x="214" y="1818"/>
                  </a:cubicBezTo>
                  <a:close/>
                  <a:moveTo>
                    <a:pt x="203" y="1847"/>
                  </a:moveTo>
                  <a:cubicBezTo>
                    <a:pt x="203" y="1844"/>
                    <a:pt x="203" y="1841"/>
                    <a:pt x="200" y="1838"/>
                  </a:cubicBezTo>
                  <a:cubicBezTo>
                    <a:pt x="203" y="1838"/>
                    <a:pt x="206" y="1838"/>
                    <a:pt x="209" y="1835"/>
                  </a:cubicBezTo>
                  <a:cubicBezTo>
                    <a:pt x="209" y="1838"/>
                    <a:pt x="211" y="1841"/>
                    <a:pt x="211" y="1844"/>
                  </a:cubicBezTo>
                  <a:cubicBezTo>
                    <a:pt x="211" y="1847"/>
                    <a:pt x="206" y="1847"/>
                    <a:pt x="203" y="1847"/>
                  </a:cubicBezTo>
                  <a:close/>
                  <a:moveTo>
                    <a:pt x="200" y="1928"/>
                  </a:moveTo>
                  <a:cubicBezTo>
                    <a:pt x="214" y="1926"/>
                    <a:pt x="197" y="1951"/>
                    <a:pt x="200" y="1928"/>
                  </a:cubicBezTo>
                  <a:close/>
                  <a:moveTo>
                    <a:pt x="211" y="1816"/>
                  </a:moveTo>
                  <a:cubicBezTo>
                    <a:pt x="192" y="1841"/>
                    <a:pt x="189" y="1793"/>
                    <a:pt x="211" y="1816"/>
                  </a:cubicBezTo>
                  <a:close/>
                  <a:moveTo>
                    <a:pt x="206" y="1903"/>
                  </a:moveTo>
                  <a:cubicBezTo>
                    <a:pt x="223" y="1906"/>
                    <a:pt x="203" y="1931"/>
                    <a:pt x="206" y="1903"/>
                  </a:cubicBezTo>
                  <a:close/>
                  <a:moveTo>
                    <a:pt x="192" y="2019"/>
                  </a:moveTo>
                  <a:cubicBezTo>
                    <a:pt x="206" y="2016"/>
                    <a:pt x="189" y="2041"/>
                    <a:pt x="192" y="2019"/>
                  </a:cubicBezTo>
                  <a:close/>
                  <a:moveTo>
                    <a:pt x="203" y="1940"/>
                  </a:moveTo>
                  <a:cubicBezTo>
                    <a:pt x="206" y="1940"/>
                    <a:pt x="209" y="1948"/>
                    <a:pt x="214" y="1945"/>
                  </a:cubicBezTo>
                  <a:cubicBezTo>
                    <a:pt x="217" y="1957"/>
                    <a:pt x="203" y="1959"/>
                    <a:pt x="206" y="1968"/>
                  </a:cubicBezTo>
                  <a:cubicBezTo>
                    <a:pt x="189" y="1974"/>
                    <a:pt x="192" y="1943"/>
                    <a:pt x="203" y="1940"/>
                  </a:cubicBezTo>
                  <a:close/>
                  <a:moveTo>
                    <a:pt x="228" y="2072"/>
                  </a:moveTo>
                  <a:cubicBezTo>
                    <a:pt x="231" y="2075"/>
                    <a:pt x="231" y="2081"/>
                    <a:pt x="234" y="2084"/>
                  </a:cubicBezTo>
                  <a:cubicBezTo>
                    <a:pt x="231" y="2086"/>
                    <a:pt x="228" y="2086"/>
                    <a:pt x="226" y="2089"/>
                  </a:cubicBezTo>
                  <a:cubicBezTo>
                    <a:pt x="223" y="2084"/>
                    <a:pt x="220" y="2081"/>
                    <a:pt x="217" y="2078"/>
                  </a:cubicBezTo>
                  <a:cubicBezTo>
                    <a:pt x="220" y="2075"/>
                    <a:pt x="226" y="2072"/>
                    <a:pt x="228" y="2072"/>
                  </a:cubicBezTo>
                  <a:close/>
                  <a:moveTo>
                    <a:pt x="226" y="2030"/>
                  </a:moveTo>
                  <a:cubicBezTo>
                    <a:pt x="220" y="2033"/>
                    <a:pt x="228" y="2024"/>
                    <a:pt x="226" y="2030"/>
                  </a:cubicBezTo>
                  <a:close/>
                  <a:moveTo>
                    <a:pt x="228" y="1897"/>
                  </a:moveTo>
                  <a:cubicBezTo>
                    <a:pt x="245" y="1897"/>
                    <a:pt x="226" y="1920"/>
                    <a:pt x="228" y="1897"/>
                  </a:cubicBezTo>
                  <a:close/>
                  <a:moveTo>
                    <a:pt x="237" y="1804"/>
                  </a:moveTo>
                  <a:cubicBezTo>
                    <a:pt x="228" y="1813"/>
                    <a:pt x="217" y="1804"/>
                    <a:pt x="211" y="1799"/>
                  </a:cubicBezTo>
                  <a:lnTo>
                    <a:pt x="237" y="1790"/>
                  </a:lnTo>
                  <a:cubicBezTo>
                    <a:pt x="231" y="1793"/>
                    <a:pt x="231" y="1799"/>
                    <a:pt x="237" y="1804"/>
                  </a:cubicBezTo>
                  <a:close/>
                  <a:moveTo>
                    <a:pt x="240" y="1974"/>
                  </a:moveTo>
                  <a:cubicBezTo>
                    <a:pt x="245" y="1974"/>
                    <a:pt x="240" y="1982"/>
                    <a:pt x="237" y="1982"/>
                  </a:cubicBezTo>
                  <a:cubicBezTo>
                    <a:pt x="237" y="1979"/>
                    <a:pt x="240" y="1976"/>
                    <a:pt x="240" y="1974"/>
                  </a:cubicBezTo>
                  <a:close/>
                  <a:moveTo>
                    <a:pt x="296" y="1982"/>
                  </a:moveTo>
                  <a:cubicBezTo>
                    <a:pt x="296" y="1982"/>
                    <a:pt x="293" y="1979"/>
                    <a:pt x="293" y="1976"/>
                  </a:cubicBezTo>
                  <a:lnTo>
                    <a:pt x="296" y="1976"/>
                  </a:lnTo>
                  <a:cubicBezTo>
                    <a:pt x="293" y="1979"/>
                    <a:pt x="296" y="1979"/>
                    <a:pt x="296" y="1982"/>
                  </a:cubicBezTo>
                  <a:close/>
                  <a:moveTo>
                    <a:pt x="316" y="2013"/>
                  </a:moveTo>
                  <a:cubicBezTo>
                    <a:pt x="319" y="2021"/>
                    <a:pt x="319" y="2027"/>
                    <a:pt x="316" y="2036"/>
                  </a:cubicBezTo>
                  <a:cubicBezTo>
                    <a:pt x="313" y="2033"/>
                    <a:pt x="307" y="2033"/>
                    <a:pt x="305" y="2033"/>
                  </a:cubicBezTo>
                  <a:cubicBezTo>
                    <a:pt x="302" y="2024"/>
                    <a:pt x="302" y="2013"/>
                    <a:pt x="316" y="2013"/>
                  </a:cubicBezTo>
                  <a:close/>
                  <a:moveTo>
                    <a:pt x="316" y="1999"/>
                  </a:moveTo>
                  <a:cubicBezTo>
                    <a:pt x="302" y="1990"/>
                    <a:pt x="321" y="1965"/>
                    <a:pt x="316" y="1999"/>
                  </a:cubicBezTo>
                  <a:close/>
                  <a:moveTo>
                    <a:pt x="316" y="1959"/>
                  </a:moveTo>
                  <a:cubicBezTo>
                    <a:pt x="310" y="1959"/>
                    <a:pt x="316" y="1948"/>
                    <a:pt x="316" y="1943"/>
                  </a:cubicBezTo>
                  <a:cubicBezTo>
                    <a:pt x="319" y="1943"/>
                    <a:pt x="319" y="1959"/>
                    <a:pt x="316" y="1959"/>
                  </a:cubicBezTo>
                  <a:close/>
                  <a:moveTo>
                    <a:pt x="310" y="1931"/>
                  </a:moveTo>
                  <a:cubicBezTo>
                    <a:pt x="299" y="1931"/>
                    <a:pt x="305" y="1906"/>
                    <a:pt x="316" y="1909"/>
                  </a:cubicBezTo>
                  <a:cubicBezTo>
                    <a:pt x="321" y="1920"/>
                    <a:pt x="307" y="1920"/>
                    <a:pt x="310" y="1931"/>
                  </a:cubicBezTo>
                  <a:close/>
                  <a:moveTo>
                    <a:pt x="310" y="1813"/>
                  </a:moveTo>
                  <a:cubicBezTo>
                    <a:pt x="330" y="1813"/>
                    <a:pt x="302" y="1841"/>
                    <a:pt x="310" y="1813"/>
                  </a:cubicBezTo>
                  <a:close/>
                  <a:moveTo>
                    <a:pt x="307" y="1813"/>
                  </a:moveTo>
                  <a:cubicBezTo>
                    <a:pt x="305" y="1807"/>
                    <a:pt x="302" y="1801"/>
                    <a:pt x="299" y="1799"/>
                  </a:cubicBezTo>
                  <a:cubicBezTo>
                    <a:pt x="310" y="1790"/>
                    <a:pt x="313" y="1801"/>
                    <a:pt x="321" y="1799"/>
                  </a:cubicBezTo>
                  <a:cubicBezTo>
                    <a:pt x="324" y="1801"/>
                    <a:pt x="313" y="1807"/>
                    <a:pt x="307" y="1813"/>
                  </a:cubicBezTo>
                  <a:close/>
                  <a:moveTo>
                    <a:pt x="321" y="1751"/>
                  </a:moveTo>
                  <a:cubicBezTo>
                    <a:pt x="293" y="1745"/>
                    <a:pt x="316" y="1714"/>
                    <a:pt x="321" y="1751"/>
                  </a:cubicBezTo>
                  <a:close/>
                  <a:moveTo>
                    <a:pt x="316" y="677"/>
                  </a:moveTo>
                  <a:cubicBezTo>
                    <a:pt x="310" y="677"/>
                    <a:pt x="307" y="671"/>
                    <a:pt x="302" y="674"/>
                  </a:cubicBezTo>
                  <a:lnTo>
                    <a:pt x="302" y="668"/>
                  </a:lnTo>
                  <a:lnTo>
                    <a:pt x="299" y="668"/>
                  </a:lnTo>
                  <a:cubicBezTo>
                    <a:pt x="299" y="666"/>
                    <a:pt x="302" y="666"/>
                    <a:pt x="305" y="666"/>
                  </a:cubicBezTo>
                  <a:cubicBezTo>
                    <a:pt x="305" y="663"/>
                    <a:pt x="316" y="668"/>
                    <a:pt x="316" y="677"/>
                  </a:cubicBezTo>
                  <a:close/>
                  <a:moveTo>
                    <a:pt x="305" y="646"/>
                  </a:moveTo>
                  <a:cubicBezTo>
                    <a:pt x="302" y="649"/>
                    <a:pt x="293" y="646"/>
                    <a:pt x="293" y="637"/>
                  </a:cubicBezTo>
                  <a:cubicBezTo>
                    <a:pt x="302" y="640"/>
                    <a:pt x="307" y="640"/>
                    <a:pt x="305" y="646"/>
                  </a:cubicBezTo>
                  <a:close/>
                  <a:moveTo>
                    <a:pt x="302" y="750"/>
                  </a:moveTo>
                  <a:cubicBezTo>
                    <a:pt x="299" y="753"/>
                    <a:pt x="296" y="759"/>
                    <a:pt x="293" y="759"/>
                  </a:cubicBezTo>
                  <a:cubicBezTo>
                    <a:pt x="290" y="753"/>
                    <a:pt x="299" y="750"/>
                    <a:pt x="302" y="750"/>
                  </a:cubicBezTo>
                  <a:close/>
                  <a:moveTo>
                    <a:pt x="299" y="767"/>
                  </a:moveTo>
                  <a:cubicBezTo>
                    <a:pt x="299" y="773"/>
                    <a:pt x="288" y="776"/>
                    <a:pt x="282" y="776"/>
                  </a:cubicBezTo>
                  <a:cubicBezTo>
                    <a:pt x="285" y="770"/>
                    <a:pt x="288" y="764"/>
                    <a:pt x="299" y="767"/>
                  </a:cubicBezTo>
                  <a:close/>
                  <a:moveTo>
                    <a:pt x="282" y="1649"/>
                  </a:moveTo>
                  <a:cubicBezTo>
                    <a:pt x="282" y="1652"/>
                    <a:pt x="276" y="1655"/>
                    <a:pt x="273" y="1655"/>
                  </a:cubicBezTo>
                  <a:cubicBezTo>
                    <a:pt x="282" y="1655"/>
                    <a:pt x="273" y="1666"/>
                    <a:pt x="268" y="1660"/>
                  </a:cubicBezTo>
                  <a:cubicBezTo>
                    <a:pt x="268" y="1660"/>
                    <a:pt x="273" y="1658"/>
                    <a:pt x="273" y="1655"/>
                  </a:cubicBezTo>
                  <a:cubicBezTo>
                    <a:pt x="276" y="1652"/>
                    <a:pt x="279" y="1652"/>
                    <a:pt x="282" y="1649"/>
                  </a:cubicBezTo>
                  <a:close/>
                  <a:moveTo>
                    <a:pt x="273" y="733"/>
                  </a:moveTo>
                  <a:cubicBezTo>
                    <a:pt x="273" y="753"/>
                    <a:pt x="251" y="725"/>
                    <a:pt x="273" y="733"/>
                  </a:cubicBezTo>
                  <a:close/>
                  <a:moveTo>
                    <a:pt x="265" y="1660"/>
                  </a:moveTo>
                  <a:cubicBezTo>
                    <a:pt x="271" y="1675"/>
                    <a:pt x="242" y="1666"/>
                    <a:pt x="265" y="1660"/>
                  </a:cubicBezTo>
                  <a:close/>
                  <a:moveTo>
                    <a:pt x="262" y="1641"/>
                  </a:moveTo>
                  <a:cubicBezTo>
                    <a:pt x="259" y="1652"/>
                    <a:pt x="251" y="1627"/>
                    <a:pt x="262" y="1641"/>
                  </a:cubicBezTo>
                  <a:close/>
                  <a:moveTo>
                    <a:pt x="257" y="801"/>
                  </a:moveTo>
                  <a:cubicBezTo>
                    <a:pt x="248" y="798"/>
                    <a:pt x="251" y="784"/>
                    <a:pt x="262" y="787"/>
                  </a:cubicBezTo>
                  <a:cubicBezTo>
                    <a:pt x="262" y="793"/>
                    <a:pt x="254" y="795"/>
                    <a:pt x="257" y="801"/>
                  </a:cubicBezTo>
                  <a:close/>
                  <a:moveTo>
                    <a:pt x="262" y="691"/>
                  </a:moveTo>
                  <a:cubicBezTo>
                    <a:pt x="262" y="697"/>
                    <a:pt x="257" y="700"/>
                    <a:pt x="254" y="700"/>
                  </a:cubicBezTo>
                  <a:cubicBezTo>
                    <a:pt x="251" y="694"/>
                    <a:pt x="257" y="691"/>
                    <a:pt x="262" y="691"/>
                  </a:cubicBezTo>
                  <a:close/>
                  <a:moveTo>
                    <a:pt x="251" y="680"/>
                  </a:moveTo>
                  <a:cubicBezTo>
                    <a:pt x="254" y="691"/>
                    <a:pt x="242" y="700"/>
                    <a:pt x="234" y="697"/>
                  </a:cubicBezTo>
                  <a:cubicBezTo>
                    <a:pt x="234" y="691"/>
                    <a:pt x="245" y="685"/>
                    <a:pt x="251" y="680"/>
                  </a:cubicBezTo>
                  <a:close/>
                  <a:moveTo>
                    <a:pt x="228" y="739"/>
                  </a:moveTo>
                  <a:cubicBezTo>
                    <a:pt x="237" y="731"/>
                    <a:pt x="245" y="742"/>
                    <a:pt x="254" y="731"/>
                  </a:cubicBezTo>
                  <a:cubicBezTo>
                    <a:pt x="259" y="745"/>
                    <a:pt x="240" y="750"/>
                    <a:pt x="228" y="756"/>
                  </a:cubicBezTo>
                  <a:cubicBezTo>
                    <a:pt x="228" y="750"/>
                    <a:pt x="234" y="745"/>
                    <a:pt x="228" y="739"/>
                  </a:cubicBezTo>
                  <a:close/>
                  <a:moveTo>
                    <a:pt x="228" y="1573"/>
                  </a:moveTo>
                  <a:cubicBezTo>
                    <a:pt x="237" y="1587"/>
                    <a:pt x="209" y="1579"/>
                    <a:pt x="228" y="1573"/>
                  </a:cubicBezTo>
                  <a:close/>
                  <a:moveTo>
                    <a:pt x="217" y="691"/>
                  </a:moveTo>
                  <a:cubicBezTo>
                    <a:pt x="226" y="685"/>
                    <a:pt x="214" y="700"/>
                    <a:pt x="217" y="691"/>
                  </a:cubicBezTo>
                  <a:close/>
                  <a:moveTo>
                    <a:pt x="220" y="1629"/>
                  </a:moveTo>
                  <a:cubicBezTo>
                    <a:pt x="223" y="1629"/>
                    <a:pt x="223" y="1632"/>
                    <a:pt x="223" y="1632"/>
                  </a:cubicBezTo>
                  <a:cubicBezTo>
                    <a:pt x="223" y="1632"/>
                    <a:pt x="220" y="1635"/>
                    <a:pt x="217" y="1635"/>
                  </a:cubicBezTo>
                  <a:cubicBezTo>
                    <a:pt x="214" y="1635"/>
                    <a:pt x="211" y="1632"/>
                    <a:pt x="211" y="1632"/>
                  </a:cubicBezTo>
                  <a:cubicBezTo>
                    <a:pt x="214" y="1632"/>
                    <a:pt x="217" y="1629"/>
                    <a:pt x="220" y="1629"/>
                  </a:cubicBezTo>
                  <a:close/>
                  <a:moveTo>
                    <a:pt x="214" y="1643"/>
                  </a:moveTo>
                  <a:cubicBezTo>
                    <a:pt x="228" y="1658"/>
                    <a:pt x="194" y="1632"/>
                    <a:pt x="214" y="1643"/>
                  </a:cubicBezTo>
                  <a:close/>
                  <a:moveTo>
                    <a:pt x="203" y="1450"/>
                  </a:moveTo>
                  <a:cubicBezTo>
                    <a:pt x="206" y="1453"/>
                    <a:pt x="203" y="1456"/>
                    <a:pt x="203" y="1457"/>
                  </a:cubicBezTo>
                  <a:cubicBezTo>
                    <a:pt x="200" y="1457"/>
                    <a:pt x="203" y="1453"/>
                    <a:pt x="203" y="1450"/>
                  </a:cubicBezTo>
                  <a:close/>
                  <a:moveTo>
                    <a:pt x="206" y="1553"/>
                  </a:moveTo>
                  <a:cubicBezTo>
                    <a:pt x="200" y="1550"/>
                    <a:pt x="209" y="1553"/>
                    <a:pt x="206" y="1553"/>
                  </a:cubicBezTo>
                  <a:close/>
                  <a:moveTo>
                    <a:pt x="217" y="1725"/>
                  </a:moveTo>
                  <a:cubicBezTo>
                    <a:pt x="209" y="1731"/>
                    <a:pt x="194" y="1714"/>
                    <a:pt x="194" y="1722"/>
                  </a:cubicBezTo>
                  <a:cubicBezTo>
                    <a:pt x="192" y="1714"/>
                    <a:pt x="189" y="1703"/>
                    <a:pt x="186" y="1694"/>
                  </a:cubicBezTo>
                  <a:lnTo>
                    <a:pt x="183" y="1694"/>
                  </a:lnTo>
                  <a:lnTo>
                    <a:pt x="186" y="1691"/>
                  </a:lnTo>
                  <a:cubicBezTo>
                    <a:pt x="186" y="1689"/>
                    <a:pt x="183" y="1686"/>
                    <a:pt x="180" y="1686"/>
                  </a:cubicBezTo>
                  <a:cubicBezTo>
                    <a:pt x="186" y="1686"/>
                    <a:pt x="194" y="1686"/>
                    <a:pt x="194" y="1680"/>
                  </a:cubicBezTo>
                  <a:cubicBezTo>
                    <a:pt x="211" y="1680"/>
                    <a:pt x="220" y="1711"/>
                    <a:pt x="217" y="1725"/>
                  </a:cubicBezTo>
                  <a:close/>
                  <a:moveTo>
                    <a:pt x="200" y="1374"/>
                  </a:moveTo>
                  <a:cubicBezTo>
                    <a:pt x="197" y="1382"/>
                    <a:pt x="189" y="1374"/>
                    <a:pt x="200" y="1374"/>
                  </a:cubicBezTo>
                  <a:close/>
                  <a:moveTo>
                    <a:pt x="192" y="1487"/>
                  </a:moveTo>
                  <a:cubicBezTo>
                    <a:pt x="193" y="1487"/>
                    <a:pt x="195" y="1488"/>
                    <a:pt x="192" y="1488"/>
                  </a:cubicBezTo>
                  <a:cubicBezTo>
                    <a:pt x="191" y="1487"/>
                    <a:pt x="191" y="1487"/>
                    <a:pt x="192" y="1487"/>
                  </a:cubicBezTo>
                  <a:close/>
                  <a:moveTo>
                    <a:pt x="183" y="1466"/>
                  </a:moveTo>
                  <a:cubicBezTo>
                    <a:pt x="186" y="1469"/>
                    <a:pt x="183" y="1469"/>
                    <a:pt x="183" y="1466"/>
                  </a:cubicBezTo>
                  <a:close/>
                  <a:moveTo>
                    <a:pt x="189" y="1522"/>
                  </a:moveTo>
                  <a:cubicBezTo>
                    <a:pt x="189" y="1514"/>
                    <a:pt x="183" y="1505"/>
                    <a:pt x="178" y="1500"/>
                  </a:cubicBezTo>
                  <a:cubicBezTo>
                    <a:pt x="189" y="1494"/>
                    <a:pt x="211" y="1514"/>
                    <a:pt x="189" y="1522"/>
                  </a:cubicBezTo>
                  <a:close/>
                  <a:moveTo>
                    <a:pt x="172" y="1477"/>
                  </a:moveTo>
                  <a:cubicBezTo>
                    <a:pt x="180" y="1477"/>
                    <a:pt x="178" y="1486"/>
                    <a:pt x="180" y="1491"/>
                  </a:cubicBezTo>
                  <a:cubicBezTo>
                    <a:pt x="172" y="1494"/>
                    <a:pt x="175" y="1483"/>
                    <a:pt x="172" y="1477"/>
                  </a:cubicBezTo>
                  <a:close/>
                  <a:moveTo>
                    <a:pt x="183" y="1368"/>
                  </a:moveTo>
                  <a:cubicBezTo>
                    <a:pt x="180" y="1368"/>
                    <a:pt x="178" y="1368"/>
                    <a:pt x="175" y="1362"/>
                  </a:cubicBezTo>
                  <a:lnTo>
                    <a:pt x="175" y="1360"/>
                  </a:lnTo>
                  <a:lnTo>
                    <a:pt x="180" y="1360"/>
                  </a:lnTo>
                  <a:cubicBezTo>
                    <a:pt x="183" y="1360"/>
                    <a:pt x="183" y="1365"/>
                    <a:pt x="183" y="1368"/>
                  </a:cubicBezTo>
                  <a:close/>
                  <a:moveTo>
                    <a:pt x="180" y="804"/>
                  </a:moveTo>
                  <a:cubicBezTo>
                    <a:pt x="180" y="810"/>
                    <a:pt x="175" y="812"/>
                    <a:pt x="169" y="812"/>
                  </a:cubicBezTo>
                  <a:cubicBezTo>
                    <a:pt x="172" y="807"/>
                    <a:pt x="175" y="801"/>
                    <a:pt x="180" y="804"/>
                  </a:cubicBezTo>
                  <a:close/>
                  <a:moveTo>
                    <a:pt x="172" y="1320"/>
                  </a:moveTo>
                  <a:cubicBezTo>
                    <a:pt x="169" y="1312"/>
                    <a:pt x="178" y="1334"/>
                    <a:pt x="169" y="1326"/>
                  </a:cubicBezTo>
                  <a:cubicBezTo>
                    <a:pt x="169" y="1323"/>
                    <a:pt x="172" y="1323"/>
                    <a:pt x="172" y="1320"/>
                  </a:cubicBezTo>
                  <a:close/>
                  <a:moveTo>
                    <a:pt x="166" y="1559"/>
                  </a:moveTo>
                  <a:cubicBezTo>
                    <a:pt x="172" y="1553"/>
                    <a:pt x="175" y="1550"/>
                    <a:pt x="180" y="1548"/>
                  </a:cubicBezTo>
                  <a:cubicBezTo>
                    <a:pt x="180" y="1556"/>
                    <a:pt x="175" y="1565"/>
                    <a:pt x="172" y="1570"/>
                  </a:cubicBezTo>
                  <a:lnTo>
                    <a:pt x="172" y="1579"/>
                  </a:lnTo>
                  <a:cubicBezTo>
                    <a:pt x="169" y="1579"/>
                    <a:pt x="166" y="1576"/>
                    <a:pt x="166" y="1576"/>
                  </a:cubicBezTo>
                  <a:cubicBezTo>
                    <a:pt x="163" y="1579"/>
                    <a:pt x="163" y="1581"/>
                    <a:pt x="161" y="1584"/>
                  </a:cubicBezTo>
                  <a:cubicBezTo>
                    <a:pt x="159" y="1586"/>
                    <a:pt x="158" y="1585"/>
                    <a:pt x="157" y="1584"/>
                  </a:cubicBezTo>
                  <a:cubicBezTo>
                    <a:pt x="157" y="1585"/>
                    <a:pt x="156" y="1586"/>
                    <a:pt x="155" y="1587"/>
                  </a:cubicBezTo>
                  <a:cubicBezTo>
                    <a:pt x="152" y="1596"/>
                    <a:pt x="138" y="1587"/>
                    <a:pt x="155" y="1584"/>
                  </a:cubicBezTo>
                  <a:cubicBezTo>
                    <a:pt x="156" y="1584"/>
                    <a:pt x="156" y="1583"/>
                    <a:pt x="157" y="1583"/>
                  </a:cubicBezTo>
                  <a:cubicBezTo>
                    <a:pt x="157" y="1582"/>
                    <a:pt x="157" y="1581"/>
                    <a:pt x="158" y="1581"/>
                  </a:cubicBezTo>
                  <a:cubicBezTo>
                    <a:pt x="159" y="1580"/>
                    <a:pt x="161" y="1578"/>
                    <a:pt x="161" y="1576"/>
                  </a:cubicBezTo>
                  <a:lnTo>
                    <a:pt x="158" y="1576"/>
                  </a:lnTo>
                  <a:cubicBezTo>
                    <a:pt x="152" y="1570"/>
                    <a:pt x="166" y="1562"/>
                    <a:pt x="155" y="1562"/>
                  </a:cubicBezTo>
                  <a:cubicBezTo>
                    <a:pt x="155" y="1559"/>
                    <a:pt x="161" y="1556"/>
                    <a:pt x="163" y="1556"/>
                  </a:cubicBezTo>
                  <a:cubicBezTo>
                    <a:pt x="166" y="1553"/>
                    <a:pt x="166" y="1553"/>
                    <a:pt x="166" y="1556"/>
                  </a:cubicBezTo>
                  <a:lnTo>
                    <a:pt x="166" y="1559"/>
                  </a:lnTo>
                  <a:close/>
                  <a:moveTo>
                    <a:pt x="155" y="1756"/>
                  </a:moveTo>
                  <a:cubicBezTo>
                    <a:pt x="152" y="1754"/>
                    <a:pt x="152" y="1748"/>
                    <a:pt x="149" y="1745"/>
                  </a:cubicBezTo>
                  <a:cubicBezTo>
                    <a:pt x="155" y="1745"/>
                    <a:pt x="158" y="1742"/>
                    <a:pt x="161" y="1742"/>
                  </a:cubicBezTo>
                  <a:cubicBezTo>
                    <a:pt x="163" y="1745"/>
                    <a:pt x="166" y="1748"/>
                    <a:pt x="166" y="1751"/>
                  </a:cubicBezTo>
                  <a:cubicBezTo>
                    <a:pt x="163" y="1754"/>
                    <a:pt x="158" y="1756"/>
                    <a:pt x="155" y="1756"/>
                  </a:cubicBezTo>
                  <a:close/>
                  <a:moveTo>
                    <a:pt x="118" y="1940"/>
                  </a:moveTo>
                  <a:cubicBezTo>
                    <a:pt x="132" y="1934"/>
                    <a:pt x="135" y="1962"/>
                    <a:pt x="121" y="1968"/>
                  </a:cubicBezTo>
                  <a:cubicBezTo>
                    <a:pt x="124" y="1959"/>
                    <a:pt x="121" y="1948"/>
                    <a:pt x="118" y="1940"/>
                  </a:cubicBezTo>
                  <a:close/>
                  <a:moveTo>
                    <a:pt x="110" y="1864"/>
                  </a:moveTo>
                  <a:cubicBezTo>
                    <a:pt x="90" y="1849"/>
                    <a:pt x="135" y="1832"/>
                    <a:pt x="138" y="1855"/>
                  </a:cubicBezTo>
                  <a:cubicBezTo>
                    <a:pt x="138" y="1858"/>
                    <a:pt x="138" y="1861"/>
                    <a:pt x="135" y="1864"/>
                  </a:cubicBezTo>
                  <a:lnTo>
                    <a:pt x="138" y="1864"/>
                  </a:lnTo>
                  <a:lnTo>
                    <a:pt x="138" y="1864"/>
                  </a:lnTo>
                  <a:cubicBezTo>
                    <a:pt x="143" y="1860"/>
                    <a:pt x="151" y="1866"/>
                    <a:pt x="158" y="1866"/>
                  </a:cubicBezTo>
                  <a:cubicBezTo>
                    <a:pt x="155" y="1869"/>
                    <a:pt x="138" y="1869"/>
                    <a:pt x="135" y="1866"/>
                  </a:cubicBezTo>
                  <a:lnTo>
                    <a:pt x="135" y="1866"/>
                  </a:lnTo>
                  <a:cubicBezTo>
                    <a:pt x="130" y="1869"/>
                    <a:pt x="124" y="1862"/>
                    <a:pt x="121" y="1855"/>
                  </a:cubicBezTo>
                  <a:cubicBezTo>
                    <a:pt x="115" y="1852"/>
                    <a:pt x="110" y="1852"/>
                    <a:pt x="110" y="1864"/>
                  </a:cubicBezTo>
                  <a:close/>
                  <a:moveTo>
                    <a:pt x="118" y="1931"/>
                  </a:moveTo>
                  <a:cubicBezTo>
                    <a:pt x="118" y="1951"/>
                    <a:pt x="96" y="1926"/>
                    <a:pt x="118" y="1931"/>
                  </a:cubicBezTo>
                  <a:close/>
                  <a:moveTo>
                    <a:pt x="118" y="1913"/>
                  </a:moveTo>
                  <a:cubicBezTo>
                    <a:pt x="117" y="1913"/>
                    <a:pt x="115" y="1911"/>
                    <a:pt x="118" y="1911"/>
                  </a:cubicBezTo>
                  <a:cubicBezTo>
                    <a:pt x="119" y="1912"/>
                    <a:pt x="119" y="1913"/>
                    <a:pt x="118" y="1913"/>
                  </a:cubicBezTo>
                  <a:close/>
                  <a:moveTo>
                    <a:pt x="101" y="1697"/>
                  </a:moveTo>
                  <a:cubicBezTo>
                    <a:pt x="115" y="1697"/>
                    <a:pt x="99" y="1720"/>
                    <a:pt x="101" y="1697"/>
                  </a:cubicBezTo>
                  <a:close/>
                  <a:moveTo>
                    <a:pt x="104" y="1821"/>
                  </a:moveTo>
                  <a:cubicBezTo>
                    <a:pt x="101" y="1827"/>
                    <a:pt x="107" y="1818"/>
                    <a:pt x="104" y="1821"/>
                  </a:cubicBezTo>
                  <a:close/>
                  <a:moveTo>
                    <a:pt x="104" y="1672"/>
                  </a:moveTo>
                  <a:cubicBezTo>
                    <a:pt x="110" y="1686"/>
                    <a:pt x="82" y="1677"/>
                    <a:pt x="104" y="1672"/>
                  </a:cubicBezTo>
                  <a:close/>
                  <a:moveTo>
                    <a:pt x="99" y="1849"/>
                  </a:moveTo>
                  <a:cubicBezTo>
                    <a:pt x="99" y="1849"/>
                    <a:pt x="97" y="1848"/>
                    <a:pt x="99" y="1849"/>
                  </a:cubicBezTo>
                  <a:close/>
                  <a:moveTo>
                    <a:pt x="96" y="1883"/>
                  </a:moveTo>
                  <a:cubicBezTo>
                    <a:pt x="96" y="1886"/>
                    <a:pt x="90" y="1889"/>
                    <a:pt x="87" y="1889"/>
                  </a:cubicBezTo>
                  <a:cubicBezTo>
                    <a:pt x="87" y="1886"/>
                    <a:pt x="93" y="1883"/>
                    <a:pt x="96" y="1883"/>
                  </a:cubicBezTo>
                  <a:close/>
                  <a:moveTo>
                    <a:pt x="79" y="1610"/>
                  </a:moveTo>
                  <a:lnTo>
                    <a:pt x="79" y="1609"/>
                  </a:lnTo>
                  <a:cubicBezTo>
                    <a:pt x="79" y="1609"/>
                    <a:pt x="80" y="1610"/>
                    <a:pt x="79" y="1610"/>
                  </a:cubicBezTo>
                  <a:cubicBezTo>
                    <a:pt x="75" y="1608"/>
                    <a:pt x="78" y="1608"/>
                    <a:pt x="79" y="1609"/>
                  </a:cubicBezTo>
                  <a:lnTo>
                    <a:pt x="79" y="1610"/>
                  </a:lnTo>
                  <a:close/>
                  <a:moveTo>
                    <a:pt x="70" y="1567"/>
                  </a:moveTo>
                  <a:cubicBezTo>
                    <a:pt x="90" y="1567"/>
                    <a:pt x="65" y="1596"/>
                    <a:pt x="70" y="1567"/>
                  </a:cubicBezTo>
                  <a:close/>
                  <a:moveTo>
                    <a:pt x="87" y="1641"/>
                  </a:moveTo>
                  <a:cubicBezTo>
                    <a:pt x="90" y="1660"/>
                    <a:pt x="68" y="1629"/>
                    <a:pt x="87" y="1641"/>
                  </a:cubicBezTo>
                  <a:close/>
                  <a:moveTo>
                    <a:pt x="93" y="1680"/>
                  </a:moveTo>
                  <a:cubicBezTo>
                    <a:pt x="96" y="1686"/>
                    <a:pt x="87" y="1686"/>
                    <a:pt x="84" y="1686"/>
                  </a:cubicBezTo>
                  <a:lnTo>
                    <a:pt x="84" y="1680"/>
                  </a:lnTo>
                  <a:lnTo>
                    <a:pt x="93" y="1680"/>
                  </a:lnTo>
                  <a:close/>
                  <a:moveTo>
                    <a:pt x="90" y="1748"/>
                  </a:moveTo>
                  <a:cubicBezTo>
                    <a:pt x="87" y="1756"/>
                    <a:pt x="70" y="1745"/>
                    <a:pt x="90" y="1748"/>
                  </a:cubicBezTo>
                  <a:close/>
                  <a:moveTo>
                    <a:pt x="87" y="1765"/>
                  </a:moveTo>
                  <a:cubicBezTo>
                    <a:pt x="87" y="1770"/>
                    <a:pt x="82" y="1770"/>
                    <a:pt x="76" y="1773"/>
                  </a:cubicBezTo>
                  <a:cubicBezTo>
                    <a:pt x="73" y="1765"/>
                    <a:pt x="82" y="1765"/>
                    <a:pt x="87" y="1765"/>
                  </a:cubicBezTo>
                  <a:close/>
                  <a:moveTo>
                    <a:pt x="90" y="1779"/>
                  </a:moveTo>
                  <a:cubicBezTo>
                    <a:pt x="93" y="1785"/>
                    <a:pt x="87" y="1787"/>
                    <a:pt x="90" y="1790"/>
                  </a:cubicBezTo>
                  <a:lnTo>
                    <a:pt x="90" y="1790"/>
                  </a:lnTo>
                  <a:cubicBezTo>
                    <a:pt x="102" y="1792"/>
                    <a:pt x="87" y="1810"/>
                    <a:pt x="90" y="1818"/>
                  </a:cubicBezTo>
                  <a:cubicBezTo>
                    <a:pt x="82" y="1821"/>
                    <a:pt x="76" y="1816"/>
                    <a:pt x="73" y="1810"/>
                  </a:cubicBezTo>
                  <a:cubicBezTo>
                    <a:pt x="73" y="1802"/>
                    <a:pt x="89" y="1799"/>
                    <a:pt x="88" y="1791"/>
                  </a:cubicBezTo>
                  <a:cubicBezTo>
                    <a:pt x="82" y="1792"/>
                    <a:pt x="83" y="1776"/>
                    <a:pt x="90" y="1779"/>
                  </a:cubicBezTo>
                  <a:close/>
                  <a:moveTo>
                    <a:pt x="90" y="1714"/>
                  </a:moveTo>
                  <a:cubicBezTo>
                    <a:pt x="104" y="1728"/>
                    <a:pt x="70" y="1706"/>
                    <a:pt x="90" y="1714"/>
                  </a:cubicBezTo>
                  <a:close/>
                  <a:moveTo>
                    <a:pt x="84" y="1528"/>
                  </a:moveTo>
                  <a:cubicBezTo>
                    <a:pt x="93" y="1525"/>
                    <a:pt x="99" y="1531"/>
                    <a:pt x="104" y="1531"/>
                  </a:cubicBezTo>
                  <a:cubicBezTo>
                    <a:pt x="107" y="1539"/>
                    <a:pt x="107" y="1550"/>
                    <a:pt x="104" y="1559"/>
                  </a:cubicBezTo>
                  <a:cubicBezTo>
                    <a:pt x="79" y="1567"/>
                    <a:pt x="82" y="1542"/>
                    <a:pt x="84" y="1528"/>
                  </a:cubicBezTo>
                  <a:close/>
                  <a:moveTo>
                    <a:pt x="87" y="1512"/>
                  </a:moveTo>
                  <a:cubicBezTo>
                    <a:pt x="86" y="1512"/>
                    <a:pt x="83" y="1511"/>
                    <a:pt x="87" y="1511"/>
                  </a:cubicBezTo>
                  <a:cubicBezTo>
                    <a:pt x="88" y="1512"/>
                    <a:pt x="88" y="1512"/>
                    <a:pt x="87" y="1512"/>
                  </a:cubicBezTo>
                  <a:close/>
                  <a:moveTo>
                    <a:pt x="121" y="1441"/>
                  </a:moveTo>
                  <a:cubicBezTo>
                    <a:pt x="110" y="1447"/>
                    <a:pt x="110" y="1427"/>
                    <a:pt x="110" y="1422"/>
                  </a:cubicBezTo>
                  <a:cubicBezTo>
                    <a:pt x="124" y="1419"/>
                    <a:pt x="113" y="1436"/>
                    <a:pt x="121" y="1441"/>
                  </a:cubicBezTo>
                  <a:close/>
                  <a:moveTo>
                    <a:pt x="110" y="1388"/>
                  </a:moveTo>
                  <a:cubicBezTo>
                    <a:pt x="110" y="1382"/>
                    <a:pt x="118" y="1391"/>
                    <a:pt x="110" y="1388"/>
                  </a:cubicBezTo>
                  <a:close/>
                  <a:moveTo>
                    <a:pt x="104" y="1340"/>
                  </a:moveTo>
                  <a:cubicBezTo>
                    <a:pt x="113" y="1340"/>
                    <a:pt x="110" y="1348"/>
                    <a:pt x="113" y="1354"/>
                  </a:cubicBezTo>
                  <a:cubicBezTo>
                    <a:pt x="104" y="1357"/>
                    <a:pt x="107" y="1345"/>
                    <a:pt x="104" y="1340"/>
                  </a:cubicBezTo>
                  <a:close/>
                  <a:moveTo>
                    <a:pt x="113" y="1607"/>
                  </a:moveTo>
                  <a:cubicBezTo>
                    <a:pt x="121" y="1604"/>
                    <a:pt x="121" y="1601"/>
                    <a:pt x="127" y="1604"/>
                  </a:cubicBezTo>
                  <a:cubicBezTo>
                    <a:pt x="124" y="1607"/>
                    <a:pt x="118" y="1610"/>
                    <a:pt x="113" y="1607"/>
                  </a:cubicBezTo>
                  <a:cubicBezTo>
                    <a:pt x="107" y="1610"/>
                    <a:pt x="110" y="1612"/>
                    <a:pt x="104" y="1612"/>
                  </a:cubicBezTo>
                  <a:cubicBezTo>
                    <a:pt x="107" y="1610"/>
                    <a:pt x="110" y="1607"/>
                    <a:pt x="113" y="1607"/>
                  </a:cubicBezTo>
                  <a:close/>
                  <a:moveTo>
                    <a:pt x="113" y="1584"/>
                  </a:moveTo>
                  <a:cubicBezTo>
                    <a:pt x="107" y="1587"/>
                    <a:pt x="115" y="1579"/>
                    <a:pt x="113" y="1584"/>
                  </a:cubicBezTo>
                  <a:close/>
                  <a:moveTo>
                    <a:pt x="118" y="1587"/>
                  </a:moveTo>
                  <a:cubicBezTo>
                    <a:pt x="121" y="1587"/>
                    <a:pt x="115" y="1584"/>
                    <a:pt x="118" y="1587"/>
                  </a:cubicBezTo>
                  <a:close/>
                  <a:moveTo>
                    <a:pt x="149" y="1525"/>
                  </a:moveTo>
                  <a:cubicBezTo>
                    <a:pt x="155" y="1539"/>
                    <a:pt x="127" y="1531"/>
                    <a:pt x="149" y="1525"/>
                  </a:cubicBezTo>
                  <a:close/>
                  <a:moveTo>
                    <a:pt x="141" y="1500"/>
                  </a:moveTo>
                  <a:cubicBezTo>
                    <a:pt x="141" y="1494"/>
                    <a:pt x="149" y="1502"/>
                    <a:pt x="141" y="1500"/>
                  </a:cubicBezTo>
                  <a:close/>
                  <a:moveTo>
                    <a:pt x="147" y="1565"/>
                  </a:moveTo>
                  <a:cubicBezTo>
                    <a:pt x="155" y="1565"/>
                    <a:pt x="149" y="1581"/>
                    <a:pt x="141" y="1579"/>
                  </a:cubicBezTo>
                  <a:cubicBezTo>
                    <a:pt x="135" y="1573"/>
                    <a:pt x="147" y="1573"/>
                    <a:pt x="147" y="1565"/>
                  </a:cubicBezTo>
                  <a:close/>
                  <a:moveTo>
                    <a:pt x="161" y="1483"/>
                  </a:moveTo>
                  <a:cubicBezTo>
                    <a:pt x="158" y="1505"/>
                    <a:pt x="144" y="1469"/>
                    <a:pt x="161" y="1483"/>
                  </a:cubicBezTo>
                  <a:close/>
                  <a:moveTo>
                    <a:pt x="149" y="1652"/>
                  </a:moveTo>
                  <a:cubicBezTo>
                    <a:pt x="149" y="1658"/>
                    <a:pt x="144" y="1658"/>
                    <a:pt x="141" y="1658"/>
                  </a:cubicBezTo>
                  <a:cubicBezTo>
                    <a:pt x="141" y="1655"/>
                    <a:pt x="147" y="1652"/>
                    <a:pt x="149" y="1652"/>
                  </a:cubicBezTo>
                  <a:close/>
                  <a:moveTo>
                    <a:pt x="155" y="1689"/>
                  </a:moveTo>
                  <a:lnTo>
                    <a:pt x="155" y="1697"/>
                  </a:lnTo>
                  <a:cubicBezTo>
                    <a:pt x="149" y="1697"/>
                    <a:pt x="144" y="1700"/>
                    <a:pt x="138" y="1700"/>
                  </a:cubicBezTo>
                  <a:cubicBezTo>
                    <a:pt x="141" y="1697"/>
                    <a:pt x="141" y="1691"/>
                    <a:pt x="144" y="1689"/>
                  </a:cubicBezTo>
                  <a:cubicBezTo>
                    <a:pt x="141" y="1686"/>
                    <a:pt x="138" y="1683"/>
                    <a:pt x="138" y="1680"/>
                  </a:cubicBezTo>
                  <a:cubicBezTo>
                    <a:pt x="152" y="1669"/>
                    <a:pt x="158" y="1680"/>
                    <a:pt x="155" y="1689"/>
                  </a:cubicBezTo>
                  <a:close/>
                  <a:moveTo>
                    <a:pt x="155" y="1734"/>
                  </a:moveTo>
                  <a:cubicBezTo>
                    <a:pt x="149" y="1728"/>
                    <a:pt x="155" y="1711"/>
                    <a:pt x="163" y="1714"/>
                  </a:cubicBezTo>
                  <a:cubicBezTo>
                    <a:pt x="158" y="1720"/>
                    <a:pt x="155" y="1725"/>
                    <a:pt x="155" y="1734"/>
                  </a:cubicBezTo>
                  <a:close/>
                  <a:moveTo>
                    <a:pt x="166" y="1728"/>
                  </a:moveTo>
                  <a:cubicBezTo>
                    <a:pt x="172" y="1742"/>
                    <a:pt x="144" y="1734"/>
                    <a:pt x="166" y="1728"/>
                  </a:cubicBezTo>
                  <a:close/>
                  <a:moveTo>
                    <a:pt x="149" y="1711"/>
                  </a:moveTo>
                  <a:cubicBezTo>
                    <a:pt x="158" y="1728"/>
                    <a:pt x="132" y="1722"/>
                    <a:pt x="124" y="1725"/>
                  </a:cubicBezTo>
                  <a:cubicBezTo>
                    <a:pt x="127" y="1720"/>
                    <a:pt x="130" y="1717"/>
                    <a:pt x="132" y="1714"/>
                  </a:cubicBezTo>
                  <a:lnTo>
                    <a:pt x="135" y="1714"/>
                  </a:lnTo>
                  <a:cubicBezTo>
                    <a:pt x="141" y="1711"/>
                    <a:pt x="144" y="1711"/>
                    <a:pt x="149" y="1711"/>
                  </a:cubicBezTo>
                  <a:close/>
                  <a:moveTo>
                    <a:pt x="144" y="1737"/>
                  </a:moveTo>
                  <a:cubicBezTo>
                    <a:pt x="147" y="1731"/>
                    <a:pt x="152" y="1745"/>
                    <a:pt x="144" y="1737"/>
                  </a:cubicBezTo>
                  <a:close/>
                  <a:moveTo>
                    <a:pt x="147" y="1783"/>
                  </a:moveTo>
                  <a:cubicBezTo>
                    <a:pt x="148" y="1783"/>
                    <a:pt x="150" y="1785"/>
                    <a:pt x="147" y="1785"/>
                  </a:cubicBezTo>
                  <a:cubicBezTo>
                    <a:pt x="146" y="1784"/>
                    <a:pt x="146" y="1783"/>
                    <a:pt x="147" y="1783"/>
                  </a:cubicBezTo>
                  <a:close/>
                  <a:moveTo>
                    <a:pt x="132" y="1807"/>
                  </a:moveTo>
                  <a:cubicBezTo>
                    <a:pt x="132" y="1804"/>
                    <a:pt x="130" y="1801"/>
                    <a:pt x="127" y="1799"/>
                  </a:cubicBezTo>
                  <a:cubicBezTo>
                    <a:pt x="130" y="1796"/>
                    <a:pt x="132" y="1796"/>
                    <a:pt x="135" y="1793"/>
                  </a:cubicBezTo>
                  <a:cubicBezTo>
                    <a:pt x="138" y="1796"/>
                    <a:pt x="141" y="1799"/>
                    <a:pt x="141" y="1801"/>
                  </a:cubicBezTo>
                  <a:cubicBezTo>
                    <a:pt x="141" y="1804"/>
                    <a:pt x="135" y="1807"/>
                    <a:pt x="132" y="1807"/>
                  </a:cubicBezTo>
                  <a:close/>
                  <a:moveTo>
                    <a:pt x="132" y="1816"/>
                  </a:moveTo>
                  <a:cubicBezTo>
                    <a:pt x="138" y="1807"/>
                    <a:pt x="141" y="1821"/>
                    <a:pt x="132" y="1816"/>
                  </a:cubicBezTo>
                  <a:close/>
                  <a:moveTo>
                    <a:pt x="141" y="1841"/>
                  </a:moveTo>
                  <a:cubicBezTo>
                    <a:pt x="141" y="1838"/>
                    <a:pt x="138" y="1847"/>
                    <a:pt x="141" y="1841"/>
                  </a:cubicBezTo>
                  <a:close/>
                  <a:moveTo>
                    <a:pt x="138" y="1759"/>
                  </a:moveTo>
                  <a:cubicBezTo>
                    <a:pt x="158" y="1762"/>
                    <a:pt x="130" y="1787"/>
                    <a:pt x="138" y="1759"/>
                  </a:cubicBezTo>
                  <a:close/>
                  <a:moveTo>
                    <a:pt x="115" y="1728"/>
                  </a:moveTo>
                  <a:cubicBezTo>
                    <a:pt x="115" y="1728"/>
                    <a:pt x="113" y="1728"/>
                    <a:pt x="115" y="1728"/>
                  </a:cubicBezTo>
                  <a:lnTo>
                    <a:pt x="113" y="1725"/>
                  </a:lnTo>
                  <a:cubicBezTo>
                    <a:pt x="115" y="1722"/>
                    <a:pt x="121" y="1722"/>
                    <a:pt x="124" y="1720"/>
                  </a:cubicBezTo>
                  <a:lnTo>
                    <a:pt x="115" y="1728"/>
                  </a:lnTo>
                  <a:close/>
                  <a:moveTo>
                    <a:pt x="115" y="1731"/>
                  </a:moveTo>
                  <a:cubicBezTo>
                    <a:pt x="130" y="1728"/>
                    <a:pt x="113" y="1754"/>
                    <a:pt x="115" y="1731"/>
                  </a:cubicBezTo>
                  <a:close/>
                  <a:moveTo>
                    <a:pt x="118" y="1773"/>
                  </a:moveTo>
                  <a:cubicBezTo>
                    <a:pt x="118" y="1776"/>
                    <a:pt x="121" y="1779"/>
                    <a:pt x="121" y="1782"/>
                  </a:cubicBezTo>
                  <a:cubicBezTo>
                    <a:pt x="113" y="1785"/>
                    <a:pt x="104" y="1779"/>
                    <a:pt x="118" y="1773"/>
                  </a:cubicBezTo>
                  <a:close/>
                  <a:moveTo>
                    <a:pt x="107" y="1793"/>
                  </a:move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cubicBezTo>
                    <a:pt x="108" y="1792"/>
                    <a:pt x="108" y="1793"/>
                    <a:pt x="107" y="1793"/>
                  </a:cubicBezTo>
                  <a:lnTo>
                    <a:pt x="107" y="1793"/>
                  </a:lnTo>
                  <a:lnTo>
                    <a:pt x="107" y="1793"/>
                  </a:lnTo>
                  <a:lnTo>
                    <a:pt x="107" y="1793"/>
                  </a:lnTo>
                  <a:lnTo>
                    <a:pt x="107" y="1793"/>
                  </a:lnTo>
                  <a:lnTo>
                    <a:pt x="107" y="1793"/>
                  </a:lnTo>
                  <a:lnTo>
                    <a:pt x="107" y="1793"/>
                  </a:lnTo>
                  <a:cubicBezTo>
                    <a:pt x="108" y="1793"/>
                    <a:pt x="108" y="1792"/>
                    <a:pt x="108" y="1792"/>
                  </a:cubicBez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cubicBezTo>
                    <a:pt x="108" y="1792"/>
                    <a:pt x="108" y="1793"/>
                    <a:pt x="107" y="1793"/>
                  </a:cubicBezTo>
                  <a:cubicBezTo>
                    <a:pt x="107" y="1792"/>
                    <a:pt x="108" y="1792"/>
                    <a:pt x="108" y="1792"/>
                  </a:cubicBezTo>
                  <a:lnTo>
                    <a:pt x="107" y="1793"/>
                  </a:lnTo>
                  <a:close/>
                  <a:moveTo>
                    <a:pt x="113" y="1810"/>
                  </a:moveTo>
                  <a:cubicBezTo>
                    <a:pt x="113" y="1807"/>
                    <a:pt x="115" y="1807"/>
                    <a:pt x="121" y="1804"/>
                  </a:cubicBezTo>
                  <a:cubicBezTo>
                    <a:pt x="124" y="1810"/>
                    <a:pt x="121" y="1813"/>
                    <a:pt x="118" y="1813"/>
                  </a:cubicBezTo>
                  <a:cubicBezTo>
                    <a:pt x="124" y="1818"/>
                    <a:pt x="127" y="1824"/>
                    <a:pt x="124" y="1832"/>
                  </a:cubicBezTo>
                  <a:cubicBezTo>
                    <a:pt x="115" y="1832"/>
                    <a:pt x="118" y="1816"/>
                    <a:pt x="107" y="1818"/>
                  </a:cubicBezTo>
                  <a:cubicBezTo>
                    <a:pt x="110" y="1813"/>
                    <a:pt x="110" y="1810"/>
                    <a:pt x="113" y="1810"/>
                  </a:cubicBezTo>
                  <a:close/>
                  <a:moveTo>
                    <a:pt x="130" y="1754"/>
                  </a:moveTo>
                  <a:cubicBezTo>
                    <a:pt x="132" y="1770"/>
                    <a:pt x="101" y="1759"/>
                    <a:pt x="130" y="1754"/>
                  </a:cubicBezTo>
                  <a:close/>
                  <a:moveTo>
                    <a:pt x="138" y="1708"/>
                  </a:moveTo>
                  <a:cubicBezTo>
                    <a:pt x="130" y="1711"/>
                    <a:pt x="124" y="1691"/>
                    <a:pt x="130" y="1689"/>
                  </a:cubicBezTo>
                  <a:cubicBezTo>
                    <a:pt x="138" y="1691"/>
                    <a:pt x="138" y="1700"/>
                    <a:pt x="138" y="1708"/>
                  </a:cubicBezTo>
                  <a:close/>
                  <a:moveTo>
                    <a:pt x="132" y="1708"/>
                  </a:moveTo>
                  <a:cubicBezTo>
                    <a:pt x="132" y="1720"/>
                    <a:pt x="115" y="1708"/>
                    <a:pt x="132" y="1708"/>
                  </a:cubicBezTo>
                  <a:close/>
                  <a:moveTo>
                    <a:pt x="113" y="1677"/>
                  </a:moveTo>
                  <a:cubicBezTo>
                    <a:pt x="107" y="1680"/>
                    <a:pt x="115" y="1672"/>
                    <a:pt x="113" y="1677"/>
                  </a:cubicBezTo>
                  <a:close/>
                  <a:moveTo>
                    <a:pt x="101" y="1573"/>
                  </a:moveTo>
                  <a:cubicBezTo>
                    <a:pt x="104" y="1579"/>
                    <a:pt x="96" y="1581"/>
                    <a:pt x="93" y="1584"/>
                  </a:cubicBezTo>
                  <a:cubicBezTo>
                    <a:pt x="93" y="1579"/>
                    <a:pt x="96" y="1576"/>
                    <a:pt x="101" y="1573"/>
                  </a:cubicBezTo>
                  <a:close/>
                  <a:moveTo>
                    <a:pt x="104" y="1683"/>
                  </a:moveTo>
                  <a:cubicBezTo>
                    <a:pt x="127" y="1691"/>
                    <a:pt x="90" y="1691"/>
                    <a:pt x="104" y="1683"/>
                  </a:cubicBezTo>
                  <a:close/>
                  <a:moveTo>
                    <a:pt x="121" y="1835"/>
                  </a:moveTo>
                  <a:cubicBezTo>
                    <a:pt x="115" y="1844"/>
                    <a:pt x="107" y="1832"/>
                    <a:pt x="104" y="1827"/>
                  </a:cubicBezTo>
                  <a:cubicBezTo>
                    <a:pt x="113" y="1824"/>
                    <a:pt x="118" y="1830"/>
                    <a:pt x="121" y="1835"/>
                  </a:cubicBezTo>
                  <a:close/>
                  <a:moveTo>
                    <a:pt x="132" y="1875"/>
                  </a:moveTo>
                  <a:cubicBezTo>
                    <a:pt x="138" y="1889"/>
                    <a:pt x="110" y="1880"/>
                    <a:pt x="132" y="1875"/>
                  </a:cubicBezTo>
                  <a:close/>
                  <a:moveTo>
                    <a:pt x="138" y="1895"/>
                  </a:moveTo>
                  <a:cubicBezTo>
                    <a:pt x="144" y="1906"/>
                    <a:pt x="115" y="1900"/>
                    <a:pt x="138" y="1895"/>
                  </a:cubicBezTo>
                  <a:close/>
                  <a:moveTo>
                    <a:pt x="147" y="1914"/>
                  </a:moveTo>
                  <a:cubicBezTo>
                    <a:pt x="147" y="1920"/>
                    <a:pt x="141" y="1920"/>
                    <a:pt x="135" y="1920"/>
                  </a:cubicBezTo>
                  <a:cubicBezTo>
                    <a:pt x="132" y="1914"/>
                    <a:pt x="144" y="1914"/>
                    <a:pt x="147" y="1914"/>
                  </a:cubicBezTo>
                  <a:close/>
                  <a:moveTo>
                    <a:pt x="144" y="1900"/>
                  </a:moveTo>
                  <a:cubicBezTo>
                    <a:pt x="147" y="1900"/>
                    <a:pt x="141" y="1897"/>
                    <a:pt x="144" y="1900"/>
                  </a:cubicBezTo>
                  <a:close/>
                  <a:moveTo>
                    <a:pt x="155" y="1931"/>
                  </a:moveTo>
                  <a:cubicBezTo>
                    <a:pt x="152" y="1943"/>
                    <a:pt x="135" y="1931"/>
                    <a:pt x="155" y="1931"/>
                  </a:cubicBezTo>
                  <a:close/>
                  <a:moveTo>
                    <a:pt x="158" y="1954"/>
                  </a:moveTo>
                  <a:cubicBezTo>
                    <a:pt x="163" y="1968"/>
                    <a:pt x="135" y="1959"/>
                    <a:pt x="158" y="1954"/>
                  </a:cubicBezTo>
                  <a:close/>
                  <a:moveTo>
                    <a:pt x="149" y="1838"/>
                  </a:moveTo>
                  <a:cubicBezTo>
                    <a:pt x="149" y="1832"/>
                    <a:pt x="158" y="1841"/>
                    <a:pt x="149" y="1838"/>
                  </a:cubicBezTo>
                  <a:close/>
                  <a:moveTo>
                    <a:pt x="163" y="1768"/>
                  </a:moveTo>
                  <a:cubicBezTo>
                    <a:pt x="163" y="1762"/>
                    <a:pt x="172" y="1770"/>
                    <a:pt x="163" y="1768"/>
                  </a:cubicBezTo>
                  <a:close/>
                  <a:moveTo>
                    <a:pt x="158" y="1533"/>
                  </a:moveTo>
                  <a:cubicBezTo>
                    <a:pt x="161" y="1528"/>
                    <a:pt x="166" y="1542"/>
                    <a:pt x="158" y="1533"/>
                  </a:cubicBezTo>
                  <a:close/>
                  <a:moveTo>
                    <a:pt x="158" y="1422"/>
                  </a:moveTo>
                  <a:cubicBezTo>
                    <a:pt x="158" y="1424"/>
                    <a:pt x="152" y="1427"/>
                    <a:pt x="149" y="1427"/>
                  </a:cubicBezTo>
                  <a:cubicBezTo>
                    <a:pt x="152" y="1424"/>
                    <a:pt x="155" y="1422"/>
                    <a:pt x="158" y="1422"/>
                  </a:cubicBezTo>
                  <a:close/>
                  <a:moveTo>
                    <a:pt x="147" y="1289"/>
                  </a:moveTo>
                  <a:cubicBezTo>
                    <a:pt x="147" y="1292"/>
                    <a:pt x="141" y="1292"/>
                    <a:pt x="138" y="1292"/>
                  </a:cubicBezTo>
                  <a:cubicBezTo>
                    <a:pt x="138" y="1289"/>
                    <a:pt x="144" y="1286"/>
                    <a:pt x="147" y="1289"/>
                  </a:cubicBezTo>
                  <a:close/>
                  <a:moveTo>
                    <a:pt x="155" y="1351"/>
                  </a:moveTo>
                  <a:cubicBezTo>
                    <a:pt x="152" y="1357"/>
                    <a:pt x="144" y="1360"/>
                    <a:pt x="138" y="1360"/>
                  </a:cubicBezTo>
                  <a:cubicBezTo>
                    <a:pt x="138" y="1354"/>
                    <a:pt x="149" y="1354"/>
                    <a:pt x="155" y="1351"/>
                  </a:cubicBezTo>
                  <a:close/>
                  <a:moveTo>
                    <a:pt x="138" y="1669"/>
                  </a:moveTo>
                  <a:lnTo>
                    <a:pt x="127" y="1669"/>
                  </a:lnTo>
                  <a:lnTo>
                    <a:pt x="127" y="1658"/>
                  </a:lnTo>
                  <a:cubicBezTo>
                    <a:pt x="130" y="1658"/>
                    <a:pt x="135" y="1655"/>
                    <a:pt x="138" y="1655"/>
                  </a:cubicBezTo>
                  <a:lnTo>
                    <a:pt x="138" y="1669"/>
                  </a:lnTo>
                  <a:close/>
                  <a:moveTo>
                    <a:pt x="132" y="1460"/>
                  </a:moveTo>
                  <a:cubicBezTo>
                    <a:pt x="138" y="1457"/>
                    <a:pt x="130" y="1469"/>
                    <a:pt x="132" y="1460"/>
                  </a:cubicBezTo>
                  <a:close/>
                  <a:moveTo>
                    <a:pt x="135" y="1542"/>
                  </a:moveTo>
                  <a:cubicBezTo>
                    <a:pt x="144" y="1556"/>
                    <a:pt x="115" y="1548"/>
                    <a:pt x="135" y="1542"/>
                  </a:cubicBezTo>
                  <a:close/>
                  <a:moveTo>
                    <a:pt x="124" y="1450"/>
                  </a:moveTo>
                  <a:lnTo>
                    <a:pt x="130" y="1450"/>
                  </a:lnTo>
                  <a:lnTo>
                    <a:pt x="130" y="1456"/>
                  </a:lnTo>
                  <a:lnTo>
                    <a:pt x="124" y="1456"/>
                  </a:lnTo>
                  <a:lnTo>
                    <a:pt x="124" y="1450"/>
                  </a:lnTo>
                  <a:close/>
                  <a:moveTo>
                    <a:pt x="130" y="1573"/>
                  </a:moveTo>
                  <a:cubicBezTo>
                    <a:pt x="135" y="1581"/>
                    <a:pt x="127" y="1587"/>
                    <a:pt x="121" y="1590"/>
                  </a:cubicBezTo>
                  <a:cubicBezTo>
                    <a:pt x="118" y="1584"/>
                    <a:pt x="124" y="1576"/>
                    <a:pt x="130" y="1573"/>
                  </a:cubicBezTo>
                  <a:close/>
                  <a:moveTo>
                    <a:pt x="118" y="1514"/>
                  </a:moveTo>
                  <a:cubicBezTo>
                    <a:pt x="141" y="1522"/>
                    <a:pt x="90" y="1531"/>
                    <a:pt x="118" y="1514"/>
                  </a:cubicBezTo>
                  <a:close/>
                  <a:moveTo>
                    <a:pt x="115" y="1388"/>
                  </a:moveTo>
                  <a:cubicBezTo>
                    <a:pt x="118" y="1388"/>
                    <a:pt x="121" y="1391"/>
                    <a:pt x="124" y="1393"/>
                  </a:cubicBezTo>
                  <a:lnTo>
                    <a:pt x="118" y="1393"/>
                  </a:lnTo>
                  <a:cubicBezTo>
                    <a:pt x="115" y="1391"/>
                    <a:pt x="115" y="1388"/>
                    <a:pt x="115" y="1388"/>
                  </a:cubicBezTo>
                  <a:close/>
                  <a:moveTo>
                    <a:pt x="115" y="1357"/>
                  </a:moveTo>
                  <a:lnTo>
                    <a:pt x="113" y="1357"/>
                  </a:lnTo>
                  <a:cubicBezTo>
                    <a:pt x="113" y="1357"/>
                    <a:pt x="115" y="1354"/>
                    <a:pt x="115" y="1357"/>
                  </a:cubicBezTo>
                  <a:close/>
                  <a:moveTo>
                    <a:pt x="115" y="1309"/>
                  </a:moveTo>
                  <a:cubicBezTo>
                    <a:pt x="115" y="1312"/>
                    <a:pt x="110" y="1314"/>
                    <a:pt x="104" y="1314"/>
                  </a:cubicBezTo>
                  <a:cubicBezTo>
                    <a:pt x="107" y="1312"/>
                    <a:pt x="113" y="1309"/>
                    <a:pt x="115" y="1309"/>
                  </a:cubicBezTo>
                  <a:close/>
                  <a:moveTo>
                    <a:pt x="107" y="1427"/>
                  </a:moveTo>
                  <a:cubicBezTo>
                    <a:pt x="107" y="1433"/>
                    <a:pt x="96" y="1433"/>
                    <a:pt x="90" y="1433"/>
                  </a:cubicBezTo>
                  <a:cubicBezTo>
                    <a:pt x="87" y="1424"/>
                    <a:pt x="101" y="1422"/>
                    <a:pt x="107" y="1427"/>
                  </a:cubicBezTo>
                  <a:close/>
                  <a:moveTo>
                    <a:pt x="90" y="1444"/>
                  </a:moveTo>
                  <a:cubicBezTo>
                    <a:pt x="96" y="1456"/>
                    <a:pt x="79" y="1444"/>
                    <a:pt x="70" y="1455"/>
                  </a:cubicBezTo>
                  <a:cubicBezTo>
                    <a:pt x="68" y="1444"/>
                    <a:pt x="87" y="1447"/>
                    <a:pt x="90" y="1444"/>
                  </a:cubicBezTo>
                  <a:close/>
                  <a:moveTo>
                    <a:pt x="82" y="1385"/>
                  </a:moveTo>
                  <a:cubicBezTo>
                    <a:pt x="82" y="1405"/>
                    <a:pt x="59" y="1377"/>
                    <a:pt x="82" y="1385"/>
                  </a:cubicBezTo>
                  <a:close/>
                  <a:moveTo>
                    <a:pt x="76" y="1402"/>
                  </a:moveTo>
                  <a:cubicBezTo>
                    <a:pt x="79" y="1408"/>
                    <a:pt x="62" y="1413"/>
                    <a:pt x="65" y="1405"/>
                  </a:cubicBezTo>
                  <a:cubicBezTo>
                    <a:pt x="68" y="1405"/>
                    <a:pt x="70" y="1402"/>
                    <a:pt x="76" y="1402"/>
                  </a:cubicBezTo>
                  <a:close/>
                  <a:moveTo>
                    <a:pt x="59" y="1522"/>
                  </a:moveTo>
                  <a:cubicBezTo>
                    <a:pt x="65" y="1536"/>
                    <a:pt x="36" y="1528"/>
                    <a:pt x="59" y="1522"/>
                  </a:cubicBezTo>
                  <a:close/>
                  <a:moveTo>
                    <a:pt x="51" y="1483"/>
                  </a:moveTo>
                  <a:cubicBezTo>
                    <a:pt x="53" y="1474"/>
                    <a:pt x="53" y="1491"/>
                    <a:pt x="51" y="1483"/>
                  </a:cubicBezTo>
                  <a:close/>
                  <a:moveTo>
                    <a:pt x="56" y="1460"/>
                  </a:moveTo>
                  <a:cubicBezTo>
                    <a:pt x="56" y="1455"/>
                    <a:pt x="65" y="1463"/>
                    <a:pt x="56" y="1460"/>
                  </a:cubicBezTo>
                  <a:close/>
                  <a:moveTo>
                    <a:pt x="56" y="1419"/>
                  </a:moveTo>
                  <a:cubicBezTo>
                    <a:pt x="56" y="1413"/>
                    <a:pt x="65" y="1422"/>
                    <a:pt x="56" y="1419"/>
                  </a:cubicBezTo>
                  <a:close/>
                  <a:moveTo>
                    <a:pt x="45" y="1486"/>
                  </a:moveTo>
                  <a:cubicBezTo>
                    <a:pt x="48" y="1486"/>
                    <a:pt x="53" y="1488"/>
                    <a:pt x="53" y="1494"/>
                  </a:cubicBezTo>
                  <a:cubicBezTo>
                    <a:pt x="51" y="1491"/>
                    <a:pt x="42" y="1491"/>
                    <a:pt x="45" y="1486"/>
                  </a:cubicBezTo>
                  <a:close/>
                  <a:moveTo>
                    <a:pt x="53" y="1576"/>
                  </a:moveTo>
                  <a:cubicBezTo>
                    <a:pt x="51" y="1598"/>
                    <a:pt x="39" y="1565"/>
                    <a:pt x="53" y="1576"/>
                  </a:cubicBezTo>
                  <a:close/>
                  <a:moveTo>
                    <a:pt x="48" y="1556"/>
                  </a:moveTo>
                  <a:cubicBezTo>
                    <a:pt x="45" y="1556"/>
                    <a:pt x="48" y="1553"/>
                    <a:pt x="51" y="1553"/>
                  </a:cubicBezTo>
                  <a:cubicBezTo>
                    <a:pt x="53" y="1550"/>
                    <a:pt x="53" y="1550"/>
                    <a:pt x="56" y="1550"/>
                  </a:cubicBezTo>
                  <a:cubicBezTo>
                    <a:pt x="76" y="1556"/>
                    <a:pt x="45" y="1562"/>
                    <a:pt x="48" y="1556"/>
                  </a:cubicBezTo>
                  <a:close/>
                  <a:moveTo>
                    <a:pt x="62" y="1477"/>
                  </a:moveTo>
                  <a:cubicBezTo>
                    <a:pt x="62" y="1477"/>
                    <a:pt x="59" y="1477"/>
                    <a:pt x="62" y="1477"/>
                  </a:cubicBezTo>
                  <a:cubicBezTo>
                    <a:pt x="53" y="1474"/>
                    <a:pt x="65" y="1469"/>
                    <a:pt x="70" y="1471"/>
                  </a:cubicBezTo>
                  <a:cubicBezTo>
                    <a:pt x="70" y="1477"/>
                    <a:pt x="68" y="1477"/>
                    <a:pt x="62" y="1477"/>
                  </a:cubicBezTo>
                  <a:close/>
                  <a:moveTo>
                    <a:pt x="68" y="1424"/>
                  </a:moveTo>
                  <a:cubicBezTo>
                    <a:pt x="70" y="1424"/>
                    <a:pt x="62" y="1422"/>
                    <a:pt x="68" y="1424"/>
                  </a:cubicBezTo>
                  <a:close/>
                  <a:moveTo>
                    <a:pt x="56" y="1391"/>
                  </a:moveTo>
                  <a:cubicBezTo>
                    <a:pt x="56" y="1385"/>
                    <a:pt x="68" y="1396"/>
                    <a:pt x="56" y="1391"/>
                  </a:cubicBezTo>
                  <a:close/>
                  <a:moveTo>
                    <a:pt x="62" y="1377"/>
                  </a:moveTo>
                  <a:cubicBezTo>
                    <a:pt x="65" y="1385"/>
                    <a:pt x="45" y="1379"/>
                    <a:pt x="51" y="1382"/>
                  </a:cubicBezTo>
                  <a:lnTo>
                    <a:pt x="51" y="1385"/>
                  </a:lnTo>
                  <a:cubicBezTo>
                    <a:pt x="56" y="1399"/>
                    <a:pt x="31" y="1388"/>
                    <a:pt x="51" y="1382"/>
                  </a:cubicBezTo>
                  <a:lnTo>
                    <a:pt x="48" y="1382"/>
                  </a:lnTo>
                  <a:cubicBezTo>
                    <a:pt x="48" y="1377"/>
                    <a:pt x="56" y="1374"/>
                    <a:pt x="62" y="1377"/>
                  </a:cubicBezTo>
                  <a:close/>
                  <a:moveTo>
                    <a:pt x="45" y="1309"/>
                  </a:moveTo>
                  <a:cubicBezTo>
                    <a:pt x="39" y="1312"/>
                    <a:pt x="34" y="1295"/>
                    <a:pt x="28" y="1300"/>
                  </a:cubicBezTo>
                  <a:cubicBezTo>
                    <a:pt x="25" y="1283"/>
                    <a:pt x="53" y="1298"/>
                    <a:pt x="45" y="1309"/>
                  </a:cubicBezTo>
                  <a:close/>
                  <a:moveTo>
                    <a:pt x="31" y="1326"/>
                  </a:moveTo>
                  <a:cubicBezTo>
                    <a:pt x="31" y="1309"/>
                    <a:pt x="62" y="1317"/>
                    <a:pt x="31" y="1326"/>
                  </a:cubicBezTo>
                  <a:close/>
                  <a:moveTo>
                    <a:pt x="28" y="1343"/>
                  </a:moveTo>
                  <a:cubicBezTo>
                    <a:pt x="31" y="1326"/>
                    <a:pt x="59" y="1334"/>
                    <a:pt x="28" y="1343"/>
                  </a:cubicBezTo>
                  <a:close/>
                  <a:moveTo>
                    <a:pt x="25" y="1303"/>
                  </a:moveTo>
                  <a:cubicBezTo>
                    <a:pt x="28" y="1303"/>
                    <a:pt x="31" y="1306"/>
                    <a:pt x="31" y="1303"/>
                  </a:cubicBezTo>
                  <a:cubicBezTo>
                    <a:pt x="31" y="1306"/>
                    <a:pt x="28" y="1306"/>
                    <a:pt x="25" y="1306"/>
                  </a:cubicBezTo>
                  <a:cubicBezTo>
                    <a:pt x="28" y="1306"/>
                    <a:pt x="25" y="1303"/>
                    <a:pt x="25" y="1303"/>
                  </a:cubicBezTo>
                  <a:close/>
                  <a:moveTo>
                    <a:pt x="25" y="1314"/>
                  </a:moveTo>
                  <a:lnTo>
                    <a:pt x="34" y="1314"/>
                  </a:lnTo>
                  <a:cubicBezTo>
                    <a:pt x="34" y="1320"/>
                    <a:pt x="28" y="1320"/>
                    <a:pt x="25" y="1320"/>
                  </a:cubicBezTo>
                  <a:lnTo>
                    <a:pt x="25" y="1314"/>
                  </a:lnTo>
                  <a:close/>
                  <a:moveTo>
                    <a:pt x="42" y="1357"/>
                  </a:moveTo>
                  <a:cubicBezTo>
                    <a:pt x="42" y="1357"/>
                    <a:pt x="45" y="1360"/>
                    <a:pt x="45" y="1362"/>
                  </a:cubicBezTo>
                  <a:cubicBezTo>
                    <a:pt x="45" y="1360"/>
                    <a:pt x="51" y="1360"/>
                    <a:pt x="51" y="1357"/>
                  </a:cubicBezTo>
                  <a:cubicBezTo>
                    <a:pt x="56" y="1360"/>
                    <a:pt x="51" y="1365"/>
                    <a:pt x="51" y="1368"/>
                  </a:cubicBezTo>
                  <a:lnTo>
                    <a:pt x="48" y="1365"/>
                  </a:lnTo>
                  <a:lnTo>
                    <a:pt x="51" y="1371"/>
                  </a:lnTo>
                  <a:cubicBezTo>
                    <a:pt x="42" y="1374"/>
                    <a:pt x="34" y="1379"/>
                    <a:pt x="25" y="1382"/>
                  </a:cubicBezTo>
                  <a:cubicBezTo>
                    <a:pt x="11" y="1371"/>
                    <a:pt x="34" y="1365"/>
                    <a:pt x="42" y="1357"/>
                  </a:cubicBezTo>
                  <a:close/>
                  <a:moveTo>
                    <a:pt x="31" y="1408"/>
                  </a:moveTo>
                  <a:cubicBezTo>
                    <a:pt x="51" y="1410"/>
                    <a:pt x="22" y="1439"/>
                    <a:pt x="31" y="1408"/>
                  </a:cubicBezTo>
                  <a:close/>
                  <a:moveTo>
                    <a:pt x="22" y="1416"/>
                  </a:moveTo>
                  <a:cubicBezTo>
                    <a:pt x="14" y="1433"/>
                    <a:pt x="25" y="1393"/>
                    <a:pt x="22" y="1416"/>
                  </a:cubicBezTo>
                  <a:close/>
                  <a:moveTo>
                    <a:pt x="17" y="1519"/>
                  </a:moveTo>
                  <a:cubicBezTo>
                    <a:pt x="17" y="1519"/>
                    <a:pt x="17" y="1522"/>
                    <a:pt x="20" y="1522"/>
                  </a:cubicBezTo>
                  <a:lnTo>
                    <a:pt x="22" y="1522"/>
                  </a:lnTo>
                  <a:cubicBezTo>
                    <a:pt x="28" y="1528"/>
                    <a:pt x="25" y="1525"/>
                    <a:pt x="22" y="1522"/>
                  </a:cubicBezTo>
                  <a:cubicBezTo>
                    <a:pt x="22" y="1533"/>
                    <a:pt x="0" y="1525"/>
                    <a:pt x="17" y="1519"/>
                  </a:cubicBezTo>
                  <a:close/>
                  <a:moveTo>
                    <a:pt x="31" y="1469"/>
                  </a:moveTo>
                  <a:cubicBezTo>
                    <a:pt x="25" y="1474"/>
                    <a:pt x="25" y="1460"/>
                    <a:pt x="31" y="1469"/>
                  </a:cubicBezTo>
                  <a:close/>
                  <a:moveTo>
                    <a:pt x="22" y="1441"/>
                  </a:moveTo>
                  <a:cubicBezTo>
                    <a:pt x="28" y="1439"/>
                    <a:pt x="34" y="1436"/>
                    <a:pt x="36" y="1433"/>
                  </a:cubicBezTo>
                  <a:cubicBezTo>
                    <a:pt x="39" y="1436"/>
                    <a:pt x="39" y="1441"/>
                    <a:pt x="42" y="1444"/>
                  </a:cubicBezTo>
                  <a:cubicBezTo>
                    <a:pt x="34" y="1450"/>
                    <a:pt x="25" y="1450"/>
                    <a:pt x="22" y="1441"/>
                  </a:cubicBezTo>
                  <a:close/>
                  <a:moveTo>
                    <a:pt x="36" y="1600"/>
                  </a:moveTo>
                  <a:cubicBezTo>
                    <a:pt x="35" y="1600"/>
                    <a:pt x="33" y="1598"/>
                    <a:pt x="36" y="1598"/>
                  </a:cubicBezTo>
                  <a:cubicBezTo>
                    <a:pt x="37" y="1599"/>
                    <a:pt x="37" y="1600"/>
                    <a:pt x="36" y="1600"/>
                  </a:cubicBezTo>
                  <a:close/>
                  <a:moveTo>
                    <a:pt x="36" y="1463"/>
                  </a:moveTo>
                  <a:cubicBezTo>
                    <a:pt x="42" y="1453"/>
                    <a:pt x="51" y="1460"/>
                    <a:pt x="59" y="1463"/>
                  </a:cubicBezTo>
                  <a:cubicBezTo>
                    <a:pt x="53" y="1474"/>
                    <a:pt x="42" y="1463"/>
                    <a:pt x="36" y="1463"/>
                  </a:cubicBezTo>
                  <a:close/>
                  <a:moveTo>
                    <a:pt x="65" y="1601"/>
                  </a:moveTo>
                  <a:cubicBezTo>
                    <a:pt x="65" y="1610"/>
                    <a:pt x="56" y="1618"/>
                    <a:pt x="59" y="1629"/>
                  </a:cubicBezTo>
                  <a:cubicBezTo>
                    <a:pt x="36" y="1624"/>
                    <a:pt x="39" y="1601"/>
                    <a:pt x="65" y="1601"/>
                  </a:cubicBezTo>
                  <a:close/>
                  <a:moveTo>
                    <a:pt x="65" y="1643"/>
                  </a:moveTo>
                  <a:cubicBezTo>
                    <a:pt x="62" y="1646"/>
                    <a:pt x="68" y="1638"/>
                    <a:pt x="65" y="1643"/>
                  </a:cubicBezTo>
                  <a:close/>
                  <a:moveTo>
                    <a:pt x="53" y="1703"/>
                  </a:moveTo>
                  <a:cubicBezTo>
                    <a:pt x="53" y="1714"/>
                    <a:pt x="48" y="1724"/>
                    <a:pt x="38" y="1730"/>
                  </a:cubicBezTo>
                  <a:lnTo>
                    <a:pt x="39" y="1731"/>
                  </a:lnTo>
                  <a:cubicBezTo>
                    <a:pt x="52" y="1747"/>
                    <a:pt x="24" y="1726"/>
                    <a:pt x="36" y="1730"/>
                  </a:cubicBezTo>
                  <a:cubicBezTo>
                    <a:pt x="29" y="1716"/>
                    <a:pt x="48" y="1711"/>
                    <a:pt x="53" y="1703"/>
                  </a:cubicBezTo>
                  <a:close/>
                  <a:moveTo>
                    <a:pt x="36" y="1775"/>
                  </a:moveTo>
                  <a:cubicBezTo>
                    <a:pt x="38" y="1775"/>
                    <a:pt x="40" y="1776"/>
                    <a:pt x="36" y="1776"/>
                  </a:cubicBezTo>
                  <a:cubicBezTo>
                    <a:pt x="36" y="1775"/>
                    <a:pt x="36" y="1775"/>
                    <a:pt x="36" y="1775"/>
                  </a:cubicBezTo>
                  <a:close/>
                  <a:moveTo>
                    <a:pt x="42" y="1770"/>
                  </a:moveTo>
                  <a:cubicBezTo>
                    <a:pt x="39" y="1768"/>
                    <a:pt x="39" y="1771"/>
                    <a:pt x="36" y="1768"/>
                  </a:cubicBezTo>
                  <a:cubicBezTo>
                    <a:pt x="33" y="1766"/>
                    <a:pt x="36" y="1762"/>
                    <a:pt x="34" y="1759"/>
                  </a:cubicBezTo>
                  <a:cubicBezTo>
                    <a:pt x="53" y="1742"/>
                    <a:pt x="53" y="1773"/>
                    <a:pt x="42" y="1770"/>
                  </a:cubicBezTo>
                  <a:close/>
                  <a:moveTo>
                    <a:pt x="48" y="1742"/>
                  </a:moveTo>
                  <a:cubicBezTo>
                    <a:pt x="51" y="1737"/>
                    <a:pt x="59" y="1748"/>
                    <a:pt x="56" y="1751"/>
                  </a:cubicBezTo>
                  <a:cubicBezTo>
                    <a:pt x="51" y="1751"/>
                    <a:pt x="56" y="1739"/>
                    <a:pt x="48" y="1742"/>
                  </a:cubicBezTo>
                  <a:close/>
                  <a:moveTo>
                    <a:pt x="53" y="1754"/>
                  </a:moveTo>
                  <a:cubicBezTo>
                    <a:pt x="70" y="1754"/>
                    <a:pt x="53" y="1776"/>
                    <a:pt x="53" y="1754"/>
                  </a:cubicBezTo>
                  <a:close/>
                  <a:moveTo>
                    <a:pt x="56" y="1737"/>
                  </a:moveTo>
                  <a:cubicBezTo>
                    <a:pt x="56" y="1734"/>
                    <a:pt x="62" y="1731"/>
                    <a:pt x="65" y="1731"/>
                  </a:cubicBezTo>
                  <a:cubicBezTo>
                    <a:pt x="65" y="1734"/>
                    <a:pt x="59" y="1737"/>
                    <a:pt x="56" y="1737"/>
                  </a:cubicBezTo>
                  <a:close/>
                  <a:moveTo>
                    <a:pt x="68" y="1689"/>
                  </a:moveTo>
                  <a:cubicBezTo>
                    <a:pt x="76" y="1703"/>
                    <a:pt x="48" y="1694"/>
                    <a:pt x="68" y="1689"/>
                  </a:cubicBezTo>
                  <a:close/>
                  <a:moveTo>
                    <a:pt x="68" y="1553"/>
                  </a:moveTo>
                  <a:cubicBezTo>
                    <a:pt x="70" y="1553"/>
                    <a:pt x="73" y="1556"/>
                    <a:pt x="76" y="1559"/>
                  </a:cubicBezTo>
                  <a:lnTo>
                    <a:pt x="70" y="1559"/>
                  </a:lnTo>
                  <a:cubicBezTo>
                    <a:pt x="68" y="1559"/>
                    <a:pt x="68" y="1556"/>
                    <a:pt x="68" y="1553"/>
                  </a:cubicBezTo>
                  <a:close/>
                  <a:moveTo>
                    <a:pt x="70" y="1649"/>
                  </a:moveTo>
                  <a:cubicBezTo>
                    <a:pt x="68" y="1655"/>
                    <a:pt x="73" y="1646"/>
                    <a:pt x="70" y="1649"/>
                  </a:cubicBezTo>
                  <a:close/>
                  <a:moveTo>
                    <a:pt x="70" y="1652"/>
                  </a:moveTo>
                  <a:cubicBezTo>
                    <a:pt x="93" y="1660"/>
                    <a:pt x="62" y="1689"/>
                    <a:pt x="70" y="1652"/>
                  </a:cubicBezTo>
                  <a:close/>
                  <a:moveTo>
                    <a:pt x="79" y="1928"/>
                  </a:moveTo>
                  <a:cubicBezTo>
                    <a:pt x="84" y="1926"/>
                    <a:pt x="93" y="1928"/>
                    <a:pt x="99" y="1934"/>
                  </a:cubicBezTo>
                  <a:cubicBezTo>
                    <a:pt x="100" y="1935"/>
                    <a:pt x="100" y="1937"/>
                    <a:pt x="101" y="1938"/>
                  </a:cubicBezTo>
                  <a:cubicBezTo>
                    <a:pt x="102" y="1937"/>
                    <a:pt x="103" y="1935"/>
                    <a:pt x="104" y="1934"/>
                  </a:cubicBezTo>
                  <a:cubicBezTo>
                    <a:pt x="126" y="1951"/>
                    <a:pt x="93" y="1956"/>
                    <a:pt x="99" y="1942"/>
                  </a:cubicBezTo>
                  <a:cubicBezTo>
                    <a:pt x="89" y="1939"/>
                    <a:pt x="81" y="1936"/>
                    <a:pt x="79" y="1928"/>
                  </a:cubicBezTo>
                  <a:close/>
                  <a:moveTo>
                    <a:pt x="124" y="2027"/>
                  </a:moveTo>
                  <a:cubicBezTo>
                    <a:pt x="130" y="2041"/>
                    <a:pt x="101" y="2033"/>
                    <a:pt x="124" y="2027"/>
                  </a:cubicBezTo>
                  <a:close/>
                  <a:moveTo>
                    <a:pt x="118" y="1988"/>
                  </a:moveTo>
                  <a:cubicBezTo>
                    <a:pt x="118" y="1988"/>
                    <a:pt x="115" y="1988"/>
                    <a:pt x="118" y="1988"/>
                  </a:cubicBezTo>
                  <a:cubicBezTo>
                    <a:pt x="113" y="1982"/>
                    <a:pt x="101" y="1990"/>
                    <a:pt x="101" y="1979"/>
                  </a:cubicBezTo>
                  <a:cubicBezTo>
                    <a:pt x="110" y="1976"/>
                    <a:pt x="113" y="1976"/>
                    <a:pt x="115" y="1982"/>
                  </a:cubicBezTo>
                  <a:cubicBezTo>
                    <a:pt x="118" y="1971"/>
                    <a:pt x="144" y="1965"/>
                    <a:pt x="147" y="1982"/>
                  </a:cubicBezTo>
                  <a:cubicBezTo>
                    <a:pt x="145" y="1983"/>
                    <a:pt x="143" y="1984"/>
                    <a:pt x="141" y="1985"/>
                  </a:cubicBezTo>
                  <a:cubicBezTo>
                    <a:pt x="160" y="1991"/>
                    <a:pt x="127" y="2001"/>
                    <a:pt x="141" y="1985"/>
                  </a:cubicBezTo>
                  <a:cubicBezTo>
                    <a:pt x="133" y="1988"/>
                    <a:pt x="127" y="1983"/>
                    <a:pt x="118" y="1988"/>
                  </a:cubicBezTo>
                  <a:close/>
                  <a:moveTo>
                    <a:pt x="130" y="2013"/>
                  </a:moveTo>
                  <a:cubicBezTo>
                    <a:pt x="127" y="2010"/>
                    <a:pt x="130" y="2010"/>
                    <a:pt x="130" y="2013"/>
                  </a:cubicBezTo>
                  <a:close/>
                  <a:moveTo>
                    <a:pt x="132" y="2019"/>
                  </a:moveTo>
                  <a:lnTo>
                    <a:pt x="138" y="2019"/>
                  </a:lnTo>
                  <a:cubicBezTo>
                    <a:pt x="138" y="2016"/>
                    <a:pt x="138" y="2016"/>
                    <a:pt x="132" y="2019"/>
                  </a:cubicBezTo>
                  <a:lnTo>
                    <a:pt x="132" y="2010"/>
                  </a:lnTo>
                  <a:cubicBezTo>
                    <a:pt x="132" y="2010"/>
                    <a:pt x="135" y="2013"/>
                    <a:pt x="135" y="2016"/>
                  </a:cubicBezTo>
                  <a:lnTo>
                    <a:pt x="141" y="2016"/>
                  </a:lnTo>
                  <a:lnTo>
                    <a:pt x="141" y="2019"/>
                  </a:lnTo>
                  <a:cubicBezTo>
                    <a:pt x="141" y="2013"/>
                    <a:pt x="155" y="2010"/>
                    <a:pt x="152" y="2005"/>
                  </a:cubicBezTo>
                  <a:cubicBezTo>
                    <a:pt x="163" y="2002"/>
                    <a:pt x="155" y="2013"/>
                    <a:pt x="147" y="2019"/>
                  </a:cubicBezTo>
                  <a:cubicBezTo>
                    <a:pt x="149" y="2019"/>
                    <a:pt x="155" y="2021"/>
                    <a:pt x="155" y="2027"/>
                  </a:cubicBezTo>
                  <a:cubicBezTo>
                    <a:pt x="138" y="2027"/>
                    <a:pt x="141" y="2038"/>
                    <a:pt x="127" y="2041"/>
                  </a:cubicBezTo>
                  <a:cubicBezTo>
                    <a:pt x="127" y="2030"/>
                    <a:pt x="138" y="2027"/>
                    <a:pt x="132" y="2019"/>
                  </a:cubicBezTo>
                  <a:close/>
                  <a:moveTo>
                    <a:pt x="138" y="2055"/>
                  </a:moveTo>
                  <a:cubicBezTo>
                    <a:pt x="130" y="2075"/>
                    <a:pt x="141" y="2036"/>
                    <a:pt x="138" y="2055"/>
                  </a:cubicBezTo>
                  <a:close/>
                  <a:moveTo>
                    <a:pt x="147" y="2086"/>
                  </a:moveTo>
                  <a:cubicBezTo>
                    <a:pt x="141" y="2092"/>
                    <a:pt x="130" y="2087"/>
                    <a:pt x="140" y="2081"/>
                  </a:cubicBezTo>
                  <a:cubicBezTo>
                    <a:pt x="132" y="2084"/>
                    <a:pt x="130" y="2061"/>
                    <a:pt x="141" y="2064"/>
                  </a:cubicBezTo>
                  <a:cubicBezTo>
                    <a:pt x="144" y="2064"/>
                    <a:pt x="144" y="2069"/>
                    <a:pt x="144" y="2072"/>
                  </a:cubicBezTo>
                  <a:cubicBezTo>
                    <a:pt x="147" y="2069"/>
                    <a:pt x="149" y="2064"/>
                    <a:pt x="152" y="2064"/>
                  </a:cubicBezTo>
                  <a:cubicBezTo>
                    <a:pt x="161" y="2064"/>
                    <a:pt x="155" y="2084"/>
                    <a:pt x="147" y="2086"/>
                  </a:cubicBezTo>
                  <a:close/>
                  <a:moveTo>
                    <a:pt x="161" y="2115"/>
                  </a:moveTo>
                  <a:cubicBezTo>
                    <a:pt x="152" y="2126"/>
                    <a:pt x="166" y="2100"/>
                    <a:pt x="161" y="2115"/>
                  </a:cubicBezTo>
                  <a:close/>
                  <a:moveTo>
                    <a:pt x="161" y="1897"/>
                  </a:moveTo>
                  <a:cubicBezTo>
                    <a:pt x="175" y="1903"/>
                    <a:pt x="158" y="1926"/>
                    <a:pt x="161" y="1897"/>
                  </a:cubicBezTo>
                  <a:close/>
                  <a:moveTo>
                    <a:pt x="163" y="1979"/>
                  </a:moveTo>
                  <a:cubicBezTo>
                    <a:pt x="186" y="1988"/>
                    <a:pt x="155" y="2016"/>
                    <a:pt x="163" y="1979"/>
                  </a:cubicBezTo>
                  <a:close/>
                  <a:moveTo>
                    <a:pt x="163" y="2078"/>
                  </a:moveTo>
                  <a:lnTo>
                    <a:pt x="163" y="2077"/>
                  </a:lnTo>
                  <a:cubicBezTo>
                    <a:pt x="164" y="2077"/>
                    <a:pt x="165" y="2078"/>
                    <a:pt x="163" y="2078"/>
                  </a:cubicBezTo>
                  <a:cubicBezTo>
                    <a:pt x="162" y="2076"/>
                    <a:pt x="163" y="2076"/>
                    <a:pt x="163" y="2077"/>
                  </a:cubicBezTo>
                  <a:lnTo>
                    <a:pt x="163" y="2078"/>
                  </a:lnTo>
                  <a:close/>
                  <a:moveTo>
                    <a:pt x="172" y="2092"/>
                  </a:moveTo>
                  <a:cubicBezTo>
                    <a:pt x="172" y="2089"/>
                    <a:pt x="169" y="2095"/>
                    <a:pt x="172" y="2092"/>
                  </a:cubicBezTo>
                  <a:close/>
                  <a:moveTo>
                    <a:pt x="175" y="2137"/>
                  </a:moveTo>
                  <a:cubicBezTo>
                    <a:pt x="175" y="2134"/>
                    <a:pt x="175" y="2131"/>
                    <a:pt x="178" y="2131"/>
                  </a:cubicBezTo>
                  <a:cubicBezTo>
                    <a:pt x="175" y="2131"/>
                    <a:pt x="175" y="2126"/>
                    <a:pt x="183" y="2123"/>
                  </a:cubicBezTo>
                  <a:cubicBezTo>
                    <a:pt x="186" y="2129"/>
                    <a:pt x="186" y="2129"/>
                    <a:pt x="183" y="2129"/>
                  </a:cubicBezTo>
                  <a:cubicBezTo>
                    <a:pt x="186" y="2129"/>
                    <a:pt x="186" y="2131"/>
                    <a:pt x="189" y="2131"/>
                  </a:cubicBezTo>
                  <a:cubicBezTo>
                    <a:pt x="186" y="2137"/>
                    <a:pt x="180" y="2137"/>
                    <a:pt x="175" y="2137"/>
                  </a:cubicBezTo>
                  <a:close/>
                  <a:moveTo>
                    <a:pt x="183" y="2100"/>
                  </a:moveTo>
                  <a:cubicBezTo>
                    <a:pt x="183" y="2098"/>
                    <a:pt x="180" y="2103"/>
                    <a:pt x="183" y="2100"/>
                  </a:cubicBezTo>
                  <a:close/>
                  <a:moveTo>
                    <a:pt x="192" y="2098"/>
                  </a:moveTo>
                  <a:cubicBezTo>
                    <a:pt x="194" y="2098"/>
                    <a:pt x="186" y="2095"/>
                    <a:pt x="192" y="2098"/>
                  </a:cubicBezTo>
                  <a:close/>
                  <a:moveTo>
                    <a:pt x="194" y="2100"/>
                  </a:moveTo>
                  <a:cubicBezTo>
                    <a:pt x="193" y="2102"/>
                    <a:pt x="193" y="2101"/>
                    <a:pt x="194" y="2100"/>
                  </a:cubicBezTo>
                  <a:lnTo>
                    <a:pt x="194" y="2100"/>
                  </a:lnTo>
                  <a:cubicBezTo>
                    <a:pt x="197" y="2101"/>
                    <a:pt x="189" y="2107"/>
                    <a:pt x="192" y="2100"/>
                  </a:cubicBezTo>
                  <a:cubicBezTo>
                    <a:pt x="193" y="2100"/>
                    <a:pt x="193" y="2100"/>
                    <a:pt x="194" y="2100"/>
                  </a:cubicBezTo>
                  <a:close/>
                  <a:moveTo>
                    <a:pt x="220" y="2191"/>
                  </a:moveTo>
                  <a:lnTo>
                    <a:pt x="220" y="2196"/>
                  </a:lnTo>
                  <a:cubicBezTo>
                    <a:pt x="214" y="2188"/>
                    <a:pt x="209" y="2179"/>
                    <a:pt x="203" y="2174"/>
                  </a:cubicBezTo>
                  <a:lnTo>
                    <a:pt x="203" y="2177"/>
                  </a:lnTo>
                  <a:cubicBezTo>
                    <a:pt x="197" y="2171"/>
                    <a:pt x="194" y="2165"/>
                    <a:pt x="197" y="2157"/>
                  </a:cubicBezTo>
                  <a:lnTo>
                    <a:pt x="194" y="2154"/>
                  </a:lnTo>
                  <a:cubicBezTo>
                    <a:pt x="197" y="2148"/>
                    <a:pt x="206" y="2148"/>
                    <a:pt x="206" y="2160"/>
                  </a:cubicBezTo>
                  <a:cubicBezTo>
                    <a:pt x="211" y="2163"/>
                    <a:pt x="211" y="2171"/>
                    <a:pt x="214" y="2177"/>
                  </a:cubicBezTo>
                  <a:cubicBezTo>
                    <a:pt x="211" y="2165"/>
                    <a:pt x="226" y="2154"/>
                    <a:pt x="220" y="2182"/>
                  </a:cubicBezTo>
                  <a:cubicBezTo>
                    <a:pt x="226" y="2188"/>
                    <a:pt x="226" y="2191"/>
                    <a:pt x="220" y="2191"/>
                  </a:cubicBezTo>
                  <a:close/>
                  <a:moveTo>
                    <a:pt x="220" y="2154"/>
                  </a:moveTo>
                  <a:cubicBezTo>
                    <a:pt x="237" y="2151"/>
                    <a:pt x="217" y="2177"/>
                    <a:pt x="220" y="2154"/>
                  </a:cubicBezTo>
                  <a:close/>
                  <a:moveTo>
                    <a:pt x="234" y="2219"/>
                  </a:moveTo>
                  <a:cubicBezTo>
                    <a:pt x="231" y="2227"/>
                    <a:pt x="234" y="2213"/>
                    <a:pt x="234" y="2213"/>
                  </a:cubicBezTo>
                  <a:lnTo>
                    <a:pt x="234" y="2219"/>
                  </a:lnTo>
                  <a:close/>
                  <a:moveTo>
                    <a:pt x="240" y="2143"/>
                  </a:moveTo>
                  <a:cubicBezTo>
                    <a:pt x="228" y="2160"/>
                    <a:pt x="240" y="2120"/>
                    <a:pt x="240" y="2143"/>
                  </a:cubicBezTo>
                  <a:close/>
                  <a:moveTo>
                    <a:pt x="234" y="2117"/>
                  </a:moveTo>
                  <a:cubicBezTo>
                    <a:pt x="237" y="2109"/>
                    <a:pt x="240" y="2100"/>
                    <a:pt x="245" y="2092"/>
                  </a:cubicBezTo>
                  <a:cubicBezTo>
                    <a:pt x="251" y="2098"/>
                    <a:pt x="254" y="2106"/>
                    <a:pt x="248" y="2115"/>
                  </a:cubicBezTo>
                  <a:cubicBezTo>
                    <a:pt x="248" y="2117"/>
                    <a:pt x="245" y="2117"/>
                    <a:pt x="242" y="2120"/>
                  </a:cubicBezTo>
                  <a:cubicBezTo>
                    <a:pt x="248" y="2123"/>
                    <a:pt x="231" y="2137"/>
                    <a:pt x="234" y="2117"/>
                  </a:cubicBezTo>
                  <a:close/>
                  <a:moveTo>
                    <a:pt x="240" y="2208"/>
                  </a:moveTo>
                  <a:lnTo>
                    <a:pt x="240" y="2207"/>
                  </a:lnTo>
                  <a:cubicBezTo>
                    <a:pt x="240" y="2207"/>
                    <a:pt x="241" y="2208"/>
                    <a:pt x="240" y="2208"/>
                  </a:cubicBezTo>
                  <a:cubicBezTo>
                    <a:pt x="238" y="2206"/>
                    <a:pt x="239" y="2206"/>
                    <a:pt x="240" y="2207"/>
                  </a:cubicBezTo>
                  <a:lnTo>
                    <a:pt x="240" y="2208"/>
                  </a:lnTo>
                  <a:close/>
                  <a:moveTo>
                    <a:pt x="245" y="2137"/>
                  </a:moveTo>
                  <a:cubicBezTo>
                    <a:pt x="231" y="2137"/>
                    <a:pt x="242" y="2117"/>
                    <a:pt x="245" y="2137"/>
                  </a:cubicBezTo>
                  <a:close/>
                  <a:moveTo>
                    <a:pt x="240" y="2196"/>
                  </a:moveTo>
                  <a:lnTo>
                    <a:pt x="240" y="2188"/>
                  </a:lnTo>
                  <a:cubicBezTo>
                    <a:pt x="245" y="2188"/>
                    <a:pt x="248" y="2191"/>
                    <a:pt x="248" y="2194"/>
                  </a:cubicBezTo>
                  <a:cubicBezTo>
                    <a:pt x="248" y="2194"/>
                    <a:pt x="242" y="2196"/>
                    <a:pt x="240" y="2196"/>
                  </a:cubicBezTo>
                  <a:close/>
                  <a:moveTo>
                    <a:pt x="257" y="2115"/>
                  </a:moveTo>
                  <a:cubicBezTo>
                    <a:pt x="265" y="2129"/>
                    <a:pt x="237" y="2120"/>
                    <a:pt x="257" y="2115"/>
                  </a:cubicBezTo>
                  <a:close/>
                  <a:moveTo>
                    <a:pt x="254" y="2086"/>
                  </a:moveTo>
                  <a:cubicBezTo>
                    <a:pt x="257" y="2086"/>
                    <a:pt x="259" y="2086"/>
                    <a:pt x="262" y="2084"/>
                  </a:cubicBezTo>
                  <a:cubicBezTo>
                    <a:pt x="262" y="2086"/>
                    <a:pt x="262" y="2089"/>
                    <a:pt x="265" y="2092"/>
                  </a:cubicBezTo>
                  <a:cubicBezTo>
                    <a:pt x="262" y="2092"/>
                    <a:pt x="259" y="2095"/>
                    <a:pt x="257" y="2095"/>
                  </a:cubicBezTo>
                  <a:cubicBezTo>
                    <a:pt x="257" y="2095"/>
                    <a:pt x="254" y="2089"/>
                    <a:pt x="254" y="2086"/>
                  </a:cubicBezTo>
                  <a:close/>
                  <a:moveTo>
                    <a:pt x="259" y="2112"/>
                  </a:moveTo>
                  <a:cubicBezTo>
                    <a:pt x="262" y="2112"/>
                    <a:pt x="265" y="2112"/>
                    <a:pt x="268" y="2109"/>
                  </a:cubicBezTo>
                  <a:cubicBezTo>
                    <a:pt x="268" y="2112"/>
                    <a:pt x="268" y="2115"/>
                    <a:pt x="271" y="2117"/>
                  </a:cubicBezTo>
                  <a:cubicBezTo>
                    <a:pt x="268" y="2117"/>
                    <a:pt x="265" y="2120"/>
                    <a:pt x="262" y="2120"/>
                  </a:cubicBezTo>
                  <a:cubicBezTo>
                    <a:pt x="262" y="2120"/>
                    <a:pt x="262" y="2115"/>
                    <a:pt x="259" y="2112"/>
                  </a:cubicBezTo>
                  <a:close/>
                  <a:moveTo>
                    <a:pt x="276" y="2256"/>
                  </a:moveTo>
                  <a:cubicBezTo>
                    <a:pt x="282" y="2270"/>
                    <a:pt x="254" y="2261"/>
                    <a:pt x="276" y="2256"/>
                  </a:cubicBezTo>
                  <a:close/>
                  <a:moveTo>
                    <a:pt x="273" y="2230"/>
                  </a:moveTo>
                  <a:cubicBezTo>
                    <a:pt x="276" y="2230"/>
                    <a:pt x="271" y="2227"/>
                    <a:pt x="273" y="2230"/>
                  </a:cubicBezTo>
                  <a:close/>
                  <a:moveTo>
                    <a:pt x="288" y="2301"/>
                  </a:moveTo>
                  <a:cubicBezTo>
                    <a:pt x="290" y="2304"/>
                    <a:pt x="285" y="2301"/>
                    <a:pt x="288" y="2301"/>
                  </a:cubicBezTo>
                  <a:close/>
                  <a:moveTo>
                    <a:pt x="285" y="2292"/>
                  </a:moveTo>
                  <a:cubicBezTo>
                    <a:pt x="282" y="2287"/>
                    <a:pt x="279" y="2284"/>
                    <a:pt x="282" y="2278"/>
                  </a:cubicBezTo>
                  <a:cubicBezTo>
                    <a:pt x="288" y="2278"/>
                    <a:pt x="290" y="2284"/>
                    <a:pt x="296" y="2284"/>
                  </a:cubicBezTo>
                  <a:cubicBezTo>
                    <a:pt x="293" y="2287"/>
                    <a:pt x="290" y="2292"/>
                    <a:pt x="285" y="2292"/>
                  </a:cubicBezTo>
                  <a:close/>
                  <a:moveTo>
                    <a:pt x="279" y="2210"/>
                  </a:moveTo>
                  <a:cubicBezTo>
                    <a:pt x="279" y="2202"/>
                    <a:pt x="288" y="2213"/>
                    <a:pt x="279" y="2210"/>
                  </a:cubicBezTo>
                  <a:close/>
                  <a:moveTo>
                    <a:pt x="282" y="2225"/>
                  </a:moveTo>
                  <a:cubicBezTo>
                    <a:pt x="282" y="2219"/>
                    <a:pt x="290" y="2222"/>
                    <a:pt x="293" y="2216"/>
                  </a:cubicBezTo>
                  <a:cubicBezTo>
                    <a:pt x="299" y="2219"/>
                    <a:pt x="290" y="2227"/>
                    <a:pt x="282" y="2225"/>
                  </a:cubicBezTo>
                  <a:close/>
                  <a:moveTo>
                    <a:pt x="288" y="2270"/>
                  </a:moveTo>
                  <a:cubicBezTo>
                    <a:pt x="302" y="2267"/>
                    <a:pt x="285" y="2292"/>
                    <a:pt x="288" y="2270"/>
                  </a:cubicBezTo>
                  <a:close/>
                  <a:moveTo>
                    <a:pt x="293" y="2306"/>
                  </a:moveTo>
                  <a:cubicBezTo>
                    <a:pt x="307" y="2306"/>
                    <a:pt x="291" y="2328"/>
                    <a:pt x="293" y="2307"/>
                  </a:cubicBezTo>
                  <a:cubicBezTo>
                    <a:pt x="293" y="2307"/>
                    <a:pt x="293" y="2307"/>
                    <a:pt x="293" y="2306"/>
                  </a:cubicBezTo>
                  <a:close/>
                  <a:moveTo>
                    <a:pt x="293" y="2306"/>
                  </a:moveTo>
                  <a:cubicBezTo>
                    <a:pt x="291" y="2309"/>
                    <a:pt x="293" y="2309"/>
                    <a:pt x="293" y="2307"/>
                  </a:cubicBezTo>
                  <a:cubicBezTo>
                    <a:pt x="293" y="2307"/>
                    <a:pt x="293" y="2307"/>
                    <a:pt x="293" y="2306"/>
                  </a:cubicBezTo>
                  <a:close/>
                  <a:moveTo>
                    <a:pt x="301" y="2239"/>
                  </a:moveTo>
                  <a:cubicBezTo>
                    <a:pt x="300" y="2239"/>
                    <a:pt x="300" y="2239"/>
                    <a:pt x="299" y="2239"/>
                  </a:cubicBezTo>
                  <a:cubicBezTo>
                    <a:pt x="299" y="2238"/>
                    <a:pt x="299" y="2238"/>
                    <a:pt x="300" y="2238"/>
                  </a:cubicBezTo>
                  <a:cubicBezTo>
                    <a:pt x="299" y="2237"/>
                    <a:pt x="299" y="2237"/>
                    <a:pt x="299" y="2237"/>
                  </a:cubicBezTo>
                  <a:cubicBezTo>
                    <a:pt x="298" y="2237"/>
                    <a:pt x="297" y="2238"/>
                    <a:pt x="296" y="2239"/>
                  </a:cubicBezTo>
                  <a:cubicBezTo>
                    <a:pt x="293" y="2227"/>
                    <a:pt x="305" y="2222"/>
                    <a:pt x="302" y="2213"/>
                  </a:cubicBezTo>
                  <a:cubicBezTo>
                    <a:pt x="296" y="2210"/>
                    <a:pt x="290" y="2208"/>
                    <a:pt x="288" y="2205"/>
                  </a:cubicBezTo>
                  <a:cubicBezTo>
                    <a:pt x="285" y="2205"/>
                    <a:pt x="282" y="2205"/>
                    <a:pt x="282" y="2199"/>
                  </a:cubicBezTo>
                  <a:cubicBezTo>
                    <a:pt x="273" y="2188"/>
                    <a:pt x="271" y="2174"/>
                    <a:pt x="271" y="2160"/>
                  </a:cubicBezTo>
                  <a:cubicBezTo>
                    <a:pt x="285" y="2160"/>
                    <a:pt x="285" y="2157"/>
                    <a:pt x="296" y="2151"/>
                  </a:cubicBezTo>
                  <a:cubicBezTo>
                    <a:pt x="296" y="2154"/>
                    <a:pt x="299" y="2157"/>
                    <a:pt x="302" y="2160"/>
                  </a:cubicBezTo>
                  <a:cubicBezTo>
                    <a:pt x="302" y="2157"/>
                    <a:pt x="305" y="2157"/>
                    <a:pt x="305" y="2154"/>
                  </a:cubicBezTo>
                  <a:cubicBezTo>
                    <a:pt x="313" y="2160"/>
                    <a:pt x="313" y="2163"/>
                    <a:pt x="307" y="2165"/>
                  </a:cubicBezTo>
                  <a:cubicBezTo>
                    <a:pt x="313" y="2171"/>
                    <a:pt x="313" y="2179"/>
                    <a:pt x="313" y="2188"/>
                  </a:cubicBezTo>
                  <a:cubicBezTo>
                    <a:pt x="302" y="2188"/>
                    <a:pt x="299" y="2194"/>
                    <a:pt x="305" y="2205"/>
                  </a:cubicBezTo>
                  <a:cubicBezTo>
                    <a:pt x="310" y="2208"/>
                    <a:pt x="319" y="2208"/>
                    <a:pt x="321" y="2210"/>
                  </a:cubicBezTo>
                  <a:cubicBezTo>
                    <a:pt x="324" y="2216"/>
                    <a:pt x="321" y="2222"/>
                    <a:pt x="319" y="2225"/>
                  </a:cubicBezTo>
                  <a:cubicBezTo>
                    <a:pt x="324" y="2227"/>
                    <a:pt x="324" y="2236"/>
                    <a:pt x="307" y="2239"/>
                  </a:cubicBezTo>
                  <a:lnTo>
                    <a:pt x="307" y="2233"/>
                  </a:lnTo>
                  <a:cubicBezTo>
                    <a:pt x="306" y="2235"/>
                    <a:pt x="303" y="2235"/>
                    <a:pt x="301" y="2236"/>
                  </a:cubicBezTo>
                  <a:cubicBezTo>
                    <a:pt x="301" y="2236"/>
                    <a:pt x="301" y="2236"/>
                    <a:pt x="302" y="2237"/>
                  </a:cubicBezTo>
                  <a:cubicBezTo>
                    <a:pt x="303" y="2237"/>
                    <a:pt x="305" y="2238"/>
                    <a:pt x="305" y="2239"/>
                  </a:cubicBezTo>
                  <a:cubicBezTo>
                    <a:pt x="314" y="2251"/>
                    <a:pt x="306" y="2245"/>
                    <a:pt x="301" y="2239"/>
                  </a:cubicBezTo>
                  <a:close/>
                  <a:moveTo>
                    <a:pt x="313" y="2289"/>
                  </a:moveTo>
                  <a:cubicBezTo>
                    <a:pt x="305" y="2287"/>
                    <a:pt x="307" y="2289"/>
                    <a:pt x="299" y="2292"/>
                  </a:cubicBezTo>
                  <a:cubicBezTo>
                    <a:pt x="290" y="2278"/>
                    <a:pt x="313" y="2270"/>
                    <a:pt x="313" y="2289"/>
                  </a:cubicBezTo>
                  <a:close/>
                  <a:moveTo>
                    <a:pt x="299" y="2247"/>
                  </a:moveTo>
                  <a:cubicBezTo>
                    <a:pt x="313" y="2244"/>
                    <a:pt x="296" y="2270"/>
                    <a:pt x="299" y="2247"/>
                  </a:cubicBezTo>
                  <a:close/>
                  <a:moveTo>
                    <a:pt x="305" y="2298"/>
                  </a:moveTo>
                  <a:cubicBezTo>
                    <a:pt x="299" y="2312"/>
                    <a:pt x="296" y="2287"/>
                    <a:pt x="305" y="2298"/>
                  </a:cubicBezTo>
                  <a:close/>
                  <a:moveTo>
                    <a:pt x="319" y="2329"/>
                  </a:moveTo>
                  <a:lnTo>
                    <a:pt x="319" y="2335"/>
                  </a:lnTo>
                  <a:cubicBezTo>
                    <a:pt x="313" y="2337"/>
                    <a:pt x="313" y="2332"/>
                    <a:pt x="307" y="2332"/>
                  </a:cubicBezTo>
                  <a:cubicBezTo>
                    <a:pt x="313" y="2337"/>
                    <a:pt x="316" y="2343"/>
                    <a:pt x="319" y="2349"/>
                  </a:cubicBezTo>
                  <a:lnTo>
                    <a:pt x="310" y="2349"/>
                  </a:lnTo>
                  <a:cubicBezTo>
                    <a:pt x="310" y="2354"/>
                    <a:pt x="299" y="2357"/>
                    <a:pt x="296" y="2343"/>
                  </a:cubicBezTo>
                  <a:lnTo>
                    <a:pt x="302" y="2343"/>
                  </a:lnTo>
                  <a:cubicBezTo>
                    <a:pt x="302" y="2337"/>
                    <a:pt x="299" y="2332"/>
                    <a:pt x="296" y="2326"/>
                  </a:cubicBezTo>
                  <a:cubicBezTo>
                    <a:pt x="299" y="2326"/>
                    <a:pt x="305" y="2329"/>
                    <a:pt x="307" y="2329"/>
                  </a:cubicBezTo>
                  <a:lnTo>
                    <a:pt x="307" y="2323"/>
                  </a:lnTo>
                  <a:lnTo>
                    <a:pt x="302" y="2320"/>
                  </a:lnTo>
                  <a:cubicBezTo>
                    <a:pt x="305" y="2320"/>
                    <a:pt x="307" y="2318"/>
                    <a:pt x="310" y="2315"/>
                  </a:cubicBezTo>
                  <a:cubicBezTo>
                    <a:pt x="310" y="2315"/>
                    <a:pt x="313" y="2315"/>
                    <a:pt x="313" y="2312"/>
                  </a:cubicBezTo>
                  <a:cubicBezTo>
                    <a:pt x="316" y="2315"/>
                    <a:pt x="316" y="2318"/>
                    <a:pt x="319" y="2320"/>
                  </a:cubicBezTo>
                  <a:cubicBezTo>
                    <a:pt x="321" y="2326"/>
                    <a:pt x="321" y="2329"/>
                    <a:pt x="319" y="2329"/>
                  </a:cubicBezTo>
                  <a:close/>
                  <a:moveTo>
                    <a:pt x="321" y="2250"/>
                  </a:moveTo>
                  <a:cubicBezTo>
                    <a:pt x="324" y="2261"/>
                    <a:pt x="305" y="2250"/>
                    <a:pt x="321" y="2250"/>
                  </a:cubicBezTo>
                  <a:close/>
                  <a:moveTo>
                    <a:pt x="321" y="2304"/>
                  </a:moveTo>
                  <a:lnTo>
                    <a:pt x="321" y="2312"/>
                  </a:lnTo>
                  <a:lnTo>
                    <a:pt x="316" y="2312"/>
                  </a:lnTo>
                  <a:cubicBezTo>
                    <a:pt x="316" y="2309"/>
                    <a:pt x="316" y="2304"/>
                    <a:pt x="321" y="2304"/>
                  </a:cubicBezTo>
                  <a:close/>
                  <a:moveTo>
                    <a:pt x="310" y="1880"/>
                  </a:moveTo>
                  <a:cubicBezTo>
                    <a:pt x="319" y="1883"/>
                    <a:pt x="327" y="1892"/>
                    <a:pt x="324" y="1903"/>
                  </a:cubicBezTo>
                  <a:cubicBezTo>
                    <a:pt x="310" y="1906"/>
                    <a:pt x="310" y="1889"/>
                    <a:pt x="310" y="1880"/>
                  </a:cubicBezTo>
                  <a:close/>
                  <a:moveTo>
                    <a:pt x="321" y="1720"/>
                  </a:moveTo>
                  <a:cubicBezTo>
                    <a:pt x="327" y="1720"/>
                    <a:pt x="333" y="1717"/>
                    <a:pt x="336" y="1717"/>
                  </a:cubicBezTo>
                  <a:cubicBezTo>
                    <a:pt x="338" y="1725"/>
                    <a:pt x="336" y="1734"/>
                    <a:pt x="324" y="1734"/>
                  </a:cubicBezTo>
                  <a:cubicBezTo>
                    <a:pt x="324" y="1731"/>
                    <a:pt x="321" y="1725"/>
                    <a:pt x="321" y="1720"/>
                  </a:cubicBezTo>
                  <a:close/>
                  <a:moveTo>
                    <a:pt x="330" y="2326"/>
                  </a:moveTo>
                  <a:cubicBezTo>
                    <a:pt x="333" y="2323"/>
                    <a:pt x="324" y="2329"/>
                    <a:pt x="330" y="2326"/>
                  </a:cubicBezTo>
                  <a:close/>
                  <a:moveTo>
                    <a:pt x="347" y="2368"/>
                  </a:moveTo>
                  <a:cubicBezTo>
                    <a:pt x="350" y="2374"/>
                    <a:pt x="341" y="2377"/>
                    <a:pt x="344" y="2383"/>
                  </a:cubicBezTo>
                  <a:cubicBezTo>
                    <a:pt x="341" y="2383"/>
                    <a:pt x="338" y="2377"/>
                    <a:pt x="333" y="2380"/>
                  </a:cubicBezTo>
                  <a:cubicBezTo>
                    <a:pt x="333" y="2377"/>
                    <a:pt x="330" y="2371"/>
                    <a:pt x="330" y="2368"/>
                  </a:cubicBezTo>
                  <a:cubicBezTo>
                    <a:pt x="333" y="2366"/>
                    <a:pt x="341" y="2368"/>
                    <a:pt x="347" y="2368"/>
                  </a:cubicBezTo>
                  <a:cubicBezTo>
                    <a:pt x="347" y="2366"/>
                    <a:pt x="350" y="2363"/>
                    <a:pt x="352" y="2363"/>
                  </a:cubicBezTo>
                  <a:cubicBezTo>
                    <a:pt x="352" y="2366"/>
                    <a:pt x="350" y="2366"/>
                    <a:pt x="347" y="2368"/>
                  </a:cubicBezTo>
                  <a:close/>
                  <a:moveTo>
                    <a:pt x="355" y="2363"/>
                  </a:moveTo>
                  <a:lnTo>
                    <a:pt x="352" y="2363"/>
                  </a:lnTo>
                  <a:lnTo>
                    <a:pt x="344" y="2363"/>
                  </a:lnTo>
                  <a:cubicBezTo>
                    <a:pt x="336" y="2340"/>
                    <a:pt x="369" y="2352"/>
                    <a:pt x="355" y="2363"/>
                  </a:cubicBezTo>
                  <a:close/>
                  <a:moveTo>
                    <a:pt x="355" y="2383"/>
                  </a:moveTo>
                  <a:cubicBezTo>
                    <a:pt x="358" y="2380"/>
                    <a:pt x="361" y="2380"/>
                    <a:pt x="364" y="2377"/>
                  </a:cubicBezTo>
                  <a:cubicBezTo>
                    <a:pt x="369" y="2377"/>
                    <a:pt x="372" y="2377"/>
                    <a:pt x="372" y="2380"/>
                  </a:cubicBezTo>
                  <a:lnTo>
                    <a:pt x="369" y="2380"/>
                  </a:lnTo>
                  <a:cubicBezTo>
                    <a:pt x="381" y="2388"/>
                    <a:pt x="355" y="2397"/>
                    <a:pt x="355" y="2383"/>
                  </a:cubicBezTo>
                  <a:close/>
                  <a:moveTo>
                    <a:pt x="367" y="2340"/>
                  </a:moveTo>
                  <a:cubicBezTo>
                    <a:pt x="364" y="2335"/>
                    <a:pt x="369" y="2326"/>
                    <a:pt x="369" y="2320"/>
                  </a:cubicBezTo>
                  <a:cubicBezTo>
                    <a:pt x="381" y="2318"/>
                    <a:pt x="378" y="2340"/>
                    <a:pt x="367" y="2340"/>
                  </a:cubicBezTo>
                  <a:close/>
                  <a:moveTo>
                    <a:pt x="381" y="2335"/>
                  </a:moveTo>
                  <a:cubicBezTo>
                    <a:pt x="398" y="2337"/>
                    <a:pt x="378" y="2354"/>
                    <a:pt x="386" y="2366"/>
                  </a:cubicBezTo>
                  <a:cubicBezTo>
                    <a:pt x="367" y="2360"/>
                    <a:pt x="381" y="2352"/>
                    <a:pt x="381" y="2335"/>
                  </a:cubicBezTo>
                  <a:close/>
                  <a:moveTo>
                    <a:pt x="386" y="2371"/>
                  </a:moveTo>
                  <a:cubicBezTo>
                    <a:pt x="384" y="2377"/>
                    <a:pt x="389" y="2368"/>
                    <a:pt x="386" y="2371"/>
                  </a:cubicBezTo>
                  <a:close/>
                  <a:moveTo>
                    <a:pt x="384" y="2385"/>
                  </a:moveTo>
                  <a:cubicBezTo>
                    <a:pt x="409" y="2391"/>
                    <a:pt x="389" y="2419"/>
                    <a:pt x="384" y="2385"/>
                  </a:cubicBezTo>
                  <a:close/>
                  <a:moveTo>
                    <a:pt x="395" y="2436"/>
                  </a:moveTo>
                  <a:cubicBezTo>
                    <a:pt x="409" y="2436"/>
                    <a:pt x="392" y="2459"/>
                    <a:pt x="395" y="2436"/>
                  </a:cubicBezTo>
                  <a:close/>
                  <a:moveTo>
                    <a:pt x="398" y="2453"/>
                  </a:moveTo>
                  <a:cubicBezTo>
                    <a:pt x="412" y="2450"/>
                    <a:pt x="395" y="2476"/>
                    <a:pt x="398" y="2453"/>
                  </a:cubicBezTo>
                  <a:close/>
                  <a:moveTo>
                    <a:pt x="403" y="2408"/>
                  </a:moveTo>
                  <a:cubicBezTo>
                    <a:pt x="415" y="2405"/>
                    <a:pt x="409" y="2428"/>
                    <a:pt x="415" y="2433"/>
                  </a:cubicBezTo>
                  <a:cubicBezTo>
                    <a:pt x="403" y="2433"/>
                    <a:pt x="409" y="2414"/>
                    <a:pt x="403" y="2408"/>
                  </a:cubicBezTo>
                  <a:close/>
                  <a:moveTo>
                    <a:pt x="426" y="2391"/>
                  </a:moveTo>
                  <a:lnTo>
                    <a:pt x="423" y="2391"/>
                  </a:lnTo>
                  <a:cubicBezTo>
                    <a:pt x="423" y="2389"/>
                    <a:pt x="424" y="2389"/>
                    <a:pt x="425" y="2388"/>
                  </a:cubicBezTo>
                  <a:cubicBezTo>
                    <a:pt x="424" y="2389"/>
                    <a:pt x="426" y="2391"/>
                    <a:pt x="426" y="2391"/>
                  </a:cubicBezTo>
                  <a:close/>
                  <a:moveTo>
                    <a:pt x="426" y="2473"/>
                  </a:moveTo>
                  <a:cubicBezTo>
                    <a:pt x="440" y="2473"/>
                    <a:pt x="423" y="2495"/>
                    <a:pt x="426" y="2473"/>
                  </a:cubicBezTo>
                  <a:close/>
                  <a:moveTo>
                    <a:pt x="443" y="2473"/>
                  </a:moveTo>
                  <a:lnTo>
                    <a:pt x="443" y="2472"/>
                  </a:lnTo>
                  <a:cubicBezTo>
                    <a:pt x="442" y="2473"/>
                    <a:pt x="439" y="2475"/>
                    <a:pt x="443" y="2473"/>
                  </a:cubicBezTo>
                  <a:cubicBezTo>
                    <a:pt x="444" y="2472"/>
                    <a:pt x="443" y="2472"/>
                    <a:pt x="443" y="2472"/>
                  </a:cubicBezTo>
                  <a:lnTo>
                    <a:pt x="443" y="2473"/>
                  </a:lnTo>
                  <a:close/>
                  <a:moveTo>
                    <a:pt x="432" y="2462"/>
                  </a:moveTo>
                  <a:cubicBezTo>
                    <a:pt x="423" y="2447"/>
                    <a:pt x="446" y="2453"/>
                    <a:pt x="440" y="2439"/>
                  </a:cubicBezTo>
                  <a:cubicBezTo>
                    <a:pt x="457" y="2439"/>
                    <a:pt x="446" y="2459"/>
                    <a:pt x="432" y="2462"/>
                  </a:cubicBezTo>
                  <a:close/>
                  <a:moveTo>
                    <a:pt x="448" y="2385"/>
                  </a:moveTo>
                  <a:lnTo>
                    <a:pt x="463" y="2385"/>
                  </a:lnTo>
                  <a:lnTo>
                    <a:pt x="463" y="2399"/>
                  </a:lnTo>
                  <a:lnTo>
                    <a:pt x="448" y="2399"/>
                  </a:lnTo>
                  <a:lnTo>
                    <a:pt x="448" y="2385"/>
                  </a:lnTo>
                  <a:close/>
                  <a:moveTo>
                    <a:pt x="460" y="2473"/>
                  </a:moveTo>
                  <a:cubicBezTo>
                    <a:pt x="477" y="2478"/>
                    <a:pt x="443" y="2490"/>
                    <a:pt x="460" y="2473"/>
                  </a:cubicBezTo>
                  <a:close/>
                  <a:moveTo>
                    <a:pt x="463" y="2535"/>
                  </a:moveTo>
                  <a:lnTo>
                    <a:pt x="463" y="2507"/>
                  </a:lnTo>
                  <a:lnTo>
                    <a:pt x="463" y="2501"/>
                  </a:lnTo>
                  <a:cubicBezTo>
                    <a:pt x="465" y="2493"/>
                    <a:pt x="474" y="2487"/>
                    <a:pt x="482" y="2490"/>
                  </a:cubicBezTo>
                  <a:cubicBezTo>
                    <a:pt x="482" y="2509"/>
                    <a:pt x="485" y="2535"/>
                    <a:pt x="463" y="2535"/>
                  </a:cubicBezTo>
                  <a:close/>
                  <a:moveTo>
                    <a:pt x="475" y="2481"/>
                  </a:moveTo>
                  <a:cubicBezTo>
                    <a:pt x="475" y="2483"/>
                    <a:pt x="474" y="2485"/>
                    <a:pt x="474" y="2481"/>
                  </a:cubicBezTo>
                  <a:cubicBezTo>
                    <a:pt x="475" y="2480"/>
                    <a:pt x="475" y="2481"/>
                    <a:pt x="475" y="2481"/>
                  </a:cubicBezTo>
                  <a:close/>
                  <a:moveTo>
                    <a:pt x="494" y="2473"/>
                  </a:moveTo>
                  <a:cubicBezTo>
                    <a:pt x="496" y="2476"/>
                    <a:pt x="499" y="2476"/>
                    <a:pt x="499" y="2476"/>
                  </a:cubicBezTo>
                  <a:lnTo>
                    <a:pt x="491" y="2476"/>
                  </a:lnTo>
                  <a:cubicBezTo>
                    <a:pt x="490" y="2478"/>
                    <a:pt x="487" y="2480"/>
                    <a:pt x="488" y="2474"/>
                  </a:cubicBezTo>
                  <a:cubicBezTo>
                    <a:pt x="487" y="2473"/>
                    <a:pt x="486" y="2473"/>
                    <a:pt x="485" y="2473"/>
                  </a:cubicBezTo>
                  <a:cubicBezTo>
                    <a:pt x="488" y="2473"/>
                    <a:pt x="491" y="2470"/>
                    <a:pt x="494" y="2473"/>
                  </a:cubicBezTo>
                  <a:close/>
                  <a:moveTo>
                    <a:pt x="508" y="2555"/>
                  </a:moveTo>
                  <a:cubicBezTo>
                    <a:pt x="505" y="2552"/>
                    <a:pt x="511" y="2555"/>
                    <a:pt x="508" y="2555"/>
                  </a:cubicBezTo>
                  <a:close/>
                  <a:moveTo>
                    <a:pt x="519" y="2546"/>
                  </a:moveTo>
                  <a:cubicBezTo>
                    <a:pt x="511" y="2563"/>
                    <a:pt x="488" y="2526"/>
                    <a:pt x="502" y="2515"/>
                  </a:cubicBezTo>
                  <a:lnTo>
                    <a:pt x="496" y="2515"/>
                  </a:lnTo>
                  <a:cubicBezTo>
                    <a:pt x="496" y="2512"/>
                    <a:pt x="499" y="2507"/>
                    <a:pt x="499" y="2504"/>
                  </a:cubicBezTo>
                  <a:cubicBezTo>
                    <a:pt x="502" y="2504"/>
                    <a:pt x="508" y="2509"/>
                    <a:pt x="511" y="2509"/>
                  </a:cubicBezTo>
                  <a:lnTo>
                    <a:pt x="511" y="2512"/>
                  </a:lnTo>
                  <a:lnTo>
                    <a:pt x="522" y="2512"/>
                  </a:lnTo>
                  <a:cubicBezTo>
                    <a:pt x="522" y="2524"/>
                    <a:pt x="499" y="2541"/>
                    <a:pt x="519" y="2546"/>
                  </a:cubicBezTo>
                  <a:close/>
                  <a:moveTo>
                    <a:pt x="536" y="2498"/>
                  </a:moveTo>
                  <a:lnTo>
                    <a:pt x="536" y="2507"/>
                  </a:lnTo>
                  <a:cubicBezTo>
                    <a:pt x="494" y="2509"/>
                    <a:pt x="544" y="2459"/>
                    <a:pt x="496" y="2467"/>
                  </a:cubicBezTo>
                  <a:lnTo>
                    <a:pt x="496" y="2439"/>
                  </a:lnTo>
                  <a:cubicBezTo>
                    <a:pt x="499" y="2450"/>
                    <a:pt x="505" y="2456"/>
                    <a:pt x="511" y="2456"/>
                  </a:cubicBezTo>
                  <a:lnTo>
                    <a:pt x="511" y="2450"/>
                  </a:lnTo>
                  <a:cubicBezTo>
                    <a:pt x="513" y="2450"/>
                    <a:pt x="516" y="2450"/>
                    <a:pt x="516" y="2453"/>
                  </a:cubicBezTo>
                  <a:cubicBezTo>
                    <a:pt x="525" y="2453"/>
                    <a:pt x="530" y="2453"/>
                    <a:pt x="539" y="2459"/>
                  </a:cubicBezTo>
                  <a:cubicBezTo>
                    <a:pt x="547" y="2459"/>
                    <a:pt x="544" y="2447"/>
                    <a:pt x="544" y="2439"/>
                  </a:cubicBezTo>
                  <a:cubicBezTo>
                    <a:pt x="556" y="2439"/>
                    <a:pt x="564" y="2442"/>
                    <a:pt x="575" y="2442"/>
                  </a:cubicBezTo>
                  <a:cubicBezTo>
                    <a:pt x="567" y="2450"/>
                    <a:pt x="558" y="2459"/>
                    <a:pt x="547" y="2467"/>
                  </a:cubicBezTo>
                  <a:cubicBezTo>
                    <a:pt x="550" y="2467"/>
                    <a:pt x="553" y="2467"/>
                    <a:pt x="556" y="2470"/>
                  </a:cubicBezTo>
                  <a:cubicBezTo>
                    <a:pt x="553" y="2473"/>
                    <a:pt x="547" y="2473"/>
                    <a:pt x="544" y="2470"/>
                  </a:cubicBezTo>
                  <a:cubicBezTo>
                    <a:pt x="539" y="2476"/>
                    <a:pt x="536" y="2481"/>
                    <a:pt x="536" y="2487"/>
                  </a:cubicBezTo>
                  <a:cubicBezTo>
                    <a:pt x="542" y="2493"/>
                    <a:pt x="539" y="2498"/>
                    <a:pt x="536" y="2498"/>
                  </a:cubicBezTo>
                  <a:close/>
                  <a:moveTo>
                    <a:pt x="542" y="2532"/>
                  </a:moveTo>
                  <a:cubicBezTo>
                    <a:pt x="544" y="2529"/>
                    <a:pt x="539" y="2538"/>
                    <a:pt x="542" y="2532"/>
                  </a:cubicBezTo>
                  <a:close/>
                  <a:moveTo>
                    <a:pt x="542" y="2569"/>
                  </a:moveTo>
                  <a:cubicBezTo>
                    <a:pt x="550" y="2563"/>
                    <a:pt x="539" y="2543"/>
                    <a:pt x="556" y="2546"/>
                  </a:cubicBezTo>
                  <a:cubicBezTo>
                    <a:pt x="558" y="2557"/>
                    <a:pt x="558" y="2572"/>
                    <a:pt x="542" y="2569"/>
                  </a:cubicBezTo>
                  <a:close/>
                  <a:moveTo>
                    <a:pt x="561" y="2507"/>
                  </a:moveTo>
                  <a:cubicBezTo>
                    <a:pt x="564" y="2501"/>
                    <a:pt x="558" y="2487"/>
                    <a:pt x="570" y="2481"/>
                  </a:cubicBezTo>
                  <a:cubicBezTo>
                    <a:pt x="573" y="2493"/>
                    <a:pt x="575" y="2501"/>
                    <a:pt x="567" y="2504"/>
                  </a:cubicBezTo>
                  <a:cubicBezTo>
                    <a:pt x="572" y="2505"/>
                    <a:pt x="576" y="2510"/>
                    <a:pt x="578" y="2515"/>
                  </a:cubicBezTo>
                  <a:cubicBezTo>
                    <a:pt x="579" y="2511"/>
                    <a:pt x="581" y="2507"/>
                    <a:pt x="581" y="2504"/>
                  </a:cubicBezTo>
                  <a:cubicBezTo>
                    <a:pt x="575" y="2495"/>
                    <a:pt x="575" y="2484"/>
                    <a:pt x="567" y="2478"/>
                  </a:cubicBezTo>
                  <a:cubicBezTo>
                    <a:pt x="570" y="2473"/>
                    <a:pt x="606" y="2493"/>
                    <a:pt x="604" y="2512"/>
                  </a:cubicBezTo>
                  <a:cubicBezTo>
                    <a:pt x="598" y="2512"/>
                    <a:pt x="595" y="2512"/>
                    <a:pt x="590" y="2509"/>
                  </a:cubicBezTo>
                  <a:cubicBezTo>
                    <a:pt x="592" y="2517"/>
                    <a:pt x="588" y="2527"/>
                    <a:pt x="579" y="2525"/>
                  </a:cubicBezTo>
                  <a:lnTo>
                    <a:pt x="578" y="2526"/>
                  </a:lnTo>
                  <a:cubicBezTo>
                    <a:pt x="578" y="2529"/>
                    <a:pt x="575" y="2532"/>
                    <a:pt x="575" y="2532"/>
                  </a:cubicBezTo>
                  <a:cubicBezTo>
                    <a:pt x="561" y="2529"/>
                    <a:pt x="558" y="2518"/>
                    <a:pt x="561" y="2507"/>
                  </a:cubicBezTo>
                  <a:close/>
                  <a:moveTo>
                    <a:pt x="575" y="2620"/>
                  </a:moveTo>
                  <a:cubicBezTo>
                    <a:pt x="573" y="2620"/>
                    <a:pt x="567" y="2614"/>
                    <a:pt x="564" y="2617"/>
                  </a:cubicBezTo>
                  <a:cubicBezTo>
                    <a:pt x="564" y="2614"/>
                    <a:pt x="570" y="2611"/>
                    <a:pt x="567" y="2605"/>
                  </a:cubicBezTo>
                  <a:cubicBezTo>
                    <a:pt x="570" y="2605"/>
                    <a:pt x="575" y="2608"/>
                    <a:pt x="578" y="2608"/>
                  </a:cubicBezTo>
                  <a:cubicBezTo>
                    <a:pt x="578" y="2611"/>
                    <a:pt x="575" y="2614"/>
                    <a:pt x="575" y="2620"/>
                  </a:cubicBezTo>
                  <a:close/>
                  <a:moveTo>
                    <a:pt x="598" y="2521"/>
                  </a:moveTo>
                  <a:lnTo>
                    <a:pt x="595" y="2524"/>
                  </a:lnTo>
                  <a:cubicBezTo>
                    <a:pt x="595" y="2521"/>
                    <a:pt x="598" y="2518"/>
                    <a:pt x="598" y="2521"/>
                  </a:cubicBezTo>
                  <a:close/>
                  <a:moveTo>
                    <a:pt x="604" y="2622"/>
                  </a:moveTo>
                  <a:cubicBezTo>
                    <a:pt x="590" y="2620"/>
                    <a:pt x="581" y="2605"/>
                    <a:pt x="587" y="2591"/>
                  </a:cubicBezTo>
                  <a:lnTo>
                    <a:pt x="587" y="2588"/>
                  </a:lnTo>
                  <a:cubicBezTo>
                    <a:pt x="601" y="2594"/>
                    <a:pt x="615" y="2611"/>
                    <a:pt x="604" y="2622"/>
                  </a:cubicBezTo>
                  <a:close/>
                  <a:moveTo>
                    <a:pt x="606" y="2591"/>
                  </a:moveTo>
                  <a:cubicBezTo>
                    <a:pt x="598" y="2588"/>
                    <a:pt x="592" y="2580"/>
                    <a:pt x="592" y="2572"/>
                  </a:cubicBezTo>
                  <a:cubicBezTo>
                    <a:pt x="598" y="2572"/>
                    <a:pt x="601" y="2569"/>
                    <a:pt x="604" y="2566"/>
                  </a:cubicBezTo>
                  <a:cubicBezTo>
                    <a:pt x="612" y="2572"/>
                    <a:pt x="618" y="2586"/>
                    <a:pt x="606" y="2591"/>
                  </a:cubicBezTo>
                  <a:close/>
                  <a:moveTo>
                    <a:pt x="626" y="2614"/>
                  </a:moveTo>
                  <a:cubicBezTo>
                    <a:pt x="640" y="2617"/>
                    <a:pt x="621" y="2642"/>
                    <a:pt x="626" y="2614"/>
                  </a:cubicBezTo>
                  <a:close/>
                  <a:moveTo>
                    <a:pt x="618" y="2597"/>
                  </a:moveTo>
                  <a:cubicBezTo>
                    <a:pt x="615" y="2600"/>
                    <a:pt x="612" y="2603"/>
                    <a:pt x="615" y="2597"/>
                  </a:cubicBezTo>
                  <a:lnTo>
                    <a:pt x="615" y="2594"/>
                  </a:lnTo>
                  <a:lnTo>
                    <a:pt x="615" y="2586"/>
                  </a:lnTo>
                  <a:cubicBezTo>
                    <a:pt x="626" y="2583"/>
                    <a:pt x="632" y="2594"/>
                    <a:pt x="635" y="2603"/>
                  </a:cubicBezTo>
                  <a:cubicBezTo>
                    <a:pt x="629" y="2603"/>
                    <a:pt x="621" y="2603"/>
                    <a:pt x="618" y="2597"/>
                  </a:cubicBezTo>
                  <a:close/>
                  <a:moveTo>
                    <a:pt x="629" y="2566"/>
                  </a:moveTo>
                  <a:cubicBezTo>
                    <a:pt x="637" y="2566"/>
                    <a:pt x="626" y="2580"/>
                    <a:pt x="629" y="2566"/>
                  </a:cubicBezTo>
                  <a:close/>
                  <a:moveTo>
                    <a:pt x="635" y="2557"/>
                  </a:moveTo>
                  <a:cubicBezTo>
                    <a:pt x="637" y="2555"/>
                    <a:pt x="632" y="2563"/>
                    <a:pt x="635" y="2557"/>
                  </a:cubicBezTo>
                  <a:close/>
                  <a:moveTo>
                    <a:pt x="632" y="2560"/>
                  </a:moveTo>
                  <a:cubicBezTo>
                    <a:pt x="615" y="2560"/>
                    <a:pt x="629" y="2535"/>
                    <a:pt x="632" y="2532"/>
                  </a:cubicBezTo>
                  <a:cubicBezTo>
                    <a:pt x="649" y="2535"/>
                    <a:pt x="623" y="2549"/>
                    <a:pt x="632" y="2560"/>
                  </a:cubicBezTo>
                  <a:close/>
                  <a:moveTo>
                    <a:pt x="646" y="2526"/>
                  </a:moveTo>
                  <a:cubicBezTo>
                    <a:pt x="649" y="2538"/>
                    <a:pt x="629" y="2526"/>
                    <a:pt x="646" y="2526"/>
                  </a:cubicBezTo>
                  <a:close/>
                  <a:moveTo>
                    <a:pt x="643" y="2549"/>
                  </a:moveTo>
                  <a:cubicBezTo>
                    <a:pt x="643" y="2546"/>
                    <a:pt x="649" y="2543"/>
                    <a:pt x="652" y="2543"/>
                  </a:cubicBezTo>
                  <a:cubicBezTo>
                    <a:pt x="652" y="2546"/>
                    <a:pt x="649" y="2549"/>
                    <a:pt x="643" y="2549"/>
                  </a:cubicBezTo>
                  <a:close/>
                  <a:moveTo>
                    <a:pt x="649" y="2476"/>
                  </a:moveTo>
                  <a:cubicBezTo>
                    <a:pt x="666" y="2476"/>
                    <a:pt x="646" y="2498"/>
                    <a:pt x="649" y="2476"/>
                  </a:cubicBezTo>
                  <a:close/>
                  <a:moveTo>
                    <a:pt x="657" y="2577"/>
                  </a:moveTo>
                  <a:lnTo>
                    <a:pt x="652" y="2577"/>
                  </a:lnTo>
                  <a:lnTo>
                    <a:pt x="652" y="2572"/>
                  </a:lnTo>
                  <a:lnTo>
                    <a:pt x="657" y="2572"/>
                  </a:lnTo>
                  <a:lnTo>
                    <a:pt x="657" y="2577"/>
                  </a:lnTo>
                  <a:close/>
                  <a:moveTo>
                    <a:pt x="657" y="2549"/>
                  </a:moveTo>
                  <a:lnTo>
                    <a:pt x="657" y="2538"/>
                  </a:lnTo>
                  <a:lnTo>
                    <a:pt x="669" y="2538"/>
                  </a:lnTo>
                  <a:cubicBezTo>
                    <a:pt x="669" y="2541"/>
                    <a:pt x="671" y="2546"/>
                    <a:pt x="671" y="2549"/>
                  </a:cubicBezTo>
                  <a:cubicBezTo>
                    <a:pt x="669" y="2546"/>
                    <a:pt x="663" y="2546"/>
                    <a:pt x="657" y="2549"/>
                  </a:cubicBezTo>
                  <a:close/>
                  <a:moveTo>
                    <a:pt x="683" y="2648"/>
                  </a:moveTo>
                  <a:cubicBezTo>
                    <a:pt x="674" y="2653"/>
                    <a:pt x="660" y="2639"/>
                    <a:pt x="660" y="2631"/>
                  </a:cubicBezTo>
                  <a:cubicBezTo>
                    <a:pt x="674" y="2625"/>
                    <a:pt x="669" y="2645"/>
                    <a:pt x="683" y="2642"/>
                  </a:cubicBezTo>
                  <a:lnTo>
                    <a:pt x="683" y="2645"/>
                  </a:lnTo>
                  <a:lnTo>
                    <a:pt x="683" y="2648"/>
                  </a:lnTo>
                  <a:close/>
                  <a:moveTo>
                    <a:pt x="674" y="2628"/>
                  </a:moveTo>
                  <a:lnTo>
                    <a:pt x="674" y="2611"/>
                  </a:lnTo>
                  <a:cubicBezTo>
                    <a:pt x="680" y="2611"/>
                    <a:pt x="680" y="2608"/>
                    <a:pt x="680" y="2605"/>
                  </a:cubicBezTo>
                  <a:cubicBezTo>
                    <a:pt x="694" y="2603"/>
                    <a:pt x="691" y="2636"/>
                    <a:pt x="674" y="2628"/>
                  </a:cubicBezTo>
                  <a:close/>
                  <a:moveTo>
                    <a:pt x="691" y="2651"/>
                  </a:moveTo>
                  <a:lnTo>
                    <a:pt x="697" y="2651"/>
                  </a:lnTo>
                  <a:cubicBezTo>
                    <a:pt x="694" y="2648"/>
                    <a:pt x="697" y="2648"/>
                    <a:pt x="700" y="2648"/>
                  </a:cubicBezTo>
                  <a:cubicBezTo>
                    <a:pt x="705" y="2653"/>
                    <a:pt x="691" y="2670"/>
                    <a:pt x="691" y="2651"/>
                  </a:cubicBezTo>
                  <a:close/>
                  <a:moveTo>
                    <a:pt x="728" y="2698"/>
                  </a:moveTo>
                  <a:cubicBezTo>
                    <a:pt x="719" y="2701"/>
                    <a:pt x="705" y="2698"/>
                    <a:pt x="705" y="2693"/>
                  </a:cubicBezTo>
                  <a:cubicBezTo>
                    <a:pt x="700" y="2682"/>
                    <a:pt x="714" y="2679"/>
                    <a:pt x="722" y="2679"/>
                  </a:cubicBezTo>
                  <a:cubicBezTo>
                    <a:pt x="722" y="2676"/>
                    <a:pt x="722" y="2673"/>
                    <a:pt x="725" y="2673"/>
                  </a:cubicBezTo>
                  <a:cubicBezTo>
                    <a:pt x="728" y="2656"/>
                    <a:pt x="742" y="2642"/>
                    <a:pt x="753" y="2642"/>
                  </a:cubicBezTo>
                  <a:cubicBezTo>
                    <a:pt x="755" y="2659"/>
                    <a:pt x="754" y="2674"/>
                    <a:pt x="750" y="2689"/>
                  </a:cubicBezTo>
                  <a:cubicBezTo>
                    <a:pt x="751" y="2687"/>
                    <a:pt x="753" y="2686"/>
                    <a:pt x="756" y="2684"/>
                  </a:cubicBezTo>
                  <a:cubicBezTo>
                    <a:pt x="765" y="2683"/>
                    <a:pt x="770" y="2688"/>
                    <a:pt x="773" y="2694"/>
                  </a:cubicBezTo>
                  <a:cubicBezTo>
                    <a:pt x="774" y="2692"/>
                    <a:pt x="776" y="2690"/>
                    <a:pt x="779" y="2687"/>
                  </a:cubicBezTo>
                  <a:cubicBezTo>
                    <a:pt x="784" y="2684"/>
                    <a:pt x="781" y="2693"/>
                    <a:pt x="787" y="2693"/>
                  </a:cubicBezTo>
                  <a:cubicBezTo>
                    <a:pt x="784" y="2698"/>
                    <a:pt x="779" y="2698"/>
                    <a:pt x="774" y="2696"/>
                  </a:cubicBezTo>
                  <a:cubicBezTo>
                    <a:pt x="776" y="2702"/>
                    <a:pt x="777" y="2708"/>
                    <a:pt x="779" y="2713"/>
                  </a:cubicBezTo>
                  <a:cubicBezTo>
                    <a:pt x="766" y="2715"/>
                    <a:pt x="749" y="2703"/>
                    <a:pt x="749" y="2693"/>
                  </a:cubicBezTo>
                  <a:cubicBezTo>
                    <a:pt x="748" y="2697"/>
                    <a:pt x="746" y="2700"/>
                    <a:pt x="745" y="2704"/>
                  </a:cubicBezTo>
                  <a:cubicBezTo>
                    <a:pt x="736" y="2707"/>
                    <a:pt x="731" y="2704"/>
                    <a:pt x="728" y="2698"/>
                  </a:cubicBezTo>
                  <a:close/>
                  <a:moveTo>
                    <a:pt x="756" y="2679"/>
                  </a:moveTo>
                  <a:cubicBezTo>
                    <a:pt x="756" y="2673"/>
                    <a:pt x="764" y="2682"/>
                    <a:pt x="756" y="2679"/>
                  </a:cubicBezTo>
                  <a:close/>
                  <a:moveTo>
                    <a:pt x="762" y="2670"/>
                  </a:moveTo>
                  <a:cubicBezTo>
                    <a:pt x="767" y="2665"/>
                    <a:pt x="764" y="2679"/>
                    <a:pt x="762" y="2670"/>
                  </a:cubicBezTo>
                  <a:close/>
                  <a:moveTo>
                    <a:pt x="776" y="2724"/>
                  </a:moveTo>
                  <a:cubicBezTo>
                    <a:pt x="776" y="2730"/>
                    <a:pt x="770" y="2730"/>
                    <a:pt x="767" y="2730"/>
                  </a:cubicBezTo>
                  <a:cubicBezTo>
                    <a:pt x="770" y="2727"/>
                    <a:pt x="773" y="2724"/>
                    <a:pt x="776" y="2724"/>
                  </a:cubicBezTo>
                  <a:close/>
                  <a:moveTo>
                    <a:pt x="776" y="2752"/>
                  </a:moveTo>
                  <a:cubicBezTo>
                    <a:pt x="776" y="2746"/>
                    <a:pt x="781" y="2746"/>
                    <a:pt x="784" y="2744"/>
                  </a:cubicBezTo>
                  <a:cubicBezTo>
                    <a:pt x="784" y="2749"/>
                    <a:pt x="779" y="2752"/>
                    <a:pt x="776" y="2752"/>
                  </a:cubicBezTo>
                  <a:close/>
                  <a:moveTo>
                    <a:pt x="779" y="2614"/>
                  </a:moveTo>
                  <a:cubicBezTo>
                    <a:pt x="770" y="2623"/>
                    <a:pt x="762" y="2634"/>
                    <a:pt x="748" y="2634"/>
                  </a:cubicBezTo>
                  <a:cubicBezTo>
                    <a:pt x="745" y="2622"/>
                    <a:pt x="748" y="2608"/>
                    <a:pt x="756" y="2597"/>
                  </a:cubicBezTo>
                  <a:cubicBezTo>
                    <a:pt x="776" y="2605"/>
                    <a:pt x="773" y="2597"/>
                    <a:pt x="790" y="2605"/>
                  </a:cubicBezTo>
                  <a:cubicBezTo>
                    <a:pt x="787" y="2607"/>
                    <a:pt x="784" y="2610"/>
                    <a:pt x="781" y="2612"/>
                  </a:cubicBezTo>
                  <a:cubicBezTo>
                    <a:pt x="783" y="2613"/>
                    <a:pt x="783" y="2615"/>
                    <a:pt x="779" y="2614"/>
                  </a:cubicBezTo>
                  <a:close/>
                  <a:moveTo>
                    <a:pt x="781" y="302"/>
                  </a:moveTo>
                  <a:cubicBezTo>
                    <a:pt x="787" y="299"/>
                    <a:pt x="793" y="302"/>
                    <a:pt x="793" y="310"/>
                  </a:cubicBezTo>
                  <a:cubicBezTo>
                    <a:pt x="787" y="313"/>
                    <a:pt x="784" y="307"/>
                    <a:pt x="781" y="302"/>
                  </a:cubicBezTo>
                  <a:close/>
                  <a:moveTo>
                    <a:pt x="793" y="2546"/>
                  </a:moveTo>
                  <a:cubicBezTo>
                    <a:pt x="810" y="2543"/>
                    <a:pt x="793" y="2569"/>
                    <a:pt x="793" y="2546"/>
                  </a:cubicBezTo>
                  <a:close/>
                  <a:moveTo>
                    <a:pt x="804" y="2634"/>
                  </a:moveTo>
                  <a:lnTo>
                    <a:pt x="804" y="2639"/>
                  </a:lnTo>
                  <a:lnTo>
                    <a:pt x="798" y="2639"/>
                  </a:lnTo>
                  <a:lnTo>
                    <a:pt x="798" y="2634"/>
                  </a:lnTo>
                  <a:lnTo>
                    <a:pt x="804" y="2634"/>
                  </a:lnTo>
                  <a:close/>
                  <a:moveTo>
                    <a:pt x="797" y="2566"/>
                  </a:moveTo>
                  <a:cubicBezTo>
                    <a:pt x="798" y="2565"/>
                    <a:pt x="798" y="2565"/>
                    <a:pt x="798" y="2566"/>
                  </a:cubicBezTo>
                  <a:cubicBezTo>
                    <a:pt x="795" y="2570"/>
                    <a:pt x="796" y="2567"/>
                    <a:pt x="797" y="2566"/>
                  </a:cubicBezTo>
                  <a:close/>
                  <a:moveTo>
                    <a:pt x="793" y="2752"/>
                  </a:moveTo>
                  <a:cubicBezTo>
                    <a:pt x="804" y="2746"/>
                    <a:pt x="793" y="2718"/>
                    <a:pt x="815" y="2724"/>
                  </a:cubicBezTo>
                  <a:cubicBezTo>
                    <a:pt x="818" y="2741"/>
                    <a:pt x="815" y="2761"/>
                    <a:pt x="793" y="2752"/>
                  </a:cubicBezTo>
                  <a:close/>
                  <a:moveTo>
                    <a:pt x="804" y="2693"/>
                  </a:moveTo>
                  <a:cubicBezTo>
                    <a:pt x="801" y="2682"/>
                    <a:pt x="804" y="2670"/>
                    <a:pt x="818" y="2670"/>
                  </a:cubicBezTo>
                  <a:cubicBezTo>
                    <a:pt x="821" y="2682"/>
                    <a:pt x="815" y="2690"/>
                    <a:pt x="804" y="2693"/>
                  </a:cubicBezTo>
                  <a:close/>
                  <a:moveTo>
                    <a:pt x="812" y="2631"/>
                  </a:moveTo>
                  <a:cubicBezTo>
                    <a:pt x="813" y="2631"/>
                    <a:pt x="814" y="2630"/>
                    <a:pt x="814" y="2630"/>
                  </a:cubicBezTo>
                  <a:cubicBezTo>
                    <a:pt x="814" y="2630"/>
                    <a:pt x="813" y="2631"/>
                    <a:pt x="812" y="2631"/>
                  </a:cubicBezTo>
                  <a:close/>
                  <a:moveTo>
                    <a:pt x="824" y="2682"/>
                  </a:moveTo>
                  <a:cubicBezTo>
                    <a:pt x="824" y="2676"/>
                    <a:pt x="832" y="2684"/>
                    <a:pt x="824" y="2682"/>
                  </a:cubicBezTo>
                  <a:close/>
                  <a:moveTo>
                    <a:pt x="824" y="2639"/>
                  </a:moveTo>
                  <a:cubicBezTo>
                    <a:pt x="818" y="2636"/>
                    <a:pt x="824" y="2625"/>
                    <a:pt x="829" y="2628"/>
                  </a:cubicBezTo>
                  <a:cubicBezTo>
                    <a:pt x="829" y="2634"/>
                    <a:pt x="824" y="2634"/>
                    <a:pt x="824" y="2639"/>
                  </a:cubicBezTo>
                  <a:close/>
                  <a:moveTo>
                    <a:pt x="829" y="2698"/>
                  </a:moveTo>
                  <a:cubicBezTo>
                    <a:pt x="846" y="2698"/>
                    <a:pt x="829" y="2721"/>
                    <a:pt x="829" y="2698"/>
                  </a:cubicBezTo>
                  <a:close/>
                  <a:moveTo>
                    <a:pt x="843" y="2701"/>
                  </a:moveTo>
                  <a:cubicBezTo>
                    <a:pt x="841" y="2701"/>
                    <a:pt x="841" y="2690"/>
                    <a:pt x="846" y="2693"/>
                  </a:cubicBezTo>
                  <a:cubicBezTo>
                    <a:pt x="849" y="2696"/>
                    <a:pt x="843" y="2696"/>
                    <a:pt x="843" y="2701"/>
                  </a:cubicBezTo>
                  <a:close/>
                  <a:moveTo>
                    <a:pt x="846" y="2701"/>
                  </a:moveTo>
                  <a:cubicBezTo>
                    <a:pt x="860" y="2701"/>
                    <a:pt x="843" y="2724"/>
                    <a:pt x="846" y="2701"/>
                  </a:cubicBezTo>
                  <a:close/>
                  <a:moveTo>
                    <a:pt x="855" y="2673"/>
                  </a:moveTo>
                  <a:cubicBezTo>
                    <a:pt x="849" y="2670"/>
                    <a:pt x="843" y="2670"/>
                    <a:pt x="843" y="2662"/>
                  </a:cubicBezTo>
                  <a:cubicBezTo>
                    <a:pt x="849" y="2659"/>
                    <a:pt x="852" y="2665"/>
                    <a:pt x="855" y="2659"/>
                  </a:cubicBezTo>
                  <a:cubicBezTo>
                    <a:pt x="858" y="2659"/>
                    <a:pt x="860" y="2662"/>
                    <a:pt x="860" y="2665"/>
                  </a:cubicBezTo>
                  <a:cubicBezTo>
                    <a:pt x="858" y="2667"/>
                    <a:pt x="855" y="2670"/>
                    <a:pt x="855" y="2673"/>
                  </a:cubicBezTo>
                  <a:close/>
                  <a:moveTo>
                    <a:pt x="858" y="2797"/>
                  </a:moveTo>
                  <a:lnTo>
                    <a:pt x="858" y="2792"/>
                  </a:lnTo>
                  <a:lnTo>
                    <a:pt x="869" y="2792"/>
                  </a:lnTo>
                  <a:cubicBezTo>
                    <a:pt x="869" y="2797"/>
                    <a:pt x="860" y="2797"/>
                    <a:pt x="858" y="2797"/>
                  </a:cubicBezTo>
                  <a:close/>
                  <a:moveTo>
                    <a:pt x="875" y="2794"/>
                  </a:moveTo>
                  <a:cubicBezTo>
                    <a:pt x="866" y="2789"/>
                    <a:pt x="860" y="2777"/>
                    <a:pt x="860" y="2766"/>
                  </a:cubicBezTo>
                  <a:cubicBezTo>
                    <a:pt x="869" y="2766"/>
                    <a:pt x="875" y="2766"/>
                    <a:pt x="875" y="2761"/>
                  </a:cubicBezTo>
                  <a:cubicBezTo>
                    <a:pt x="889" y="2769"/>
                    <a:pt x="891" y="2789"/>
                    <a:pt x="875" y="2794"/>
                  </a:cubicBezTo>
                  <a:close/>
                  <a:moveTo>
                    <a:pt x="875" y="2741"/>
                  </a:moveTo>
                  <a:cubicBezTo>
                    <a:pt x="875" y="2735"/>
                    <a:pt x="883" y="2744"/>
                    <a:pt x="875" y="2741"/>
                  </a:cubicBezTo>
                  <a:close/>
                  <a:moveTo>
                    <a:pt x="894" y="2732"/>
                  </a:moveTo>
                  <a:cubicBezTo>
                    <a:pt x="894" y="2730"/>
                    <a:pt x="897" y="2727"/>
                    <a:pt x="897" y="2724"/>
                  </a:cubicBezTo>
                  <a:cubicBezTo>
                    <a:pt x="900" y="2724"/>
                    <a:pt x="900" y="2735"/>
                    <a:pt x="894" y="2732"/>
                  </a:cubicBezTo>
                  <a:close/>
                  <a:moveTo>
                    <a:pt x="894" y="2673"/>
                  </a:moveTo>
                  <a:cubicBezTo>
                    <a:pt x="894" y="2667"/>
                    <a:pt x="903" y="2665"/>
                    <a:pt x="903" y="2659"/>
                  </a:cubicBezTo>
                  <a:cubicBezTo>
                    <a:pt x="908" y="2659"/>
                    <a:pt x="911" y="2665"/>
                    <a:pt x="917" y="2665"/>
                  </a:cubicBezTo>
                  <a:cubicBezTo>
                    <a:pt x="917" y="2670"/>
                    <a:pt x="911" y="2673"/>
                    <a:pt x="911" y="2679"/>
                  </a:cubicBezTo>
                  <a:cubicBezTo>
                    <a:pt x="906" y="2679"/>
                    <a:pt x="900" y="2673"/>
                    <a:pt x="894" y="2673"/>
                  </a:cubicBezTo>
                  <a:close/>
                  <a:moveTo>
                    <a:pt x="906" y="2744"/>
                  </a:moveTo>
                  <a:cubicBezTo>
                    <a:pt x="903" y="2735"/>
                    <a:pt x="908" y="2727"/>
                    <a:pt x="914" y="2727"/>
                  </a:cubicBezTo>
                  <a:lnTo>
                    <a:pt x="920" y="2727"/>
                  </a:lnTo>
                  <a:cubicBezTo>
                    <a:pt x="920" y="2732"/>
                    <a:pt x="920" y="2738"/>
                    <a:pt x="922" y="2744"/>
                  </a:cubicBezTo>
                  <a:lnTo>
                    <a:pt x="906" y="2744"/>
                  </a:lnTo>
                  <a:close/>
                  <a:moveTo>
                    <a:pt x="922" y="299"/>
                  </a:moveTo>
                  <a:cubicBezTo>
                    <a:pt x="928" y="302"/>
                    <a:pt x="937" y="305"/>
                    <a:pt x="934" y="313"/>
                  </a:cubicBezTo>
                  <a:cubicBezTo>
                    <a:pt x="925" y="310"/>
                    <a:pt x="914" y="293"/>
                    <a:pt x="920" y="285"/>
                  </a:cubicBezTo>
                  <a:cubicBezTo>
                    <a:pt x="928" y="282"/>
                    <a:pt x="931" y="299"/>
                    <a:pt x="922" y="299"/>
                  </a:cubicBezTo>
                  <a:close/>
                  <a:moveTo>
                    <a:pt x="922" y="262"/>
                  </a:moveTo>
                  <a:cubicBezTo>
                    <a:pt x="928" y="262"/>
                    <a:pt x="928" y="268"/>
                    <a:pt x="925" y="271"/>
                  </a:cubicBezTo>
                  <a:cubicBezTo>
                    <a:pt x="922" y="271"/>
                    <a:pt x="922" y="265"/>
                    <a:pt x="922" y="262"/>
                  </a:cubicBezTo>
                  <a:close/>
                  <a:moveTo>
                    <a:pt x="925" y="234"/>
                  </a:moveTo>
                  <a:cubicBezTo>
                    <a:pt x="931" y="226"/>
                    <a:pt x="928" y="243"/>
                    <a:pt x="925" y="234"/>
                  </a:cubicBezTo>
                  <a:close/>
                  <a:moveTo>
                    <a:pt x="920" y="2656"/>
                  </a:moveTo>
                  <a:cubicBezTo>
                    <a:pt x="920" y="2648"/>
                    <a:pt x="928" y="2659"/>
                    <a:pt x="920" y="2656"/>
                  </a:cubicBezTo>
                  <a:close/>
                  <a:moveTo>
                    <a:pt x="917" y="2622"/>
                  </a:moveTo>
                  <a:cubicBezTo>
                    <a:pt x="917" y="2617"/>
                    <a:pt x="928" y="2625"/>
                    <a:pt x="917" y="2622"/>
                  </a:cubicBezTo>
                  <a:close/>
                  <a:moveTo>
                    <a:pt x="917" y="2543"/>
                  </a:moveTo>
                  <a:cubicBezTo>
                    <a:pt x="928" y="2543"/>
                    <a:pt x="931" y="2555"/>
                    <a:pt x="931" y="2569"/>
                  </a:cubicBezTo>
                  <a:cubicBezTo>
                    <a:pt x="922" y="2563"/>
                    <a:pt x="917" y="2555"/>
                    <a:pt x="917" y="2543"/>
                  </a:cubicBezTo>
                  <a:close/>
                  <a:moveTo>
                    <a:pt x="922" y="1683"/>
                  </a:moveTo>
                  <a:lnTo>
                    <a:pt x="922" y="1675"/>
                  </a:lnTo>
                  <a:cubicBezTo>
                    <a:pt x="928" y="1672"/>
                    <a:pt x="928" y="1686"/>
                    <a:pt x="922" y="1683"/>
                  </a:cubicBezTo>
                  <a:close/>
                  <a:moveTo>
                    <a:pt x="928" y="2541"/>
                  </a:moveTo>
                  <a:cubicBezTo>
                    <a:pt x="931" y="2532"/>
                    <a:pt x="931" y="2549"/>
                    <a:pt x="928" y="2541"/>
                  </a:cubicBezTo>
                  <a:close/>
                  <a:moveTo>
                    <a:pt x="928" y="2806"/>
                  </a:moveTo>
                  <a:lnTo>
                    <a:pt x="917" y="2806"/>
                  </a:lnTo>
                  <a:cubicBezTo>
                    <a:pt x="920" y="2800"/>
                    <a:pt x="922" y="2797"/>
                    <a:pt x="928" y="2800"/>
                  </a:cubicBezTo>
                  <a:lnTo>
                    <a:pt x="928" y="2806"/>
                  </a:lnTo>
                  <a:close/>
                  <a:moveTo>
                    <a:pt x="934" y="2783"/>
                  </a:moveTo>
                  <a:cubicBezTo>
                    <a:pt x="948" y="2780"/>
                    <a:pt x="931" y="2806"/>
                    <a:pt x="934" y="2783"/>
                  </a:cubicBezTo>
                  <a:close/>
                  <a:moveTo>
                    <a:pt x="937" y="2735"/>
                  </a:moveTo>
                  <a:lnTo>
                    <a:pt x="928" y="2727"/>
                  </a:lnTo>
                  <a:cubicBezTo>
                    <a:pt x="927" y="2727"/>
                    <a:pt x="927" y="2726"/>
                    <a:pt x="927" y="2725"/>
                  </a:cubicBezTo>
                  <a:cubicBezTo>
                    <a:pt x="927" y="2726"/>
                    <a:pt x="928" y="2726"/>
                    <a:pt x="928" y="2727"/>
                  </a:cubicBezTo>
                  <a:cubicBezTo>
                    <a:pt x="931" y="2730"/>
                    <a:pt x="937" y="2730"/>
                    <a:pt x="937" y="2732"/>
                  </a:cubicBezTo>
                  <a:cubicBezTo>
                    <a:pt x="942" y="2735"/>
                    <a:pt x="939" y="2738"/>
                    <a:pt x="937" y="2735"/>
                  </a:cubicBezTo>
                  <a:close/>
                  <a:moveTo>
                    <a:pt x="925" y="2721"/>
                  </a:moveTo>
                  <a:cubicBezTo>
                    <a:pt x="925" y="2721"/>
                    <a:pt x="925" y="2723"/>
                    <a:pt x="927" y="2725"/>
                  </a:cubicBezTo>
                  <a:cubicBezTo>
                    <a:pt x="927" y="2724"/>
                    <a:pt x="927" y="2722"/>
                    <a:pt x="925" y="2721"/>
                  </a:cubicBezTo>
                  <a:close/>
                  <a:moveTo>
                    <a:pt x="934" y="1720"/>
                  </a:moveTo>
                  <a:cubicBezTo>
                    <a:pt x="934" y="1714"/>
                    <a:pt x="942" y="1722"/>
                    <a:pt x="934" y="1720"/>
                  </a:cubicBezTo>
                  <a:close/>
                  <a:moveTo>
                    <a:pt x="937" y="206"/>
                  </a:moveTo>
                  <a:cubicBezTo>
                    <a:pt x="937" y="209"/>
                    <a:pt x="928" y="203"/>
                    <a:pt x="925" y="212"/>
                  </a:cubicBezTo>
                  <a:cubicBezTo>
                    <a:pt x="942" y="212"/>
                    <a:pt x="934" y="234"/>
                    <a:pt x="914" y="234"/>
                  </a:cubicBezTo>
                  <a:cubicBezTo>
                    <a:pt x="908" y="223"/>
                    <a:pt x="900" y="234"/>
                    <a:pt x="894" y="231"/>
                  </a:cubicBezTo>
                  <a:cubicBezTo>
                    <a:pt x="891" y="217"/>
                    <a:pt x="903" y="212"/>
                    <a:pt x="906" y="197"/>
                  </a:cubicBezTo>
                  <a:cubicBezTo>
                    <a:pt x="912" y="199"/>
                    <a:pt x="913" y="194"/>
                    <a:pt x="917" y="195"/>
                  </a:cubicBezTo>
                  <a:lnTo>
                    <a:pt x="917" y="195"/>
                  </a:lnTo>
                  <a:cubicBezTo>
                    <a:pt x="918" y="195"/>
                    <a:pt x="920" y="196"/>
                    <a:pt x="921" y="198"/>
                  </a:cubicBezTo>
                  <a:cubicBezTo>
                    <a:pt x="921" y="197"/>
                    <a:pt x="920" y="197"/>
                    <a:pt x="920" y="197"/>
                  </a:cubicBezTo>
                  <a:cubicBezTo>
                    <a:pt x="920" y="198"/>
                    <a:pt x="921" y="199"/>
                    <a:pt x="922" y="200"/>
                  </a:cubicBezTo>
                  <a:cubicBezTo>
                    <a:pt x="923" y="200"/>
                    <a:pt x="923" y="200"/>
                    <a:pt x="923" y="199"/>
                  </a:cubicBezTo>
                  <a:cubicBezTo>
                    <a:pt x="924" y="200"/>
                    <a:pt x="925" y="200"/>
                    <a:pt x="925" y="200"/>
                  </a:cubicBezTo>
                  <a:cubicBezTo>
                    <a:pt x="925" y="192"/>
                    <a:pt x="920" y="197"/>
                    <a:pt x="922" y="192"/>
                  </a:cubicBezTo>
                  <a:cubicBezTo>
                    <a:pt x="928" y="189"/>
                    <a:pt x="931" y="200"/>
                    <a:pt x="939" y="195"/>
                  </a:cubicBezTo>
                  <a:cubicBezTo>
                    <a:pt x="948" y="203"/>
                    <a:pt x="928" y="200"/>
                    <a:pt x="937" y="206"/>
                  </a:cubicBezTo>
                  <a:close/>
                  <a:moveTo>
                    <a:pt x="921" y="198"/>
                  </a:moveTo>
                  <a:cubicBezTo>
                    <a:pt x="922" y="198"/>
                    <a:pt x="922" y="199"/>
                    <a:pt x="923" y="199"/>
                  </a:cubicBezTo>
                  <a:cubicBezTo>
                    <a:pt x="923" y="199"/>
                    <a:pt x="922" y="198"/>
                    <a:pt x="921" y="198"/>
                  </a:cubicBezTo>
                  <a:close/>
                  <a:moveTo>
                    <a:pt x="951" y="2820"/>
                  </a:moveTo>
                  <a:cubicBezTo>
                    <a:pt x="945" y="2823"/>
                    <a:pt x="939" y="2811"/>
                    <a:pt x="942" y="2808"/>
                  </a:cubicBezTo>
                  <a:cubicBezTo>
                    <a:pt x="945" y="2811"/>
                    <a:pt x="954" y="2814"/>
                    <a:pt x="951" y="2820"/>
                  </a:cubicBezTo>
                  <a:close/>
                  <a:moveTo>
                    <a:pt x="954" y="2806"/>
                  </a:moveTo>
                  <a:lnTo>
                    <a:pt x="954" y="2800"/>
                  </a:lnTo>
                  <a:lnTo>
                    <a:pt x="951" y="2800"/>
                  </a:lnTo>
                  <a:cubicBezTo>
                    <a:pt x="951" y="2800"/>
                    <a:pt x="954" y="2803"/>
                    <a:pt x="954" y="2806"/>
                  </a:cubicBezTo>
                  <a:cubicBezTo>
                    <a:pt x="948" y="2806"/>
                    <a:pt x="945" y="2803"/>
                    <a:pt x="945" y="2797"/>
                  </a:cubicBezTo>
                  <a:cubicBezTo>
                    <a:pt x="948" y="2797"/>
                    <a:pt x="948" y="2794"/>
                    <a:pt x="951" y="2794"/>
                  </a:cubicBezTo>
                  <a:lnTo>
                    <a:pt x="954" y="2797"/>
                  </a:lnTo>
                  <a:cubicBezTo>
                    <a:pt x="954" y="2794"/>
                    <a:pt x="959" y="2794"/>
                    <a:pt x="962" y="2794"/>
                  </a:cubicBezTo>
                  <a:lnTo>
                    <a:pt x="962" y="2800"/>
                  </a:lnTo>
                  <a:cubicBezTo>
                    <a:pt x="962" y="2803"/>
                    <a:pt x="959" y="2806"/>
                    <a:pt x="954" y="2806"/>
                  </a:cubicBezTo>
                  <a:close/>
                  <a:moveTo>
                    <a:pt x="962" y="2803"/>
                  </a:moveTo>
                  <a:cubicBezTo>
                    <a:pt x="968" y="2803"/>
                    <a:pt x="970" y="2803"/>
                    <a:pt x="962" y="2800"/>
                  </a:cubicBezTo>
                  <a:lnTo>
                    <a:pt x="962" y="2803"/>
                  </a:lnTo>
                  <a:close/>
                  <a:moveTo>
                    <a:pt x="965" y="2763"/>
                  </a:moveTo>
                  <a:cubicBezTo>
                    <a:pt x="959" y="2761"/>
                    <a:pt x="962" y="2749"/>
                    <a:pt x="973" y="2752"/>
                  </a:cubicBezTo>
                  <a:cubicBezTo>
                    <a:pt x="970" y="2758"/>
                    <a:pt x="970" y="2763"/>
                    <a:pt x="965" y="2763"/>
                  </a:cubicBezTo>
                  <a:close/>
                  <a:moveTo>
                    <a:pt x="985" y="2653"/>
                  </a:moveTo>
                  <a:cubicBezTo>
                    <a:pt x="979" y="2662"/>
                    <a:pt x="979" y="2670"/>
                    <a:pt x="990" y="2670"/>
                  </a:cubicBezTo>
                  <a:cubicBezTo>
                    <a:pt x="990" y="2673"/>
                    <a:pt x="987" y="2673"/>
                    <a:pt x="985" y="2676"/>
                  </a:cubicBezTo>
                  <a:cubicBezTo>
                    <a:pt x="987" y="2676"/>
                    <a:pt x="990" y="2673"/>
                    <a:pt x="996" y="2673"/>
                  </a:cubicBezTo>
                  <a:lnTo>
                    <a:pt x="996" y="2684"/>
                  </a:lnTo>
                  <a:cubicBezTo>
                    <a:pt x="993" y="2684"/>
                    <a:pt x="987" y="2687"/>
                    <a:pt x="985" y="2687"/>
                  </a:cubicBezTo>
                  <a:cubicBezTo>
                    <a:pt x="985" y="2684"/>
                    <a:pt x="982" y="2682"/>
                    <a:pt x="982" y="2679"/>
                  </a:cubicBezTo>
                  <a:cubicBezTo>
                    <a:pt x="979" y="2679"/>
                    <a:pt x="979" y="2682"/>
                    <a:pt x="979" y="2682"/>
                  </a:cubicBezTo>
                  <a:cubicBezTo>
                    <a:pt x="976" y="2673"/>
                    <a:pt x="968" y="2653"/>
                    <a:pt x="985" y="2653"/>
                  </a:cubicBezTo>
                  <a:close/>
                  <a:moveTo>
                    <a:pt x="976" y="2817"/>
                  </a:moveTo>
                  <a:cubicBezTo>
                    <a:pt x="979" y="2808"/>
                    <a:pt x="985" y="2820"/>
                    <a:pt x="985" y="2825"/>
                  </a:cubicBezTo>
                  <a:cubicBezTo>
                    <a:pt x="1001" y="2831"/>
                    <a:pt x="970" y="2831"/>
                    <a:pt x="976" y="2817"/>
                  </a:cubicBezTo>
                  <a:close/>
                  <a:moveTo>
                    <a:pt x="990" y="2721"/>
                  </a:moveTo>
                  <a:cubicBezTo>
                    <a:pt x="985" y="2724"/>
                    <a:pt x="993" y="2715"/>
                    <a:pt x="990" y="2721"/>
                  </a:cubicBezTo>
                  <a:close/>
                  <a:moveTo>
                    <a:pt x="985" y="2704"/>
                  </a:moveTo>
                  <a:cubicBezTo>
                    <a:pt x="982" y="2698"/>
                    <a:pt x="987" y="2696"/>
                    <a:pt x="990" y="2693"/>
                  </a:cubicBezTo>
                  <a:cubicBezTo>
                    <a:pt x="993" y="2693"/>
                    <a:pt x="990" y="2707"/>
                    <a:pt x="985" y="2704"/>
                  </a:cubicBezTo>
                  <a:close/>
                  <a:moveTo>
                    <a:pt x="1004" y="2682"/>
                  </a:moveTo>
                  <a:cubicBezTo>
                    <a:pt x="1004" y="2687"/>
                    <a:pt x="999" y="2690"/>
                    <a:pt x="993" y="2690"/>
                  </a:cubicBezTo>
                  <a:cubicBezTo>
                    <a:pt x="996" y="2687"/>
                    <a:pt x="999" y="2682"/>
                    <a:pt x="1004" y="2682"/>
                  </a:cubicBezTo>
                  <a:close/>
                  <a:moveTo>
                    <a:pt x="993" y="2727"/>
                  </a:moveTo>
                  <a:lnTo>
                    <a:pt x="996" y="2727"/>
                  </a:lnTo>
                  <a:cubicBezTo>
                    <a:pt x="996" y="2724"/>
                    <a:pt x="999" y="2721"/>
                    <a:pt x="1001" y="2721"/>
                  </a:cubicBezTo>
                  <a:cubicBezTo>
                    <a:pt x="1013" y="2727"/>
                    <a:pt x="1010" y="2732"/>
                    <a:pt x="1001" y="2738"/>
                  </a:cubicBezTo>
                  <a:cubicBezTo>
                    <a:pt x="999" y="2738"/>
                    <a:pt x="999" y="2735"/>
                    <a:pt x="996" y="2735"/>
                  </a:cubicBezTo>
                  <a:cubicBezTo>
                    <a:pt x="996" y="2735"/>
                    <a:pt x="993" y="2735"/>
                    <a:pt x="993" y="2727"/>
                  </a:cubicBezTo>
                  <a:close/>
                  <a:moveTo>
                    <a:pt x="1001" y="2825"/>
                  </a:moveTo>
                  <a:cubicBezTo>
                    <a:pt x="1001" y="2825"/>
                    <a:pt x="1004" y="2820"/>
                    <a:pt x="1004" y="2817"/>
                  </a:cubicBezTo>
                  <a:lnTo>
                    <a:pt x="996" y="2817"/>
                  </a:lnTo>
                  <a:lnTo>
                    <a:pt x="996" y="2806"/>
                  </a:lnTo>
                  <a:lnTo>
                    <a:pt x="1013" y="2806"/>
                  </a:lnTo>
                  <a:lnTo>
                    <a:pt x="1013" y="2808"/>
                  </a:lnTo>
                  <a:cubicBezTo>
                    <a:pt x="1016" y="2817"/>
                    <a:pt x="1013" y="2834"/>
                    <a:pt x="1001" y="2825"/>
                  </a:cubicBezTo>
                  <a:close/>
                  <a:moveTo>
                    <a:pt x="1001" y="2701"/>
                  </a:moveTo>
                  <a:cubicBezTo>
                    <a:pt x="1004" y="2693"/>
                    <a:pt x="1013" y="2682"/>
                    <a:pt x="1016" y="2673"/>
                  </a:cubicBezTo>
                  <a:cubicBezTo>
                    <a:pt x="1030" y="2673"/>
                    <a:pt x="1021" y="2713"/>
                    <a:pt x="1001" y="2701"/>
                  </a:cubicBezTo>
                  <a:close/>
                  <a:moveTo>
                    <a:pt x="1024" y="2775"/>
                  </a:moveTo>
                  <a:cubicBezTo>
                    <a:pt x="1019" y="2777"/>
                    <a:pt x="1023" y="2771"/>
                    <a:pt x="1024" y="2773"/>
                  </a:cubicBezTo>
                  <a:cubicBezTo>
                    <a:pt x="1023" y="2768"/>
                    <a:pt x="1024" y="2762"/>
                    <a:pt x="1030" y="2769"/>
                  </a:cubicBezTo>
                  <a:cubicBezTo>
                    <a:pt x="1033" y="2766"/>
                    <a:pt x="1035" y="2763"/>
                    <a:pt x="1035" y="2758"/>
                  </a:cubicBezTo>
                  <a:cubicBezTo>
                    <a:pt x="1041" y="2758"/>
                    <a:pt x="1041" y="2766"/>
                    <a:pt x="1047" y="2766"/>
                  </a:cubicBezTo>
                  <a:cubicBezTo>
                    <a:pt x="1044" y="2772"/>
                    <a:pt x="1044" y="2775"/>
                    <a:pt x="1044" y="2777"/>
                  </a:cubicBezTo>
                  <a:cubicBezTo>
                    <a:pt x="1041" y="2775"/>
                    <a:pt x="1035" y="2775"/>
                    <a:pt x="1033" y="2775"/>
                  </a:cubicBezTo>
                  <a:cubicBezTo>
                    <a:pt x="1029" y="2782"/>
                    <a:pt x="1025" y="2779"/>
                    <a:pt x="1024" y="2774"/>
                  </a:cubicBezTo>
                  <a:lnTo>
                    <a:pt x="1024" y="2775"/>
                  </a:lnTo>
                  <a:close/>
                  <a:moveTo>
                    <a:pt x="1035" y="2845"/>
                  </a:moveTo>
                  <a:lnTo>
                    <a:pt x="1035" y="2842"/>
                  </a:lnTo>
                  <a:cubicBezTo>
                    <a:pt x="1033" y="2842"/>
                    <a:pt x="1030" y="2842"/>
                    <a:pt x="1027" y="2840"/>
                  </a:cubicBezTo>
                  <a:cubicBezTo>
                    <a:pt x="1027" y="2834"/>
                    <a:pt x="1030" y="2831"/>
                    <a:pt x="1035" y="2831"/>
                  </a:cubicBezTo>
                  <a:lnTo>
                    <a:pt x="1035" y="2828"/>
                  </a:lnTo>
                  <a:cubicBezTo>
                    <a:pt x="1038" y="2828"/>
                    <a:pt x="1044" y="2825"/>
                    <a:pt x="1047" y="2825"/>
                  </a:cubicBezTo>
                  <a:cubicBezTo>
                    <a:pt x="1049" y="2837"/>
                    <a:pt x="1044" y="2845"/>
                    <a:pt x="1035" y="2845"/>
                  </a:cubicBezTo>
                  <a:close/>
                  <a:moveTo>
                    <a:pt x="1041" y="2755"/>
                  </a:moveTo>
                  <a:cubicBezTo>
                    <a:pt x="1041" y="2749"/>
                    <a:pt x="1049" y="2758"/>
                    <a:pt x="1041" y="2755"/>
                  </a:cubicBezTo>
                  <a:close/>
                  <a:moveTo>
                    <a:pt x="1041" y="2611"/>
                  </a:moveTo>
                  <a:cubicBezTo>
                    <a:pt x="1058" y="2600"/>
                    <a:pt x="1049" y="2634"/>
                    <a:pt x="1061" y="2628"/>
                  </a:cubicBezTo>
                  <a:cubicBezTo>
                    <a:pt x="1058" y="2651"/>
                    <a:pt x="1038" y="2631"/>
                    <a:pt x="1041" y="2611"/>
                  </a:cubicBezTo>
                  <a:close/>
                  <a:moveTo>
                    <a:pt x="1052" y="2718"/>
                  </a:moveTo>
                  <a:cubicBezTo>
                    <a:pt x="1055" y="2718"/>
                    <a:pt x="1058" y="2721"/>
                    <a:pt x="1061" y="2724"/>
                  </a:cubicBezTo>
                  <a:lnTo>
                    <a:pt x="1055" y="2724"/>
                  </a:lnTo>
                  <a:cubicBezTo>
                    <a:pt x="1055" y="2721"/>
                    <a:pt x="1052" y="2718"/>
                    <a:pt x="1052" y="2718"/>
                  </a:cubicBezTo>
                  <a:close/>
                  <a:moveTo>
                    <a:pt x="1083" y="2752"/>
                  </a:moveTo>
                  <a:cubicBezTo>
                    <a:pt x="1066" y="2755"/>
                    <a:pt x="1052" y="2746"/>
                    <a:pt x="1055" y="2730"/>
                  </a:cubicBezTo>
                  <a:cubicBezTo>
                    <a:pt x="1066" y="2735"/>
                    <a:pt x="1086" y="2735"/>
                    <a:pt x="1083" y="2752"/>
                  </a:cubicBezTo>
                  <a:close/>
                  <a:moveTo>
                    <a:pt x="1089" y="2854"/>
                  </a:moveTo>
                  <a:cubicBezTo>
                    <a:pt x="1075" y="2854"/>
                    <a:pt x="1064" y="2848"/>
                    <a:pt x="1055" y="2834"/>
                  </a:cubicBezTo>
                  <a:cubicBezTo>
                    <a:pt x="1069" y="2840"/>
                    <a:pt x="1092" y="2834"/>
                    <a:pt x="1089" y="2854"/>
                  </a:cubicBezTo>
                  <a:close/>
                  <a:moveTo>
                    <a:pt x="1097" y="2645"/>
                  </a:moveTo>
                  <a:cubicBezTo>
                    <a:pt x="1080" y="2645"/>
                    <a:pt x="1086" y="2625"/>
                    <a:pt x="1106" y="2625"/>
                  </a:cubicBezTo>
                  <a:cubicBezTo>
                    <a:pt x="1103" y="2634"/>
                    <a:pt x="1095" y="2636"/>
                    <a:pt x="1097" y="2645"/>
                  </a:cubicBezTo>
                  <a:close/>
                  <a:moveTo>
                    <a:pt x="1106" y="2611"/>
                  </a:moveTo>
                  <a:cubicBezTo>
                    <a:pt x="1123" y="2608"/>
                    <a:pt x="1103" y="2634"/>
                    <a:pt x="1106" y="2611"/>
                  </a:cubicBezTo>
                  <a:close/>
                  <a:moveTo>
                    <a:pt x="1117" y="2876"/>
                  </a:moveTo>
                  <a:lnTo>
                    <a:pt x="1109" y="2876"/>
                  </a:lnTo>
                  <a:cubicBezTo>
                    <a:pt x="1112" y="2873"/>
                    <a:pt x="1112" y="2871"/>
                    <a:pt x="1117" y="2871"/>
                  </a:cubicBezTo>
                  <a:cubicBezTo>
                    <a:pt x="1114" y="2871"/>
                    <a:pt x="1117" y="2873"/>
                    <a:pt x="1117" y="2876"/>
                  </a:cubicBezTo>
                  <a:close/>
                  <a:moveTo>
                    <a:pt x="1109" y="2651"/>
                  </a:moveTo>
                  <a:cubicBezTo>
                    <a:pt x="1128" y="2651"/>
                    <a:pt x="1100" y="2679"/>
                    <a:pt x="1109" y="2651"/>
                  </a:cubicBezTo>
                  <a:close/>
                  <a:moveTo>
                    <a:pt x="1123" y="2693"/>
                  </a:moveTo>
                  <a:cubicBezTo>
                    <a:pt x="1137" y="2693"/>
                    <a:pt x="1120" y="2715"/>
                    <a:pt x="1123" y="2693"/>
                  </a:cubicBezTo>
                  <a:close/>
                  <a:moveTo>
                    <a:pt x="1134" y="2769"/>
                  </a:moveTo>
                  <a:cubicBezTo>
                    <a:pt x="1154" y="2772"/>
                    <a:pt x="1128" y="2800"/>
                    <a:pt x="1134" y="2769"/>
                  </a:cubicBezTo>
                  <a:close/>
                  <a:moveTo>
                    <a:pt x="1145" y="2591"/>
                  </a:moveTo>
                  <a:cubicBezTo>
                    <a:pt x="1168" y="2600"/>
                    <a:pt x="1137" y="2588"/>
                    <a:pt x="1145" y="2591"/>
                  </a:cubicBezTo>
                  <a:close/>
                  <a:moveTo>
                    <a:pt x="1154" y="2696"/>
                  </a:moveTo>
                  <a:cubicBezTo>
                    <a:pt x="1174" y="2698"/>
                    <a:pt x="1148" y="2727"/>
                    <a:pt x="1154" y="2696"/>
                  </a:cubicBezTo>
                  <a:close/>
                  <a:moveTo>
                    <a:pt x="1162" y="2710"/>
                  </a:moveTo>
                  <a:cubicBezTo>
                    <a:pt x="1165" y="2704"/>
                    <a:pt x="1174" y="2710"/>
                    <a:pt x="1165" y="2710"/>
                  </a:cubicBezTo>
                  <a:cubicBezTo>
                    <a:pt x="1179" y="2710"/>
                    <a:pt x="1162" y="2730"/>
                    <a:pt x="1162" y="2710"/>
                  </a:cubicBezTo>
                  <a:close/>
                  <a:moveTo>
                    <a:pt x="1162" y="2656"/>
                  </a:moveTo>
                  <a:lnTo>
                    <a:pt x="1162" y="2645"/>
                  </a:lnTo>
                  <a:cubicBezTo>
                    <a:pt x="1168" y="2645"/>
                    <a:pt x="1168" y="2642"/>
                    <a:pt x="1168" y="2639"/>
                  </a:cubicBezTo>
                  <a:cubicBezTo>
                    <a:pt x="1174" y="2636"/>
                    <a:pt x="1174" y="2662"/>
                    <a:pt x="1162" y="2656"/>
                  </a:cubicBezTo>
                  <a:close/>
                  <a:moveTo>
                    <a:pt x="1171" y="310"/>
                  </a:moveTo>
                  <a:cubicBezTo>
                    <a:pt x="1171" y="305"/>
                    <a:pt x="1179" y="313"/>
                    <a:pt x="1171" y="310"/>
                  </a:cubicBezTo>
                  <a:close/>
                  <a:moveTo>
                    <a:pt x="1185" y="285"/>
                  </a:moveTo>
                  <a:lnTo>
                    <a:pt x="1176" y="285"/>
                  </a:lnTo>
                  <a:cubicBezTo>
                    <a:pt x="1174" y="282"/>
                    <a:pt x="1185" y="279"/>
                    <a:pt x="1185" y="285"/>
                  </a:cubicBezTo>
                  <a:close/>
                  <a:moveTo>
                    <a:pt x="1179" y="2797"/>
                  </a:moveTo>
                  <a:cubicBezTo>
                    <a:pt x="1188" y="2794"/>
                    <a:pt x="1176" y="2806"/>
                    <a:pt x="1179" y="2797"/>
                  </a:cubicBezTo>
                  <a:close/>
                  <a:moveTo>
                    <a:pt x="1179" y="2687"/>
                  </a:moveTo>
                  <a:cubicBezTo>
                    <a:pt x="1182" y="2687"/>
                    <a:pt x="1182" y="2684"/>
                    <a:pt x="1188" y="2684"/>
                  </a:cubicBezTo>
                  <a:cubicBezTo>
                    <a:pt x="1199" y="2684"/>
                    <a:pt x="1185" y="2687"/>
                    <a:pt x="1179" y="2687"/>
                  </a:cubicBezTo>
                  <a:close/>
                  <a:moveTo>
                    <a:pt x="1202" y="2840"/>
                  </a:moveTo>
                  <a:cubicBezTo>
                    <a:pt x="1193" y="2840"/>
                    <a:pt x="1193" y="2825"/>
                    <a:pt x="1193" y="2817"/>
                  </a:cubicBezTo>
                  <a:lnTo>
                    <a:pt x="1216" y="2817"/>
                  </a:lnTo>
                  <a:cubicBezTo>
                    <a:pt x="1210" y="2825"/>
                    <a:pt x="1202" y="2825"/>
                    <a:pt x="1202" y="2840"/>
                  </a:cubicBezTo>
                  <a:close/>
                  <a:moveTo>
                    <a:pt x="1210" y="2467"/>
                  </a:moveTo>
                  <a:cubicBezTo>
                    <a:pt x="1224" y="2464"/>
                    <a:pt x="1207" y="2490"/>
                    <a:pt x="1210" y="2467"/>
                  </a:cubicBezTo>
                  <a:close/>
                  <a:moveTo>
                    <a:pt x="1216" y="2532"/>
                  </a:moveTo>
                  <a:cubicBezTo>
                    <a:pt x="1224" y="2526"/>
                    <a:pt x="1213" y="2538"/>
                    <a:pt x="1216" y="2532"/>
                  </a:cubicBezTo>
                  <a:close/>
                  <a:moveTo>
                    <a:pt x="1219" y="200"/>
                  </a:moveTo>
                  <a:cubicBezTo>
                    <a:pt x="1230" y="195"/>
                    <a:pt x="1227" y="209"/>
                    <a:pt x="1219" y="200"/>
                  </a:cubicBezTo>
                  <a:close/>
                  <a:moveTo>
                    <a:pt x="1224" y="2631"/>
                  </a:moveTo>
                  <a:lnTo>
                    <a:pt x="1224" y="2636"/>
                  </a:lnTo>
                  <a:cubicBezTo>
                    <a:pt x="1222" y="2636"/>
                    <a:pt x="1222" y="2631"/>
                    <a:pt x="1222" y="2628"/>
                  </a:cubicBezTo>
                  <a:cubicBezTo>
                    <a:pt x="1224" y="2628"/>
                    <a:pt x="1227" y="2628"/>
                    <a:pt x="1227" y="2625"/>
                  </a:cubicBezTo>
                  <a:cubicBezTo>
                    <a:pt x="1233" y="2622"/>
                    <a:pt x="1227" y="2631"/>
                    <a:pt x="1224" y="2631"/>
                  </a:cubicBezTo>
                  <a:close/>
                  <a:moveTo>
                    <a:pt x="1236" y="2744"/>
                  </a:moveTo>
                  <a:cubicBezTo>
                    <a:pt x="1255" y="2744"/>
                    <a:pt x="1227" y="2772"/>
                    <a:pt x="1236" y="2744"/>
                  </a:cubicBezTo>
                  <a:close/>
                  <a:moveTo>
                    <a:pt x="1233" y="2775"/>
                  </a:moveTo>
                  <a:cubicBezTo>
                    <a:pt x="1233" y="2772"/>
                    <a:pt x="1241" y="2772"/>
                    <a:pt x="1241" y="2766"/>
                  </a:cubicBezTo>
                  <a:cubicBezTo>
                    <a:pt x="1247" y="2772"/>
                    <a:pt x="1238" y="2777"/>
                    <a:pt x="1233" y="2775"/>
                  </a:cubicBezTo>
                  <a:close/>
                  <a:moveTo>
                    <a:pt x="1250" y="2698"/>
                  </a:moveTo>
                  <a:lnTo>
                    <a:pt x="1244" y="2698"/>
                  </a:lnTo>
                  <a:lnTo>
                    <a:pt x="1244" y="2693"/>
                  </a:lnTo>
                  <a:lnTo>
                    <a:pt x="1250" y="2693"/>
                  </a:lnTo>
                  <a:lnTo>
                    <a:pt x="1250" y="2698"/>
                  </a:lnTo>
                  <a:close/>
                  <a:moveTo>
                    <a:pt x="1241" y="240"/>
                  </a:moveTo>
                  <a:cubicBezTo>
                    <a:pt x="1244" y="240"/>
                    <a:pt x="1250" y="243"/>
                    <a:pt x="1250" y="248"/>
                  </a:cubicBezTo>
                  <a:cubicBezTo>
                    <a:pt x="1247" y="248"/>
                    <a:pt x="1241" y="245"/>
                    <a:pt x="1241" y="240"/>
                  </a:cubicBezTo>
                  <a:close/>
                  <a:moveTo>
                    <a:pt x="1247" y="2098"/>
                  </a:moveTo>
                  <a:cubicBezTo>
                    <a:pt x="1247" y="2092"/>
                    <a:pt x="1258" y="2100"/>
                    <a:pt x="1247" y="2098"/>
                  </a:cubicBezTo>
                  <a:close/>
                  <a:moveTo>
                    <a:pt x="1255" y="2808"/>
                  </a:moveTo>
                  <a:cubicBezTo>
                    <a:pt x="1255" y="2803"/>
                    <a:pt x="1264" y="2811"/>
                    <a:pt x="1255" y="2808"/>
                  </a:cubicBezTo>
                  <a:close/>
                  <a:moveTo>
                    <a:pt x="1261" y="2763"/>
                  </a:moveTo>
                  <a:cubicBezTo>
                    <a:pt x="1281" y="2766"/>
                    <a:pt x="1253" y="2792"/>
                    <a:pt x="1261" y="2763"/>
                  </a:cubicBezTo>
                  <a:close/>
                  <a:moveTo>
                    <a:pt x="1270" y="2783"/>
                  </a:moveTo>
                  <a:cubicBezTo>
                    <a:pt x="1292" y="2794"/>
                    <a:pt x="1244" y="2806"/>
                    <a:pt x="1270" y="2783"/>
                  </a:cubicBezTo>
                  <a:close/>
                  <a:moveTo>
                    <a:pt x="1272" y="2673"/>
                  </a:moveTo>
                  <a:cubicBezTo>
                    <a:pt x="1272" y="2667"/>
                    <a:pt x="1284" y="2676"/>
                    <a:pt x="1272" y="2673"/>
                  </a:cubicBezTo>
                  <a:close/>
                  <a:moveTo>
                    <a:pt x="1281" y="2684"/>
                  </a:moveTo>
                  <a:cubicBezTo>
                    <a:pt x="1306" y="2696"/>
                    <a:pt x="1258" y="2707"/>
                    <a:pt x="1281" y="2684"/>
                  </a:cubicBezTo>
                  <a:close/>
                  <a:moveTo>
                    <a:pt x="1289" y="214"/>
                  </a:moveTo>
                  <a:cubicBezTo>
                    <a:pt x="1284" y="214"/>
                    <a:pt x="1289" y="206"/>
                    <a:pt x="1292" y="206"/>
                  </a:cubicBezTo>
                  <a:cubicBezTo>
                    <a:pt x="1292" y="209"/>
                    <a:pt x="1289" y="212"/>
                    <a:pt x="1289" y="214"/>
                  </a:cubicBezTo>
                  <a:close/>
                  <a:moveTo>
                    <a:pt x="1286" y="183"/>
                  </a:moveTo>
                  <a:cubicBezTo>
                    <a:pt x="1281" y="178"/>
                    <a:pt x="1295" y="186"/>
                    <a:pt x="1286" y="183"/>
                  </a:cubicBezTo>
                  <a:close/>
                  <a:moveTo>
                    <a:pt x="1284" y="87"/>
                  </a:moveTo>
                  <a:cubicBezTo>
                    <a:pt x="1286" y="87"/>
                    <a:pt x="1289" y="85"/>
                    <a:pt x="1292" y="85"/>
                  </a:cubicBezTo>
                  <a:cubicBezTo>
                    <a:pt x="1295" y="96"/>
                    <a:pt x="1301" y="93"/>
                    <a:pt x="1298" y="102"/>
                  </a:cubicBezTo>
                  <a:cubicBezTo>
                    <a:pt x="1292" y="102"/>
                    <a:pt x="1286" y="96"/>
                    <a:pt x="1284" y="87"/>
                  </a:cubicBezTo>
                  <a:close/>
                  <a:moveTo>
                    <a:pt x="1301" y="254"/>
                  </a:moveTo>
                  <a:cubicBezTo>
                    <a:pt x="1301" y="248"/>
                    <a:pt x="1312" y="254"/>
                    <a:pt x="1301" y="254"/>
                  </a:cubicBezTo>
                  <a:close/>
                  <a:moveTo>
                    <a:pt x="1301" y="226"/>
                  </a:moveTo>
                  <a:cubicBezTo>
                    <a:pt x="1301" y="223"/>
                    <a:pt x="1309" y="223"/>
                    <a:pt x="1312" y="223"/>
                  </a:cubicBezTo>
                  <a:cubicBezTo>
                    <a:pt x="1315" y="226"/>
                    <a:pt x="1303" y="226"/>
                    <a:pt x="1301" y="226"/>
                  </a:cubicBezTo>
                  <a:close/>
                  <a:moveTo>
                    <a:pt x="1298" y="203"/>
                  </a:moveTo>
                  <a:cubicBezTo>
                    <a:pt x="1301" y="195"/>
                    <a:pt x="1312" y="203"/>
                    <a:pt x="1298" y="203"/>
                  </a:cubicBezTo>
                  <a:close/>
                  <a:moveTo>
                    <a:pt x="1306" y="189"/>
                  </a:moveTo>
                  <a:cubicBezTo>
                    <a:pt x="1315" y="186"/>
                    <a:pt x="1306" y="200"/>
                    <a:pt x="1306" y="189"/>
                  </a:cubicBezTo>
                  <a:close/>
                  <a:moveTo>
                    <a:pt x="1312" y="268"/>
                  </a:moveTo>
                  <a:cubicBezTo>
                    <a:pt x="1312" y="262"/>
                    <a:pt x="1320" y="271"/>
                    <a:pt x="1312" y="268"/>
                  </a:cubicBezTo>
                  <a:close/>
                  <a:moveTo>
                    <a:pt x="1315" y="130"/>
                  </a:moveTo>
                  <a:lnTo>
                    <a:pt x="1315" y="130"/>
                  </a:lnTo>
                  <a:cubicBezTo>
                    <a:pt x="1313" y="128"/>
                    <a:pt x="1312" y="126"/>
                    <a:pt x="1312" y="124"/>
                  </a:cubicBezTo>
                  <a:cubicBezTo>
                    <a:pt x="1318" y="121"/>
                    <a:pt x="1323" y="127"/>
                    <a:pt x="1323" y="133"/>
                  </a:cubicBezTo>
                  <a:cubicBezTo>
                    <a:pt x="1322" y="133"/>
                    <a:pt x="1321" y="132"/>
                    <a:pt x="1320" y="132"/>
                  </a:cubicBezTo>
                  <a:cubicBezTo>
                    <a:pt x="1322" y="133"/>
                    <a:pt x="1323" y="135"/>
                    <a:pt x="1323" y="138"/>
                  </a:cubicBezTo>
                  <a:cubicBezTo>
                    <a:pt x="1318" y="141"/>
                    <a:pt x="1315" y="135"/>
                    <a:pt x="1315" y="130"/>
                  </a:cubicBezTo>
                  <a:close/>
                  <a:moveTo>
                    <a:pt x="1301" y="82"/>
                  </a:moveTo>
                  <a:cubicBezTo>
                    <a:pt x="1303" y="73"/>
                    <a:pt x="1301" y="62"/>
                    <a:pt x="1289" y="68"/>
                  </a:cubicBezTo>
                  <a:cubicBezTo>
                    <a:pt x="1301" y="54"/>
                    <a:pt x="1309" y="73"/>
                    <a:pt x="1320" y="73"/>
                  </a:cubicBezTo>
                  <a:cubicBezTo>
                    <a:pt x="1318" y="76"/>
                    <a:pt x="1309" y="85"/>
                    <a:pt x="1301" y="82"/>
                  </a:cubicBezTo>
                  <a:close/>
                  <a:moveTo>
                    <a:pt x="1320" y="192"/>
                  </a:moveTo>
                  <a:cubicBezTo>
                    <a:pt x="1323" y="186"/>
                    <a:pt x="1334" y="195"/>
                    <a:pt x="1320" y="192"/>
                  </a:cubicBezTo>
                  <a:close/>
                  <a:moveTo>
                    <a:pt x="1326" y="203"/>
                  </a:moveTo>
                  <a:cubicBezTo>
                    <a:pt x="1334" y="197"/>
                    <a:pt x="1323" y="209"/>
                    <a:pt x="1326" y="203"/>
                  </a:cubicBezTo>
                  <a:close/>
                  <a:moveTo>
                    <a:pt x="1329" y="99"/>
                  </a:moveTo>
                  <a:lnTo>
                    <a:pt x="1334" y="99"/>
                  </a:lnTo>
                  <a:lnTo>
                    <a:pt x="1334" y="104"/>
                  </a:lnTo>
                  <a:cubicBezTo>
                    <a:pt x="1334" y="104"/>
                    <a:pt x="1332" y="107"/>
                    <a:pt x="1329" y="107"/>
                  </a:cubicBezTo>
                  <a:cubicBezTo>
                    <a:pt x="1332" y="104"/>
                    <a:pt x="1329" y="102"/>
                    <a:pt x="1329" y="99"/>
                  </a:cubicBezTo>
                  <a:close/>
                  <a:moveTo>
                    <a:pt x="1349" y="2591"/>
                  </a:moveTo>
                  <a:cubicBezTo>
                    <a:pt x="1346" y="2586"/>
                    <a:pt x="1357" y="2586"/>
                    <a:pt x="1363" y="2586"/>
                  </a:cubicBezTo>
                  <a:cubicBezTo>
                    <a:pt x="1363" y="2588"/>
                    <a:pt x="1354" y="2591"/>
                    <a:pt x="1349" y="2591"/>
                  </a:cubicBezTo>
                  <a:close/>
                  <a:moveTo>
                    <a:pt x="1363" y="2614"/>
                  </a:moveTo>
                  <a:cubicBezTo>
                    <a:pt x="1365" y="2617"/>
                    <a:pt x="1368" y="2617"/>
                    <a:pt x="1371" y="2617"/>
                  </a:cubicBezTo>
                  <a:cubicBezTo>
                    <a:pt x="1371" y="2620"/>
                    <a:pt x="1368" y="2622"/>
                    <a:pt x="1365" y="2622"/>
                  </a:cubicBezTo>
                  <a:cubicBezTo>
                    <a:pt x="1365" y="2625"/>
                    <a:pt x="1368" y="2628"/>
                    <a:pt x="1365" y="2628"/>
                  </a:cubicBezTo>
                  <a:lnTo>
                    <a:pt x="1363" y="2625"/>
                  </a:lnTo>
                  <a:cubicBezTo>
                    <a:pt x="1357" y="2617"/>
                    <a:pt x="1360" y="2617"/>
                    <a:pt x="1363" y="2614"/>
                  </a:cubicBezTo>
                  <a:close/>
                  <a:moveTo>
                    <a:pt x="1371" y="2831"/>
                  </a:moveTo>
                  <a:cubicBezTo>
                    <a:pt x="1380" y="2828"/>
                    <a:pt x="1391" y="2834"/>
                    <a:pt x="1397" y="2837"/>
                  </a:cubicBezTo>
                  <a:cubicBezTo>
                    <a:pt x="1388" y="2845"/>
                    <a:pt x="1371" y="2834"/>
                    <a:pt x="1371" y="2831"/>
                  </a:cubicBezTo>
                  <a:close/>
                  <a:moveTo>
                    <a:pt x="1391" y="2910"/>
                  </a:moveTo>
                  <a:cubicBezTo>
                    <a:pt x="1391" y="2907"/>
                    <a:pt x="1397" y="2907"/>
                    <a:pt x="1397" y="2904"/>
                  </a:cubicBezTo>
                  <a:cubicBezTo>
                    <a:pt x="1405" y="2907"/>
                    <a:pt x="1397" y="2916"/>
                    <a:pt x="1391" y="2910"/>
                  </a:cubicBezTo>
                  <a:close/>
                  <a:moveTo>
                    <a:pt x="1399" y="2859"/>
                  </a:moveTo>
                  <a:cubicBezTo>
                    <a:pt x="1408" y="2862"/>
                    <a:pt x="1416" y="2871"/>
                    <a:pt x="1413" y="2882"/>
                  </a:cubicBezTo>
                  <a:cubicBezTo>
                    <a:pt x="1405" y="2879"/>
                    <a:pt x="1399" y="2871"/>
                    <a:pt x="1399" y="2859"/>
                  </a:cubicBezTo>
                  <a:close/>
                  <a:moveTo>
                    <a:pt x="1419" y="2907"/>
                  </a:moveTo>
                  <a:cubicBezTo>
                    <a:pt x="1419" y="2904"/>
                    <a:pt x="1416" y="2904"/>
                    <a:pt x="1416" y="2902"/>
                  </a:cubicBezTo>
                  <a:lnTo>
                    <a:pt x="1422" y="2902"/>
                  </a:lnTo>
                  <a:cubicBezTo>
                    <a:pt x="1419" y="2904"/>
                    <a:pt x="1419" y="2907"/>
                    <a:pt x="1419" y="2907"/>
                  </a:cubicBezTo>
                  <a:close/>
                  <a:moveTo>
                    <a:pt x="1413" y="2803"/>
                  </a:moveTo>
                  <a:cubicBezTo>
                    <a:pt x="1416" y="2797"/>
                    <a:pt x="1419" y="2811"/>
                    <a:pt x="1413" y="2803"/>
                  </a:cubicBezTo>
                  <a:close/>
                  <a:moveTo>
                    <a:pt x="1428" y="2662"/>
                  </a:moveTo>
                  <a:cubicBezTo>
                    <a:pt x="1447" y="2687"/>
                    <a:pt x="1388" y="2687"/>
                    <a:pt x="1428" y="2662"/>
                  </a:cubicBezTo>
                  <a:close/>
                  <a:moveTo>
                    <a:pt x="1428" y="2462"/>
                  </a:moveTo>
                  <a:cubicBezTo>
                    <a:pt x="1428" y="2456"/>
                    <a:pt x="1433" y="2456"/>
                    <a:pt x="1439" y="2456"/>
                  </a:cubicBezTo>
                  <a:cubicBezTo>
                    <a:pt x="1439" y="2459"/>
                    <a:pt x="1433" y="2462"/>
                    <a:pt x="1428" y="2462"/>
                  </a:cubicBezTo>
                  <a:close/>
                  <a:moveTo>
                    <a:pt x="1433" y="1988"/>
                  </a:moveTo>
                  <a:cubicBezTo>
                    <a:pt x="1436" y="1982"/>
                    <a:pt x="1447" y="1990"/>
                    <a:pt x="1433" y="1988"/>
                  </a:cubicBezTo>
                  <a:close/>
                  <a:moveTo>
                    <a:pt x="1442" y="2825"/>
                  </a:moveTo>
                  <a:cubicBezTo>
                    <a:pt x="1442" y="2823"/>
                    <a:pt x="1444" y="2820"/>
                    <a:pt x="1444" y="2817"/>
                  </a:cubicBezTo>
                  <a:cubicBezTo>
                    <a:pt x="1447" y="2817"/>
                    <a:pt x="1447" y="2828"/>
                    <a:pt x="1442" y="2825"/>
                  </a:cubicBezTo>
                  <a:close/>
                  <a:moveTo>
                    <a:pt x="1439" y="2642"/>
                  </a:moveTo>
                  <a:cubicBezTo>
                    <a:pt x="1439" y="2639"/>
                    <a:pt x="1447" y="2639"/>
                    <a:pt x="1444" y="2634"/>
                  </a:cubicBezTo>
                  <a:cubicBezTo>
                    <a:pt x="1450" y="2634"/>
                    <a:pt x="1444" y="2642"/>
                    <a:pt x="1439" y="2642"/>
                  </a:cubicBezTo>
                  <a:close/>
                  <a:moveTo>
                    <a:pt x="1450" y="2309"/>
                  </a:moveTo>
                  <a:cubicBezTo>
                    <a:pt x="1450" y="2306"/>
                    <a:pt x="1456" y="2304"/>
                    <a:pt x="1459" y="2304"/>
                  </a:cubicBezTo>
                  <a:cubicBezTo>
                    <a:pt x="1459" y="2306"/>
                    <a:pt x="1453" y="2309"/>
                    <a:pt x="1450" y="2309"/>
                  </a:cubicBezTo>
                  <a:close/>
                  <a:moveTo>
                    <a:pt x="1469" y="2648"/>
                  </a:moveTo>
                  <a:cubicBezTo>
                    <a:pt x="1477" y="2653"/>
                    <a:pt x="1459" y="2653"/>
                    <a:pt x="1459" y="2656"/>
                  </a:cubicBezTo>
                  <a:cubicBezTo>
                    <a:pt x="1450" y="2651"/>
                    <a:pt x="1469" y="2651"/>
                    <a:pt x="1469" y="2648"/>
                  </a:cubicBezTo>
                  <a:close/>
                  <a:moveTo>
                    <a:pt x="1466" y="2780"/>
                  </a:moveTo>
                  <a:cubicBezTo>
                    <a:pt x="1483" y="2803"/>
                    <a:pt x="1444" y="2763"/>
                    <a:pt x="1466" y="2780"/>
                  </a:cubicBezTo>
                  <a:close/>
                  <a:moveTo>
                    <a:pt x="1472" y="2792"/>
                  </a:moveTo>
                  <a:cubicBezTo>
                    <a:pt x="1472" y="2794"/>
                    <a:pt x="1466" y="2797"/>
                    <a:pt x="1463" y="2797"/>
                  </a:cubicBezTo>
                  <a:cubicBezTo>
                    <a:pt x="1466" y="2794"/>
                    <a:pt x="1469" y="2794"/>
                    <a:pt x="1472" y="2792"/>
                  </a:cubicBezTo>
                  <a:close/>
                  <a:moveTo>
                    <a:pt x="1475" y="2902"/>
                  </a:moveTo>
                  <a:cubicBezTo>
                    <a:pt x="1459" y="2899"/>
                    <a:pt x="1475" y="2873"/>
                    <a:pt x="1489" y="2879"/>
                  </a:cubicBezTo>
                  <a:cubicBezTo>
                    <a:pt x="1483" y="2887"/>
                    <a:pt x="1472" y="2890"/>
                    <a:pt x="1475" y="2902"/>
                  </a:cubicBezTo>
                  <a:close/>
                  <a:moveTo>
                    <a:pt x="1486" y="2893"/>
                  </a:moveTo>
                  <a:cubicBezTo>
                    <a:pt x="1506" y="2902"/>
                    <a:pt x="1477" y="2930"/>
                    <a:pt x="1486" y="2893"/>
                  </a:cubicBezTo>
                  <a:close/>
                  <a:moveTo>
                    <a:pt x="1486" y="2659"/>
                  </a:moveTo>
                  <a:cubicBezTo>
                    <a:pt x="1486" y="2656"/>
                    <a:pt x="1489" y="2653"/>
                    <a:pt x="1486" y="2653"/>
                  </a:cubicBezTo>
                  <a:cubicBezTo>
                    <a:pt x="1489" y="2648"/>
                    <a:pt x="1497" y="2648"/>
                    <a:pt x="1503" y="2648"/>
                  </a:cubicBezTo>
                  <a:cubicBezTo>
                    <a:pt x="1500" y="2656"/>
                    <a:pt x="1491" y="2659"/>
                    <a:pt x="1486" y="2659"/>
                  </a:cubicBezTo>
                  <a:close/>
                  <a:moveTo>
                    <a:pt x="1500" y="2625"/>
                  </a:moveTo>
                  <a:cubicBezTo>
                    <a:pt x="1494" y="2622"/>
                    <a:pt x="1503" y="2614"/>
                    <a:pt x="1508" y="2614"/>
                  </a:cubicBezTo>
                  <a:cubicBezTo>
                    <a:pt x="1508" y="2620"/>
                    <a:pt x="1500" y="2622"/>
                    <a:pt x="1500" y="2625"/>
                  </a:cubicBezTo>
                  <a:close/>
                  <a:moveTo>
                    <a:pt x="1503" y="2428"/>
                  </a:moveTo>
                  <a:lnTo>
                    <a:pt x="1503" y="2419"/>
                  </a:lnTo>
                  <a:lnTo>
                    <a:pt x="1511" y="2419"/>
                  </a:lnTo>
                  <a:cubicBezTo>
                    <a:pt x="1508" y="2425"/>
                    <a:pt x="1506" y="2431"/>
                    <a:pt x="1503" y="2428"/>
                  </a:cubicBezTo>
                  <a:close/>
                  <a:moveTo>
                    <a:pt x="1511" y="2854"/>
                  </a:moveTo>
                  <a:cubicBezTo>
                    <a:pt x="1537" y="2842"/>
                    <a:pt x="1517" y="2885"/>
                    <a:pt x="1534" y="2882"/>
                  </a:cubicBezTo>
                  <a:cubicBezTo>
                    <a:pt x="1525" y="2910"/>
                    <a:pt x="1503" y="2879"/>
                    <a:pt x="1511" y="2854"/>
                  </a:cubicBezTo>
                  <a:close/>
                  <a:moveTo>
                    <a:pt x="1539" y="186"/>
                  </a:moveTo>
                  <a:cubicBezTo>
                    <a:pt x="1545" y="186"/>
                    <a:pt x="1539" y="197"/>
                    <a:pt x="1534" y="195"/>
                  </a:cubicBezTo>
                  <a:cubicBezTo>
                    <a:pt x="1528" y="189"/>
                    <a:pt x="1539" y="192"/>
                    <a:pt x="1539" y="186"/>
                  </a:cubicBezTo>
                  <a:close/>
                  <a:moveTo>
                    <a:pt x="1539" y="223"/>
                  </a:moveTo>
                  <a:cubicBezTo>
                    <a:pt x="1537" y="220"/>
                    <a:pt x="1539" y="214"/>
                    <a:pt x="1539" y="214"/>
                  </a:cubicBezTo>
                  <a:cubicBezTo>
                    <a:pt x="1545" y="212"/>
                    <a:pt x="1548" y="223"/>
                    <a:pt x="1539" y="223"/>
                  </a:cubicBezTo>
                  <a:close/>
                  <a:moveTo>
                    <a:pt x="1539" y="178"/>
                  </a:moveTo>
                  <a:cubicBezTo>
                    <a:pt x="1542" y="175"/>
                    <a:pt x="1545" y="180"/>
                    <a:pt x="1548" y="180"/>
                  </a:cubicBezTo>
                  <a:cubicBezTo>
                    <a:pt x="1548" y="186"/>
                    <a:pt x="1539" y="183"/>
                    <a:pt x="1539" y="178"/>
                  </a:cubicBezTo>
                  <a:close/>
                  <a:moveTo>
                    <a:pt x="1548" y="110"/>
                  </a:moveTo>
                  <a:cubicBezTo>
                    <a:pt x="1556" y="110"/>
                    <a:pt x="1554" y="121"/>
                    <a:pt x="1554" y="127"/>
                  </a:cubicBezTo>
                  <a:cubicBezTo>
                    <a:pt x="1545" y="124"/>
                    <a:pt x="1551" y="116"/>
                    <a:pt x="1548" y="110"/>
                  </a:cubicBezTo>
                  <a:close/>
                  <a:moveTo>
                    <a:pt x="1551" y="2783"/>
                  </a:moveTo>
                  <a:cubicBezTo>
                    <a:pt x="1551" y="2777"/>
                    <a:pt x="1559" y="2786"/>
                    <a:pt x="1551" y="2783"/>
                  </a:cubicBezTo>
                  <a:close/>
                  <a:moveTo>
                    <a:pt x="1554" y="189"/>
                  </a:moveTo>
                  <a:cubicBezTo>
                    <a:pt x="1551" y="186"/>
                    <a:pt x="1556" y="183"/>
                    <a:pt x="1559" y="180"/>
                  </a:cubicBezTo>
                  <a:cubicBezTo>
                    <a:pt x="1559" y="183"/>
                    <a:pt x="1556" y="186"/>
                    <a:pt x="1554" y="189"/>
                  </a:cubicBezTo>
                  <a:close/>
                  <a:moveTo>
                    <a:pt x="1559" y="186"/>
                  </a:moveTo>
                  <a:cubicBezTo>
                    <a:pt x="1565" y="183"/>
                    <a:pt x="1565" y="192"/>
                    <a:pt x="1568" y="195"/>
                  </a:cubicBezTo>
                  <a:cubicBezTo>
                    <a:pt x="1565" y="195"/>
                    <a:pt x="1562" y="195"/>
                    <a:pt x="1562" y="197"/>
                  </a:cubicBezTo>
                  <a:cubicBezTo>
                    <a:pt x="1559" y="192"/>
                    <a:pt x="1556" y="189"/>
                    <a:pt x="1559" y="186"/>
                  </a:cubicBezTo>
                  <a:close/>
                  <a:moveTo>
                    <a:pt x="1565" y="228"/>
                  </a:moveTo>
                  <a:cubicBezTo>
                    <a:pt x="1568" y="228"/>
                    <a:pt x="1568" y="234"/>
                    <a:pt x="1568" y="237"/>
                  </a:cubicBezTo>
                  <a:cubicBezTo>
                    <a:pt x="1565" y="237"/>
                    <a:pt x="1562" y="234"/>
                    <a:pt x="1559" y="234"/>
                  </a:cubicBezTo>
                  <a:cubicBezTo>
                    <a:pt x="1559" y="231"/>
                    <a:pt x="1565" y="231"/>
                    <a:pt x="1565" y="228"/>
                  </a:cubicBezTo>
                  <a:close/>
                  <a:moveTo>
                    <a:pt x="1570" y="2653"/>
                  </a:moveTo>
                  <a:cubicBezTo>
                    <a:pt x="1570" y="2656"/>
                    <a:pt x="1565" y="2659"/>
                    <a:pt x="1562" y="2659"/>
                  </a:cubicBezTo>
                  <a:cubicBezTo>
                    <a:pt x="1565" y="2656"/>
                    <a:pt x="1568" y="2653"/>
                    <a:pt x="1570" y="2653"/>
                  </a:cubicBezTo>
                  <a:close/>
                  <a:moveTo>
                    <a:pt x="1579" y="2910"/>
                  </a:moveTo>
                  <a:cubicBezTo>
                    <a:pt x="1556" y="2907"/>
                    <a:pt x="1568" y="2882"/>
                    <a:pt x="1593" y="2887"/>
                  </a:cubicBezTo>
                  <a:cubicBezTo>
                    <a:pt x="1587" y="2893"/>
                    <a:pt x="1576" y="2896"/>
                    <a:pt x="1579" y="2910"/>
                  </a:cubicBezTo>
                  <a:close/>
                  <a:moveTo>
                    <a:pt x="1590" y="2780"/>
                  </a:moveTo>
                  <a:lnTo>
                    <a:pt x="1590" y="2772"/>
                  </a:lnTo>
                  <a:lnTo>
                    <a:pt x="1596" y="2772"/>
                  </a:lnTo>
                  <a:cubicBezTo>
                    <a:pt x="1596" y="2772"/>
                    <a:pt x="1599" y="2780"/>
                    <a:pt x="1590" y="2780"/>
                  </a:cubicBezTo>
                  <a:close/>
                  <a:moveTo>
                    <a:pt x="1599" y="2865"/>
                  </a:moveTo>
                  <a:cubicBezTo>
                    <a:pt x="1618" y="2868"/>
                    <a:pt x="1590" y="2896"/>
                    <a:pt x="1599" y="2865"/>
                  </a:cubicBezTo>
                  <a:close/>
                  <a:moveTo>
                    <a:pt x="1613" y="2769"/>
                  </a:moveTo>
                  <a:lnTo>
                    <a:pt x="1607" y="2769"/>
                  </a:lnTo>
                  <a:lnTo>
                    <a:pt x="1607" y="2763"/>
                  </a:lnTo>
                  <a:lnTo>
                    <a:pt x="1613" y="2763"/>
                  </a:lnTo>
                  <a:lnTo>
                    <a:pt x="1613" y="2769"/>
                  </a:lnTo>
                  <a:close/>
                  <a:moveTo>
                    <a:pt x="1610" y="2583"/>
                  </a:moveTo>
                  <a:cubicBezTo>
                    <a:pt x="1610" y="2577"/>
                    <a:pt x="1621" y="2577"/>
                    <a:pt x="1624" y="2577"/>
                  </a:cubicBezTo>
                  <a:cubicBezTo>
                    <a:pt x="1627" y="2583"/>
                    <a:pt x="1616" y="2583"/>
                    <a:pt x="1610" y="2583"/>
                  </a:cubicBezTo>
                  <a:close/>
                  <a:moveTo>
                    <a:pt x="1638" y="2910"/>
                  </a:moveTo>
                  <a:cubicBezTo>
                    <a:pt x="1593" y="2902"/>
                    <a:pt x="1633" y="2862"/>
                    <a:pt x="1638" y="2910"/>
                  </a:cubicBezTo>
                  <a:close/>
                  <a:moveTo>
                    <a:pt x="1633" y="195"/>
                  </a:moveTo>
                  <a:cubicBezTo>
                    <a:pt x="1635" y="195"/>
                    <a:pt x="1638" y="192"/>
                    <a:pt x="1641" y="192"/>
                  </a:cubicBezTo>
                  <a:cubicBezTo>
                    <a:pt x="1641" y="189"/>
                    <a:pt x="1647" y="189"/>
                    <a:pt x="1647" y="189"/>
                  </a:cubicBezTo>
                  <a:cubicBezTo>
                    <a:pt x="1649" y="192"/>
                    <a:pt x="1647" y="197"/>
                    <a:pt x="1649" y="200"/>
                  </a:cubicBezTo>
                  <a:cubicBezTo>
                    <a:pt x="1644" y="203"/>
                    <a:pt x="1638" y="197"/>
                    <a:pt x="1633" y="195"/>
                  </a:cubicBezTo>
                  <a:close/>
                  <a:moveTo>
                    <a:pt x="1644" y="2744"/>
                  </a:moveTo>
                  <a:cubicBezTo>
                    <a:pt x="1641" y="2741"/>
                    <a:pt x="1647" y="2732"/>
                    <a:pt x="1652" y="2732"/>
                  </a:cubicBezTo>
                  <a:cubicBezTo>
                    <a:pt x="1649" y="2738"/>
                    <a:pt x="1649" y="2744"/>
                    <a:pt x="1644" y="2744"/>
                  </a:cubicBezTo>
                  <a:close/>
                  <a:moveTo>
                    <a:pt x="1652" y="2845"/>
                  </a:moveTo>
                  <a:cubicBezTo>
                    <a:pt x="1655" y="2848"/>
                    <a:pt x="1661" y="2851"/>
                    <a:pt x="1661" y="2854"/>
                  </a:cubicBezTo>
                  <a:cubicBezTo>
                    <a:pt x="1661" y="2854"/>
                    <a:pt x="1647" y="2842"/>
                    <a:pt x="1652" y="2845"/>
                  </a:cubicBezTo>
                  <a:close/>
                  <a:moveTo>
                    <a:pt x="1664" y="2690"/>
                  </a:moveTo>
                  <a:cubicBezTo>
                    <a:pt x="1661" y="2682"/>
                    <a:pt x="1678" y="2679"/>
                    <a:pt x="1675" y="2690"/>
                  </a:cubicBezTo>
                  <a:cubicBezTo>
                    <a:pt x="1672" y="2687"/>
                    <a:pt x="1666" y="2690"/>
                    <a:pt x="1664" y="2690"/>
                  </a:cubicBezTo>
                  <a:close/>
                  <a:moveTo>
                    <a:pt x="1675" y="2780"/>
                  </a:moveTo>
                  <a:lnTo>
                    <a:pt x="1676" y="2780"/>
                  </a:lnTo>
                  <a:cubicBezTo>
                    <a:pt x="1676" y="2783"/>
                    <a:pt x="1675" y="2787"/>
                    <a:pt x="1675" y="2780"/>
                  </a:cubicBezTo>
                  <a:cubicBezTo>
                    <a:pt x="1676" y="2777"/>
                    <a:pt x="1676" y="2778"/>
                    <a:pt x="1676" y="2780"/>
                  </a:cubicBezTo>
                  <a:lnTo>
                    <a:pt x="1675" y="2780"/>
                  </a:lnTo>
                  <a:close/>
                  <a:moveTo>
                    <a:pt x="1678" y="2766"/>
                  </a:moveTo>
                  <a:cubicBezTo>
                    <a:pt x="1683" y="2763"/>
                    <a:pt x="1695" y="2763"/>
                    <a:pt x="1695" y="2772"/>
                  </a:cubicBezTo>
                  <a:cubicBezTo>
                    <a:pt x="1689" y="2772"/>
                    <a:pt x="1678" y="2775"/>
                    <a:pt x="1678" y="2766"/>
                  </a:cubicBezTo>
                  <a:close/>
                  <a:moveTo>
                    <a:pt x="1689" y="2885"/>
                  </a:moveTo>
                  <a:cubicBezTo>
                    <a:pt x="1692" y="2879"/>
                    <a:pt x="1697" y="2876"/>
                    <a:pt x="1703" y="2876"/>
                  </a:cubicBezTo>
                  <a:cubicBezTo>
                    <a:pt x="1703" y="2882"/>
                    <a:pt x="1692" y="2882"/>
                    <a:pt x="1689" y="2885"/>
                  </a:cubicBezTo>
                  <a:close/>
                  <a:moveTo>
                    <a:pt x="1703" y="2676"/>
                  </a:moveTo>
                  <a:cubicBezTo>
                    <a:pt x="1709" y="2670"/>
                    <a:pt x="1706" y="2684"/>
                    <a:pt x="1703" y="2676"/>
                  </a:cubicBezTo>
                  <a:close/>
                  <a:moveTo>
                    <a:pt x="1706" y="2899"/>
                  </a:moveTo>
                  <a:cubicBezTo>
                    <a:pt x="1706" y="2893"/>
                    <a:pt x="1714" y="2893"/>
                    <a:pt x="1720" y="2890"/>
                  </a:cubicBezTo>
                  <a:cubicBezTo>
                    <a:pt x="1720" y="2899"/>
                    <a:pt x="1709" y="2899"/>
                    <a:pt x="1706" y="2899"/>
                  </a:cubicBezTo>
                  <a:close/>
                  <a:moveTo>
                    <a:pt x="1706" y="2865"/>
                  </a:moveTo>
                  <a:cubicBezTo>
                    <a:pt x="1712" y="2865"/>
                    <a:pt x="1714" y="2865"/>
                    <a:pt x="1717" y="2868"/>
                  </a:cubicBezTo>
                  <a:cubicBezTo>
                    <a:pt x="1717" y="2871"/>
                    <a:pt x="1706" y="2873"/>
                    <a:pt x="1706" y="2865"/>
                  </a:cubicBezTo>
                  <a:close/>
                  <a:moveTo>
                    <a:pt x="1726" y="2766"/>
                  </a:moveTo>
                  <a:cubicBezTo>
                    <a:pt x="1726" y="2769"/>
                    <a:pt x="1720" y="2772"/>
                    <a:pt x="1717" y="2772"/>
                  </a:cubicBezTo>
                  <a:cubicBezTo>
                    <a:pt x="1720" y="2769"/>
                    <a:pt x="1723" y="2769"/>
                    <a:pt x="1726" y="2766"/>
                  </a:cubicBezTo>
                  <a:close/>
                  <a:moveTo>
                    <a:pt x="1720" y="2766"/>
                  </a:moveTo>
                  <a:cubicBezTo>
                    <a:pt x="1720" y="2761"/>
                    <a:pt x="1728" y="2769"/>
                    <a:pt x="1720" y="2766"/>
                  </a:cubicBezTo>
                  <a:close/>
                  <a:moveTo>
                    <a:pt x="1726" y="2862"/>
                  </a:moveTo>
                  <a:lnTo>
                    <a:pt x="1720" y="2862"/>
                  </a:lnTo>
                  <a:lnTo>
                    <a:pt x="1720" y="2856"/>
                  </a:lnTo>
                  <a:lnTo>
                    <a:pt x="1726" y="2856"/>
                  </a:lnTo>
                  <a:cubicBezTo>
                    <a:pt x="1728" y="2856"/>
                    <a:pt x="1726" y="2859"/>
                    <a:pt x="1726" y="2862"/>
                  </a:cubicBezTo>
                  <a:close/>
                  <a:moveTo>
                    <a:pt x="1717" y="2752"/>
                  </a:moveTo>
                  <a:cubicBezTo>
                    <a:pt x="1714" y="2744"/>
                    <a:pt x="1728" y="2738"/>
                    <a:pt x="1734" y="2744"/>
                  </a:cubicBezTo>
                  <a:cubicBezTo>
                    <a:pt x="1728" y="2749"/>
                    <a:pt x="1723" y="2752"/>
                    <a:pt x="1717" y="2752"/>
                  </a:cubicBezTo>
                  <a:close/>
                  <a:moveTo>
                    <a:pt x="1734" y="135"/>
                  </a:moveTo>
                  <a:cubicBezTo>
                    <a:pt x="1739" y="134"/>
                    <a:pt x="1737" y="137"/>
                    <a:pt x="1735" y="138"/>
                  </a:cubicBezTo>
                  <a:cubicBezTo>
                    <a:pt x="1735" y="141"/>
                    <a:pt x="1732" y="144"/>
                    <a:pt x="1726" y="144"/>
                  </a:cubicBezTo>
                  <a:cubicBezTo>
                    <a:pt x="1726" y="141"/>
                    <a:pt x="1723" y="137"/>
                    <a:pt x="1723" y="135"/>
                  </a:cubicBezTo>
                  <a:cubicBezTo>
                    <a:pt x="1723" y="132"/>
                    <a:pt x="1728" y="130"/>
                    <a:pt x="1734" y="135"/>
                  </a:cubicBezTo>
                  <a:close/>
                  <a:moveTo>
                    <a:pt x="1731" y="37"/>
                  </a:moveTo>
                  <a:cubicBezTo>
                    <a:pt x="1734" y="31"/>
                    <a:pt x="1740" y="45"/>
                    <a:pt x="1731" y="37"/>
                  </a:cubicBezTo>
                  <a:close/>
                  <a:moveTo>
                    <a:pt x="1737" y="2741"/>
                  </a:moveTo>
                  <a:cubicBezTo>
                    <a:pt x="1737" y="2735"/>
                    <a:pt x="1748" y="2744"/>
                    <a:pt x="1737" y="2741"/>
                  </a:cubicBezTo>
                  <a:close/>
                  <a:moveTo>
                    <a:pt x="1743" y="2741"/>
                  </a:moveTo>
                  <a:cubicBezTo>
                    <a:pt x="1743" y="2735"/>
                    <a:pt x="1754" y="2744"/>
                    <a:pt x="1743" y="2741"/>
                  </a:cubicBezTo>
                  <a:close/>
                  <a:moveTo>
                    <a:pt x="1751" y="2656"/>
                  </a:moveTo>
                  <a:lnTo>
                    <a:pt x="1752" y="2656"/>
                  </a:lnTo>
                  <a:cubicBezTo>
                    <a:pt x="1751" y="2657"/>
                    <a:pt x="1751" y="2657"/>
                    <a:pt x="1751" y="2656"/>
                  </a:cubicBezTo>
                  <a:cubicBezTo>
                    <a:pt x="1755" y="2650"/>
                    <a:pt x="1753" y="2655"/>
                    <a:pt x="1752" y="2656"/>
                  </a:cubicBezTo>
                  <a:lnTo>
                    <a:pt x="1751" y="2656"/>
                  </a:lnTo>
                  <a:close/>
                  <a:moveTo>
                    <a:pt x="1748" y="2569"/>
                  </a:moveTo>
                  <a:cubicBezTo>
                    <a:pt x="1745" y="2563"/>
                    <a:pt x="1757" y="2563"/>
                    <a:pt x="1762" y="2563"/>
                  </a:cubicBezTo>
                  <a:cubicBezTo>
                    <a:pt x="1762" y="2569"/>
                    <a:pt x="1754" y="2569"/>
                    <a:pt x="1748" y="2569"/>
                  </a:cubicBezTo>
                  <a:close/>
                  <a:moveTo>
                    <a:pt x="1762" y="149"/>
                  </a:moveTo>
                  <a:cubicBezTo>
                    <a:pt x="1768" y="147"/>
                    <a:pt x="1762" y="161"/>
                    <a:pt x="1762" y="149"/>
                  </a:cubicBezTo>
                  <a:close/>
                  <a:moveTo>
                    <a:pt x="1760" y="195"/>
                  </a:moveTo>
                  <a:cubicBezTo>
                    <a:pt x="1762" y="189"/>
                    <a:pt x="1768" y="186"/>
                    <a:pt x="1774" y="189"/>
                  </a:cubicBezTo>
                  <a:cubicBezTo>
                    <a:pt x="1774" y="195"/>
                    <a:pt x="1765" y="197"/>
                    <a:pt x="1760" y="195"/>
                  </a:cubicBezTo>
                  <a:close/>
                  <a:moveTo>
                    <a:pt x="1774" y="2698"/>
                  </a:moveTo>
                  <a:cubicBezTo>
                    <a:pt x="1765" y="2698"/>
                    <a:pt x="1771" y="2684"/>
                    <a:pt x="1771" y="2679"/>
                  </a:cubicBezTo>
                  <a:cubicBezTo>
                    <a:pt x="1782" y="2682"/>
                    <a:pt x="1774" y="2696"/>
                    <a:pt x="1774" y="2698"/>
                  </a:cubicBezTo>
                  <a:close/>
                  <a:moveTo>
                    <a:pt x="1779" y="2507"/>
                  </a:moveTo>
                  <a:lnTo>
                    <a:pt x="1774" y="2507"/>
                  </a:lnTo>
                  <a:lnTo>
                    <a:pt x="1774" y="2501"/>
                  </a:lnTo>
                  <a:lnTo>
                    <a:pt x="1779" y="2501"/>
                  </a:lnTo>
                  <a:lnTo>
                    <a:pt x="1779" y="2507"/>
                  </a:lnTo>
                  <a:close/>
                  <a:moveTo>
                    <a:pt x="1779" y="2625"/>
                  </a:moveTo>
                  <a:lnTo>
                    <a:pt x="1785" y="2625"/>
                  </a:lnTo>
                  <a:lnTo>
                    <a:pt x="1785" y="2631"/>
                  </a:lnTo>
                  <a:lnTo>
                    <a:pt x="1779" y="2631"/>
                  </a:lnTo>
                  <a:lnTo>
                    <a:pt x="1779" y="2625"/>
                  </a:lnTo>
                  <a:close/>
                  <a:moveTo>
                    <a:pt x="1779" y="2873"/>
                  </a:moveTo>
                  <a:cubicBezTo>
                    <a:pt x="1779" y="2868"/>
                    <a:pt x="1785" y="2862"/>
                    <a:pt x="1791" y="2865"/>
                  </a:cubicBezTo>
                  <a:cubicBezTo>
                    <a:pt x="1791" y="2871"/>
                    <a:pt x="1788" y="2876"/>
                    <a:pt x="1779" y="2873"/>
                  </a:cubicBezTo>
                  <a:close/>
                  <a:moveTo>
                    <a:pt x="1788" y="2854"/>
                  </a:moveTo>
                  <a:cubicBezTo>
                    <a:pt x="1791" y="2848"/>
                    <a:pt x="1793" y="2865"/>
                    <a:pt x="1788" y="2854"/>
                  </a:cubicBezTo>
                  <a:close/>
                  <a:moveTo>
                    <a:pt x="1802" y="2447"/>
                  </a:moveTo>
                  <a:cubicBezTo>
                    <a:pt x="1802" y="2450"/>
                    <a:pt x="1796" y="2453"/>
                    <a:pt x="1793" y="2453"/>
                  </a:cubicBezTo>
                  <a:cubicBezTo>
                    <a:pt x="1793" y="2450"/>
                    <a:pt x="1799" y="2447"/>
                    <a:pt x="1802" y="2447"/>
                  </a:cubicBezTo>
                  <a:close/>
                  <a:moveTo>
                    <a:pt x="1805" y="2625"/>
                  </a:moveTo>
                  <a:lnTo>
                    <a:pt x="1793" y="2625"/>
                  </a:lnTo>
                  <a:cubicBezTo>
                    <a:pt x="1793" y="2620"/>
                    <a:pt x="1807" y="2617"/>
                    <a:pt x="1805" y="2625"/>
                  </a:cubicBezTo>
                  <a:close/>
                  <a:moveTo>
                    <a:pt x="1796" y="2834"/>
                  </a:moveTo>
                  <a:cubicBezTo>
                    <a:pt x="1799" y="2825"/>
                    <a:pt x="1799" y="2842"/>
                    <a:pt x="1796" y="2834"/>
                  </a:cubicBezTo>
                  <a:close/>
                  <a:moveTo>
                    <a:pt x="1802" y="2876"/>
                  </a:moveTo>
                  <a:cubicBezTo>
                    <a:pt x="1802" y="2868"/>
                    <a:pt x="1813" y="2871"/>
                    <a:pt x="1819" y="2871"/>
                  </a:cubicBezTo>
                  <a:cubicBezTo>
                    <a:pt x="1816" y="2876"/>
                    <a:pt x="1807" y="2876"/>
                    <a:pt x="1802" y="2876"/>
                  </a:cubicBezTo>
                  <a:close/>
                  <a:moveTo>
                    <a:pt x="1805" y="2834"/>
                  </a:moveTo>
                  <a:cubicBezTo>
                    <a:pt x="1805" y="2828"/>
                    <a:pt x="1816" y="2831"/>
                    <a:pt x="1822" y="2831"/>
                  </a:cubicBezTo>
                  <a:cubicBezTo>
                    <a:pt x="1822" y="2840"/>
                    <a:pt x="1805" y="2837"/>
                    <a:pt x="1805" y="2834"/>
                  </a:cubicBezTo>
                  <a:close/>
                  <a:moveTo>
                    <a:pt x="1805" y="2366"/>
                  </a:moveTo>
                  <a:cubicBezTo>
                    <a:pt x="1805" y="2360"/>
                    <a:pt x="1824" y="2349"/>
                    <a:pt x="1824" y="2360"/>
                  </a:cubicBezTo>
                  <a:cubicBezTo>
                    <a:pt x="1816" y="2360"/>
                    <a:pt x="1813" y="2366"/>
                    <a:pt x="1805" y="2366"/>
                  </a:cubicBezTo>
                  <a:close/>
                  <a:moveTo>
                    <a:pt x="1839" y="2411"/>
                  </a:moveTo>
                  <a:cubicBezTo>
                    <a:pt x="1839" y="2419"/>
                    <a:pt x="1824" y="2419"/>
                    <a:pt x="1824" y="2411"/>
                  </a:cubicBezTo>
                  <a:cubicBezTo>
                    <a:pt x="1830" y="2408"/>
                    <a:pt x="1833" y="2411"/>
                    <a:pt x="1839" y="2411"/>
                  </a:cubicBezTo>
                  <a:close/>
                  <a:moveTo>
                    <a:pt x="1824" y="2825"/>
                  </a:moveTo>
                  <a:cubicBezTo>
                    <a:pt x="1824" y="2820"/>
                    <a:pt x="1833" y="2820"/>
                    <a:pt x="1839" y="2817"/>
                  </a:cubicBezTo>
                  <a:cubicBezTo>
                    <a:pt x="1836" y="2823"/>
                    <a:pt x="1830" y="2825"/>
                    <a:pt x="1824" y="2825"/>
                  </a:cubicBezTo>
                  <a:close/>
                  <a:moveTo>
                    <a:pt x="1824" y="2696"/>
                  </a:moveTo>
                  <a:cubicBezTo>
                    <a:pt x="1824" y="2693"/>
                    <a:pt x="1841" y="2687"/>
                    <a:pt x="1839" y="2696"/>
                  </a:cubicBezTo>
                  <a:cubicBezTo>
                    <a:pt x="1836" y="2693"/>
                    <a:pt x="1833" y="2698"/>
                    <a:pt x="1824" y="2696"/>
                  </a:cubicBezTo>
                  <a:close/>
                  <a:moveTo>
                    <a:pt x="1847" y="2529"/>
                  </a:moveTo>
                  <a:cubicBezTo>
                    <a:pt x="1839" y="2535"/>
                    <a:pt x="1839" y="2521"/>
                    <a:pt x="1847" y="2529"/>
                  </a:cubicBezTo>
                  <a:close/>
                  <a:moveTo>
                    <a:pt x="1847" y="2871"/>
                  </a:moveTo>
                  <a:cubicBezTo>
                    <a:pt x="1850" y="2862"/>
                    <a:pt x="1850" y="2879"/>
                    <a:pt x="1847" y="2871"/>
                  </a:cubicBezTo>
                  <a:close/>
                  <a:moveTo>
                    <a:pt x="1844" y="2405"/>
                  </a:moveTo>
                  <a:cubicBezTo>
                    <a:pt x="1847" y="2399"/>
                    <a:pt x="1855" y="2408"/>
                    <a:pt x="1844" y="2405"/>
                  </a:cubicBezTo>
                  <a:close/>
                  <a:moveTo>
                    <a:pt x="1850" y="2715"/>
                  </a:moveTo>
                  <a:cubicBezTo>
                    <a:pt x="1850" y="2710"/>
                    <a:pt x="1858" y="2718"/>
                    <a:pt x="1850" y="2715"/>
                  </a:cubicBezTo>
                  <a:close/>
                  <a:moveTo>
                    <a:pt x="2555" y="2431"/>
                  </a:moveTo>
                  <a:cubicBezTo>
                    <a:pt x="2555" y="2425"/>
                    <a:pt x="2564" y="2433"/>
                    <a:pt x="2555" y="2431"/>
                  </a:cubicBezTo>
                  <a:close/>
                  <a:moveTo>
                    <a:pt x="2851" y="1368"/>
                  </a:moveTo>
                  <a:cubicBezTo>
                    <a:pt x="2852" y="1366"/>
                    <a:pt x="2853" y="1365"/>
                    <a:pt x="2854" y="1365"/>
                  </a:cubicBezTo>
                  <a:cubicBezTo>
                    <a:pt x="2853" y="1365"/>
                    <a:pt x="2852" y="1365"/>
                    <a:pt x="2851" y="1365"/>
                  </a:cubicBezTo>
                  <a:lnTo>
                    <a:pt x="2849" y="1365"/>
                  </a:lnTo>
                  <a:cubicBezTo>
                    <a:pt x="2849" y="1362"/>
                    <a:pt x="2851" y="1360"/>
                    <a:pt x="2857" y="1360"/>
                  </a:cubicBezTo>
                  <a:cubicBezTo>
                    <a:pt x="2857" y="1361"/>
                    <a:pt x="2856" y="1363"/>
                    <a:pt x="2855" y="1364"/>
                  </a:cubicBezTo>
                  <a:cubicBezTo>
                    <a:pt x="2862" y="1360"/>
                    <a:pt x="2869" y="1385"/>
                    <a:pt x="2874" y="1371"/>
                  </a:cubicBezTo>
                  <a:cubicBezTo>
                    <a:pt x="2888" y="1385"/>
                    <a:pt x="2846" y="1385"/>
                    <a:pt x="2851" y="1368"/>
                  </a:cubicBezTo>
                  <a:close/>
                  <a:moveTo>
                    <a:pt x="2868" y="1402"/>
                  </a:moveTo>
                  <a:cubicBezTo>
                    <a:pt x="2874" y="1399"/>
                    <a:pt x="2866" y="1402"/>
                    <a:pt x="2868" y="1402"/>
                  </a:cubicBezTo>
                  <a:close/>
                  <a:moveTo>
                    <a:pt x="2866" y="1466"/>
                  </a:moveTo>
                  <a:cubicBezTo>
                    <a:pt x="2880" y="1471"/>
                    <a:pt x="2854" y="1486"/>
                    <a:pt x="2866" y="1466"/>
                  </a:cubicBezTo>
                  <a:close/>
                  <a:moveTo>
                    <a:pt x="2863" y="1635"/>
                  </a:moveTo>
                  <a:cubicBezTo>
                    <a:pt x="2854" y="1615"/>
                    <a:pt x="2874" y="1655"/>
                    <a:pt x="2863" y="1635"/>
                  </a:cubicBezTo>
                  <a:close/>
                  <a:moveTo>
                    <a:pt x="2854" y="1610"/>
                  </a:moveTo>
                  <a:cubicBezTo>
                    <a:pt x="2857" y="1604"/>
                    <a:pt x="2866" y="1615"/>
                    <a:pt x="2854" y="1610"/>
                  </a:cubicBezTo>
                  <a:close/>
                  <a:moveTo>
                    <a:pt x="2863" y="1439"/>
                  </a:moveTo>
                  <a:cubicBezTo>
                    <a:pt x="2857" y="1439"/>
                    <a:pt x="2854" y="1436"/>
                    <a:pt x="2849" y="1436"/>
                  </a:cubicBezTo>
                  <a:cubicBezTo>
                    <a:pt x="2849" y="1436"/>
                    <a:pt x="2866" y="1433"/>
                    <a:pt x="2863" y="1439"/>
                  </a:cubicBezTo>
                  <a:close/>
                  <a:moveTo>
                    <a:pt x="2804" y="1759"/>
                  </a:moveTo>
                  <a:cubicBezTo>
                    <a:pt x="2804" y="1756"/>
                    <a:pt x="2806" y="1756"/>
                    <a:pt x="2809" y="1756"/>
                  </a:cubicBezTo>
                  <a:lnTo>
                    <a:pt x="2815" y="1756"/>
                  </a:lnTo>
                  <a:cubicBezTo>
                    <a:pt x="2815" y="1759"/>
                    <a:pt x="2815" y="1762"/>
                    <a:pt x="2812" y="1762"/>
                  </a:cubicBezTo>
                  <a:cubicBezTo>
                    <a:pt x="2814" y="1762"/>
                    <a:pt x="2812" y="1763"/>
                    <a:pt x="2810" y="1763"/>
                  </a:cubicBezTo>
                  <a:cubicBezTo>
                    <a:pt x="2809" y="1763"/>
                    <a:pt x="2806" y="1765"/>
                    <a:pt x="2804" y="1765"/>
                  </a:cubicBezTo>
                  <a:cubicBezTo>
                    <a:pt x="2801" y="1765"/>
                    <a:pt x="2805" y="1763"/>
                    <a:pt x="2808" y="1762"/>
                  </a:cubicBezTo>
                  <a:cubicBezTo>
                    <a:pt x="2807" y="1762"/>
                    <a:pt x="2805" y="1761"/>
                    <a:pt x="2804" y="1759"/>
                  </a:cubicBezTo>
                  <a:close/>
                  <a:moveTo>
                    <a:pt x="2792" y="1770"/>
                  </a:moveTo>
                  <a:cubicBezTo>
                    <a:pt x="2790" y="1766"/>
                    <a:pt x="2797" y="1767"/>
                    <a:pt x="2798" y="1770"/>
                  </a:cubicBezTo>
                  <a:cubicBezTo>
                    <a:pt x="2799" y="1770"/>
                    <a:pt x="2800" y="1770"/>
                    <a:pt x="2801" y="1770"/>
                  </a:cubicBezTo>
                  <a:cubicBezTo>
                    <a:pt x="2801" y="1768"/>
                    <a:pt x="2804" y="1770"/>
                    <a:pt x="2804" y="1773"/>
                  </a:cubicBezTo>
                  <a:cubicBezTo>
                    <a:pt x="2804" y="1771"/>
                    <a:pt x="2805" y="1772"/>
                    <a:pt x="2805" y="1773"/>
                  </a:cubicBezTo>
                  <a:cubicBezTo>
                    <a:pt x="2812" y="1771"/>
                    <a:pt x="2815" y="1773"/>
                    <a:pt x="2820" y="1776"/>
                  </a:cubicBezTo>
                  <a:cubicBezTo>
                    <a:pt x="2822" y="1775"/>
                    <a:pt x="2825" y="1775"/>
                    <a:pt x="2829" y="1776"/>
                  </a:cubicBezTo>
                  <a:cubicBezTo>
                    <a:pt x="2830" y="1777"/>
                    <a:pt x="2830" y="1778"/>
                    <a:pt x="2831" y="1779"/>
                  </a:cubicBezTo>
                  <a:lnTo>
                    <a:pt x="2832" y="1779"/>
                  </a:lnTo>
                  <a:lnTo>
                    <a:pt x="2832" y="1782"/>
                  </a:lnTo>
                  <a:cubicBezTo>
                    <a:pt x="2837" y="1787"/>
                    <a:pt x="2837" y="1799"/>
                    <a:pt x="2846" y="1804"/>
                  </a:cubicBezTo>
                  <a:cubicBezTo>
                    <a:pt x="2843" y="1812"/>
                    <a:pt x="2824" y="1799"/>
                    <a:pt x="2825" y="1786"/>
                  </a:cubicBezTo>
                  <a:cubicBezTo>
                    <a:pt x="2824" y="1785"/>
                    <a:pt x="2822" y="1785"/>
                    <a:pt x="2820" y="1785"/>
                  </a:cubicBezTo>
                  <a:cubicBezTo>
                    <a:pt x="2818" y="1787"/>
                    <a:pt x="2809" y="1785"/>
                    <a:pt x="2806" y="1782"/>
                  </a:cubicBezTo>
                  <a:cubicBezTo>
                    <a:pt x="2804" y="1785"/>
                    <a:pt x="2804" y="1785"/>
                    <a:pt x="2801" y="1785"/>
                  </a:cubicBezTo>
                  <a:cubicBezTo>
                    <a:pt x="2812" y="1801"/>
                    <a:pt x="2829" y="1804"/>
                    <a:pt x="2829" y="1824"/>
                  </a:cubicBezTo>
                  <a:cubicBezTo>
                    <a:pt x="2809" y="1827"/>
                    <a:pt x="2798" y="1804"/>
                    <a:pt x="2798" y="1785"/>
                  </a:cubicBezTo>
                  <a:cubicBezTo>
                    <a:pt x="2795" y="1785"/>
                    <a:pt x="2792" y="1782"/>
                    <a:pt x="2792" y="1776"/>
                  </a:cubicBezTo>
                  <a:cubicBezTo>
                    <a:pt x="2792" y="1774"/>
                    <a:pt x="2792" y="1773"/>
                    <a:pt x="2793" y="1772"/>
                  </a:cubicBezTo>
                  <a:cubicBezTo>
                    <a:pt x="2793" y="1772"/>
                    <a:pt x="2792" y="1771"/>
                    <a:pt x="2792" y="1770"/>
                  </a:cubicBezTo>
                  <a:close/>
                  <a:moveTo>
                    <a:pt x="2792" y="1762"/>
                  </a:moveTo>
                  <a:cubicBezTo>
                    <a:pt x="2798" y="1756"/>
                    <a:pt x="2789" y="1770"/>
                    <a:pt x="2792" y="1762"/>
                  </a:cubicBezTo>
                  <a:close/>
                  <a:moveTo>
                    <a:pt x="2789" y="1382"/>
                  </a:moveTo>
                  <a:cubicBezTo>
                    <a:pt x="2789" y="1393"/>
                    <a:pt x="2781" y="1405"/>
                    <a:pt x="2770" y="1405"/>
                  </a:cubicBezTo>
                  <a:lnTo>
                    <a:pt x="2761" y="1405"/>
                  </a:lnTo>
                  <a:cubicBezTo>
                    <a:pt x="2764" y="1399"/>
                    <a:pt x="2787" y="1391"/>
                    <a:pt x="2767" y="1385"/>
                  </a:cubicBezTo>
                  <a:cubicBezTo>
                    <a:pt x="2772" y="1379"/>
                    <a:pt x="2778" y="1371"/>
                    <a:pt x="2792" y="1374"/>
                  </a:cubicBezTo>
                  <a:cubicBezTo>
                    <a:pt x="2789" y="1374"/>
                    <a:pt x="2789" y="1377"/>
                    <a:pt x="2789" y="1382"/>
                  </a:cubicBezTo>
                  <a:close/>
                  <a:moveTo>
                    <a:pt x="2778" y="1629"/>
                  </a:moveTo>
                  <a:cubicBezTo>
                    <a:pt x="2764" y="1615"/>
                    <a:pt x="2804" y="1624"/>
                    <a:pt x="2778" y="1629"/>
                  </a:cubicBezTo>
                  <a:close/>
                  <a:moveTo>
                    <a:pt x="2787" y="1666"/>
                  </a:moveTo>
                  <a:cubicBezTo>
                    <a:pt x="2787" y="1672"/>
                    <a:pt x="2781" y="1675"/>
                    <a:pt x="2778" y="1675"/>
                  </a:cubicBezTo>
                  <a:cubicBezTo>
                    <a:pt x="2775" y="1669"/>
                    <a:pt x="2784" y="1666"/>
                    <a:pt x="2787" y="1666"/>
                  </a:cubicBezTo>
                  <a:close/>
                  <a:moveTo>
                    <a:pt x="2784" y="1855"/>
                  </a:moveTo>
                  <a:cubicBezTo>
                    <a:pt x="2784" y="1858"/>
                    <a:pt x="2781" y="1861"/>
                    <a:pt x="2781" y="1861"/>
                  </a:cubicBezTo>
                  <a:cubicBezTo>
                    <a:pt x="2781" y="1864"/>
                    <a:pt x="2778" y="1866"/>
                    <a:pt x="2775" y="1869"/>
                  </a:cubicBezTo>
                  <a:cubicBezTo>
                    <a:pt x="2736" y="1841"/>
                    <a:pt x="2798" y="1827"/>
                    <a:pt x="2784" y="1855"/>
                  </a:cubicBezTo>
                  <a:close/>
                  <a:moveTo>
                    <a:pt x="2725" y="1940"/>
                  </a:moveTo>
                  <a:cubicBezTo>
                    <a:pt x="2736" y="1937"/>
                    <a:pt x="2750" y="1962"/>
                    <a:pt x="2747" y="1968"/>
                  </a:cubicBezTo>
                  <a:lnTo>
                    <a:pt x="2739" y="1959"/>
                  </a:lnTo>
                  <a:lnTo>
                    <a:pt x="2736" y="1959"/>
                  </a:lnTo>
                  <a:cubicBezTo>
                    <a:pt x="2736" y="1959"/>
                    <a:pt x="2739" y="1959"/>
                    <a:pt x="2739" y="1957"/>
                  </a:cubicBezTo>
                  <a:cubicBezTo>
                    <a:pt x="2733" y="1954"/>
                    <a:pt x="2727" y="1948"/>
                    <a:pt x="2725" y="1940"/>
                  </a:cubicBezTo>
                  <a:close/>
                  <a:moveTo>
                    <a:pt x="2600" y="2216"/>
                  </a:moveTo>
                  <a:cubicBezTo>
                    <a:pt x="2603" y="2208"/>
                    <a:pt x="2614" y="2202"/>
                    <a:pt x="2614" y="2188"/>
                  </a:cubicBezTo>
                  <a:cubicBezTo>
                    <a:pt x="2629" y="2194"/>
                    <a:pt x="2609" y="2213"/>
                    <a:pt x="2600" y="2216"/>
                  </a:cubicBezTo>
                  <a:close/>
                  <a:moveTo>
                    <a:pt x="2620" y="2250"/>
                  </a:moveTo>
                  <a:cubicBezTo>
                    <a:pt x="2620" y="2253"/>
                    <a:pt x="2620" y="2253"/>
                    <a:pt x="2617" y="2253"/>
                  </a:cubicBezTo>
                  <a:lnTo>
                    <a:pt x="2614" y="2253"/>
                  </a:lnTo>
                  <a:cubicBezTo>
                    <a:pt x="2612" y="2253"/>
                    <a:pt x="2612" y="2256"/>
                    <a:pt x="2609" y="2253"/>
                  </a:cubicBezTo>
                  <a:lnTo>
                    <a:pt x="2609" y="2250"/>
                  </a:lnTo>
                  <a:cubicBezTo>
                    <a:pt x="2609" y="2247"/>
                    <a:pt x="2606" y="2247"/>
                    <a:pt x="2609" y="2244"/>
                  </a:cubicBezTo>
                  <a:cubicBezTo>
                    <a:pt x="2612" y="2244"/>
                    <a:pt x="2612" y="2244"/>
                    <a:pt x="2612" y="2242"/>
                  </a:cubicBezTo>
                  <a:cubicBezTo>
                    <a:pt x="2614" y="2242"/>
                    <a:pt x="2614" y="2242"/>
                    <a:pt x="2617" y="2244"/>
                  </a:cubicBezTo>
                  <a:cubicBezTo>
                    <a:pt x="2617" y="2247"/>
                    <a:pt x="2620" y="2250"/>
                    <a:pt x="2620" y="2250"/>
                  </a:cubicBezTo>
                  <a:close/>
                  <a:moveTo>
                    <a:pt x="2612" y="2134"/>
                  </a:moveTo>
                  <a:cubicBezTo>
                    <a:pt x="2623" y="2126"/>
                    <a:pt x="2637" y="2143"/>
                    <a:pt x="2646" y="2137"/>
                  </a:cubicBezTo>
                  <a:cubicBezTo>
                    <a:pt x="2648" y="2154"/>
                    <a:pt x="2620" y="2143"/>
                    <a:pt x="2612" y="2134"/>
                  </a:cubicBezTo>
                  <a:close/>
                  <a:moveTo>
                    <a:pt x="2589" y="1444"/>
                  </a:moveTo>
                  <a:cubicBezTo>
                    <a:pt x="2589" y="1441"/>
                    <a:pt x="2595" y="1439"/>
                    <a:pt x="2592" y="1433"/>
                  </a:cubicBezTo>
                  <a:lnTo>
                    <a:pt x="2603" y="1433"/>
                  </a:lnTo>
                  <a:cubicBezTo>
                    <a:pt x="2600" y="1439"/>
                    <a:pt x="2595" y="1441"/>
                    <a:pt x="2589" y="1444"/>
                  </a:cubicBezTo>
                  <a:close/>
                  <a:moveTo>
                    <a:pt x="2600" y="2050"/>
                  </a:moveTo>
                  <a:lnTo>
                    <a:pt x="2592" y="2050"/>
                  </a:lnTo>
                  <a:cubicBezTo>
                    <a:pt x="2589" y="2047"/>
                    <a:pt x="2592" y="2044"/>
                    <a:pt x="2595" y="2041"/>
                  </a:cubicBezTo>
                  <a:cubicBezTo>
                    <a:pt x="2598" y="2041"/>
                    <a:pt x="2600" y="2044"/>
                    <a:pt x="2600" y="2050"/>
                  </a:cubicBezTo>
                  <a:close/>
                  <a:moveTo>
                    <a:pt x="2575" y="2005"/>
                  </a:moveTo>
                  <a:cubicBezTo>
                    <a:pt x="2575" y="1999"/>
                    <a:pt x="2586" y="1999"/>
                    <a:pt x="2589" y="2002"/>
                  </a:cubicBezTo>
                  <a:cubicBezTo>
                    <a:pt x="2583" y="2005"/>
                    <a:pt x="2578" y="2007"/>
                    <a:pt x="2575" y="2005"/>
                  </a:cubicBezTo>
                  <a:close/>
                  <a:moveTo>
                    <a:pt x="2586" y="2098"/>
                  </a:moveTo>
                  <a:cubicBezTo>
                    <a:pt x="2589" y="2098"/>
                    <a:pt x="2584" y="2100"/>
                    <a:pt x="2581" y="2100"/>
                  </a:cubicBezTo>
                  <a:cubicBezTo>
                    <a:pt x="2579" y="2100"/>
                    <a:pt x="2583" y="2098"/>
                    <a:pt x="2586" y="2098"/>
                  </a:cubicBezTo>
                  <a:close/>
                  <a:moveTo>
                    <a:pt x="2533" y="2177"/>
                  </a:moveTo>
                  <a:cubicBezTo>
                    <a:pt x="2519" y="2168"/>
                    <a:pt x="2504" y="2174"/>
                    <a:pt x="2504" y="2157"/>
                  </a:cubicBezTo>
                  <a:cubicBezTo>
                    <a:pt x="2533" y="2134"/>
                    <a:pt x="2547" y="2174"/>
                    <a:pt x="2567" y="2191"/>
                  </a:cubicBezTo>
                  <a:lnTo>
                    <a:pt x="2569" y="2191"/>
                  </a:lnTo>
                  <a:lnTo>
                    <a:pt x="2567" y="2194"/>
                  </a:lnTo>
                  <a:lnTo>
                    <a:pt x="2569" y="2194"/>
                  </a:lnTo>
                  <a:lnTo>
                    <a:pt x="2569" y="2196"/>
                  </a:lnTo>
                  <a:cubicBezTo>
                    <a:pt x="2555" y="2208"/>
                    <a:pt x="2544" y="2182"/>
                    <a:pt x="2533" y="2177"/>
                  </a:cubicBezTo>
                  <a:close/>
                  <a:moveTo>
                    <a:pt x="2552" y="2196"/>
                  </a:moveTo>
                  <a:cubicBezTo>
                    <a:pt x="2555" y="2205"/>
                    <a:pt x="2535" y="2202"/>
                    <a:pt x="2535" y="2196"/>
                  </a:cubicBezTo>
                  <a:cubicBezTo>
                    <a:pt x="2541" y="2194"/>
                    <a:pt x="2547" y="2196"/>
                    <a:pt x="2552" y="2196"/>
                  </a:cubicBezTo>
                  <a:close/>
                  <a:moveTo>
                    <a:pt x="2524" y="2225"/>
                  </a:moveTo>
                  <a:cubicBezTo>
                    <a:pt x="2527" y="2219"/>
                    <a:pt x="2535" y="2227"/>
                    <a:pt x="2524" y="2225"/>
                  </a:cubicBezTo>
                  <a:close/>
                  <a:moveTo>
                    <a:pt x="2530" y="2233"/>
                  </a:moveTo>
                  <a:cubicBezTo>
                    <a:pt x="2527" y="2242"/>
                    <a:pt x="2519" y="2247"/>
                    <a:pt x="2510" y="2247"/>
                  </a:cubicBezTo>
                  <a:cubicBezTo>
                    <a:pt x="2513" y="2244"/>
                    <a:pt x="2516" y="2244"/>
                    <a:pt x="2516" y="2242"/>
                  </a:cubicBezTo>
                  <a:lnTo>
                    <a:pt x="2516" y="2239"/>
                  </a:lnTo>
                  <a:lnTo>
                    <a:pt x="2519" y="2242"/>
                  </a:lnTo>
                  <a:cubicBezTo>
                    <a:pt x="2521" y="2236"/>
                    <a:pt x="2527" y="2233"/>
                    <a:pt x="2530" y="2233"/>
                  </a:cubicBezTo>
                  <a:close/>
                  <a:moveTo>
                    <a:pt x="2473" y="2163"/>
                  </a:moveTo>
                  <a:cubicBezTo>
                    <a:pt x="2473" y="2157"/>
                    <a:pt x="2482" y="2165"/>
                    <a:pt x="2473" y="2163"/>
                  </a:cubicBezTo>
                  <a:close/>
                  <a:moveTo>
                    <a:pt x="2482" y="725"/>
                  </a:moveTo>
                  <a:cubicBezTo>
                    <a:pt x="2479" y="725"/>
                    <a:pt x="2476" y="719"/>
                    <a:pt x="2473" y="719"/>
                  </a:cubicBezTo>
                  <a:cubicBezTo>
                    <a:pt x="2479" y="716"/>
                    <a:pt x="2482" y="711"/>
                    <a:pt x="2485" y="705"/>
                  </a:cubicBezTo>
                  <a:cubicBezTo>
                    <a:pt x="2493" y="714"/>
                    <a:pt x="2482" y="719"/>
                    <a:pt x="2482" y="725"/>
                  </a:cubicBezTo>
                  <a:close/>
                  <a:moveTo>
                    <a:pt x="2482" y="621"/>
                  </a:moveTo>
                  <a:cubicBezTo>
                    <a:pt x="2485" y="621"/>
                    <a:pt x="2487" y="621"/>
                    <a:pt x="2490" y="626"/>
                  </a:cubicBezTo>
                  <a:lnTo>
                    <a:pt x="2490" y="629"/>
                  </a:lnTo>
                  <a:cubicBezTo>
                    <a:pt x="2487" y="626"/>
                    <a:pt x="2482" y="623"/>
                    <a:pt x="2482" y="621"/>
                  </a:cubicBezTo>
                  <a:close/>
                  <a:moveTo>
                    <a:pt x="2490" y="2084"/>
                  </a:moveTo>
                  <a:cubicBezTo>
                    <a:pt x="2485" y="2089"/>
                    <a:pt x="2482" y="2075"/>
                    <a:pt x="2490" y="2084"/>
                  </a:cubicBezTo>
                  <a:close/>
                  <a:moveTo>
                    <a:pt x="2485" y="753"/>
                  </a:moveTo>
                  <a:cubicBezTo>
                    <a:pt x="2490" y="745"/>
                    <a:pt x="2493" y="759"/>
                    <a:pt x="2502" y="756"/>
                  </a:cubicBezTo>
                  <a:cubicBezTo>
                    <a:pt x="2496" y="764"/>
                    <a:pt x="2490" y="756"/>
                    <a:pt x="2485" y="753"/>
                  </a:cubicBezTo>
                  <a:close/>
                  <a:moveTo>
                    <a:pt x="2487" y="556"/>
                  </a:moveTo>
                  <a:lnTo>
                    <a:pt x="2493" y="544"/>
                  </a:lnTo>
                  <a:lnTo>
                    <a:pt x="2490" y="544"/>
                  </a:lnTo>
                  <a:cubicBezTo>
                    <a:pt x="2490" y="542"/>
                    <a:pt x="2493" y="542"/>
                    <a:pt x="2493" y="539"/>
                  </a:cubicBezTo>
                  <a:lnTo>
                    <a:pt x="2493" y="544"/>
                  </a:lnTo>
                  <a:lnTo>
                    <a:pt x="2493" y="547"/>
                  </a:lnTo>
                  <a:cubicBezTo>
                    <a:pt x="2493" y="550"/>
                    <a:pt x="2490" y="553"/>
                    <a:pt x="2487" y="556"/>
                  </a:cubicBezTo>
                  <a:close/>
                  <a:moveTo>
                    <a:pt x="2493" y="716"/>
                  </a:moveTo>
                  <a:lnTo>
                    <a:pt x="2493" y="716"/>
                  </a:lnTo>
                  <a:cubicBezTo>
                    <a:pt x="2494" y="716"/>
                    <a:pt x="2494" y="716"/>
                    <a:pt x="2494" y="715"/>
                  </a:cubicBezTo>
                  <a:cubicBezTo>
                    <a:pt x="2493" y="715"/>
                    <a:pt x="2491" y="716"/>
                    <a:pt x="2493" y="716"/>
                  </a:cubicBezTo>
                  <a:close/>
                  <a:moveTo>
                    <a:pt x="2494" y="715"/>
                  </a:moveTo>
                  <a:cubicBezTo>
                    <a:pt x="2494" y="714"/>
                    <a:pt x="2495" y="713"/>
                    <a:pt x="2496" y="711"/>
                  </a:cubicBezTo>
                  <a:cubicBezTo>
                    <a:pt x="2509" y="716"/>
                    <a:pt x="2490" y="728"/>
                    <a:pt x="2493" y="716"/>
                  </a:cubicBezTo>
                  <a:cubicBezTo>
                    <a:pt x="2494" y="715"/>
                    <a:pt x="2494" y="715"/>
                    <a:pt x="2494" y="715"/>
                  </a:cubicBezTo>
                  <a:close/>
                  <a:moveTo>
                    <a:pt x="2504" y="1847"/>
                  </a:moveTo>
                  <a:lnTo>
                    <a:pt x="2504" y="1852"/>
                  </a:lnTo>
                  <a:lnTo>
                    <a:pt x="2499" y="1852"/>
                  </a:lnTo>
                  <a:lnTo>
                    <a:pt x="2499" y="1847"/>
                  </a:lnTo>
                  <a:lnTo>
                    <a:pt x="2504" y="1847"/>
                  </a:lnTo>
                  <a:close/>
                  <a:moveTo>
                    <a:pt x="2504" y="1999"/>
                  </a:moveTo>
                  <a:cubicBezTo>
                    <a:pt x="2504" y="2002"/>
                    <a:pt x="2502" y="2007"/>
                    <a:pt x="2496" y="2007"/>
                  </a:cubicBezTo>
                  <a:cubicBezTo>
                    <a:pt x="2499" y="2005"/>
                    <a:pt x="2502" y="1999"/>
                    <a:pt x="2504" y="1999"/>
                  </a:cubicBezTo>
                  <a:close/>
                  <a:moveTo>
                    <a:pt x="2504" y="691"/>
                  </a:moveTo>
                  <a:cubicBezTo>
                    <a:pt x="2504" y="685"/>
                    <a:pt x="2513" y="694"/>
                    <a:pt x="2504" y="691"/>
                  </a:cubicBezTo>
                  <a:close/>
                  <a:moveTo>
                    <a:pt x="2507" y="604"/>
                  </a:moveTo>
                  <a:cubicBezTo>
                    <a:pt x="2510" y="601"/>
                    <a:pt x="2502" y="606"/>
                    <a:pt x="2507" y="604"/>
                  </a:cubicBezTo>
                  <a:close/>
                  <a:moveTo>
                    <a:pt x="2544" y="795"/>
                  </a:moveTo>
                  <a:cubicBezTo>
                    <a:pt x="2555" y="810"/>
                    <a:pt x="2527" y="812"/>
                    <a:pt x="2524" y="824"/>
                  </a:cubicBezTo>
                  <a:cubicBezTo>
                    <a:pt x="2510" y="832"/>
                    <a:pt x="2533" y="812"/>
                    <a:pt x="2533" y="798"/>
                  </a:cubicBezTo>
                  <a:cubicBezTo>
                    <a:pt x="2535" y="801"/>
                    <a:pt x="2541" y="798"/>
                    <a:pt x="2544" y="795"/>
                  </a:cubicBezTo>
                  <a:close/>
                  <a:moveTo>
                    <a:pt x="2533" y="700"/>
                  </a:moveTo>
                  <a:cubicBezTo>
                    <a:pt x="2538" y="694"/>
                    <a:pt x="2530" y="705"/>
                    <a:pt x="2533" y="700"/>
                  </a:cubicBezTo>
                  <a:close/>
                  <a:moveTo>
                    <a:pt x="2558" y="787"/>
                  </a:moveTo>
                  <a:cubicBezTo>
                    <a:pt x="2558" y="787"/>
                    <a:pt x="2558" y="790"/>
                    <a:pt x="2558" y="787"/>
                  </a:cubicBezTo>
                  <a:lnTo>
                    <a:pt x="2558" y="793"/>
                  </a:lnTo>
                  <a:cubicBezTo>
                    <a:pt x="2555" y="793"/>
                    <a:pt x="2552" y="795"/>
                    <a:pt x="2550" y="795"/>
                  </a:cubicBezTo>
                  <a:cubicBezTo>
                    <a:pt x="2550" y="795"/>
                    <a:pt x="2552" y="793"/>
                    <a:pt x="2552" y="790"/>
                  </a:cubicBezTo>
                  <a:cubicBezTo>
                    <a:pt x="2555" y="790"/>
                    <a:pt x="2558" y="787"/>
                    <a:pt x="2558" y="787"/>
                  </a:cubicBezTo>
                  <a:close/>
                  <a:moveTo>
                    <a:pt x="2567" y="1581"/>
                  </a:moveTo>
                  <a:cubicBezTo>
                    <a:pt x="2567" y="1587"/>
                    <a:pt x="2561" y="1590"/>
                    <a:pt x="2555" y="1590"/>
                  </a:cubicBezTo>
                  <a:cubicBezTo>
                    <a:pt x="2555" y="1587"/>
                    <a:pt x="2564" y="1584"/>
                    <a:pt x="2567" y="1581"/>
                  </a:cubicBezTo>
                  <a:close/>
                  <a:moveTo>
                    <a:pt x="2564" y="805"/>
                  </a:moveTo>
                  <a:cubicBezTo>
                    <a:pt x="2565" y="804"/>
                    <a:pt x="2567" y="803"/>
                    <a:pt x="2564" y="807"/>
                  </a:cubicBezTo>
                  <a:cubicBezTo>
                    <a:pt x="2563" y="807"/>
                    <a:pt x="2563" y="806"/>
                    <a:pt x="2564" y="805"/>
                  </a:cubicBezTo>
                  <a:close/>
                  <a:moveTo>
                    <a:pt x="2578" y="725"/>
                  </a:moveTo>
                  <a:cubicBezTo>
                    <a:pt x="2581" y="725"/>
                    <a:pt x="2575" y="728"/>
                    <a:pt x="2578" y="725"/>
                  </a:cubicBezTo>
                  <a:close/>
                  <a:moveTo>
                    <a:pt x="2578" y="773"/>
                  </a:moveTo>
                  <a:cubicBezTo>
                    <a:pt x="2578" y="772"/>
                    <a:pt x="2578" y="771"/>
                    <a:pt x="2579" y="771"/>
                  </a:cubicBezTo>
                  <a:cubicBezTo>
                    <a:pt x="2579" y="768"/>
                    <a:pt x="2579" y="765"/>
                    <a:pt x="2581" y="762"/>
                  </a:cubicBezTo>
                  <a:cubicBezTo>
                    <a:pt x="2592" y="764"/>
                    <a:pt x="2600" y="767"/>
                    <a:pt x="2609" y="767"/>
                  </a:cubicBezTo>
                  <a:cubicBezTo>
                    <a:pt x="2606" y="773"/>
                    <a:pt x="2603" y="776"/>
                    <a:pt x="2598" y="779"/>
                  </a:cubicBezTo>
                  <a:lnTo>
                    <a:pt x="2600" y="779"/>
                  </a:lnTo>
                  <a:cubicBezTo>
                    <a:pt x="2599" y="779"/>
                    <a:pt x="2599" y="781"/>
                    <a:pt x="2598" y="782"/>
                  </a:cubicBezTo>
                  <a:cubicBezTo>
                    <a:pt x="2600" y="783"/>
                    <a:pt x="2604" y="784"/>
                    <a:pt x="2606" y="784"/>
                  </a:cubicBezTo>
                  <a:cubicBezTo>
                    <a:pt x="2603" y="795"/>
                    <a:pt x="2598" y="801"/>
                    <a:pt x="2589" y="798"/>
                  </a:cubicBezTo>
                  <a:cubicBezTo>
                    <a:pt x="2589" y="794"/>
                    <a:pt x="2590" y="790"/>
                    <a:pt x="2592" y="786"/>
                  </a:cubicBezTo>
                  <a:cubicBezTo>
                    <a:pt x="2591" y="787"/>
                    <a:pt x="2590" y="787"/>
                    <a:pt x="2589" y="787"/>
                  </a:cubicBezTo>
                  <a:cubicBezTo>
                    <a:pt x="2589" y="784"/>
                    <a:pt x="2592" y="781"/>
                    <a:pt x="2592" y="781"/>
                  </a:cubicBezTo>
                  <a:cubicBezTo>
                    <a:pt x="2586" y="781"/>
                    <a:pt x="2581" y="779"/>
                    <a:pt x="2579" y="773"/>
                  </a:cubicBezTo>
                  <a:lnTo>
                    <a:pt x="2578" y="773"/>
                  </a:lnTo>
                  <a:close/>
                  <a:moveTo>
                    <a:pt x="2589" y="784"/>
                  </a:moveTo>
                  <a:cubicBezTo>
                    <a:pt x="2586" y="798"/>
                    <a:pt x="2572" y="795"/>
                    <a:pt x="2564" y="795"/>
                  </a:cubicBezTo>
                  <a:cubicBezTo>
                    <a:pt x="2572" y="790"/>
                    <a:pt x="2578" y="781"/>
                    <a:pt x="2589" y="784"/>
                  </a:cubicBezTo>
                  <a:close/>
                  <a:moveTo>
                    <a:pt x="2603" y="716"/>
                  </a:moveTo>
                  <a:cubicBezTo>
                    <a:pt x="2609" y="719"/>
                    <a:pt x="2600" y="722"/>
                    <a:pt x="2600" y="728"/>
                  </a:cubicBezTo>
                  <a:cubicBezTo>
                    <a:pt x="2592" y="722"/>
                    <a:pt x="2603" y="719"/>
                    <a:pt x="2603" y="716"/>
                  </a:cubicBezTo>
                  <a:close/>
                  <a:moveTo>
                    <a:pt x="2634" y="1207"/>
                  </a:moveTo>
                  <a:cubicBezTo>
                    <a:pt x="2637" y="1207"/>
                    <a:pt x="2643" y="1210"/>
                    <a:pt x="2646" y="1210"/>
                  </a:cubicBezTo>
                  <a:cubicBezTo>
                    <a:pt x="2646" y="1221"/>
                    <a:pt x="2640" y="1224"/>
                    <a:pt x="2631" y="1221"/>
                  </a:cubicBezTo>
                  <a:cubicBezTo>
                    <a:pt x="2634" y="1219"/>
                    <a:pt x="2634" y="1213"/>
                    <a:pt x="2634" y="1207"/>
                  </a:cubicBezTo>
                  <a:close/>
                  <a:moveTo>
                    <a:pt x="2631" y="1204"/>
                  </a:moveTo>
                  <a:cubicBezTo>
                    <a:pt x="2631" y="1204"/>
                    <a:pt x="2634" y="1202"/>
                    <a:pt x="2637" y="1202"/>
                  </a:cubicBezTo>
                  <a:lnTo>
                    <a:pt x="2637" y="1204"/>
                  </a:lnTo>
                  <a:cubicBezTo>
                    <a:pt x="2634" y="1207"/>
                    <a:pt x="2631" y="1204"/>
                    <a:pt x="2631" y="1204"/>
                  </a:cubicBezTo>
                  <a:close/>
                  <a:moveTo>
                    <a:pt x="2646" y="1314"/>
                  </a:moveTo>
                  <a:cubicBezTo>
                    <a:pt x="2657" y="1303"/>
                    <a:pt x="2668" y="1340"/>
                    <a:pt x="2643" y="1329"/>
                  </a:cubicBezTo>
                  <a:cubicBezTo>
                    <a:pt x="2646" y="1326"/>
                    <a:pt x="2651" y="1317"/>
                    <a:pt x="2646" y="1314"/>
                  </a:cubicBezTo>
                  <a:close/>
                  <a:moveTo>
                    <a:pt x="2716" y="1365"/>
                  </a:moveTo>
                  <a:cubicBezTo>
                    <a:pt x="2719" y="1365"/>
                    <a:pt x="2725" y="1365"/>
                    <a:pt x="2727" y="1368"/>
                  </a:cubicBezTo>
                  <a:cubicBezTo>
                    <a:pt x="2727" y="1371"/>
                    <a:pt x="2710" y="1374"/>
                    <a:pt x="2716" y="1365"/>
                  </a:cubicBezTo>
                  <a:close/>
                  <a:moveTo>
                    <a:pt x="2730" y="1382"/>
                  </a:moveTo>
                  <a:cubicBezTo>
                    <a:pt x="2727" y="1385"/>
                    <a:pt x="2725" y="1388"/>
                    <a:pt x="2722" y="1388"/>
                  </a:cubicBezTo>
                  <a:cubicBezTo>
                    <a:pt x="2719" y="1382"/>
                    <a:pt x="2727" y="1385"/>
                    <a:pt x="2730" y="1382"/>
                  </a:cubicBezTo>
                  <a:close/>
                  <a:moveTo>
                    <a:pt x="2710" y="1455"/>
                  </a:moveTo>
                  <a:cubicBezTo>
                    <a:pt x="2696" y="1441"/>
                    <a:pt x="2736" y="1447"/>
                    <a:pt x="2710" y="1455"/>
                  </a:cubicBezTo>
                  <a:close/>
                  <a:moveTo>
                    <a:pt x="2750" y="1517"/>
                  </a:moveTo>
                  <a:cubicBezTo>
                    <a:pt x="2747" y="1519"/>
                    <a:pt x="2756" y="1514"/>
                    <a:pt x="2750" y="1517"/>
                  </a:cubicBezTo>
                  <a:close/>
                  <a:moveTo>
                    <a:pt x="2756" y="1528"/>
                  </a:moveTo>
                  <a:cubicBezTo>
                    <a:pt x="2741" y="1531"/>
                    <a:pt x="2758" y="1514"/>
                    <a:pt x="2756" y="1528"/>
                  </a:cubicBezTo>
                  <a:close/>
                  <a:moveTo>
                    <a:pt x="2753" y="1691"/>
                  </a:moveTo>
                  <a:cubicBezTo>
                    <a:pt x="2753" y="1689"/>
                    <a:pt x="2753" y="1683"/>
                    <a:pt x="2758" y="1672"/>
                  </a:cubicBezTo>
                  <a:cubicBezTo>
                    <a:pt x="2767" y="1686"/>
                    <a:pt x="2758" y="1700"/>
                    <a:pt x="2756" y="1694"/>
                  </a:cubicBezTo>
                  <a:cubicBezTo>
                    <a:pt x="2753" y="1697"/>
                    <a:pt x="2741" y="1694"/>
                    <a:pt x="2744" y="1689"/>
                  </a:cubicBezTo>
                  <a:cubicBezTo>
                    <a:pt x="2747" y="1691"/>
                    <a:pt x="2750" y="1691"/>
                    <a:pt x="2753" y="1691"/>
                  </a:cubicBezTo>
                  <a:close/>
                  <a:moveTo>
                    <a:pt x="2758" y="1441"/>
                  </a:moveTo>
                  <a:cubicBezTo>
                    <a:pt x="2764" y="1447"/>
                    <a:pt x="2767" y="1453"/>
                    <a:pt x="2764" y="1460"/>
                  </a:cubicBezTo>
                  <a:cubicBezTo>
                    <a:pt x="2753" y="1460"/>
                    <a:pt x="2756" y="1450"/>
                    <a:pt x="2758" y="1441"/>
                  </a:cubicBezTo>
                  <a:close/>
                  <a:moveTo>
                    <a:pt x="2761" y="1601"/>
                  </a:moveTo>
                  <a:cubicBezTo>
                    <a:pt x="2772" y="1610"/>
                    <a:pt x="2747" y="1624"/>
                    <a:pt x="2761" y="1601"/>
                  </a:cubicBezTo>
                  <a:close/>
                  <a:moveTo>
                    <a:pt x="2744" y="1683"/>
                  </a:moveTo>
                  <a:cubicBezTo>
                    <a:pt x="2741" y="1683"/>
                    <a:pt x="2741" y="1677"/>
                    <a:pt x="2741" y="1675"/>
                  </a:cubicBezTo>
                  <a:cubicBezTo>
                    <a:pt x="2750" y="1675"/>
                    <a:pt x="2750" y="1680"/>
                    <a:pt x="2744" y="1683"/>
                  </a:cubicBezTo>
                  <a:close/>
                  <a:moveTo>
                    <a:pt x="2741" y="1601"/>
                  </a:moveTo>
                  <a:cubicBezTo>
                    <a:pt x="2741" y="1598"/>
                    <a:pt x="2744" y="1593"/>
                    <a:pt x="2750" y="1593"/>
                  </a:cubicBezTo>
                  <a:lnTo>
                    <a:pt x="2750" y="1598"/>
                  </a:lnTo>
                  <a:cubicBezTo>
                    <a:pt x="2747" y="1601"/>
                    <a:pt x="2744" y="1601"/>
                    <a:pt x="2741" y="1601"/>
                  </a:cubicBezTo>
                  <a:close/>
                  <a:moveTo>
                    <a:pt x="2741" y="1517"/>
                  </a:moveTo>
                  <a:cubicBezTo>
                    <a:pt x="2750" y="1508"/>
                    <a:pt x="2750" y="1522"/>
                    <a:pt x="2741" y="1517"/>
                  </a:cubicBezTo>
                  <a:close/>
                  <a:moveTo>
                    <a:pt x="2741" y="1463"/>
                  </a:moveTo>
                  <a:cubicBezTo>
                    <a:pt x="2741" y="1457"/>
                    <a:pt x="2747" y="1457"/>
                    <a:pt x="2747" y="1456"/>
                  </a:cubicBezTo>
                  <a:cubicBezTo>
                    <a:pt x="2750" y="1457"/>
                    <a:pt x="2744" y="1466"/>
                    <a:pt x="2741" y="1463"/>
                  </a:cubicBezTo>
                  <a:close/>
                  <a:moveTo>
                    <a:pt x="2750" y="1528"/>
                  </a:moveTo>
                  <a:cubicBezTo>
                    <a:pt x="2747" y="1531"/>
                    <a:pt x="2744" y="1536"/>
                    <a:pt x="2741" y="1536"/>
                  </a:cubicBezTo>
                  <a:cubicBezTo>
                    <a:pt x="2739" y="1531"/>
                    <a:pt x="2744" y="1528"/>
                    <a:pt x="2750" y="1528"/>
                  </a:cubicBezTo>
                  <a:close/>
                  <a:moveTo>
                    <a:pt x="2739" y="1878"/>
                  </a:moveTo>
                  <a:cubicBezTo>
                    <a:pt x="2739" y="1878"/>
                    <a:pt x="2736" y="1872"/>
                    <a:pt x="2739" y="1869"/>
                  </a:cubicBezTo>
                  <a:cubicBezTo>
                    <a:pt x="2741" y="1869"/>
                    <a:pt x="2744" y="1880"/>
                    <a:pt x="2739" y="1878"/>
                  </a:cubicBezTo>
                  <a:close/>
                  <a:moveTo>
                    <a:pt x="2739" y="1553"/>
                  </a:moveTo>
                  <a:lnTo>
                    <a:pt x="2733" y="1553"/>
                  </a:lnTo>
                  <a:lnTo>
                    <a:pt x="2733" y="1548"/>
                  </a:lnTo>
                  <a:lnTo>
                    <a:pt x="2739" y="1548"/>
                  </a:lnTo>
                  <a:lnTo>
                    <a:pt x="2739" y="1553"/>
                  </a:lnTo>
                  <a:close/>
                  <a:moveTo>
                    <a:pt x="2736" y="1612"/>
                  </a:moveTo>
                  <a:lnTo>
                    <a:pt x="2736" y="1618"/>
                  </a:lnTo>
                  <a:lnTo>
                    <a:pt x="2730" y="1618"/>
                  </a:lnTo>
                  <a:lnTo>
                    <a:pt x="2730" y="1612"/>
                  </a:lnTo>
                  <a:lnTo>
                    <a:pt x="2736" y="1612"/>
                  </a:lnTo>
                  <a:close/>
                  <a:moveTo>
                    <a:pt x="2733" y="1691"/>
                  </a:moveTo>
                  <a:cubicBezTo>
                    <a:pt x="2733" y="1697"/>
                    <a:pt x="2725" y="1697"/>
                    <a:pt x="2722" y="1700"/>
                  </a:cubicBezTo>
                  <a:cubicBezTo>
                    <a:pt x="2722" y="1694"/>
                    <a:pt x="2727" y="1691"/>
                    <a:pt x="2733" y="1691"/>
                  </a:cubicBezTo>
                  <a:close/>
                  <a:moveTo>
                    <a:pt x="2713" y="1804"/>
                  </a:moveTo>
                  <a:cubicBezTo>
                    <a:pt x="2722" y="1804"/>
                    <a:pt x="2730" y="1810"/>
                    <a:pt x="2730" y="1818"/>
                  </a:cubicBezTo>
                  <a:lnTo>
                    <a:pt x="2730" y="1821"/>
                  </a:lnTo>
                  <a:cubicBezTo>
                    <a:pt x="2722" y="1821"/>
                    <a:pt x="2705" y="1813"/>
                    <a:pt x="2713" y="1804"/>
                  </a:cubicBezTo>
                  <a:close/>
                  <a:moveTo>
                    <a:pt x="2727" y="1861"/>
                  </a:moveTo>
                  <a:cubicBezTo>
                    <a:pt x="2725" y="1861"/>
                    <a:pt x="2722" y="1858"/>
                    <a:pt x="2719" y="1855"/>
                  </a:cubicBezTo>
                  <a:cubicBezTo>
                    <a:pt x="2719" y="1852"/>
                    <a:pt x="2722" y="1852"/>
                    <a:pt x="2722" y="1849"/>
                  </a:cubicBezTo>
                  <a:cubicBezTo>
                    <a:pt x="2727" y="1852"/>
                    <a:pt x="2730" y="1855"/>
                    <a:pt x="2727" y="1861"/>
                  </a:cubicBezTo>
                  <a:close/>
                  <a:moveTo>
                    <a:pt x="2699" y="1945"/>
                  </a:moveTo>
                  <a:cubicBezTo>
                    <a:pt x="2699" y="1943"/>
                    <a:pt x="2702" y="1940"/>
                    <a:pt x="2702" y="1934"/>
                  </a:cubicBezTo>
                  <a:lnTo>
                    <a:pt x="2710" y="1934"/>
                  </a:lnTo>
                  <a:cubicBezTo>
                    <a:pt x="2710" y="1940"/>
                    <a:pt x="2705" y="1945"/>
                    <a:pt x="2699" y="1945"/>
                  </a:cubicBezTo>
                  <a:close/>
                  <a:moveTo>
                    <a:pt x="2699" y="1982"/>
                  </a:moveTo>
                  <a:cubicBezTo>
                    <a:pt x="2699" y="1976"/>
                    <a:pt x="2708" y="1988"/>
                    <a:pt x="2699" y="1982"/>
                  </a:cubicBezTo>
                  <a:close/>
                  <a:moveTo>
                    <a:pt x="2710" y="1739"/>
                  </a:moveTo>
                  <a:cubicBezTo>
                    <a:pt x="2705" y="1739"/>
                    <a:pt x="2705" y="1734"/>
                    <a:pt x="2699" y="1734"/>
                  </a:cubicBezTo>
                  <a:cubicBezTo>
                    <a:pt x="2699" y="1731"/>
                    <a:pt x="2705" y="1731"/>
                    <a:pt x="2710" y="1731"/>
                  </a:cubicBezTo>
                  <a:cubicBezTo>
                    <a:pt x="2713" y="1734"/>
                    <a:pt x="2713" y="1737"/>
                    <a:pt x="2710" y="1739"/>
                  </a:cubicBezTo>
                  <a:close/>
                  <a:moveTo>
                    <a:pt x="2688" y="1312"/>
                  </a:moveTo>
                  <a:cubicBezTo>
                    <a:pt x="2691" y="1298"/>
                    <a:pt x="2702" y="1298"/>
                    <a:pt x="2708" y="1306"/>
                  </a:cubicBezTo>
                  <a:cubicBezTo>
                    <a:pt x="2702" y="1312"/>
                    <a:pt x="2693" y="1314"/>
                    <a:pt x="2688" y="1312"/>
                  </a:cubicBezTo>
                  <a:close/>
                  <a:moveTo>
                    <a:pt x="2699" y="1343"/>
                  </a:moveTo>
                  <a:cubicBezTo>
                    <a:pt x="2702" y="1343"/>
                    <a:pt x="2696" y="1345"/>
                    <a:pt x="2699" y="1343"/>
                  </a:cubicBezTo>
                  <a:close/>
                  <a:moveTo>
                    <a:pt x="2685" y="1235"/>
                  </a:moveTo>
                  <a:cubicBezTo>
                    <a:pt x="2688" y="1238"/>
                    <a:pt x="2691" y="1244"/>
                    <a:pt x="2696" y="1244"/>
                  </a:cubicBezTo>
                  <a:cubicBezTo>
                    <a:pt x="2696" y="1247"/>
                    <a:pt x="2693" y="1252"/>
                    <a:pt x="2691" y="1255"/>
                  </a:cubicBezTo>
                  <a:cubicBezTo>
                    <a:pt x="2687" y="1254"/>
                    <a:pt x="2684" y="1253"/>
                    <a:pt x="2681" y="1252"/>
                  </a:cubicBezTo>
                  <a:cubicBezTo>
                    <a:pt x="2683" y="1257"/>
                    <a:pt x="2668" y="1266"/>
                    <a:pt x="2676" y="1251"/>
                  </a:cubicBezTo>
                  <a:cubicBezTo>
                    <a:pt x="2675" y="1250"/>
                    <a:pt x="2674" y="1250"/>
                    <a:pt x="2674" y="1250"/>
                  </a:cubicBezTo>
                  <a:cubicBezTo>
                    <a:pt x="2679" y="1247"/>
                    <a:pt x="2685" y="1241"/>
                    <a:pt x="2685" y="1235"/>
                  </a:cubicBezTo>
                  <a:close/>
                  <a:moveTo>
                    <a:pt x="2674" y="1244"/>
                  </a:moveTo>
                  <a:cubicBezTo>
                    <a:pt x="2677" y="1238"/>
                    <a:pt x="2682" y="1252"/>
                    <a:pt x="2674" y="1244"/>
                  </a:cubicBezTo>
                  <a:close/>
                  <a:moveTo>
                    <a:pt x="2691" y="1264"/>
                  </a:moveTo>
                  <a:cubicBezTo>
                    <a:pt x="2691" y="1258"/>
                    <a:pt x="2702" y="1267"/>
                    <a:pt x="2691" y="1264"/>
                  </a:cubicBezTo>
                  <a:close/>
                  <a:moveTo>
                    <a:pt x="2705" y="1244"/>
                  </a:moveTo>
                  <a:cubicBezTo>
                    <a:pt x="2699" y="1247"/>
                    <a:pt x="2708" y="1241"/>
                    <a:pt x="2705" y="1244"/>
                  </a:cubicBezTo>
                  <a:close/>
                  <a:moveTo>
                    <a:pt x="2705" y="1385"/>
                  </a:moveTo>
                  <a:cubicBezTo>
                    <a:pt x="2705" y="1379"/>
                    <a:pt x="2716" y="1388"/>
                    <a:pt x="2705" y="1385"/>
                  </a:cubicBezTo>
                  <a:close/>
                  <a:moveTo>
                    <a:pt x="2710" y="1227"/>
                  </a:moveTo>
                  <a:lnTo>
                    <a:pt x="2709" y="1226"/>
                  </a:lnTo>
                  <a:cubicBezTo>
                    <a:pt x="2710" y="1226"/>
                    <a:pt x="2712" y="1226"/>
                    <a:pt x="2710" y="1227"/>
                  </a:cubicBezTo>
                  <a:cubicBezTo>
                    <a:pt x="2708" y="1227"/>
                    <a:pt x="2708" y="1226"/>
                    <a:pt x="2709" y="1226"/>
                  </a:cubicBezTo>
                  <a:lnTo>
                    <a:pt x="2710" y="1227"/>
                  </a:lnTo>
                  <a:close/>
                  <a:moveTo>
                    <a:pt x="2710" y="1396"/>
                  </a:moveTo>
                  <a:cubicBezTo>
                    <a:pt x="2716" y="1399"/>
                    <a:pt x="2710" y="1408"/>
                    <a:pt x="2710" y="1410"/>
                  </a:cubicBezTo>
                  <a:cubicBezTo>
                    <a:pt x="2702" y="1408"/>
                    <a:pt x="2713" y="1402"/>
                    <a:pt x="2710" y="1396"/>
                  </a:cubicBezTo>
                  <a:close/>
                  <a:moveTo>
                    <a:pt x="2705" y="1669"/>
                  </a:moveTo>
                  <a:cubicBezTo>
                    <a:pt x="2710" y="1660"/>
                    <a:pt x="2713" y="1675"/>
                    <a:pt x="2705" y="1669"/>
                  </a:cubicBezTo>
                  <a:close/>
                  <a:moveTo>
                    <a:pt x="2710" y="1632"/>
                  </a:moveTo>
                  <a:cubicBezTo>
                    <a:pt x="2713" y="1627"/>
                    <a:pt x="2722" y="1624"/>
                    <a:pt x="2722" y="1629"/>
                  </a:cubicBezTo>
                  <a:cubicBezTo>
                    <a:pt x="2725" y="1632"/>
                    <a:pt x="2713" y="1629"/>
                    <a:pt x="2710" y="1632"/>
                  </a:cubicBezTo>
                  <a:close/>
                  <a:moveTo>
                    <a:pt x="2713" y="1354"/>
                  </a:moveTo>
                  <a:cubicBezTo>
                    <a:pt x="2699" y="1348"/>
                    <a:pt x="2727" y="1334"/>
                    <a:pt x="2713" y="1354"/>
                  </a:cubicBezTo>
                  <a:close/>
                  <a:moveTo>
                    <a:pt x="2713" y="812"/>
                  </a:moveTo>
                  <a:cubicBezTo>
                    <a:pt x="2705" y="812"/>
                    <a:pt x="2699" y="804"/>
                    <a:pt x="2702" y="795"/>
                  </a:cubicBezTo>
                  <a:cubicBezTo>
                    <a:pt x="2702" y="793"/>
                    <a:pt x="2702" y="793"/>
                    <a:pt x="2705" y="790"/>
                  </a:cubicBezTo>
                  <a:cubicBezTo>
                    <a:pt x="2713" y="790"/>
                    <a:pt x="2719" y="798"/>
                    <a:pt x="2716" y="807"/>
                  </a:cubicBezTo>
                  <a:cubicBezTo>
                    <a:pt x="2713" y="810"/>
                    <a:pt x="2713" y="812"/>
                    <a:pt x="2713" y="812"/>
                  </a:cubicBezTo>
                  <a:close/>
                  <a:moveTo>
                    <a:pt x="2702" y="1182"/>
                  </a:moveTo>
                  <a:lnTo>
                    <a:pt x="2699" y="1182"/>
                  </a:lnTo>
                  <a:lnTo>
                    <a:pt x="2699" y="1179"/>
                  </a:lnTo>
                  <a:cubicBezTo>
                    <a:pt x="2702" y="1179"/>
                    <a:pt x="2702" y="1182"/>
                    <a:pt x="2702" y="1182"/>
                  </a:cubicBezTo>
                  <a:close/>
                  <a:moveTo>
                    <a:pt x="2699" y="1207"/>
                  </a:moveTo>
                  <a:cubicBezTo>
                    <a:pt x="2691" y="1204"/>
                    <a:pt x="2679" y="1199"/>
                    <a:pt x="2677" y="1207"/>
                  </a:cubicBezTo>
                  <a:cubicBezTo>
                    <a:pt x="2662" y="1190"/>
                    <a:pt x="2710" y="1179"/>
                    <a:pt x="2699" y="1207"/>
                  </a:cubicBezTo>
                  <a:close/>
                  <a:moveTo>
                    <a:pt x="2682" y="1385"/>
                  </a:moveTo>
                  <a:lnTo>
                    <a:pt x="2677" y="1385"/>
                  </a:lnTo>
                  <a:cubicBezTo>
                    <a:pt x="2677" y="1382"/>
                    <a:pt x="2677" y="1382"/>
                    <a:pt x="2674" y="1382"/>
                  </a:cubicBezTo>
                  <a:cubicBezTo>
                    <a:pt x="2674" y="1379"/>
                    <a:pt x="2685" y="1382"/>
                    <a:pt x="2682" y="1385"/>
                  </a:cubicBezTo>
                  <a:close/>
                  <a:moveTo>
                    <a:pt x="2657" y="1317"/>
                  </a:moveTo>
                  <a:cubicBezTo>
                    <a:pt x="2651" y="1295"/>
                    <a:pt x="2671" y="1334"/>
                    <a:pt x="2657" y="1317"/>
                  </a:cubicBezTo>
                  <a:close/>
                  <a:moveTo>
                    <a:pt x="2657" y="1275"/>
                  </a:moveTo>
                  <a:cubicBezTo>
                    <a:pt x="2657" y="1269"/>
                    <a:pt x="2665" y="1281"/>
                    <a:pt x="2657" y="1275"/>
                  </a:cubicBezTo>
                  <a:close/>
                  <a:moveTo>
                    <a:pt x="2668" y="1396"/>
                  </a:moveTo>
                  <a:lnTo>
                    <a:pt x="2662" y="1396"/>
                  </a:lnTo>
                  <a:lnTo>
                    <a:pt x="2662" y="1391"/>
                  </a:lnTo>
                  <a:lnTo>
                    <a:pt x="2668" y="1391"/>
                  </a:lnTo>
                  <a:lnTo>
                    <a:pt x="2668" y="1396"/>
                  </a:lnTo>
                  <a:close/>
                  <a:moveTo>
                    <a:pt x="2660" y="1494"/>
                  </a:moveTo>
                  <a:cubicBezTo>
                    <a:pt x="2679" y="1486"/>
                    <a:pt x="2643" y="1505"/>
                    <a:pt x="2660" y="1494"/>
                  </a:cubicBezTo>
                  <a:close/>
                  <a:moveTo>
                    <a:pt x="2677" y="1500"/>
                  </a:moveTo>
                  <a:cubicBezTo>
                    <a:pt x="2674" y="1502"/>
                    <a:pt x="2671" y="1508"/>
                    <a:pt x="2665" y="1508"/>
                  </a:cubicBezTo>
                  <a:cubicBezTo>
                    <a:pt x="2665" y="1505"/>
                    <a:pt x="2671" y="1500"/>
                    <a:pt x="2677" y="1500"/>
                  </a:cubicBezTo>
                  <a:close/>
                  <a:moveTo>
                    <a:pt x="2665" y="1154"/>
                  </a:moveTo>
                  <a:cubicBezTo>
                    <a:pt x="2665" y="1151"/>
                    <a:pt x="2668" y="1148"/>
                    <a:pt x="2671" y="1148"/>
                  </a:cubicBezTo>
                  <a:lnTo>
                    <a:pt x="2674" y="1148"/>
                  </a:lnTo>
                  <a:cubicBezTo>
                    <a:pt x="2674" y="1151"/>
                    <a:pt x="2668" y="1154"/>
                    <a:pt x="2665" y="1154"/>
                  </a:cubicBezTo>
                  <a:close/>
                  <a:moveTo>
                    <a:pt x="2662" y="1261"/>
                  </a:moveTo>
                  <a:cubicBezTo>
                    <a:pt x="2671" y="1258"/>
                    <a:pt x="2660" y="1269"/>
                    <a:pt x="2662" y="1261"/>
                  </a:cubicBezTo>
                  <a:close/>
                  <a:moveTo>
                    <a:pt x="2665" y="1171"/>
                  </a:moveTo>
                  <a:cubicBezTo>
                    <a:pt x="2671" y="1188"/>
                    <a:pt x="2651" y="1154"/>
                    <a:pt x="2665" y="1171"/>
                  </a:cubicBezTo>
                  <a:close/>
                  <a:moveTo>
                    <a:pt x="2660" y="1185"/>
                  </a:moveTo>
                  <a:cubicBezTo>
                    <a:pt x="2654" y="1188"/>
                    <a:pt x="2662" y="1182"/>
                    <a:pt x="2660" y="1185"/>
                  </a:cubicBezTo>
                  <a:close/>
                  <a:moveTo>
                    <a:pt x="2657" y="1199"/>
                  </a:moveTo>
                  <a:cubicBezTo>
                    <a:pt x="2640" y="1193"/>
                    <a:pt x="2668" y="1179"/>
                    <a:pt x="2657" y="1199"/>
                  </a:cubicBezTo>
                  <a:close/>
                  <a:moveTo>
                    <a:pt x="2598" y="1323"/>
                  </a:moveTo>
                  <a:cubicBezTo>
                    <a:pt x="2609" y="1323"/>
                    <a:pt x="2606" y="1334"/>
                    <a:pt x="2620" y="1334"/>
                  </a:cubicBezTo>
                  <a:cubicBezTo>
                    <a:pt x="2620" y="1345"/>
                    <a:pt x="2586" y="1337"/>
                    <a:pt x="2598" y="1323"/>
                  </a:cubicBezTo>
                  <a:close/>
                  <a:moveTo>
                    <a:pt x="2600" y="1348"/>
                  </a:moveTo>
                  <a:cubicBezTo>
                    <a:pt x="2595" y="1345"/>
                    <a:pt x="2603" y="1340"/>
                    <a:pt x="2600" y="1337"/>
                  </a:cubicBezTo>
                  <a:cubicBezTo>
                    <a:pt x="2606" y="1337"/>
                    <a:pt x="2598" y="1345"/>
                    <a:pt x="2600" y="1348"/>
                  </a:cubicBezTo>
                  <a:close/>
                  <a:moveTo>
                    <a:pt x="2595" y="1182"/>
                  </a:moveTo>
                  <a:cubicBezTo>
                    <a:pt x="2595" y="1185"/>
                    <a:pt x="2589" y="1188"/>
                    <a:pt x="2586" y="1185"/>
                  </a:cubicBezTo>
                  <a:cubicBezTo>
                    <a:pt x="2586" y="1182"/>
                    <a:pt x="2586" y="1179"/>
                    <a:pt x="2589" y="1176"/>
                  </a:cubicBezTo>
                  <a:cubicBezTo>
                    <a:pt x="2583" y="1165"/>
                    <a:pt x="2609" y="1171"/>
                    <a:pt x="2595" y="1182"/>
                  </a:cubicBezTo>
                  <a:close/>
                  <a:moveTo>
                    <a:pt x="2598" y="1190"/>
                  </a:moveTo>
                  <a:cubicBezTo>
                    <a:pt x="2598" y="1185"/>
                    <a:pt x="2606" y="1193"/>
                    <a:pt x="2598" y="1190"/>
                  </a:cubicBezTo>
                  <a:close/>
                  <a:moveTo>
                    <a:pt x="2598" y="1289"/>
                  </a:moveTo>
                  <a:cubicBezTo>
                    <a:pt x="2598" y="1283"/>
                    <a:pt x="2606" y="1292"/>
                    <a:pt x="2598" y="1289"/>
                  </a:cubicBezTo>
                  <a:close/>
                  <a:moveTo>
                    <a:pt x="2617" y="1162"/>
                  </a:moveTo>
                  <a:cubicBezTo>
                    <a:pt x="2614" y="1162"/>
                    <a:pt x="2603" y="1156"/>
                    <a:pt x="2614" y="1151"/>
                  </a:cubicBezTo>
                  <a:cubicBezTo>
                    <a:pt x="2617" y="1148"/>
                    <a:pt x="2620" y="1145"/>
                    <a:pt x="2623" y="1145"/>
                  </a:cubicBezTo>
                  <a:cubicBezTo>
                    <a:pt x="2637" y="1145"/>
                    <a:pt x="2629" y="1171"/>
                    <a:pt x="2617" y="1162"/>
                  </a:cubicBezTo>
                  <a:close/>
                  <a:moveTo>
                    <a:pt x="2629" y="801"/>
                  </a:moveTo>
                  <a:lnTo>
                    <a:pt x="2628" y="800"/>
                  </a:lnTo>
                  <a:cubicBezTo>
                    <a:pt x="2628" y="799"/>
                    <a:pt x="2631" y="797"/>
                    <a:pt x="2629" y="801"/>
                  </a:cubicBezTo>
                  <a:cubicBezTo>
                    <a:pt x="2628" y="801"/>
                    <a:pt x="2628" y="801"/>
                    <a:pt x="2628" y="800"/>
                  </a:cubicBezTo>
                  <a:lnTo>
                    <a:pt x="2629" y="801"/>
                  </a:lnTo>
                  <a:close/>
                  <a:moveTo>
                    <a:pt x="2623" y="1320"/>
                  </a:moveTo>
                  <a:cubicBezTo>
                    <a:pt x="2623" y="1312"/>
                    <a:pt x="2631" y="1323"/>
                    <a:pt x="2623" y="1320"/>
                  </a:cubicBezTo>
                  <a:close/>
                  <a:moveTo>
                    <a:pt x="2631" y="1340"/>
                  </a:moveTo>
                  <a:lnTo>
                    <a:pt x="2623" y="1340"/>
                  </a:lnTo>
                  <a:lnTo>
                    <a:pt x="2623" y="1334"/>
                  </a:lnTo>
                  <a:cubicBezTo>
                    <a:pt x="2629" y="1334"/>
                    <a:pt x="2631" y="1337"/>
                    <a:pt x="2631" y="1340"/>
                  </a:cubicBezTo>
                  <a:close/>
                  <a:moveTo>
                    <a:pt x="2623" y="1227"/>
                  </a:moveTo>
                  <a:lnTo>
                    <a:pt x="2623" y="1221"/>
                  </a:lnTo>
                  <a:lnTo>
                    <a:pt x="2629" y="1221"/>
                  </a:lnTo>
                  <a:lnTo>
                    <a:pt x="2629" y="1227"/>
                  </a:lnTo>
                  <a:lnTo>
                    <a:pt x="2623" y="1227"/>
                  </a:lnTo>
                  <a:close/>
                  <a:moveTo>
                    <a:pt x="2623" y="1168"/>
                  </a:moveTo>
                  <a:cubicBezTo>
                    <a:pt x="2626" y="1162"/>
                    <a:pt x="2634" y="1171"/>
                    <a:pt x="2623" y="1168"/>
                  </a:cubicBezTo>
                  <a:close/>
                  <a:moveTo>
                    <a:pt x="2631" y="1413"/>
                  </a:moveTo>
                  <a:cubicBezTo>
                    <a:pt x="2631" y="1419"/>
                    <a:pt x="2623" y="1419"/>
                    <a:pt x="2617" y="1422"/>
                  </a:cubicBezTo>
                  <a:cubicBezTo>
                    <a:pt x="2620" y="1419"/>
                    <a:pt x="2626" y="1410"/>
                    <a:pt x="2631" y="1413"/>
                  </a:cubicBezTo>
                  <a:close/>
                  <a:moveTo>
                    <a:pt x="2609" y="1173"/>
                  </a:moveTo>
                  <a:cubicBezTo>
                    <a:pt x="2612" y="1173"/>
                    <a:pt x="2606" y="1176"/>
                    <a:pt x="2609" y="1173"/>
                  </a:cubicBezTo>
                  <a:close/>
                  <a:moveTo>
                    <a:pt x="2606" y="790"/>
                  </a:moveTo>
                  <a:cubicBezTo>
                    <a:pt x="2612" y="787"/>
                    <a:pt x="2603" y="793"/>
                    <a:pt x="2606" y="790"/>
                  </a:cubicBezTo>
                  <a:close/>
                  <a:moveTo>
                    <a:pt x="2606" y="1275"/>
                  </a:moveTo>
                  <a:cubicBezTo>
                    <a:pt x="2609" y="1275"/>
                    <a:pt x="2600" y="1278"/>
                    <a:pt x="2606" y="1275"/>
                  </a:cubicBezTo>
                  <a:close/>
                  <a:moveTo>
                    <a:pt x="2612" y="1419"/>
                  </a:moveTo>
                  <a:cubicBezTo>
                    <a:pt x="2626" y="1424"/>
                    <a:pt x="2600" y="1439"/>
                    <a:pt x="2612" y="1419"/>
                  </a:cubicBezTo>
                  <a:close/>
                  <a:moveTo>
                    <a:pt x="2603" y="1517"/>
                  </a:moveTo>
                  <a:cubicBezTo>
                    <a:pt x="2612" y="1511"/>
                    <a:pt x="2614" y="1525"/>
                    <a:pt x="2603" y="1517"/>
                  </a:cubicBezTo>
                  <a:close/>
                  <a:moveTo>
                    <a:pt x="2612" y="1500"/>
                  </a:moveTo>
                  <a:cubicBezTo>
                    <a:pt x="2609" y="1500"/>
                    <a:pt x="2612" y="1488"/>
                    <a:pt x="2614" y="1491"/>
                  </a:cubicBezTo>
                  <a:cubicBezTo>
                    <a:pt x="2617" y="1495"/>
                    <a:pt x="2612" y="1494"/>
                    <a:pt x="2612" y="1500"/>
                  </a:cubicBezTo>
                  <a:close/>
                  <a:moveTo>
                    <a:pt x="2623" y="1343"/>
                  </a:moveTo>
                  <a:cubicBezTo>
                    <a:pt x="2617" y="1348"/>
                    <a:pt x="2609" y="1340"/>
                    <a:pt x="2623" y="1343"/>
                  </a:cubicBezTo>
                  <a:close/>
                  <a:moveTo>
                    <a:pt x="2629" y="1508"/>
                  </a:moveTo>
                  <a:cubicBezTo>
                    <a:pt x="2629" y="1514"/>
                    <a:pt x="2623" y="1514"/>
                    <a:pt x="2617" y="1514"/>
                  </a:cubicBezTo>
                  <a:cubicBezTo>
                    <a:pt x="2620" y="1511"/>
                    <a:pt x="2626" y="1508"/>
                    <a:pt x="2629" y="1508"/>
                  </a:cubicBezTo>
                  <a:close/>
                  <a:moveTo>
                    <a:pt x="2623" y="1618"/>
                  </a:moveTo>
                  <a:cubicBezTo>
                    <a:pt x="2626" y="1618"/>
                    <a:pt x="2623" y="1624"/>
                    <a:pt x="2623" y="1627"/>
                  </a:cubicBezTo>
                  <a:cubicBezTo>
                    <a:pt x="2620" y="1627"/>
                    <a:pt x="2620" y="1621"/>
                    <a:pt x="2623" y="1618"/>
                  </a:cubicBezTo>
                  <a:close/>
                  <a:moveTo>
                    <a:pt x="2629" y="2123"/>
                  </a:moveTo>
                  <a:cubicBezTo>
                    <a:pt x="2629" y="2126"/>
                    <a:pt x="2623" y="2129"/>
                    <a:pt x="2620" y="2129"/>
                  </a:cubicBezTo>
                  <a:cubicBezTo>
                    <a:pt x="2623" y="2126"/>
                    <a:pt x="2626" y="2123"/>
                    <a:pt x="2629" y="2123"/>
                  </a:cubicBezTo>
                  <a:close/>
                  <a:moveTo>
                    <a:pt x="2626" y="1962"/>
                  </a:moveTo>
                  <a:cubicBezTo>
                    <a:pt x="2623" y="1959"/>
                    <a:pt x="2620" y="1957"/>
                    <a:pt x="2623" y="1954"/>
                  </a:cubicBezTo>
                  <a:cubicBezTo>
                    <a:pt x="2626" y="1954"/>
                    <a:pt x="2626" y="1954"/>
                    <a:pt x="2629" y="1957"/>
                  </a:cubicBezTo>
                  <a:cubicBezTo>
                    <a:pt x="2629" y="1957"/>
                    <a:pt x="2629" y="1959"/>
                    <a:pt x="2626" y="1962"/>
                  </a:cubicBezTo>
                  <a:close/>
                  <a:moveTo>
                    <a:pt x="2626" y="1439"/>
                  </a:moveTo>
                  <a:cubicBezTo>
                    <a:pt x="2626" y="1436"/>
                    <a:pt x="2629" y="1430"/>
                    <a:pt x="2629" y="1427"/>
                  </a:cubicBezTo>
                  <a:cubicBezTo>
                    <a:pt x="2631" y="1427"/>
                    <a:pt x="2637" y="1430"/>
                    <a:pt x="2640" y="1430"/>
                  </a:cubicBezTo>
                  <a:cubicBezTo>
                    <a:pt x="2640" y="1433"/>
                    <a:pt x="2640" y="1439"/>
                    <a:pt x="2637" y="1441"/>
                  </a:cubicBezTo>
                  <a:cubicBezTo>
                    <a:pt x="2634" y="1441"/>
                    <a:pt x="2629" y="1439"/>
                    <a:pt x="2626" y="1439"/>
                  </a:cubicBezTo>
                  <a:close/>
                  <a:moveTo>
                    <a:pt x="2640" y="1377"/>
                  </a:moveTo>
                  <a:cubicBezTo>
                    <a:pt x="2654" y="1382"/>
                    <a:pt x="2629" y="1396"/>
                    <a:pt x="2640" y="1377"/>
                  </a:cubicBezTo>
                  <a:close/>
                  <a:moveTo>
                    <a:pt x="2637" y="1289"/>
                  </a:moveTo>
                  <a:cubicBezTo>
                    <a:pt x="2646" y="1286"/>
                    <a:pt x="2634" y="1298"/>
                    <a:pt x="2637" y="1289"/>
                  </a:cubicBezTo>
                  <a:close/>
                  <a:moveTo>
                    <a:pt x="2637" y="1511"/>
                  </a:moveTo>
                  <a:cubicBezTo>
                    <a:pt x="2637" y="1505"/>
                    <a:pt x="2646" y="1502"/>
                    <a:pt x="2648" y="1505"/>
                  </a:cubicBezTo>
                  <a:cubicBezTo>
                    <a:pt x="2648" y="1508"/>
                    <a:pt x="2643" y="1511"/>
                    <a:pt x="2637" y="1511"/>
                  </a:cubicBezTo>
                  <a:close/>
                  <a:moveTo>
                    <a:pt x="2637" y="1545"/>
                  </a:moveTo>
                  <a:cubicBezTo>
                    <a:pt x="2640" y="1539"/>
                    <a:pt x="2648" y="1548"/>
                    <a:pt x="2637" y="1545"/>
                  </a:cubicBezTo>
                  <a:close/>
                  <a:moveTo>
                    <a:pt x="2643" y="1497"/>
                  </a:moveTo>
                  <a:cubicBezTo>
                    <a:pt x="2637" y="1494"/>
                    <a:pt x="2640" y="1480"/>
                    <a:pt x="2648" y="1483"/>
                  </a:cubicBezTo>
                  <a:cubicBezTo>
                    <a:pt x="2648" y="1488"/>
                    <a:pt x="2643" y="1494"/>
                    <a:pt x="2643" y="1497"/>
                  </a:cubicBezTo>
                  <a:close/>
                  <a:moveTo>
                    <a:pt x="2634" y="1447"/>
                  </a:moveTo>
                  <a:cubicBezTo>
                    <a:pt x="2637" y="1447"/>
                    <a:pt x="2629" y="1450"/>
                    <a:pt x="2634" y="1447"/>
                  </a:cubicBezTo>
                  <a:close/>
                  <a:moveTo>
                    <a:pt x="2629" y="1889"/>
                  </a:moveTo>
                  <a:cubicBezTo>
                    <a:pt x="2634" y="1883"/>
                    <a:pt x="2631" y="1897"/>
                    <a:pt x="2629" y="1889"/>
                  </a:cubicBezTo>
                  <a:close/>
                  <a:moveTo>
                    <a:pt x="2646" y="2067"/>
                  </a:moveTo>
                  <a:cubicBezTo>
                    <a:pt x="2648" y="2075"/>
                    <a:pt x="2634" y="2072"/>
                    <a:pt x="2631" y="2069"/>
                  </a:cubicBezTo>
                  <a:cubicBezTo>
                    <a:pt x="2631" y="2064"/>
                    <a:pt x="2640" y="2067"/>
                    <a:pt x="2646" y="2067"/>
                  </a:cubicBezTo>
                  <a:close/>
                  <a:moveTo>
                    <a:pt x="2634" y="2055"/>
                  </a:moveTo>
                  <a:cubicBezTo>
                    <a:pt x="2634" y="2053"/>
                    <a:pt x="2634" y="2050"/>
                    <a:pt x="2637" y="2050"/>
                  </a:cubicBezTo>
                  <a:cubicBezTo>
                    <a:pt x="2643" y="2047"/>
                    <a:pt x="2654" y="2053"/>
                    <a:pt x="2651" y="2061"/>
                  </a:cubicBezTo>
                  <a:cubicBezTo>
                    <a:pt x="2643" y="2061"/>
                    <a:pt x="2637" y="2061"/>
                    <a:pt x="2634" y="2055"/>
                  </a:cubicBezTo>
                  <a:close/>
                  <a:moveTo>
                    <a:pt x="2643" y="1999"/>
                  </a:moveTo>
                  <a:cubicBezTo>
                    <a:pt x="2646" y="1996"/>
                    <a:pt x="2651" y="2010"/>
                    <a:pt x="2643" y="2007"/>
                  </a:cubicBezTo>
                  <a:cubicBezTo>
                    <a:pt x="2643" y="2005"/>
                    <a:pt x="2640" y="1999"/>
                    <a:pt x="2643" y="1999"/>
                  </a:cubicBezTo>
                  <a:close/>
                  <a:moveTo>
                    <a:pt x="2643" y="1914"/>
                  </a:moveTo>
                  <a:cubicBezTo>
                    <a:pt x="2646" y="1909"/>
                    <a:pt x="2654" y="1920"/>
                    <a:pt x="2643" y="1914"/>
                  </a:cubicBezTo>
                  <a:close/>
                  <a:moveTo>
                    <a:pt x="2637" y="1827"/>
                  </a:moveTo>
                  <a:cubicBezTo>
                    <a:pt x="2637" y="1824"/>
                    <a:pt x="2637" y="1824"/>
                    <a:pt x="2640" y="1821"/>
                  </a:cubicBezTo>
                  <a:cubicBezTo>
                    <a:pt x="2646" y="1821"/>
                    <a:pt x="2651" y="1821"/>
                    <a:pt x="2654" y="1824"/>
                  </a:cubicBezTo>
                  <a:cubicBezTo>
                    <a:pt x="2654" y="1827"/>
                    <a:pt x="2657" y="1830"/>
                    <a:pt x="2657" y="1832"/>
                  </a:cubicBezTo>
                  <a:lnTo>
                    <a:pt x="2654" y="1832"/>
                  </a:lnTo>
                  <a:cubicBezTo>
                    <a:pt x="2646" y="1832"/>
                    <a:pt x="2637" y="1830"/>
                    <a:pt x="2637" y="1827"/>
                  </a:cubicBezTo>
                  <a:close/>
                  <a:moveTo>
                    <a:pt x="2637" y="1728"/>
                  </a:moveTo>
                  <a:cubicBezTo>
                    <a:pt x="2637" y="1725"/>
                    <a:pt x="2648" y="1728"/>
                    <a:pt x="2654" y="1728"/>
                  </a:cubicBezTo>
                  <a:cubicBezTo>
                    <a:pt x="2657" y="1737"/>
                    <a:pt x="2640" y="1734"/>
                    <a:pt x="2637" y="1728"/>
                  </a:cubicBezTo>
                  <a:close/>
                  <a:moveTo>
                    <a:pt x="2648" y="1483"/>
                  </a:moveTo>
                  <a:cubicBezTo>
                    <a:pt x="2648" y="1480"/>
                    <a:pt x="2654" y="1477"/>
                    <a:pt x="2657" y="1477"/>
                  </a:cubicBezTo>
                  <a:cubicBezTo>
                    <a:pt x="2654" y="1480"/>
                    <a:pt x="2651" y="1483"/>
                    <a:pt x="2648" y="1483"/>
                  </a:cubicBezTo>
                  <a:close/>
                  <a:moveTo>
                    <a:pt x="2654" y="2024"/>
                  </a:moveTo>
                  <a:lnTo>
                    <a:pt x="2660" y="2024"/>
                  </a:lnTo>
                  <a:lnTo>
                    <a:pt x="2660" y="2030"/>
                  </a:lnTo>
                  <a:lnTo>
                    <a:pt x="2654" y="2030"/>
                  </a:lnTo>
                  <a:lnTo>
                    <a:pt x="2654" y="2024"/>
                  </a:lnTo>
                  <a:close/>
                  <a:moveTo>
                    <a:pt x="2648" y="1419"/>
                  </a:moveTo>
                  <a:cubicBezTo>
                    <a:pt x="2637" y="1413"/>
                    <a:pt x="2654" y="1393"/>
                    <a:pt x="2657" y="1408"/>
                  </a:cubicBezTo>
                  <a:cubicBezTo>
                    <a:pt x="2654" y="1413"/>
                    <a:pt x="2648" y="1413"/>
                    <a:pt x="2648" y="1419"/>
                  </a:cubicBezTo>
                  <a:close/>
                  <a:moveTo>
                    <a:pt x="2629" y="1360"/>
                  </a:moveTo>
                  <a:cubicBezTo>
                    <a:pt x="2643" y="1368"/>
                    <a:pt x="2614" y="1382"/>
                    <a:pt x="2629" y="1360"/>
                  </a:cubicBezTo>
                  <a:close/>
                  <a:moveTo>
                    <a:pt x="2626" y="1267"/>
                  </a:moveTo>
                  <a:cubicBezTo>
                    <a:pt x="2631" y="1258"/>
                    <a:pt x="2629" y="1275"/>
                    <a:pt x="2626" y="1267"/>
                  </a:cubicBezTo>
                  <a:close/>
                  <a:moveTo>
                    <a:pt x="2609" y="784"/>
                  </a:moveTo>
                  <a:cubicBezTo>
                    <a:pt x="2609" y="781"/>
                    <a:pt x="2612" y="779"/>
                    <a:pt x="2612" y="779"/>
                  </a:cubicBezTo>
                  <a:cubicBezTo>
                    <a:pt x="2614" y="776"/>
                    <a:pt x="2620" y="773"/>
                    <a:pt x="2620" y="776"/>
                  </a:cubicBezTo>
                  <a:cubicBezTo>
                    <a:pt x="2623" y="776"/>
                    <a:pt x="2626" y="779"/>
                    <a:pt x="2631" y="781"/>
                  </a:cubicBezTo>
                  <a:cubicBezTo>
                    <a:pt x="2631" y="793"/>
                    <a:pt x="2617" y="784"/>
                    <a:pt x="2609" y="784"/>
                  </a:cubicBezTo>
                  <a:close/>
                  <a:moveTo>
                    <a:pt x="2612" y="736"/>
                  </a:moveTo>
                  <a:cubicBezTo>
                    <a:pt x="2614" y="733"/>
                    <a:pt x="2617" y="736"/>
                    <a:pt x="2617" y="736"/>
                  </a:cubicBezTo>
                  <a:cubicBezTo>
                    <a:pt x="2614" y="736"/>
                    <a:pt x="2595" y="750"/>
                    <a:pt x="2612" y="736"/>
                  </a:cubicBezTo>
                  <a:close/>
                  <a:moveTo>
                    <a:pt x="2612" y="728"/>
                  </a:moveTo>
                  <a:cubicBezTo>
                    <a:pt x="2598" y="722"/>
                    <a:pt x="2626" y="708"/>
                    <a:pt x="2612" y="728"/>
                  </a:cubicBezTo>
                  <a:close/>
                  <a:moveTo>
                    <a:pt x="2567" y="1455"/>
                  </a:moveTo>
                  <a:cubicBezTo>
                    <a:pt x="2569" y="1453"/>
                    <a:pt x="2572" y="1447"/>
                    <a:pt x="2578" y="1447"/>
                  </a:cubicBezTo>
                  <a:lnTo>
                    <a:pt x="2578" y="1453"/>
                  </a:lnTo>
                  <a:cubicBezTo>
                    <a:pt x="2572" y="1455"/>
                    <a:pt x="2569" y="1455"/>
                    <a:pt x="2567" y="1455"/>
                  </a:cubicBezTo>
                  <a:close/>
                  <a:moveTo>
                    <a:pt x="2569" y="1666"/>
                  </a:moveTo>
                  <a:cubicBezTo>
                    <a:pt x="2569" y="1660"/>
                    <a:pt x="2581" y="1669"/>
                    <a:pt x="2569" y="1666"/>
                  </a:cubicBezTo>
                  <a:close/>
                  <a:moveTo>
                    <a:pt x="2572" y="1708"/>
                  </a:moveTo>
                  <a:cubicBezTo>
                    <a:pt x="2572" y="1711"/>
                    <a:pt x="2567" y="1714"/>
                    <a:pt x="2564" y="1714"/>
                  </a:cubicBezTo>
                  <a:cubicBezTo>
                    <a:pt x="2567" y="1711"/>
                    <a:pt x="2569" y="1708"/>
                    <a:pt x="2572" y="1708"/>
                  </a:cubicBezTo>
                  <a:close/>
                  <a:moveTo>
                    <a:pt x="2572" y="1329"/>
                  </a:moveTo>
                  <a:cubicBezTo>
                    <a:pt x="2569" y="1323"/>
                    <a:pt x="2581" y="1326"/>
                    <a:pt x="2578" y="1320"/>
                  </a:cubicBezTo>
                  <a:cubicBezTo>
                    <a:pt x="2583" y="1323"/>
                    <a:pt x="2578" y="1329"/>
                    <a:pt x="2572" y="1329"/>
                  </a:cubicBezTo>
                  <a:close/>
                  <a:moveTo>
                    <a:pt x="2578" y="1804"/>
                  </a:moveTo>
                  <a:cubicBezTo>
                    <a:pt x="2583" y="1804"/>
                    <a:pt x="2581" y="1813"/>
                    <a:pt x="2578" y="1816"/>
                  </a:cubicBezTo>
                  <a:cubicBezTo>
                    <a:pt x="2575" y="1813"/>
                    <a:pt x="2581" y="1807"/>
                    <a:pt x="2578" y="1804"/>
                  </a:cubicBezTo>
                  <a:close/>
                  <a:moveTo>
                    <a:pt x="2578" y="1300"/>
                  </a:moveTo>
                  <a:cubicBezTo>
                    <a:pt x="2575" y="1295"/>
                    <a:pt x="2586" y="1292"/>
                    <a:pt x="2586" y="1298"/>
                  </a:cubicBezTo>
                  <a:cubicBezTo>
                    <a:pt x="2581" y="1295"/>
                    <a:pt x="2583" y="1303"/>
                    <a:pt x="2578" y="1300"/>
                  </a:cubicBezTo>
                  <a:close/>
                  <a:moveTo>
                    <a:pt x="2575" y="1286"/>
                  </a:moveTo>
                  <a:lnTo>
                    <a:pt x="2576" y="1287"/>
                  </a:lnTo>
                  <a:cubicBezTo>
                    <a:pt x="2575" y="1288"/>
                    <a:pt x="2573" y="1290"/>
                    <a:pt x="2575" y="1286"/>
                  </a:cubicBezTo>
                  <a:cubicBezTo>
                    <a:pt x="2576" y="1286"/>
                    <a:pt x="2576" y="1287"/>
                    <a:pt x="2576" y="1287"/>
                  </a:cubicBezTo>
                  <a:lnTo>
                    <a:pt x="2575" y="1286"/>
                  </a:lnTo>
                  <a:close/>
                  <a:moveTo>
                    <a:pt x="2583" y="1283"/>
                  </a:moveTo>
                  <a:cubicBezTo>
                    <a:pt x="2589" y="1292"/>
                    <a:pt x="2575" y="1292"/>
                    <a:pt x="2583" y="1283"/>
                  </a:cubicBezTo>
                  <a:close/>
                  <a:moveTo>
                    <a:pt x="2586" y="1134"/>
                  </a:moveTo>
                  <a:cubicBezTo>
                    <a:pt x="2583" y="1134"/>
                    <a:pt x="2589" y="1131"/>
                    <a:pt x="2586" y="1134"/>
                  </a:cubicBezTo>
                  <a:close/>
                  <a:moveTo>
                    <a:pt x="2572" y="1216"/>
                  </a:moveTo>
                  <a:cubicBezTo>
                    <a:pt x="2578" y="1227"/>
                    <a:pt x="2578" y="1238"/>
                    <a:pt x="2575" y="1250"/>
                  </a:cubicBezTo>
                  <a:cubicBezTo>
                    <a:pt x="2555" y="1247"/>
                    <a:pt x="2572" y="1224"/>
                    <a:pt x="2572" y="1216"/>
                  </a:cubicBezTo>
                  <a:close/>
                  <a:moveTo>
                    <a:pt x="2555" y="1869"/>
                  </a:moveTo>
                  <a:cubicBezTo>
                    <a:pt x="2561" y="1869"/>
                    <a:pt x="2558" y="1880"/>
                    <a:pt x="2552" y="1880"/>
                  </a:cubicBezTo>
                  <a:cubicBezTo>
                    <a:pt x="2552" y="1878"/>
                    <a:pt x="2555" y="1872"/>
                    <a:pt x="2555" y="1869"/>
                  </a:cubicBezTo>
                  <a:close/>
                  <a:moveTo>
                    <a:pt x="2552" y="1852"/>
                  </a:moveTo>
                  <a:cubicBezTo>
                    <a:pt x="2552" y="1849"/>
                    <a:pt x="2558" y="1847"/>
                    <a:pt x="2561" y="1847"/>
                  </a:cubicBezTo>
                  <a:cubicBezTo>
                    <a:pt x="2561" y="1849"/>
                    <a:pt x="2555" y="1852"/>
                    <a:pt x="2552" y="1852"/>
                  </a:cubicBezTo>
                  <a:close/>
                  <a:moveTo>
                    <a:pt x="2555" y="2146"/>
                  </a:moveTo>
                  <a:cubicBezTo>
                    <a:pt x="2558" y="2146"/>
                    <a:pt x="2558" y="2146"/>
                    <a:pt x="2561" y="2148"/>
                  </a:cubicBezTo>
                  <a:cubicBezTo>
                    <a:pt x="2561" y="2148"/>
                    <a:pt x="2561" y="2151"/>
                    <a:pt x="2564" y="2151"/>
                  </a:cubicBezTo>
                  <a:cubicBezTo>
                    <a:pt x="2564" y="2154"/>
                    <a:pt x="2567" y="2154"/>
                    <a:pt x="2564" y="2157"/>
                  </a:cubicBezTo>
                  <a:cubicBezTo>
                    <a:pt x="2561" y="2157"/>
                    <a:pt x="2561" y="2154"/>
                    <a:pt x="2561" y="2157"/>
                  </a:cubicBezTo>
                  <a:cubicBezTo>
                    <a:pt x="2558" y="2157"/>
                    <a:pt x="2558" y="2160"/>
                    <a:pt x="2555" y="2157"/>
                  </a:cubicBezTo>
                  <a:lnTo>
                    <a:pt x="2552" y="2154"/>
                  </a:lnTo>
                  <a:cubicBezTo>
                    <a:pt x="2552" y="2151"/>
                    <a:pt x="2552" y="2151"/>
                    <a:pt x="2555" y="2148"/>
                  </a:cubicBezTo>
                  <a:cubicBezTo>
                    <a:pt x="2552" y="2146"/>
                    <a:pt x="2555" y="2146"/>
                    <a:pt x="2555" y="2146"/>
                  </a:cubicBezTo>
                  <a:close/>
                  <a:moveTo>
                    <a:pt x="2558" y="2033"/>
                  </a:moveTo>
                  <a:cubicBezTo>
                    <a:pt x="2561" y="2027"/>
                    <a:pt x="2567" y="2041"/>
                    <a:pt x="2558" y="2033"/>
                  </a:cubicBezTo>
                  <a:close/>
                  <a:moveTo>
                    <a:pt x="2555" y="1188"/>
                  </a:moveTo>
                  <a:cubicBezTo>
                    <a:pt x="2550" y="1188"/>
                    <a:pt x="2558" y="1176"/>
                    <a:pt x="2561" y="1182"/>
                  </a:cubicBezTo>
                  <a:cubicBezTo>
                    <a:pt x="2561" y="1185"/>
                    <a:pt x="2555" y="1185"/>
                    <a:pt x="2555" y="1188"/>
                  </a:cubicBezTo>
                  <a:close/>
                  <a:moveTo>
                    <a:pt x="2538" y="1497"/>
                  </a:moveTo>
                  <a:cubicBezTo>
                    <a:pt x="2541" y="1491"/>
                    <a:pt x="2550" y="1500"/>
                    <a:pt x="2552" y="1494"/>
                  </a:cubicBezTo>
                  <a:cubicBezTo>
                    <a:pt x="2561" y="1500"/>
                    <a:pt x="2538" y="1505"/>
                    <a:pt x="2538" y="1497"/>
                  </a:cubicBezTo>
                  <a:close/>
                  <a:moveTo>
                    <a:pt x="2547" y="1525"/>
                  </a:moveTo>
                  <a:cubicBezTo>
                    <a:pt x="2538" y="1522"/>
                    <a:pt x="2544" y="1511"/>
                    <a:pt x="2550" y="1511"/>
                  </a:cubicBezTo>
                  <a:cubicBezTo>
                    <a:pt x="2552" y="1517"/>
                    <a:pt x="2547" y="1519"/>
                    <a:pt x="2547" y="1525"/>
                  </a:cubicBezTo>
                  <a:close/>
                  <a:moveTo>
                    <a:pt x="2541" y="1711"/>
                  </a:moveTo>
                  <a:cubicBezTo>
                    <a:pt x="2541" y="1708"/>
                    <a:pt x="2544" y="1706"/>
                    <a:pt x="2544" y="1703"/>
                  </a:cubicBezTo>
                  <a:cubicBezTo>
                    <a:pt x="2547" y="1700"/>
                    <a:pt x="2547" y="1714"/>
                    <a:pt x="2541" y="1711"/>
                  </a:cubicBezTo>
                  <a:close/>
                  <a:moveTo>
                    <a:pt x="2544" y="1292"/>
                  </a:moveTo>
                  <a:lnTo>
                    <a:pt x="2535" y="1292"/>
                  </a:lnTo>
                  <a:lnTo>
                    <a:pt x="2535" y="1286"/>
                  </a:lnTo>
                  <a:cubicBezTo>
                    <a:pt x="2538" y="1286"/>
                    <a:pt x="2544" y="1289"/>
                    <a:pt x="2544" y="1292"/>
                  </a:cubicBezTo>
                  <a:close/>
                  <a:moveTo>
                    <a:pt x="2535" y="1244"/>
                  </a:moveTo>
                  <a:lnTo>
                    <a:pt x="2544" y="1244"/>
                  </a:lnTo>
                  <a:lnTo>
                    <a:pt x="2544" y="1250"/>
                  </a:lnTo>
                  <a:cubicBezTo>
                    <a:pt x="2538" y="1252"/>
                    <a:pt x="2535" y="1250"/>
                    <a:pt x="2535" y="1244"/>
                  </a:cubicBezTo>
                  <a:close/>
                  <a:moveTo>
                    <a:pt x="2535" y="2027"/>
                  </a:moveTo>
                  <a:cubicBezTo>
                    <a:pt x="2535" y="2021"/>
                    <a:pt x="2544" y="2030"/>
                    <a:pt x="2535" y="2027"/>
                  </a:cubicBezTo>
                  <a:close/>
                  <a:moveTo>
                    <a:pt x="2538" y="1683"/>
                  </a:moveTo>
                  <a:cubicBezTo>
                    <a:pt x="2538" y="1677"/>
                    <a:pt x="2547" y="1689"/>
                    <a:pt x="2538" y="1683"/>
                  </a:cubicBezTo>
                  <a:close/>
                  <a:moveTo>
                    <a:pt x="2547" y="784"/>
                  </a:moveTo>
                  <a:cubicBezTo>
                    <a:pt x="2550" y="784"/>
                    <a:pt x="2544" y="787"/>
                    <a:pt x="2547" y="784"/>
                  </a:cubicBezTo>
                  <a:close/>
                  <a:moveTo>
                    <a:pt x="2550" y="747"/>
                  </a:moveTo>
                  <a:cubicBezTo>
                    <a:pt x="2550" y="750"/>
                    <a:pt x="2552" y="750"/>
                    <a:pt x="2552" y="750"/>
                  </a:cubicBezTo>
                  <a:cubicBezTo>
                    <a:pt x="2550" y="750"/>
                    <a:pt x="2547" y="747"/>
                    <a:pt x="2550" y="747"/>
                  </a:cubicBezTo>
                  <a:close/>
                  <a:moveTo>
                    <a:pt x="2548" y="720"/>
                  </a:moveTo>
                  <a:cubicBezTo>
                    <a:pt x="2548" y="720"/>
                    <a:pt x="2547" y="721"/>
                    <a:pt x="2547" y="722"/>
                  </a:cubicBezTo>
                  <a:cubicBezTo>
                    <a:pt x="2534" y="717"/>
                    <a:pt x="2556" y="705"/>
                    <a:pt x="2550" y="717"/>
                  </a:cubicBezTo>
                  <a:cubicBezTo>
                    <a:pt x="2552" y="718"/>
                    <a:pt x="2554" y="721"/>
                    <a:pt x="2548" y="720"/>
                  </a:cubicBezTo>
                  <a:close/>
                  <a:moveTo>
                    <a:pt x="2541" y="702"/>
                  </a:moveTo>
                  <a:cubicBezTo>
                    <a:pt x="2541" y="697"/>
                    <a:pt x="2550" y="705"/>
                    <a:pt x="2541" y="702"/>
                  </a:cubicBezTo>
                  <a:close/>
                  <a:moveTo>
                    <a:pt x="2541" y="711"/>
                  </a:moveTo>
                  <a:cubicBezTo>
                    <a:pt x="2538" y="711"/>
                    <a:pt x="2538" y="705"/>
                    <a:pt x="2538" y="702"/>
                  </a:cubicBezTo>
                  <a:cubicBezTo>
                    <a:pt x="2547" y="702"/>
                    <a:pt x="2544" y="711"/>
                    <a:pt x="2541" y="711"/>
                  </a:cubicBezTo>
                  <a:close/>
                  <a:moveTo>
                    <a:pt x="2541" y="578"/>
                  </a:moveTo>
                  <a:cubicBezTo>
                    <a:pt x="2527" y="573"/>
                    <a:pt x="2555" y="558"/>
                    <a:pt x="2541" y="578"/>
                  </a:cubicBezTo>
                  <a:close/>
                  <a:moveTo>
                    <a:pt x="2513" y="2089"/>
                  </a:moveTo>
                  <a:cubicBezTo>
                    <a:pt x="2513" y="2084"/>
                    <a:pt x="2521" y="2084"/>
                    <a:pt x="2527" y="2084"/>
                  </a:cubicBezTo>
                  <a:cubicBezTo>
                    <a:pt x="2527" y="2089"/>
                    <a:pt x="2519" y="2089"/>
                    <a:pt x="2513" y="2089"/>
                  </a:cubicBezTo>
                  <a:close/>
                  <a:moveTo>
                    <a:pt x="2516" y="2117"/>
                  </a:moveTo>
                  <a:cubicBezTo>
                    <a:pt x="2524" y="2112"/>
                    <a:pt x="2513" y="2126"/>
                    <a:pt x="2516" y="2117"/>
                  </a:cubicBezTo>
                  <a:close/>
                  <a:moveTo>
                    <a:pt x="2530" y="1627"/>
                  </a:moveTo>
                  <a:cubicBezTo>
                    <a:pt x="2521" y="1632"/>
                    <a:pt x="2521" y="1618"/>
                    <a:pt x="2530" y="1627"/>
                  </a:cubicBezTo>
                  <a:close/>
                  <a:moveTo>
                    <a:pt x="2524" y="1711"/>
                  </a:moveTo>
                  <a:cubicBezTo>
                    <a:pt x="2524" y="1714"/>
                    <a:pt x="2519" y="1717"/>
                    <a:pt x="2516" y="1717"/>
                  </a:cubicBezTo>
                  <a:cubicBezTo>
                    <a:pt x="2519" y="1714"/>
                    <a:pt x="2521" y="1711"/>
                    <a:pt x="2524" y="1711"/>
                  </a:cubicBezTo>
                  <a:close/>
                  <a:moveTo>
                    <a:pt x="2521" y="1607"/>
                  </a:moveTo>
                  <a:cubicBezTo>
                    <a:pt x="2521" y="1604"/>
                    <a:pt x="2524" y="1601"/>
                    <a:pt x="2524" y="1598"/>
                  </a:cubicBezTo>
                  <a:cubicBezTo>
                    <a:pt x="2527" y="1596"/>
                    <a:pt x="2527" y="1610"/>
                    <a:pt x="2521" y="1607"/>
                  </a:cubicBezTo>
                  <a:close/>
                  <a:moveTo>
                    <a:pt x="2521" y="1556"/>
                  </a:moveTo>
                  <a:cubicBezTo>
                    <a:pt x="2521" y="1553"/>
                    <a:pt x="2527" y="1550"/>
                    <a:pt x="2527" y="1545"/>
                  </a:cubicBezTo>
                  <a:cubicBezTo>
                    <a:pt x="2533" y="1545"/>
                    <a:pt x="2524" y="1559"/>
                    <a:pt x="2521" y="1556"/>
                  </a:cubicBezTo>
                  <a:close/>
                  <a:moveTo>
                    <a:pt x="2521" y="1522"/>
                  </a:moveTo>
                  <a:cubicBezTo>
                    <a:pt x="2524" y="1522"/>
                    <a:pt x="2527" y="1525"/>
                    <a:pt x="2530" y="1525"/>
                  </a:cubicBezTo>
                  <a:cubicBezTo>
                    <a:pt x="2530" y="1528"/>
                    <a:pt x="2519" y="1525"/>
                    <a:pt x="2521" y="1522"/>
                  </a:cubicBezTo>
                  <a:close/>
                  <a:moveTo>
                    <a:pt x="2516" y="1457"/>
                  </a:moveTo>
                  <a:cubicBezTo>
                    <a:pt x="2519" y="1455"/>
                    <a:pt x="2524" y="1453"/>
                    <a:pt x="2527" y="1453"/>
                  </a:cubicBezTo>
                  <a:cubicBezTo>
                    <a:pt x="2527" y="1457"/>
                    <a:pt x="2521" y="1457"/>
                    <a:pt x="2516" y="1457"/>
                  </a:cubicBezTo>
                  <a:close/>
                  <a:moveTo>
                    <a:pt x="2521" y="1565"/>
                  </a:moveTo>
                  <a:cubicBezTo>
                    <a:pt x="2519" y="1570"/>
                    <a:pt x="2510" y="1573"/>
                    <a:pt x="2504" y="1573"/>
                  </a:cubicBezTo>
                  <a:cubicBezTo>
                    <a:pt x="2504" y="1567"/>
                    <a:pt x="2513" y="1565"/>
                    <a:pt x="2521" y="1565"/>
                  </a:cubicBezTo>
                  <a:close/>
                  <a:moveTo>
                    <a:pt x="2513" y="1937"/>
                  </a:moveTo>
                  <a:lnTo>
                    <a:pt x="2504" y="1937"/>
                  </a:lnTo>
                  <a:lnTo>
                    <a:pt x="2504" y="1931"/>
                  </a:lnTo>
                  <a:cubicBezTo>
                    <a:pt x="2510" y="1931"/>
                    <a:pt x="2513" y="1934"/>
                    <a:pt x="2513" y="1937"/>
                  </a:cubicBezTo>
                  <a:close/>
                  <a:moveTo>
                    <a:pt x="2504" y="1776"/>
                  </a:moveTo>
                  <a:cubicBezTo>
                    <a:pt x="2504" y="1770"/>
                    <a:pt x="2513" y="1779"/>
                    <a:pt x="2504" y="1776"/>
                  </a:cubicBezTo>
                  <a:close/>
                  <a:moveTo>
                    <a:pt x="2507" y="807"/>
                  </a:moveTo>
                  <a:lnTo>
                    <a:pt x="2507" y="806"/>
                  </a:lnTo>
                  <a:cubicBezTo>
                    <a:pt x="2508" y="805"/>
                    <a:pt x="2509" y="805"/>
                    <a:pt x="2507" y="807"/>
                  </a:cubicBezTo>
                  <a:cubicBezTo>
                    <a:pt x="2506" y="807"/>
                    <a:pt x="2507" y="806"/>
                    <a:pt x="2507" y="806"/>
                  </a:cubicBezTo>
                  <a:lnTo>
                    <a:pt x="2507" y="807"/>
                  </a:lnTo>
                  <a:close/>
                  <a:moveTo>
                    <a:pt x="2504" y="2092"/>
                  </a:moveTo>
                  <a:cubicBezTo>
                    <a:pt x="2510" y="2086"/>
                    <a:pt x="2507" y="2100"/>
                    <a:pt x="2504" y="2092"/>
                  </a:cubicBezTo>
                  <a:close/>
                  <a:moveTo>
                    <a:pt x="2511" y="2067"/>
                  </a:moveTo>
                  <a:cubicBezTo>
                    <a:pt x="2512" y="2065"/>
                    <a:pt x="2514" y="2062"/>
                    <a:pt x="2513" y="2067"/>
                  </a:cubicBezTo>
                  <a:cubicBezTo>
                    <a:pt x="2509" y="2071"/>
                    <a:pt x="2509" y="2069"/>
                    <a:pt x="2511" y="2067"/>
                  </a:cubicBezTo>
                  <a:close/>
                  <a:moveTo>
                    <a:pt x="2507" y="2126"/>
                  </a:moveTo>
                  <a:cubicBezTo>
                    <a:pt x="2507" y="2120"/>
                    <a:pt x="2516" y="2129"/>
                    <a:pt x="2507" y="2126"/>
                  </a:cubicBezTo>
                  <a:close/>
                  <a:moveTo>
                    <a:pt x="2516" y="2024"/>
                  </a:moveTo>
                  <a:cubicBezTo>
                    <a:pt x="2510" y="2033"/>
                    <a:pt x="2507" y="2019"/>
                    <a:pt x="2516" y="2024"/>
                  </a:cubicBezTo>
                  <a:close/>
                  <a:moveTo>
                    <a:pt x="2524" y="2072"/>
                  </a:moveTo>
                  <a:lnTo>
                    <a:pt x="2524" y="2067"/>
                  </a:lnTo>
                  <a:lnTo>
                    <a:pt x="2533" y="2067"/>
                  </a:lnTo>
                  <a:cubicBezTo>
                    <a:pt x="2533" y="2072"/>
                    <a:pt x="2527" y="2072"/>
                    <a:pt x="2524" y="2072"/>
                  </a:cubicBezTo>
                  <a:close/>
                  <a:moveTo>
                    <a:pt x="2530" y="2115"/>
                  </a:moveTo>
                  <a:lnTo>
                    <a:pt x="2535" y="2115"/>
                  </a:lnTo>
                  <a:lnTo>
                    <a:pt x="2535" y="2120"/>
                  </a:lnTo>
                  <a:lnTo>
                    <a:pt x="2530" y="2120"/>
                  </a:lnTo>
                  <a:lnTo>
                    <a:pt x="2530" y="2115"/>
                  </a:lnTo>
                  <a:close/>
                  <a:moveTo>
                    <a:pt x="2516" y="750"/>
                  </a:moveTo>
                  <a:cubicBezTo>
                    <a:pt x="2502" y="742"/>
                    <a:pt x="2530" y="728"/>
                    <a:pt x="2516" y="750"/>
                  </a:cubicBezTo>
                  <a:close/>
                  <a:moveTo>
                    <a:pt x="2507" y="708"/>
                  </a:moveTo>
                  <a:cubicBezTo>
                    <a:pt x="2510" y="705"/>
                    <a:pt x="2513" y="700"/>
                    <a:pt x="2519" y="700"/>
                  </a:cubicBezTo>
                  <a:cubicBezTo>
                    <a:pt x="2519" y="705"/>
                    <a:pt x="2513" y="708"/>
                    <a:pt x="2507" y="708"/>
                  </a:cubicBezTo>
                  <a:close/>
                  <a:moveTo>
                    <a:pt x="2504" y="1548"/>
                  </a:moveTo>
                  <a:cubicBezTo>
                    <a:pt x="2504" y="1542"/>
                    <a:pt x="2513" y="1550"/>
                    <a:pt x="2504" y="1548"/>
                  </a:cubicBezTo>
                  <a:close/>
                  <a:moveTo>
                    <a:pt x="2504" y="747"/>
                  </a:moveTo>
                  <a:cubicBezTo>
                    <a:pt x="2513" y="742"/>
                    <a:pt x="2502" y="753"/>
                    <a:pt x="2504" y="747"/>
                  </a:cubicBezTo>
                  <a:close/>
                  <a:moveTo>
                    <a:pt x="2564" y="1940"/>
                  </a:moveTo>
                  <a:cubicBezTo>
                    <a:pt x="2567" y="1937"/>
                    <a:pt x="2569" y="1934"/>
                    <a:pt x="2572" y="1934"/>
                  </a:cubicBezTo>
                  <a:cubicBezTo>
                    <a:pt x="2572" y="1937"/>
                    <a:pt x="2569" y="1940"/>
                    <a:pt x="2564" y="1940"/>
                  </a:cubicBezTo>
                  <a:close/>
                  <a:moveTo>
                    <a:pt x="2567" y="1951"/>
                  </a:moveTo>
                  <a:cubicBezTo>
                    <a:pt x="2569" y="1951"/>
                    <a:pt x="2575" y="1954"/>
                    <a:pt x="2575" y="1954"/>
                  </a:cubicBezTo>
                  <a:cubicBezTo>
                    <a:pt x="2578" y="1957"/>
                    <a:pt x="2564" y="1957"/>
                    <a:pt x="2567" y="1951"/>
                  </a:cubicBezTo>
                  <a:close/>
                  <a:moveTo>
                    <a:pt x="2569" y="2100"/>
                  </a:moveTo>
                  <a:cubicBezTo>
                    <a:pt x="2567" y="2095"/>
                    <a:pt x="2578" y="2095"/>
                    <a:pt x="2581" y="2095"/>
                  </a:cubicBezTo>
                  <a:cubicBezTo>
                    <a:pt x="2581" y="2098"/>
                    <a:pt x="2575" y="2100"/>
                    <a:pt x="2569" y="2100"/>
                  </a:cubicBezTo>
                  <a:close/>
                  <a:moveTo>
                    <a:pt x="2581" y="2126"/>
                  </a:moveTo>
                  <a:cubicBezTo>
                    <a:pt x="2581" y="2131"/>
                    <a:pt x="2572" y="2131"/>
                    <a:pt x="2569" y="2129"/>
                  </a:cubicBezTo>
                  <a:cubicBezTo>
                    <a:pt x="2572" y="2126"/>
                    <a:pt x="2578" y="2126"/>
                    <a:pt x="2581" y="2126"/>
                  </a:cubicBezTo>
                  <a:close/>
                  <a:moveTo>
                    <a:pt x="2583" y="1275"/>
                  </a:moveTo>
                  <a:cubicBezTo>
                    <a:pt x="2583" y="1269"/>
                    <a:pt x="2592" y="1281"/>
                    <a:pt x="2583" y="1275"/>
                  </a:cubicBezTo>
                  <a:close/>
                  <a:moveTo>
                    <a:pt x="2595" y="1230"/>
                  </a:moveTo>
                  <a:cubicBezTo>
                    <a:pt x="2595" y="1230"/>
                    <a:pt x="2598" y="1233"/>
                    <a:pt x="2600" y="1233"/>
                  </a:cubicBezTo>
                  <a:cubicBezTo>
                    <a:pt x="2617" y="1264"/>
                    <a:pt x="2569" y="1213"/>
                    <a:pt x="2595" y="1230"/>
                  </a:cubicBezTo>
                  <a:close/>
                  <a:moveTo>
                    <a:pt x="2600" y="2027"/>
                  </a:moveTo>
                  <a:cubicBezTo>
                    <a:pt x="2603" y="2027"/>
                    <a:pt x="2606" y="2030"/>
                    <a:pt x="2609" y="2033"/>
                  </a:cubicBezTo>
                  <a:lnTo>
                    <a:pt x="2603" y="2033"/>
                  </a:lnTo>
                  <a:cubicBezTo>
                    <a:pt x="2600" y="2030"/>
                    <a:pt x="2600" y="2027"/>
                    <a:pt x="2600" y="2027"/>
                  </a:cubicBezTo>
                  <a:close/>
                  <a:moveTo>
                    <a:pt x="2612" y="1607"/>
                  </a:moveTo>
                  <a:lnTo>
                    <a:pt x="2612" y="1615"/>
                  </a:lnTo>
                  <a:cubicBezTo>
                    <a:pt x="2600" y="1618"/>
                    <a:pt x="2603" y="1604"/>
                    <a:pt x="2612" y="1607"/>
                  </a:cubicBezTo>
                  <a:close/>
                  <a:moveTo>
                    <a:pt x="2609" y="2131"/>
                  </a:moveTo>
                  <a:cubicBezTo>
                    <a:pt x="2609" y="2126"/>
                    <a:pt x="2617" y="2134"/>
                    <a:pt x="2609" y="2131"/>
                  </a:cubicBezTo>
                  <a:close/>
                  <a:moveTo>
                    <a:pt x="2643" y="2168"/>
                  </a:moveTo>
                  <a:cubicBezTo>
                    <a:pt x="2643" y="2171"/>
                    <a:pt x="2648" y="2174"/>
                    <a:pt x="2646" y="2179"/>
                  </a:cubicBezTo>
                  <a:cubicBezTo>
                    <a:pt x="2640" y="2179"/>
                    <a:pt x="2634" y="2177"/>
                    <a:pt x="2629" y="2174"/>
                  </a:cubicBezTo>
                  <a:cubicBezTo>
                    <a:pt x="2629" y="2168"/>
                    <a:pt x="2637" y="2165"/>
                    <a:pt x="2643" y="2168"/>
                  </a:cubicBezTo>
                  <a:close/>
                  <a:moveTo>
                    <a:pt x="2646" y="2191"/>
                  </a:moveTo>
                  <a:cubicBezTo>
                    <a:pt x="2654" y="2194"/>
                    <a:pt x="2646" y="2210"/>
                    <a:pt x="2640" y="2205"/>
                  </a:cubicBezTo>
                  <a:cubicBezTo>
                    <a:pt x="2640" y="2199"/>
                    <a:pt x="2646" y="2194"/>
                    <a:pt x="2646" y="2191"/>
                  </a:cubicBezTo>
                  <a:close/>
                  <a:moveTo>
                    <a:pt x="2648" y="2143"/>
                  </a:moveTo>
                  <a:cubicBezTo>
                    <a:pt x="2662" y="2146"/>
                    <a:pt x="2671" y="2154"/>
                    <a:pt x="2668" y="2163"/>
                  </a:cubicBezTo>
                  <a:cubicBezTo>
                    <a:pt x="2657" y="2160"/>
                    <a:pt x="2646" y="2151"/>
                    <a:pt x="2648" y="2143"/>
                  </a:cubicBezTo>
                  <a:close/>
                  <a:moveTo>
                    <a:pt x="2662" y="1773"/>
                  </a:moveTo>
                  <a:cubicBezTo>
                    <a:pt x="2663" y="1773"/>
                    <a:pt x="2664" y="1772"/>
                    <a:pt x="2665" y="1772"/>
                  </a:cubicBezTo>
                  <a:cubicBezTo>
                    <a:pt x="2661" y="1771"/>
                    <a:pt x="2657" y="1769"/>
                    <a:pt x="2654" y="1768"/>
                  </a:cubicBezTo>
                  <a:cubicBezTo>
                    <a:pt x="2654" y="1765"/>
                    <a:pt x="2654" y="1765"/>
                    <a:pt x="2657" y="1762"/>
                  </a:cubicBezTo>
                  <a:cubicBezTo>
                    <a:pt x="2662" y="1762"/>
                    <a:pt x="2668" y="1762"/>
                    <a:pt x="2674" y="1765"/>
                  </a:cubicBezTo>
                  <a:cubicBezTo>
                    <a:pt x="2677" y="1768"/>
                    <a:pt x="2677" y="1770"/>
                    <a:pt x="2674" y="1773"/>
                  </a:cubicBezTo>
                  <a:cubicBezTo>
                    <a:pt x="2671" y="1773"/>
                    <a:pt x="2668" y="1773"/>
                    <a:pt x="2666" y="1772"/>
                  </a:cubicBezTo>
                  <a:cubicBezTo>
                    <a:pt x="2666" y="1774"/>
                    <a:pt x="2660" y="1779"/>
                    <a:pt x="2662" y="1773"/>
                  </a:cubicBezTo>
                  <a:close/>
                  <a:moveTo>
                    <a:pt x="2665" y="1612"/>
                  </a:moveTo>
                  <a:cubicBezTo>
                    <a:pt x="2665" y="1607"/>
                    <a:pt x="2677" y="1607"/>
                    <a:pt x="2679" y="1610"/>
                  </a:cubicBezTo>
                  <a:cubicBezTo>
                    <a:pt x="2679" y="1612"/>
                    <a:pt x="2671" y="1615"/>
                    <a:pt x="2665" y="1612"/>
                  </a:cubicBezTo>
                  <a:close/>
                  <a:moveTo>
                    <a:pt x="2679" y="1593"/>
                  </a:moveTo>
                  <a:cubicBezTo>
                    <a:pt x="2682" y="1590"/>
                    <a:pt x="2674" y="1596"/>
                    <a:pt x="2679" y="1593"/>
                  </a:cubicBezTo>
                  <a:close/>
                  <a:moveTo>
                    <a:pt x="2702" y="1360"/>
                  </a:moveTo>
                  <a:cubicBezTo>
                    <a:pt x="2705" y="1379"/>
                    <a:pt x="2682" y="1360"/>
                    <a:pt x="2682" y="1371"/>
                  </a:cubicBezTo>
                  <a:cubicBezTo>
                    <a:pt x="2671" y="1362"/>
                    <a:pt x="2693" y="1357"/>
                    <a:pt x="2702" y="1360"/>
                  </a:cubicBezTo>
                  <a:close/>
                  <a:moveTo>
                    <a:pt x="2696" y="1427"/>
                  </a:moveTo>
                  <a:cubicBezTo>
                    <a:pt x="2696" y="1422"/>
                    <a:pt x="2705" y="1430"/>
                    <a:pt x="2696" y="1427"/>
                  </a:cubicBezTo>
                  <a:close/>
                  <a:moveTo>
                    <a:pt x="2708" y="2058"/>
                  </a:moveTo>
                  <a:cubicBezTo>
                    <a:pt x="2699" y="2064"/>
                    <a:pt x="2691" y="2053"/>
                    <a:pt x="2708" y="2058"/>
                  </a:cubicBezTo>
                  <a:close/>
                  <a:moveTo>
                    <a:pt x="2705" y="2129"/>
                  </a:moveTo>
                  <a:cubicBezTo>
                    <a:pt x="2710" y="2129"/>
                    <a:pt x="2716" y="2134"/>
                    <a:pt x="2719" y="2143"/>
                  </a:cubicBezTo>
                  <a:cubicBezTo>
                    <a:pt x="2714" y="2146"/>
                    <a:pt x="2708" y="2142"/>
                    <a:pt x="2705" y="2138"/>
                  </a:cubicBezTo>
                  <a:lnTo>
                    <a:pt x="2705" y="2140"/>
                  </a:lnTo>
                  <a:cubicBezTo>
                    <a:pt x="2705" y="2143"/>
                    <a:pt x="2708" y="2143"/>
                    <a:pt x="2705" y="2146"/>
                  </a:cubicBezTo>
                  <a:cubicBezTo>
                    <a:pt x="2702" y="2146"/>
                    <a:pt x="2702" y="2146"/>
                    <a:pt x="2702" y="2148"/>
                  </a:cubicBezTo>
                  <a:cubicBezTo>
                    <a:pt x="2699" y="2148"/>
                    <a:pt x="2699" y="2148"/>
                    <a:pt x="2696" y="2146"/>
                  </a:cubicBezTo>
                  <a:cubicBezTo>
                    <a:pt x="2696" y="2143"/>
                    <a:pt x="2693" y="2140"/>
                    <a:pt x="2693" y="2140"/>
                  </a:cubicBezTo>
                  <a:cubicBezTo>
                    <a:pt x="2693" y="2137"/>
                    <a:pt x="2693" y="2137"/>
                    <a:pt x="2696" y="2137"/>
                  </a:cubicBezTo>
                  <a:lnTo>
                    <a:pt x="2699" y="2137"/>
                  </a:lnTo>
                  <a:cubicBezTo>
                    <a:pt x="2702" y="2137"/>
                    <a:pt x="2702" y="2135"/>
                    <a:pt x="2704" y="2137"/>
                  </a:cubicBezTo>
                  <a:cubicBezTo>
                    <a:pt x="2703" y="2134"/>
                    <a:pt x="2703" y="2131"/>
                    <a:pt x="2705" y="2129"/>
                  </a:cubicBezTo>
                  <a:close/>
                  <a:moveTo>
                    <a:pt x="2722" y="2109"/>
                  </a:moveTo>
                  <a:cubicBezTo>
                    <a:pt x="2727" y="2117"/>
                    <a:pt x="2708" y="2117"/>
                    <a:pt x="2722" y="2109"/>
                  </a:cubicBezTo>
                  <a:close/>
                  <a:moveTo>
                    <a:pt x="2716" y="1883"/>
                  </a:moveTo>
                  <a:cubicBezTo>
                    <a:pt x="2719" y="1883"/>
                    <a:pt x="2725" y="1889"/>
                    <a:pt x="2722" y="1889"/>
                  </a:cubicBezTo>
                  <a:cubicBezTo>
                    <a:pt x="2716" y="1883"/>
                    <a:pt x="2713" y="1883"/>
                    <a:pt x="2716" y="1883"/>
                  </a:cubicBezTo>
                  <a:close/>
                  <a:moveTo>
                    <a:pt x="2725" y="2098"/>
                  </a:moveTo>
                  <a:cubicBezTo>
                    <a:pt x="2730" y="2098"/>
                    <a:pt x="2727" y="2103"/>
                    <a:pt x="2736" y="2103"/>
                  </a:cubicBezTo>
                  <a:cubicBezTo>
                    <a:pt x="2733" y="2103"/>
                    <a:pt x="2725" y="2106"/>
                    <a:pt x="2722" y="2103"/>
                  </a:cubicBezTo>
                  <a:cubicBezTo>
                    <a:pt x="2722" y="2100"/>
                    <a:pt x="2722" y="2098"/>
                    <a:pt x="2725" y="2098"/>
                  </a:cubicBezTo>
                  <a:close/>
                  <a:moveTo>
                    <a:pt x="2725" y="2072"/>
                  </a:moveTo>
                  <a:cubicBezTo>
                    <a:pt x="2725" y="2067"/>
                    <a:pt x="2736" y="2069"/>
                    <a:pt x="2739" y="2072"/>
                  </a:cubicBezTo>
                  <a:cubicBezTo>
                    <a:pt x="2739" y="2075"/>
                    <a:pt x="2727" y="2075"/>
                    <a:pt x="2725" y="2072"/>
                  </a:cubicBezTo>
                  <a:close/>
                  <a:moveTo>
                    <a:pt x="2725" y="2044"/>
                  </a:moveTo>
                  <a:cubicBezTo>
                    <a:pt x="2727" y="2044"/>
                    <a:pt x="2730" y="2050"/>
                    <a:pt x="2727" y="2047"/>
                  </a:cubicBezTo>
                  <a:lnTo>
                    <a:pt x="2725" y="2044"/>
                  </a:lnTo>
                  <a:close/>
                  <a:moveTo>
                    <a:pt x="2730" y="2041"/>
                  </a:moveTo>
                  <a:cubicBezTo>
                    <a:pt x="2736" y="2041"/>
                    <a:pt x="2733" y="2047"/>
                    <a:pt x="2736" y="2047"/>
                  </a:cubicBezTo>
                  <a:cubicBezTo>
                    <a:pt x="2736" y="2050"/>
                    <a:pt x="2727" y="2044"/>
                    <a:pt x="2730" y="2041"/>
                  </a:cubicBezTo>
                  <a:close/>
                  <a:moveTo>
                    <a:pt x="2727" y="1976"/>
                  </a:moveTo>
                  <a:cubicBezTo>
                    <a:pt x="2727" y="1971"/>
                    <a:pt x="2733" y="1976"/>
                    <a:pt x="2739" y="1976"/>
                  </a:cubicBezTo>
                  <a:cubicBezTo>
                    <a:pt x="2736" y="1979"/>
                    <a:pt x="2727" y="1976"/>
                    <a:pt x="2727" y="1976"/>
                  </a:cubicBezTo>
                  <a:close/>
                  <a:moveTo>
                    <a:pt x="2753" y="2058"/>
                  </a:moveTo>
                  <a:cubicBezTo>
                    <a:pt x="2759" y="2064"/>
                    <a:pt x="2772" y="2069"/>
                    <a:pt x="2772" y="2075"/>
                  </a:cubicBezTo>
                  <a:cubicBezTo>
                    <a:pt x="2764" y="2075"/>
                    <a:pt x="2750" y="2067"/>
                    <a:pt x="2753" y="2058"/>
                  </a:cubicBezTo>
                  <a:cubicBezTo>
                    <a:pt x="2752" y="2059"/>
                    <a:pt x="2750" y="2059"/>
                    <a:pt x="2747" y="2058"/>
                  </a:cubicBezTo>
                  <a:cubicBezTo>
                    <a:pt x="2747" y="2056"/>
                    <a:pt x="2748" y="2054"/>
                    <a:pt x="2751" y="2053"/>
                  </a:cubicBezTo>
                  <a:cubicBezTo>
                    <a:pt x="2750" y="2052"/>
                    <a:pt x="2748" y="2051"/>
                    <a:pt x="2747" y="2050"/>
                  </a:cubicBezTo>
                  <a:cubicBezTo>
                    <a:pt x="2747" y="2047"/>
                    <a:pt x="2750" y="2044"/>
                    <a:pt x="2750" y="2044"/>
                  </a:cubicBezTo>
                  <a:cubicBezTo>
                    <a:pt x="2753" y="2044"/>
                    <a:pt x="2753" y="2047"/>
                    <a:pt x="2756" y="2047"/>
                  </a:cubicBezTo>
                  <a:cubicBezTo>
                    <a:pt x="2756" y="2047"/>
                    <a:pt x="2758" y="2050"/>
                    <a:pt x="2756" y="2053"/>
                  </a:cubicBezTo>
                  <a:cubicBezTo>
                    <a:pt x="2754" y="2054"/>
                    <a:pt x="2754" y="2057"/>
                    <a:pt x="2753" y="2058"/>
                  </a:cubicBezTo>
                  <a:close/>
                  <a:moveTo>
                    <a:pt x="2747" y="1985"/>
                  </a:moveTo>
                  <a:lnTo>
                    <a:pt x="2747" y="1979"/>
                  </a:lnTo>
                  <a:lnTo>
                    <a:pt x="2753" y="1979"/>
                  </a:lnTo>
                  <a:lnTo>
                    <a:pt x="2753" y="1985"/>
                  </a:lnTo>
                  <a:lnTo>
                    <a:pt x="2747" y="1985"/>
                  </a:lnTo>
                  <a:close/>
                  <a:moveTo>
                    <a:pt x="2750" y="2041"/>
                  </a:moveTo>
                  <a:cubicBezTo>
                    <a:pt x="2750" y="2038"/>
                    <a:pt x="2753" y="2036"/>
                    <a:pt x="2756" y="2033"/>
                  </a:cubicBezTo>
                  <a:cubicBezTo>
                    <a:pt x="2761" y="2033"/>
                    <a:pt x="2761" y="2038"/>
                    <a:pt x="2764" y="2041"/>
                  </a:cubicBezTo>
                  <a:cubicBezTo>
                    <a:pt x="2758" y="2044"/>
                    <a:pt x="2753" y="2044"/>
                    <a:pt x="2750" y="2041"/>
                  </a:cubicBezTo>
                  <a:close/>
                  <a:moveTo>
                    <a:pt x="2727" y="1889"/>
                  </a:moveTo>
                  <a:cubicBezTo>
                    <a:pt x="2736" y="1872"/>
                    <a:pt x="2772" y="1897"/>
                    <a:pt x="2781" y="1914"/>
                  </a:cubicBezTo>
                  <a:cubicBezTo>
                    <a:pt x="2764" y="1909"/>
                    <a:pt x="2741" y="1892"/>
                    <a:pt x="2727" y="1889"/>
                  </a:cubicBezTo>
                  <a:close/>
                  <a:moveTo>
                    <a:pt x="2775" y="1463"/>
                  </a:moveTo>
                  <a:cubicBezTo>
                    <a:pt x="2767" y="1463"/>
                    <a:pt x="2775" y="1433"/>
                    <a:pt x="2787" y="1444"/>
                  </a:cubicBezTo>
                  <a:cubicBezTo>
                    <a:pt x="2785" y="1452"/>
                    <a:pt x="2781" y="1456"/>
                    <a:pt x="2778" y="1459"/>
                  </a:cubicBezTo>
                  <a:cubicBezTo>
                    <a:pt x="2781" y="1461"/>
                    <a:pt x="2788" y="1478"/>
                    <a:pt x="2778" y="1466"/>
                  </a:cubicBezTo>
                  <a:cubicBezTo>
                    <a:pt x="2777" y="1463"/>
                    <a:pt x="2777" y="1461"/>
                    <a:pt x="2777" y="1460"/>
                  </a:cubicBezTo>
                  <a:cubicBezTo>
                    <a:pt x="2776" y="1461"/>
                    <a:pt x="2776" y="1462"/>
                    <a:pt x="2775" y="1463"/>
                  </a:cubicBezTo>
                  <a:close/>
                  <a:moveTo>
                    <a:pt x="2764" y="1610"/>
                  </a:moveTo>
                  <a:cubicBezTo>
                    <a:pt x="2770" y="1601"/>
                    <a:pt x="2781" y="1610"/>
                    <a:pt x="2764" y="1610"/>
                  </a:cubicBezTo>
                  <a:close/>
                  <a:moveTo>
                    <a:pt x="2784" y="1553"/>
                  </a:moveTo>
                  <a:cubicBezTo>
                    <a:pt x="2792" y="1550"/>
                    <a:pt x="2781" y="1562"/>
                    <a:pt x="2784" y="1553"/>
                  </a:cubicBezTo>
                  <a:close/>
                  <a:moveTo>
                    <a:pt x="2758" y="1345"/>
                  </a:moveTo>
                  <a:cubicBezTo>
                    <a:pt x="2781" y="1331"/>
                    <a:pt x="2770" y="1368"/>
                    <a:pt x="2758" y="1345"/>
                  </a:cubicBezTo>
                  <a:close/>
                  <a:moveTo>
                    <a:pt x="2787" y="1267"/>
                  </a:moveTo>
                  <a:cubicBezTo>
                    <a:pt x="2787" y="1267"/>
                    <a:pt x="2781" y="1267"/>
                    <a:pt x="2778" y="1264"/>
                  </a:cubicBezTo>
                  <a:cubicBezTo>
                    <a:pt x="2778" y="1261"/>
                    <a:pt x="2781" y="1255"/>
                    <a:pt x="2781" y="1252"/>
                  </a:cubicBezTo>
                  <a:cubicBezTo>
                    <a:pt x="2784" y="1255"/>
                    <a:pt x="2787" y="1255"/>
                    <a:pt x="2787" y="1252"/>
                  </a:cubicBezTo>
                  <a:cubicBezTo>
                    <a:pt x="2789" y="1252"/>
                    <a:pt x="2792" y="1258"/>
                    <a:pt x="2792" y="1261"/>
                  </a:cubicBezTo>
                  <a:lnTo>
                    <a:pt x="2792" y="1264"/>
                  </a:lnTo>
                  <a:cubicBezTo>
                    <a:pt x="2795" y="1269"/>
                    <a:pt x="2795" y="1278"/>
                    <a:pt x="2787" y="1267"/>
                  </a:cubicBezTo>
                  <a:close/>
                  <a:moveTo>
                    <a:pt x="2775" y="1371"/>
                  </a:moveTo>
                  <a:cubicBezTo>
                    <a:pt x="2775" y="1365"/>
                    <a:pt x="2784" y="1374"/>
                    <a:pt x="2775" y="1371"/>
                  </a:cubicBezTo>
                  <a:close/>
                  <a:moveTo>
                    <a:pt x="2806" y="1306"/>
                  </a:moveTo>
                  <a:cubicBezTo>
                    <a:pt x="2815" y="1306"/>
                    <a:pt x="2806" y="1337"/>
                    <a:pt x="2795" y="1326"/>
                  </a:cubicBezTo>
                  <a:cubicBezTo>
                    <a:pt x="2798" y="1317"/>
                    <a:pt x="2804" y="1312"/>
                    <a:pt x="2806" y="1306"/>
                  </a:cubicBezTo>
                  <a:close/>
                  <a:moveTo>
                    <a:pt x="2801" y="1207"/>
                  </a:moveTo>
                  <a:lnTo>
                    <a:pt x="2801" y="1199"/>
                  </a:lnTo>
                  <a:cubicBezTo>
                    <a:pt x="2806" y="1199"/>
                    <a:pt x="2806" y="1210"/>
                    <a:pt x="2801" y="1207"/>
                  </a:cubicBezTo>
                  <a:close/>
                  <a:moveTo>
                    <a:pt x="2815" y="1354"/>
                  </a:moveTo>
                  <a:lnTo>
                    <a:pt x="2809" y="1354"/>
                  </a:lnTo>
                  <a:lnTo>
                    <a:pt x="2809" y="1348"/>
                  </a:lnTo>
                  <a:lnTo>
                    <a:pt x="2815" y="1348"/>
                  </a:lnTo>
                  <a:lnTo>
                    <a:pt x="2815" y="1354"/>
                  </a:lnTo>
                  <a:close/>
                  <a:moveTo>
                    <a:pt x="2818" y="1416"/>
                  </a:moveTo>
                  <a:cubicBezTo>
                    <a:pt x="2815" y="1419"/>
                    <a:pt x="2812" y="1422"/>
                    <a:pt x="2806" y="1422"/>
                  </a:cubicBezTo>
                  <a:cubicBezTo>
                    <a:pt x="2806" y="1413"/>
                    <a:pt x="2815" y="1413"/>
                    <a:pt x="2818" y="1416"/>
                  </a:cubicBezTo>
                  <a:close/>
                  <a:moveTo>
                    <a:pt x="2806" y="1340"/>
                  </a:moveTo>
                  <a:lnTo>
                    <a:pt x="2798" y="1340"/>
                  </a:lnTo>
                  <a:cubicBezTo>
                    <a:pt x="2798" y="1337"/>
                    <a:pt x="2801" y="1337"/>
                    <a:pt x="2804" y="1334"/>
                  </a:cubicBezTo>
                  <a:lnTo>
                    <a:pt x="2806" y="1334"/>
                  </a:lnTo>
                  <a:lnTo>
                    <a:pt x="2806" y="1337"/>
                  </a:lnTo>
                  <a:lnTo>
                    <a:pt x="2806" y="1337"/>
                  </a:lnTo>
                  <a:cubicBezTo>
                    <a:pt x="2806" y="1338"/>
                    <a:pt x="2806" y="1339"/>
                    <a:pt x="2806" y="1340"/>
                  </a:cubicBezTo>
                  <a:close/>
                  <a:moveTo>
                    <a:pt x="2809" y="1337"/>
                  </a:moveTo>
                  <a:cubicBezTo>
                    <a:pt x="2807" y="1335"/>
                    <a:pt x="2807" y="1336"/>
                    <a:pt x="2806" y="1337"/>
                  </a:cubicBezTo>
                  <a:lnTo>
                    <a:pt x="2809" y="1337"/>
                  </a:lnTo>
                  <a:close/>
                  <a:moveTo>
                    <a:pt x="2798" y="1176"/>
                  </a:moveTo>
                  <a:cubicBezTo>
                    <a:pt x="2801" y="1176"/>
                    <a:pt x="2795" y="1179"/>
                    <a:pt x="2798" y="1176"/>
                  </a:cubicBezTo>
                  <a:close/>
                  <a:moveTo>
                    <a:pt x="2798" y="1360"/>
                  </a:moveTo>
                  <a:cubicBezTo>
                    <a:pt x="2801" y="1362"/>
                    <a:pt x="2804" y="1360"/>
                    <a:pt x="2804" y="1357"/>
                  </a:cubicBezTo>
                  <a:cubicBezTo>
                    <a:pt x="2812" y="1357"/>
                    <a:pt x="2804" y="1382"/>
                    <a:pt x="2795" y="1371"/>
                  </a:cubicBezTo>
                  <a:cubicBezTo>
                    <a:pt x="2795" y="1368"/>
                    <a:pt x="2795" y="1362"/>
                    <a:pt x="2798" y="1360"/>
                  </a:cubicBezTo>
                  <a:close/>
                  <a:moveTo>
                    <a:pt x="2818" y="1436"/>
                  </a:moveTo>
                  <a:cubicBezTo>
                    <a:pt x="2823" y="1441"/>
                    <a:pt x="2826" y="1450"/>
                    <a:pt x="2823" y="1456"/>
                  </a:cubicBezTo>
                  <a:cubicBezTo>
                    <a:pt x="2818" y="1453"/>
                    <a:pt x="2818" y="1447"/>
                    <a:pt x="2812" y="1444"/>
                  </a:cubicBezTo>
                  <a:lnTo>
                    <a:pt x="2812" y="1441"/>
                  </a:lnTo>
                  <a:lnTo>
                    <a:pt x="2798" y="1441"/>
                  </a:lnTo>
                  <a:cubicBezTo>
                    <a:pt x="2801" y="1439"/>
                    <a:pt x="2809" y="1436"/>
                    <a:pt x="2818" y="1436"/>
                  </a:cubicBezTo>
                  <a:close/>
                  <a:moveTo>
                    <a:pt x="2843" y="1219"/>
                  </a:moveTo>
                  <a:cubicBezTo>
                    <a:pt x="2857" y="1230"/>
                    <a:pt x="2820" y="1227"/>
                    <a:pt x="2843" y="1219"/>
                  </a:cubicBezTo>
                  <a:close/>
                  <a:moveTo>
                    <a:pt x="2843" y="1207"/>
                  </a:moveTo>
                  <a:cubicBezTo>
                    <a:pt x="2846" y="1207"/>
                    <a:pt x="2846" y="1210"/>
                    <a:pt x="2846" y="1210"/>
                  </a:cubicBezTo>
                  <a:cubicBezTo>
                    <a:pt x="2843" y="1210"/>
                    <a:pt x="2843" y="1207"/>
                    <a:pt x="2843" y="1207"/>
                  </a:cubicBezTo>
                  <a:close/>
                  <a:moveTo>
                    <a:pt x="2829" y="1441"/>
                  </a:moveTo>
                  <a:cubicBezTo>
                    <a:pt x="2815" y="1433"/>
                    <a:pt x="2843" y="1419"/>
                    <a:pt x="2829" y="1441"/>
                  </a:cubicBezTo>
                  <a:close/>
                  <a:moveTo>
                    <a:pt x="2826" y="1601"/>
                  </a:moveTo>
                  <a:cubicBezTo>
                    <a:pt x="2812" y="1596"/>
                    <a:pt x="2840" y="1581"/>
                    <a:pt x="2826" y="1601"/>
                  </a:cubicBezTo>
                  <a:close/>
                  <a:moveTo>
                    <a:pt x="2826" y="1500"/>
                  </a:moveTo>
                  <a:cubicBezTo>
                    <a:pt x="2832" y="1494"/>
                    <a:pt x="2832" y="1508"/>
                    <a:pt x="2826" y="1500"/>
                  </a:cubicBezTo>
                  <a:close/>
                  <a:moveTo>
                    <a:pt x="2829" y="1694"/>
                  </a:moveTo>
                  <a:cubicBezTo>
                    <a:pt x="2832" y="1694"/>
                    <a:pt x="2826" y="1697"/>
                    <a:pt x="2823" y="1697"/>
                  </a:cubicBezTo>
                  <a:cubicBezTo>
                    <a:pt x="2820" y="1697"/>
                    <a:pt x="2829" y="1694"/>
                    <a:pt x="2829" y="1694"/>
                  </a:cubicBezTo>
                  <a:close/>
                  <a:moveTo>
                    <a:pt x="2826" y="1739"/>
                  </a:moveTo>
                  <a:cubicBezTo>
                    <a:pt x="2826" y="1734"/>
                    <a:pt x="2837" y="1742"/>
                    <a:pt x="2826" y="1739"/>
                  </a:cubicBezTo>
                  <a:close/>
                  <a:moveTo>
                    <a:pt x="2832" y="1618"/>
                  </a:moveTo>
                  <a:cubicBezTo>
                    <a:pt x="2818" y="1607"/>
                    <a:pt x="2857" y="1612"/>
                    <a:pt x="2832" y="1618"/>
                  </a:cubicBezTo>
                  <a:close/>
                  <a:moveTo>
                    <a:pt x="2840" y="1643"/>
                  </a:moveTo>
                  <a:cubicBezTo>
                    <a:pt x="2837" y="1643"/>
                    <a:pt x="2835" y="1644"/>
                    <a:pt x="2835" y="1641"/>
                  </a:cubicBezTo>
                  <a:cubicBezTo>
                    <a:pt x="2835" y="1639"/>
                    <a:pt x="2837" y="1638"/>
                    <a:pt x="2837" y="1635"/>
                  </a:cubicBezTo>
                  <a:cubicBezTo>
                    <a:pt x="2840" y="1635"/>
                    <a:pt x="2840" y="1635"/>
                    <a:pt x="2843" y="1638"/>
                  </a:cubicBezTo>
                  <a:cubicBezTo>
                    <a:pt x="2843" y="1641"/>
                    <a:pt x="2840" y="1643"/>
                    <a:pt x="2840" y="1643"/>
                  </a:cubicBezTo>
                  <a:close/>
                  <a:moveTo>
                    <a:pt x="2840" y="1720"/>
                  </a:moveTo>
                  <a:cubicBezTo>
                    <a:pt x="2837" y="1722"/>
                    <a:pt x="2832" y="1714"/>
                    <a:pt x="2832" y="1711"/>
                  </a:cubicBezTo>
                  <a:cubicBezTo>
                    <a:pt x="2837" y="1714"/>
                    <a:pt x="2837" y="1717"/>
                    <a:pt x="2840" y="1720"/>
                  </a:cubicBezTo>
                  <a:close/>
                  <a:moveTo>
                    <a:pt x="2843" y="1711"/>
                  </a:moveTo>
                  <a:cubicBezTo>
                    <a:pt x="2846" y="1711"/>
                    <a:pt x="2840" y="1714"/>
                    <a:pt x="2837" y="1714"/>
                  </a:cubicBezTo>
                  <a:cubicBezTo>
                    <a:pt x="2835" y="1714"/>
                    <a:pt x="2840" y="1711"/>
                    <a:pt x="2843" y="1711"/>
                  </a:cubicBezTo>
                  <a:close/>
                  <a:moveTo>
                    <a:pt x="2843" y="1601"/>
                  </a:moveTo>
                  <a:cubicBezTo>
                    <a:pt x="2840" y="1601"/>
                    <a:pt x="2835" y="1598"/>
                    <a:pt x="2832" y="1598"/>
                  </a:cubicBezTo>
                  <a:cubicBezTo>
                    <a:pt x="2832" y="1596"/>
                    <a:pt x="2835" y="1590"/>
                    <a:pt x="2835" y="1587"/>
                  </a:cubicBezTo>
                  <a:cubicBezTo>
                    <a:pt x="2837" y="1587"/>
                    <a:pt x="2843" y="1587"/>
                    <a:pt x="2846" y="1590"/>
                  </a:cubicBezTo>
                  <a:cubicBezTo>
                    <a:pt x="2846" y="1593"/>
                    <a:pt x="2843" y="1598"/>
                    <a:pt x="2843" y="1601"/>
                  </a:cubicBezTo>
                  <a:close/>
                  <a:moveTo>
                    <a:pt x="2840" y="1519"/>
                  </a:moveTo>
                  <a:cubicBezTo>
                    <a:pt x="2854" y="1536"/>
                    <a:pt x="2820" y="1522"/>
                    <a:pt x="2840" y="1519"/>
                  </a:cubicBezTo>
                  <a:close/>
                  <a:moveTo>
                    <a:pt x="2837" y="1491"/>
                  </a:moveTo>
                  <a:cubicBezTo>
                    <a:pt x="2843" y="1488"/>
                    <a:pt x="2832" y="1500"/>
                    <a:pt x="2837" y="1491"/>
                  </a:cubicBezTo>
                  <a:close/>
                  <a:moveTo>
                    <a:pt x="2846" y="1306"/>
                  </a:moveTo>
                  <a:cubicBezTo>
                    <a:pt x="2857" y="1317"/>
                    <a:pt x="2820" y="1314"/>
                    <a:pt x="2846" y="1306"/>
                  </a:cubicBezTo>
                  <a:close/>
                  <a:moveTo>
                    <a:pt x="2835" y="1213"/>
                  </a:moveTo>
                  <a:lnTo>
                    <a:pt x="2835" y="1214"/>
                  </a:lnTo>
                  <a:cubicBezTo>
                    <a:pt x="2834" y="1214"/>
                    <a:pt x="2833" y="1214"/>
                    <a:pt x="2835" y="1213"/>
                  </a:cubicBezTo>
                  <a:cubicBezTo>
                    <a:pt x="2836" y="1213"/>
                    <a:pt x="2835" y="1214"/>
                    <a:pt x="2835" y="1214"/>
                  </a:cubicBezTo>
                  <a:lnTo>
                    <a:pt x="2835" y="1213"/>
                  </a:lnTo>
                  <a:close/>
                  <a:moveTo>
                    <a:pt x="2835" y="1334"/>
                  </a:moveTo>
                  <a:cubicBezTo>
                    <a:pt x="2837" y="1334"/>
                    <a:pt x="2832" y="1340"/>
                    <a:pt x="2835" y="1334"/>
                  </a:cubicBezTo>
                  <a:close/>
                  <a:moveTo>
                    <a:pt x="2837" y="1430"/>
                  </a:moveTo>
                  <a:cubicBezTo>
                    <a:pt x="2846" y="1430"/>
                    <a:pt x="2837" y="1466"/>
                    <a:pt x="2826" y="1455"/>
                  </a:cubicBezTo>
                  <a:cubicBezTo>
                    <a:pt x="2835" y="1447"/>
                    <a:pt x="2837" y="1439"/>
                    <a:pt x="2837" y="1430"/>
                  </a:cubicBezTo>
                  <a:close/>
                  <a:moveTo>
                    <a:pt x="2832" y="1337"/>
                  </a:moveTo>
                  <a:cubicBezTo>
                    <a:pt x="2829" y="1337"/>
                    <a:pt x="2823" y="1334"/>
                    <a:pt x="2820" y="1334"/>
                  </a:cubicBezTo>
                  <a:cubicBezTo>
                    <a:pt x="2820" y="1331"/>
                    <a:pt x="2823" y="1326"/>
                    <a:pt x="2823" y="1323"/>
                  </a:cubicBezTo>
                  <a:cubicBezTo>
                    <a:pt x="2826" y="1323"/>
                    <a:pt x="2832" y="1323"/>
                    <a:pt x="2835" y="1326"/>
                  </a:cubicBezTo>
                  <a:cubicBezTo>
                    <a:pt x="2835" y="1329"/>
                    <a:pt x="2832" y="1334"/>
                    <a:pt x="2832" y="1337"/>
                  </a:cubicBezTo>
                  <a:close/>
                  <a:moveTo>
                    <a:pt x="2815" y="1584"/>
                  </a:moveTo>
                  <a:cubicBezTo>
                    <a:pt x="2820" y="1590"/>
                    <a:pt x="2823" y="1601"/>
                    <a:pt x="2820" y="1610"/>
                  </a:cubicBezTo>
                  <a:cubicBezTo>
                    <a:pt x="2804" y="1610"/>
                    <a:pt x="2812" y="1593"/>
                    <a:pt x="2815" y="1584"/>
                  </a:cubicBezTo>
                  <a:close/>
                  <a:moveTo>
                    <a:pt x="2812" y="1641"/>
                  </a:moveTo>
                  <a:cubicBezTo>
                    <a:pt x="2818" y="1632"/>
                    <a:pt x="2820" y="1646"/>
                    <a:pt x="2812" y="1641"/>
                  </a:cubicBezTo>
                  <a:close/>
                  <a:moveTo>
                    <a:pt x="2812" y="1649"/>
                  </a:moveTo>
                  <a:cubicBezTo>
                    <a:pt x="2801" y="1649"/>
                    <a:pt x="2812" y="1635"/>
                    <a:pt x="2812" y="1649"/>
                  </a:cubicBezTo>
                  <a:close/>
                  <a:moveTo>
                    <a:pt x="2806" y="1669"/>
                  </a:moveTo>
                  <a:cubicBezTo>
                    <a:pt x="2812" y="1666"/>
                    <a:pt x="2804" y="1672"/>
                    <a:pt x="2806" y="1669"/>
                  </a:cubicBezTo>
                  <a:close/>
                  <a:moveTo>
                    <a:pt x="2801" y="1491"/>
                  </a:moveTo>
                  <a:cubicBezTo>
                    <a:pt x="2804" y="1486"/>
                    <a:pt x="2812" y="1488"/>
                    <a:pt x="2815" y="1483"/>
                  </a:cubicBezTo>
                  <a:cubicBezTo>
                    <a:pt x="2826" y="1491"/>
                    <a:pt x="2801" y="1502"/>
                    <a:pt x="2801" y="1491"/>
                  </a:cubicBezTo>
                  <a:close/>
                  <a:moveTo>
                    <a:pt x="2820" y="1511"/>
                  </a:moveTo>
                  <a:lnTo>
                    <a:pt x="2820" y="1517"/>
                  </a:lnTo>
                  <a:lnTo>
                    <a:pt x="2815" y="1517"/>
                  </a:lnTo>
                  <a:lnTo>
                    <a:pt x="2815" y="1511"/>
                  </a:lnTo>
                  <a:lnTo>
                    <a:pt x="2820" y="1511"/>
                  </a:lnTo>
                  <a:close/>
                  <a:moveTo>
                    <a:pt x="2801" y="1621"/>
                  </a:moveTo>
                  <a:cubicBezTo>
                    <a:pt x="2801" y="1615"/>
                    <a:pt x="2812" y="1624"/>
                    <a:pt x="2801" y="1621"/>
                  </a:cubicBezTo>
                  <a:close/>
                  <a:moveTo>
                    <a:pt x="2801" y="1579"/>
                  </a:moveTo>
                  <a:cubicBezTo>
                    <a:pt x="2804" y="1576"/>
                    <a:pt x="2798" y="1579"/>
                    <a:pt x="2801" y="1579"/>
                  </a:cubicBezTo>
                  <a:close/>
                  <a:moveTo>
                    <a:pt x="2806" y="1751"/>
                  </a:moveTo>
                  <a:cubicBezTo>
                    <a:pt x="2809" y="1751"/>
                    <a:pt x="2804" y="1754"/>
                    <a:pt x="2801" y="1754"/>
                  </a:cubicBezTo>
                  <a:cubicBezTo>
                    <a:pt x="2798" y="1754"/>
                    <a:pt x="2804" y="1751"/>
                    <a:pt x="2806" y="1751"/>
                  </a:cubicBezTo>
                  <a:close/>
                  <a:moveTo>
                    <a:pt x="2815" y="1731"/>
                  </a:moveTo>
                  <a:cubicBezTo>
                    <a:pt x="2798" y="1725"/>
                    <a:pt x="2826" y="1711"/>
                    <a:pt x="2815" y="1731"/>
                  </a:cubicBezTo>
                  <a:close/>
                  <a:moveTo>
                    <a:pt x="2806" y="1683"/>
                  </a:moveTo>
                  <a:cubicBezTo>
                    <a:pt x="2812" y="1675"/>
                    <a:pt x="2818" y="1686"/>
                    <a:pt x="2823" y="1689"/>
                  </a:cubicBezTo>
                  <a:cubicBezTo>
                    <a:pt x="2818" y="1697"/>
                    <a:pt x="2812" y="1686"/>
                    <a:pt x="2806" y="1683"/>
                  </a:cubicBezTo>
                  <a:close/>
                  <a:moveTo>
                    <a:pt x="2829" y="1748"/>
                  </a:moveTo>
                  <a:cubicBezTo>
                    <a:pt x="2829" y="1754"/>
                    <a:pt x="2823" y="1754"/>
                    <a:pt x="2820" y="1751"/>
                  </a:cubicBezTo>
                  <a:cubicBezTo>
                    <a:pt x="2823" y="1748"/>
                    <a:pt x="2826" y="1748"/>
                    <a:pt x="2829" y="1748"/>
                  </a:cubicBezTo>
                  <a:close/>
                  <a:moveTo>
                    <a:pt x="2843" y="1861"/>
                  </a:moveTo>
                  <a:cubicBezTo>
                    <a:pt x="2841" y="1861"/>
                    <a:pt x="2843" y="1858"/>
                    <a:pt x="2844" y="1858"/>
                  </a:cubicBezTo>
                  <a:cubicBezTo>
                    <a:pt x="2844" y="1857"/>
                    <a:pt x="2844" y="1855"/>
                    <a:pt x="2846" y="1855"/>
                  </a:cubicBezTo>
                  <a:cubicBezTo>
                    <a:pt x="2846" y="1849"/>
                    <a:pt x="2863" y="1858"/>
                    <a:pt x="2857" y="1864"/>
                  </a:cubicBezTo>
                  <a:cubicBezTo>
                    <a:pt x="2854" y="1864"/>
                    <a:pt x="2851" y="1861"/>
                    <a:pt x="2849" y="1861"/>
                  </a:cubicBezTo>
                  <a:lnTo>
                    <a:pt x="2846" y="1861"/>
                  </a:lnTo>
                  <a:cubicBezTo>
                    <a:pt x="2845" y="1861"/>
                    <a:pt x="2844" y="1860"/>
                    <a:pt x="2844" y="1859"/>
                  </a:cubicBezTo>
                  <a:cubicBezTo>
                    <a:pt x="2844" y="1859"/>
                    <a:pt x="2844" y="1860"/>
                    <a:pt x="2843" y="1861"/>
                  </a:cubicBezTo>
                  <a:close/>
                  <a:moveTo>
                    <a:pt x="2835" y="1748"/>
                  </a:moveTo>
                  <a:cubicBezTo>
                    <a:pt x="2835" y="1745"/>
                    <a:pt x="2835" y="1742"/>
                    <a:pt x="2837" y="1742"/>
                  </a:cubicBezTo>
                  <a:cubicBezTo>
                    <a:pt x="2846" y="1742"/>
                    <a:pt x="2849" y="1745"/>
                    <a:pt x="2849" y="1751"/>
                  </a:cubicBezTo>
                  <a:cubicBezTo>
                    <a:pt x="2846" y="1751"/>
                    <a:pt x="2840" y="1748"/>
                    <a:pt x="2835" y="1748"/>
                  </a:cubicBezTo>
                  <a:close/>
                  <a:moveTo>
                    <a:pt x="2846" y="1700"/>
                  </a:moveTo>
                  <a:cubicBezTo>
                    <a:pt x="2846" y="1697"/>
                    <a:pt x="2849" y="1694"/>
                    <a:pt x="2851" y="1691"/>
                  </a:cubicBezTo>
                  <a:cubicBezTo>
                    <a:pt x="2854" y="1691"/>
                    <a:pt x="2857" y="1697"/>
                    <a:pt x="2854" y="1700"/>
                  </a:cubicBezTo>
                  <a:cubicBezTo>
                    <a:pt x="2849" y="1703"/>
                    <a:pt x="2846" y="1703"/>
                    <a:pt x="2846" y="1700"/>
                  </a:cubicBezTo>
                  <a:close/>
                  <a:moveTo>
                    <a:pt x="2849" y="1536"/>
                  </a:moveTo>
                  <a:cubicBezTo>
                    <a:pt x="2835" y="1525"/>
                    <a:pt x="2866" y="1511"/>
                    <a:pt x="2849" y="1536"/>
                  </a:cubicBezTo>
                  <a:close/>
                  <a:moveTo>
                    <a:pt x="2849" y="1466"/>
                  </a:moveTo>
                  <a:cubicBezTo>
                    <a:pt x="2851" y="1466"/>
                    <a:pt x="2843" y="1469"/>
                    <a:pt x="2849" y="1466"/>
                  </a:cubicBezTo>
                  <a:close/>
                  <a:moveTo>
                    <a:pt x="2849" y="1457"/>
                  </a:moveTo>
                  <a:lnTo>
                    <a:pt x="2849" y="1453"/>
                  </a:lnTo>
                  <a:cubicBezTo>
                    <a:pt x="2851" y="1453"/>
                    <a:pt x="2854" y="1455"/>
                    <a:pt x="2854" y="1457"/>
                  </a:cubicBezTo>
                  <a:cubicBezTo>
                    <a:pt x="2854" y="1455"/>
                    <a:pt x="2851" y="1457"/>
                    <a:pt x="2849" y="1457"/>
                  </a:cubicBezTo>
                  <a:close/>
                  <a:moveTo>
                    <a:pt x="2849" y="1666"/>
                  </a:moveTo>
                  <a:cubicBezTo>
                    <a:pt x="2846" y="1660"/>
                    <a:pt x="2854" y="1660"/>
                    <a:pt x="2857" y="1660"/>
                  </a:cubicBezTo>
                  <a:cubicBezTo>
                    <a:pt x="2857" y="1666"/>
                    <a:pt x="2851" y="1666"/>
                    <a:pt x="2849" y="1666"/>
                  </a:cubicBezTo>
                  <a:close/>
                  <a:moveTo>
                    <a:pt x="2863" y="1235"/>
                  </a:moveTo>
                  <a:cubicBezTo>
                    <a:pt x="2857" y="1235"/>
                    <a:pt x="2854" y="1230"/>
                    <a:pt x="2849" y="1233"/>
                  </a:cubicBezTo>
                  <a:cubicBezTo>
                    <a:pt x="2849" y="1227"/>
                    <a:pt x="2851" y="1224"/>
                    <a:pt x="2851" y="1221"/>
                  </a:cubicBezTo>
                  <a:cubicBezTo>
                    <a:pt x="2857" y="1221"/>
                    <a:pt x="2863" y="1224"/>
                    <a:pt x="2863" y="1233"/>
                  </a:cubicBezTo>
                  <a:lnTo>
                    <a:pt x="2863" y="1235"/>
                  </a:lnTo>
                  <a:close/>
                  <a:moveTo>
                    <a:pt x="2871" y="1345"/>
                  </a:moveTo>
                  <a:cubicBezTo>
                    <a:pt x="2868" y="1348"/>
                    <a:pt x="2860" y="1345"/>
                    <a:pt x="2866" y="1337"/>
                  </a:cubicBezTo>
                  <a:cubicBezTo>
                    <a:pt x="2860" y="1343"/>
                    <a:pt x="2854" y="1345"/>
                    <a:pt x="2849" y="1348"/>
                  </a:cubicBezTo>
                  <a:cubicBezTo>
                    <a:pt x="2849" y="1340"/>
                    <a:pt x="2857" y="1337"/>
                    <a:pt x="2866" y="1337"/>
                  </a:cubicBezTo>
                  <a:cubicBezTo>
                    <a:pt x="2868" y="1337"/>
                    <a:pt x="2868" y="1340"/>
                    <a:pt x="2871" y="1340"/>
                  </a:cubicBezTo>
                  <a:lnTo>
                    <a:pt x="2871" y="1337"/>
                  </a:lnTo>
                  <a:lnTo>
                    <a:pt x="2874" y="1340"/>
                  </a:lnTo>
                  <a:cubicBezTo>
                    <a:pt x="2874" y="1340"/>
                    <a:pt x="2877" y="1343"/>
                    <a:pt x="2877" y="1345"/>
                  </a:cubicBezTo>
                  <a:lnTo>
                    <a:pt x="2871" y="1345"/>
                  </a:lnTo>
                  <a:close/>
                  <a:moveTo>
                    <a:pt x="2868" y="1348"/>
                  </a:moveTo>
                  <a:cubicBezTo>
                    <a:pt x="2868" y="1354"/>
                    <a:pt x="2854" y="1357"/>
                    <a:pt x="2857" y="1348"/>
                  </a:cubicBezTo>
                  <a:lnTo>
                    <a:pt x="2868" y="1348"/>
                  </a:lnTo>
                  <a:close/>
                  <a:moveTo>
                    <a:pt x="2866" y="1269"/>
                  </a:moveTo>
                  <a:cubicBezTo>
                    <a:pt x="2854" y="1258"/>
                    <a:pt x="2883" y="1244"/>
                    <a:pt x="2866" y="1269"/>
                  </a:cubicBezTo>
                  <a:close/>
                  <a:moveTo>
                    <a:pt x="2854" y="1317"/>
                  </a:moveTo>
                  <a:cubicBezTo>
                    <a:pt x="2857" y="1312"/>
                    <a:pt x="2866" y="1320"/>
                    <a:pt x="2854" y="1317"/>
                  </a:cubicBezTo>
                  <a:close/>
                  <a:moveTo>
                    <a:pt x="2849" y="1430"/>
                  </a:moveTo>
                  <a:cubicBezTo>
                    <a:pt x="2846" y="1433"/>
                    <a:pt x="2854" y="1427"/>
                    <a:pt x="2849" y="1430"/>
                  </a:cubicBezTo>
                  <a:close/>
                  <a:moveTo>
                    <a:pt x="2874" y="1255"/>
                  </a:moveTo>
                  <a:cubicBezTo>
                    <a:pt x="2874" y="1252"/>
                    <a:pt x="2868" y="1258"/>
                    <a:pt x="2874" y="1255"/>
                  </a:cubicBezTo>
                  <a:close/>
                  <a:moveTo>
                    <a:pt x="2885" y="1182"/>
                  </a:moveTo>
                  <a:cubicBezTo>
                    <a:pt x="2894" y="1202"/>
                    <a:pt x="2871" y="1165"/>
                    <a:pt x="2885" y="1182"/>
                  </a:cubicBezTo>
                  <a:close/>
                  <a:moveTo>
                    <a:pt x="2897" y="1190"/>
                  </a:moveTo>
                  <a:cubicBezTo>
                    <a:pt x="2885" y="1199"/>
                    <a:pt x="2871" y="1202"/>
                    <a:pt x="2860" y="1196"/>
                  </a:cubicBezTo>
                  <a:cubicBezTo>
                    <a:pt x="2863" y="1182"/>
                    <a:pt x="2883" y="1190"/>
                    <a:pt x="2897" y="1190"/>
                  </a:cubicBezTo>
                  <a:close/>
                  <a:moveTo>
                    <a:pt x="2860" y="1125"/>
                  </a:moveTo>
                  <a:cubicBezTo>
                    <a:pt x="2874" y="1142"/>
                    <a:pt x="2840" y="1159"/>
                    <a:pt x="2835" y="1140"/>
                  </a:cubicBezTo>
                  <a:cubicBezTo>
                    <a:pt x="2837" y="1131"/>
                    <a:pt x="2854" y="1140"/>
                    <a:pt x="2860" y="1125"/>
                  </a:cubicBezTo>
                  <a:close/>
                  <a:moveTo>
                    <a:pt x="2835" y="1156"/>
                  </a:moveTo>
                  <a:cubicBezTo>
                    <a:pt x="2849" y="1162"/>
                    <a:pt x="2823" y="1176"/>
                    <a:pt x="2835" y="1156"/>
                  </a:cubicBezTo>
                  <a:close/>
                  <a:moveTo>
                    <a:pt x="2835" y="1275"/>
                  </a:moveTo>
                  <a:cubicBezTo>
                    <a:pt x="2829" y="1281"/>
                    <a:pt x="2826" y="1272"/>
                    <a:pt x="2812" y="1275"/>
                  </a:cubicBezTo>
                  <a:cubicBezTo>
                    <a:pt x="2815" y="1269"/>
                    <a:pt x="2815" y="1261"/>
                    <a:pt x="2818" y="1255"/>
                  </a:cubicBezTo>
                  <a:cubicBezTo>
                    <a:pt x="2835" y="1255"/>
                    <a:pt x="2826" y="1269"/>
                    <a:pt x="2835" y="1275"/>
                  </a:cubicBezTo>
                  <a:close/>
                  <a:moveTo>
                    <a:pt x="2829" y="1238"/>
                  </a:moveTo>
                  <a:cubicBezTo>
                    <a:pt x="2820" y="1235"/>
                    <a:pt x="2820" y="1224"/>
                    <a:pt x="2823" y="1213"/>
                  </a:cubicBezTo>
                  <a:cubicBezTo>
                    <a:pt x="2832" y="1219"/>
                    <a:pt x="2832" y="1230"/>
                    <a:pt x="2829" y="1238"/>
                  </a:cubicBezTo>
                  <a:close/>
                  <a:moveTo>
                    <a:pt x="2820" y="1151"/>
                  </a:moveTo>
                  <a:cubicBezTo>
                    <a:pt x="2822" y="1151"/>
                    <a:pt x="2820" y="1152"/>
                    <a:pt x="2819" y="1153"/>
                  </a:cubicBezTo>
                  <a:cubicBezTo>
                    <a:pt x="2820" y="1153"/>
                    <a:pt x="2820" y="1153"/>
                    <a:pt x="2820" y="1154"/>
                  </a:cubicBezTo>
                  <a:cubicBezTo>
                    <a:pt x="2815" y="1159"/>
                    <a:pt x="2812" y="1154"/>
                    <a:pt x="2809" y="1151"/>
                  </a:cubicBezTo>
                  <a:cubicBezTo>
                    <a:pt x="2806" y="1159"/>
                    <a:pt x="2801" y="1162"/>
                    <a:pt x="2792" y="1162"/>
                  </a:cubicBezTo>
                  <a:lnTo>
                    <a:pt x="2789" y="1162"/>
                  </a:lnTo>
                  <a:cubicBezTo>
                    <a:pt x="2792" y="1159"/>
                    <a:pt x="2795" y="1145"/>
                    <a:pt x="2804" y="1145"/>
                  </a:cubicBezTo>
                  <a:cubicBezTo>
                    <a:pt x="2809" y="1140"/>
                    <a:pt x="2814" y="1149"/>
                    <a:pt x="2819" y="1153"/>
                  </a:cubicBezTo>
                  <a:cubicBezTo>
                    <a:pt x="2819" y="1152"/>
                    <a:pt x="2820" y="1152"/>
                    <a:pt x="2820" y="1151"/>
                  </a:cubicBezTo>
                  <a:close/>
                  <a:moveTo>
                    <a:pt x="2820" y="1173"/>
                  </a:moveTo>
                  <a:cubicBezTo>
                    <a:pt x="2835" y="1176"/>
                    <a:pt x="2832" y="1190"/>
                    <a:pt x="2829" y="1199"/>
                  </a:cubicBezTo>
                  <a:cubicBezTo>
                    <a:pt x="2823" y="1196"/>
                    <a:pt x="2820" y="1190"/>
                    <a:pt x="2818" y="1185"/>
                  </a:cubicBezTo>
                  <a:cubicBezTo>
                    <a:pt x="2818" y="1188"/>
                    <a:pt x="2820" y="1190"/>
                    <a:pt x="2818" y="1193"/>
                  </a:cubicBezTo>
                  <a:cubicBezTo>
                    <a:pt x="2806" y="1193"/>
                    <a:pt x="2812" y="1190"/>
                    <a:pt x="2806" y="1188"/>
                  </a:cubicBezTo>
                  <a:cubicBezTo>
                    <a:pt x="2804" y="1188"/>
                    <a:pt x="2809" y="1196"/>
                    <a:pt x="2804" y="1199"/>
                  </a:cubicBezTo>
                  <a:cubicBezTo>
                    <a:pt x="2798" y="1199"/>
                    <a:pt x="2798" y="1188"/>
                    <a:pt x="2798" y="1182"/>
                  </a:cubicBezTo>
                  <a:cubicBezTo>
                    <a:pt x="2804" y="1179"/>
                    <a:pt x="2809" y="1179"/>
                    <a:pt x="2818" y="1179"/>
                  </a:cubicBezTo>
                  <a:cubicBezTo>
                    <a:pt x="2818" y="1176"/>
                    <a:pt x="2818" y="1173"/>
                    <a:pt x="2820" y="1173"/>
                  </a:cubicBezTo>
                  <a:close/>
                  <a:moveTo>
                    <a:pt x="2795" y="1199"/>
                  </a:moveTo>
                  <a:cubicBezTo>
                    <a:pt x="2789" y="1216"/>
                    <a:pt x="2787" y="1216"/>
                    <a:pt x="2772" y="1224"/>
                  </a:cubicBezTo>
                  <a:cubicBezTo>
                    <a:pt x="2775" y="1207"/>
                    <a:pt x="2781" y="1193"/>
                    <a:pt x="2795" y="1199"/>
                  </a:cubicBezTo>
                  <a:close/>
                  <a:moveTo>
                    <a:pt x="2767" y="1204"/>
                  </a:moveTo>
                  <a:lnTo>
                    <a:pt x="2772" y="1204"/>
                  </a:lnTo>
                  <a:cubicBezTo>
                    <a:pt x="2775" y="1207"/>
                    <a:pt x="2773" y="1212"/>
                    <a:pt x="2768" y="1213"/>
                  </a:cubicBezTo>
                  <a:lnTo>
                    <a:pt x="2768" y="1213"/>
                  </a:lnTo>
                  <a:cubicBezTo>
                    <a:pt x="2766" y="1215"/>
                    <a:pt x="2763" y="1218"/>
                    <a:pt x="2767" y="1213"/>
                  </a:cubicBezTo>
                  <a:lnTo>
                    <a:pt x="2767" y="1204"/>
                  </a:lnTo>
                  <a:close/>
                  <a:moveTo>
                    <a:pt x="2781" y="1171"/>
                  </a:moveTo>
                  <a:cubicBezTo>
                    <a:pt x="2795" y="1176"/>
                    <a:pt x="2770" y="1190"/>
                    <a:pt x="2781" y="1171"/>
                  </a:cubicBezTo>
                  <a:close/>
                  <a:moveTo>
                    <a:pt x="2772" y="1142"/>
                  </a:moveTo>
                  <a:cubicBezTo>
                    <a:pt x="2787" y="1148"/>
                    <a:pt x="2761" y="1162"/>
                    <a:pt x="2772" y="1142"/>
                  </a:cubicBezTo>
                  <a:close/>
                  <a:moveTo>
                    <a:pt x="2778" y="1131"/>
                  </a:moveTo>
                  <a:cubicBezTo>
                    <a:pt x="2775" y="1134"/>
                    <a:pt x="2770" y="1137"/>
                    <a:pt x="2767" y="1137"/>
                  </a:cubicBezTo>
                  <a:cubicBezTo>
                    <a:pt x="2764" y="1131"/>
                    <a:pt x="2775" y="1131"/>
                    <a:pt x="2778" y="1131"/>
                  </a:cubicBezTo>
                  <a:close/>
                  <a:moveTo>
                    <a:pt x="2758" y="1171"/>
                  </a:moveTo>
                  <a:cubicBezTo>
                    <a:pt x="2761" y="1173"/>
                    <a:pt x="2764" y="1179"/>
                    <a:pt x="2761" y="1179"/>
                  </a:cubicBezTo>
                  <a:cubicBezTo>
                    <a:pt x="2764" y="1179"/>
                    <a:pt x="2764" y="1181"/>
                    <a:pt x="2760" y="1182"/>
                  </a:cubicBezTo>
                  <a:cubicBezTo>
                    <a:pt x="2754" y="1181"/>
                    <a:pt x="2745" y="1173"/>
                    <a:pt x="2758" y="1171"/>
                  </a:cubicBezTo>
                  <a:close/>
                  <a:moveTo>
                    <a:pt x="2758" y="1182"/>
                  </a:moveTo>
                  <a:lnTo>
                    <a:pt x="2761" y="1182"/>
                  </a:lnTo>
                  <a:lnTo>
                    <a:pt x="2760" y="1182"/>
                  </a:lnTo>
                  <a:cubicBezTo>
                    <a:pt x="2760" y="1182"/>
                    <a:pt x="2759" y="1182"/>
                    <a:pt x="2758" y="1182"/>
                  </a:cubicBezTo>
                  <a:close/>
                  <a:moveTo>
                    <a:pt x="2750" y="795"/>
                  </a:moveTo>
                  <a:cubicBezTo>
                    <a:pt x="2753" y="793"/>
                    <a:pt x="2744" y="798"/>
                    <a:pt x="2750" y="795"/>
                  </a:cubicBezTo>
                  <a:close/>
                  <a:moveTo>
                    <a:pt x="2753" y="1427"/>
                  </a:moveTo>
                  <a:cubicBezTo>
                    <a:pt x="2753" y="1433"/>
                    <a:pt x="2750" y="1436"/>
                    <a:pt x="2747" y="1439"/>
                  </a:cubicBezTo>
                  <a:cubicBezTo>
                    <a:pt x="2744" y="1433"/>
                    <a:pt x="2747" y="1430"/>
                    <a:pt x="2753" y="1427"/>
                  </a:cubicBezTo>
                  <a:close/>
                  <a:moveTo>
                    <a:pt x="2744" y="767"/>
                  </a:moveTo>
                  <a:cubicBezTo>
                    <a:pt x="2756" y="773"/>
                    <a:pt x="2730" y="787"/>
                    <a:pt x="2744" y="767"/>
                  </a:cubicBezTo>
                  <a:close/>
                  <a:moveTo>
                    <a:pt x="2741" y="1416"/>
                  </a:moveTo>
                  <a:cubicBezTo>
                    <a:pt x="2727" y="1408"/>
                    <a:pt x="2756" y="1393"/>
                    <a:pt x="2741" y="1416"/>
                  </a:cubicBezTo>
                  <a:close/>
                  <a:moveTo>
                    <a:pt x="2741" y="1480"/>
                  </a:moveTo>
                  <a:cubicBezTo>
                    <a:pt x="2733" y="1483"/>
                    <a:pt x="2725" y="1486"/>
                    <a:pt x="2716" y="1486"/>
                  </a:cubicBezTo>
                  <a:cubicBezTo>
                    <a:pt x="2725" y="1477"/>
                    <a:pt x="2733" y="1477"/>
                    <a:pt x="2739" y="1469"/>
                  </a:cubicBezTo>
                  <a:cubicBezTo>
                    <a:pt x="2741" y="1471"/>
                    <a:pt x="2739" y="1474"/>
                    <a:pt x="2741" y="1480"/>
                  </a:cubicBezTo>
                  <a:close/>
                  <a:moveTo>
                    <a:pt x="2725" y="1283"/>
                  </a:moveTo>
                  <a:cubicBezTo>
                    <a:pt x="2736" y="1286"/>
                    <a:pt x="2733" y="1298"/>
                    <a:pt x="2730" y="1303"/>
                  </a:cubicBezTo>
                  <a:cubicBezTo>
                    <a:pt x="2725" y="1298"/>
                    <a:pt x="2722" y="1289"/>
                    <a:pt x="2725" y="1283"/>
                  </a:cubicBezTo>
                  <a:close/>
                  <a:moveTo>
                    <a:pt x="2722" y="1354"/>
                  </a:moveTo>
                  <a:cubicBezTo>
                    <a:pt x="2725" y="1345"/>
                    <a:pt x="2727" y="1362"/>
                    <a:pt x="2722" y="1354"/>
                  </a:cubicBezTo>
                  <a:close/>
                  <a:moveTo>
                    <a:pt x="2719" y="1295"/>
                  </a:moveTo>
                  <a:cubicBezTo>
                    <a:pt x="2716" y="1295"/>
                    <a:pt x="2716" y="1292"/>
                    <a:pt x="2713" y="1292"/>
                  </a:cubicBezTo>
                  <a:cubicBezTo>
                    <a:pt x="2713" y="1289"/>
                    <a:pt x="2716" y="1289"/>
                    <a:pt x="2716" y="1286"/>
                  </a:cubicBezTo>
                  <a:lnTo>
                    <a:pt x="2722" y="1286"/>
                  </a:lnTo>
                  <a:cubicBezTo>
                    <a:pt x="2722" y="1292"/>
                    <a:pt x="2722" y="1292"/>
                    <a:pt x="2719" y="1295"/>
                  </a:cubicBezTo>
                  <a:close/>
                  <a:moveTo>
                    <a:pt x="2713" y="763"/>
                  </a:moveTo>
                  <a:cubicBezTo>
                    <a:pt x="2714" y="761"/>
                    <a:pt x="2717" y="761"/>
                    <a:pt x="2713" y="764"/>
                  </a:cubicBezTo>
                  <a:cubicBezTo>
                    <a:pt x="2712" y="764"/>
                    <a:pt x="2713" y="764"/>
                    <a:pt x="2713" y="763"/>
                  </a:cubicBezTo>
                  <a:close/>
                  <a:moveTo>
                    <a:pt x="2708" y="722"/>
                  </a:moveTo>
                  <a:cubicBezTo>
                    <a:pt x="2708" y="725"/>
                    <a:pt x="2702" y="728"/>
                    <a:pt x="2699" y="728"/>
                  </a:cubicBezTo>
                  <a:cubicBezTo>
                    <a:pt x="2702" y="725"/>
                    <a:pt x="2705" y="722"/>
                    <a:pt x="2708" y="722"/>
                  </a:cubicBezTo>
                  <a:close/>
                  <a:moveTo>
                    <a:pt x="2719" y="781"/>
                  </a:moveTo>
                  <a:cubicBezTo>
                    <a:pt x="2713" y="790"/>
                    <a:pt x="2710" y="784"/>
                    <a:pt x="2705" y="781"/>
                  </a:cubicBezTo>
                  <a:lnTo>
                    <a:pt x="2702" y="781"/>
                  </a:lnTo>
                  <a:cubicBezTo>
                    <a:pt x="2702" y="781"/>
                    <a:pt x="2699" y="779"/>
                    <a:pt x="2699" y="776"/>
                  </a:cubicBezTo>
                  <a:lnTo>
                    <a:pt x="2702" y="776"/>
                  </a:lnTo>
                  <a:cubicBezTo>
                    <a:pt x="2699" y="773"/>
                    <a:pt x="2696" y="773"/>
                    <a:pt x="2693" y="773"/>
                  </a:cubicBezTo>
                  <a:cubicBezTo>
                    <a:pt x="2702" y="762"/>
                    <a:pt x="2716" y="779"/>
                    <a:pt x="2719" y="781"/>
                  </a:cubicBezTo>
                  <a:close/>
                  <a:moveTo>
                    <a:pt x="2696" y="680"/>
                  </a:moveTo>
                  <a:cubicBezTo>
                    <a:pt x="2677" y="694"/>
                    <a:pt x="2685" y="660"/>
                    <a:pt x="2696" y="680"/>
                  </a:cubicBezTo>
                  <a:close/>
                  <a:moveTo>
                    <a:pt x="2688" y="1171"/>
                  </a:moveTo>
                  <a:cubicBezTo>
                    <a:pt x="2688" y="1173"/>
                    <a:pt x="2685" y="1179"/>
                    <a:pt x="2685" y="1182"/>
                  </a:cubicBezTo>
                  <a:cubicBezTo>
                    <a:pt x="2682" y="1182"/>
                    <a:pt x="2677" y="1179"/>
                    <a:pt x="2674" y="1179"/>
                  </a:cubicBezTo>
                  <a:cubicBezTo>
                    <a:pt x="2674" y="1176"/>
                    <a:pt x="2674" y="1171"/>
                    <a:pt x="2677" y="1168"/>
                  </a:cubicBezTo>
                  <a:cubicBezTo>
                    <a:pt x="2679" y="1168"/>
                    <a:pt x="2685" y="1171"/>
                    <a:pt x="2688" y="1171"/>
                  </a:cubicBezTo>
                  <a:close/>
                  <a:moveTo>
                    <a:pt x="2671" y="691"/>
                  </a:moveTo>
                  <a:cubicBezTo>
                    <a:pt x="2668" y="694"/>
                    <a:pt x="2677" y="688"/>
                    <a:pt x="2671" y="691"/>
                  </a:cubicBezTo>
                  <a:close/>
                  <a:moveTo>
                    <a:pt x="2677" y="762"/>
                  </a:moveTo>
                  <a:cubicBezTo>
                    <a:pt x="2662" y="762"/>
                    <a:pt x="2668" y="747"/>
                    <a:pt x="2660" y="742"/>
                  </a:cubicBezTo>
                  <a:cubicBezTo>
                    <a:pt x="2662" y="733"/>
                    <a:pt x="2682" y="750"/>
                    <a:pt x="2677" y="762"/>
                  </a:cubicBezTo>
                  <a:close/>
                  <a:moveTo>
                    <a:pt x="2648" y="623"/>
                  </a:moveTo>
                  <a:cubicBezTo>
                    <a:pt x="2651" y="629"/>
                    <a:pt x="2634" y="635"/>
                    <a:pt x="2637" y="626"/>
                  </a:cubicBezTo>
                  <a:cubicBezTo>
                    <a:pt x="2640" y="623"/>
                    <a:pt x="2643" y="623"/>
                    <a:pt x="2648" y="623"/>
                  </a:cubicBezTo>
                  <a:close/>
                  <a:moveTo>
                    <a:pt x="2640" y="609"/>
                  </a:moveTo>
                  <a:cubicBezTo>
                    <a:pt x="2654" y="615"/>
                    <a:pt x="2629" y="629"/>
                    <a:pt x="2640" y="609"/>
                  </a:cubicBezTo>
                  <a:close/>
                  <a:moveTo>
                    <a:pt x="2643" y="762"/>
                  </a:moveTo>
                  <a:cubicBezTo>
                    <a:pt x="2646" y="756"/>
                    <a:pt x="2657" y="756"/>
                    <a:pt x="2662" y="756"/>
                  </a:cubicBezTo>
                  <a:cubicBezTo>
                    <a:pt x="2662" y="764"/>
                    <a:pt x="2648" y="767"/>
                    <a:pt x="2643" y="764"/>
                  </a:cubicBezTo>
                  <a:cubicBezTo>
                    <a:pt x="2640" y="767"/>
                    <a:pt x="2637" y="767"/>
                    <a:pt x="2634" y="767"/>
                  </a:cubicBezTo>
                  <a:cubicBezTo>
                    <a:pt x="2626" y="756"/>
                    <a:pt x="2640" y="759"/>
                    <a:pt x="2643" y="762"/>
                  </a:cubicBezTo>
                  <a:close/>
                  <a:moveTo>
                    <a:pt x="2646" y="1148"/>
                  </a:moveTo>
                  <a:cubicBezTo>
                    <a:pt x="2648" y="1148"/>
                    <a:pt x="2637" y="1154"/>
                    <a:pt x="2631" y="1156"/>
                  </a:cubicBezTo>
                  <a:cubicBezTo>
                    <a:pt x="2634" y="1145"/>
                    <a:pt x="2637" y="1142"/>
                    <a:pt x="2646" y="1148"/>
                  </a:cubicBezTo>
                  <a:close/>
                  <a:moveTo>
                    <a:pt x="2623" y="606"/>
                  </a:moveTo>
                  <a:cubicBezTo>
                    <a:pt x="2617" y="598"/>
                    <a:pt x="2617" y="587"/>
                    <a:pt x="2606" y="581"/>
                  </a:cubicBezTo>
                  <a:cubicBezTo>
                    <a:pt x="2629" y="567"/>
                    <a:pt x="2646" y="590"/>
                    <a:pt x="2623" y="606"/>
                  </a:cubicBezTo>
                  <a:close/>
                  <a:moveTo>
                    <a:pt x="2609" y="609"/>
                  </a:moveTo>
                  <a:lnTo>
                    <a:pt x="2609" y="610"/>
                  </a:lnTo>
                  <a:cubicBezTo>
                    <a:pt x="2608" y="611"/>
                    <a:pt x="2607" y="611"/>
                    <a:pt x="2609" y="609"/>
                  </a:cubicBezTo>
                  <a:cubicBezTo>
                    <a:pt x="2610" y="609"/>
                    <a:pt x="2610" y="610"/>
                    <a:pt x="2609" y="610"/>
                  </a:cubicBezTo>
                  <a:lnTo>
                    <a:pt x="2609" y="609"/>
                  </a:lnTo>
                  <a:close/>
                  <a:moveTo>
                    <a:pt x="2609" y="705"/>
                  </a:moveTo>
                  <a:cubicBezTo>
                    <a:pt x="2595" y="697"/>
                    <a:pt x="2623" y="683"/>
                    <a:pt x="2609" y="705"/>
                  </a:cubicBezTo>
                  <a:close/>
                  <a:moveTo>
                    <a:pt x="2609" y="595"/>
                  </a:moveTo>
                  <a:cubicBezTo>
                    <a:pt x="2606" y="601"/>
                    <a:pt x="2600" y="604"/>
                    <a:pt x="2595" y="604"/>
                  </a:cubicBezTo>
                  <a:cubicBezTo>
                    <a:pt x="2595" y="598"/>
                    <a:pt x="2606" y="598"/>
                    <a:pt x="2609" y="595"/>
                  </a:cubicBezTo>
                  <a:close/>
                  <a:moveTo>
                    <a:pt x="2595" y="612"/>
                  </a:moveTo>
                  <a:lnTo>
                    <a:pt x="2603" y="612"/>
                  </a:lnTo>
                  <a:cubicBezTo>
                    <a:pt x="2600" y="615"/>
                    <a:pt x="2600" y="621"/>
                    <a:pt x="2598" y="618"/>
                  </a:cubicBezTo>
                  <a:cubicBezTo>
                    <a:pt x="2595" y="618"/>
                    <a:pt x="2595" y="615"/>
                    <a:pt x="2595" y="612"/>
                  </a:cubicBezTo>
                  <a:close/>
                  <a:moveTo>
                    <a:pt x="2595" y="674"/>
                  </a:moveTo>
                  <a:cubicBezTo>
                    <a:pt x="2583" y="671"/>
                    <a:pt x="2586" y="660"/>
                    <a:pt x="2589" y="654"/>
                  </a:cubicBezTo>
                  <a:cubicBezTo>
                    <a:pt x="2595" y="660"/>
                    <a:pt x="2598" y="668"/>
                    <a:pt x="2595" y="674"/>
                  </a:cubicBezTo>
                  <a:close/>
                  <a:moveTo>
                    <a:pt x="2578" y="567"/>
                  </a:moveTo>
                  <a:cubicBezTo>
                    <a:pt x="2586" y="542"/>
                    <a:pt x="2606" y="575"/>
                    <a:pt x="2578" y="567"/>
                  </a:cubicBezTo>
                  <a:close/>
                  <a:moveTo>
                    <a:pt x="2578" y="592"/>
                  </a:moveTo>
                  <a:cubicBezTo>
                    <a:pt x="2564" y="578"/>
                    <a:pt x="2603" y="584"/>
                    <a:pt x="2578" y="592"/>
                  </a:cubicBezTo>
                  <a:close/>
                  <a:moveTo>
                    <a:pt x="2572" y="533"/>
                  </a:moveTo>
                  <a:cubicBezTo>
                    <a:pt x="2575" y="533"/>
                    <a:pt x="2569" y="536"/>
                    <a:pt x="2572" y="533"/>
                  </a:cubicBezTo>
                  <a:close/>
                  <a:moveTo>
                    <a:pt x="2589" y="626"/>
                  </a:moveTo>
                  <a:cubicBezTo>
                    <a:pt x="2586" y="640"/>
                    <a:pt x="2575" y="635"/>
                    <a:pt x="2575" y="652"/>
                  </a:cubicBezTo>
                  <a:cubicBezTo>
                    <a:pt x="2567" y="649"/>
                    <a:pt x="2578" y="612"/>
                    <a:pt x="2589" y="626"/>
                  </a:cubicBezTo>
                  <a:close/>
                  <a:moveTo>
                    <a:pt x="2567" y="680"/>
                  </a:moveTo>
                  <a:cubicBezTo>
                    <a:pt x="2567" y="697"/>
                    <a:pt x="2578" y="714"/>
                    <a:pt x="2572" y="733"/>
                  </a:cubicBezTo>
                  <a:cubicBezTo>
                    <a:pt x="2561" y="719"/>
                    <a:pt x="2558" y="697"/>
                    <a:pt x="2567" y="680"/>
                  </a:cubicBezTo>
                  <a:close/>
                  <a:moveTo>
                    <a:pt x="2578" y="762"/>
                  </a:moveTo>
                  <a:cubicBezTo>
                    <a:pt x="2578" y="773"/>
                    <a:pt x="2567" y="767"/>
                    <a:pt x="2564" y="776"/>
                  </a:cubicBezTo>
                  <a:cubicBezTo>
                    <a:pt x="2552" y="773"/>
                    <a:pt x="2569" y="753"/>
                    <a:pt x="2578" y="762"/>
                  </a:cubicBezTo>
                  <a:close/>
                  <a:moveTo>
                    <a:pt x="2555" y="539"/>
                  </a:moveTo>
                  <a:cubicBezTo>
                    <a:pt x="2552" y="537"/>
                    <a:pt x="2551" y="536"/>
                    <a:pt x="2551" y="534"/>
                  </a:cubicBezTo>
                  <a:cubicBezTo>
                    <a:pt x="2545" y="537"/>
                    <a:pt x="2538" y="538"/>
                    <a:pt x="2533" y="536"/>
                  </a:cubicBezTo>
                  <a:cubicBezTo>
                    <a:pt x="2538" y="533"/>
                    <a:pt x="2541" y="525"/>
                    <a:pt x="2547" y="525"/>
                  </a:cubicBezTo>
                  <a:cubicBezTo>
                    <a:pt x="2544" y="522"/>
                    <a:pt x="2544" y="522"/>
                    <a:pt x="2544" y="519"/>
                  </a:cubicBezTo>
                  <a:cubicBezTo>
                    <a:pt x="2547" y="519"/>
                    <a:pt x="2550" y="522"/>
                    <a:pt x="2552" y="522"/>
                  </a:cubicBezTo>
                  <a:cubicBezTo>
                    <a:pt x="2552" y="522"/>
                    <a:pt x="2552" y="525"/>
                    <a:pt x="2550" y="525"/>
                  </a:cubicBezTo>
                  <a:cubicBezTo>
                    <a:pt x="2552" y="525"/>
                    <a:pt x="2555" y="525"/>
                    <a:pt x="2558" y="527"/>
                  </a:cubicBezTo>
                  <a:cubicBezTo>
                    <a:pt x="2558" y="528"/>
                    <a:pt x="2558" y="528"/>
                    <a:pt x="2557" y="529"/>
                  </a:cubicBezTo>
                  <a:cubicBezTo>
                    <a:pt x="2560" y="528"/>
                    <a:pt x="2561" y="531"/>
                    <a:pt x="2555" y="539"/>
                  </a:cubicBezTo>
                  <a:close/>
                  <a:moveTo>
                    <a:pt x="2538" y="629"/>
                  </a:moveTo>
                  <a:cubicBezTo>
                    <a:pt x="2535" y="632"/>
                    <a:pt x="2533" y="637"/>
                    <a:pt x="2530" y="637"/>
                  </a:cubicBezTo>
                  <a:cubicBezTo>
                    <a:pt x="2530" y="635"/>
                    <a:pt x="2535" y="629"/>
                    <a:pt x="2538" y="629"/>
                  </a:cubicBezTo>
                  <a:close/>
                  <a:moveTo>
                    <a:pt x="2521" y="592"/>
                  </a:moveTo>
                  <a:cubicBezTo>
                    <a:pt x="2504" y="587"/>
                    <a:pt x="2533" y="573"/>
                    <a:pt x="2521" y="592"/>
                  </a:cubicBezTo>
                  <a:close/>
                  <a:moveTo>
                    <a:pt x="2521" y="485"/>
                  </a:moveTo>
                  <a:cubicBezTo>
                    <a:pt x="2510" y="496"/>
                    <a:pt x="2507" y="468"/>
                    <a:pt x="2504" y="460"/>
                  </a:cubicBezTo>
                  <a:cubicBezTo>
                    <a:pt x="2524" y="460"/>
                    <a:pt x="2513" y="479"/>
                    <a:pt x="2521" y="485"/>
                  </a:cubicBezTo>
                  <a:close/>
                  <a:moveTo>
                    <a:pt x="2510" y="598"/>
                  </a:moveTo>
                  <a:cubicBezTo>
                    <a:pt x="2502" y="635"/>
                    <a:pt x="2476" y="584"/>
                    <a:pt x="2510" y="598"/>
                  </a:cubicBezTo>
                  <a:close/>
                  <a:moveTo>
                    <a:pt x="2499" y="434"/>
                  </a:moveTo>
                  <a:cubicBezTo>
                    <a:pt x="2496" y="434"/>
                    <a:pt x="2504" y="432"/>
                    <a:pt x="2499" y="434"/>
                  </a:cubicBezTo>
                  <a:close/>
                  <a:moveTo>
                    <a:pt x="2499" y="434"/>
                  </a:moveTo>
                  <a:cubicBezTo>
                    <a:pt x="2513" y="451"/>
                    <a:pt x="2496" y="451"/>
                    <a:pt x="2487" y="468"/>
                  </a:cubicBezTo>
                  <a:cubicBezTo>
                    <a:pt x="2473" y="457"/>
                    <a:pt x="2499" y="451"/>
                    <a:pt x="2499" y="434"/>
                  </a:cubicBezTo>
                  <a:close/>
                  <a:moveTo>
                    <a:pt x="2482" y="420"/>
                  </a:moveTo>
                  <a:cubicBezTo>
                    <a:pt x="2496" y="440"/>
                    <a:pt x="2473" y="451"/>
                    <a:pt x="2482" y="420"/>
                  </a:cubicBezTo>
                  <a:close/>
                  <a:moveTo>
                    <a:pt x="2479" y="694"/>
                  </a:moveTo>
                  <a:lnTo>
                    <a:pt x="2479" y="697"/>
                  </a:lnTo>
                  <a:lnTo>
                    <a:pt x="2476" y="697"/>
                  </a:lnTo>
                  <a:cubicBezTo>
                    <a:pt x="2476" y="697"/>
                    <a:pt x="2476" y="694"/>
                    <a:pt x="2479" y="694"/>
                  </a:cubicBezTo>
                  <a:close/>
                  <a:moveTo>
                    <a:pt x="2476" y="705"/>
                  </a:moveTo>
                  <a:cubicBezTo>
                    <a:pt x="2473" y="705"/>
                    <a:pt x="2468" y="702"/>
                    <a:pt x="2468" y="702"/>
                  </a:cubicBezTo>
                  <a:cubicBezTo>
                    <a:pt x="2465" y="700"/>
                    <a:pt x="2479" y="700"/>
                    <a:pt x="2476" y="705"/>
                  </a:cubicBezTo>
                  <a:close/>
                  <a:moveTo>
                    <a:pt x="2468" y="745"/>
                  </a:moveTo>
                  <a:cubicBezTo>
                    <a:pt x="2468" y="739"/>
                    <a:pt x="2479" y="747"/>
                    <a:pt x="2468" y="745"/>
                  </a:cubicBezTo>
                  <a:close/>
                  <a:moveTo>
                    <a:pt x="2423" y="1379"/>
                  </a:moveTo>
                  <a:cubicBezTo>
                    <a:pt x="2423" y="1374"/>
                    <a:pt x="2434" y="1382"/>
                    <a:pt x="2423" y="1379"/>
                  </a:cubicBezTo>
                  <a:close/>
                  <a:moveTo>
                    <a:pt x="2425" y="523"/>
                  </a:moveTo>
                  <a:cubicBezTo>
                    <a:pt x="2425" y="523"/>
                    <a:pt x="2424" y="523"/>
                    <a:pt x="2425" y="522"/>
                  </a:cubicBezTo>
                  <a:cubicBezTo>
                    <a:pt x="2429" y="522"/>
                    <a:pt x="2427" y="523"/>
                    <a:pt x="2425" y="523"/>
                  </a:cubicBezTo>
                  <a:close/>
                  <a:moveTo>
                    <a:pt x="2431" y="1306"/>
                  </a:moveTo>
                  <a:cubicBezTo>
                    <a:pt x="2425" y="1306"/>
                    <a:pt x="2434" y="1303"/>
                    <a:pt x="2431" y="1306"/>
                  </a:cubicBezTo>
                  <a:close/>
                  <a:moveTo>
                    <a:pt x="2431" y="2222"/>
                  </a:moveTo>
                  <a:cubicBezTo>
                    <a:pt x="2434" y="2216"/>
                    <a:pt x="2442" y="2225"/>
                    <a:pt x="2431" y="2222"/>
                  </a:cubicBezTo>
                  <a:close/>
                  <a:moveTo>
                    <a:pt x="2428" y="2013"/>
                  </a:moveTo>
                  <a:cubicBezTo>
                    <a:pt x="2428" y="2007"/>
                    <a:pt x="2434" y="2007"/>
                    <a:pt x="2437" y="2005"/>
                  </a:cubicBezTo>
                  <a:cubicBezTo>
                    <a:pt x="2437" y="2007"/>
                    <a:pt x="2434" y="2013"/>
                    <a:pt x="2428" y="2013"/>
                  </a:cubicBezTo>
                  <a:close/>
                  <a:moveTo>
                    <a:pt x="2440" y="1525"/>
                  </a:moveTo>
                  <a:cubicBezTo>
                    <a:pt x="2431" y="1531"/>
                    <a:pt x="2423" y="1519"/>
                    <a:pt x="2440" y="1525"/>
                  </a:cubicBezTo>
                  <a:close/>
                  <a:moveTo>
                    <a:pt x="2442" y="2318"/>
                  </a:moveTo>
                  <a:lnTo>
                    <a:pt x="2442" y="2315"/>
                  </a:lnTo>
                  <a:lnTo>
                    <a:pt x="2448" y="2315"/>
                  </a:lnTo>
                  <a:cubicBezTo>
                    <a:pt x="2445" y="2318"/>
                    <a:pt x="2445" y="2326"/>
                    <a:pt x="2437" y="2323"/>
                  </a:cubicBezTo>
                  <a:cubicBezTo>
                    <a:pt x="2437" y="2320"/>
                    <a:pt x="2440" y="2318"/>
                    <a:pt x="2442" y="2318"/>
                  </a:cubicBezTo>
                  <a:close/>
                  <a:moveTo>
                    <a:pt x="2442" y="2264"/>
                  </a:moveTo>
                  <a:cubicBezTo>
                    <a:pt x="2448" y="2264"/>
                    <a:pt x="2442" y="2273"/>
                    <a:pt x="2442" y="2275"/>
                  </a:cubicBezTo>
                  <a:cubicBezTo>
                    <a:pt x="2437" y="2275"/>
                    <a:pt x="2442" y="2267"/>
                    <a:pt x="2442" y="2264"/>
                  </a:cubicBezTo>
                  <a:close/>
                  <a:moveTo>
                    <a:pt x="2451" y="581"/>
                  </a:moveTo>
                  <a:cubicBezTo>
                    <a:pt x="2437" y="575"/>
                    <a:pt x="2465" y="561"/>
                    <a:pt x="2451" y="581"/>
                  </a:cubicBezTo>
                  <a:close/>
                  <a:moveTo>
                    <a:pt x="2454" y="508"/>
                  </a:moveTo>
                  <a:cubicBezTo>
                    <a:pt x="2440" y="502"/>
                    <a:pt x="2468" y="488"/>
                    <a:pt x="2454" y="508"/>
                  </a:cubicBezTo>
                  <a:close/>
                  <a:moveTo>
                    <a:pt x="2456" y="668"/>
                  </a:moveTo>
                  <a:cubicBezTo>
                    <a:pt x="2465" y="671"/>
                    <a:pt x="2454" y="683"/>
                    <a:pt x="2456" y="668"/>
                  </a:cubicBezTo>
                  <a:close/>
                  <a:moveTo>
                    <a:pt x="2456" y="1533"/>
                  </a:moveTo>
                  <a:cubicBezTo>
                    <a:pt x="2462" y="1531"/>
                    <a:pt x="2462" y="1545"/>
                    <a:pt x="2456" y="1542"/>
                  </a:cubicBezTo>
                  <a:lnTo>
                    <a:pt x="2456" y="1533"/>
                  </a:lnTo>
                  <a:close/>
                  <a:moveTo>
                    <a:pt x="2462" y="533"/>
                  </a:moveTo>
                  <a:cubicBezTo>
                    <a:pt x="2448" y="522"/>
                    <a:pt x="2479" y="508"/>
                    <a:pt x="2462" y="533"/>
                  </a:cubicBezTo>
                  <a:close/>
                  <a:moveTo>
                    <a:pt x="2465" y="1519"/>
                  </a:moveTo>
                  <a:cubicBezTo>
                    <a:pt x="2465" y="1517"/>
                    <a:pt x="2465" y="1511"/>
                    <a:pt x="2468" y="1508"/>
                  </a:cubicBezTo>
                  <a:cubicBezTo>
                    <a:pt x="2471" y="1508"/>
                    <a:pt x="2471" y="1522"/>
                    <a:pt x="2465" y="1519"/>
                  </a:cubicBezTo>
                  <a:close/>
                  <a:moveTo>
                    <a:pt x="2465" y="2143"/>
                  </a:moveTo>
                  <a:cubicBezTo>
                    <a:pt x="2465" y="2137"/>
                    <a:pt x="2473" y="2146"/>
                    <a:pt x="2465" y="2143"/>
                  </a:cubicBezTo>
                  <a:close/>
                  <a:moveTo>
                    <a:pt x="2471" y="474"/>
                  </a:moveTo>
                  <a:cubicBezTo>
                    <a:pt x="2456" y="488"/>
                    <a:pt x="2456" y="457"/>
                    <a:pt x="2445" y="454"/>
                  </a:cubicBezTo>
                  <a:cubicBezTo>
                    <a:pt x="2451" y="448"/>
                    <a:pt x="2456" y="446"/>
                    <a:pt x="2465" y="448"/>
                  </a:cubicBezTo>
                  <a:cubicBezTo>
                    <a:pt x="2471" y="454"/>
                    <a:pt x="2462" y="468"/>
                    <a:pt x="2471" y="474"/>
                  </a:cubicBezTo>
                  <a:close/>
                  <a:moveTo>
                    <a:pt x="2468" y="415"/>
                  </a:moveTo>
                  <a:cubicBezTo>
                    <a:pt x="2468" y="432"/>
                    <a:pt x="2448" y="415"/>
                    <a:pt x="2451" y="432"/>
                  </a:cubicBezTo>
                  <a:cubicBezTo>
                    <a:pt x="2428" y="429"/>
                    <a:pt x="2459" y="409"/>
                    <a:pt x="2468" y="415"/>
                  </a:cubicBezTo>
                  <a:close/>
                  <a:moveTo>
                    <a:pt x="2440" y="550"/>
                  </a:moveTo>
                  <a:cubicBezTo>
                    <a:pt x="2442" y="550"/>
                    <a:pt x="2448" y="553"/>
                    <a:pt x="2451" y="556"/>
                  </a:cubicBezTo>
                  <a:cubicBezTo>
                    <a:pt x="2451" y="558"/>
                    <a:pt x="2448" y="564"/>
                    <a:pt x="2445" y="567"/>
                  </a:cubicBezTo>
                  <a:cubicBezTo>
                    <a:pt x="2442" y="567"/>
                    <a:pt x="2437" y="564"/>
                    <a:pt x="2434" y="564"/>
                  </a:cubicBezTo>
                  <a:cubicBezTo>
                    <a:pt x="2437" y="558"/>
                    <a:pt x="2437" y="553"/>
                    <a:pt x="2440" y="550"/>
                  </a:cubicBezTo>
                  <a:close/>
                  <a:moveTo>
                    <a:pt x="2428" y="1320"/>
                  </a:moveTo>
                  <a:cubicBezTo>
                    <a:pt x="2428" y="1314"/>
                    <a:pt x="2440" y="1323"/>
                    <a:pt x="2428" y="1320"/>
                  </a:cubicBezTo>
                  <a:close/>
                  <a:moveTo>
                    <a:pt x="2428" y="488"/>
                  </a:moveTo>
                  <a:cubicBezTo>
                    <a:pt x="2414" y="482"/>
                    <a:pt x="2442" y="468"/>
                    <a:pt x="2428" y="488"/>
                  </a:cubicBezTo>
                  <a:close/>
                  <a:moveTo>
                    <a:pt x="2417" y="437"/>
                  </a:moveTo>
                  <a:cubicBezTo>
                    <a:pt x="2423" y="434"/>
                    <a:pt x="2414" y="437"/>
                    <a:pt x="2417" y="437"/>
                  </a:cubicBezTo>
                  <a:close/>
                  <a:moveTo>
                    <a:pt x="2408" y="409"/>
                  </a:moveTo>
                  <a:cubicBezTo>
                    <a:pt x="2414" y="403"/>
                    <a:pt x="2411" y="417"/>
                    <a:pt x="2408" y="409"/>
                  </a:cubicBezTo>
                  <a:close/>
                  <a:moveTo>
                    <a:pt x="2411" y="454"/>
                  </a:moveTo>
                  <a:cubicBezTo>
                    <a:pt x="2417" y="446"/>
                    <a:pt x="2420" y="448"/>
                    <a:pt x="2423" y="454"/>
                  </a:cubicBezTo>
                  <a:lnTo>
                    <a:pt x="2431" y="454"/>
                  </a:lnTo>
                  <a:cubicBezTo>
                    <a:pt x="2428" y="457"/>
                    <a:pt x="2428" y="457"/>
                    <a:pt x="2425" y="457"/>
                  </a:cubicBezTo>
                  <a:cubicBezTo>
                    <a:pt x="2428" y="460"/>
                    <a:pt x="2431" y="463"/>
                    <a:pt x="2437" y="463"/>
                  </a:cubicBezTo>
                  <a:cubicBezTo>
                    <a:pt x="2428" y="474"/>
                    <a:pt x="2423" y="468"/>
                    <a:pt x="2417" y="463"/>
                  </a:cubicBezTo>
                  <a:cubicBezTo>
                    <a:pt x="2414" y="463"/>
                    <a:pt x="2411" y="463"/>
                    <a:pt x="2408" y="460"/>
                  </a:cubicBezTo>
                  <a:cubicBezTo>
                    <a:pt x="2408" y="460"/>
                    <a:pt x="2408" y="457"/>
                    <a:pt x="2411" y="454"/>
                  </a:cubicBezTo>
                  <a:close/>
                  <a:moveTo>
                    <a:pt x="2414" y="533"/>
                  </a:moveTo>
                  <a:cubicBezTo>
                    <a:pt x="2411" y="533"/>
                    <a:pt x="2420" y="530"/>
                    <a:pt x="2414" y="533"/>
                  </a:cubicBezTo>
                  <a:close/>
                  <a:moveTo>
                    <a:pt x="2406" y="415"/>
                  </a:moveTo>
                  <a:cubicBezTo>
                    <a:pt x="2408" y="415"/>
                    <a:pt x="2403" y="417"/>
                    <a:pt x="2406" y="415"/>
                  </a:cubicBezTo>
                  <a:close/>
                  <a:moveTo>
                    <a:pt x="2392" y="1216"/>
                  </a:moveTo>
                  <a:cubicBezTo>
                    <a:pt x="2392" y="1210"/>
                    <a:pt x="2400" y="1207"/>
                    <a:pt x="2406" y="1207"/>
                  </a:cubicBezTo>
                  <a:cubicBezTo>
                    <a:pt x="2403" y="1213"/>
                    <a:pt x="2397" y="1216"/>
                    <a:pt x="2392" y="1216"/>
                  </a:cubicBezTo>
                  <a:close/>
                  <a:moveTo>
                    <a:pt x="2408" y="1444"/>
                  </a:moveTo>
                  <a:cubicBezTo>
                    <a:pt x="2408" y="1447"/>
                    <a:pt x="2403" y="1450"/>
                    <a:pt x="2403" y="1453"/>
                  </a:cubicBezTo>
                  <a:cubicBezTo>
                    <a:pt x="2400" y="1453"/>
                    <a:pt x="2406" y="1444"/>
                    <a:pt x="2408" y="1444"/>
                  </a:cubicBezTo>
                  <a:close/>
                  <a:moveTo>
                    <a:pt x="2392" y="1171"/>
                  </a:moveTo>
                  <a:cubicBezTo>
                    <a:pt x="2397" y="1165"/>
                    <a:pt x="2386" y="1179"/>
                    <a:pt x="2392" y="1171"/>
                  </a:cubicBezTo>
                  <a:close/>
                  <a:moveTo>
                    <a:pt x="2394" y="1173"/>
                  </a:moveTo>
                  <a:cubicBezTo>
                    <a:pt x="2408" y="1179"/>
                    <a:pt x="2383" y="1193"/>
                    <a:pt x="2394" y="1173"/>
                  </a:cubicBezTo>
                  <a:close/>
                  <a:moveTo>
                    <a:pt x="2397" y="1427"/>
                  </a:moveTo>
                  <a:lnTo>
                    <a:pt x="2397" y="1436"/>
                  </a:lnTo>
                  <a:cubicBezTo>
                    <a:pt x="2392" y="1436"/>
                    <a:pt x="2389" y="1433"/>
                    <a:pt x="2392" y="1430"/>
                  </a:cubicBezTo>
                  <a:cubicBezTo>
                    <a:pt x="2392" y="1427"/>
                    <a:pt x="2394" y="1427"/>
                    <a:pt x="2397" y="1427"/>
                  </a:cubicBezTo>
                  <a:close/>
                  <a:moveTo>
                    <a:pt x="2380" y="505"/>
                  </a:moveTo>
                  <a:cubicBezTo>
                    <a:pt x="2349" y="491"/>
                    <a:pt x="2392" y="471"/>
                    <a:pt x="2406" y="465"/>
                  </a:cubicBezTo>
                  <a:cubicBezTo>
                    <a:pt x="2411" y="477"/>
                    <a:pt x="2383" y="488"/>
                    <a:pt x="2380" y="505"/>
                  </a:cubicBezTo>
                  <a:close/>
                  <a:moveTo>
                    <a:pt x="2377" y="2123"/>
                  </a:moveTo>
                  <a:cubicBezTo>
                    <a:pt x="2375" y="2117"/>
                    <a:pt x="2386" y="2117"/>
                    <a:pt x="2392" y="2117"/>
                  </a:cubicBezTo>
                  <a:cubicBezTo>
                    <a:pt x="2392" y="2123"/>
                    <a:pt x="2383" y="2123"/>
                    <a:pt x="2377" y="2123"/>
                  </a:cubicBezTo>
                  <a:close/>
                  <a:moveTo>
                    <a:pt x="2383" y="2258"/>
                  </a:moveTo>
                  <a:cubicBezTo>
                    <a:pt x="2383" y="2253"/>
                    <a:pt x="2392" y="2261"/>
                    <a:pt x="2383" y="2258"/>
                  </a:cubicBezTo>
                  <a:close/>
                  <a:moveTo>
                    <a:pt x="2375" y="2374"/>
                  </a:moveTo>
                  <a:cubicBezTo>
                    <a:pt x="2375" y="2377"/>
                    <a:pt x="2369" y="2380"/>
                    <a:pt x="2366" y="2380"/>
                  </a:cubicBezTo>
                  <a:cubicBezTo>
                    <a:pt x="2369" y="2377"/>
                    <a:pt x="2372" y="2374"/>
                    <a:pt x="2375" y="2374"/>
                  </a:cubicBezTo>
                  <a:close/>
                  <a:moveTo>
                    <a:pt x="2372" y="790"/>
                  </a:moveTo>
                  <a:cubicBezTo>
                    <a:pt x="2375" y="787"/>
                    <a:pt x="2366" y="793"/>
                    <a:pt x="2372" y="790"/>
                  </a:cubicBezTo>
                  <a:close/>
                  <a:moveTo>
                    <a:pt x="2380" y="2383"/>
                  </a:moveTo>
                  <a:cubicBezTo>
                    <a:pt x="2377" y="2388"/>
                    <a:pt x="2375" y="2391"/>
                    <a:pt x="2369" y="2391"/>
                  </a:cubicBezTo>
                  <a:cubicBezTo>
                    <a:pt x="2369" y="2388"/>
                    <a:pt x="2375" y="2383"/>
                    <a:pt x="2380" y="2383"/>
                  </a:cubicBezTo>
                  <a:close/>
                  <a:moveTo>
                    <a:pt x="2380" y="1483"/>
                  </a:moveTo>
                  <a:cubicBezTo>
                    <a:pt x="2380" y="1486"/>
                    <a:pt x="2377" y="1491"/>
                    <a:pt x="2372" y="1491"/>
                  </a:cubicBezTo>
                  <a:cubicBezTo>
                    <a:pt x="2372" y="1486"/>
                    <a:pt x="2375" y="1483"/>
                    <a:pt x="2380" y="1483"/>
                  </a:cubicBezTo>
                  <a:close/>
                  <a:moveTo>
                    <a:pt x="2383" y="1210"/>
                  </a:moveTo>
                  <a:cubicBezTo>
                    <a:pt x="2380" y="1213"/>
                    <a:pt x="2377" y="1216"/>
                    <a:pt x="2375" y="1216"/>
                  </a:cubicBezTo>
                  <a:cubicBezTo>
                    <a:pt x="2372" y="1213"/>
                    <a:pt x="2380" y="1213"/>
                    <a:pt x="2383" y="1210"/>
                  </a:cubicBezTo>
                  <a:close/>
                  <a:moveTo>
                    <a:pt x="2375" y="1660"/>
                  </a:moveTo>
                  <a:cubicBezTo>
                    <a:pt x="2375" y="1655"/>
                    <a:pt x="2386" y="1663"/>
                    <a:pt x="2375" y="1660"/>
                  </a:cubicBezTo>
                  <a:close/>
                  <a:moveTo>
                    <a:pt x="2386" y="1227"/>
                  </a:moveTo>
                  <a:cubicBezTo>
                    <a:pt x="2383" y="1227"/>
                    <a:pt x="2389" y="1224"/>
                    <a:pt x="2386" y="1227"/>
                  </a:cubicBezTo>
                  <a:close/>
                  <a:moveTo>
                    <a:pt x="2366" y="426"/>
                  </a:moveTo>
                  <a:cubicBezTo>
                    <a:pt x="2366" y="420"/>
                    <a:pt x="2375" y="429"/>
                    <a:pt x="2366" y="426"/>
                  </a:cubicBezTo>
                  <a:close/>
                  <a:moveTo>
                    <a:pt x="2403" y="398"/>
                  </a:moveTo>
                  <a:cubicBezTo>
                    <a:pt x="2408" y="395"/>
                    <a:pt x="2400" y="401"/>
                    <a:pt x="2403" y="398"/>
                  </a:cubicBezTo>
                  <a:close/>
                  <a:moveTo>
                    <a:pt x="2397" y="341"/>
                  </a:moveTo>
                  <a:cubicBezTo>
                    <a:pt x="2400" y="341"/>
                    <a:pt x="2406" y="344"/>
                    <a:pt x="2408" y="344"/>
                  </a:cubicBezTo>
                  <a:cubicBezTo>
                    <a:pt x="2408" y="355"/>
                    <a:pt x="2403" y="358"/>
                    <a:pt x="2394" y="355"/>
                  </a:cubicBezTo>
                  <a:cubicBezTo>
                    <a:pt x="2394" y="353"/>
                    <a:pt x="2394" y="344"/>
                    <a:pt x="2397" y="341"/>
                  </a:cubicBezTo>
                  <a:close/>
                  <a:moveTo>
                    <a:pt x="2394" y="460"/>
                  </a:moveTo>
                  <a:cubicBezTo>
                    <a:pt x="2389" y="457"/>
                    <a:pt x="2383" y="454"/>
                    <a:pt x="2377" y="454"/>
                  </a:cubicBezTo>
                  <a:cubicBezTo>
                    <a:pt x="2377" y="434"/>
                    <a:pt x="2408" y="446"/>
                    <a:pt x="2394" y="460"/>
                  </a:cubicBezTo>
                  <a:close/>
                  <a:moveTo>
                    <a:pt x="2377" y="423"/>
                  </a:moveTo>
                  <a:cubicBezTo>
                    <a:pt x="2383" y="420"/>
                    <a:pt x="2375" y="423"/>
                    <a:pt x="2377" y="423"/>
                  </a:cubicBezTo>
                  <a:close/>
                  <a:moveTo>
                    <a:pt x="2377" y="353"/>
                  </a:moveTo>
                  <a:cubicBezTo>
                    <a:pt x="2375" y="353"/>
                    <a:pt x="2383" y="350"/>
                    <a:pt x="2377" y="353"/>
                  </a:cubicBezTo>
                  <a:close/>
                  <a:moveTo>
                    <a:pt x="2372" y="440"/>
                  </a:moveTo>
                  <a:cubicBezTo>
                    <a:pt x="2358" y="434"/>
                    <a:pt x="2386" y="420"/>
                    <a:pt x="2372" y="440"/>
                  </a:cubicBezTo>
                  <a:close/>
                  <a:moveTo>
                    <a:pt x="2375" y="358"/>
                  </a:moveTo>
                  <a:cubicBezTo>
                    <a:pt x="2372" y="367"/>
                    <a:pt x="2363" y="369"/>
                    <a:pt x="2355" y="367"/>
                  </a:cubicBezTo>
                  <a:cubicBezTo>
                    <a:pt x="2352" y="367"/>
                    <a:pt x="2349" y="364"/>
                    <a:pt x="2346" y="361"/>
                  </a:cubicBezTo>
                  <a:cubicBezTo>
                    <a:pt x="2358" y="358"/>
                    <a:pt x="2366" y="355"/>
                    <a:pt x="2375" y="358"/>
                  </a:cubicBezTo>
                  <a:close/>
                  <a:moveTo>
                    <a:pt x="2324" y="454"/>
                  </a:moveTo>
                  <a:cubicBezTo>
                    <a:pt x="2327" y="451"/>
                    <a:pt x="2318" y="457"/>
                    <a:pt x="2324" y="454"/>
                  </a:cubicBezTo>
                  <a:close/>
                  <a:moveTo>
                    <a:pt x="2315" y="2225"/>
                  </a:moveTo>
                  <a:cubicBezTo>
                    <a:pt x="2324" y="2219"/>
                    <a:pt x="2324" y="2233"/>
                    <a:pt x="2315" y="2225"/>
                  </a:cubicBezTo>
                  <a:close/>
                  <a:moveTo>
                    <a:pt x="2327" y="2419"/>
                  </a:moveTo>
                  <a:cubicBezTo>
                    <a:pt x="2327" y="2422"/>
                    <a:pt x="2321" y="2425"/>
                    <a:pt x="2318" y="2425"/>
                  </a:cubicBezTo>
                  <a:cubicBezTo>
                    <a:pt x="2321" y="2422"/>
                    <a:pt x="2324" y="2419"/>
                    <a:pt x="2327" y="2419"/>
                  </a:cubicBezTo>
                  <a:close/>
                  <a:moveTo>
                    <a:pt x="2310" y="1348"/>
                  </a:moveTo>
                  <a:cubicBezTo>
                    <a:pt x="2307" y="1340"/>
                    <a:pt x="2321" y="1345"/>
                    <a:pt x="2318" y="1337"/>
                  </a:cubicBezTo>
                  <a:cubicBezTo>
                    <a:pt x="2324" y="1340"/>
                    <a:pt x="2315" y="1351"/>
                    <a:pt x="2310" y="1348"/>
                  </a:cubicBezTo>
                  <a:close/>
                  <a:moveTo>
                    <a:pt x="2315" y="511"/>
                  </a:moveTo>
                  <a:cubicBezTo>
                    <a:pt x="2307" y="508"/>
                    <a:pt x="2307" y="496"/>
                    <a:pt x="2310" y="485"/>
                  </a:cubicBezTo>
                  <a:cubicBezTo>
                    <a:pt x="2318" y="488"/>
                    <a:pt x="2318" y="499"/>
                    <a:pt x="2315" y="511"/>
                  </a:cubicBezTo>
                  <a:close/>
                  <a:moveTo>
                    <a:pt x="2307" y="2532"/>
                  </a:moveTo>
                  <a:cubicBezTo>
                    <a:pt x="2321" y="2529"/>
                    <a:pt x="2304" y="2555"/>
                    <a:pt x="2307" y="2532"/>
                  </a:cubicBezTo>
                  <a:close/>
                  <a:moveTo>
                    <a:pt x="2310" y="2507"/>
                  </a:moveTo>
                  <a:cubicBezTo>
                    <a:pt x="2329" y="2507"/>
                    <a:pt x="2304" y="2535"/>
                    <a:pt x="2310" y="2507"/>
                  </a:cubicBezTo>
                  <a:close/>
                  <a:moveTo>
                    <a:pt x="2313" y="2493"/>
                  </a:moveTo>
                  <a:cubicBezTo>
                    <a:pt x="2313" y="2487"/>
                    <a:pt x="2321" y="2487"/>
                    <a:pt x="2324" y="2487"/>
                  </a:cubicBezTo>
                  <a:cubicBezTo>
                    <a:pt x="2327" y="2495"/>
                    <a:pt x="2315" y="2495"/>
                    <a:pt x="2313" y="2493"/>
                  </a:cubicBezTo>
                  <a:close/>
                  <a:moveTo>
                    <a:pt x="2346" y="2526"/>
                  </a:moveTo>
                  <a:cubicBezTo>
                    <a:pt x="2349" y="2541"/>
                    <a:pt x="2335" y="2541"/>
                    <a:pt x="2324" y="2541"/>
                  </a:cubicBezTo>
                  <a:cubicBezTo>
                    <a:pt x="2327" y="2532"/>
                    <a:pt x="2335" y="2526"/>
                    <a:pt x="2346" y="2526"/>
                  </a:cubicBezTo>
                  <a:close/>
                  <a:moveTo>
                    <a:pt x="2324" y="2024"/>
                  </a:moveTo>
                  <a:cubicBezTo>
                    <a:pt x="2327" y="2019"/>
                    <a:pt x="2335" y="2027"/>
                    <a:pt x="2324" y="2024"/>
                  </a:cubicBezTo>
                  <a:close/>
                  <a:moveTo>
                    <a:pt x="2363" y="700"/>
                  </a:moveTo>
                  <a:cubicBezTo>
                    <a:pt x="2366" y="716"/>
                    <a:pt x="2335" y="708"/>
                    <a:pt x="2346" y="697"/>
                  </a:cubicBezTo>
                  <a:cubicBezTo>
                    <a:pt x="2352" y="697"/>
                    <a:pt x="2358" y="700"/>
                    <a:pt x="2363" y="700"/>
                  </a:cubicBezTo>
                  <a:close/>
                  <a:moveTo>
                    <a:pt x="2355" y="401"/>
                  </a:moveTo>
                  <a:cubicBezTo>
                    <a:pt x="2352" y="401"/>
                    <a:pt x="2361" y="398"/>
                    <a:pt x="2355" y="401"/>
                  </a:cubicBezTo>
                  <a:close/>
                  <a:moveTo>
                    <a:pt x="2341" y="384"/>
                  </a:moveTo>
                  <a:cubicBezTo>
                    <a:pt x="2327" y="369"/>
                    <a:pt x="2366" y="372"/>
                    <a:pt x="2341" y="384"/>
                  </a:cubicBezTo>
                  <a:close/>
                  <a:moveTo>
                    <a:pt x="2335" y="338"/>
                  </a:moveTo>
                  <a:lnTo>
                    <a:pt x="2334" y="338"/>
                  </a:lnTo>
                  <a:cubicBezTo>
                    <a:pt x="2331" y="343"/>
                    <a:pt x="2326" y="347"/>
                    <a:pt x="2318" y="350"/>
                  </a:cubicBezTo>
                  <a:cubicBezTo>
                    <a:pt x="2313" y="347"/>
                    <a:pt x="2315" y="333"/>
                    <a:pt x="2318" y="324"/>
                  </a:cubicBezTo>
                  <a:cubicBezTo>
                    <a:pt x="2324" y="324"/>
                    <a:pt x="2328" y="327"/>
                    <a:pt x="2332" y="330"/>
                  </a:cubicBezTo>
                  <a:cubicBezTo>
                    <a:pt x="2334" y="325"/>
                    <a:pt x="2345" y="323"/>
                    <a:pt x="2335" y="338"/>
                  </a:cubicBezTo>
                  <a:close/>
                  <a:moveTo>
                    <a:pt x="2341" y="426"/>
                  </a:moveTo>
                  <a:cubicBezTo>
                    <a:pt x="2352" y="432"/>
                    <a:pt x="2338" y="451"/>
                    <a:pt x="2332" y="451"/>
                  </a:cubicBezTo>
                  <a:cubicBezTo>
                    <a:pt x="2324" y="448"/>
                    <a:pt x="2338" y="429"/>
                    <a:pt x="2341" y="426"/>
                  </a:cubicBezTo>
                  <a:close/>
                  <a:moveTo>
                    <a:pt x="2338" y="776"/>
                  </a:moveTo>
                  <a:cubicBezTo>
                    <a:pt x="2335" y="770"/>
                    <a:pt x="2329" y="767"/>
                    <a:pt x="2335" y="759"/>
                  </a:cubicBezTo>
                  <a:cubicBezTo>
                    <a:pt x="2349" y="759"/>
                    <a:pt x="2338" y="804"/>
                    <a:pt x="2338" y="776"/>
                  </a:cubicBezTo>
                  <a:close/>
                  <a:moveTo>
                    <a:pt x="2338" y="2481"/>
                  </a:moveTo>
                  <a:cubicBezTo>
                    <a:pt x="2338" y="2484"/>
                    <a:pt x="2332" y="2487"/>
                    <a:pt x="2332" y="2490"/>
                  </a:cubicBezTo>
                  <a:cubicBezTo>
                    <a:pt x="2327" y="2487"/>
                    <a:pt x="2335" y="2481"/>
                    <a:pt x="2338" y="2481"/>
                  </a:cubicBezTo>
                  <a:close/>
                  <a:moveTo>
                    <a:pt x="2338" y="2512"/>
                  </a:moveTo>
                  <a:cubicBezTo>
                    <a:pt x="2341" y="2504"/>
                    <a:pt x="2346" y="2518"/>
                    <a:pt x="2338" y="2512"/>
                  </a:cubicBezTo>
                  <a:close/>
                  <a:moveTo>
                    <a:pt x="2338" y="1502"/>
                  </a:moveTo>
                  <a:cubicBezTo>
                    <a:pt x="2338" y="1500"/>
                    <a:pt x="2344" y="1497"/>
                    <a:pt x="2346" y="1497"/>
                  </a:cubicBezTo>
                  <a:cubicBezTo>
                    <a:pt x="2346" y="1500"/>
                    <a:pt x="2341" y="1502"/>
                    <a:pt x="2338" y="1502"/>
                  </a:cubicBezTo>
                  <a:close/>
                  <a:moveTo>
                    <a:pt x="2338" y="1433"/>
                  </a:moveTo>
                  <a:cubicBezTo>
                    <a:pt x="2338" y="1430"/>
                    <a:pt x="2344" y="1424"/>
                    <a:pt x="2349" y="1427"/>
                  </a:cubicBezTo>
                  <a:cubicBezTo>
                    <a:pt x="2344" y="1433"/>
                    <a:pt x="2341" y="1433"/>
                    <a:pt x="2338" y="1433"/>
                  </a:cubicBezTo>
                  <a:close/>
                  <a:moveTo>
                    <a:pt x="2352" y="1770"/>
                  </a:moveTo>
                  <a:cubicBezTo>
                    <a:pt x="2352" y="1773"/>
                    <a:pt x="2346" y="1776"/>
                    <a:pt x="2344" y="1776"/>
                  </a:cubicBezTo>
                  <a:cubicBezTo>
                    <a:pt x="2344" y="1770"/>
                    <a:pt x="2349" y="1770"/>
                    <a:pt x="2352" y="1770"/>
                  </a:cubicBezTo>
                  <a:close/>
                  <a:moveTo>
                    <a:pt x="2349" y="2383"/>
                  </a:moveTo>
                  <a:lnTo>
                    <a:pt x="2355" y="2383"/>
                  </a:lnTo>
                  <a:lnTo>
                    <a:pt x="2355" y="2388"/>
                  </a:lnTo>
                  <a:lnTo>
                    <a:pt x="2349" y="2388"/>
                  </a:lnTo>
                  <a:lnTo>
                    <a:pt x="2349" y="2383"/>
                  </a:lnTo>
                  <a:close/>
                  <a:moveTo>
                    <a:pt x="2355" y="1219"/>
                  </a:moveTo>
                  <a:cubicBezTo>
                    <a:pt x="2341" y="1204"/>
                    <a:pt x="2366" y="1190"/>
                    <a:pt x="2355" y="1219"/>
                  </a:cubicBezTo>
                  <a:close/>
                  <a:moveTo>
                    <a:pt x="2346" y="1188"/>
                  </a:moveTo>
                  <a:cubicBezTo>
                    <a:pt x="2349" y="1185"/>
                    <a:pt x="2349" y="1179"/>
                    <a:pt x="2355" y="1179"/>
                  </a:cubicBezTo>
                  <a:cubicBezTo>
                    <a:pt x="2355" y="1185"/>
                    <a:pt x="2352" y="1188"/>
                    <a:pt x="2346" y="1188"/>
                  </a:cubicBezTo>
                  <a:close/>
                  <a:moveTo>
                    <a:pt x="2361" y="1173"/>
                  </a:moveTo>
                  <a:cubicBezTo>
                    <a:pt x="2372" y="1185"/>
                    <a:pt x="2346" y="1199"/>
                    <a:pt x="2361" y="1173"/>
                  </a:cubicBezTo>
                  <a:close/>
                  <a:moveTo>
                    <a:pt x="2358" y="2470"/>
                  </a:moveTo>
                  <a:cubicBezTo>
                    <a:pt x="2358" y="2464"/>
                    <a:pt x="2366" y="2473"/>
                    <a:pt x="2358" y="2470"/>
                  </a:cubicBezTo>
                  <a:close/>
                  <a:moveTo>
                    <a:pt x="2361" y="1137"/>
                  </a:moveTo>
                  <a:cubicBezTo>
                    <a:pt x="2358" y="1137"/>
                    <a:pt x="2352" y="1134"/>
                    <a:pt x="2352" y="1131"/>
                  </a:cubicBezTo>
                  <a:cubicBezTo>
                    <a:pt x="2355" y="1131"/>
                    <a:pt x="2358" y="1131"/>
                    <a:pt x="2361" y="1134"/>
                  </a:cubicBezTo>
                  <a:cubicBezTo>
                    <a:pt x="2361" y="1134"/>
                    <a:pt x="2363" y="1140"/>
                    <a:pt x="2361" y="1137"/>
                  </a:cubicBezTo>
                  <a:close/>
                  <a:moveTo>
                    <a:pt x="2352" y="1131"/>
                  </a:moveTo>
                  <a:cubicBezTo>
                    <a:pt x="2349" y="1131"/>
                    <a:pt x="2352" y="1128"/>
                    <a:pt x="2352" y="1131"/>
                  </a:cubicBezTo>
                  <a:close/>
                  <a:moveTo>
                    <a:pt x="2363" y="807"/>
                  </a:moveTo>
                  <a:cubicBezTo>
                    <a:pt x="2377" y="812"/>
                    <a:pt x="2352" y="826"/>
                    <a:pt x="2363" y="807"/>
                  </a:cubicBezTo>
                  <a:close/>
                  <a:moveTo>
                    <a:pt x="2361" y="525"/>
                  </a:moveTo>
                  <a:cubicBezTo>
                    <a:pt x="2361" y="519"/>
                    <a:pt x="2369" y="527"/>
                    <a:pt x="2361" y="525"/>
                  </a:cubicBezTo>
                  <a:close/>
                  <a:moveTo>
                    <a:pt x="2358" y="338"/>
                  </a:moveTo>
                  <a:cubicBezTo>
                    <a:pt x="2344" y="319"/>
                    <a:pt x="2377" y="338"/>
                    <a:pt x="2358" y="338"/>
                  </a:cubicBezTo>
                  <a:close/>
                  <a:moveTo>
                    <a:pt x="2344" y="296"/>
                  </a:moveTo>
                  <a:cubicBezTo>
                    <a:pt x="2352" y="296"/>
                    <a:pt x="2352" y="302"/>
                    <a:pt x="2358" y="305"/>
                  </a:cubicBezTo>
                  <a:cubicBezTo>
                    <a:pt x="2358" y="307"/>
                    <a:pt x="2355" y="310"/>
                    <a:pt x="2349" y="310"/>
                  </a:cubicBezTo>
                  <a:cubicBezTo>
                    <a:pt x="2349" y="310"/>
                    <a:pt x="2346" y="310"/>
                    <a:pt x="2346" y="307"/>
                  </a:cubicBezTo>
                  <a:cubicBezTo>
                    <a:pt x="2346" y="310"/>
                    <a:pt x="2346" y="316"/>
                    <a:pt x="2344" y="319"/>
                  </a:cubicBezTo>
                  <a:cubicBezTo>
                    <a:pt x="2332" y="313"/>
                    <a:pt x="2335" y="299"/>
                    <a:pt x="2329" y="293"/>
                  </a:cubicBezTo>
                  <a:cubicBezTo>
                    <a:pt x="2332" y="290"/>
                    <a:pt x="2338" y="290"/>
                    <a:pt x="2344" y="296"/>
                  </a:cubicBezTo>
                  <a:close/>
                  <a:moveTo>
                    <a:pt x="2313" y="324"/>
                  </a:moveTo>
                  <a:cubicBezTo>
                    <a:pt x="2307" y="327"/>
                    <a:pt x="2313" y="322"/>
                    <a:pt x="2313" y="324"/>
                  </a:cubicBezTo>
                  <a:close/>
                  <a:moveTo>
                    <a:pt x="2307" y="330"/>
                  </a:moveTo>
                  <a:cubicBezTo>
                    <a:pt x="2307" y="329"/>
                    <a:pt x="2306" y="328"/>
                    <a:pt x="2306" y="327"/>
                  </a:cubicBezTo>
                  <a:cubicBezTo>
                    <a:pt x="2306" y="328"/>
                    <a:pt x="2306" y="329"/>
                    <a:pt x="2307" y="330"/>
                  </a:cubicBezTo>
                  <a:close/>
                  <a:moveTo>
                    <a:pt x="2304" y="324"/>
                  </a:moveTo>
                  <a:cubicBezTo>
                    <a:pt x="2304" y="322"/>
                    <a:pt x="2307" y="322"/>
                    <a:pt x="2307" y="319"/>
                  </a:cubicBezTo>
                  <a:cubicBezTo>
                    <a:pt x="2307" y="316"/>
                    <a:pt x="2304" y="316"/>
                    <a:pt x="2304" y="313"/>
                  </a:cubicBezTo>
                  <a:cubicBezTo>
                    <a:pt x="2304" y="310"/>
                    <a:pt x="2304" y="310"/>
                    <a:pt x="2307" y="307"/>
                  </a:cubicBezTo>
                  <a:cubicBezTo>
                    <a:pt x="2307" y="307"/>
                    <a:pt x="2310" y="310"/>
                    <a:pt x="2310" y="313"/>
                  </a:cubicBezTo>
                  <a:lnTo>
                    <a:pt x="2310" y="319"/>
                  </a:lnTo>
                  <a:cubicBezTo>
                    <a:pt x="2308" y="322"/>
                    <a:pt x="2306" y="325"/>
                    <a:pt x="2306" y="327"/>
                  </a:cubicBezTo>
                  <a:cubicBezTo>
                    <a:pt x="2305" y="325"/>
                    <a:pt x="2304" y="324"/>
                    <a:pt x="2304" y="324"/>
                  </a:cubicBezTo>
                  <a:close/>
                  <a:moveTo>
                    <a:pt x="2307" y="2174"/>
                  </a:moveTo>
                  <a:cubicBezTo>
                    <a:pt x="2301" y="2177"/>
                    <a:pt x="2301" y="2185"/>
                    <a:pt x="2293" y="2185"/>
                  </a:cubicBezTo>
                  <a:cubicBezTo>
                    <a:pt x="2293" y="2177"/>
                    <a:pt x="2301" y="2174"/>
                    <a:pt x="2307" y="2174"/>
                  </a:cubicBezTo>
                  <a:close/>
                  <a:moveTo>
                    <a:pt x="2296" y="525"/>
                  </a:moveTo>
                  <a:cubicBezTo>
                    <a:pt x="2298" y="519"/>
                    <a:pt x="2307" y="530"/>
                    <a:pt x="2296" y="525"/>
                  </a:cubicBezTo>
                  <a:close/>
                  <a:moveTo>
                    <a:pt x="2293" y="451"/>
                  </a:moveTo>
                  <a:cubicBezTo>
                    <a:pt x="2293" y="448"/>
                    <a:pt x="2298" y="446"/>
                    <a:pt x="2301" y="446"/>
                  </a:cubicBezTo>
                  <a:cubicBezTo>
                    <a:pt x="2298" y="448"/>
                    <a:pt x="2296" y="451"/>
                    <a:pt x="2293" y="451"/>
                  </a:cubicBezTo>
                  <a:close/>
                  <a:moveTo>
                    <a:pt x="2296" y="481"/>
                  </a:moveTo>
                  <a:cubicBezTo>
                    <a:pt x="2295" y="482"/>
                    <a:pt x="2292" y="483"/>
                    <a:pt x="2296" y="479"/>
                  </a:cubicBezTo>
                  <a:cubicBezTo>
                    <a:pt x="2297" y="479"/>
                    <a:pt x="2297" y="480"/>
                    <a:pt x="2296" y="481"/>
                  </a:cubicBezTo>
                  <a:close/>
                  <a:moveTo>
                    <a:pt x="2290" y="305"/>
                  </a:moveTo>
                  <a:cubicBezTo>
                    <a:pt x="2284" y="282"/>
                    <a:pt x="2304" y="322"/>
                    <a:pt x="2290" y="305"/>
                  </a:cubicBezTo>
                  <a:close/>
                  <a:moveTo>
                    <a:pt x="2290" y="485"/>
                  </a:moveTo>
                  <a:lnTo>
                    <a:pt x="2296" y="485"/>
                  </a:lnTo>
                  <a:lnTo>
                    <a:pt x="2296" y="491"/>
                  </a:lnTo>
                  <a:lnTo>
                    <a:pt x="2290" y="491"/>
                  </a:lnTo>
                  <a:lnTo>
                    <a:pt x="2290" y="485"/>
                  </a:lnTo>
                  <a:close/>
                  <a:moveTo>
                    <a:pt x="2284" y="398"/>
                  </a:moveTo>
                  <a:cubicBezTo>
                    <a:pt x="2284" y="392"/>
                    <a:pt x="2296" y="401"/>
                    <a:pt x="2284" y="398"/>
                  </a:cubicBezTo>
                  <a:close/>
                  <a:moveTo>
                    <a:pt x="2284" y="288"/>
                  </a:moveTo>
                  <a:lnTo>
                    <a:pt x="2285" y="288"/>
                  </a:lnTo>
                  <a:cubicBezTo>
                    <a:pt x="2284" y="288"/>
                    <a:pt x="2283" y="289"/>
                    <a:pt x="2284" y="288"/>
                  </a:cubicBezTo>
                  <a:cubicBezTo>
                    <a:pt x="2287" y="286"/>
                    <a:pt x="2286" y="287"/>
                    <a:pt x="2285" y="288"/>
                  </a:cubicBezTo>
                  <a:lnTo>
                    <a:pt x="2284" y="288"/>
                  </a:lnTo>
                  <a:close/>
                  <a:moveTo>
                    <a:pt x="2293" y="1453"/>
                  </a:moveTo>
                  <a:cubicBezTo>
                    <a:pt x="2284" y="1457"/>
                    <a:pt x="2284" y="1444"/>
                    <a:pt x="2293" y="1453"/>
                  </a:cubicBezTo>
                  <a:close/>
                  <a:moveTo>
                    <a:pt x="2265" y="333"/>
                  </a:moveTo>
                  <a:cubicBezTo>
                    <a:pt x="2267" y="338"/>
                    <a:pt x="2267" y="341"/>
                    <a:pt x="2259" y="344"/>
                  </a:cubicBezTo>
                  <a:cubicBezTo>
                    <a:pt x="2265" y="336"/>
                    <a:pt x="2250" y="338"/>
                    <a:pt x="2250" y="330"/>
                  </a:cubicBezTo>
                  <a:cubicBezTo>
                    <a:pt x="2259" y="330"/>
                    <a:pt x="2273" y="330"/>
                    <a:pt x="2284" y="341"/>
                  </a:cubicBezTo>
                  <a:cubicBezTo>
                    <a:pt x="2279" y="344"/>
                    <a:pt x="2270" y="344"/>
                    <a:pt x="2267" y="338"/>
                  </a:cubicBezTo>
                  <a:lnTo>
                    <a:pt x="2265" y="333"/>
                  </a:lnTo>
                  <a:close/>
                  <a:moveTo>
                    <a:pt x="2282" y="448"/>
                  </a:moveTo>
                  <a:cubicBezTo>
                    <a:pt x="2276" y="451"/>
                    <a:pt x="2284" y="446"/>
                    <a:pt x="2282" y="448"/>
                  </a:cubicBezTo>
                  <a:close/>
                  <a:moveTo>
                    <a:pt x="2262" y="2337"/>
                  </a:moveTo>
                  <a:cubicBezTo>
                    <a:pt x="2265" y="2332"/>
                    <a:pt x="2273" y="2340"/>
                    <a:pt x="2262" y="2337"/>
                  </a:cubicBezTo>
                  <a:close/>
                  <a:moveTo>
                    <a:pt x="2267" y="798"/>
                  </a:moveTo>
                  <a:cubicBezTo>
                    <a:pt x="2267" y="800"/>
                    <a:pt x="2267" y="803"/>
                    <a:pt x="2269" y="805"/>
                  </a:cubicBezTo>
                  <a:cubicBezTo>
                    <a:pt x="2268" y="804"/>
                    <a:pt x="2267" y="802"/>
                    <a:pt x="2267" y="801"/>
                  </a:cubicBezTo>
                  <a:cubicBezTo>
                    <a:pt x="2265" y="801"/>
                    <a:pt x="2267" y="798"/>
                    <a:pt x="2267" y="798"/>
                  </a:cubicBezTo>
                  <a:close/>
                  <a:moveTo>
                    <a:pt x="2270" y="807"/>
                  </a:moveTo>
                  <a:cubicBezTo>
                    <a:pt x="2270" y="807"/>
                    <a:pt x="2269" y="806"/>
                    <a:pt x="2269" y="805"/>
                  </a:cubicBezTo>
                  <a:cubicBezTo>
                    <a:pt x="2269" y="805"/>
                    <a:pt x="2270" y="806"/>
                    <a:pt x="2270" y="807"/>
                  </a:cubicBezTo>
                  <a:close/>
                  <a:moveTo>
                    <a:pt x="2267" y="1728"/>
                  </a:moveTo>
                  <a:cubicBezTo>
                    <a:pt x="2273" y="1722"/>
                    <a:pt x="2265" y="1734"/>
                    <a:pt x="2267" y="1728"/>
                  </a:cubicBezTo>
                  <a:close/>
                  <a:moveTo>
                    <a:pt x="2270" y="2157"/>
                  </a:moveTo>
                  <a:cubicBezTo>
                    <a:pt x="2267" y="2151"/>
                    <a:pt x="2287" y="2154"/>
                    <a:pt x="2270" y="2157"/>
                  </a:cubicBezTo>
                  <a:close/>
                  <a:moveTo>
                    <a:pt x="2270" y="440"/>
                  </a:moveTo>
                  <a:cubicBezTo>
                    <a:pt x="2273" y="434"/>
                    <a:pt x="2282" y="443"/>
                    <a:pt x="2270" y="440"/>
                  </a:cubicBezTo>
                  <a:close/>
                  <a:moveTo>
                    <a:pt x="2276" y="2515"/>
                  </a:moveTo>
                  <a:lnTo>
                    <a:pt x="2277" y="2514"/>
                  </a:lnTo>
                  <a:cubicBezTo>
                    <a:pt x="2277" y="2514"/>
                    <a:pt x="2277" y="2515"/>
                    <a:pt x="2276" y="2515"/>
                  </a:cubicBezTo>
                  <a:cubicBezTo>
                    <a:pt x="2276" y="2514"/>
                    <a:pt x="2277" y="2514"/>
                    <a:pt x="2277" y="2514"/>
                  </a:cubicBezTo>
                  <a:lnTo>
                    <a:pt x="2276" y="2515"/>
                  </a:lnTo>
                  <a:close/>
                  <a:moveTo>
                    <a:pt x="2256" y="2388"/>
                  </a:moveTo>
                  <a:cubicBezTo>
                    <a:pt x="2259" y="2383"/>
                    <a:pt x="2267" y="2391"/>
                    <a:pt x="2256" y="2388"/>
                  </a:cubicBezTo>
                  <a:close/>
                  <a:moveTo>
                    <a:pt x="2256" y="2337"/>
                  </a:moveTo>
                  <a:cubicBezTo>
                    <a:pt x="2258" y="2334"/>
                    <a:pt x="2262" y="2336"/>
                    <a:pt x="2262" y="2337"/>
                  </a:cubicBezTo>
                  <a:cubicBezTo>
                    <a:pt x="2261" y="2338"/>
                    <a:pt x="2260" y="2338"/>
                    <a:pt x="2256" y="2337"/>
                  </a:cubicBezTo>
                  <a:close/>
                  <a:moveTo>
                    <a:pt x="2267" y="254"/>
                  </a:moveTo>
                  <a:cubicBezTo>
                    <a:pt x="2287" y="243"/>
                    <a:pt x="2282" y="282"/>
                    <a:pt x="2267" y="288"/>
                  </a:cubicBezTo>
                  <a:cubicBezTo>
                    <a:pt x="2256" y="285"/>
                    <a:pt x="2282" y="259"/>
                    <a:pt x="2267" y="254"/>
                  </a:cubicBezTo>
                  <a:close/>
                  <a:moveTo>
                    <a:pt x="2265" y="316"/>
                  </a:moveTo>
                  <a:cubicBezTo>
                    <a:pt x="2265" y="333"/>
                    <a:pt x="2250" y="310"/>
                    <a:pt x="2265" y="316"/>
                  </a:cubicBezTo>
                  <a:close/>
                  <a:moveTo>
                    <a:pt x="2253" y="265"/>
                  </a:moveTo>
                  <a:cubicBezTo>
                    <a:pt x="2259" y="262"/>
                    <a:pt x="2248" y="274"/>
                    <a:pt x="2253" y="265"/>
                  </a:cubicBezTo>
                  <a:close/>
                  <a:moveTo>
                    <a:pt x="2248" y="254"/>
                  </a:moveTo>
                  <a:cubicBezTo>
                    <a:pt x="2248" y="248"/>
                    <a:pt x="2256" y="254"/>
                    <a:pt x="2248" y="254"/>
                  </a:cubicBezTo>
                  <a:close/>
                  <a:moveTo>
                    <a:pt x="2253" y="324"/>
                  </a:moveTo>
                  <a:cubicBezTo>
                    <a:pt x="2253" y="327"/>
                    <a:pt x="2245" y="330"/>
                    <a:pt x="2242" y="330"/>
                  </a:cubicBezTo>
                  <a:cubicBezTo>
                    <a:pt x="2242" y="322"/>
                    <a:pt x="2239" y="319"/>
                    <a:pt x="2239" y="313"/>
                  </a:cubicBezTo>
                  <a:cubicBezTo>
                    <a:pt x="2250" y="313"/>
                    <a:pt x="2245" y="324"/>
                    <a:pt x="2253" y="324"/>
                  </a:cubicBezTo>
                  <a:close/>
                  <a:moveTo>
                    <a:pt x="2245" y="2552"/>
                  </a:moveTo>
                  <a:cubicBezTo>
                    <a:pt x="2248" y="2552"/>
                    <a:pt x="2250" y="2549"/>
                    <a:pt x="2250" y="2546"/>
                  </a:cubicBezTo>
                  <a:cubicBezTo>
                    <a:pt x="2250" y="2546"/>
                    <a:pt x="2253" y="2546"/>
                    <a:pt x="2253" y="2544"/>
                  </a:cubicBezTo>
                  <a:cubicBezTo>
                    <a:pt x="2251" y="2543"/>
                    <a:pt x="2248" y="2543"/>
                    <a:pt x="2245" y="2546"/>
                  </a:cubicBezTo>
                  <a:cubicBezTo>
                    <a:pt x="2239" y="2532"/>
                    <a:pt x="2242" y="2518"/>
                    <a:pt x="2253" y="2509"/>
                  </a:cubicBezTo>
                  <a:cubicBezTo>
                    <a:pt x="2265" y="2518"/>
                    <a:pt x="2267" y="2535"/>
                    <a:pt x="2262" y="2549"/>
                  </a:cubicBezTo>
                  <a:cubicBezTo>
                    <a:pt x="2261" y="2549"/>
                    <a:pt x="2260" y="2549"/>
                    <a:pt x="2259" y="2548"/>
                  </a:cubicBezTo>
                  <a:cubicBezTo>
                    <a:pt x="2258" y="2550"/>
                    <a:pt x="2255" y="2552"/>
                    <a:pt x="2253" y="2552"/>
                  </a:cubicBezTo>
                  <a:cubicBezTo>
                    <a:pt x="2270" y="2560"/>
                    <a:pt x="2245" y="2577"/>
                    <a:pt x="2250" y="2591"/>
                  </a:cubicBezTo>
                  <a:cubicBezTo>
                    <a:pt x="2228" y="2580"/>
                    <a:pt x="2245" y="2574"/>
                    <a:pt x="2245" y="2552"/>
                  </a:cubicBezTo>
                  <a:lnTo>
                    <a:pt x="2248" y="2555"/>
                  </a:lnTo>
                  <a:lnTo>
                    <a:pt x="2250" y="2555"/>
                  </a:lnTo>
                  <a:cubicBezTo>
                    <a:pt x="2250" y="2555"/>
                    <a:pt x="2248" y="2552"/>
                    <a:pt x="2245" y="2552"/>
                  </a:cubicBezTo>
                  <a:close/>
                  <a:moveTo>
                    <a:pt x="2242" y="240"/>
                  </a:moveTo>
                  <a:cubicBezTo>
                    <a:pt x="2256" y="259"/>
                    <a:pt x="2222" y="251"/>
                    <a:pt x="2242" y="240"/>
                  </a:cubicBezTo>
                  <a:close/>
                  <a:moveTo>
                    <a:pt x="2231" y="2543"/>
                  </a:moveTo>
                  <a:cubicBezTo>
                    <a:pt x="2236" y="2538"/>
                    <a:pt x="2228" y="2552"/>
                    <a:pt x="2231" y="2543"/>
                  </a:cubicBezTo>
                  <a:close/>
                  <a:moveTo>
                    <a:pt x="2205" y="479"/>
                  </a:moveTo>
                  <a:cubicBezTo>
                    <a:pt x="2191" y="465"/>
                    <a:pt x="2222" y="474"/>
                    <a:pt x="2217" y="454"/>
                  </a:cubicBezTo>
                  <a:cubicBezTo>
                    <a:pt x="2234" y="465"/>
                    <a:pt x="2211" y="471"/>
                    <a:pt x="2205" y="479"/>
                  </a:cubicBezTo>
                  <a:close/>
                  <a:moveTo>
                    <a:pt x="2228" y="2684"/>
                  </a:moveTo>
                  <a:cubicBezTo>
                    <a:pt x="2231" y="2693"/>
                    <a:pt x="2219" y="2693"/>
                    <a:pt x="2219" y="2698"/>
                  </a:cubicBezTo>
                  <a:cubicBezTo>
                    <a:pt x="2214" y="2693"/>
                    <a:pt x="2222" y="2682"/>
                    <a:pt x="2228" y="2684"/>
                  </a:cubicBezTo>
                  <a:close/>
                  <a:moveTo>
                    <a:pt x="2222" y="505"/>
                  </a:moveTo>
                  <a:cubicBezTo>
                    <a:pt x="2225" y="499"/>
                    <a:pt x="2228" y="513"/>
                    <a:pt x="2222" y="505"/>
                  </a:cubicBezTo>
                  <a:close/>
                  <a:moveTo>
                    <a:pt x="2222" y="338"/>
                  </a:moveTo>
                  <a:cubicBezTo>
                    <a:pt x="2225" y="338"/>
                    <a:pt x="2228" y="341"/>
                    <a:pt x="2228" y="344"/>
                  </a:cubicBezTo>
                  <a:lnTo>
                    <a:pt x="2228" y="347"/>
                  </a:lnTo>
                  <a:lnTo>
                    <a:pt x="2222" y="347"/>
                  </a:lnTo>
                  <a:cubicBezTo>
                    <a:pt x="2225" y="344"/>
                    <a:pt x="2225" y="341"/>
                    <a:pt x="2222" y="338"/>
                  </a:cubicBezTo>
                  <a:close/>
                  <a:moveTo>
                    <a:pt x="2228" y="488"/>
                  </a:moveTo>
                  <a:cubicBezTo>
                    <a:pt x="2242" y="491"/>
                    <a:pt x="2217" y="508"/>
                    <a:pt x="2228" y="488"/>
                  </a:cubicBezTo>
                  <a:close/>
                  <a:moveTo>
                    <a:pt x="2222" y="228"/>
                  </a:moveTo>
                  <a:cubicBezTo>
                    <a:pt x="2225" y="228"/>
                    <a:pt x="2231" y="231"/>
                    <a:pt x="2234" y="231"/>
                  </a:cubicBezTo>
                  <a:cubicBezTo>
                    <a:pt x="2234" y="234"/>
                    <a:pt x="2231" y="240"/>
                    <a:pt x="2231" y="243"/>
                  </a:cubicBezTo>
                  <a:cubicBezTo>
                    <a:pt x="2228" y="243"/>
                    <a:pt x="2222" y="243"/>
                    <a:pt x="2219" y="240"/>
                  </a:cubicBezTo>
                  <a:cubicBezTo>
                    <a:pt x="2219" y="240"/>
                    <a:pt x="2222" y="234"/>
                    <a:pt x="2222" y="228"/>
                  </a:cubicBezTo>
                  <a:close/>
                  <a:moveTo>
                    <a:pt x="2222" y="285"/>
                  </a:moveTo>
                  <a:cubicBezTo>
                    <a:pt x="2228" y="290"/>
                    <a:pt x="2222" y="296"/>
                    <a:pt x="2219" y="299"/>
                  </a:cubicBezTo>
                  <a:cubicBezTo>
                    <a:pt x="2219" y="296"/>
                    <a:pt x="2219" y="290"/>
                    <a:pt x="2222" y="285"/>
                  </a:cubicBezTo>
                  <a:close/>
                  <a:moveTo>
                    <a:pt x="2219" y="310"/>
                  </a:moveTo>
                  <a:cubicBezTo>
                    <a:pt x="2234" y="316"/>
                    <a:pt x="2208" y="330"/>
                    <a:pt x="2219" y="310"/>
                  </a:cubicBezTo>
                  <a:close/>
                  <a:moveTo>
                    <a:pt x="2214" y="358"/>
                  </a:moveTo>
                  <a:cubicBezTo>
                    <a:pt x="2214" y="353"/>
                    <a:pt x="2222" y="358"/>
                    <a:pt x="2214" y="358"/>
                  </a:cubicBezTo>
                  <a:close/>
                  <a:moveTo>
                    <a:pt x="2217" y="369"/>
                  </a:moveTo>
                  <a:cubicBezTo>
                    <a:pt x="2231" y="389"/>
                    <a:pt x="2197" y="372"/>
                    <a:pt x="2217" y="369"/>
                  </a:cubicBezTo>
                  <a:close/>
                  <a:moveTo>
                    <a:pt x="2208" y="338"/>
                  </a:moveTo>
                  <a:cubicBezTo>
                    <a:pt x="2214" y="333"/>
                    <a:pt x="2208" y="347"/>
                    <a:pt x="2208" y="338"/>
                  </a:cubicBezTo>
                  <a:close/>
                  <a:moveTo>
                    <a:pt x="2214" y="327"/>
                  </a:moveTo>
                  <a:cubicBezTo>
                    <a:pt x="2214" y="333"/>
                    <a:pt x="2205" y="327"/>
                    <a:pt x="2205" y="324"/>
                  </a:cubicBezTo>
                  <a:cubicBezTo>
                    <a:pt x="2211" y="324"/>
                    <a:pt x="2211" y="327"/>
                    <a:pt x="2214" y="327"/>
                  </a:cubicBezTo>
                  <a:close/>
                  <a:moveTo>
                    <a:pt x="2203" y="257"/>
                  </a:moveTo>
                  <a:cubicBezTo>
                    <a:pt x="2203" y="251"/>
                    <a:pt x="2214" y="257"/>
                    <a:pt x="2203" y="257"/>
                  </a:cubicBezTo>
                  <a:close/>
                  <a:moveTo>
                    <a:pt x="2197" y="282"/>
                  </a:moveTo>
                  <a:cubicBezTo>
                    <a:pt x="2197" y="279"/>
                    <a:pt x="2200" y="276"/>
                    <a:pt x="2203" y="274"/>
                  </a:cubicBezTo>
                  <a:cubicBezTo>
                    <a:pt x="2203" y="276"/>
                    <a:pt x="2200" y="279"/>
                    <a:pt x="2197" y="282"/>
                  </a:cubicBezTo>
                  <a:close/>
                  <a:moveTo>
                    <a:pt x="2200" y="313"/>
                  </a:moveTo>
                  <a:cubicBezTo>
                    <a:pt x="2214" y="319"/>
                    <a:pt x="2188" y="333"/>
                    <a:pt x="2200" y="313"/>
                  </a:cubicBezTo>
                  <a:close/>
                  <a:moveTo>
                    <a:pt x="2203" y="237"/>
                  </a:moveTo>
                  <a:cubicBezTo>
                    <a:pt x="2203" y="243"/>
                    <a:pt x="2197" y="237"/>
                    <a:pt x="2191" y="237"/>
                  </a:cubicBezTo>
                  <a:cubicBezTo>
                    <a:pt x="2191" y="234"/>
                    <a:pt x="2200" y="237"/>
                    <a:pt x="2203" y="237"/>
                  </a:cubicBezTo>
                  <a:close/>
                  <a:moveTo>
                    <a:pt x="2180" y="248"/>
                  </a:moveTo>
                  <a:cubicBezTo>
                    <a:pt x="2183" y="240"/>
                    <a:pt x="2186" y="257"/>
                    <a:pt x="2180" y="248"/>
                  </a:cubicBezTo>
                  <a:close/>
                  <a:moveTo>
                    <a:pt x="2191" y="257"/>
                  </a:moveTo>
                  <a:cubicBezTo>
                    <a:pt x="2194" y="262"/>
                    <a:pt x="2194" y="268"/>
                    <a:pt x="2194" y="274"/>
                  </a:cubicBezTo>
                  <a:cubicBezTo>
                    <a:pt x="2188" y="274"/>
                    <a:pt x="2186" y="276"/>
                    <a:pt x="2180" y="279"/>
                  </a:cubicBezTo>
                  <a:cubicBezTo>
                    <a:pt x="2174" y="274"/>
                    <a:pt x="2174" y="268"/>
                    <a:pt x="2171" y="262"/>
                  </a:cubicBezTo>
                  <a:cubicBezTo>
                    <a:pt x="2177" y="259"/>
                    <a:pt x="2186" y="259"/>
                    <a:pt x="2191" y="257"/>
                  </a:cubicBezTo>
                  <a:close/>
                  <a:moveTo>
                    <a:pt x="2188" y="367"/>
                  </a:moveTo>
                  <a:cubicBezTo>
                    <a:pt x="2188" y="367"/>
                    <a:pt x="2186" y="367"/>
                    <a:pt x="2183" y="364"/>
                  </a:cubicBezTo>
                  <a:cubicBezTo>
                    <a:pt x="2183" y="364"/>
                    <a:pt x="2183" y="361"/>
                    <a:pt x="2180" y="361"/>
                  </a:cubicBezTo>
                  <a:lnTo>
                    <a:pt x="2183" y="358"/>
                  </a:lnTo>
                  <a:lnTo>
                    <a:pt x="2183" y="361"/>
                  </a:lnTo>
                  <a:cubicBezTo>
                    <a:pt x="2186" y="367"/>
                    <a:pt x="2188" y="367"/>
                    <a:pt x="2188" y="367"/>
                  </a:cubicBezTo>
                  <a:close/>
                  <a:moveTo>
                    <a:pt x="2186" y="313"/>
                  </a:moveTo>
                  <a:lnTo>
                    <a:pt x="2186" y="314"/>
                  </a:lnTo>
                  <a:cubicBezTo>
                    <a:pt x="2185" y="314"/>
                    <a:pt x="2184" y="314"/>
                    <a:pt x="2186" y="313"/>
                  </a:cubicBezTo>
                  <a:cubicBezTo>
                    <a:pt x="2187" y="313"/>
                    <a:pt x="2186" y="314"/>
                    <a:pt x="2186" y="314"/>
                  </a:cubicBezTo>
                  <a:lnTo>
                    <a:pt x="2186" y="313"/>
                  </a:lnTo>
                  <a:close/>
                  <a:moveTo>
                    <a:pt x="2171" y="361"/>
                  </a:moveTo>
                  <a:cubicBezTo>
                    <a:pt x="2169" y="364"/>
                    <a:pt x="2166" y="367"/>
                    <a:pt x="2163" y="367"/>
                  </a:cubicBezTo>
                  <a:cubicBezTo>
                    <a:pt x="2163" y="364"/>
                    <a:pt x="2166" y="361"/>
                    <a:pt x="2171" y="361"/>
                  </a:cubicBezTo>
                  <a:close/>
                  <a:moveTo>
                    <a:pt x="2166" y="542"/>
                  </a:moveTo>
                  <a:cubicBezTo>
                    <a:pt x="2166" y="553"/>
                    <a:pt x="2157" y="556"/>
                    <a:pt x="2155" y="561"/>
                  </a:cubicBezTo>
                  <a:cubicBezTo>
                    <a:pt x="2143" y="556"/>
                    <a:pt x="2155" y="536"/>
                    <a:pt x="2166" y="542"/>
                  </a:cubicBezTo>
                  <a:close/>
                  <a:moveTo>
                    <a:pt x="2135" y="333"/>
                  </a:moveTo>
                  <a:cubicBezTo>
                    <a:pt x="2132" y="336"/>
                    <a:pt x="2132" y="347"/>
                    <a:pt x="2138" y="350"/>
                  </a:cubicBezTo>
                  <a:cubicBezTo>
                    <a:pt x="2112" y="347"/>
                    <a:pt x="2146" y="307"/>
                    <a:pt x="2157" y="341"/>
                  </a:cubicBezTo>
                  <a:cubicBezTo>
                    <a:pt x="2157" y="341"/>
                    <a:pt x="2155" y="344"/>
                    <a:pt x="2160" y="350"/>
                  </a:cubicBezTo>
                  <a:cubicBezTo>
                    <a:pt x="2152" y="355"/>
                    <a:pt x="2138" y="344"/>
                    <a:pt x="2135" y="333"/>
                  </a:cubicBezTo>
                  <a:close/>
                  <a:moveTo>
                    <a:pt x="2143" y="2555"/>
                  </a:moveTo>
                  <a:cubicBezTo>
                    <a:pt x="2152" y="2549"/>
                    <a:pt x="2140" y="2563"/>
                    <a:pt x="2143" y="2555"/>
                  </a:cubicBezTo>
                  <a:close/>
                  <a:moveTo>
                    <a:pt x="2132" y="401"/>
                  </a:moveTo>
                  <a:cubicBezTo>
                    <a:pt x="2132" y="398"/>
                    <a:pt x="2138" y="395"/>
                    <a:pt x="2138" y="392"/>
                  </a:cubicBezTo>
                  <a:cubicBezTo>
                    <a:pt x="2143" y="392"/>
                    <a:pt x="2138" y="401"/>
                    <a:pt x="2132" y="401"/>
                  </a:cubicBezTo>
                  <a:close/>
                  <a:moveTo>
                    <a:pt x="2135" y="1604"/>
                  </a:moveTo>
                  <a:cubicBezTo>
                    <a:pt x="2138" y="1596"/>
                    <a:pt x="2138" y="1612"/>
                    <a:pt x="2135" y="1604"/>
                  </a:cubicBezTo>
                  <a:close/>
                  <a:moveTo>
                    <a:pt x="2124" y="293"/>
                  </a:moveTo>
                  <a:cubicBezTo>
                    <a:pt x="2121" y="288"/>
                    <a:pt x="2126" y="285"/>
                    <a:pt x="2126" y="282"/>
                  </a:cubicBezTo>
                  <a:cubicBezTo>
                    <a:pt x="2135" y="282"/>
                    <a:pt x="2129" y="293"/>
                    <a:pt x="2124" y="293"/>
                  </a:cubicBezTo>
                  <a:close/>
                  <a:moveTo>
                    <a:pt x="2126" y="313"/>
                  </a:moveTo>
                  <a:lnTo>
                    <a:pt x="2126" y="319"/>
                  </a:lnTo>
                  <a:lnTo>
                    <a:pt x="2121" y="319"/>
                  </a:lnTo>
                  <a:lnTo>
                    <a:pt x="2121" y="313"/>
                  </a:lnTo>
                  <a:lnTo>
                    <a:pt x="2126" y="313"/>
                  </a:lnTo>
                  <a:close/>
                  <a:moveTo>
                    <a:pt x="2135" y="307"/>
                  </a:moveTo>
                  <a:lnTo>
                    <a:pt x="2129" y="307"/>
                  </a:lnTo>
                  <a:lnTo>
                    <a:pt x="2129" y="302"/>
                  </a:lnTo>
                  <a:cubicBezTo>
                    <a:pt x="2129" y="302"/>
                    <a:pt x="2132" y="299"/>
                    <a:pt x="2135" y="299"/>
                  </a:cubicBezTo>
                  <a:cubicBezTo>
                    <a:pt x="2132" y="302"/>
                    <a:pt x="2132" y="305"/>
                    <a:pt x="2135" y="307"/>
                  </a:cubicBezTo>
                  <a:close/>
                  <a:moveTo>
                    <a:pt x="2157" y="296"/>
                  </a:moveTo>
                  <a:cubicBezTo>
                    <a:pt x="2163" y="293"/>
                    <a:pt x="2152" y="305"/>
                    <a:pt x="2157" y="296"/>
                  </a:cubicBezTo>
                  <a:close/>
                  <a:moveTo>
                    <a:pt x="2157" y="206"/>
                  </a:moveTo>
                  <a:cubicBezTo>
                    <a:pt x="2155" y="206"/>
                    <a:pt x="2143" y="203"/>
                    <a:pt x="2143" y="209"/>
                  </a:cubicBezTo>
                  <a:cubicBezTo>
                    <a:pt x="2138" y="203"/>
                    <a:pt x="2160" y="197"/>
                    <a:pt x="2157" y="206"/>
                  </a:cubicBezTo>
                  <a:close/>
                  <a:moveTo>
                    <a:pt x="2121" y="180"/>
                  </a:moveTo>
                  <a:cubicBezTo>
                    <a:pt x="2115" y="178"/>
                    <a:pt x="2112" y="172"/>
                    <a:pt x="2109" y="169"/>
                  </a:cubicBezTo>
                  <a:cubicBezTo>
                    <a:pt x="2118" y="164"/>
                    <a:pt x="2121" y="175"/>
                    <a:pt x="2121" y="180"/>
                  </a:cubicBezTo>
                  <a:close/>
                  <a:moveTo>
                    <a:pt x="2107" y="220"/>
                  </a:moveTo>
                  <a:cubicBezTo>
                    <a:pt x="2112" y="223"/>
                    <a:pt x="2109" y="237"/>
                    <a:pt x="2104" y="237"/>
                  </a:cubicBezTo>
                  <a:cubicBezTo>
                    <a:pt x="2104" y="231"/>
                    <a:pt x="2104" y="226"/>
                    <a:pt x="2107" y="220"/>
                  </a:cubicBezTo>
                  <a:close/>
                  <a:moveTo>
                    <a:pt x="2101" y="319"/>
                  </a:moveTo>
                  <a:cubicBezTo>
                    <a:pt x="2095" y="313"/>
                    <a:pt x="2090" y="302"/>
                    <a:pt x="2098" y="296"/>
                  </a:cubicBezTo>
                  <a:cubicBezTo>
                    <a:pt x="2098" y="298"/>
                    <a:pt x="2100" y="300"/>
                    <a:pt x="2101" y="302"/>
                  </a:cubicBezTo>
                  <a:cubicBezTo>
                    <a:pt x="2102" y="303"/>
                    <a:pt x="2104" y="304"/>
                    <a:pt x="2107" y="302"/>
                  </a:cubicBezTo>
                  <a:lnTo>
                    <a:pt x="2109" y="305"/>
                  </a:lnTo>
                  <a:lnTo>
                    <a:pt x="2107" y="305"/>
                  </a:lnTo>
                  <a:cubicBezTo>
                    <a:pt x="2109" y="307"/>
                    <a:pt x="2107" y="313"/>
                    <a:pt x="2101" y="319"/>
                  </a:cubicBezTo>
                  <a:close/>
                  <a:moveTo>
                    <a:pt x="2101" y="341"/>
                  </a:moveTo>
                  <a:cubicBezTo>
                    <a:pt x="2101" y="336"/>
                    <a:pt x="2112" y="344"/>
                    <a:pt x="2101" y="341"/>
                  </a:cubicBezTo>
                  <a:close/>
                  <a:moveTo>
                    <a:pt x="2098" y="2428"/>
                  </a:moveTo>
                  <a:cubicBezTo>
                    <a:pt x="2098" y="2422"/>
                    <a:pt x="2095" y="2442"/>
                    <a:pt x="2098" y="2428"/>
                  </a:cubicBezTo>
                  <a:close/>
                  <a:moveTo>
                    <a:pt x="2092" y="1610"/>
                  </a:moveTo>
                  <a:cubicBezTo>
                    <a:pt x="2092" y="1604"/>
                    <a:pt x="2104" y="1612"/>
                    <a:pt x="2092" y="1610"/>
                  </a:cubicBezTo>
                  <a:close/>
                  <a:moveTo>
                    <a:pt x="2104" y="240"/>
                  </a:moveTo>
                  <a:lnTo>
                    <a:pt x="2099" y="240"/>
                  </a:lnTo>
                  <a:cubicBezTo>
                    <a:pt x="2100" y="256"/>
                    <a:pt x="2063" y="250"/>
                    <a:pt x="2098" y="237"/>
                  </a:cubicBezTo>
                  <a:lnTo>
                    <a:pt x="2098" y="234"/>
                  </a:lnTo>
                  <a:lnTo>
                    <a:pt x="2104" y="234"/>
                  </a:lnTo>
                  <a:lnTo>
                    <a:pt x="2104" y="237"/>
                  </a:lnTo>
                  <a:lnTo>
                    <a:pt x="2104" y="240"/>
                  </a:lnTo>
                  <a:close/>
                  <a:moveTo>
                    <a:pt x="2109" y="274"/>
                  </a:moveTo>
                  <a:cubicBezTo>
                    <a:pt x="2104" y="276"/>
                    <a:pt x="2104" y="268"/>
                    <a:pt x="2101" y="265"/>
                  </a:cubicBezTo>
                  <a:cubicBezTo>
                    <a:pt x="2104" y="265"/>
                    <a:pt x="2109" y="271"/>
                    <a:pt x="2109" y="274"/>
                  </a:cubicBezTo>
                  <a:close/>
                  <a:moveTo>
                    <a:pt x="2098" y="217"/>
                  </a:moveTo>
                  <a:cubicBezTo>
                    <a:pt x="2084" y="209"/>
                    <a:pt x="2112" y="197"/>
                    <a:pt x="2098" y="217"/>
                  </a:cubicBezTo>
                  <a:close/>
                  <a:moveTo>
                    <a:pt x="2104" y="265"/>
                  </a:moveTo>
                  <a:cubicBezTo>
                    <a:pt x="2101" y="265"/>
                    <a:pt x="2092" y="259"/>
                    <a:pt x="2095" y="254"/>
                  </a:cubicBezTo>
                  <a:cubicBezTo>
                    <a:pt x="2098" y="257"/>
                    <a:pt x="2101" y="262"/>
                    <a:pt x="2104" y="265"/>
                  </a:cubicBezTo>
                  <a:close/>
                  <a:moveTo>
                    <a:pt x="2098" y="166"/>
                  </a:moveTo>
                  <a:cubicBezTo>
                    <a:pt x="2084" y="161"/>
                    <a:pt x="2112" y="147"/>
                    <a:pt x="2098" y="166"/>
                  </a:cubicBezTo>
                  <a:close/>
                  <a:moveTo>
                    <a:pt x="2087" y="147"/>
                  </a:moveTo>
                  <a:cubicBezTo>
                    <a:pt x="2090" y="141"/>
                    <a:pt x="2098" y="152"/>
                    <a:pt x="2087" y="147"/>
                  </a:cubicBezTo>
                  <a:close/>
                  <a:moveTo>
                    <a:pt x="2087" y="195"/>
                  </a:moveTo>
                  <a:cubicBezTo>
                    <a:pt x="2101" y="175"/>
                    <a:pt x="2115" y="206"/>
                    <a:pt x="2087" y="195"/>
                  </a:cubicBezTo>
                  <a:close/>
                  <a:moveTo>
                    <a:pt x="2087" y="307"/>
                  </a:moveTo>
                  <a:cubicBezTo>
                    <a:pt x="2092" y="299"/>
                    <a:pt x="2092" y="313"/>
                    <a:pt x="2087" y="307"/>
                  </a:cubicBezTo>
                  <a:close/>
                  <a:moveTo>
                    <a:pt x="2090" y="468"/>
                  </a:moveTo>
                  <a:cubicBezTo>
                    <a:pt x="2090" y="471"/>
                    <a:pt x="2084" y="474"/>
                    <a:pt x="2081" y="474"/>
                  </a:cubicBezTo>
                  <a:cubicBezTo>
                    <a:pt x="2084" y="471"/>
                    <a:pt x="2087" y="468"/>
                    <a:pt x="2090" y="468"/>
                  </a:cubicBezTo>
                  <a:close/>
                  <a:moveTo>
                    <a:pt x="2081" y="265"/>
                  </a:moveTo>
                  <a:cubicBezTo>
                    <a:pt x="2081" y="262"/>
                    <a:pt x="2087" y="259"/>
                    <a:pt x="2090" y="259"/>
                  </a:cubicBezTo>
                  <a:cubicBezTo>
                    <a:pt x="2090" y="265"/>
                    <a:pt x="2084" y="265"/>
                    <a:pt x="2081" y="265"/>
                  </a:cubicBezTo>
                  <a:close/>
                  <a:moveTo>
                    <a:pt x="2087" y="279"/>
                  </a:moveTo>
                  <a:cubicBezTo>
                    <a:pt x="2090" y="271"/>
                    <a:pt x="2092" y="288"/>
                    <a:pt x="2087" y="279"/>
                  </a:cubicBezTo>
                  <a:close/>
                  <a:moveTo>
                    <a:pt x="2078" y="341"/>
                  </a:moveTo>
                  <a:cubicBezTo>
                    <a:pt x="2084" y="341"/>
                    <a:pt x="2087" y="350"/>
                    <a:pt x="2087" y="353"/>
                  </a:cubicBezTo>
                  <a:cubicBezTo>
                    <a:pt x="2084" y="353"/>
                    <a:pt x="2081" y="350"/>
                    <a:pt x="2078" y="353"/>
                  </a:cubicBezTo>
                  <a:cubicBezTo>
                    <a:pt x="2078" y="347"/>
                    <a:pt x="2081" y="347"/>
                    <a:pt x="2078" y="341"/>
                  </a:cubicBezTo>
                  <a:close/>
                  <a:moveTo>
                    <a:pt x="2084" y="1601"/>
                  </a:moveTo>
                  <a:cubicBezTo>
                    <a:pt x="2078" y="1607"/>
                    <a:pt x="2076" y="1593"/>
                    <a:pt x="2084" y="1601"/>
                  </a:cubicBezTo>
                  <a:close/>
                  <a:moveTo>
                    <a:pt x="2067" y="2447"/>
                  </a:moveTo>
                  <a:cubicBezTo>
                    <a:pt x="2061" y="2442"/>
                    <a:pt x="2073" y="2436"/>
                    <a:pt x="2078" y="2439"/>
                  </a:cubicBezTo>
                  <a:cubicBezTo>
                    <a:pt x="2076" y="2442"/>
                    <a:pt x="2067" y="2442"/>
                    <a:pt x="2067" y="2447"/>
                  </a:cubicBezTo>
                  <a:close/>
                  <a:moveTo>
                    <a:pt x="2073" y="2591"/>
                  </a:moveTo>
                  <a:cubicBezTo>
                    <a:pt x="2078" y="2586"/>
                    <a:pt x="2076" y="2600"/>
                    <a:pt x="2073" y="2591"/>
                  </a:cubicBezTo>
                  <a:close/>
                  <a:moveTo>
                    <a:pt x="2070" y="2402"/>
                  </a:moveTo>
                  <a:cubicBezTo>
                    <a:pt x="2070" y="2397"/>
                    <a:pt x="2078" y="2397"/>
                    <a:pt x="2084" y="2397"/>
                  </a:cubicBezTo>
                  <a:cubicBezTo>
                    <a:pt x="2081" y="2399"/>
                    <a:pt x="2073" y="2402"/>
                    <a:pt x="2070" y="2402"/>
                  </a:cubicBezTo>
                  <a:close/>
                  <a:moveTo>
                    <a:pt x="2073" y="344"/>
                  </a:moveTo>
                  <a:cubicBezTo>
                    <a:pt x="2076" y="336"/>
                    <a:pt x="2078" y="350"/>
                    <a:pt x="2073" y="344"/>
                  </a:cubicBezTo>
                  <a:close/>
                  <a:moveTo>
                    <a:pt x="2070" y="251"/>
                  </a:moveTo>
                  <a:cubicBezTo>
                    <a:pt x="2076" y="243"/>
                    <a:pt x="2067" y="257"/>
                    <a:pt x="2070" y="251"/>
                  </a:cubicBezTo>
                  <a:close/>
                  <a:moveTo>
                    <a:pt x="2061" y="296"/>
                  </a:moveTo>
                  <a:cubicBezTo>
                    <a:pt x="2061" y="293"/>
                    <a:pt x="2064" y="288"/>
                    <a:pt x="2070" y="288"/>
                  </a:cubicBezTo>
                  <a:cubicBezTo>
                    <a:pt x="2070" y="290"/>
                    <a:pt x="2070" y="293"/>
                    <a:pt x="2073" y="293"/>
                  </a:cubicBezTo>
                  <a:cubicBezTo>
                    <a:pt x="2067" y="296"/>
                    <a:pt x="2064" y="296"/>
                    <a:pt x="2061" y="296"/>
                  </a:cubicBezTo>
                  <a:close/>
                  <a:moveTo>
                    <a:pt x="2061" y="282"/>
                  </a:moveTo>
                  <a:cubicBezTo>
                    <a:pt x="2061" y="276"/>
                    <a:pt x="2073" y="282"/>
                    <a:pt x="2061" y="282"/>
                  </a:cubicBezTo>
                  <a:close/>
                  <a:moveTo>
                    <a:pt x="2070" y="262"/>
                  </a:moveTo>
                  <a:cubicBezTo>
                    <a:pt x="2070" y="265"/>
                    <a:pt x="2070" y="268"/>
                    <a:pt x="2073" y="271"/>
                  </a:cubicBezTo>
                  <a:cubicBezTo>
                    <a:pt x="2070" y="271"/>
                    <a:pt x="2067" y="271"/>
                    <a:pt x="2067" y="274"/>
                  </a:cubicBezTo>
                  <a:cubicBezTo>
                    <a:pt x="2061" y="271"/>
                    <a:pt x="2067" y="271"/>
                    <a:pt x="2067" y="268"/>
                  </a:cubicBezTo>
                  <a:cubicBezTo>
                    <a:pt x="2062" y="271"/>
                    <a:pt x="2059" y="273"/>
                    <a:pt x="2056" y="266"/>
                  </a:cubicBezTo>
                  <a:cubicBezTo>
                    <a:pt x="2057" y="267"/>
                    <a:pt x="2067" y="260"/>
                    <a:pt x="2070" y="262"/>
                  </a:cubicBezTo>
                  <a:close/>
                  <a:moveTo>
                    <a:pt x="2056" y="209"/>
                  </a:moveTo>
                  <a:cubicBezTo>
                    <a:pt x="2056" y="212"/>
                    <a:pt x="2053" y="217"/>
                    <a:pt x="2050" y="220"/>
                  </a:cubicBezTo>
                  <a:cubicBezTo>
                    <a:pt x="2047" y="217"/>
                    <a:pt x="2044" y="220"/>
                    <a:pt x="2044" y="223"/>
                  </a:cubicBezTo>
                  <a:cubicBezTo>
                    <a:pt x="2033" y="223"/>
                    <a:pt x="2047" y="197"/>
                    <a:pt x="2056" y="209"/>
                  </a:cubicBezTo>
                  <a:close/>
                  <a:moveTo>
                    <a:pt x="2036" y="172"/>
                  </a:moveTo>
                  <a:cubicBezTo>
                    <a:pt x="2036" y="169"/>
                    <a:pt x="2042" y="166"/>
                    <a:pt x="2044" y="166"/>
                  </a:cubicBezTo>
                  <a:cubicBezTo>
                    <a:pt x="2042" y="169"/>
                    <a:pt x="2039" y="172"/>
                    <a:pt x="2036" y="172"/>
                  </a:cubicBezTo>
                  <a:close/>
                  <a:moveTo>
                    <a:pt x="2053" y="265"/>
                  </a:moveTo>
                  <a:cubicBezTo>
                    <a:pt x="2053" y="268"/>
                    <a:pt x="2047" y="271"/>
                    <a:pt x="2044" y="271"/>
                  </a:cubicBezTo>
                  <a:cubicBezTo>
                    <a:pt x="2044" y="268"/>
                    <a:pt x="2050" y="265"/>
                    <a:pt x="2053" y="265"/>
                  </a:cubicBezTo>
                  <a:close/>
                  <a:moveTo>
                    <a:pt x="2044" y="570"/>
                  </a:moveTo>
                  <a:lnTo>
                    <a:pt x="2036" y="570"/>
                  </a:lnTo>
                  <a:lnTo>
                    <a:pt x="2036" y="564"/>
                  </a:lnTo>
                  <a:cubicBezTo>
                    <a:pt x="2042" y="564"/>
                    <a:pt x="2044" y="567"/>
                    <a:pt x="2044" y="570"/>
                  </a:cubicBezTo>
                  <a:close/>
                  <a:moveTo>
                    <a:pt x="2039" y="2273"/>
                  </a:moveTo>
                  <a:cubicBezTo>
                    <a:pt x="2042" y="2275"/>
                    <a:pt x="2047" y="2278"/>
                    <a:pt x="2047" y="2284"/>
                  </a:cubicBezTo>
                  <a:cubicBezTo>
                    <a:pt x="2042" y="2287"/>
                    <a:pt x="2039" y="2278"/>
                    <a:pt x="2039" y="2273"/>
                  </a:cubicBezTo>
                  <a:close/>
                  <a:moveTo>
                    <a:pt x="2044" y="2422"/>
                  </a:moveTo>
                  <a:cubicBezTo>
                    <a:pt x="2044" y="2416"/>
                    <a:pt x="2053" y="2425"/>
                    <a:pt x="2044" y="2422"/>
                  </a:cubicBezTo>
                  <a:close/>
                  <a:moveTo>
                    <a:pt x="2050" y="338"/>
                  </a:moveTo>
                  <a:cubicBezTo>
                    <a:pt x="2047" y="344"/>
                    <a:pt x="2039" y="336"/>
                    <a:pt x="2050" y="338"/>
                  </a:cubicBezTo>
                  <a:close/>
                  <a:moveTo>
                    <a:pt x="2044" y="293"/>
                  </a:moveTo>
                  <a:cubicBezTo>
                    <a:pt x="2047" y="290"/>
                    <a:pt x="2050" y="288"/>
                    <a:pt x="2053" y="288"/>
                  </a:cubicBezTo>
                  <a:cubicBezTo>
                    <a:pt x="2053" y="293"/>
                    <a:pt x="2047" y="296"/>
                    <a:pt x="2044" y="293"/>
                  </a:cubicBezTo>
                  <a:close/>
                  <a:moveTo>
                    <a:pt x="2053" y="457"/>
                  </a:moveTo>
                  <a:cubicBezTo>
                    <a:pt x="2053" y="451"/>
                    <a:pt x="2061" y="460"/>
                    <a:pt x="2053" y="457"/>
                  </a:cubicBezTo>
                  <a:close/>
                  <a:moveTo>
                    <a:pt x="2064" y="426"/>
                  </a:moveTo>
                  <a:lnTo>
                    <a:pt x="2064" y="432"/>
                  </a:lnTo>
                  <a:cubicBezTo>
                    <a:pt x="2053" y="434"/>
                    <a:pt x="2059" y="420"/>
                    <a:pt x="2064" y="426"/>
                  </a:cubicBezTo>
                  <a:close/>
                  <a:moveTo>
                    <a:pt x="2059" y="2275"/>
                  </a:moveTo>
                  <a:cubicBezTo>
                    <a:pt x="2053" y="2284"/>
                    <a:pt x="2044" y="2275"/>
                    <a:pt x="2059" y="2275"/>
                  </a:cubicBezTo>
                  <a:close/>
                  <a:moveTo>
                    <a:pt x="2059" y="2478"/>
                  </a:moveTo>
                  <a:lnTo>
                    <a:pt x="2059" y="2481"/>
                  </a:lnTo>
                  <a:lnTo>
                    <a:pt x="2056" y="2481"/>
                  </a:lnTo>
                  <a:lnTo>
                    <a:pt x="2059" y="2478"/>
                  </a:lnTo>
                  <a:close/>
                  <a:moveTo>
                    <a:pt x="2056" y="2620"/>
                  </a:moveTo>
                  <a:lnTo>
                    <a:pt x="2061" y="2620"/>
                  </a:lnTo>
                  <a:lnTo>
                    <a:pt x="2061" y="2625"/>
                  </a:lnTo>
                  <a:lnTo>
                    <a:pt x="2056" y="2625"/>
                  </a:lnTo>
                  <a:lnTo>
                    <a:pt x="2056" y="2620"/>
                  </a:lnTo>
                  <a:close/>
                  <a:moveTo>
                    <a:pt x="2047" y="169"/>
                  </a:moveTo>
                  <a:cubicBezTo>
                    <a:pt x="2047" y="166"/>
                    <a:pt x="2047" y="164"/>
                    <a:pt x="2050" y="164"/>
                  </a:cubicBezTo>
                  <a:cubicBezTo>
                    <a:pt x="2053" y="164"/>
                    <a:pt x="2059" y="166"/>
                    <a:pt x="2061" y="169"/>
                  </a:cubicBezTo>
                  <a:cubicBezTo>
                    <a:pt x="2061" y="172"/>
                    <a:pt x="2061" y="175"/>
                    <a:pt x="2059" y="178"/>
                  </a:cubicBezTo>
                  <a:cubicBezTo>
                    <a:pt x="2061" y="180"/>
                    <a:pt x="2056" y="189"/>
                    <a:pt x="2050" y="189"/>
                  </a:cubicBezTo>
                  <a:cubicBezTo>
                    <a:pt x="2050" y="183"/>
                    <a:pt x="2053" y="183"/>
                    <a:pt x="2053" y="180"/>
                  </a:cubicBezTo>
                  <a:cubicBezTo>
                    <a:pt x="2050" y="180"/>
                    <a:pt x="2047" y="180"/>
                    <a:pt x="2044" y="178"/>
                  </a:cubicBezTo>
                  <a:lnTo>
                    <a:pt x="2044" y="175"/>
                  </a:lnTo>
                  <a:lnTo>
                    <a:pt x="2044" y="172"/>
                  </a:lnTo>
                  <a:cubicBezTo>
                    <a:pt x="2044" y="166"/>
                    <a:pt x="2044" y="166"/>
                    <a:pt x="2047" y="169"/>
                  </a:cubicBezTo>
                  <a:close/>
                  <a:moveTo>
                    <a:pt x="2042" y="118"/>
                  </a:moveTo>
                  <a:cubicBezTo>
                    <a:pt x="2042" y="121"/>
                    <a:pt x="2042" y="124"/>
                    <a:pt x="2044" y="127"/>
                  </a:cubicBezTo>
                  <a:cubicBezTo>
                    <a:pt x="2039" y="130"/>
                    <a:pt x="2036" y="124"/>
                    <a:pt x="2036" y="121"/>
                  </a:cubicBezTo>
                  <a:lnTo>
                    <a:pt x="2042" y="118"/>
                  </a:lnTo>
                  <a:close/>
                  <a:moveTo>
                    <a:pt x="2033" y="296"/>
                  </a:moveTo>
                  <a:cubicBezTo>
                    <a:pt x="2033" y="290"/>
                    <a:pt x="2044" y="296"/>
                    <a:pt x="2033" y="296"/>
                  </a:cubicBezTo>
                  <a:close/>
                  <a:moveTo>
                    <a:pt x="2042" y="319"/>
                  </a:moveTo>
                  <a:cubicBezTo>
                    <a:pt x="2036" y="319"/>
                    <a:pt x="2022" y="313"/>
                    <a:pt x="2028" y="307"/>
                  </a:cubicBezTo>
                  <a:cubicBezTo>
                    <a:pt x="2033" y="310"/>
                    <a:pt x="2036" y="313"/>
                    <a:pt x="2042" y="319"/>
                  </a:cubicBezTo>
                  <a:close/>
                  <a:moveTo>
                    <a:pt x="2030" y="355"/>
                  </a:moveTo>
                  <a:cubicBezTo>
                    <a:pt x="2030" y="361"/>
                    <a:pt x="2019" y="355"/>
                    <a:pt x="2019" y="355"/>
                  </a:cubicBezTo>
                  <a:cubicBezTo>
                    <a:pt x="2019" y="350"/>
                    <a:pt x="2028" y="350"/>
                    <a:pt x="2030" y="355"/>
                  </a:cubicBezTo>
                  <a:close/>
                  <a:moveTo>
                    <a:pt x="2016" y="212"/>
                  </a:moveTo>
                  <a:cubicBezTo>
                    <a:pt x="2019" y="203"/>
                    <a:pt x="2025" y="217"/>
                    <a:pt x="2016" y="212"/>
                  </a:cubicBezTo>
                  <a:close/>
                  <a:moveTo>
                    <a:pt x="2028" y="195"/>
                  </a:moveTo>
                  <a:lnTo>
                    <a:pt x="2028" y="203"/>
                  </a:lnTo>
                  <a:cubicBezTo>
                    <a:pt x="2022" y="206"/>
                    <a:pt x="2019" y="200"/>
                    <a:pt x="2016" y="200"/>
                  </a:cubicBezTo>
                  <a:cubicBezTo>
                    <a:pt x="2016" y="192"/>
                    <a:pt x="2025" y="195"/>
                    <a:pt x="2028" y="195"/>
                  </a:cubicBezTo>
                  <a:close/>
                  <a:moveTo>
                    <a:pt x="2019" y="2301"/>
                  </a:moveTo>
                  <a:cubicBezTo>
                    <a:pt x="2008" y="2304"/>
                    <a:pt x="2022" y="2287"/>
                    <a:pt x="2019" y="2301"/>
                  </a:cubicBezTo>
                  <a:close/>
                  <a:moveTo>
                    <a:pt x="2022" y="2501"/>
                  </a:moveTo>
                  <a:cubicBezTo>
                    <a:pt x="2030" y="2507"/>
                    <a:pt x="2011" y="2507"/>
                    <a:pt x="2022" y="2501"/>
                  </a:cubicBezTo>
                  <a:close/>
                  <a:moveTo>
                    <a:pt x="2013" y="381"/>
                  </a:moveTo>
                  <a:lnTo>
                    <a:pt x="2008" y="381"/>
                  </a:lnTo>
                  <a:lnTo>
                    <a:pt x="2008" y="375"/>
                  </a:lnTo>
                  <a:cubicBezTo>
                    <a:pt x="2011" y="375"/>
                    <a:pt x="2013" y="378"/>
                    <a:pt x="2016" y="378"/>
                  </a:cubicBezTo>
                  <a:lnTo>
                    <a:pt x="2013" y="381"/>
                  </a:lnTo>
                  <a:close/>
                  <a:moveTo>
                    <a:pt x="2013" y="231"/>
                  </a:moveTo>
                  <a:cubicBezTo>
                    <a:pt x="2008" y="234"/>
                    <a:pt x="2002" y="240"/>
                    <a:pt x="1997" y="240"/>
                  </a:cubicBezTo>
                  <a:cubicBezTo>
                    <a:pt x="1998" y="237"/>
                    <a:pt x="2000" y="234"/>
                    <a:pt x="2003" y="232"/>
                  </a:cubicBezTo>
                  <a:cubicBezTo>
                    <a:pt x="1994" y="235"/>
                    <a:pt x="1994" y="223"/>
                    <a:pt x="2002" y="220"/>
                  </a:cubicBezTo>
                  <a:cubicBezTo>
                    <a:pt x="2002" y="223"/>
                    <a:pt x="2005" y="228"/>
                    <a:pt x="2005" y="231"/>
                  </a:cubicBezTo>
                  <a:cubicBezTo>
                    <a:pt x="2008" y="229"/>
                    <a:pt x="2011" y="229"/>
                    <a:pt x="2013" y="231"/>
                  </a:cubicBezTo>
                  <a:close/>
                  <a:moveTo>
                    <a:pt x="2002" y="550"/>
                  </a:moveTo>
                  <a:cubicBezTo>
                    <a:pt x="2005" y="544"/>
                    <a:pt x="2013" y="553"/>
                    <a:pt x="2002" y="550"/>
                  </a:cubicBezTo>
                  <a:close/>
                  <a:moveTo>
                    <a:pt x="2002" y="206"/>
                  </a:moveTo>
                  <a:lnTo>
                    <a:pt x="2008" y="206"/>
                  </a:lnTo>
                  <a:lnTo>
                    <a:pt x="2008" y="212"/>
                  </a:lnTo>
                  <a:lnTo>
                    <a:pt x="2002" y="212"/>
                  </a:lnTo>
                  <a:lnTo>
                    <a:pt x="2002" y="206"/>
                  </a:lnTo>
                  <a:close/>
                  <a:moveTo>
                    <a:pt x="1994" y="133"/>
                  </a:moveTo>
                  <a:cubicBezTo>
                    <a:pt x="1997" y="127"/>
                    <a:pt x="2008" y="133"/>
                    <a:pt x="1994" y="133"/>
                  </a:cubicBezTo>
                  <a:close/>
                  <a:moveTo>
                    <a:pt x="1999" y="212"/>
                  </a:moveTo>
                  <a:cubicBezTo>
                    <a:pt x="1999" y="214"/>
                    <a:pt x="1994" y="217"/>
                    <a:pt x="1994" y="220"/>
                  </a:cubicBezTo>
                  <a:cubicBezTo>
                    <a:pt x="1988" y="220"/>
                    <a:pt x="1994" y="212"/>
                    <a:pt x="1999" y="212"/>
                  </a:cubicBezTo>
                  <a:close/>
                  <a:moveTo>
                    <a:pt x="1982" y="389"/>
                  </a:moveTo>
                  <a:cubicBezTo>
                    <a:pt x="1985" y="386"/>
                    <a:pt x="1991" y="384"/>
                    <a:pt x="1997" y="384"/>
                  </a:cubicBezTo>
                  <a:cubicBezTo>
                    <a:pt x="1997" y="386"/>
                    <a:pt x="1997" y="389"/>
                    <a:pt x="1999" y="389"/>
                  </a:cubicBezTo>
                  <a:cubicBezTo>
                    <a:pt x="1997" y="395"/>
                    <a:pt x="1985" y="389"/>
                    <a:pt x="1982" y="389"/>
                  </a:cubicBezTo>
                  <a:close/>
                  <a:moveTo>
                    <a:pt x="1997" y="2605"/>
                  </a:moveTo>
                  <a:cubicBezTo>
                    <a:pt x="1994" y="2603"/>
                    <a:pt x="1997" y="2600"/>
                    <a:pt x="1997" y="2597"/>
                  </a:cubicBezTo>
                  <a:cubicBezTo>
                    <a:pt x="1999" y="2600"/>
                    <a:pt x="1997" y="2605"/>
                    <a:pt x="1997" y="2605"/>
                  </a:cubicBezTo>
                  <a:close/>
                  <a:moveTo>
                    <a:pt x="1974" y="276"/>
                  </a:moveTo>
                  <a:cubicBezTo>
                    <a:pt x="1977" y="271"/>
                    <a:pt x="1985" y="279"/>
                    <a:pt x="1974" y="276"/>
                  </a:cubicBezTo>
                  <a:close/>
                  <a:moveTo>
                    <a:pt x="1974" y="226"/>
                  </a:moveTo>
                  <a:cubicBezTo>
                    <a:pt x="1974" y="220"/>
                    <a:pt x="1985" y="226"/>
                    <a:pt x="1974" y="226"/>
                  </a:cubicBezTo>
                  <a:close/>
                  <a:moveTo>
                    <a:pt x="1977" y="330"/>
                  </a:moveTo>
                  <a:cubicBezTo>
                    <a:pt x="1982" y="324"/>
                    <a:pt x="1974" y="338"/>
                    <a:pt x="1977" y="330"/>
                  </a:cubicBezTo>
                  <a:close/>
                  <a:moveTo>
                    <a:pt x="1980" y="392"/>
                  </a:moveTo>
                  <a:cubicBezTo>
                    <a:pt x="1991" y="395"/>
                    <a:pt x="1971" y="403"/>
                    <a:pt x="1980" y="392"/>
                  </a:cubicBezTo>
                  <a:close/>
                  <a:moveTo>
                    <a:pt x="1980" y="570"/>
                  </a:moveTo>
                  <a:cubicBezTo>
                    <a:pt x="1988" y="567"/>
                    <a:pt x="1977" y="578"/>
                    <a:pt x="1980" y="570"/>
                  </a:cubicBezTo>
                  <a:close/>
                  <a:moveTo>
                    <a:pt x="1982" y="1453"/>
                  </a:moveTo>
                  <a:cubicBezTo>
                    <a:pt x="1982" y="1447"/>
                    <a:pt x="1991" y="1455"/>
                    <a:pt x="1982" y="1453"/>
                  </a:cubicBezTo>
                  <a:close/>
                  <a:moveTo>
                    <a:pt x="1994" y="2622"/>
                  </a:moveTo>
                  <a:cubicBezTo>
                    <a:pt x="1994" y="2628"/>
                    <a:pt x="1982" y="2625"/>
                    <a:pt x="1980" y="2625"/>
                  </a:cubicBezTo>
                  <a:cubicBezTo>
                    <a:pt x="1980" y="2622"/>
                    <a:pt x="1991" y="2620"/>
                    <a:pt x="1994" y="2622"/>
                  </a:cubicBezTo>
                  <a:close/>
                  <a:moveTo>
                    <a:pt x="1994" y="2250"/>
                  </a:moveTo>
                  <a:cubicBezTo>
                    <a:pt x="1994" y="2253"/>
                    <a:pt x="1988" y="2256"/>
                    <a:pt x="1988" y="2258"/>
                  </a:cubicBezTo>
                  <a:cubicBezTo>
                    <a:pt x="1982" y="2258"/>
                    <a:pt x="1988" y="2250"/>
                    <a:pt x="1994" y="2250"/>
                  </a:cubicBezTo>
                  <a:close/>
                  <a:moveTo>
                    <a:pt x="1985" y="592"/>
                  </a:moveTo>
                  <a:cubicBezTo>
                    <a:pt x="1985" y="587"/>
                    <a:pt x="1997" y="598"/>
                    <a:pt x="1985" y="592"/>
                  </a:cubicBezTo>
                  <a:close/>
                  <a:moveTo>
                    <a:pt x="1997" y="274"/>
                  </a:moveTo>
                  <a:lnTo>
                    <a:pt x="1991" y="274"/>
                  </a:lnTo>
                  <a:lnTo>
                    <a:pt x="1991" y="268"/>
                  </a:lnTo>
                  <a:lnTo>
                    <a:pt x="1997" y="268"/>
                  </a:lnTo>
                  <a:lnTo>
                    <a:pt x="1997" y="274"/>
                  </a:lnTo>
                  <a:close/>
                  <a:moveTo>
                    <a:pt x="1985" y="251"/>
                  </a:moveTo>
                  <a:cubicBezTo>
                    <a:pt x="1985" y="245"/>
                    <a:pt x="1985" y="240"/>
                    <a:pt x="1988" y="234"/>
                  </a:cubicBezTo>
                  <a:cubicBezTo>
                    <a:pt x="1994" y="231"/>
                    <a:pt x="1994" y="251"/>
                    <a:pt x="1985" y="251"/>
                  </a:cubicBezTo>
                  <a:close/>
                  <a:moveTo>
                    <a:pt x="1985" y="220"/>
                  </a:moveTo>
                  <a:cubicBezTo>
                    <a:pt x="1985" y="214"/>
                    <a:pt x="1994" y="223"/>
                    <a:pt x="1985" y="220"/>
                  </a:cubicBezTo>
                  <a:close/>
                  <a:moveTo>
                    <a:pt x="1991" y="257"/>
                  </a:moveTo>
                  <a:cubicBezTo>
                    <a:pt x="1991" y="265"/>
                    <a:pt x="1982" y="251"/>
                    <a:pt x="1991" y="257"/>
                  </a:cubicBezTo>
                  <a:close/>
                  <a:moveTo>
                    <a:pt x="1982" y="271"/>
                  </a:moveTo>
                  <a:cubicBezTo>
                    <a:pt x="1968" y="265"/>
                    <a:pt x="1997" y="251"/>
                    <a:pt x="1982" y="271"/>
                  </a:cubicBezTo>
                  <a:close/>
                  <a:moveTo>
                    <a:pt x="1971" y="166"/>
                  </a:moveTo>
                  <a:lnTo>
                    <a:pt x="1977" y="166"/>
                  </a:lnTo>
                  <a:lnTo>
                    <a:pt x="1980" y="169"/>
                  </a:lnTo>
                  <a:cubicBezTo>
                    <a:pt x="1980" y="175"/>
                    <a:pt x="1968" y="175"/>
                    <a:pt x="1971" y="166"/>
                  </a:cubicBezTo>
                  <a:close/>
                  <a:moveTo>
                    <a:pt x="1960" y="158"/>
                  </a:moveTo>
                  <a:cubicBezTo>
                    <a:pt x="1963" y="158"/>
                    <a:pt x="1963" y="161"/>
                    <a:pt x="1965" y="161"/>
                  </a:cubicBezTo>
                  <a:lnTo>
                    <a:pt x="1965" y="164"/>
                  </a:lnTo>
                  <a:lnTo>
                    <a:pt x="1957" y="164"/>
                  </a:lnTo>
                  <a:cubicBezTo>
                    <a:pt x="1957" y="164"/>
                    <a:pt x="1957" y="161"/>
                    <a:pt x="1960" y="158"/>
                  </a:cubicBezTo>
                  <a:close/>
                  <a:moveTo>
                    <a:pt x="1957" y="206"/>
                  </a:moveTo>
                  <a:cubicBezTo>
                    <a:pt x="1957" y="200"/>
                    <a:pt x="1965" y="206"/>
                    <a:pt x="1957" y="206"/>
                  </a:cubicBezTo>
                  <a:close/>
                  <a:moveTo>
                    <a:pt x="1965" y="217"/>
                  </a:moveTo>
                  <a:cubicBezTo>
                    <a:pt x="1965" y="220"/>
                    <a:pt x="1963" y="226"/>
                    <a:pt x="1963" y="228"/>
                  </a:cubicBezTo>
                  <a:cubicBezTo>
                    <a:pt x="1962" y="228"/>
                    <a:pt x="1961" y="227"/>
                    <a:pt x="1960" y="226"/>
                  </a:cubicBezTo>
                  <a:cubicBezTo>
                    <a:pt x="1962" y="233"/>
                    <a:pt x="1944" y="226"/>
                    <a:pt x="1959" y="226"/>
                  </a:cubicBezTo>
                  <a:lnTo>
                    <a:pt x="1959" y="226"/>
                  </a:lnTo>
                  <a:lnTo>
                    <a:pt x="1960" y="226"/>
                  </a:lnTo>
                  <a:lnTo>
                    <a:pt x="1959" y="226"/>
                  </a:lnTo>
                  <a:cubicBezTo>
                    <a:pt x="1958" y="225"/>
                    <a:pt x="1957" y="223"/>
                    <a:pt x="1957" y="220"/>
                  </a:cubicBezTo>
                  <a:cubicBezTo>
                    <a:pt x="1960" y="220"/>
                    <a:pt x="1963" y="217"/>
                    <a:pt x="1965" y="217"/>
                  </a:cubicBezTo>
                  <a:close/>
                  <a:moveTo>
                    <a:pt x="1949" y="110"/>
                  </a:moveTo>
                  <a:cubicBezTo>
                    <a:pt x="1946" y="104"/>
                    <a:pt x="1957" y="110"/>
                    <a:pt x="1949" y="110"/>
                  </a:cubicBezTo>
                  <a:close/>
                  <a:moveTo>
                    <a:pt x="1929" y="2360"/>
                  </a:moveTo>
                  <a:cubicBezTo>
                    <a:pt x="1932" y="2357"/>
                    <a:pt x="1934" y="2352"/>
                    <a:pt x="1937" y="2352"/>
                  </a:cubicBezTo>
                  <a:cubicBezTo>
                    <a:pt x="1940" y="2357"/>
                    <a:pt x="1934" y="2363"/>
                    <a:pt x="1929" y="2360"/>
                  </a:cubicBezTo>
                  <a:close/>
                  <a:moveTo>
                    <a:pt x="1934" y="2806"/>
                  </a:moveTo>
                  <a:lnTo>
                    <a:pt x="1934" y="2811"/>
                  </a:lnTo>
                  <a:lnTo>
                    <a:pt x="1929" y="2811"/>
                  </a:lnTo>
                  <a:lnTo>
                    <a:pt x="1929" y="2806"/>
                  </a:lnTo>
                  <a:lnTo>
                    <a:pt x="1934" y="2806"/>
                  </a:lnTo>
                  <a:close/>
                  <a:moveTo>
                    <a:pt x="1923" y="2174"/>
                  </a:moveTo>
                  <a:cubicBezTo>
                    <a:pt x="1926" y="2174"/>
                    <a:pt x="1926" y="2185"/>
                    <a:pt x="1920" y="2182"/>
                  </a:cubicBezTo>
                  <a:cubicBezTo>
                    <a:pt x="1920" y="2179"/>
                    <a:pt x="1923" y="2177"/>
                    <a:pt x="1923" y="2174"/>
                  </a:cubicBezTo>
                  <a:close/>
                  <a:moveTo>
                    <a:pt x="1906" y="536"/>
                  </a:moveTo>
                  <a:cubicBezTo>
                    <a:pt x="1909" y="530"/>
                    <a:pt x="1918" y="542"/>
                    <a:pt x="1906" y="536"/>
                  </a:cubicBezTo>
                  <a:close/>
                  <a:moveTo>
                    <a:pt x="1903" y="178"/>
                  </a:moveTo>
                  <a:lnTo>
                    <a:pt x="1909" y="178"/>
                  </a:lnTo>
                  <a:lnTo>
                    <a:pt x="1909" y="183"/>
                  </a:lnTo>
                  <a:lnTo>
                    <a:pt x="1903" y="183"/>
                  </a:lnTo>
                  <a:lnTo>
                    <a:pt x="1903" y="178"/>
                  </a:lnTo>
                  <a:close/>
                  <a:moveTo>
                    <a:pt x="1898" y="2267"/>
                  </a:moveTo>
                  <a:cubicBezTo>
                    <a:pt x="1901" y="2261"/>
                    <a:pt x="1901" y="2275"/>
                    <a:pt x="1898" y="2267"/>
                  </a:cubicBezTo>
                  <a:close/>
                  <a:moveTo>
                    <a:pt x="1903" y="2490"/>
                  </a:moveTo>
                  <a:cubicBezTo>
                    <a:pt x="1906" y="2498"/>
                    <a:pt x="1889" y="2498"/>
                    <a:pt x="1903" y="2490"/>
                  </a:cubicBezTo>
                  <a:close/>
                  <a:moveTo>
                    <a:pt x="1881" y="141"/>
                  </a:moveTo>
                  <a:cubicBezTo>
                    <a:pt x="1886" y="139"/>
                    <a:pt x="1888" y="140"/>
                    <a:pt x="1891" y="141"/>
                  </a:cubicBezTo>
                  <a:cubicBezTo>
                    <a:pt x="1890" y="139"/>
                    <a:pt x="1889" y="138"/>
                    <a:pt x="1889" y="138"/>
                  </a:cubicBezTo>
                  <a:cubicBezTo>
                    <a:pt x="1895" y="133"/>
                    <a:pt x="1898" y="141"/>
                    <a:pt x="1895" y="144"/>
                  </a:cubicBezTo>
                  <a:cubicBezTo>
                    <a:pt x="1894" y="144"/>
                    <a:pt x="1893" y="143"/>
                    <a:pt x="1892" y="142"/>
                  </a:cubicBezTo>
                  <a:cubicBezTo>
                    <a:pt x="1891" y="147"/>
                    <a:pt x="1881" y="146"/>
                    <a:pt x="1881" y="141"/>
                  </a:cubicBezTo>
                  <a:close/>
                  <a:moveTo>
                    <a:pt x="1889" y="2687"/>
                  </a:moveTo>
                  <a:cubicBezTo>
                    <a:pt x="1889" y="2693"/>
                    <a:pt x="1886" y="2696"/>
                    <a:pt x="1884" y="2698"/>
                  </a:cubicBezTo>
                  <a:cubicBezTo>
                    <a:pt x="1884" y="2698"/>
                    <a:pt x="1881" y="2687"/>
                    <a:pt x="1889" y="2687"/>
                  </a:cubicBezTo>
                  <a:close/>
                  <a:moveTo>
                    <a:pt x="1870" y="2478"/>
                  </a:moveTo>
                  <a:cubicBezTo>
                    <a:pt x="1867" y="2476"/>
                    <a:pt x="1867" y="2473"/>
                    <a:pt x="1867" y="2470"/>
                  </a:cubicBezTo>
                  <a:cubicBezTo>
                    <a:pt x="1870" y="2467"/>
                    <a:pt x="1878" y="2470"/>
                    <a:pt x="1881" y="2473"/>
                  </a:cubicBezTo>
                  <a:cubicBezTo>
                    <a:pt x="1881" y="2476"/>
                    <a:pt x="1875" y="2478"/>
                    <a:pt x="1870" y="2478"/>
                  </a:cubicBezTo>
                  <a:close/>
                  <a:moveTo>
                    <a:pt x="1884" y="2679"/>
                  </a:moveTo>
                  <a:cubicBezTo>
                    <a:pt x="1886" y="2676"/>
                    <a:pt x="1889" y="2679"/>
                    <a:pt x="1895" y="2679"/>
                  </a:cubicBezTo>
                  <a:cubicBezTo>
                    <a:pt x="1895" y="2687"/>
                    <a:pt x="1884" y="2687"/>
                    <a:pt x="1884" y="2679"/>
                  </a:cubicBezTo>
                  <a:close/>
                  <a:moveTo>
                    <a:pt x="1889" y="2645"/>
                  </a:moveTo>
                  <a:cubicBezTo>
                    <a:pt x="1889" y="2639"/>
                    <a:pt x="1898" y="2648"/>
                    <a:pt x="1889" y="2645"/>
                  </a:cubicBezTo>
                  <a:close/>
                  <a:moveTo>
                    <a:pt x="1884" y="2543"/>
                  </a:moveTo>
                  <a:cubicBezTo>
                    <a:pt x="1886" y="2541"/>
                    <a:pt x="1892" y="2538"/>
                    <a:pt x="1895" y="2538"/>
                  </a:cubicBezTo>
                  <a:cubicBezTo>
                    <a:pt x="1895" y="2541"/>
                    <a:pt x="1889" y="2543"/>
                    <a:pt x="1884" y="2543"/>
                  </a:cubicBezTo>
                  <a:close/>
                  <a:moveTo>
                    <a:pt x="1886" y="2306"/>
                  </a:moveTo>
                  <a:cubicBezTo>
                    <a:pt x="1886" y="2301"/>
                    <a:pt x="1898" y="2309"/>
                    <a:pt x="1886" y="2306"/>
                  </a:cubicBezTo>
                  <a:close/>
                  <a:moveTo>
                    <a:pt x="1872" y="155"/>
                  </a:moveTo>
                  <a:cubicBezTo>
                    <a:pt x="1872" y="149"/>
                    <a:pt x="1881" y="152"/>
                    <a:pt x="1881" y="147"/>
                  </a:cubicBezTo>
                  <a:cubicBezTo>
                    <a:pt x="1889" y="149"/>
                    <a:pt x="1881" y="158"/>
                    <a:pt x="1872" y="155"/>
                  </a:cubicBezTo>
                  <a:close/>
                  <a:moveTo>
                    <a:pt x="1881" y="124"/>
                  </a:moveTo>
                  <a:cubicBezTo>
                    <a:pt x="1881" y="124"/>
                    <a:pt x="1884" y="127"/>
                    <a:pt x="1886" y="127"/>
                  </a:cubicBezTo>
                  <a:cubicBezTo>
                    <a:pt x="1884" y="130"/>
                    <a:pt x="1878" y="133"/>
                    <a:pt x="1878" y="135"/>
                  </a:cubicBezTo>
                  <a:cubicBezTo>
                    <a:pt x="1875" y="133"/>
                    <a:pt x="1878" y="127"/>
                    <a:pt x="1881" y="124"/>
                  </a:cubicBezTo>
                  <a:close/>
                  <a:moveTo>
                    <a:pt x="1872" y="96"/>
                  </a:moveTo>
                  <a:cubicBezTo>
                    <a:pt x="1875" y="90"/>
                    <a:pt x="1881" y="102"/>
                    <a:pt x="1872" y="96"/>
                  </a:cubicBezTo>
                  <a:close/>
                  <a:moveTo>
                    <a:pt x="1878" y="147"/>
                  </a:moveTo>
                  <a:cubicBezTo>
                    <a:pt x="1881" y="149"/>
                    <a:pt x="1867" y="152"/>
                    <a:pt x="1870" y="147"/>
                  </a:cubicBezTo>
                  <a:cubicBezTo>
                    <a:pt x="1872" y="147"/>
                    <a:pt x="1875" y="144"/>
                    <a:pt x="1878" y="147"/>
                  </a:cubicBezTo>
                  <a:close/>
                  <a:moveTo>
                    <a:pt x="1875" y="178"/>
                  </a:moveTo>
                  <a:cubicBezTo>
                    <a:pt x="1881" y="180"/>
                    <a:pt x="1886" y="183"/>
                    <a:pt x="1892" y="183"/>
                  </a:cubicBezTo>
                  <a:cubicBezTo>
                    <a:pt x="1892" y="192"/>
                    <a:pt x="1884" y="197"/>
                    <a:pt x="1875" y="195"/>
                  </a:cubicBezTo>
                  <a:cubicBezTo>
                    <a:pt x="1872" y="195"/>
                    <a:pt x="1872" y="195"/>
                    <a:pt x="1870" y="192"/>
                  </a:cubicBezTo>
                  <a:cubicBezTo>
                    <a:pt x="1872" y="192"/>
                    <a:pt x="1872" y="183"/>
                    <a:pt x="1875" y="178"/>
                  </a:cubicBezTo>
                  <a:close/>
                  <a:moveTo>
                    <a:pt x="1870" y="2411"/>
                  </a:moveTo>
                  <a:cubicBezTo>
                    <a:pt x="1875" y="2411"/>
                    <a:pt x="1870" y="2419"/>
                    <a:pt x="1867" y="2419"/>
                  </a:cubicBezTo>
                  <a:cubicBezTo>
                    <a:pt x="1867" y="2416"/>
                    <a:pt x="1870" y="2414"/>
                    <a:pt x="1870" y="2411"/>
                  </a:cubicBezTo>
                  <a:close/>
                  <a:moveTo>
                    <a:pt x="1861" y="116"/>
                  </a:moveTo>
                  <a:cubicBezTo>
                    <a:pt x="1864" y="116"/>
                    <a:pt x="1864" y="121"/>
                    <a:pt x="1864" y="121"/>
                  </a:cubicBezTo>
                  <a:cubicBezTo>
                    <a:pt x="1861" y="121"/>
                    <a:pt x="1858" y="118"/>
                    <a:pt x="1858" y="118"/>
                  </a:cubicBezTo>
                  <a:lnTo>
                    <a:pt x="1853" y="118"/>
                  </a:lnTo>
                  <a:cubicBezTo>
                    <a:pt x="1855" y="113"/>
                    <a:pt x="1861" y="113"/>
                    <a:pt x="1861" y="116"/>
                  </a:cubicBezTo>
                  <a:close/>
                  <a:moveTo>
                    <a:pt x="1864" y="2521"/>
                  </a:moveTo>
                  <a:cubicBezTo>
                    <a:pt x="1870" y="2526"/>
                    <a:pt x="1850" y="2526"/>
                    <a:pt x="1864" y="2521"/>
                  </a:cubicBezTo>
                  <a:close/>
                  <a:moveTo>
                    <a:pt x="1858" y="2825"/>
                  </a:moveTo>
                  <a:cubicBezTo>
                    <a:pt x="1853" y="2825"/>
                    <a:pt x="1858" y="2817"/>
                    <a:pt x="1861" y="2817"/>
                  </a:cubicBezTo>
                  <a:cubicBezTo>
                    <a:pt x="1864" y="2820"/>
                    <a:pt x="1858" y="2823"/>
                    <a:pt x="1858" y="2825"/>
                  </a:cubicBezTo>
                  <a:close/>
                  <a:moveTo>
                    <a:pt x="1867" y="2721"/>
                  </a:moveTo>
                  <a:lnTo>
                    <a:pt x="1861" y="2721"/>
                  </a:lnTo>
                  <a:lnTo>
                    <a:pt x="1861" y="2715"/>
                  </a:lnTo>
                  <a:lnTo>
                    <a:pt x="1867" y="2715"/>
                  </a:lnTo>
                  <a:cubicBezTo>
                    <a:pt x="1870" y="2715"/>
                    <a:pt x="1867" y="2718"/>
                    <a:pt x="1867" y="2721"/>
                  </a:cubicBezTo>
                  <a:close/>
                  <a:moveTo>
                    <a:pt x="1864" y="2631"/>
                  </a:moveTo>
                  <a:lnTo>
                    <a:pt x="1864" y="2622"/>
                  </a:lnTo>
                  <a:lnTo>
                    <a:pt x="1870" y="2622"/>
                  </a:lnTo>
                  <a:cubicBezTo>
                    <a:pt x="1872" y="2625"/>
                    <a:pt x="1870" y="2628"/>
                    <a:pt x="1864" y="2631"/>
                  </a:cubicBezTo>
                  <a:close/>
                  <a:moveTo>
                    <a:pt x="1872" y="2521"/>
                  </a:moveTo>
                  <a:cubicBezTo>
                    <a:pt x="1870" y="2518"/>
                    <a:pt x="1867" y="2515"/>
                    <a:pt x="1867" y="2509"/>
                  </a:cubicBezTo>
                  <a:cubicBezTo>
                    <a:pt x="1872" y="2509"/>
                    <a:pt x="1875" y="2512"/>
                    <a:pt x="1878" y="2515"/>
                  </a:cubicBezTo>
                  <a:cubicBezTo>
                    <a:pt x="1878" y="2518"/>
                    <a:pt x="1872" y="2518"/>
                    <a:pt x="1872" y="2521"/>
                  </a:cubicBezTo>
                  <a:close/>
                  <a:moveTo>
                    <a:pt x="1872" y="2715"/>
                  </a:moveTo>
                  <a:cubicBezTo>
                    <a:pt x="1875" y="2710"/>
                    <a:pt x="1881" y="2704"/>
                    <a:pt x="1886" y="2704"/>
                  </a:cubicBezTo>
                  <a:cubicBezTo>
                    <a:pt x="1895" y="2713"/>
                    <a:pt x="1889" y="2718"/>
                    <a:pt x="1872" y="2715"/>
                  </a:cubicBezTo>
                  <a:close/>
                  <a:moveTo>
                    <a:pt x="1886" y="2825"/>
                  </a:moveTo>
                  <a:cubicBezTo>
                    <a:pt x="1886" y="2823"/>
                    <a:pt x="1892" y="2820"/>
                    <a:pt x="1895" y="2820"/>
                  </a:cubicBezTo>
                  <a:cubicBezTo>
                    <a:pt x="1892" y="2823"/>
                    <a:pt x="1889" y="2823"/>
                    <a:pt x="1886" y="2825"/>
                  </a:cubicBezTo>
                  <a:close/>
                  <a:moveTo>
                    <a:pt x="1889" y="2811"/>
                  </a:moveTo>
                  <a:cubicBezTo>
                    <a:pt x="1889" y="2806"/>
                    <a:pt x="1901" y="2814"/>
                    <a:pt x="1889" y="2811"/>
                  </a:cubicBezTo>
                  <a:close/>
                  <a:moveTo>
                    <a:pt x="1895" y="2541"/>
                  </a:moveTo>
                  <a:cubicBezTo>
                    <a:pt x="1903" y="2541"/>
                    <a:pt x="1915" y="2532"/>
                    <a:pt x="1918" y="2543"/>
                  </a:cubicBezTo>
                  <a:cubicBezTo>
                    <a:pt x="1903" y="2541"/>
                    <a:pt x="1903" y="2552"/>
                    <a:pt x="1895" y="2552"/>
                  </a:cubicBezTo>
                  <a:lnTo>
                    <a:pt x="1895" y="2541"/>
                  </a:lnTo>
                  <a:close/>
                  <a:moveTo>
                    <a:pt x="1898" y="2628"/>
                  </a:moveTo>
                  <a:cubicBezTo>
                    <a:pt x="1895" y="2620"/>
                    <a:pt x="1903" y="2620"/>
                    <a:pt x="1906" y="2617"/>
                  </a:cubicBezTo>
                  <a:cubicBezTo>
                    <a:pt x="1909" y="2617"/>
                    <a:pt x="1903" y="2631"/>
                    <a:pt x="1898" y="2628"/>
                  </a:cubicBezTo>
                  <a:close/>
                  <a:moveTo>
                    <a:pt x="1906" y="2636"/>
                  </a:moveTo>
                  <a:cubicBezTo>
                    <a:pt x="1903" y="2636"/>
                    <a:pt x="1903" y="2631"/>
                    <a:pt x="1903" y="2628"/>
                  </a:cubicBezTo>
                  <a:cubicBezTo>
                    <a:pt x="1906" y="2628"/>
                    <a:pt x="1909" y="2631"/>
                    <a:pt x="1909" y="2631"/>
                  </a:cubicBezTo>
                  <a:cubicBezTo>
                    <a:pt x="1912" y="2634"/>
                    <a:pt x="1906" y="2634"/>
                    <a:pt x="1906" y="2636"/>
                  </a:cubicBezTo>
                  <a:close/>
                  <a:moveTo>
                    <a:pt x="1909" y="2825"/>
                  </a:moveTo>
                  <a:cubicBezTo>
                    <a:pt x="1909" y="2820"/>
                    <a:pt x="1918" y="2828"/>
                    <a:pt x="1909" y="2825"/>
                  </a:cubicBezTo>
                  <a:close/>
                  <a:moveTo>
                    <a:pt x="1912" y="2701"/>
                  </a:moveTo>
                  <a:cubicBezTo>
                    <a:pt x="1915" y="2698"/>
                    <a:pt x="1923" y="2693"/>
                    <a:pt x="1926" y="2696"/>
                  </a:cubicBezTo>
                  <a:cubicBezTo>
                    <a:pt x="1920" y="2698"/>
                    <a:pt x="1918" y="2701"/>
                    <a:pt x="1912" y="2701"/>
                  </a:cubicBezTo>
                  <a:close/>
                  <a:moveTo>
                    <a:pt x="1920" y="2684"/>
                  </a:moveTo>
                  <a:cubicBezTo>
                    <a:pt x="1920" y="2679"/>
                    <a:pt x="1932" y="2690"/>
                    <a:pt x="1920" y="2684"/>
                  </a:cubicBezTo>
                  <a:close/>
                  <a:moveTo>
                    <a:pt x="1918" y="2586"/>
                  </a:moveTo>
                  <a:cubicBezTo>
                    <a:pt x="1915" y="2580"/>
                    <a:pt x="1923" y="2580"/>
                    <a:pt x="1926" y="2580"/>
                  </a:cubicBezTo>
                  <a:cubicBezTo>
                    <a:pt x="1926" y="2583"/>
                    <a:pt x="1923" y="2586"/>
                    <a:pt x="1918" y="2586"/>
                  </a:cubicBezTo>
                  <a:close/>
                  <a:moveTo>
                    <a:pt x="1901" y="2470"/>
                  </a:moveTo>
                  <a:cubicBezTo>
                    <a:pt x="1909" y="2467"/>
                    <a:pt x="1923" y="2445"/>
                    <a:pt x="1929" y="2456"/>
                  </a:cubicBezTo>
                  <a:cubicBezTo>
                    <a:pt x="1918" y="2459"/>
                    <a:pt x="1915" y="2470"/>
                    <a:pt x="1901" y="2470"/>
                  </a:cubicBezTo>
                  <a:close/>
                  <a:moveTo>
                    <a:pt x="1929" y="82"/>
                  </a:moveTo>
                  <a:cubicBezTo>
                    <a:pt x="1929" y="73"/>
                    <a:pt x="1937" y="85"/>
                    <a:pt x="1929" y="82"/>
                  </a:cubicBezTo>
                  <a:close/>
                  <a:moveTo>
                    <a:pt x="1940" y="2851"/>
                  </a:moveTo>
                  <a:cubicBezTo>
                    <a:pt x="1934" y="2854"/>
                    <a:pt x="1934" y="2845"/>
                    <a:pt x="1932" y="2845"/>
                  </a:cubicBezTo>
                  <a:cubicBezTo>
                    <a:pt x="1932" y="2842"/>
                    <a:pt x="1937" y="2842"/>
                    <a:pt x="1940" y="2842"/>
                  </a:cubicBezTo>
                  <a:cubicBezTo>
                    <a:pt x="1937" y="2842"/>
                    <a:pt x="1940" y="2848"/>
                    <a:pt x="1940" y="2851"/>
                  </a:cubicBezTo>
                  <a:close/>
                  <a:moveTo>
                    <a:pt x="1937" y="2631"/>
                  </a:moveTo>
                  <a:cubicBezTo>
                    <a:pt x="1932" y="2628"/>
                    <a:pt x="1940" y="2620"/>
                    <a:pt x="1946" y="2620"/>
                  </a:cubicBezTo>
                  <a:cubicBezTo>
                    <a:pt x="1946" y="2625"/>
                    <a:pt x="1940" y="2625"/>
                    <a:pt x="1937" y="2631"/>
                  </a:cubicBezTo>
                  <a:close/>
                  <a:moveTo>
                    <a:pt x="1937" y="212"/>
                  </a:moveTo>
                  <a:lnTo>
                    <a:pt x="1937" y="206"/>
                  </a:lnTo>
                  <a:cubicBezTo>
                    <a:pt x="1940" y="206"/>
                    <a:pt x="1943" y="209"/>
                    <a:pt x="1943" y="212"/>
                  </a:cubicBezTo>
                  <a:cubicBezTo>
                    <a:pt x="1943" y="209"/>
                    <a:pt x="1940" y="212"/>
                    <a:pt x="1937" y="212"/>
                  </a:cubicBezTo>
                  <a:close/>
                  <a:moveTo>
                    <a:pt x="1946" y="2524"/>
                  </a:moveTo>
                  <a:cubicBezTo>
                    <a:pt x="1949" y="2518"/>
                    <a:pt x="1954" y="2512"/>
                    <a:pt x="1963" y="2512"/>
                  </a:cubicBezTo>
                  <a:cubicBezTo>
                    <a:pt x="1960" y="2521"/>
                    <a:pt x="1965" y="2526"/>
                    <a:pt x="1963" y="2532"/>
                  </a:cubicBezTo>
                  <a:cubicBezTo>
                    <a:pt x="1954" y="2529"/>
                    <a:pt x="1951" y="2524"/>
                    <a:pt x="1946" y="2524"/>
                  </a:cubicBezTo>
                  <a:close/>
                  <a:moveTo>
                    <a:pt x="1963" y="2789"/>
                  </a:moveTo>
                  <a:lnTo>
                    <a:pt x="1963" y="2786"/>
                  </a:lnTo>
                  <a:cubicBezTo>
                    <a:pt x="1965" y="2780"/>
                    <a:pt x="1963" y="2786"/>
                    <a:pt x="1963" y="2789"/>
                  </a:cubicBezTo>
                  <a:close/>
                  <a:moveTo>
                    <a:pt x="1963" y="556"/>
                  </a:moveTo>
                  <a:cubicBezTo>
                    <a:pt x="1963" y="553"/>
                    <a:pt x="1971" y="553"/>
                    <a:pt x="1974" y="553"/>
                  </a:cubicBezTo>
                  <a:cubicBezTo>
                    <a:pt x="1974" y="556"/>
                    <a:pt x="1965" y="556"/>
                    <a:pt x="1963" y="556"/>
                  </a:cubicBezTo>
                  <a:close/>
                  <a:moveTo>
                    <a:pt x="1971" y="598"/>
                  </a:moveTo>
                  <a:cubicBezTo>
                    <a:pt x="1977" y="592"/>
                    <a:pt x="1965" y="606"/>
                    <a:pt x="1971" y="598"/>
                  </a:cubicBezTo>
                  <a:close/>
                  <a:moveTo>
                    <a:pt x="1974" y="2772"/>
                  </a:moveTo>
                  <a:cubicBezTo>
                    <a:pt x="1974" y="2766"/>
                    <a:pt x="1982" y="2775"/>
                    <a:pt x="1974" y="2772"/>
                  </a:cubicBezTo>
                  <a:close/>
                  <a:moveTo>
                    <a:pt x="1974" y="578"/>
                  </a:moveTo>
                  <a:cubicBezTo>
                    <a:pt x="1974" y="573"/>
                    <a:pt x="1985" y="584"/>
                    <a:pt x="1974" y="578"/>
                  </a:cubicBezTo>
                  <a:close/>
                  <a:moveTo>
                    <a:pt x="1977" y="2642"/>
                  </a:moveTo>
                  <a:cubicBezTo>
                    <a:pt x="1980" y="2639"/>
                    <a:pt x="1988" y="2639"/>
                    <a:pt x="1994" y="2636"/>
                  </a:cubicBezTo>
                  <a:cubicBezTo>
                    <a:pt x="1991" y="2639"/>
                    <a:pt x="1985" y="2642"/>
                    <a:pt x="1977" y="2642"/>
                  </a:cubicBezTo>
                  <a:close/>
                  <a:moveTo>
                    <a:pt x="1988" y="2617"/>
                  </a:moveTo>
                  <a:cubicBezTo>
                    <a:pt x="1991" y="2611"/>
                    <a:pt x="1994" y="2608"/>
                    <a:pt x="1999" y="2611"/>
                  </a:cubicBezTo>
                  <a:cubicBezTo>
                    <a:pt x="1999" y="2617"/>
                    <a:pt x="1991" y="2622"/>
                    <a:pt x="1988" y="2617"/>
                  </a:cubicBezTo>
                  <a:close/>
                  <a:moveTo>
                    <a:pt x="1994" y="262"/>
                  </a:moveTo>
                  <a:cubicBezTo>
                    <a:pt x="1994" y="257"/>
                    <a:pt x="1997" y="257"/>
                    <a:pt x="1997" y="251"/>
                  </a:cubicBezTo>
                  <a:cubicBezTo>
                    <a:pt x="1999" y="251"/>
                    <a:pt x="1999" y="265"/>
                    <a:pt x="1994" y="262"/>
                  </a:cubicBezTo>
                  <a:close/>
                  <a:moveTo>
                    <a:pt x="2013" y="2667"/>
                  </a:moveTo>
                  <a:cubicBezTo>
                    <a:pt x="2011" y="2673"/>
                    <a:pt x="2008" y="2676"/>
                    <a:pt x="2002" y="2676"/>
                  </a:cubicBezTo>
                  <a:cubicBezTo>
                    <a:pt x="2002" y="2673"/>
                    <a:pt x="2008" y="2667"/>
                    <a:pt x="2013" y="2667"/>
                  </a:cubicBezTo>
                  <a:close/>
                  <a:moveTo>
                    <a:pt x="2011" y="2645"/>
                  </a:moveTo>
                  <a:cubicBezTo>
                    <a:pt x="2016" y="2639"/>
                    <a:pt x="2008" y="2651"/>
                    <a:pt x="2011" y="2645"/>
                  </a:cubicBezTo>
                  <a:close/>
                  <a:moveTo>
                    <a:pt x="2005" y="2820"/>
                  </a:moveTo>
                  <a:cubicBezTo>
                    <a:pt x="2008" y="2814"/>
                    <a:pt x="2011" y="2828"/>
                    <a:pt x="2005" y="2820"/>
                  </a:cubicBezTo>
                  <a:close/>
                  <a:moveTo>
                    <a:pt x="2011" y="2808"/>
                  </a:moveTo>
                  <a:cubicBezTo>
                    <a:pt x="2019" y="2808"/>
                    <a:pt x="2011" y="2820"/>
                    <a:pt x="2011" y="2808"/>
                  </a:cubicBezTo>
                  <a:close/>
                  <a:moveTo>
                    <a:pt x="2019" y="2659"/>
                  </a:moveTo>
                  <a:lnTo>
                    <a:pt x="2013" y="2659"/>
                  </a:lnTo>
                  <a:lnTo>
                    <a:pt x="2013" y="2653"/>
                  </a:lnTo>
                  <a:lnTo>
                    <a:pt x="2019" y="2653"/>
                  </a:lnTo>
                  <a:lnTo>
                    <a:pt x="2019" y="2659"/>
                  </a:lnTo>
                  <a:close/>
                  <a:moveTo>
                    <a:pt x="2016" y="2605"/>
                  </a:moveTo>
                  <a:cubicBezTo>
                    <a:pt x="2011" y="2605"/>
                    <a:pt x="2016" y="2597"/>
                    <a:pt x="2019" y="2597"/>
                  </a:cubicBezTo>
                  <a:cubicBezTo>
                    <a:pt x="2019" y="2600"/>
                    <a:pt x="2016" y="2603"/>
                    <a:pt x="2016" y="2605"/>
                  </a:cubicBezTo>
                  <a:close/>
                  <a:moveTo>
                    <a:pt x="2022" y="2642"/>
                  </a:moveTo>
                  <a:cubicBezTo>
                    <a:pt x="2016" y="2642"/>
                    <a:pt x="2016" y="2631"/>
                    <a:pt x="2025" y="2631"/>
                  </a:cubicBezTo>
                  <a:cubicBezTo>
                    <a:pt x="2025" y="2634"/>
                    <a:pt x="2025" y="2639"/>
                    <a:pt x="2022" y="2642"/>
                  </a:cubicBezTo>
                  <a:close/>
                  <a:moveTo>
                    <a:pt x="2016" y="2549"/>
                  </a:moveTo>
                  <a:cubicBezTo>
                    <a:pt x="2019" y="2546"/>
                    <a:pt x="2022" y="2543"/>
                    <a:pt x="2025" y="2543"/>
                  </a:cubicBezTo>
                  <a:cubicBezTo>
                    <a:pt x="2028" y="2549"/>
                    <a:pt x="2019" y="2549"/>
                    <a:pt x="2016" y="2549"/>
                  </a:cubicBezTo>
                  <a:close/>
                  <a:moveTo>
                    <a:pt x="2028" y="2261"/>
                  </a:moveTo>
                  <a:cubicBezTo>
                    <a:pt x="2025" y="2261"/>
                    <a:pt x="2019" y="2258"/>
                    <a:pt x="2019" y="2253"/>
                  </a:cubicBezTo>
                  <a:lnTo>
                    <a:pt x="2025" y="2253"/>
                  </a:lnTo>
                  <a:cubicBezTo>
                    <a:pt x="2028" y="2256"/>
                    <a:pt x="2028" y="2258"/>
                    <a:pt x="2028" y="2261"/>
                  </a:cubicBezTo>
                  <a:close/>
                  <a:moveTo>
                    <a:pt x="2016" y="381"/>
                  </a:moveTo>
                  <a:cubicBezTo>
                    <a:pt x="2019" y="378"/>
                    <a:pt x="2025" y="375"/>
                    <a:pt x="2033" y="375"/>
                  </a:cubicBezTo>
                  <a:cubicBezTo>
                    <a:pt x="2030" y="378"/>
                    <a:pt x="2022" y="381"/>
                    <a:pt x="2016" y="381"/>
                  </a:cubicBezTo>
                  <a:close/>
                  <a:moveTo>
                    <a:pt x="2044" y="2298"/>
                  </a:moveTo>
                  <a:cubicBezTo>
                    <a:pt x="2042" y="2304"/>
                    <a:pt x="2039" y="2301"/>
                    <a:pt x="2030" y="2304"/>
                  </a:cubicBezTo>
                  <a:cubicBezTo>
                    <a:pt x="2033" y="2298"/>
                    <a:pt x="2042" y="2295"/>
                    <a:pt x="2044" y="2298"/>
                  </a:cubicBezTo>
                  <a:close/>
                  <a:moveTo>
                    <a:pt x="2044" y="2577"/>
                  </a:moveTo>
                  <a:cubicBezTo>
                    <a:pt x="2044" y="2580"/>
                    <a:pt x="2039" y="2583"/>
                    <a:pt x="2039" y="2586"/>
                  </a:cubicBezTo>
                  <a:cubicBezTo>
                    <a:pt x="2036" y="2586"/>
                    <a:pt x="2036" y="2580"/>
                    <a:pt x="2036" y="2580"/>
                  </a:cubicBezTo>
                  <a:cubicBezTo>
                    <a:pt x="2039" y="2577"/>
                    <a:pt x="2042" y="2577"/>
                    <a:pt x="2044" y="2577"/>
                  </a:cubicBezTo>
                  <a:close/>
                  <a:moveTo>
                    <a:pt x="2030" y="2600"/>
                  </a:moveTo>
                  <a:cubicBezTo>
                    <a:pt x="2033" y="2594"/>
                    <a:pt x="2042" y="2603"/>
                    <a:pt x="2030" y="2600"/>
                  </a:cubicBezTo>
                  <a:close/>
                  <a:moveTo>
                    <a:pt x="2033" y="2634"/>
                  </a:moveTo>
                  <a:cubicBezTo>
                    <a:pt x="2033" y="2622"/>
                    <a:pt x="2047" y="2625"/>
                    <a:pt x="2056" y="2625"/>
                  </a:cubicBezTo>
                  <a:cubicBezTo>
                    <a:pt x="2050" y="2628"/>
                    <a:pt x="2042" y="2631"/>
                    <a:pt x="2033" y="2634"/>
                  </a:cubicBezTo>
                  <a:close/>
                  <a:moveTo>
                    <a:pt x="2056" y="2758"/>
                  </a:moveTo>
                  <a:cubicBezTo>
                    <a:pt x="2061" y="2755"/>
                    <a:pt x="2067" y="2755"/>
                    <a:pt x="2073" y="2755"/>
                  </a:cubicBezTo>
                  <a:cubicBezTo>
                    <a:pt x="2073" y="2758"/>
                    <a:pt x="2056" y="2766"/>
                    <a:pt x="2056" y="2758"/>
                  </a:cubicBezTo>
                  <a:close/>
                  <a:moveTo>
                    <a:pt x="2073" y="2648"/>
                  </a:moveTo>
                  <a:cubicBezTo>
                    <a:pt x="2070" y="2645"/>
                    <a:pt x="2067" y="2639"/>
                    <a:pt x="2067" y="2634"/>
                  </a:cubicBezTo>
                  <a:lnTo>
                    <a:pt x="2081" y="2634"/>
                  </a:lnTo>
                  <a:cubicBezTo>
                    <a:pt x="2081" y="2639"/>
                    <a:pt x="2076" y="2642"/>
                    <a:pt x="2073" y="2648"/>
                  </a:cubicBezTo>
                  <a:close/>
                  <a:moveTo>
                    <a:pt x="2084" y="2546"/>
                  </a:moveTo>
                  <a:lnTo>
                    <a:pt x="2083" y="2546"/>
                  </a:lnTo>
                  <a:cubicBezTo>
                    <a:pt x="2084" y="2545"/>
                    <a:pt x="2085" y="2544"/>
                    <a:pt x="2084" y="2546"/>
                  </a:cubicBezTo>
                  <a:cubicBezTo>
                    <a:pt x="2079" y="2551"/>
                    <a:pt x="2081" y="2548"/>
                    <a:pt x="2083" y="2546"/>
                  </a:cubicBezTo>
                  <a:lnTo>
                    <a:pt x="2084" y="2546"/>
                  </a:lnTo>
                  <a:close/>
                  <a:moveTo>
                    <a:pt x="2081" y="2543"/>
                  </a:moveTo>
                  <a:lnTo>
                    <a:pt x="2081" y="2535"/>
                  </a:lnTo>
                  <a:cubicBezTo>
                    <a:pt x="2087" y="2532"/>
                    <a:pt x="2087" y="2546"/>
                    <a:pt x="2081" y="2543"/>
                  </a:cubicBezTo>
                  <a:close/>
                  <a:moveTo>
                    <a:pt x="2081" y="2462"/>
                  </a:moveTo>
                  <a:cubicBezTo>
                    <a:pt x="2084" y="2453"/>
                    <a:pt x="2090" y="2447"/>
                    <a:pt x="2098" y="2445"/>
                  </a:cubicBezTo>
                  <a:cubicBezTo>
                    <a:pt x="2101" y="2456"/>
                    <a:pt x="2092" y="2462"/>
                    <a:pt x="2081" y="2462"/>
                  </a:cubicBezTo>
                  <a:close/>
                  <a:moveTo>
                    <a:pt x="2087" y="2591"/>
                  </a:moveTo>
                  <a:cubicBezTo>
                    <a:pt x="2090" y="2591"/>
                    <a:pt x="2092" y="2588"/>
                    <a:pt x="2095" y="2588"/>
                  </a:cubicBezTo>
                  <a:lnTo>
                    <a:pt x="2095" y="2594"/>
                  </a:lnTo>
                  <a:cubicBezTo>
                    <a:pt x="2092" y="2597"/>
                    <a:pt x="2084" y="2597"/>
                    <a:pt x="2087" y="2591"/>
                  </a:cubicBezTo>
                  <a:close/>
                  <a:moveTo>
                    <a:pt x="2092" y="2769"/>
                  </a:moveTo>
                  <a:lnTo>
                    <a:pt x="2087" y="2769"/>
                  </a:lnTo>
                  <a:lnTo>
                    <a:pt x="2087" y="2763"/>
                  </a:lnTo>
                  <a:lnTo>
                    <a:pt x="2092" y="2763"/>
                  </a:lnTo>
                  <a:cubicBezTo>
                    <a:pt x="2095" y="2763"/>
                    <a:pt x="2092" y="2766"/>
                    <a:pt x="2092" y="2769"/>
                  </a:cubicBezTo>
                  <a:close/>
                  <a:moveTo>
                    <a:pt x="2087" y="2696"/>
                  </a:moveTo>
                  <a:cubicBezTo>
                    <a:pt x="2090" y="2693"/>
                    <a:pt x="2092" y="2690"/>
                    <a:pt x="2095" y="2690"/>
                  </a:cubicBezTo>
                  <a:cubicBezTo>
                    <a:pt x="2095" y="2696"/>
                    <a:pt x="2092" y="2698"/>
                    <a:pt x="2087" y="2696"/>
                  </a:cubicBezTo>
                  <a:close/>
                  <a:moveTo>
                    <a:pt x="2092" y="2586"/>
                  </a:moveTo>
                  <a:cubicBezTo>
                    <a:pt x="2092" y="2580"/>
                    <a:pt x="2098" y="2580"/>
                    <a:pt x="2103" y="2577"/>
                  </a:cubicBezTo>
                  <a:lnTo>
                    <a:pt x="2104" y="2577"/>
                  </a:lnTo>
                  <a:cubicBezTo>
                    <a:pt x="2104" y="2578"/>
                    <a:pt x="2104" y="2578"/>
                    <a:pt x="2103" y="2579"/>
                  </a:cubicBezTo>
                  <a:cubicBezTo>
                    <a:pt x="2103" y="2578"/>
                    <a:pt x="2103" y="2578"/>
                    <a:pt x="2103" y="2577"/>
                  </a:cubicBezTo>
                  <a:cubicBezTo>
                    <a:pt x="2104" y="2574"/>
                    <a:pt x="2112" y="2579"/>
                    <a:pt x="2109" y="2572"/>
                  </a:cubicBezTo>
                  <a:cubicBezTo>
                    <a:pt x="2115" y="2569"/>
                    <a:pt x="2112" y="2574"/>
                    <a:pt x="2115" y="2580"/>
                  </a:cubicBezTo>
                  <a:lnTo>
                    <a:pt x="2104" y="2580"/>
                  </a:lnTo>
                  <a:cubicBezTo>
                    <a:pt x="2104" y="2580"/>
                    <a:pt x="2104" y="2579"/>
                    <a:pt x="2103" y="2579"/>
                  </a:cubicBezTo>
                  <a:cubicBezTo>
                    <a:pt x="2102" y="2584"/>
                    <a:pt x="2095" y="2591"/>
                    <a:pt x="2092" y="2586"/>
                  </a:cubicBezTo>
                  <a:close/>
                  <a:moveTo>
                    <a:pt x="2098" y="2631"/>
                  </a:moveTo>
                  <a:cubicBezTo>
                    <a:pt x="2098" y="2625"/>
                    <a:pt x="2104" y="2625"/>
                    <a:pt x="2104" y="2622"/>
                  </a:cubicBezTo>
                  <a:cubicBezTo>
                    <a:pt x="2109" y="2625"/>
                    <a:pt x="2104" y="2634"/>
                    <a:pt x="2098" y="2631"/>
                  </a:cubicBezTo>
                  <a:close/>
                  <a:moveTo>
                    <a:pt x="2109" y="2617"/>
                  </a:moveTo>
                  <a:cubicBezTo>
                    <a:pt x="2104" y="2625"/>
                    <a:pt x="2104" y="2611"/>
                    <a:pt x="2109" y="2617"/>
                  </a:cubicBezTo>
                  <a:close/>
                  <a:moveTo>
                    <a:pt x="2109" y="217"/>
                  </a:moveTo>
                  <a:cubicBezTo>
                    <a:pt x="2112" y="212"/>
                    <a:pt x="2115" y="209"/>
                    <a:pt x="2118" y="203"/>
                  </a:cubicBezTo>
                  <a:cubicBezTo>
                    <a:pt x="2121" y="209"/>
                    <a:pt x="2126" y="212"/>
                    <a:pt x="2129" y="217"/>
                  </a:cubicBezTo>
                  <a:cubicBezTo>
                    <a:pt x="2132" y="212"/>
                    <a:pt x="2135" y="206"/>
                    <a:pt x="2138" y="203"/>
                  </a:cubicBezTo>
                  <a:cubicBezTo>
                    <a:pt x="2140" y="217"/>
                    <a:pt x="2155" y="243"/>
                    <a:pt x="2140" y="251"/>
                  </a:cubicBezTo>
                  <a:cubicBezTo>
                    <a:pt x="2132" y="245"/>
                    <a:pt x="2126" y="237"/>
                    <a:pt x="2126" y="226"/>
                  </a:cubicBezTo>
                  <a:lnTo>
                    <a:pt x="2124" y="226"/>
                  </a:lnTo>
                  <a:cubicBezTo>
                    <a:pt x="2126" y="212"/>
                    <a:pt x="2115" y="228"/>
                    <a:pt x="2109" y="217"/>
                  </a:cubicBezTo>
                  <a:close/>
                  <a:moveTo>
                    <a:pt x="2115" y="429"/>
                  </a:moveTo>
                  <a:cubicBezTo>
                    <a:pt x="2115" y="423"/>
                    <a:pt x="2126" y="432"/>
                    <a:pt x="2115" y="429"/>
                  </a:cubicBezTo>
                  <a:close/>
                  <a:moveTo>
                    <a:pt x="2124" y="1483"/>
                  </a:moveTo>
                  <a:cubicBezTo>
                    <a:pt x="2132" y="1486"/>
                    <a:pt x="2118" y="1488"/>
                    <a:pt x="2121" y="1491"/>
                  </a:cubicBezTo>
                  <a:cubicBezTo>
                    <a:pt x="2115" y="1488"/>
                    <a:pt x="2124" y="1486"/>
                    <a:pt x="2124" y="1483"/>
                  </a:cubicBezTo>
                  <a:close/>
                  <a:moveTo>
                    <a:pt x="2118" y="2758"/>
                  </a:moveTo>
                  <a:cubicBezTo>
                    <a:pt x="2118" y="2752"/>
                    <a:pt x="2126" y="2761"/>
                    <a:pt x="2118" y="2758"/>
                  </a:cubicBezTo>
                  <a:close/>
                  <a:moveTo>
                    <a:pt x="2126" y="2541"/>
                  </a:moveTo>
                  <a:lnTo>
                    <a:pt x="2124" y="2543"/>
                  </a:lnTo>
                  <a:cubicBezTo>
                    <a:pt x="2124" y="2541"/>
                    <a:pt x="2126" y="2538"/>
                    <a:pt x="2126" y="2541"/>
                  </a:cubicBezTo>
                  <a:close/>
                  <a:moveTo>
                    <a:pt x="2132" y="2670"/>
                  </a:moveTo>
                  <a:lnTo>
                    <a:pt x="2126" y="2670"/>
                  </a:lnTo>
                  <a:lnTo>
                    <a:pt x="2126" y="2665"/>
                  </a:lnTo>
                  <a:lnTo>
                    <a:pt x="2132" y="2665"/>
                  </a:lnTo>
                  <a:cubicBezTo>
                    <a:pt x="2135" y="2665"/>
                    <a:pt x="2132" y="2667"/>
                    <a:pt x="2132" y="2670"/>
                  </a:cubicBezTo>
                  <a:close/>
                  <a:moveTo>
                    <a:pt x="2124" y="2600"/>
                  </a:moveTo>
                  <a:cubicBezTo>
                    <a:pt x="2124" y="2597"/>
                    <a:pt x="2129" y="2594"/>
                    <a:pt x="2132" y="2594"/>
                  </a:cubicBezTo>
                  <a:cubicBezTo>
                    <a:pt x="2132" y="2600"/>
                    <a:pt x="2129" y="2600"/>
                    <a:pt x="2124" y="2600"/>
                  </a:cubicBezTo>
                  <a:close/>
                  <a:moveTo>
                    <a:pt x="2121" y="2464"/>
                  </a:moveTo>
                  <a:cubicBezTo>
                    <a:pt x="2121" y="2459"/>
                    <a:pt x="2132" y="2459"/>
                    <a:pt x="2138" y="2456"/>
                  </a:cubicBezTo>
                  <a:cubicBezTo>
                    <a:pt x="2138" y="2462"/>
                    <a:pt x="2126" y="2462"/>
                    <a:pt x="2121" y="2464"/>
                  </a:cubicBezTo>
                  <a:close/>
                  <a:moveTo>
                    <a:pt x="2129" y="2433"/>
                  </a:moveTo>
                  <a:lnTo>
                    <a:pt x="2140" y="2433"/>
                  </a:lnTo>
                  <a:cubicBezTo>
                    <a:pt x="2140" y="2439"/>
                    <a:pt x="2126" y="2442"/>
                    <a:pt x="2129" y="2433"/>
                  </a:cubicBezTo>
                  <a:close/>
                  <a:moveTo>
                    <a:pt x="2143" y="2696"/>
                  </a:moveTo>
                  <a:lnTo>
                    <a:pt x="2138" y="2696"/>
                  </a:lnTo>
                  <a:cubicBezTo>
                    <a:pt x="2138" y="2693"/>
                    <a:pt x="2138" y="2693"/>
                    <a:pt x="2135" y="2693"/>
                  </a:cubicBezTo>
                  <a:cubicBezTo>
                    <a:pt x="2135" y="2687"/>
                    <a:pt x="2146" y="2690"/>
                    <a:pt x="2143" y="2696"/>
                  </a:cubicBezTo>
                  <a:close/>
                  <a:moveTo>
                    <a:pt x="2140" y="2684"/>
                  </a:moveTo>
                  <a:cubicBezTo>
                    <a:pt x="2140" y="2682"/>
                    <a:pt x="2143" y="2676"/>
                    <a:pt x="2149" y="2676"/>
                  </a:cubicBezTo>
                  <a:cubicBezTo>
                    <a:pt x="2146" y="2679"/>
                    <a:pt x="2146" y="2687"/>
                    <a:pt x="2140" y="2684"/>
                  </a:cubicBezTo>
                  <a:close/>
                  <a:moveTo>
                    <a:pt x="2149" y="2445"/>
                  </a:moveTo>
                  <a:cubicBezTo>
                    <a:pt x="2152" y="2442"/>
                    <a:pt x="2152" y="2436"/>
                    <a:pt x="2157" y="2436"/>
                  </a:cubicBezTo>
                  <a:cubicBezTo>
                    <a:pt x="2157" y="2445"/>
                    <a:pt x="2152" y="2447"/>
                    <a:pt x="2149" y="2445"/>
                  </a:cubicBezTo>
                  <a:close/>
                  <a:moveTo>
                    <a:pt x="2169" y="2433"/>
                  </a:moveTo>
                  <a:cubicBezTo>
                    <a:pt x="2166" y="2431"/>
                    <a:pt x="2163" y="2428"/>
                    <a:pt x="2163" y="2425"/>
                  </a:cubicBezTo>
                  <a:cubicBezTo>
                    <a:pt x="2169" y="2422"/>
                    <a:pt x="2169" y="2431"/>
                    <a:pt x="2169" y="2433"/>
                  </a:cubicBezTo>
                  <a:close/>
                  <a:moveTo>
                    <a:pt x="2169" y="409"/>
                  </a:moveTo>
                  <a:cubicBezTo>
                    <a:pt x="2183" y="415"/>
                    <a:pt x="2157" y="429"/>
                    <a:pt x="2169" y="409"/>
                  </a:cubicBezTo>
                  <a:close/>
                  <a:moveTo>
                    <a:pt x="2183" y="336"/>
                  </a:moveTo>
                  <a:cubicBezTo>
                    <a:pt x="2180" y="336"/>
                    <a:pt x="2174" y="333"/>
                    <a:pt x="2174" y="327"/>
                  </a:cubicBezTo>
                  <a:cubicBezTo>
                    <a:pt x="2180" y="324"/>
                    <a:pt x="2180" y="333"/>
                    <a:pt x="2183" y="336"/>
                  </a:cubicBezTo>
                  <a:close/>
                  <a:moveTo>
                    <a:pt x="2186" y="544"/>
                  </a:moveTo>
                  <a:lnTo>
                    <a:pt x="2180" y="544"/>
                  </a:lnTo>
                  <a:cubicBezTo>
                    <a:pt x="2166" y="527"/>
                    <a:pt x="2186" y="542"/>
                    <a:pt x="2186" y="544"/>
                  </a:cubicBezTo>
                  <a:close/>
                  <a:moveTo>
                    <a:pt x="2183" y="2546"/>
                  </a:moveTo>
                  <a:cubicBezTo>
                    <a:pt x="2183" y="2543"/>
                    <a:pt x="2191" y="2543"/>
                    <a:pt x="2191" y="2546"/>
                  </a:cubicBezTo>
                  <a:cubicBezTo>
                    <a:pt x="2191" y="2552"/>
                    <a:pt x="2180" y="2552"/>
                    <a:pt x="2183" y="2546"/>
                  </a:cubicBezTo>
                  <a:close/>
                  <a:moveTo>
                    <a:pt x="2183" y="1391"/>
                  </a:moveTo>
                  <a:cubicBezTo>
                    <a:pt x="2186" y="1385"/>
                    <a:pt x="2197" y="1393"/>
                    <a:pt x="2183" y="1391"/>
                  </a:cubicBezTo>
                  <a:close/>
                  <a:moveTo>
                    <a:pt x="2188" y="324"/>
                  </a:moveTo>
                  <a:cubicBezTo>
                    <a:pt x="2191" y="316"/>
                    <a:pt x="2194" y="333"/>
                    <a:pt x="2188" y="324"/>
                  </a:cubicBezTo>
                  <a:close/>
                  <a:moveTo>
                    <a:pt x="2203" y="341"/>
                  </a:moveTo>
                  <a:cubicBezTo>
                    <a:pt x="2203" y="344"/>
                    <a:pt x="2197" y="347"/>
                    <a:pt x="2191" y="347"/>
                  </a:cubicBezTo>
                  <a:cubicBezTo>
                    <a:pt x="2194" y="344"/>
                    <a:pt x="2200" y="341"/>
                    <a:pt x="2203" y="341"/>
                  </a:cubicBezTo>
                  <a:close/>
                  <a:moveTo>
                    <a:pt x="2194" y="2690"/>
                  </a:moveTo>
                  <a:cubicBezTo>
                    <a:pt x="2194" y="2684"/>
                    <a:pt x="2203" y="2693"/>
                    <a:pt x="2194" y="2690"/>
                  </a:cubicBezTo>
                  <a:close/>
                  <a:moveTo>
                    <a:pt x="2191" y="536"/>
                  </a:moveTo>
                  <a:cubicBezTo>
                    <a:pt x="2197" y="519"/>
                    <a:pt x="2205" y="553"/>
                    <a:pt x="2214" y="536"/>
                  </a:cubicBezTo>
                  <a:cubicBezTo>
                    <a:pt x="2225" y="527"/>
                    <a:pt x="2214" y="544"/>
                    <a:pt x="2211" y="550"/>
                  </a:cubicBezTo>
                  <a:cubicBezTo>
                    <a:pt x="2197" y="550"/>
                    <a:pt x="2200" y="539"/>
                    <a:pt x="2191" y="536"/>
                  </a:cubicBezTo>
                  <a:close/>
                  <a:moveTo>
                    <a:pt x="2205" y="2368"/>
                  </a:moveTo>
                  <a:cubicBezTo>
                    <a:pt x="2208" y="2363"/>
                    <a:pt x="2217" y="2371"/>
                    <a:pt x="2205" y="2368"/>
                  </a:cubicBezTo>
                  <a:close/>
                  <a:moveTo>
                    <a:pt x="2208" y="2636"/>
                  </a:moveTo>
                  <a:cubicBezTo>
                    <a:pt x="2208" y="2631"/>
                    <a:pt x="2211" y="2622"/>
                    <a:pt x="2217" y="2622"/>
                  </a:cubicBezTo>
                  <a:cubicBezTo>
                    <a:pt x="2214" y="2625"/>
                    <a:pt x="2214" y="2636"/>
                    <a:pt x="2208" y="2636"/>
                  </a:cubicBezTo>
                  <a:close/>
                  <a:moveTo>
                    <a:pt x="2222" y="2701"/>
                  </a:moveTo>
                  <a:cubicBezTo>
                    <a:pt x="2222" y="2718"/>
                    <a:pt x="2203" y="2701"/>
                    <a:pt x="2222" y="2701"/>
                  </a:cubicBezTo>
                  <a:close/>
                  <a:moveTo>
                    <a:pt x="2222" y="2710"/>
                  </a:moveTo>
                  <a:cubicBezTo>
                    <a:pt x="2222" y="2704"/>
                    <a:pt x="2228" y="2704"/>
                    <a:pt x="2231" y="2701"/>
                  </a:cubicBezTo>
                  <a:cubicBezTo>
                    <a:pt x="2234" y="2704"/>
                    <a:pt x="2236" y="2707"/>
                    <a:pt x="2236" y="2713"/>
                  </a:cubicBezTo>
                  <a:cubicBezTo>
                    <a:pt x="2228" y="2713"/>
                    <a:pt x="2225" y="2713"/>
                    <a:pt x="2222" y="2710"/>
                  </a:cubicBezTo>
                  <a:close/>
                  <a:moveTo>
                    <a:pt x="2222" y="2617"/>
                  </a:moveTo>
                  <a:cubicBezTo>
                    <a:pt x="2234" y="2617"/>
                    <a:pt x="2239" y="2597"/>
                    <a:pt x="2253" y="2600"/>
                  </a:cubicBezTo>
                  <a:cubicBezTo>
                    <a:pt x="2248" y="2611"/>
                    <a:pt x="2228" y="2634"/>
                    <a:pt x="2222" y="2617"/>
                  </a:cubicBezTo>
                  <a:close/>
                  <a:moveTo>
                    <a:pt x="2262" y="2645"/>
                  </a:moveTo>
                  <a:lnTo>
                    <a:pt x="2256" y="2645"/>
                  </a:lnTo>
                  <a:cubicBezTo>
                    <a:pt x="2253" y="2648"/>
                    <a:pt x="2242" y="2642"/>
                    <a:pt x="2242" y="2620"/>
                  </a:cubicBezTo>
                  <a:cubicBezTo>
                    <a:pt x="2256" y="2625"/>
                    <a:pt x="2259" y="2636"/>
                    <a:pt x="2259" y="2639"/>
                  </a:cubicBezTo>
                  <a:lnTo>
                    <a:pt x="2262" y="2639"/>
                  </a:lnTo>
                  <a:cubicBezTo>
                    <a:pt x="2265" y="2639"/>
                    <a:pt x="2262" y="2642"/>
                    <a:pt x="2262" y="2645"/>
                  </a:cubicBezTo>
                  <a:close/>
                  <a:moveTo>
                    <a:pt x="2265" y="2383"/>
                  </a:moveTo>
                  <a:cubicBezTo>
                    <a:pt x="2259" y="2383"/>
                    <a:pt x="2265" y="2374"/>
                    <a:pt x="2267" y="2374"/>
                  </a:cubicBezTo>
                  <a:cubicBezTo>
                    <a:pt x="2270" y="2380"/>
                    <a:pt x="2265" y="2380"/>
                    <a:pt x="2265" y="2383"/>
                  </a:cubicBezTo>
                  <a:close/>
                  <a:moveTo>
                    <a:pt x="2279" y="2597"/>
                  </a:moveTo>
                  <a:cubicBezTo>
                    <a:pt x="2279" y="2600"/>
                    <a:pt x="2276" y="2605"/>
                    <a:pt x="2279" y="2608"/>
                  </a:cubicBezTo>
                  <a:cubicBezTo>
                    <a:pt x="2253" y="2594"/>
                    <a:pt x="2273" y="2572"/>
                    <a:pt x="2279" y="2597"/>
                  </a:cubicBezTo>
                  <a:close/>
                  <a:moveTo>
                    <a:pt x="2270" y="2543"/>
                  </a:moveTo>
                  <a:cubicBezTo>
                    <a:pt x="2270" y="2541"/>
                    <a:pt x="2270" y="2541"/>
                    <a:pt x="2273" y="2538"/>
                  </a:cubicBezTo>
                  <a:cubicBezTo>
                    <a:pt x="2273" y="2538"/>
                    <a:pt x="2270" y="2535"/>
                    <a:pt x="2273" y="2529"/>
                  </a:cubicBezTo>
                  <a:cubicBezTo>
                    <a:pt x="2279" y="2529"/>
                    <a:pt x="2282" y="2529"/>
                    <a:pt x="2279" y="2532"/>
                  </a:cubicBezTo>
                  <a:cubicBezTo>
                    <a:pt x="2287" y="2529"/>
                    <a:pt x="2296" y="2555"/>
                    <a:pt x="2304" y="2555"/>
                  </a:cubicBezTo>
                  <a:cubicBezTo>
                    <a:pt x="2301" y="2563"/>
                    <a:pt x="2293" y="2572"/>
                    <a:pt x="2284" y="2569"/>
                  </a:cubicBezTo>
                  <a:cubicBezTo>
                    <a:pt x="2273" y="2566"/>
                    <a:pt x="2282" y="2543"/>
                    <a:pt x="2270" y="2543"/>
                  </a:cubicBezTo>
                  <a:close/>
                  <a:moveTo>
                    <a:pt x="2298" y="2572"/>
                  </a:moveTo>
                  <a:cubicBezTo>
                    <a:pt x="2298" y="2574"/>
                    <a:pt x="2293" y="2577"/>
                    <a:pt x="2290" y="2577"/>
                  </a:cubicBezTo>
                  <a:cubicBezTo>
                    <a:pt x="2290" y="2572"/>
                    <a:pt x="2296" y="2572"/>
                    <a:pt x="2298" y="2572"/>
                  </a:cubicBezTo>
                  <a:close/>
                  <a:moveTo>
                    <a:pt x="2298" y="2574"/>
                  </a:moveTo>
                  <a:cubicBezTo>
                    <a:pt x="2296" y="2580"/>
                    <a:pt x="2301" y="2572"/>
                    <a:pt x="2298" y="2574"/>
                  </a:cubicBezTo>
                  <a:close/>
                  <a:moveTo>
                    <a:pt x="2296" y="2634"/>
                  </a:moveTo>
                  <a:cubicBezTo>
                    <a:pt x="2296" y="2631"/>
                    <a:pt x="2298" y="2631"/>
                    <a:pt x="2298" y="2628"/>
                  </a:cubicBezTo>
                  <a:lnTo>
                    <a:pt x="2298" y="2631"/>
                  </a:lnTo>
                  <a:lnTo>
                    <a:pt x="2298" y="2634"/>
                  </a:lnTo>
                  <a:cubicBezTo>
                    <a:pt x="2298" y="2636"/>
                    <a:pt x="2296" y="2636"/>
                    <a:pt x="2293" y="2636"/>
                  </a:cubicBezTo>
                  <a:lnTo>
                    <a:pt x="2293" y="2642"/>
                  </a:lnTo>
                  <a:lnTo>
                    <a:pt x="2290" y="2636"/>
                  </a:lnTo>
                  <a:cubicBezTo>
                    <a:pt x="2293" y="2636"/>
                    <a:pt x="2293" y="2636"/>
                    <a:pt x="2296" y="2634"/>
                  </a:cubicBezTo>
                  <a:close/>
                  <a:moveTo>
                    <a:pt x="2296" y="2665"/>
                  </a:moveTo>
                  <a:cubicBezTo>
                    <a:pt x="2290" y="2665"/>
                    <a:pt x="2296" y="2656"/>
                    <a:pt x="2298" y="2656"/>
                  </a:cubicBezTo>
                  <a:cubicBezTo>
                    <a:pt x="2301" y="2662"/>
                    <a:pt x="2298" y="2662"/>
                    <a:pt x="2296" y="2665"/>
                  </a:cubicBezTo>
                  <a:close/>
                  <a:moveTo>
                    <a:pt x="2296" y="2608"/>
                  </a:moveTo>
                  <a:cubicBezTo>
                    <a:pt x="2287" y="2586"/>
                    <a:pt x="2318" y="2603"/>
                    <a:pt x="2310" y="2580"/>
                  </a:cubicBezTo>
                  <a:cubicBezTo>
                    <a:pt x="2335" y="2574"/>
                    <a:pt x="2310" y="2611"/>
                    <a:pt x="2296" y="2608"/>
                  </a:cubicBezTo>
                  <a:close/>
                  <a:moveTo>
                    <a:pt x="2324" y="2634"/>
                  </a:moveTo>
                  <a:cubicBezTo>
                    <a:pt x="2338" y="2653"/>
                    <a:pt x="2296" y="2659"/>
                    <a:pt x="2324" y="2634"/>
                  </a:cubicBezTo>
                  <a:close/>
                  <a:moveTo>
                    <a:pt x="2327" y="2588"/>
                  </a:moveTo>
                  <a:cubicBezTo>
                    <a:pt x="2335" y="2591"/>
                    <a:pt x="2324" y="2603"/>
                    <a:pt x="2327" y="2588"/>
                  </a:cubicBezTo>
                  <a:close/>
                  <a:moveTo>
                    <a:pt x="2335" y="2569"/>
                  </a:moveTo>
                  <a:cubicBezTo>
                    <a:pt x="2318" y="2572"/>
                    <a:pt x="2315" y="2549"/>
                    <a:pt x="2324" y="2541"/>
                  </a:cubicBezTo>
                  <a:cubicBezTo>
                    <a:pt x="2332" y="2549"/>
                    <a:pt x="2341" y="2557"/>
                    <a:pt x="2335" y="2569"/>
                  </a:cubicBezTo>
                  <a:close/>
                  <a:moveTo>
                    <a:pt x="2346" y="2563"/>
                  </a:moveTo>
                  <a:cubicBezTo>
                    <a:pt x="2341" y="2566"/>
                    <a:pt x="2346" y="2557"/>
                    <a:pt x="2346" y="2563"/>
                  </a:cubicBezTo>
                  <a:close/>
                  <a:moveTo>
                    <a:pt x="2344" y="2140"/>
                  </a:moveTo>
                  <a:cubicBezTo>
                    <a:pt x="2346" y="2134"/>
                    <a:pt x="2355" y="2146"/>
                    <a:pt x="2344" y="2140"/>
                  </a:cubicBezTo>
                  <a:close/>
                  <a:moveTo>
                    <a:pt x="2349" y="2622"/>
                  </a:moveTo>
                  <a:cubicBezTo>
                    <a:pt x="2346" y="2617"/>
                    <a:pt x="2346" y="2608"/>
                    <a:pt x="2346" y="2603"/>
                  </a:cubicBezTo>
                  <a:cubicBezTo>
                    <a:pt x="2352" y="2603"/>
                    <a:pt x="2358" y="2611"/>
                    <a:pt x="2363" y="2611"/>
                  </a:cubicBezTo>
                  <a:cubicBezTo>
                    <a:pt x="2363" y="2622"/>
                    <a:pt x="2355" y="2622"/>
                    <a:pt x="2349" y="2622"/>
                  </a:cubicBezTo>
                  <a:close/>
                  <a:moveTo>
                    <a:pt x="2369" y="2574"/>
                  </a:moveTo>
                  <a:cubicBezTo>
                    <a:pt x="2363" y="2574"/>
                    <a:pt x="2366" y="2566"/>
                    <a:pt x="2366" y="2563"/>
                  </a:cubicBezTo>
                  <a:cubicBezTo>
                    <a:pt x="2372" y="2563"/>
                    <a:pt x="2369" y="2572"/>
                    <a:pt x="2369" y="2574"/>
                  </a:cubicBezTo>
                  <a:close/>
                  <a:moveTo>
                    <a:pt x="2377" y="2603"/>
                  </a:moveTo>
                  <a:cubicBezTo>
                    <a:pt x="2375" y="2605"/>
                    <a:pt x="2380" y="2597"/>
                    <a:pt x="2377" y="2603"/>
                  </a:cubicBezTo>
                  <a:close/>
                  <a:moveTo>
                    <a:pt x="2380" y="2543"/>
                  </a:moveTo>
                  <a:lnTo>
                    <a:pt x="2383" y="2543"/>
                  </a:lnTo>
                  <a:cubicBezTo>
                    <a:pt x="2386" y="2548"/>
                    <a:pt x="2373" y="2551"/>
                    <a:pt x="2372" y="2546"/>
                  </a:cubicBezTo>
                  <a:cubicBezTo>
                    <a:pt x="2366" y="2546"/>
                    <a:pt x="2363" y="2540"/>
                    <a:pt x="2363" y="2535"/>
                  </a:cubicBezTo>
                  <a:cubicBezTo>
                    <a:pt x="2363" y="2532"/>
                    <a:pt x="2363" y="2532"/>
                    <a:pt x="2366" y="2529"/>
                  </a:cubicBezTo>
                  <a:cubicBezTo>
                    <a:pt x="2372" y="2529"/>
                    <a:pt x="2380" y="2526"/>
                    <a:pt x="2389" y="2526"/>
                  </a:cubicBezTo>
                  <a:cubicBezTo>
                    <a:pt x="2389" y="2532"/>
                    <a:pt x="2386" y="2538"/>
                    <a:pt x="2380" y="2543"/>
                  </a:cubicBezTo>
                  <a:close/>
                  <a:moveTo>
                    <a:pt x="2389" y="2504"/>
                  </a:moveTo>
                  <a:cubicBezTo>
                    <a:pt x="2408" y="2512"/>
                    <a:pt x="2375" y="2524"/>
                    <a:pt x="2389" y="2504"/>
                  </a:cubicBezTo>
                  <a:close/>
                  <a:moveTo>
                    <a:pt x="2386" y="2086"/>
                  </a:moveTo>
                  <a:cubicBezTo>
                    <a:pt x="2386" y="2084"/>
                    <a:pt x="2394" y="2081"/>
                    <a:pt x="2397" y="2081"/>
                  </a:cubicBezTo>
                  <a:cubicBezTo>
                    <a:pt x="2394" y="2086"/>
                    <a:pt x="2389" y="2089"/>
                    <a:pt x="2386" y="2086"/>
                  </a:cubicBezTo>
                  <a:close/>
                  <a:moveTo>
                    <a:pt x="2400" y="2572"/>
                  </a:moveTo>
                  <a:cubicBezTo>
                    <a:pt x="2392" y="2580"/>
                    <a:pt x="2406" y="2557"/>
                    <a:pt x="2400" y="2572"/>
                  </a:cubicBezTo>
                  <a:close/>
                  <a:moveTo>
                    <a:pt x="2397" y="2563"/>
                  </a:moveTo>
                  <a:cubicBezTo>
                    <a:pt x="2394" y="2566"/>
                    <a:pt x="2400" y="2557"/>
                    <a:pt x="2397" y="2563"/>
                  </a:cubicBezTo>
                  <a:close/>
                  <a:moveTo>
                    <a:pt x="2397" y="2538"/>
                  </a:moveTo>
                  <a:cubicBezTo>
                    <a:pt x="2417" y="2541"/>
                    <a:pt x="2389" y="2569"/>
                    <a:pt x="2397" y="2538"/>
                  </a:cubicBezTo>
                  <a:close/>
                  <a:moveTo>
                    <a:pt x="2403" y="2563"/>
                  </a:moveTo>
                  <a:cubicBezTo>
                    <a:pt x="2408" y="2552"/>
                    <a:pt x="2420" y="2574"/>
                    <a:pt x="2403" y="2563"/>
                  </a:cubicBezTo>
                  <a:close/>
                  <a:moveTo>
                    <a:pt x="2417" y="1697"/>
                  </a:moveTo>
                  <a:cubicBezTo>
                    <a:pt x="2420" y="1689"/>
                    <a:pt x="2420" y="1706"/>
                    <a:pt x="2417" y="1697"/>
                  </a:cubicBezTo>
                  <a:close/>
                  <a:moveTo>
                    <a:pt x="2414" y="1235"/>
                  </a:moveTo>
                  <a:cubicBezTo>
                    <a:pt x="2411" y="1235"/>
                    <a:pt x="2406" y="1233"/>
                    <a:pt x="2403" y="1230"/>
                  </a:cubicBezTo>
                  <a:cubicBezTo>
                    <a:pt x="2406" y="1204"/>
                    <a:pt x="2431" y="1230"/>
                    <a:pt x="2414" y="1235"/>
                  </a:cubicBezTo>
                  <a:close/>
                  <a:moveTo>
                    <a:pt x="2417" y="505"/>
                  </a:moveTo>
                  <a:cubicBezTo>
                    <a:pt x="2417" y="502"/>
                    <a:pt x="2420" y="496"/>
                    <a:pt x="2423" y="494"/>
                  </a:cubicBezTo>
                  <a:cubicBezTo>
                    <a:pt x="2425" y="494"/>
                    <a:pt x="2431" y="496"/>
                    <a:pt x="2434" y="496"/>
                  </a:cubicBezTo>
                  <a:cubicBezTo>
                    <a:pt x="2434" y="499"/>
                    <a:pt x="2431" y="505"/>
                    <a:pt x="2431" y="508"/>
                  </a:cubicBezTo>
                  <a:cubicBezTo>
                    <a:pt x="2425" y="508"/>
                    <a:pt x="2420" y="508"/>
                    <a:pt x="2417" y="505"/>
                  </a:cubicBezTo>
                  <a:close/>
                  <a:moveTo>
                    <a:pt x="2423" y="2380"/>
                  </a:moveTo>
                  <a:cubicBezTo>
                    <a:pt x="2423" y="2374"/>
                    <a:pt x="2434" y="2385"/>
                    <a:pt x="2423" y="2380"/>
                  </a:cubicBezTo>
                  <a:close/>
                  <a:moveTo>
                    <a:pt x="2425" y="2450"/>
                  </a:moveTo>
                  <a:cubicBezTo>
                    <a:pt x="2425" y="2445"/>
                    <a:pt x="2437" y="2445"/>
                    <a:pt x="2440" y="2442"/>
                  </a:cubicBezTo>
                  <a:cubicBezTo>
                    <a:pt x="2448" y="2442"/>
                    <a:pt x="2431" y="2456"/>
                    <a:pt x="2425" y="2450"/>
                  </a:cubicBezTo>
                  <a:close/>
                  <a:moveTo>
                    <a:pt x="2428" y="2436"/>
                  </a:moveTo>
                  <a:cubicBezTo>
                    <a:pt x="2431" y="2433"/>
                    <a:pt x="2440" y="2431"/>
                    <a:pt x="2440" y="2425"/>
                  </a:cubicBezTo>
                  <a:cubicBezTo>
                    <a:pt x="2448" y="2428"/>
                    <a:pt x="2440" y="2439"/>
                    <a:pt x="2428" y="2436"/>
                  </a:cubicBezTo>
                  <a:close/>
                  <a:moveTo>
                    <a:pt x="2445" y="2529"/>
                  </a:moveTo>
                  <a:lnTo>
                    <a:pt x="2445" y="2526"/>
                  </a:lnTo>
                  <a:cubicBezTo>
                    <a:pt x="2445" y="2526"/>
                    <a:pt x="2448" y="2526"/>
                    <a:pt x="2448" y="2529"/>
                  </a:cubicBezTo>
                  <a:cubicBezTo>
                    <a:pt x="2451" y="2532"/>
                    <a:pt x="2451" y="2535"/>
                    <a:pt x="2451" y="2538"/>
                  </a:cubicBezTo>
                  <a:cubicBezTo>
                    <a:pt x="2451" y="2535"/>
                    <a:pt x="2448" y="2532"/>
                    <a:pt x="2445" y="2529"/>
                  </a:cubicBezTo>
                  <a:close/>
                  <a:moveTo>
                    <a:pt x="2448" y="1505"/>
                  </a:moveTo>
                  <a:cubicBezTo>
                    <a:pt x="2454" y="1500"/>
                    <a:pt x="2445" y="1514"/>
                    <a:pt x="2448" y="1505"/>
                  </a:cubicBezTo>
                  <a:close/>
                  <a:moveTo>
                    <a:pt x="2451" y="2377"/>
                  </a:moveTo>
                  <a:lnTo>
                    <a:pt x="2451" y="2368"/>
                  </a:lnTo>
                  <a:cubicBezTo>
                    <a:pt x="2454" y="2368"/>
                    <a:pt x="2454" y="2371"/>
                    <a:pt x="2456" y="2371"/>
                  </a:cubicBezTo>
                  <a:lnTo>
                    <a:pt x="2456" y="2377"/>
                  </a:lnTo>
                  <a:cubicBezTo>
                    <a:pt x="2456" y="2380"/>
                    <a:pt x="2451" y="2377"/>
                    <a:pt x="2451" y="2377"/>
                  </a:cubicBezTo>
                  <a:close/>
                  <a:moveTo>
                    <a:pt x="2456" y="2439"/>
                  </a:moveTo>
                  <a:cubicBezTo>
                    <a:pt x="2456" y="2433"/>
                    <a:pt x="2462" y="2433"/>
                    <a:pt x="2465" y="2431"/>
                  </a:cubicBezTo>
                  <a:cubicBezTo>
                    <a:pt x="2465" y="2436"/>
                    <a:pt x="2462" y="2442"/>
                    <a:pt x="2456" y="2439"/>
                  </a:cubicBezTo>
                  <a:close/>
                  <a:moveTo>
                    <a:pt x="2465" y="2431"/>
                  </a:moveTo>
                  <a:cubicBezTo>
                    <a:pt x="2465" y="2429"/>
                    <a:pt x="2471" y="2425"/>
                    <a:pt x="2473" y="2425"/>
                  </a:cubicBezTo>
                  <a:lnTo>
                    <a:pt x="2473" y="2428"/>
                  </a:lnTo>
                  <a:cubicBezTo>
                    <a:pt x="2471" y="2431"/>
                    <a:pt x="2471" y="2433"/>
                    <a:pt x="2471" y="2433"/>
                  </a:cubicBezTo>
                  <a:cubicBezTo>
                    <a:pt x="2468" y="2433"/>
                    <a:pt x="2465" y="2434"/>
                    <a:pt x="2465" y="2431"/>
                  </a:cubicBezTo>
                  <a:close/>
                  <a:moveTo>
                    <a:pt x="2476" y="2464"/>
                  </a:moveTo>
                  <a:cubicBezTo>
                    <a:pt x="2473" y="2464"/>
                    <a:pt x="2473" y="2462"/>
                    <a:pt x="2471" y="2462"/>
                  </a:cubicBezTo>
                  <a:lnTo>
                    <a:pt x="2471" y="2459"/>
                  </a:lnTo>
                  <a:cubicBezTo>
                    <a:pt x="2476" y="2459"/>
                    <a:pt x="2476" y="2464"/>
                    <a:pt x="2476" y="2464"/>
                  </a:cubicBezTo>
                  <a:close/>
                  <a:moveTo>
                    <a:pt x="2471" y="2383"/>
                  </a:moveTo>
                  <a:cubicBezTo>
                    <a:pt x="2462" y="2377"/>
                    <a:pt x="2476" y="2360"/>
                    <a:pt x="2479" y="2363"/>
                  </a:cubicBezTo>
                  <a:cubicBezTo>
                    <a:pt x="2482" y="2371"/>
                    <a:pt x="2476" y="2380"/>
                    <a:pt x="2471" y="2383"/>
                  </a:cubicBezTo>
                  <a:close/>
                  <a:moveTo>
                    <a:pt x="2476" y="2436"/>
                  </a:moveTo>
                  <a:cubicBezTo>
                    <a:pt x="2476" y="2436"/>
                    <a:pt x="2473" y="2431"/>
                    <a:pt x="2476" y="2428"/>
                  </a:cubicBezTo>
                  <a:cubicBezTo>
                    <a:pt x="2479" y="2425"/>
                    <a:pt x="2485" y="2439"/>
                    <a:pt x="2476" y="2436"/>
                  </a:cubicBezTo>
                  <a:close/>
                  <a:moveTo>
                    <a:pt x="2482" y="2270"/>
                  </a:moveTo>
                  <a:cubicBezTo>
                    <a:pt x="2485" y="2264"/>
                    <a:pt x="2493" y="2273"/>
                    <a:pt x="2482" y="2270"/>
                  </a:cubicBezTo>
                  <a:close/>
                  <a:moveTo>
                    <a:pt x="2485" y="2357"/>
                  </a:moveTo>
                  <a:cubicBezTo>
                    <a:pt x="2485" y="2357"/>
                    <a:pt x="2485" y="2360"/>
                    <a:pt x="2485" y="2357"/>
                  </a:cubicBezTo>
                  <a:lnTo>
                    <a:pt x="2485" y="2360"/>
                  </a:lnTo>
                  <a:cubicBezTo>
                    <a:pt x="2485" y="2360"/>
                    <a:pt x="2482" y="2360"/>
                    <a:pt x="2485" y="2357"/>
                  </a:cubicBezTo>
                  <a:close/>
                  <a:moveTo>
                    <a:pt x="2482" y="2205"/>
                  </a:moveTo>
                  <a:cubicBezTo>
                    <a:pt x="2476" y="2202"/>
                    <a:pt x="2487" y="2196"/>
                    <a:pt x="2490" y="2194"/>
                  </a:cubicBezTo>
                  <a:cubicBezTo>
                    <a:pt x="2490" y="2202"/>
                    <a:pt x="2482" y="2202"/>
                    <a:pt x="2482" y="2205"/>
                  </a:cubicBezTo>
                  <a:close/>
                  <a:moveTo>
                    <a:pt x="2493" y="2385"/>
                  </a:moveTo>
                  <a:cubicBezTo>
                    <a:pt x="2490" y="2391"/>
                    <a:pt x="2485" y="2391"/>
                    <a:pt x="2479" y="2391"/>
                  </a:cubicBezTo>
                  <a:cubicBezTo>
                    <a:pt x="2482" y="2388"/>
                    <a:pt x="2490" y="2383"/>
                    <a:pt x="2493" y="2385"/>
                  </a:cubicBezTo>
                  <a:close/>
                  <a:moveTo>
                    <a:pt x="2487" y="2439"/>
                  </a:moveTo>
                  <a:cubicBezTo>
                    <a:pt x="2490" y="2433"/>
                    <a:pt x="2499" y="2445"/>
                    <a:pt x="2487" y="2439"/>
                  </a:cubicBezTo>
                  <a:close/>
                  <a:moveTo>
                    <a:pt x="2487" y="2168"/>
                  </a:moveTo>
                  <a:cubicBezTo>
                    <a:pt x="2487" y="2163"/>
                    <a:pt x="2493" y="2163"/>
                    <a:pt x="2493" y="2160"/>
                  </a:cubicBezTo>
                  <a:cubicBezTo>
                    <a:pt x="2496" y="2160"/>
                    <a:pt x="2490" y="2171"/>
                    <a:pt x="2487" y="2168"/>
                  </a:cubicBezTo>
                  <a:close/>
                  <a:moveTo>
                    <a:pt x="2487" y="2148"/>
                  </a:moveTo>
                  <a:cubicBezTo>
                    <a:pt x="2487" y="2143"/>
                    <a:pt x="2496" y="2151"/>
                    <a:pt x="2487" y="2148"/>
                  </a:cubicBezTo>
                  <a:close/>
                  <a:moveTo>
                    <a:pt x="2479" y="2131"/>
                  </a:moveTo>
                  <a:cubicBezTo>
                    <a:pt x="2485" y="2126"/>
                    <a:pt x="2496" y="2123"/>
                    <a:pt x="2504" y="2123"/>
                  </a:cubicBezTo>
                  <a:cubicBezTo>
                    <a:pt x="2502" y="2131"/>
                    <a:pt x="2487" y="2131"/>
                    <a:pt x="2479" y="2131"/>
                  </a:cubicBezTo>
                  <a:close/>
                  <a:moveTo>
                    <a:pt x="2499" y="2227"/>
                  </a:moveTo>
                  <a:cubicBezTo>
                    <a:pt x="2499" y="2222"/>
                    <a:pt x="2510" y="2219"/>
                    <a:pt x="2510" y="2222"/>
                  </a:cubicBezTo>
                  <a:cubicBezTo>
                    <a:pt x="2507" y="2227"/>
                    <a:pt x="2504" y="2227"/>
                    <a:pt x="2499" y="2227"/>
                  </a:cubicBezTo>
                  <a:close/>
                  <a:moveTo>
                    <a:pt x="2502" y="2459"/>
                  </a:moveTo>
                  <a:cubicBezTo>
                    <a:pt x="2502" y="2456"/>
                    <a:pt x="2502" y="2453"/>
                    <a:pt x="2504" y="2453"/>
                  </a:cubicBezTo>
                  <a:cubicBezTo>
                    <a:pt x="2507" y="2453"/>
                    <a:pt x="2510" y="2453"/>
                    <a:pt x="2510" y="2456"/>
                  </a:cubicBezTo>
                  <a:cubicBezTo>
                    <a:pt x="2510" y="2456"/>
                    <a:pt x="2507" y="2459"/>
                    <a:pt x="2502" y="2459"/>
                  </a:cubicBezTo>
                  <a:close/>
                  <a:moveTo>
                    <a:pt x="2502" y="2363"/>
                  </a:moveTo>
                  <a:cubicBezTo>
                    <a:pt x="2504" y="2360"/>
                    <a:pt x="2507" y="2354"/>
                    <a:pt x="2513" y="2354"/>
                  </a:cubicBezTo>
                  <a:cubicBezTo>
                    <a:pt x="2516" y="2360"/>
                    <a:pt x="2507" y="2363"/>
                    <a:pt x="2502" y="2363"/>
                  </a:cubicBezTo>
                  <a:close/>
                  <a:moveTo>
                    <a:pt x="2504" y="2253"/>
                  </a:moveTo>
                  <a:cubicBezTo>
                    <a:pt x="2507" y="2250"/>
                    <a:pt x="2513" y="2250"/>
                    <a:pt x="2516" y="2250"/>
                  </a:cubicBezTo>
                  <a:cubicBezTo>
                    <a:pt x="2519" y="2258"/>
                    <a:pt x="2504" y="2261"/>
                    <a:pt x="2504" y="2253"/>
                  </a:cubicBezTo>
                  <a:close/>
                  <a:moveTo>
                    <a:pt x="2521" y="2349"/>
                  </a:moveTo>
                  <a:cubicBezTo>
                    <a:pt x="2524" y="2349"/>
                    <a:pt x="2519" y="2357"/>
                    <a:pt x="2516" y="2357"/>
                  </a:cubicBezTo>
                  <a:cubicBezTo>
                    <a:pt x="2513" y="2349"/>
                    <a:pt x="2524" y="2354"/>
                    <a:pt x="2521" y="2349"/>
                  </a:cubicBezTo>
                  <a:close/>
                  <a:moveTo>
                    <a:pt x="2527" y="2456"/>
                  </a:moveTo>
                  <a:lnTo>
                    <a:pt x="2530" y="2453"/>
                  </a:lnTo>
                  <a:cubicBezTo>
                    <a:pt x="2533" y="2453"/>
                    <a:pt x="2533" y="2462"/>
                    <a:pt x="2527" y="2456"/>
                  </a:cubicBezTo>
                  <a:close/>
                  <a:moveTo>
                    <a:pt x="2541" y="2323"/>
                  </a:moveTo>
                  <a:cubicBezTo>
                    <a:pt x="2538" y="2323"/>
                    <a:pt x="2535" y="2318"/>
                    <a:pt x="2535" y="2315"/>
                  </a:cubicBezTo>
                  <a:cubicBezTo>
                    <a:pt x="2538" y="2315"/>
                    <a:pt x="2541" y="2320"/>
                    <a:pt x="2541" y="2323"/>
                  </a:cubicBezTo>
                  <a:close/>
                  <a:moveTo>
                    <a:pt x="2541" y="2343"/>
                  </a:moveTo>
                  <a:cubicBezTo>
                    <a:pt x="2541" y="2343"/>
                    <a:pt x="2538" y="2346"/>
                    <a:pt x="2538" y="2349"/>
                  </a:cubicBezTo>
                  <a:lnTo>
                    <a:pt x="2527" y="2349"/>
                  </a:lnTo>
                  <a:cubicBezTo>
                    <a:pt x="2530" y="2343"/>
                    <a:pt x="2538" y="2337"/>
                    <a:pt x="2541" y="2343"/>
                  </a:cubicBezTo>
                  <a:close/>
                  <a:moveTo>
                    <a:pt x="2524" y="2320"/>
                  </a:moveTo>
                  <a:cubicBezTo>
                    <a:pt x="2527" y="2320"/>
                    <a:pt x="2530" y="2323"/>
                    <a:pt x="2533" y="2326"/>
                  </a:cubicBezTo>
                  <a:lnTo>
                    <a:pt x="2527" y="2326"/>
                  </a:lnTo>
                  <a:cubicBezTo>
                    <a:pt x="2524" y="2326"/>
                    <a:pt x="2524" y="2323"/>
                    <a:pt x="2524" y="2320"/>
                  </a:cubicBezTo>
                  <a:close/>
                  <a:moveTo>
                    <a:pt x="2544" y="2419"/>
                  </a:moveTo>
                  <a:cubicBezTo>
                    <a:pt x="2544" y="2425"/>
                    <a:pt x="2538" y="2425"/>
                    <a:pt x="2535" y="2428"/>
                  </a:cubicBezTo>
                  <a:lnTo>
                    <a:pt x="2519" y="2419"/>
                  </a:lnTo>
                  <a:cubicBezTo>
                    <a:pt x="2519" y="2405"/>
                    <a:pt x="2544" y="2411"/>
                    <a:pt x="2544" y="2419"/>
                  </a:cubicBezTo>
                  <a:close/>
                  <a:moveTo>
                    <a:pt x="2521" y="2264"/>
                  </a:moveTo>
                  <a:cubicBezTo>
                    <a:pt x="2519" y="2256"/>
                    <a:pt x="2530" y="2256"/>
                    <a:pt x="2530" y="2253"/>
                  </a:cubicBezTo>
                  <a:cubicBezTo>
                    <a:pt x="2538" y="2256"/>
                    <a:pt x="2527" y="2264"/>
                    <a:pt x="2521" y="2264"/>
                  </a:cubicBezTo>
                  <a:close/>
                  <a:moveTo>
                    <a:pt x="2533" y="2205"/>
                  </a:moveTo>
                  <a:cubicBezTo>
                    <a:pt x="2538" y="2205"/>
                    <a:pt x="2541" y="2205"/>
                    <a:pt x="2547" y="2208"/>
                  </a:cubicBezTo>
                  <a:cubicBezTo>
                    <a:pt x="2550" y="2210"/>
                    <a:pt x="2547" y="2216"/>
                    <a:pt x="2544" y="2219"/>
                  </a:cubicBezTo>
                  <a:cubicBezTo>
                    <a:pt x="2538" y="2216"/>
                    <a:pt x="2530" y="2213"/>
                    <a:pt x="2533" y="2205"/>
                  </a:cubicBezTo>
                  <a:close/>
                  <a:moveTo>
                    <a:pt x="2541" y="2242"/>
                  </a:moveTo>
                  <a:cubicBezTo>
                    <a:pt x="2544" y="2242"/>
                    <a:pt x="2547" y="2244"/>
                    <a:pt x="2550" y="2247"/>
                  </a:cubicBezTo>
                  <a:lnTo>
                    <a:pt x="2544" y="2247"/>
                  </a:lnTo>
                  <a:cubicBezTo>
                    <a:pt x="2544" y="2247"/>
                    <a:pt x="2541" y="2244"/>
                    <a:pt x="2541" y="2242"/>
                  </a:cubicBezTo>
                  <a:close/>
                  <a:moveTo>
                    <a:pt x="2547" y="2278"/>
                  </a:moveTo>
                  <a:cubicBezTo>
                    <a:pt x="2550" y="2278"/>
                    <a:pt x="2552" y="2284"/>
                    <a:pt x="2550" y="2281"/>
                  </a:cubicBezTo>
                  <a:cubicBezTo>
                    <a:pt x="2550" y="2281"/>
                    <a:pt x="2544" y="2278"/>
                    <a:pt x="2547" y="2278"/>
                  </a:cubicBezTo>
                  <a:close/>
                  <a:moveTo>
                    <a:pt x="2569" y="2239"/>
                  </a:moveTo>
                  <a:cubicBezTo>
                    <a:pt x="2564" y="2236"/>
                    <a:pt x="2572" y="2230"/>
                    <a:pt x="2567" y="2227"/>
                  </a:cubicBezTo>
                  <a:cubicBezTo>
                    <a:pt x="2558" y="2227"/>
                    <a:pt x="2555" y="2230"/>
                    <a:pt x="2550" y="2233"/>
                  </a:cubicBezTo>
                  <a:cubicBezTo>
                    <a:pt x="2550" y="2225"/>
                    <a:pt x="2564" y="2225"/>
                    <a:pt x="2569" y="2222"/>
                  </a:cubicBezTo>
                  <a:cubicBezTo>
                    <a:pt x="2575" y="2225"/>
                    <a:pt x="2572" y="2233"/>
                    <a:pt x="2569" y="2239"/>
                  </a:cubicBezTo>
                  <a:close/>
                  <a:moveTo>
                    <a:pt x="2581" y="2222"/>
                  </a:moveTo>
                  <a:cubicBezTo>
                    <a:pt x="2578" y="2222"/>
                    <a:pt x="2578" y="2213"/>
                    <a:pt x="2578" y="2210"/>
                  </a:cubicBezTo>
                  <a:cubicBezTo>
                    <a:pt x="2581" y="2210"/>
                    <a:pt x="2583" y="2219"/>
                    <a:pt x="2581" y="2222"/>
                  </a:cubicBezTo>
                  <a:close/>
                  <a:moveTo>
                    <a:pt x="2572" y="2185"/>
                  </a:moveTo>
                  <a:cubicBezTo>
                    <a:pt x="2572" y="2177"/>
                    <a:pt x="2592" y="2174"/>
                    <a:pt x="2592" y="2182"/>
                  </a:cubicBezTo>
                  <a:cubicBezTo>
                    <a:pt x="2586" y="2179"/>
                    <a:pt x="2578" y="2179"/>
                    <a:pt x="2572" y="2185"/>
                  </a:cubicBezTo>
                  <a:close/>
                  <a:moveTo>
                    <a:pt x="2589" y="2154"/>
                  </a:moveTo>
                  <a:cubicBezTo>
                    <a:pt x="2598" y="2148"/>
                    <a:pt x="2606" y="2143"/>
                    <a:pt x="2617" y="2143"/>
                  </a:cubicBezTo>
                  <a:cubicBezTo>
                    <a:pt x="2609" y="2148"/>
                    <a:pt x="2600" y="2157"/>
                    <a:pt x="2589" y="2154"/>
                  </a:cubicBezTo>
                  <a:close/>
                  <a:moveTo>
                    <a:pt x="2598" y="2219"/>
                  </a:moveTo>
                  <a:cubicBezTo>
                    <a:pt x="2598" y="2213"/>
                    <a:pt x="2606" y="2222"/>
                    <a:pt x="2598" y="2219"/>
                  </a:cubicBezTo>
                  <a:close/>
                  <a:moveTo>
                    <a:pt x="2609" y="2371"/>
                  </a:moveTo>
                  <a:cubicBezTo>
                    <a:pt x="2600" y="2366"/>
                    <a:pt x="2609" y="2352"/>
                    <a:pt x="2598" y="2352"/>
                  </a:cubicBezTo>
                  <a:cubicBezTo>
                    <a:pt x="2598" y="2346"/>
                    <a:pt x="2603" y="2343"/>
                    <a:pt x="2606" y="2340"/>
                  </a:cubicBezTo>
                  <a:cubicBezTo>
                    <a:pt x="2612" y="2349"/>
                    <a:pt x="2614" y="2354"/>
                    <a:pt x="2620" y="2360"/>
                  </a:cubicBezTo>
                  <a:cubicBezTo>
                    <a:pt x="2620" y="2368"/>
                    <a:pt x="2614" y="2371"/>
                    <a:pt x="2609" y="2371"/>
                  </a:cubicBezTo>
                  <a:close/>
                  <a:moveTo>
                    <a:pt x="2629" y="2194"/>
                  </a:moveTo>
                  <a:cubicBezTo>
                    <a:pt x="2626" y="2194"/>
                    <a:pt x="2626" y="2188"/>
                    <a:pt x="2623" y="2188"/>
                  </a:cubicBezTo>
                  <a:cubicBezTo>
                    <a:pt x="2626" y="2185"/>
                    <a:pt x="2626" y="2188"/>
                    <a:pt x="2631" y="2185"/>
                  </a:cubicBezTo>
                  <a:cubicBezTo>
                    <a:pt x="2631" y="2191"/>
                    <a:pt x="2629" y="2191"/>
                    <a:pt x="2629" y="2194"/>
                  </a:cubicBezTo>
                  <a:close/>
                  <a:moveTo>
                    <a:pt x="2629" y="2343"/>
                  </a:moveTo>
                  <a:cubicBezTo>
                    <a:pt x="2631" y="2340"/>
                    <a:pt x="2634" y="2335"/>
                    <a:pt x="2637" y="2332"/>
                  </a:cubicBezTo>
                  <a:lnTo>
                    <a:pt x="2643" y="2332"/>
                  </a:lnTo>
                  <a:cubicBezTo>
                    <a:pt x="2640" y="2337"/>
                    <a:pt x="2634" y="2340"/>
                    <a:pt x="2629" y="2343"/>
                  </a:cubicBezTo>
                  <a:close/>
                  <a:moveTo>
                    <a:pt x="2654" y="2304"/>
                  </a:moveTo>
                  <a:cubicBezTo>
                    <a:pt x="2643" y="2295"/>
                    <a:pt x="2626" y="2284"/>
                    <a:pt x="2631" y="2267"/>
                  </a:cubicBezTo>
                  <a:cubicBezTo>
                    <a:pt x="2640" y="2273"/>
                    <a:pt x="2662" y="2289"/>
                    <a:pt x="2654" y="2304"/>
                  </a:cubicBezTo>
                  <a:close/>
                  <a:moveTo>
                    <a:pt x="2654" y="2185"/>
                  </a:moveTo>
                  <a:cubicBezTo>
                    <a:pt x="2654" y="2179"/>
                    <a:pt x="2662" y="2188"/>
                    <a:pt x="2654" y="2185"/>
                  </a:cubicBezTo>
                  <a:close/>
                  <a:moveTo>
                    <a:pt x="2662" y="2298"/>
                  </a:moveTo>
                  <a:cubicBezTo>
                    <a:pt x="2665" y="2295"/>
                    <a:pt x="2668" y="2289"/>
                    <a:pt x="2671" y="2284"/>
                  </a:cubicBezTo>
                  <a:lnTo>
                    <a:pt x="2674" y="2284"/>
                  </a:lnTo>
                  <a:cubicBezTo>
                    <a:pt x="2671" y="2289"/>
                    <a:pt x="2668" y="2295"/>
                    <a:pt x="2662" y="2298"/>
                  </a:cubicBezTo>
                  <a:close/>
                  <a:moveTo>
                    <a:pt x="2668" y="1824"/>
                  </a:moveTo>
                  <a:cubicBezTo>
                    <a:pt x="2668" y="1818"/>
                    <a:pt x="2685" y="1821"/>
                    <a:pt x="2688" y="1824"/>
                  </a:cubicBezTo>
                  <a:cubicBezTo>
                    <a:pt x="2688" y="1827"/>
                    <a:pt x="2688" y="1830"/>
                    <a:pt x="2685" y="1830"/>
                  </a:cubicBezTo>
                  <a:cubicBezTo>
                    <a:pt x="2679" y="1830"/>
                    <a:pt x="2674" y="1827"/>
                    <a:pt x="2668" y="1824"/>
                  </a:cubicBezTo>
                  <a:close/>
                  <a:moveTo>
                    <a:pt x="2682" y="2072"/>
                  </a:moveTo>
                  <a:lnTo>
                    <a:pt x="2677" y="2072"/>
                  </a:lnTo>
                  <a:lnTo>
                    <a:pt x="2677" y="2067"/>
                  </a:lnTo>
                  <a:lnTo>
                    <a:pt x="2682" y="2067"/>
                  </a:lnTo>
                  <a:lnTo>
                    <a:pt x="2682" y="2072"/>
                  </a:lnTo>
                  <a:close/>
                  <a:moveTo>
                    <a:pt x="2685" y="2146"/>
                  </a:moveTo>
                  <a:cubicBezTo>
                    <a:pt x="2682" y="2146"/>
                    <a:pt x="2677" y="2143"/>
                    <a:pt x="2674" y="2140"/>
                  </a:cubicBezTo>
                  <a:cubicBezTo>
                    <a:pt x="2677" y="2140"/>
                    <a:pt x="2691" y="2143"/>
                    <a:pt x="2685" y="2146"/>
                  </a:cubicBezTo>
                  <a:close/>
                  <a:moveTo>
                    <a:pt x="2677" y="2281"/>
                  </a:moveTo>
                  <a:cubicBezTo>
                    <a:pt x="2674" y="2278"/>
                    <a:pt x="2677" y="2278"/>
                    <a:pt x="2677" y="2281"/>
                  </a:cubicBezTo>
                  <a:close/>
                  <a:moveTo>
                    <a:pt x="2682" y="2205"/>
                  </a:moveTo>
                  <a:cubicBezTo>
                    <a:pt x="2685" y="2208"/>
                    <a:pt x="2685" y="2210"/>
                    <a:pt x="2685" y="2213"/>
                  </a:cubicBezTo>
                  <a:cubicBezTo>
                    <a:pt x="2682" y="2213"/>
                    <a:pt x="2682" y="2208"/>
                    <a:pt x="2682" y="2205"/>
                  </a:cubicBezTo>
                  <a:close/>
                  <a:moveTo>
                    <a:pt x="2679" y="2058"/>
                  </a:moveTo>
                  <a:cubicBezTo>
                    <a:pt x="2682" y="2053"/>
                    <a:pt x="2685" y="2055"/>
                    <a:pt x="2691" y="2055"/>
                  </a:cubicBezTo>
                  <a:cubicBezTo>
                    <a:pt x="2693" y="2061"/>
                    <a:pt x="2682" y="2058"/>
                    <a:pt x="2679" y="2058"/>
                  </a:cubicBezTo>
                  <a:close/>
                  <a:moveTo>
                    <a:pt x="2691" y="2205"/>
                  </a:moveTo>
                  <a:cubicBezTo>
                    <a:pt x="2691" y="2205"/>
                    <a:pt x="2688" y="2199"/>
                    <a:pt x="2691" y="2196"/>
                  </a:cubicBezTo>
                  <a:cubicBezTo>
                    <a:pt x="2693" y="2196"/>
                    <a:pt x="2696" y="2210"/>
                    <a:pt x="2691" y="2205"/>
                  </a:cubicBezTo>
                  <a:close/>
                  <a:moveTo>
                    <a:pt x="2708" y="2163"/>
                  </a:moveTo>
                  <a:cubicBezTo>
                    <a:pt x="2702" y="2163"/>
                    <a:pt x="2699" y="2160"/>
                    <a:pt x="2696" y="2157"/>
                  </a:cubicBezTo>
                  <a:cubicBezTo>
                    <a:pt x="2696" y="2148"/>
                    <a:pt x="2713" y="2154"/>
                    <a:pt x="2708" y="2163"/>
                  </a:cubicBezTo>
                  <a:close/>
                  <a:moveTo>
                    <a:pt x="2710" y="2233"/>
                  </a:moveTo>
                  <a:cubicBezTo>
                    <a:pt x="2705" y="2230"/>
                    <a:pt x="2702" y="2225"/>
                    <a:pt x="2702" y="2219"/>
                  </a:cubicBezTo>
                  <a:lnTo>
                    <a:pt x="2710" y="2219"/>
                  </a:lnTo>
                  <a:cubicBezTo>
                    <a:pt x="2710" y="2222"/>
                    <a:pt x="2716" y="2230"/>
                    <a:pt x="2710" y="2233"/>
                  </a:cubicBezTo>
                  <a:close/>
                  <a:moveTo>
                    <a:pt x="2699" y="2216"/>
                  </a:moveTo>
                  <a:cubicBezTo>
                    <a:pt x="2696" y="2210"/>
                    <a:pt x="2693" y="2191"/>
                    <a:pt x="2705" y="2194"/>
                  </a:cubicBezTo>
                  <a:cubicBezTo>
                    <a:pt x="2702" y="2196"/>
                    <a:pt x="2702" y="2208"/>
                    <a:pt x="2710" y="2210"/>
                  </a:cubicBezTo>
                  <a:cubicBezTo>
                    <a:pt x="2710" y="2210"/>
                    <a:pt x="2708" y="2216"/>
                    <a:pt x="2699" y="2216"/>
                  </a:cubicBezTo>
                  <a:close/>
                  <a:moveTo>
                    <a:pt x="2722" y="2202"/>
                  </a:moveTo>
                  <a:cubicBezTo>
                    <a:pt x="2719" y="2202"/>
                    <a:pt x="2716" y="2199"/>
                    <a:pt x="2713" y="2196"/>
                  </a:cubicBezTo>
                  <a:cubicBezTo>
                    <a:pt x="2713" y="2194"/>
                    <a:pt x="2716" y="2191"/>
                    <a:pt x="2719" y="2191"/>
                  </a:cubicBezTo>
                  <a:cubicBezTo>
                    <a:pt x="2719" y="2188"/>
                    <a:pt x="2719" y="2185"/>
                    <a:pt x="2722" y="2185"/>
                  </a:cubicBezTo>
                  <a:cubicBezTo>
                    <a:pt x="2727" y="2188"/>
                    <a:pt x="2730" y="2185"/>
                    <a:pt x="2733" y="2188"/>
                  </a:cubicBezTo>
                  <a:cubicBezTo>
                    <a:pt x="2727" y="2191"/>
                    <a:pt x="2722" y="2191"/>
                    <a:pt x="2719" y="2191"/>
                  </a:cubicBezTo>
                  <a:cubicBezTo>
                    <a:pt x="2719" y="2194"/>
                    <a:pt x="2725" y="2196"/>
                    <a:pt x="2722" y="2202"/>
                  </a:cubicBezTo>
                  <a:close/>
                  <a:moveTo>
                    <a:pt x="2710" y="2157"/>
                  </a:moveTo>
                  <a:cubicBezTo>
                    <a:pt x="2708" y="2157"/>
                    <a:pt x="2710" y="2151"/>
                    <a:pt x="2713" y="2151"/>
                  </a:cubicBezTo>
                  <a:cubicBezTo>
                    <a:pt x="2727" y="2151"/>
                    <a:pt x="2739" y="2157"/>
                    <a:pt x="2739" y="2165"/>
                  </a:cubicBezTo>
                  <a:cubicBezTo>
                    <a:pt x="2733" y="2163"/>
                    <a:pt x="2722" y="2160"/>
                    <a:pt x="2710" y="2157"/>
                  </a:cubicBezTo>
                  <a:close/>
                  <a:moveTo>
                    <a:pt x="2736" y="2024"/>
                  </a:moveTo>
                  <a:cubicBezTo>
                    <a:pt x="2739" y="2030"/>
                    <a:pt x="2744" y="2027"/>
                    <a:pt x="2747" y="2033"/>
                  </a:cubicBezTo>
                  <a:cubicBezTo>
                    <a:pt x="2744" y="2044"/>
                    <a:pt x="2727" y="2027"/>
                    <a:pt x="2736" y="2024"/>
                  </a:cubicBezTo>
                  <a:close/>
                  <a:moveTo>
                    <a:pt x="2741" y="2115"/>
                  </a:moveTo>
                  <a:cubicBezTo>
                    <a:pt x="2744" y="2115"/>
                    <a:pt x="2747" y="2120"/>
                    <a:pt x="2744" y="2117"/>
                  </a:cubicBezTo>
                  <a:lnTo>
                    <a:pt x="2741" y="2115"/>
                  </a:lnTo>
                  <a:close/>
                  <a:moveTo>
                    <a:pt x="2750" y="2137"/>
                  </a:moveTo>
                  <a:cubicBezTo>
                    <a:pt x="2750" y="2134"/>
                    <a:pt x="2750" y="2131"/>
                    <a:pt x="2753" y="2129"/>
                  </a:cubicBezTo>
                  <a:cubicBezTo>
                    <a:pt x="2756" y="2129"/>
                    <a:pt x="2761" y="2131"/>
                    <a:pt x="2764" y="2134"/>
                  </a:cubicBezTo>
                  <a:cubicBezTo>
                    <a:pt x="2761" y="2140"/>
                    <a:pt x="2756" y="2140"/>
                    <a:pt x="2750" y="2137"/>
                  </a:cubicBezTo>
                  <a:close/>
                  <a:moveTo>
                    <a:pt x="2750" y="2086"/>
                  </a:moveTo>
                  <a:cubicBezTo>
                    <a:pt x="2750" y="2081"/>
                    <a:pt x="2756" y="2084"/>
                    <a:pt x="2756" y="2078"/>
                  </a:cubicBezTo>
                  <a:cubicBezTo>
                    <a:pt x="2756" y="2075"/>
                    <a:pt x="2744" y="2075"/>
                    <a:pt x="2741" y="2072"/>
                  </a:cubicBezTo>
                  <a:cubicBezTo>
                    <a:pt x="2739" y="2067"/>
                    <a:pt x="2741" y="2061"/>
                    <a:pt x="2744" y="2058"/>
                  </a:cubicBezTo>
                  <a:cubicBezTo>
                    <a:pt x="2756" y="2064"/>
                    <a:pt x="2758" y="2072"/>
                    <a:pt x="2764" y="2081"/>
                  </a:cubicBezTo>
                  <a:cubicBezTo>
                    <a:pt x="2756" y="2084"/>
                    <a:pt x="2761" y="2089"/>
                    <a:pt x="2750" y="2086"/>
                  </a:cubicBezTo>
                  <a:close/>
                  <a:moveTo>
                    <a:pt x="2772" y="1917"/>
                  </a:moveTo>
                  <a:cubicBezTo>
                    <a:pt x="2778" y="1917"/>
                    <a:pt x="2778" y="1920"/>
                    <a:pt x="2781" y="1923"/>
                  </a:cubicBezTo>
                  <a:cubicBezTo>
                    <a:pt x="2781" y="1926"/>
                    <a:pt x="2770" y="1920"/>
                    <a:pt x="2772" y="1917"/>
                  </a:cubicBezTo>
                  <a:close/>
                  <a:moveTo>
                    <a:pt x="2787" y="2027"/>
                  </a:moveTo>
                  <a:cubicBezTo>
                    <a:pt x="2784" y="2027"/>
                    <a:pt x="2781" y="2027"/>
                    <a:pt x="2778" y="2024"/>
                  </a:cubicBezTo>
                  <a:cubicBezTo>
                    <a:pt x="2775" y="2021"/>
                    <a:pt x="2778" y="2021"/>
                    <a:pt x="2781" y="2019"/>
                  </a:cubicBezTo>
                  <a:cubicBezTo>
                    <a:pt x="2784" y="2019"/>
                    <a:pt x="2787" y="2019"/>
                    <a:pt x="2789" y="2021"/>
                  </a:cubicBezTo>
                  <a:cubicBezTo>
                    <a:pt x="2790" y="2023"/>
                    <a:pt x="2791" y="2024"/>
                    <a:pt x="2791" y="2024"/>
                  </a:cubicBezTo>
                  <a:cubicBezTo>
                    <a:pt x="2795" y="2025"/>
                    <a:pt x="2809" y="2030"/>
                    <a:pt x="2806" y="2036"/>
                  </a:cubicBezTo>
                  <a:cubicBezTo>
                    <a:pt x="2801" y="2038"/>
                    <a:pt x="2789" y="2034"/>
                    <a:pt x="2789" y="2026"/>
                  </a:cubicBezTo>
                  <a:cubicBezTo>
                    <a:pt x="2788" y="2027"/>
                    <a:pt x="2787" y="2027"/>
                    <a:pt x="2787" y="2027"/>
                  </a:cubicBezTo>
                  <a:close/>
                  <a:moveTo>
                    <a:pt x="2784" y="1948"/>
                  </a:moveTo>
                  <a:cubicBezTo>
                    <a:pt x="2787" y="1948"/>
                    <a:pt x="2789" y="1954"/>
                    <a:pt x="2787" y="1951"/>
                  </a:cubicBezTo>
                  <a:cubicBezTo>
                    <a:pt x="2787" y="1951"/>
                    <a:pt x="2781" y="1948"/>
                    <a:pt x="2784" y="1948"/>
                  </a:cubicBezTo>
                  <a:close/>
                  <a:moveTo>
                    <a:pt x="2775" y="1754"/>
                  </a:moveTo>
                  <a:cubicBezTo>
                    <a:pt x="2775" y="1751"/>
                    <a:pt x="2775" y="1748"/>
                    <a:pt x="2778" y="1748"/>
                  </a:cubicBezTo>
                  <a:cubicBezTo>
                    <a:pt x="2784" y="1748"/>
                    <a:pt x="2787" y="1748"/>
                    <a:pt x="2789" y="1751"/>
                  </a:cubicBezTo>
                  <a:cubicBezTo>
                    <a:pt x="2789" y="1759"/>
                    <a:pt x="2778" y="1759"/>
                    <a:pt x="2775" y="1754"/>
                  </a:cubicBezTo>
                  <a:close/>
                  <a:moveTo>
                    <a:pt x="2787" y="1615"/>
                  </a:moveTo>
                  <a:cubicBezTo>
                    <a:pt x="2792" y="1610"/>
                    <a:pt x="2789" y="1624"/>
                    <a:pt x="2787" y="1615"/>
                  </a:cubicBezTo>
                  <a:close/>
                  <a:moveTo>
                    <a:pt x="2832" y="1928"/>
                  </a:moveTo>
                  <a:cubicBezTo>
                    <a:pt x="2832" y="1931"/>
                    <a:pt x="2829" y="1931"/>
                    <a:pt x="2829" y="1931"/>
                  </a:cubicBezTo>
                  <a:cubicBezTo>
                    <a:pt x="2826" y="1931"/>
                    <a:pt x="2826" y="1931"/>
                    <a:pt x="2823" y="1928"/>
                  </a:cubicBezTo>
                  <a:cubicBezTo>
                    <a:pt x="2823" y="1923"/>
                    <a:pt x="2829" y="1926"/>
                    <a:pt x="2832" y="1928"/>
                  </a:cubicBezTo>
                  <a:close/>
                  <a:moveTo>
                    <a:pt x="2829" y="1903"/>
                  </a:moveTo>
                  <a:cubicBezTo>
                    <a:pt x="2832" y="1906"/>
                    <a:pt x="2832" y="1909"/>
                    <a:pt x="2832" y="1911"/>
                  </a:cubicBezTo>
                  <a:cubicBezTo>
                    <a:pt x="2829" y="1909"/>
                    <a:pt x="2829" y="1906"/>
                    <a:pt x="2829" y="1903"/>
                  </a:cubicBezTo>
                  <a:close/>
                  <a:moveTo>
                    <a:pt x="2809" y="1923"/>
                  </a:moveTo>
                  <a:cubicBezTo>
                    <a:pt x="2806" y="1920"/>
                    <a:pt x="2804" y="1920"/>
                    <a:pt x="2801" y="1917"/>
                  </a:cubicBezTo>
                  <a:cubicBezTo>
                    <a:pt x="2801" y="1909"/>
                    <a:pt x="2812" y="1911"/>
                    <a:pt x="2818" y="1906"/>
                  </a:cubicBezTo>
                  <a:cubicBezTo>
                    <a:pt x="2823" y="1906"/>
                    <a:pt x="2823" y="1911"/>
                    <a:pt x="2826" y="1911"/>
                  </a:cubicBezTo>
                  <a:cubicBezTo>
                    <a:pt x="2823" y="1917"/>
                    <a:pt x="2815" y="1920"/>
                    <a:pt x="2809" y="1923"/>
                  </a:cubicBezTo>
                  <a:close/>
                  <a:moveTo>
                    <a:pt x="2795" y="1931"/>
                  </a:moveTo>
                  <a:cubicBezTo>
                    <a:pt x="2801" y="1928"/>
                    <a:pt x="2809" y="1928"/>
                    <a:pt x="2815" y="1931"/>
                  </a:cubicBezTo>
                  <a:cubicBezTo>
                    <a:pt x="2815" y="1934"/>
                    <a:pt x="2809" y="1937"/>
                    <a:pt x="2806" y="1937"/>
                  </a:cubicBezTo>
                  <a:cubicBezTo>
                    <a:pt x="2798" y="1937"/>
                    <a:pt x="2801" y="1931"/>
                    <a:pt x="2795" y="1931"/>
                  </a:cubicBezTo>
                  <a:close/>
                  <a:moveTo>
                    <a:pt x="2806" y="1988"/>
                  </a:moveTo>
                  <a:cubicBezTo>
                    <a:pt x="2806" y="1990"/>
                    <a:pt x="2798" y="1990"/>
                    <a:pt x="2795" y="1988"/>
                  </a:cubicBezTo>
                  <a:cubicBezTo>
                    <a:pt x="2795" y="1982"/>
                    <a:pt x="2804" y="1985"/>
                    <a:pt x="2806" y="1988"/>
                  </a:cubicBezTo>
                  <a:close/>
                  <a:moveTo>
                    <a:pt x="2795" y="1824"/>
                  </a:moveTo>
                  <a:cubicBezTo>
                    <a:pt x="2795" y="1818"/>
                    <a:pt x="2806" y="1827"/>
                    <a:pt x="2795" y="1824"/>
                  </a:cubicBezTo>
                  <a:close/>
                  <a:moveTo>
                    <a:pt x="2812" y="1954"/>
                  </a:moveTo>
                  <a:cubicBezTo>
                    <a:pt x="2815" y="1954"/>
                    <a:pt x="2809" y="1957"/>
                    <a:pt x="2806" y="1957"/>
                  </a:cubicBezTo>
                  <a:cubicBezTo>
                    <a:pt x="2804" y="1957"/>
                    <a:pt x="2812" y="1954"/>
                    <a:pt x="2812" y="1954"/>
                  </a:cubicBezTo>
                  <a:close/>
                  <a:moveTo>
                    <a:pt x="2804" y="2041"/>
                  </a:moveTo>
                  <a:cubicBezTo>
                    <a:pt x="2806" y="2041"/>
                    <a:pt x="2812" y="2047"/>
                    <a:pt x="2809" y="2047"/>
                  </a:cubicBezTo>
                  <a:cubicBezTo>
                    <a:pt x="2804" y="2044"/>
                    <a:pt x="2801" y="2041"/>
                    <a:pt x="2804" y="2041"/>
                  </a:cubicBezTo>
                  <a:close/>
                  <a:moveTo>
                    <a:pt x="2806" y="2027"/>
                  </a:moveTo>
                  <a:cubicBezTo>
                    <a:pt x="2804" y="2024"/>
                    <a:pt x="2806" y="2021"/>
                    <a:pt x="2809" y="2019"/>
                  </a:cubicBezTo>
                  <a:lnTo>
                    <a:pt x="2820" y="2019"/>
                  </a:lnTo>
                  <a:cubicBezTo>
                    <a:pt x="2815" y="2024"/>
                    <a:pt x="2815" y="2033"/>
                    <a:pt x="2806" y="2027"/>
                  </a:cubicBezTo>
                  <a:close/>
                  <a:moveTo>
                    <a:pt x="2829" y="1957"/>
                  </a:moveTo>
                  <a:cubicBezTo>
                    <a:pt x="2823" y="1957"/>
                    <a:pt x="2820" y="1951"/>
                    <a:pt x="2823" y="1948"/>
                  </a:cubicBezTo>
                  <a:cubicBezTo>
                    <a:pt x="2820" y="1948"/>
                    <a:pt x="2820" y="1951"/>
                    <a:pt x="2815" y="1948"/>
                  </a:cubicBezTo>
                  <a:cubicBezTo>
                    <a:pt x="2812" y="1945"/>
                    <a:pt x="2815" y="1937"/>
                    <a:pt x="2820" y="1940"/>
                  </a:cubicBezTo>
                  <a:cubicBezTo>
                    <a:pt x="2826" y="1943"/>
                    <a:pt x="2823" y="1951"/>
                    <a:pt x="2832" y="1951"/>
                  </a:cubicBezTo>
                  <a:cubicBezTo>
                    <a:pt x="2832" y="1951"/>
                    <a:pt x="2832" y="1954"/>
                    <a:pt x="2829" y="1957"/>
                  </a:cubicBezTo>
                  <a:close/>
                  <a:moveTo>
                    <a:pt x="2843" y="1945"/>
                  </a:moveTo>
                  <a:cubicBezTo>
                    <a:pt x="2840" y="1945"/>
                    <a:pt x="2840" y="1943"/>
                    <a:pt x="2837" y="1943"/>
                  </a:cubicBezTo>
                  <a:lnTo>
                    <a:pt x="2840" y="1940"/>
                  </a:lnTo>
                  <a:cubicBezTo>
                    <a:pt x="2843" y="1940"/>
                    <a:pt x="2843" y="1940"/>
                    <a:pt x="2845" y="1942"/>
                  </a:cubicBezTo>
                  <a:cubicBezTo>
                    <a:pt x="2845" y="1943"/>
                    <a:pt x="2844" y="1944"/>
                    <a:pt x="2843" y="1945"/>
                  </a:cubicBezTo>
                  <a:close/>
                  <a:moveTo>
                    <a:pt x="2846" y="1943"/>
                  </a:moveTo>
                  <a:cubicBezTo>
                    <a:pt x="2846" y="1941"/>
                    <a:pt x="2846" y="1941"/>
                    <a:pt x="2845" y="1942"/>
                  </a:cubicBezTo>
                  <a:cubicBezTo>
                    <a:pt x="2846" y="1942"/>
                    <a:pt x="2846" y="1942"/>
                    <a:pt x="2846" y="1943"/>
                  </a:cubicBezTo>
                  <a:close/>
                  <a:moveTo>
                    <a:pt x="2820" y="1866"/>
                  </a:moveTo>
                  <a:lnTo>
                    <a:pt x="2823" y="1864"/>
                  </a:lnTo>
                  <a:lnTo>
                    <a:pt x="2826" y="1864"/>
                  </a:lnTo>
                  <a:lnTo>
                    <a:pt x="2826" y="1861"/>
                  </a:lnTo>
                  <a:cubicBezTo>
                    <a:pt x="2843" y="1864"/>
                    <a:pt x="2851" y="1872"/>
                    <a:pt x="2851" y="1878"/>
                  </a:cubicBezTo>
                  <a:cubicBezTo>
                    <a:pt x="2849" y="1897"/>
                    <a:pt x="2806" y="1878"/>
                    <a:pt x="2820" y="1866"/>
                  </a:cubicBezTo>
                  <a:close/>
                  <a:moveTo>
                    <a:pt x="2860" y="1816"/>
                  </a:moveTo>
                  <a:cubicBezTo>
                    <a:pt x="2857" y="1816"/>
                    <a:pt x="2863" y="1813"/>
                    <a:pt x="2860" y="1816"/>
                  </a:cubicBezTo>
                  <a:close/>
                  <a:moveTo>
                    <a:pt x="2854" y="1720"/>
                  </a:moveTo>
                  <a:cubicBezTo>
                    <a:pt x="2854" y="1717"/>
                    <a:pt x="2854" y="1714"/>
                    <a:pt x="2857" y="1711"/>
                  </a:cubicBezTo>
                  <a:cubicBezTo>
                    <a:pt x="2858" y="1711"/>
                    <a:pt x="2859" y="1711"/>
                    <a:pt x="2859" y="1712"/>
                  </a:cubicBezTo>
                  <a:cubicBezTo>
                    <a:pt x="2861" y="1713"/>
                    <a:pt x="2864" y="1714"/>
                    <a:pt x="2866" y="1714"/>
                  </a:cubicBezTo>
                  <a:cubicBezTo>
                    <a:pt x="2866" y="1720"/>
                    <a:pt x="2860" y="1722"/>
                    <a:pt x="2854" y="1720"/>
                  </a:cubicBezTo>
                  <a:close/>
                  <a:moveTo>
                    <a:pt x="2863" y="1652"/>
                  </a:moveTo>
                  <a:lnTo>
                    <a:pt x="2863" y="1643"/>
                  </a:lnTo>
                  <a:cubicBezTo>
                    <a:pt x="2866" y="1643"/>
                    <a:pt x="2868" y="1643"/>
                    <a:pt x="2871" y="1646"/>
                  </a:cubicBezTo>
                  <a:cubicBezTo>
                    <a:pt x="2871" y="1649"/>
                    <a:pt x="2868" y="1655"/>
                    <a:pt x="2863" y="1652"/>
                  </a:cubicBezTo>
                  <a:close/>
                  <a:moveTo>
                    <a:pt x="2868" y="1553"/>
                  </a:moveTo>
                  <a:cubicBezTo>
                    <a:pt x="2874" y="1550"/>
                    <a:pt x="2863" y="1562"/>
                    <a:pt x="2868" y="1553"/>
                  </a:cubicBezTo>
                  <a:close/>
                  <a:moveTo>
                    <a:pt x="2880" y="1759"/>
                  </a:moveTo>
                  <a:cubicBezTo>
                    <a:pt x="2874" y="1754"/>
                    <a:pt x="2871" y="1748"/>
                    <a:pt x="2874" y="1739"/>
                  </a:cubicBezTo>
                  <a:cubicBezTo>
                    <a:pt x="2883" y="1742"/>
                    <a:pt x="2883" y="1754"/>
                    <a:pt x="2880" y="1759"/>
                  </a:cubicBezTo>
                  <a:close/>
                  <a:moveTo>
                    <a:pt x="2888" y="1334"/>
                  </a:moveTo>
                  <a:cubicBezTo>
                    <a:pt x="2899" y="1345"/>
                    <a:pt x="2874" y="1360"/>
                    <a:pt x="2888" y="1334"/>
                  </a:cubicBezTo>
                  <a:close/>
                  <a:moveTo>
                    <a:pt x="2885" y="1455"/>
                  </a:moveTo>
                  <a:cubicBezTo>
                    <a:pt x="2868" y="1439"/>
                    <a:pt x="2908" y="1444"/>
                    <a:pt x="2885" y="1455"/>
                  </a:cubicBezTo>
                  <a:close/>
                  <a:moveTo>
                    <a:pt x="2885" y="1615"/>
                  </a:moveTo>
                  <a:cubicBezTo>
                    <a:pt x="2888" y="1615"/>
                    <a:pt x="2891" y="1621"/>
                    <a:pt x="2888" y="1618"/>
                  </a:cubicBezTo>
                  <a:cubicBezTo>
                    <a:pt x="2885" y="1615"/>
                    <a:pt x="2883" y="1615"/>
                    <a:pt x="2885" y="1615"/>
                  </a:cubicBezTo>
                  <a:close/>
                  <a:moveTo>
                    <a:pt x="2891" y="1624"/>
                  </a:moveTo>
                  <a:cubicBezTo>
                    <a:pt x="2891" y="1621"/>
                    <a:pt x="2897" y="1621"/>
                    <a:pt x="2897" y="1621"/>
                  </a:cubicBezTo>
                  <a:cubicBezTo>
                    <a:pt x="2897" y="1621"/>
                    <a:pt x="2897" y="1624"/>
                    <a:pt x="2899" y="1624"/>
                  </a:cubicBezTo>
                  <a:lnTo>
                    <a:pt x="2891" y="1624"/>
                  </a:lnTo>
                  <a:close/>
                  <a:moveTo>
                    <a:pt x="2902" y="1612"/>
                  </a:moveTo>
                  <a:cubicBezTo>
                    <a:pt x="2894" y="1612"/>
                    <a:pt x="2891" y="1607"/>
                    <a:pt x="2883" y="1604"/>
                  </a:cubicBezTo>
                  <a:cubicBezTo>
                    <a:pt x="2877" y="1587"/>
                    <a:pt x="2916" y="1601"/>
                    <a:pt x="2902" y="1612"/>
                  </a:cubicBezTo>
                  <a:close/>
                  <a:moveTo>
                    <a:pt x="2891" y="1528"/>
                  </a:moveTo>
                  <a:cubicBezTo>
                    <a:pt x="2894" y="1522"/>
                    <a:pt x="2905" y="1525"/>
                    <a:pt x="2905" y="1519"/>
                  </a:cubicBezTo>
                  <a:cubicBezTo>
                    <a:pt x="2919" y="1528"/>
                    <a:pt x="2899" y="1536"/>
                    <a:pt x="2891" y="1528"/>
                  </a:cubicBezTo>
                  <a:close/>
                  <a:moveTo>
                    <a:pt x="2914" y="1604"/>
                  </a:moveTo>
                  <a:cubicBezTo>
                    <a:pt x="2930" y="1621"/>
                    <a:pt x="2894" y="1607"/>
                    <a:pt x="2914" y="1604"/>
                  </a:cubicBezTo>
                  <a:close/>
                  <a:moveTo>
                    <a:pt x="2911" y="1463"/>
                  </a:moveTo>
                  <a:cubicBezTo>
                    <a:pt x="2899" y="1447"/>
                    <a:pt x="2936" y="1447"/>
                    <a:pt x="2911" y="1463"/>
                  </a:cubicBezTo>
                  <a:close/>
                  <a:moveTo>
                    <a:pt x="2916" y="1416"/>
                  </a:moveTo>
                  <a:cubicBezTo>
                    <a:pt x="2914" y="1430"/>
                    <a:pt x="2902" y="1424"/>
                    <a:pt x="2902" y="1441"/>
                  </a:cubicBezTo>
                  <a:cubicBezTo>
                    <a:pt x="2888" y="1436"/>
                    <a:pt x="2899" y="1416"/>
                    <a:pt x="2905" y="1402"/>
                  </a:cubicBezTo>
                  <a:cubicBezTo>
                    <a:pt x="2908" y="1408"/>
                    <a:pt x="2905" y="1416"/>
                    <a:pt x="2916" y="1416"/>
                  </a:cubicBezTo>
                  <a:close/>
                  <a:moveTo>
                    <a:pt x="2899" y="1317"/>
                  </a:moveTo>
                  <a:cubicBezTo>
                    <a:pt x="2894" y="1309"/>
                    <a:pt x="2896" y="1306"/>
                    <a:pt x="2900" y="1305"/>
                  </a:cubicBezTo>
                  <a:cubicBezTo>
                    <a:pt x="2897" y="1300"/>
                    <a:pt x="2900" y="1291"/>
                    <a:pt x="2894" y="1289"/>
                  </a:cubicBezTo>
                  <a:cubicBezTo>
                    <a:pt x="2902" y="1276"/>
                    <a:pt x="2913" y="1296"/>
                    <a:pt x="2906" y="1307"/>
                  </a:cubicBezTo>
                  <a:cubicBezTo>
                    <a:pt x="2908" y="1310"/>
                    <a:pt x="2907" y="1313"/>
                    <a:pt x="2899" y="1317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" name="Freeform 5"/>
            <p:cNvSpPr>
              <a:spLocks noChangeArrowheads="1"/>
            </p:cNvSpPr>
            <p:nvPr/>
          </p:nvSpPr>
          <p:spPr bwMode="auto">
            <a:xfrm>
              <a:off x="3633788" y="2085975"/>
              <a:ext cx="987425" cy="990600"/>
            </a:xfrm>
            <a:custGeom>
              <a:avLst/>
              <a:gdLst>
                <a:gd name="T0" fmla="*/ 2705 w 2743"/>
                <a:gd name="T1" fmla="*/ 1063 h 2753"/>
                <a:gd name="T2" fmla="*/ 2609 w 2743"/>
                <a:gd name="T3" fmla="*/ 784 h 2753"/>
                <a:gd name="T4" fmla="*/ 2457 w 2743"/>
                <a:gd name="T5" fmla="*/ 533 h 2753"/>
                <a:gd name="T6" fmla="*/ 2245 w 2743"/>
                <a:gd name="T7" fmla="*/ 310 h 2753"/>
                <a:gd name="T8" fmla="*/ 1974 w 2743"/>
                <a:gd name="T9" fmla="*/ 141 h 2753"/>
                <a:gd name="T10" fmla="*/ 1689 w 2743"/>
                <a:gd name="T11" fmla="*/ 36 h 2753"/>
                <a:gd name="T12" fmla="*/ 1393 w 2743"/>
                <a:gd name="T13" fmla="*/ 0 h 2753"/>
                <a:gd name="T14" fmla="*/ 1100 w 2743"/>
                <a:gd name="T15" fmla="*/ 25 h 2753"/>
                <a:gd name="T16" fmla="*/ 818 w 2743"/>
                <a:gd name="T17" fmla="*/ 115 h 2753"/>
                <a:gd name="T18" fmla="*/ 564 w 2743"/>
                <a:gd name="T19" fmla="*/ 262 h 2753"/>
                <a:gd name="T20" fmla="*/ 339 w 2743"/>
                <a:gd name="T21" fmla="*/ 468 h 2753"/>
                <a:gd name="T22" fmla="*/ 161 w 2743"/>
                <a:gd name="T23" fmla="*/ 727 h 2753"/>
                <a:gd name="T24" fmla="*/ 45 w 2743"/>
                <a:gd name="T25" fmla="*/ 1015 h 2753"/>
                <a:gd name="T26" fmla="*/ 0 w 2743"/>
                <a:gd name="T27" fmla="*/ 1314 h 2753"/>
                <a:gd name="T28" fmla="*/ 25 w 2743"/>
                <a:gd name="T29" fmla="*/ 1604 h 2753"/>
                <a:gd name="T30" fmla="*/ 104 w 2743"/>
                <a:gd name="T31" fmla="*/ 1889 h 2753"/>
                <a:gd name="T32" fmla="*/ 248 w 2743"/>
                <a:gd name="T33" fmla="*/ 2154 h 2753"/>
                <a:gd name="T34" fmla="*/ 449 w 2743"/>
                <a:gd name="T35" fmla="*/ 2385 h 2753"/>
                <a:gd name="T36" fmla="*/ 708 w 2743"/>
                <a:gd name="T37" fmla="*/ 2571 h 2753"/>
                <a:gd name="T38" fmla="*/ 987 w 2743"/>
                <a:gd name="T39" fmla="*/ 2693 h 2753"/>
                <a:gd name="T40" fmla="*/ 1284 w 2743"/>
                <a:gd name="T41" fmla="*/ 2749 h 2753"/>
                <a:gd name="T42" fmla="*/ 1585 w 2743"/>
                <a:gd name="T43" fmla="*/ 2735 h 2753"/>
                <a:gd name="T44" fmla="*/ 1867 w 2743"/>
                <a:gd name="T45" fmla="*/ 2659 h 2753"/>
                <a:gd name="T46" fmla="*/ 2132 w 2743"/>
                <a:gd name="T47" fmla="*/ 2523 h 2753"/>
                <a:gd name="T48" fmla="*/ 2366 w 2743"/>
                <a:gd name="T49" fmla="*/ 2329 h 2753"/>
                <a:gd name="T50" fmla="*/ 2555 w 2743"/>
                <a:gd name="T51" fmla="*/ 2078 h 2753"/>
                <a:gd name="T52" fmla="*/ 2679 w 2743"/>
                <a:gd name="T53" fmla="*/ 1796 h 2753"/>
                <a:gd name="T54" fmla="*/ 2736 w 2743"/>
                <a:gd name="T55" fmla="*/ 1499 h 2753"/>
                <a:gd name="T56" fmla="*/ 2694 w 2743"/>
                <a:gd name="T57" fmla="*/ 1482 h 2753"/>
                <a:gd name="T58" fmla="*/ 2637 w 2743"/>
                <a:gd name="T59" fmla="*/ 1762 h 2753"/>
                <a:gd name="T60" fmla="*/ 2516 w 2743"/>
                <a:gd name="T61" fmla="*/ 2038 h 2753"/>
                <a:gd name="T62" fmla="*/ 2332 w 2743"/>
                <a:gd name="T63" fmla="*/ 2281 h 2753"/>
                <a:gd name="T64" fmla="*/ 2104 w 2743"/>
                <a:gd name="T65" fmla="*/ 2470 h 2753"/>
                <a:gd name="T66" fmla="*/ 1847 w 2743"/>
                <a:gd name="T67" fmla="*/ 2605 h 2753"/>
                <a:gd name="T68" fmla="*/ 1571 w 2743"/>
                <a:gd name="T69" fmla="*/ 2687 h 2753"/>
                <a:gd name="T70" fmla="*/ 1292 w 2743"/>
                <a:gd name="T71" fmla="*/ 2698 h 2753"/>
                <a:gd name="T72" fmla="*/ 1013 w 2743"/>
                <a:gd name="T73" fmla="*/ 2645 h 2753"/>
                <a:gd name="T74" fmla="*/ 736 w 2743"/>
                <a:gd name="T75" fmla="*/ 2529 h 2753"/>
                <a:gd name="T76" fmla="*/ 485 w 2743"/>
                <a:gd name="T77" fmla="*/ 2354 h 2753"/>
                <a:gd name="T78" fmla="*/ 291 w 2743"/>
                <a:gd name="T79" fmla="*/ 2128 h 2753"/>
                <a:gd name="T80" fmla="*/ 152 w 2743"/>
                <a:gd name="T81" fmla="*/ 1875 h 2753"/>
                <a:gd name="T82" fmla="*/ 56 w 2743"/>
                <a:gd name="T83" fmla="*/ 1598 h 2753"/>
                <a:gd name="T84" fmla="*/ 37 w 2743"/>
                <a:gd name="T85" fmla="*/ 1314 h 2753"/>
                <a:gd name="T86" fmla="*/ 79 w 2743"/>
                <a:gd name="T87" fmla="*/ 1026 h 2753"/>
                <a:gd name="T88" fmla="*/ 189 w 2743"/>
                <a:gd name="T89" fmla="*/ 753 h 2753"/>
                <a:gd name="T90" fmla="*/ 361 w 2743"/>
                <a:gd name="T91" fmla="*/ 502 h 2753"/>
                <a:gd name="T92" fmla="*/ 578 w 2743"/>
                <a:gd name="T93" fmla="*/ 296 h 2753"/>
                <a:gd name="T94" fmla="*/ 832 w 2743"/>
                <a:gd name="T95" fmla="*/ 155 h 2753"/>
                <a:gd name="T96" fmla="*/ 1106 w 2743"/>
                <a:gd name="T97" fmla="*/ 62 h 2753"/>
                <a:gd name="T98" fmla="*/ 1390 w 2743"/>
                <a:gd name="T99" fmla="*/ 36 h 2753"/>
                <a:gd name="T100" fmla="*/ 1675 w 2743"/>
                <a:gd name="T101" fmla="*/ 67 h 2753"/>
                <a:gd name="T102" fmla="*/ 1954 w 2743"/>
                <a:gd name="T103" fmla="*/ 166 h 2753"/>
                <a:gd name="T104" fmla="*/ 2217 w 2743"/>
                <a:gd name="T105" fmla="*/ 333 h 2753"/>
                <a:gd name="T106" fmla="*/ 2426 w 2743"/>
                <a:gd name="T107" fmla="*/ 550 h 2753"/>
                <a:gd name="T108" fmla="*/ 2572 w 2743"/>
                <a:gd name="T109" fmla="*/ 801 h 2753"/>
                <a:gd name="T110" fmla="*/ 2668 w 2743"/>
                <a:gd name="T111" fmla="*/ 1072 h 2753"/>
                <a:gd name="T112" fmla="*/ 2699 w 2743"/>
                <a:gd name="T113" fmla="*/ 1351 h 2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43" h="2753">
                  <a:moveTo>
                    <a:pt x="2739" y="1325"/>
                  </a:moveTo>
                  <a:cubicBezTo>
                    <a:pt x="2739" y="1314"/>
                    <a:pt x="2736" y="1303"/>
                    <a:pt x="2736" y="1292"/>
                  </a:cubicBezTo>
                  <a:cubicBezTo>
                    <a:pt x="2736" y="1280"/>
                    <a:pt x="2736" y="1269"/>
                    <a:pt x="2736" y="1258"/>
                  </a:cubicBezTo>
                  <a:cubicBezTo>
                    <a:pt x="2736" y="1246"/>
                    <a:pt x="2733" y="1235"/>
                    <a:pt x="2733" y="1224"/>
                  </a:cubicBezTo>
                  <a:cubicBezTo>
                    <a:pt x="2733" y="1213"/>
                    <a:pt x="2727" y="1201"/>
                    <a:pt x="2727" y="1193"/>
                  </a:cubicBezTo>
                  <a:cubicBezTo>
                    <a:pt x="2727" y="1184"/>
                    <a:pt x="2725" y="1170"/>
                    <a:pt x="2722" y="1159"/>
                  </a:cubicBezTo>
                  <a:cubicBezTo>
                    <a:pt x="2719" y="1148"/>
                    <a:pt x="2719" y="1136"/>
                    <a:pt x="2716" y="1125"/>
                  </a:cubicBezTo>
                  <a:cubicBezTo>
                    <a:pt x="2713" y="1114"/>
                    <a:pt x="2711" y="1102"/>
                    <a:pt x="2711" y="1094"/>
                  </a:cubicBezTo>
                  <a:cubicBezTo>
                    <a:pt x="2711" y="1085"/>
                    <a:pt x="2708" y="1071"/>
                    <a:pt x="2705" y="1063"/>
                  </a:cubicBezTo>
                  <a:cubicBezTo>
                    <a:pt x="2702" y="1054"/>
                    <a:pt x="2699" y="1040"/>
                    <a:pt x="2696" y="1032"/>
                  </a:cubicBezTo>
                  <a:cubicBezTo>
                    <a:pt x="2694" y="1023"/>
                    <a:pt x="2694" y="1009"/>
                    <a:pt x="2691" y="1001"/>
                  </a:cubicBezTo>
                  <a:cubicBezTo>
                    <a:pt x="2688" y="992"/>
                    <a:pt x="2682" y="981"/>
                    <a:pt x="2679" y="970"/>
                  </a:cubicBezTo>
                  <a:cubicBezTo>
                    <a:pt x="2677" y="959"/>
                    <a:pt x="2677" y="947"/>
                    <a:pt x="2671" y="939"/>
                  </a:cubicBezTo>
                  <a:cubicBezTo>
                    <a:pt x="2665" y="931"/>
                    <a:pt x="2663" y="919"/>
                    <a:pt x="2657" y="908"/>
                  </a:cubicBezTo>
                  <a:cubicBezTo>
                    <a:pt x="2651" y="897"/>
                    <a:pt x="2651" y="885"/>
                    <a:pt x="2648" y="877"/>
                  </a:cubicBezTo>
                  <a:cubicBezTo>
                    <a:pt x="2646" y="868"/>
                    <a:pt x="2640" y="857"/>
                    <a:pt x="2634" y="846"/>
                  </a:cubicBezTo>
                  <a:cubicBezTo>
                    <a:pt x="2629" y="835"/>
                    <a:pt x="2626" y="826"/>
                    <a:pt x="2623" y="815"/>
                  </a:cubicBezTo>
                  <a:cubicBezTo>
                    <a:pt x="2620" y="804"/>
                    <a:pt x="2612" y="795"/>
                    <a:pt x="2609" y="784"/>
                  </a:cubicBezTo>
                  <a:cubicBezTo>
                    <a:pt x="2606" y="773"/>
                    <a:pt x="2598" y="764"/>
                    <a:pt x="2595" y="756"/>
                  </a:cubicBezTo>
                  <a:cubicBezTo>
                    <a:pt x="2592" y="747"/>
                    <a:pt x="2584" y="735"/>
                    <a:pt x="2581" y="727"/>
                  </a:cubicBezTo>
                  <a:cubicBezTo>
                    <a:pt x="2578" y="718"/>
                    <a:pt x="2570" y="707"/>
                    <a:pt x="2564" y="699"/>
                  </a:cubicBezTo>
                  <a:cubicBezTo>
                    <a:pt x="2559" y="690"/>
                    <a:pt x="2553" y="679"/>
                    <a:pt x="2547" y="671"/>
                  </a:cubicBezTo>
                  <a:cubicBezTo>
                    <a:pt x="2541" y="662"/>
                    <a:pt x="2536" y="651"/>
                    <a:pt x="2530" y="643"/>
                  </a:cubicBezTo>
                  <a:cubicBezTo>
                    <a:pt x="2524" y="634"/>
                    <a:pt x="2519" y="623"/>
                    <a:pt x="2513" y="615"/>
                  </a:cubicBezTo>
                  <a:cubicBezTo>
                    <a:pt x="2507" y="606"/>
                    <a:pt x="2499" y="597"/>
                    <a:pt x="2493" y="586"/>
                  </a:cubicBezTo>
                  <a:cubicBezTo>
                    <a:pt x="2488" y="574"/>
                    <a:pt x="2480" y="569"/>
                    <a:pt x="2474" y="561"/>
                  </a:cubicBezTo>
                  <a:cubicBezTo>
                    <a:pt x="2469" y="553"/>
                    <a:pt x="2463" y="541"/>
                    <a:pt x="2457" y="533"/>
                  </a:cubicBezTo>
                  <a:cubicBezTo>
                    <a:pt x="2452" y="524"/>
                    <a:pt x="2440" y="515"/>
                    <a:pt x="2434" y="507"/>
                  </a:cubicBezTo>
                  <a:cubicBezTo>
                    <a:pt x="2428" y="498"/>
                    <a:pt x="2423" y="487"/>
                    <a:pt x="2414" y="479"/>
                  </a:cubicBezTo>
                  <a:cubicBezTo>
                    <a:pt x="2406" y="470"/>
                    <a:pt x="2401" y="462"/>
                    <a:pt x="2392" y="454"/>
                  </a:cubicBezTo>
                  <a:cubicBezTo>
                    <a:pt x="2384" y="445"/>
                    <a:pt x="2375" y="439"/>
                    <a:pt x="2366" y="431"/>
                  </a:cubicBezTo>
                  <a:cubicBezTo>
                    <a:pt x="2358" y="422"/>
                    <a:pt x="2353" y="414"/>
                    <a:pt x="2344" y="406"/>
                  </a:cubicBezTo>
                  <a:cubicBezTo>
                    <a:pt x="2336" y="397"/>
                    <a:pt x="2330" y="388"/>
                    <a:pt x="2321" y="380"/>
                  </a:cubicBezTo>
                  <a:cubicBezTo>
                    <a:pt x="2313" y="371"/>
                    <a:pt x="2305" y="366"/>
                    <a:pt x="2296" y="358"/>
                  </a:cubicBezTo>
                  <a:cubicBezTo>
                    <a:pt x="2288" y="349"/>
                    <a:pt x="2279" y="343"/>
                    <a:pt x="2270" y="335"/>
                  </a:cubicBezTo>
                  <a:cubicBezTo>
                    <a:pt x="2262" y="326"/>
                    <a:pt x="2254" y="318"/>
                    <a:pt x="2245" y="310"/>
                  </a:cubicBezTo>
                  <a:cubicBezTo>
                    <a:pt x="2237" y="302"/>
                    <a:pt x="2229" y="295"/>
                    <a:pt x="2220" y="287"/>
                  </a:cubicBezTo>
                  <a:cubicBezTo>
                    <a:pt x="2212" y="278"/>
                    <a:pt x="2200" y="276"/>
                    <a:pt x="2191" y="268"/>
                  </a:cubicBezTo>
                  <a:cubicBezTo>
                    <a:pt x="2183" y="259"/>
                    <a:pt x="2172" y="253"/>
                    <a:pt x="2163" y="245"/>
                  </a:cubicBezTo>
                  <a:cubicBezTo>
                    <a:pt x="2155" y="236"/>
                    <a:pt x="2144" y="231"/>
                    <a:pt x="2135" y="223"/>
                  </a:cubicBezTo>
                  <a:cubicBezTo>
                    <a:pt x="2127" y="214"/>
                    <a:pt x="2107" y="211"/>
                    <a:pt x="2098" y="206"/>
                  </a:cubicBezTo>
                  <a:cubicBezTo>
                    <a:pt x="2090" y="200"/>
                    <a:pt x="2076" y="197"/>
                    <a:pt x="2067" y="189"/>
                  </a:cubicBezTo>
                  <a:cubicBezTo>
                    <a:pt x="2059" y="180"/>
                    <a:pt x="2047" y="175"/>
                    <a:pt x="2039" y="169"/>
                  </a:cubicBezTo>
                  <a:cubicBezTo>
                    <a:pt x="2031" y="163"/>
                    <a:pt x="2017" y="160"/>
                    <a:pt x="2008" y="155"/>
                  </a:cubicBezTo>
                  <a:cubicBezTo>
                    <a:pt x="2000" y="149"/>
                    <a:pt x="1985" y="144"/>
                    <a:pt x="1974" y="141"/>
                  </a:cubicBezTo>
                  <a:cubicBezTo>
                    <a:pt x="1963" y="138"/>
                    <a:pt x="1954" y="132"/>
                    <a:pt x="1943" y="127"/>
                  </a:cubicBezTo>
                  <a:cubicBezTo>
                    <a:pt x="1932" y="121"/>
                    <a:pt x="1923" y="118"/>
                    <a:pt x="1912" y="113"/>
                  </a:cubicBezTo>
                  <a:cubicBezTo>
                    <a:pt x="1901" y="107"/>
                    <a:pt x="1892" y="100"/>
                    <a:pt x="1881" y="98"/>
                  </a:cubicBezTo>
                  <a:cubicBezTo>
                    <a:pt x="1870" y="95"/>
                    <a:pt x="1861" y="90"/>
                    <a:pt x="1850" y="87"/>
                  </a:cubicBezTo>
                  <a:cubicBezTo>
                    <a:pt x="1839" y="84"/>
                    <a:pt x="1830" y="79"/>
                    <a:pt x="1819" y="76"/>
                  </a:cubicBezTo>
                  <a:cubicBezTo>
                    <a:pt x="1808" y="73"/>
                    <a:pt x="1796" y="67"/>
                    <a:pt x="1785" y="65"/>
                  </a:cubicBezTo>
                  <a:cubicBezTo>
                    <a:pt x="1774" y="62"/>
                    <a:pt x="1765" y="56"/>
                    <a:pt x="1754" y="53"/>
                  </a:cubicBezTo>
                  <a:cubicBezTo>
                    <a:pt x="1743" y="50"/>
                    <a:pt x="1731" y="50"/>
                    <a:pt x="1720" y="48"/>
                  </a:cubicBezTo>
                  <a:cubicBezTo>
                    <a:pt x="1709" y="45"/>
                    <a:pt x="1700" y="36"/>
                    <a:pt x="1689" y="36"/>
                  </a:cubicBezTo>
                  <a:cubicBezTo>
                    <a:pt x="1678" y="36"/>
                    <a:pt x="1667" y="31"/>
                    <a:pt x="1655" y="31"/>
                  </a:cubicBezTo>
                  <a:cubicBezTo>
                    <a:pt x="1644" y="31"/>
                    <a:pt x="1633" y="25"/>
                    <a:pt x="1621" y="22"/>
                  </a:cubicBezTo>
                  <a:cubicBezTo>
                    <a:pt x="1610" y="19"/>
                    <a:pt x="1600" y="21"/>
                    <a:pt x="1588" y="19"/>
                  </a:cubicBezTo>
                  <a:cubicBezTo>
                    <a:pt x="1577" y="16"/>
                    <a:pt x="1566" y="14"/>
                    <a:pt x="1554" y="11"/>
                  </a:cubicBezTo>
                  <a:cubicBezTo>
                    <a:pt x="1543" y="8"/>
                    <a:pt x="1537" y="8"/>
                    <a:pt x="1525" y="8"/>
                  </a:cubicBezTo>
                  <a:cubicBezTo>
                    <a:pt x="1514" y="8"/>
                    <a:pt x="1504" y="5"/>
                    <a:pt x="1492" y="5"/>
                  </a:cubicBezTo>
                  <a:cubicBezTo>
                    <a:pt x="1481" y="5"/>
                    <a:pt x="1470" y="5"/>
                    <a:pt x="1458" y="3"/>
                  </a:cubicBezTo>
                  <a:cubicBezTo>
                    <a:pt x="1447" y="0"/>
                    <a:pt x="1439" y="5"/>
                    <a:pt x="1427" y="5"/>
                  </a:cubicBezTo>
                  <a:cubicBezTo>
                    <a:pt x="1416" y="5"/>
                    <a:pt x="1404" y="0"/>
                    <a:pt x="1393" y="0"/>
                  </a:cubicBezTo>
                  <a:cubicBezTo>
                    <a:pt x="1382" y="0"/>
                    <a:pt x="1370" y="3"/>
                    <a:pt x="1360" y="3"/>
                  </a:cubicBezTo>
                  <a:cubicBezTo>
                    <a:pt x="1349" y="3"/>
                    <a:pt x="1337" y="0"/>
                    <a:pt x="1326" y="0"/>
                  </a:cubicBezTo>
                  <a:cubicBezTo>
                    <a:pt x="1315" y="0"/>
                    <a:pt x="1303" y="3"/>
                    <a:pt x="1292" y="3"/>
                  </a:cubicBezTo>
                  <a:cubicBezTo>
                    <a:pt x="1280" y="3"/>
                    <a:pt x="1269" y="2"/>
                    <a:pt x="1258" y="5"/>
                  </a:cubicBezTo>
                  <a:cubicBezTo>
                    <a:pt x="1246" y="7"/>
                    <a:pt x="1236" y="5"/>
                    <a:pt x="1225" y="5"/>
                  </a:cubicBezTo>
                  <a:cubicBezTo>
                    <a:pt x="1213" y="5"/>
                    <a:pt x="1201" y="11"/>
                    <a:pt x="1193" y="11"/>
                  </a:cubicBezTo>
                  <a:cubicBezTo>
                    <a:pt x="1184" y="11"/>
                    <a:pt x="1171" y="14"/>
                    <a:pt x="1160" y="14"/>
                  </a:cubicBezTo>
                  <a:cubicBezTo>
                    <a:pt x="1148" y="14"/>
                    <a:pt x="1137" y="14"/>
                    <a:pt x="1126" y="17"/>
                  </a:cubicBezTo>
                  <a:cubicBezTo>
                    <a:pt x="1114" y="19"/>
                    <a:pt x="1111" y="22"/>
                    <a:pt x="1100" y="25"/>
                  </a:cubicBezTo>
                  <a:cubicBezTo>
                    <a:pt x="1088" y="28"/>
                    <a:pt x="1080" y="31"/>
                    <a:pt x="1069" y="34"/>
                  </a:cubicBezTo>
                  <a:cubicBezTo>
                    <a:pt x="1057" y="36"/>
                    <a:pt x="1046" y="39"/>
                    <a:pt x="1038" y="42"/>
                  </a:cubicBezTo>
                  <a:cubicBezTo>
                    <a:pt x="1029" y="45"/>
                    <a:pt x="1015" y="45"/>
                    <a:pt x="1007" y="48"/>
                  </a:cubicBezTo>
                  <a:cubicBezTo>
                    <a:pt x="998" y="50"/>
                    <a:pt x="987" y="56"/>
                    <a:pt x="976" y="59"/>
                  </a:cubicBezTo>
                  <a:cubicBezTo>
                    <a:pt x="965" y="62"/>
                    <a:pt x="950" y="64"/>
                    <a:pt x="942" y="67"/>
                  </a:cubicBezTo>
                  <a:cubicBezTo>
                    <a:pt x="933" y="69"/>
                    <a:pt x="919" y="73"/>
                    <a:pt x="911" y="76"/>
                  </a:cubicBezTo>
                  <a:cubicBezTo>
                    <a:pt x="902" y="79"/>
                    <a:pt x="891" y="81"/>
                    <a:pt x="880" y="87"/>
                  </a:cubicBezTo>
                  <a:cubicBezTo>
                    <a:pt x="868" y="93"/>
                    <a:pt x="860" y="98"/>
                    <a:pt x="852" y="104"/>
                  </a:cubicBezTo>
                  <a:cubicBezTo>
                    <a:pt x="843" y="110"/>
                    <a:pt x="829" y="109"/>
                    <a:pt x="818" y="115"/>
                  </a:cubicBezTo>
                  <a:cubicBezTo>
                    <a:pt x="807" y="120"/>
                    <a:pt x="798" y="126"/>
                    <a:pt x="790" y="129"/>
                  </a:cubicBezTo>
                  <a:cubicBezTo>
                    <a:pt x="782" y="131"/>
                    <a:pt x="770" y="141"/>
                    <a:pt x="762" y="144"/>
                  </a:cubicBezTo>
                  <a:cubicBezTo>
                    <a:pt x="753" y="146"/>
                    <a:pt x="739" y="149"/>
                    <a:pt x="731" y="155"/>
                  </a:cubicBezTo>
                  <a:cubicBezTo>
                    <a:pt x="722" y="160"/>
                    <a:pt x="710" y="166"/>
                    <a:pt x="702" y="172"/>
                  </a:cubicBezTo>
                  <a:cubicBezTo>
                    <a:pt x="693" y="177"/>
                    <a:pt x="685" y="185"/>
                    <a:pt x="674" y="191"/>
                  </a:cubicBezTo>
                  <a:cubicBezTo>
                    <a:pt x="662" y="196"/>
                    <a:pt x="654" y="202"/>
                    <a:pt x="646" y="208"/>
                  </a:cubicBezTo>
                  <a:cubicBezTo>
                    <a:pt x="637" y="213"/>
                    <a:pt x="626" y="219"/>
                    <a:pt x="618" y="225"/>
                  </a:cubicBezTo>
                  <a:cubicBezTo>
                    <a:pt x="609" y="230"/>
                    <a:pt x="598" y="236"/>
                    <a:pt x="590" y="242"/>
                  </a:cubicBezTo>
                  <a:cubicBezTo>
                    <a:pt x="581" y="247"/>
                    <a:pt x="572" y="256"/>
                    <a:pt x="564" y="262"/>
                  </a:cubicBezTo>
                  <a:cubicBezTo>
                    <a:pt x="555" y="268"/>
                    <a:pt x="547" y="276"/>
                    <a:pt x="539" y="285"/>
                  </a:cubicBezTo>
                  <a:cubicBezTo>
                    <a:pt x="530" y="293"/>
                    <a:pt x="519" y="295"/>
                    <a:pt x="511" y="304"/>
                  </a:cubicBezTo>
                  <a:cubicBezTo>
                    <a:pt x="502" y="312"/>
                    <a:pt x="490" y="315"/>
                    <a:pt x="482" y="324"/>
                  </a:cubicBezTo>
                  <a:cubicBezTo>
                    <a:pt x="473" y="332"/>
                    <a:pt x="468" y="340"/>
                    <a:pt x="460" y="349"/>
                  </a:cubicBezTo>
                  <a:cubicBezTo>
                    <a:pt x="451" y="357"/>
                    <a:pt x="442" y="364"/>
                    <a:pt x="434" y="372"/>
                  </a:cubicBezTo>
                  <a:cubicBezTo>
                    <a:pt x="425" y="380"/>
                    <a:pt x="420" y="388"/>
                    <a:pt x="412" y="397"/>
                  </a:cubicBezTo>
                  <a:cubicBezTo>
                    <a:pt x="403" y="405"/>
                    <a:pt x="394" y="412"/>
                    <a:pt x="386" y="420"/>
                  </a:cubicBezTo>
                  <a:cubicBezTo>
                    <a:pt x="377" y="428"/>
                    <a:pt x="372" y="436"/>
                    <a:pt x="364" y="445"/>
                  </a:cubicBezTo>
                  <a:cubicBezTo>
                    <a:pt x="355" y="453"/>
                    <a:pt x="344" y="459"/>
                    <a:pt x="339" y="468"/>
                  </a:cubicBezTo>
                  <a:cubicBezTo>
                    <a:pt x="333" y="476"/>
                    <a:pt x="324" y="485"/>
                    <a:pt x="316" y="496"/>
                  </a:cubicBezTo>
                  <a:cubicBezTo>
                    <a:pt x="307" y="507"/>
                    <a:pt x="301" y="515"/>
                    <a:pt x="293" y="524"/>
                  </a:cubicBezTo>
                  <a:cubicBezTo>
                    <a:pt x="284" y="532"/>
                    <a:pt x="279" y="541"/>
                    <a:pt x="271" y="553"/>
                  </a:cubicBezTo>
                  <a:cubicBezTo>
                    <a:pt x="262" y="564"/>
                    <a:pt x="256" y="572"/>
                    <a:pt x="248" y="581"/>
                  </a:cubicBezTo>
                  <a:cubicBezTo>
                    <a:pt x="239" y="589"/>
                    <a:pt x="233" y="601"/>
                    <a:pt x="228" y="609"/>
                  </a:cubicBezTo>
                  <a:cubicBezTo>
                    <a:pt x="222" y="617"/>
                    <a:pt x="214" y="628"/>
                    <a:pt x="209" y="637"/>
                  </a:cubicBezTo>
                  <a:cubicBezTo>
                    <a:pt x="203" y="645"/>
                    <a:pt x="200" y="659"/>
                    <a:pt x="195" y="668"/>
                  </a:cubicBezTo>
                  <a:cubicBezTo>
                    <a:pt x="189" y="676"/>
                    <a:pt x="180" y="687"/>
                    <a:pt x="175" y="696"/>
                  </a:cubicBezTo>
                  <a:cubicBezTo>
                    <a:pt x="169" y="704"/>
                    <a:pt x="166" y="718"/>
                    <a:pt x="161" y="727"/>
                  </a:cubicBezTo>
                  <a:cubicBezTo>
                    <a:pt x="155" y="735"/>
                    <a:pt x="147" y="744"/>
                    <a:pt x="141" y="756"/>
                  </a:cubicBezTo>
                  <a:cubicBezTo>
                    <a:pt x="135" y="767"/>
                    <a:pt x="130" y="775"/>
                    <a:pt x="127" y="787"/>
                  </a:cubicBezTo>
                  <a:cubicBezTo>
                    <a:pt x="124" y="798"/>
                    <a:pt x="121" y="809"/>
                    <a:pt x="116" y="821"/>
                  </a:cubicBezTo>
                  <a:cubicBezTo>
                    <a:pt x="110" y="832"/>
                    <a:pt x="104" y="842"/>
                    <a:pt x="99" y="854"/>
                  </a:cubicBezTo>
                  <a:cubicBezTo>
                    <a:pt x="93" y="865"/>
                    <a:pt x="89" y="873"/>
                    <a:pt x="87" y="885"/>
                  </a:cubicBezTo>
                  <a:cubicBezTo>
                    <a:pt x="84" y="896"/>
                    <a:pt x="82" y="907"/>
                    <a:pt x="79" y="919"/>
                  </a:cubicBezTo>
                  <a:cubicBezTo>
                    <a:pt x="76" y="930"/>
                    <a:pt x="73" y="941"/>
                    <a:pt x="68" y="950"/>
                  </a:cubicBezTo>
                  <a:cubicBezTo>
                    <a:pt x="62" y="958"/>
                    <a:pt x="56" y="969"/>
                    <a:pt x="54" y="981"/>
                  </a:cubicBezTo>
                  <a:cubicBezTo>
                    <a:pt x="51" y="992"/>
                    <a:pt x="48" y="1004"/>
                    <a:pt x="45" y="1015"/>
                  </a:cubicBezTo>
                  <a:cubicBezTo>
                    <a:pt x="42" y="1026"/>
                    <a:pt x="41" y="1037"/>
                    <a:pt x="39" y="1046"/>
                  </a:cubicBezTo>
                  <a:cubicBezTo>
                    <a:pt x="36" y="1054"/>
                    <a:pt x="34" y="1069"/>
                    <a:pt x="31" y="1080"/>
                  </a:cubicBezTo>
                  <a:cubicBezTo>
                    <a:pt x="28" y="1091"/>
                    <a:pt x="31" y="1103"/>
                    <a:pt x="28" y="1114"/>
                  </a:cubicBezTo>
                  <a:cubicBezTo>
                    <a:pt x="25" y="1125"/>
                    <a:pt x="22" y="1136"/>
                    <a:pt x="22" y="1148"/>
                  </a:cubicBezTo>
                  <a:cubicBezTo>
                    <a:pt x="22" y="1159"/>
                    <a:pt x="17" y="1170"/>
                    <a:pt x="14" y="1179"/>
                  </a:cubicBezTo>
                  <a:cubicBezTo>
                    <a:pt x="11" y="1187"/>
                    <a:pt x="8" y="1201"/>
                    <a:pt x="8" y="1213"/>
                  </a:cubicBezTo>
                  <a:cubicBezTo>
                    <a:pt x="8" y="1224"/>
                    <a:pt x="8" y="1234"/>
                    <a:pt x="6" y="1246"/>
                  </a:cubicBezTo>
                  <a:cubicBezTo>
                    <a:pt x="3" y="1257"/>
                    <a:pt x="6" y="1268"/>
                    <a:pt x="3" y="1280"/>
                  </a:cubicBezTo>
                  <a:cubicBezTo>
                    <a:pt x="0" y="1291"/>
                    <a:pt x="0" y="1303"/>
                    <a:pt x="0" y="1314"/>
                  </a:cubicBezTo>
                  <a:cubicBezTo>
                    <a:pt x="0" y="1325"/>
                    <a:pt x="0" y="1337"/>
                    <a:pt x="0" y="1348"/>
                  </a:cubicBezTo>
                  <a:cubicBezTo>
                    <a:pt x="0" y="1358"/>
                    <a:pt x="0" y="1370"/>
                    <a:pt x="0" y="1381"/>
                  </a:cubicBezTo>
                  <a:cubicBezTo>
                    <a:pt x="0" y="1392"/>
                    <a:pt x="3" y="1404"/>
                    <a:pt x="3" y="1415"/>
                  </a:cubicBezTo>
                  <a:cubicBezTo>
                    <a:pt x="3" y="1427"/>
                    <a:pt x="6" y="1438"/>
                    <a:pt x="6" y="1449"/>
                  </a:cubicBezTo>
                  <a:cubicBezTo>
                    <a:pt x="6" y="1461"/>
                    <a:pt x="3" y="1471"/>
                    <a:pt x="6" y="1482"/>
                  </a:cubicBezTo>
                  <a:cubicBezTo>
                    <a:pt x="8" y="1494"/>
                    <a:pt x="11" y="1494"/>
                    <a:pt x="11" y="1505"/>
                  </a:cubicBezTo>
                  <a:cubicBezTo>
                    <a:pt x="11" y="1516"/>
                    <a:pt x="14" y="1528"/>
                    <a:pt x="17" y="1539"/>
                  </a:cubicBezTo>
                  <a:cubicBezTo>
                    <a:pt x="20" y="1550"/>
                    <a:pt x="17" y="1562"/>
                    <a:pt x="20" y="1573"/>
                  </a:cubicBezTo>
                  <a:cubicBezTo>
                    <a:pt x="22" y="1585"/>
                    <a:pt x="22" y="1596"/>
                    <a:pt x="25" y="1604"/>
                  </a:cubicBezTo>
                  <a:cubicBezTo>
                    <a:pt x="28" y="1613"/>
                    <a:pt x="31" y="1627"/>
                    <a:pt x="34" y="1635"/>
                  </a:cubicBezTo>
                  <a:cubicBezTo>
                    <a:pt x="37" y="1644"/>
                    <a:pt x="34" y="1657"/>
                    <a:pt x="37" y="1669"/>
                  </a:cubicBezTo>
                  <a:cubicBezTo>
                    <a:pt x="39" y="1680"/>
                    <a:pt x="39" y="1689"/>
                    <a:pt x="42" y="1700"/>
                  </a:cubicBezTo>
                  <a:cubicBezTo>
                    <a:pt x="45" y="1712"/>
                    <a:pt x="51" y="1720"/>
                    <a:pt x="54" y="1731"/>
                  </a:cubicBezTo>
                  <a:cubicBezTo>
                    <a:pt x="56" y="1743"/>
                    <a:pt x="53" y="1754"/>
                    <a:pt x="59" y="1765"/>
                  </a:cubicBezTo>
                  <a:cubicBezTo>
                    <a:pt x="64" y="1777"/>
                    <a:pt x="67" y="1785"/>
                    <a:pt x="70" y="1796"/>
                  </a:cubicBezTo>
                  <a:cubicBezTo>
                    <a:pt x="72" y="1808"/>
                    <a:pt x="79" y="1816"/>
                    <a:pt x="85" y="1827"/>
                  </a:cubicBezTo>
                  <a:cubicBezTo>
                    <a:pt x="90" y="1839"/>
                    <a:pt x="93" y="1846"/>
                    <a:pt x="96" y="1858"/>
                  </a:cubicBezTo>
                  <a:cubicBezTo>
                    <a:pt x="99" y="1869"/>
                    <a:pt x="101" y="1881"/>
                    <a:pt x="104" y="1889"/>
                  </a:cubicBezTo>
                  <a:cubicBezTo>
                    <a:pt x="107" y="1898"/>
                    <a:pt x="115" y="1909"/>
                    <a:pt x="118" y="1920"/>
                  </a:cubicBezTo>
                  <a:cubicBezTo>
                    <a:pt x="120" y="1932"/>
                    <a:pt x="129" y="1940"/>
                    <a:pt x="135" y="1948"/>
                  </a:cubicBezTo>
                  <a:cubicBezTo>
                    <a:pt x="140" y="1957"/>
                    <a:pt x="143" y="1968"/>
                    <a:pt x="149" y="1979"/>
                  </a:cubicBezTo>
                  <a:cubicBezTo>
                    <a:pt x="154" y="1990"/>
                    <a:pt x="158" y="1999"/>
                    <a:pt x="164" y="2010"/>
                  </a:cubicBezTo>
                  <a:cubicBezTo>
                    <a:pt x="169" y="2021"/>
                    <a:pt x="172" y="2030"/>
                    <a:pt x="178" y="2041"/>
                  </a:cubicBezTo>
                  <a:cubicBezTo>
                    <a:pt x="183" y="2052"/>
                    <a:pt x="189" y="2061"/>
                    <a:pt x="195" y="2069"/>
                  </a:cubicBezTo>
                  <a:cubicBezTo>
                    <a:pt x="200" y="2078"/>
                    <a:pt x="206" y="2089"/>
                    <a:pt x="212" y="2097"/>
                  </a:cubicBezTo>
                  <a:cubicBezTo>
                    <a:pt x="217" y="2106"/>
                    <a:pt x="222" y="2118"/>
                    <a:pt x="228" y="2126"/>
                  </a:cubicBezTo>
                  <a:cubicBezTo>
                    <a:pt x="233" y="2135"/>
                    <a:pt x="239" y="2146"/>
                    <a:pt x="248" y="2154"/>
                  </a:cubicBezTo>
                  <a:cubicBezTo>
                    <a:pt x="256" y="2163"/>
                    <a:pt x="262" y="2171"/>
                    <a:pt x="268" y="2179"/>
                  </a:cubicBezTo>
                  <a:cubicBezTo>
                    <a:pt x="274" y="2188"/>
                    <a:pt x="279" y="2199"/>
                    <a:pt x="285" y="2207"/>
                  </a:cubicBezTo>
                  <a:cubicBezTo>
                    <a:pt x="291" y="2216"/>
                    <a:pt x="301" y="2225"/>
                    <a:pt x="307" y="2233"/>
                  </a:cubicBezTo>
                  <a:cubicBezTo>
                    <a:pt x="312" y="2242"/>
                    <a:pt x="322" y="2253"/>
                    <a:pt x="327" y="2261"/>
                  </a:cubicBezTo>
                  <a:cubicBezTo>
                    <a:pt x="333" y="2269"/>
                    <a:pt x="341" y="2278"/>
                    <a:pt x="350" y="2286"/>
                  </a:cubicBezTo>
                  <a:cubicBezTo>
                    <a:pt x="358" y="2295"/>
                    <a:pt x="369" y="2301"/>
                    <a:pt x="375" y="2309"/>
                  </a:cubicBezTo>
                  <a:cubicBezTo>
                    <a:pt x="380" y="2318"/>
                    <a:pt x="389" y="2329"/>
                    <a:pt x="398" y="2334"/>
                  </a:cubicBezTo>
                  <a:cubicBezTo>
                    <a:pt x="406" y="2340"/>
                    <a:pt x="418" y="2349"/>
                    <a:pt x="426" y="2357"/>
                  </a:cubicBezTo>
                  <a:cubicBezTo>
                    <a:pt x="434" y="2366"/>
                    <a:pt x="440" y="2377"/>
                    <a:pt x="449" y="2385"/>
                  </a:cubicBezTo>
                  <a:cubicBezTo>
                    <a:pt x="457" y="2394"/>
                    <a:pt x="465" y="2400"/>
                    <a:pt x="477" y="2408"/>
                  </a:cubicBezTo>
                  <a:cubicBezTo>
                    <a:pt x="488" y="2417"/>
                    <a:pt x="493" y="2422"/>
                    <a:pt x="502" y="2430"/>
                  </a:cubicBezTo>
                  <a:cubicBezTo>
                    <a:pt x="510" y="2439"/>
                    <a:pt x="518" y="2445"/>
                    <a:pt x="530" y="2453"/>
                  </a:cubicBezTo>
                  <a:cubicBezTo>
                    <a:pt x="541" y="2462"/>
                    <a:pt x="549" y="2465"/>
                    <a:pt x="561" y="2473"/>
                  </a:cubicBezTo>
                  <a:cubicBezTo>
                    <a:pt x="572" y="2482"/>
                    <a:pt x="581" y="2487"/>
                    <a:pt x="590" y="2495"/>
                  </a:cubicBezTo>
                  <a:cubicBezTo>
                    <a:pt x="598" y="2504"/>
                    <a:pt x="609" y="2509"/>
                    <a:pt x="618" y="2515"/>
                  </a:cubicBezTo>
                  <a:cubicBezTo>
                    <a:pt x="626" y="2521"/>
                    <a:pt x="635" y="2532"/>
                    <a:pt x="646" y="2537"/>
                  </a:cubicBezTo>
                  <a:cubicBezTo>
                    <a:pt x="657" y="2543"/>
                    <a:pt x="666" y="2549"/>
                    <a:pt x="677" y="2554"/>
                  </a:cubicBezTo>
                  <a:cubicBezTo>
                    <a:pt x="688" y="2560"/>
                    <a:pt x="697" y="2566"/>
                    <a:pt x="708" y="2571"/>
                  </a:cubicBezTo>
                  <a:cubicBezTo>
                    <a:pt x="719" y="2577"/>
                    <a:pt x="727" y="2583"/>
                    <a:pt x="736" y="2588"/>
                  </a:cubicBezTo>
                  <a:cubicBezTo>
                    <a:pt x="744" y="2594"/>
                    <a:pt x="759" y="2597"/>
                    <a:pt x="767" y="2602"/>
                  </a:cubicBezTo>
                  <a:cubicBezTo>
                    <a:pt x="776" y="2608"/>
                    <a:pt x="786" y="2614"/>
                    <a:pt x="798" y="2619"/>
                  </a:cubicBezTo>
                  <a:cubicBezTo>
                    <a:pt x="809" y="2625"/>
                    <a:pt x="817" y="2631"/>
                    <a:pt x="829" y="2636"/>
                  </a:cubicBezTo>
                  <a:cubicBezTo>
                    <a:pt x="840" y="2642"/>
                    <a:pt x="851" y="2642"/>
                    <a:pt x="863" y="2647"/>
                  </a:cubicBezTo>
                  <a:cubicBezTo>
                    <a:pt x="874" y="2653"/>
                    <a:pt x="885" y="2654"/>
                    <a:pt x="894" y="2659"/>
                  </a:cubicBezTo>
                  <a:cubicBezTo>
                    <a:pt x="902" y="2665"/>
                    <a:pt x="913" y="2667"/>
                    <a:pt x="925" y="2670"/>
                  </a:cubicBezTo>
                  <a:cubicBezTo>
                    <a:pt x="936" y="2673"/>
                    <a:pt x="944" y="2681"/>
                    <a:pt x="956" y="2684"/>
                  </a:cubicBezTo>
                  <a:cubicBezTo>
                    <a:pt x="967" y="2687"/>
                    <a:pt x="978" y="2691"/>
                    <a:pt x="987" y="2693"/>
                  </a:cubicBezTo>
                  <a:cubicBezTo>
                    <a:pt x="995" y="2696"/>
                    <a:pt x="1010" y="2701"/>
                    <a:pt x="1019" y="2704"/>
                  </a:cubicBezTo>
                  <a:cubicBezTo>
                    <a:pt x="1027" y="2707"/>
                    <a:pt x="1040" y="2707"/>
                    <a:pt x="1052" y="2709"/>
                  </a:cubicBezTo>
                  <a:cubicBezTo>
                    <a:pt x="1063" y="2712"/>
                    <a:pt x="1074" y="2718"/>
                    <a:pt x="1083" y="2718"/>
                  </a:cubicBezTo>
                  <a:cubicBezTo>
                    <a:pt x="1091" y="2718"/>
                    <a:pt x="1105" y="2722"/>
                    <a:pt x="1117" y="2724"/>
                  </a:cubicBezTo>
                  <a:cubicBezTo>
                    <a:pt x="1128" y="2727"/>
                    <a:pt x="1139" y="2729"/>
                    <a:pt x="1148" y="2732"/>
                  </a:cubicBezTo>
                  <a:cubicBezTo>
                    <a:pt x="1156" y="2735"/>
                    <a:pt x="1171" y="2735"/>
                    <a:pt x="1182" y="2738"/>
                  </a:cubicBezTo>
                  <a:cubicBezTo>
                    <a:pt x="1193" y="2741"/>
                    <a:pt x="1205" y="2741"/>
                    <a:pt x="1216" y="2741"/>
                  </a:cubicBezTo>
                  <a:cubicBezTo>
                    <a:pt x="1227" y="2741"/>
                    <a:pt x="1239" y="2741"/>
                    <a:pt x="1250" y="2741"/>
                  </a:cubicBezTo>
                  <a:cubicBezTo>
                    <a:pt x="1261" y="2741"/>
                    <a:pt x="1272" y="2746"/>
                    <a:pt x="1284" y="2749"/>
                  </a:cubicBezTo>
                  <a:cubicBezTo>
                    <a:pt x="1295" y="2752"/>
                    <a:pt x="1306" y="2749"/>
                    <a:pt x="1318" y="2749"/>
                  </a:cubicBezTo>
                  <a:cubicBezTo>
                    <a:pt x="1329" y="2749"/>
                    <a:pt x="1339" y="2749"/>
                    <a:pt x="1351" y="2749"/>
                  </a:cubicBezTo>
                  <a:cubicBezTo>
                    <a:pt x="1362" y="2749"/>
                    <a:pt x="1373" y="2749"/>
                    <a:pt x="1384" y="2749"/>
                  </a:cubicBezTo>
                  <a:cubicBezTo>
                    <a:pt x="1396" y="2749"/>
                    <a:pt x="1407" y="2749"/>
                    <a:pt x="1418" y="2749"/>
                  </a:cubicBezTo>
                  <a:cubicBezTo>
                    <a:pt x="1429" y="2749"/>
                    <a:pt x="1441" y="2749"/>
                    <a:pt x="1452" y="2749"/>
                  </a:cubicBezTo>
                  <a:cubicBezTo>
                    <a:pt x="1463" y="2749"/>
                    <a:pt x="1475" y="2749"/>
                    <a:pt x="1486" y="2749"/>
                  </a:cubicBezTo>
                  <a:cubicBezTo>
                    <a:pt x="1497" y="2749"/>
                    <a:pt x="1509" y="2746"/>
                    <a:pt x="1520" y="2743"/>
                  </a:cubicBezTo>
                  <a:cubicBezTo>
                    <a:pt x="1532" y="2741"/>
                    <a:pt x="1543" y="2744"/>
                    <a:pt x="1554" y="2741"/>
                  </a:cubicBezTo>
                  <a:cubicBezTo>
                    <a:pt x="1566" y="2739"/>
                    <a:pt x="1577" y="2735"/>
                    <a:pt x="1585" y="2735"/>
                  </a:cubicBezTo>
                  <a:cubicBezTo>
                    <a:pt x="1594" y="2735"/>
                    <a:pt x="1608" y="2729"/>
                    <a:pt x="1616" y="2729"/>
                  </a:cubicBezTo>
                  <a:cubicBezTo>
                    <a:pt x="1625" y="2729"/>
                    <a:pt x="1639" y="2724"/>
                    <a:pt x="1647" y="2724"/>
                  </a:cubicBezTo>
                  <a:cubicBezTo>
                    <a:pt x="1656" y="2724"/>
                    <a:pt x="1669" y="2718"/>
                    <a:pt x="1678" y="2715"/>
                  </a:cubicBezTo>
                  <a:cubicBezTo>
                    <a:pt x="1689" y="2712"/>
                    <a:pt x="1701" y="2710"/>
                    <a:pt x="1709" y="2707"/>
                  </a:cubicBezTo>
                  <a:cubicBezTo>
                    <a:pt x="1718" y="2705"/>
                    <a:pt x="1732" y="2701"/>
                    <a:pt x="1740" y="2698"/>
                  </a:cubicBezTo>
                  <a:cubicBezTo>
                    <a:pt x="1749" y="2695"/>
                    <a:pt x="1763" y="2693"/>
                    <a:pt x="1771" y="2690"/>
                  </a:cubicBezTo>
                  <a:cubicBezTo>
                    <a:pt x="1780" y="2687"/>
                    <a:pt x="1794" y="2687"/>
                    <a:pt x="1805" y="2684"/>
                  </a:cubicBezTo>
                  <a:cubicBezTo>
                    <a:pt x="1817" y="2681"/>
                    <a:pt x="1825" y="2676"/>
                    <a:pt x="1836" y="2673"/>
                  </a:cubicBezTo>
                  <a:cubicBezTo>
                    <a:pt x="1847" y="2670"/>
                    <a:pt x="1856" y="2665"/>
                    <a:pt x="1867" y="2659"/>
                  </a:cubicBezTo>
                  <a:cubicBezTo>
                    <a:pt x="1878" y="2654"/>
                    <a:pt x="1890" y="2653"/>
                    <a:pt x="1898" y="2650"/>
                  </a:cubicBezTo>
                  <a:cubicBezTo>
                    <a:pt x="1907" y="2647"/>
                    <a:pt x="1918" y="2642"/>
                    <a:pt x="1929" y="2636"/>
                  </a:cubicBezTo>
                  <a:cubicBezTo>
                    <a:pt x="1940" y="2631"/>
                    <a:pt x="1949" y="2628"/>
                    <a:pt x="1960" y="2625"/>
                  </a:cubicBezTo>
                  <a:cubicBezTo>
                    <a:pt x="1971" y="2622"/>
                    <a:pt x="1980" y="2611"/>
                    <a:pt x="1988" y="2608"/>
                  </a:cubicBezTo>
                  <a:cubicBezTo>
                    <a:pt x="1997" y="2605"/>
                    <a:pt x="2008" y="2600"/>
                    <a:pt x="2019" y="2594"/>
                  </a:cubicBezTo>
                  <a:cubicBezTo>
                    <a:pt x="2031" y="2589"/>
                    <a:pt x="2039" y="2583"/>
                    <a:pt x="2047" y="2577"/>
                  </a:cubicBezTo>
                  <a:cubicBezTo>
                    <a:pt x="2056" y="2571"/>
                    <a:pt x="2068" y="2566"/>
                    <a:pt x="2076" y="2560"/>
                  </a:cubicBezTo>
                  <a:cubicBezTo>
                    <a:pt x="2085" y="2554"/>
                    <a:pt x="2096" y="2552"/>
                    <a:pt x="2104" y="2543"/>
                  </a:cubicBezTo>
                  <a:cubicBezTo>
                    <a:pt x="2113" y="2535"/>
                    <a:pt x="2121" y="2529"/>
                    <a:pt x="2132" y="2523"/>
                  </a:cubicBezTo>
                  <a:cubicBezTo>
                    <a:pt x="2143" y="2518"/>
                    <a:pt x="2152" y="2512"/>
                    <a:pt x="2160" y="2506"/>
                  </a:cubicBezTo>
                  <a:cubicBezTo>
                    <a:pt x="2169" y="2501"/>
                    <a:pt x="2181" y="2496"/>
                    <a:pt x="2189" y="2487"/>
                  </a:cubicBezTo>
                  <a:cubicBezTo>
                    <a:pt x="2198" y="2479"/>
                    <a:pt x="2206" y="2473"/>
                    <a:pt x="2214" y="2464"/>
                  </a:cubicBezTo>
                  <a:cubicBezTo>
                    <a:pt x="2223" y="2456"/>
                    <a:pt x="2231" y="2448"/>
                    <a:pt x="2239" y="2442"/>
                  </a:cubicBezTo>
                  <a:cubicBezTo>
                    <a:pt x="2248" y="2437"/>
                    <a:pt x="2260" y="2431"/>
                    <a:pt x="2268" y="2425"/>
                  </a:cubicBezTo>
                  <a:cubicBezTo>
                    <a:pt x="2277" y="2420"/>
                    <a:pt x="2285" y="2410"/>
                    <a:pt x="2293" y="2402"/>
                  </a:cubicBezTo>
                  <a:cubicBezTo>
                    <a:pt x="2302" y="2394"/>
                    <a:pt x="2307" y="2383"/>
                    <a:pt x="2315" y="2374"/>
                  </a:cubicBezTo>
                  <a:cubicBezTo>
                    <a:pt x="2324" y="2366"/>
                    <a:pt x="2333" y="2360"/>
                    <a:pt x="2341" y="2351"/>
                  </a:cubicBezTo>
                  <a:cubicBezTo>
                    <a:pt x="2350" y="2343"/>
                    <a:pt x="2361" y="2338"/>
                    <a:pt x="2366" y="2329"/>
                  </a:cubicBezTo>
                  <a:cubicBezTo>
                    <a:pt x="2372" y="2321"/>
                    <a:pt x="2380" y="2309"/>
                    <a:pt x="2386" y="2300"/>
                  </a:cubicBezTo>
                  <a:cubicBezTo>
                    <a:pt x="2392" y="2292"/>
                    <a:pt x="2403" y="2286"/>
                    <a:pt x="2411" y="2275"/>
                  </a:cubicBezTo>
                  <a:cubicBezTo>
                    <a:pt x="2420" y="2264"/>
                    <a:pt x="2426" y="2259"/>
                    <a:pt x="2434" y="2250"/>
                  </a:cubicBezTo>
                  <a:cubicBezTo>
                    <a:pt x="2442" y="2242"/>
                    <a:pt x="2449" y="2230"/>
                    <a:pt x="2454" y="2221"/>
                  </a:cubicBezTo>
                  <a:cubicBezTo>
                    <a:pt x="2460" y="2213"/>
                    <a:pt x="2471" y="2205"/>
                    <a:pt x="2476" y="2196"/>
                  </a:cubicBezTo>
                  <a:cubicBezTo>
                    <a:pt x="2482" y="2188"/>
                    <a:pt x="2488" y="2176"/>
                    <a:pt x="2493" y="2165"/>
                  </a:cubicBezTo>
                  <a:cubicBezTo>
                    <a:pt x="2499" y="2154"/>
                    <a:pt x="2511" y="2148"/>
                    <a:pt x="2516" y="2137"/>
                  </a:cubicBezTo>
                  <a:cubicBezTo>
                    <a:pt x="2522" y="2126"/>
                    <a:pt x="2528" y="2115"/>
                    <a:pt x="2533" y="2106"/>
                  </a:cubicBezTo>
                  <a:cubicBezTo>
                    <a:pt x="2539" y="2098"/>
                    <a:pt x="2547" y="2090"/>
                    <a:pt x="2555" y="2078"/>
                  </a:cubicBezTo>
                  <a:cubicBezTo>
                    <a:pt x="2564" y="2067"/>
                    <a:pt x="2564" y="2056"/>
                    <a:pt x="2569" y="2047"/>
                  </a:cubicBezTo>
                  <a:cubicBezTo>
                    <a:pt x="2575" y="2039"/>
                    <a:pt x="2579" y="2028"/>
                    <a:pt x="2584" y="2016"/>
                  </a:cubicBezTo>
                  <a:cubicBezTo>
                    <a:pt x="2590" y="2005"/>
                    <a:pt x="2598" y="1996"/>
                    <a:pt x="2603" y="1987"/>
                  </a:cubicBezTo>
                  <a:cubicBezTo>
                    <a:pt x="2609" y="1979"/>
                    <a:pt x="2615" y="1968"/>
                    <a:pt x="2617" y="1956"/>
                  </a:cubicBezTo>
                  <a:cubicBezTo>
                    <a:pt x="2620" y="1945"/>
                    <a:pt x="2627" y="1937"/>
                    <a:pt x="2632" y="1925"/>
                  </a:cubicBezTo>
                  <a:cubicBezTo>
                    <a:pt x="2638" y="1914"/>
                    <a:pt x="2637" y="1903"/>
                    <a:pt x="2640" y="1891"/>
                  </a:cubicBezTo>
                  <a:cubicBezTo>
                    <a:pt x="2643" y="1880"/>
                    <a:pt x="2651" y="1872"/>
                    <a:pt x="2657" y="1860"/>
                  </a:cubicBezTo>
                  <a:cubicBezTo>
                    <a:pt x="2663" y="1849"/>
                    <a:pt x="2663" y="1839"/>
                    <a:pt x="2665" y="1827"/>
                  </a:cubicBezTo>
                  <a:cubicBezTo>
                    <a:pt x="2668" y="1816"/>
                    <a:pt x="2677" y="1808"/>
                    <a:pt x="2679" y="1796"/>
                  </a:cubicBezTo>
                  <a:cubicBezTo>
                    <a:pt x="2682" y="1785"/>
                    <a:pt x="2685" y="1774"/>
                    <a:pt x="2688" y="1765"/>
                  </a:cubicBezTo>
                  <a:cubicBezTo>
                    <a:pt x="2691" y="1757"/>
                    <a:pt x="2694" y="1742"/>
                    <a:pt x="2696" y="1733"/>
                  </a:cubicBezTo>
                  <a:cubicBezTo>
                    <a:pt x="2699" y="1725"/>
                    <a:pt x="2699" y="1712"/>
                    <a:pt x="2702" y="1700"/>
                  </a:cubicBezTo>
                  <a:cubicBezTo>
                    <a:pt x="2705" y="1689"/>
                    <a:pt x="2709" y="1678"/>
                    <a:pt x="2711" y="1669"/>
                  </a:cubicBezTo>
                  <a:cubicBezTo>
                    <a:pt x="2714" y="1661"/>
                    <a:pt x="2716" y="1647"/>
                    <a:pt x="2719" y="1635"/>
                  </a:cubicBezTo>
                  <a:cubicBezTo>
                    <a:pt x="2722" y="1624"/>
                    <a:pt x="2725" y="1612"/>
                    <a:pt x="2725" y="1601"/>
                  </a:cubicBezTo>
                  <a:cubicBezTo>
                    <a:pt x="2725" y="1590"/>
                    <a:pt x="2727" y="1578"/>
                    <a:pt x="2727" y="1567"/>
                  </a:cubicBezTo>
                  <a:cubicBezTo>
                    <a:pt x="2727" y="1556"/>
                    <a:pt x="2730" y="1544"/>
                    <a:pt x="2733" y="1533"/>
                  </a:cubicBezTo>
                  <a:cubicBezTo>
                    <a:pt x="2736" y="1522"/>
                    <a:pt x="2736" y="1511"/>
                    <a:pt x="2736" y="1499"/>
                  </a:cubicBezTo>
                  <a:cubicBezTo>
                    <a:pt x="2736" y="1488"/>
                    <a:pt x="2733" y="1478"/>
                    <a:pt x="2736" y="1466"/>
                  </a:cubicBezTo>
                  <a:cubicBezTo>
                    <a:pt x="2739" y="1455"/>
                    <a:pt x="2742" y="1444"/>
                    <a:pt x="2742" y="1432"/>
                  </a:cubicBezTo>
                  <a:cubicBezTo>
                    <a:pt x="2742" y="1421"/>
                    <a:pt x="2742" y="1409"/>
                    <a:pt x="2742" y="1398"/>
                  </a:cubicBezTo>
                  <a:cubicBezTo>
                    <a:pt x="2742" y="1387"/>
                    <a:pt x="2739" y="1375"/>
                    <a:pt x="2739" y="1364"/>
                  </a:cubicBezTo>
                  <a:cubicBezTo>
                    <a:pt x="2739" y="1354"/>
                    <a:pt x="2742" y="1337"/>
                    <a:pt x="2739" y="1325"/>
                  </a:cubicBezTo>
                  <a:close/>
                  <a:moveTo>
                    <a:pt x="2699" y="1389"/>
                  </a:moveTo>
                  <a:cubicBezTo>
                    <a:pt x="2699" y="1401"/>
                    <a:pt x="2699" y="1412"/>
                    <a:pt x="2699" y="1420"/>
                  </a:cubicBezTo>
                  <a:cubicBezTo>
                    <a:pt x="2699" y="1429"/>
                    <a:pt x="2696" y="1443"/>
                    <a:pt x="2696" y="1451"/>
                  </a:cubicBezTo>
                  <a:cubicBezTo>
                    <a:pt x="2696" y="1460"/>
                    <a:pt x="2697" y="1474"/>
                    <a:pt x="2694" y="1482"/>
                  </a:cubicBezTo>
                  <a:cubicBezTo>
                    <a:pt x="2692" y="1491"/>
                    <a:pt x="2694" y="1505"/>
                    <a:pt x="2694" y="1513"/>
                  </a:cubicBezTo>
                  <a:cubicBezTo>
                    <a:pt x="2694" y="1522"/>
                    <a:pt x="2691" y="1536"/>
                    <a:pt x="2691" y="1544"/>
                  </a:cubicBezTo>
                  <a:cubicBezTo>
                    <a:pt x="2691" y="1553"/>
                    <a:pt x="2688" y="1568"/>
                    <a:pt x="2685" y="1576"/>
                  </a:cubicBezTo>
                  <a:cubicBezTo>
                    <a:pt x="2682" y="1585"/>
                    <a:pt x="2682" y="1599"/>
                    <a:pt x="2679" y="1607"/>
                  </a:cubicBezTo>
                  <a:cubicBezTo>
                    <a:pt x="2677" y="1616"/>
                    <a:pt x="2674" y="1627"/>
                    <a:pt x="2671" y="1638"/>
                  </a:cubicBezTo>
                  <a:cubicBezTo>
                    <a:pt x="2668" y="1650"/>
                    <a:pt x="2668" y="1661"/>
                    <a:pt x="2665" y="1669"/>
                  </a:cubicBezTo>
                  <a:cubicBezTo>
                    <a:pt x="2663" y="1678"/>
                    <a:pt x="2657" y="1689"/>
                    <a:pt x="2654" y="1700"/>
                  </a:cubicBezTo>
                  <a:cubicBezTo>
                    <a:pt x="2651" y="1712"/>
                    <a:pt x="2651" y="1723"/>
                    <a:pt x="2648" y="1731"/>
                  </a:cubicBezTo>
                  <a:cubicBezTo>
                    <a:pt x="2646" y="1740"/>
                    <a:pt x="2640" y="1751"/>
                    <a:pt x="2637" y="1762"/>
                  </a:cubicBezTo>
                  <a:cubicBezTo>
                    <a:pt x="2634" y="1774"/>
                    <a:pt x="2632" y="1785"/>
                    <a:pt x="2629" y="1793"/>
                  </a:cubicBezTo>
                  <a:cubicBezTo>
                    <a:pt x="2626" y="1802"/>
                    <a:pt x="2621" y="1813"/>
                    <a:pt x="2615" y="1824"/>
                  </a:cubicBezTo>
                  <a:cubicBezTo>
                    <a:pt x="2610" y="1836"/>
                    <a:pt x="2609" y="1847"/>
                    <a:pt x="2603" y="1855"/>
                  </a:cubicBezTo>
                  <a:cubicBezTo>
                    <a:pt x="2598" y="1864"/>
                    <a:pt x="2595" y="1875"/>
                    <a:pt x="2589" y="1886"/>
                  </a:cubicBezTo>
                  <a:cubicBezTo>
                    <a:pt x="2584" y="1897"/>
                    <a:pt x="2581" y="1906"/>
                    <a:pt x="2578" y="1917"/>
                  </a:cubicBezTo>
                  <a:cubicBezTo>
                    <a:pt x="2575" y="1928"/>
                    <a:pt x="2570" y="1937"/>
                    <a:pt x="2564" y="1948"/>
                  </a:cubicBezTo>
                  <a:cubicBezTo>
                    <a:pt x="2559" y="1959"/>
                    <a:pt x="2553" y="1968"/>
                    <a:pt x="2550" y="1979"/>
                  </a:cubicBezTo>
                  <a:cubicBezTo>
                    <a:pt x="2547" y="1990"/>
                    <a:pt x="2539" y="1999"/>
                    <a:pt x="2533" y="2010"/>
                  </a:cubicBezTo>
                  <a:cubicBezTo>
                    <a:pt x="2528" y="2021"/>
                    <a:pt x="2522" y="2030"/>
                    <a:pt x="2516" y="2038"/>
                  </a:cubicBezTo>
                  <a:cubicBezTo>
                    <a:pt x="2511" y="2047"/>
                    <a:pt x="2505" y="2058"/>
                    <a:pt x="2499" y="2066"/>
                  </a:cubicBezTo>
                  <a:cubicBezTo>
                    <a:pt x="2493" y="2075"/>
                    <a:pt x="2485" y="2084"/>
                    <a:pt x="2479" y="2095"/>
                  </a:cubicBezTo>
                  <a:cubicBezTo>
                    <a:pt x="2474" y="2107"/>
                    <a:pt x="2468" y="2115"/>
                    <a:pt x="2462" y="2123"/>
                  </a:cubicBezTo>
                  <a:cubicBezTo>
                    <a:pt x="2457" y="2132"/>
                    <a:pt x="2451" y="2143"/>
                    <a:pt x="2442" y="2151"/>
                  </a:cubicBezTo>
                  <a:cubicBezTo>
                    <a:pt x="2434" y="2159"/>
                    <a:pt x="2426" y="2168"/>
                    <a:pt x="2420" y="2176"/>
                  </a:cubicBezTo>
                  <a:cubicBezTo>
                    <a:pt x="2414" y="2185"/>
                    <a:pt x="2409" y="2197"/>
                    <a:pt x="2400" y="2205"/>
                  </a:cubicBezTo>
                  <a:cubicBezTo>
                    <a:pt x="2392" y="2214"/>
                    <a:pt x="2384" y="2222"/>
                    <a:pt x="2375" y="2230"/>
                  </a:cubicBezTo>
                  <a:cubicBezTo>
                    <a:pt x="2367" y="2239"/>
                    <a:pt x="2358" y="2247"/>
                    <a:pt x="2352" y="2255"/>
                  </a:cubicBezTo>
                  <a:cubicBezTo>
                    <a:pt x="2347" y="2264"/>
                    <a:pt x="2338" y="2276"/>
                    <a:pt x="2332" y="2281"/>
                  </a:cubicBezTo>
                  <a:cubicBezTo>
                    <a:pt x="2327" y="2287"/>
                    <a:pt x="2316" y="2298"/>
                    <a:pt x="2310" y="2303"/>
                  </a:cubicBezTo>
                  <a:cubicBezTo>
                    <a:pt x="2305" y="2309"/>
                    <a:pt x="2293" y="2317"/>
                    <a:pt x="2284" y="2323"/>
                  </a:cubicBezTo>
                  <a:cubicBezTo>
                    <a:pt x="2276" y="2329"/>
                    <a:pt x="2271" y="2340"/>
                    <a:pt x="2262" y="2348"/>
                  </a:cubicBezTo>
                  <a:cubicBezTo>
                    <a:pt x="2254" y="2357"/>
                    <a:pt x="2245" y="2363"/>
                    <a:pt x="2236" y="2371"/>
                  </a:cubicBezTo>
                  <a:cubicBezTo>
                    <a:pt x="2228" y="2379"/>
                    <a:pt x="2220" y="2383"/>
                    <a:pt x="2211" y="2391"/>
                  </a:cubicBezTo>
                  <a:cubicBezTo>
                    <a:pt x="2203" y="2400"/>
                    <a:pt x="2195" y="2405"/>
                    <a:pt x="2186" y="2410"/>
                  </a:cubicBezTo>
                  <a:cubicBezTo>
                    <a:pt x="2178" y="2416"/>
                    <a:pt x="2169" y="2425"/>
                    <a:pt x="2160" y="2433"/>
                  </a:cubicBezTo>
                  <a:cubicBezTo>
                    <a:pt x="2152" y="2442"/>
                    <a:pt x="2143" y="2445"/>
                    <a:pt x="2132" y="2453"/>
                  </a:cubicBezTo>
                  <a:cubicBezTo>
                    <a:pt x="2121" y="2462"/>
                    <a:pt x="2113" y="2465"/>
                    <a:pt x="2104" y="2470"/>
                  </a:cubicBezTo>
                  <a:cubicBezTo>
                    <a:pt x="2096" y="2476"/>
                    <a:pt x="2088" y="2482"/>
                    <a:pt x="2076" y="2487"/>
                  </a:cubicBezTo>
                  <a:cubicBezTo>
                    <a:pt x="2065" y="2493"/>
                    <a:pt x="2059" y="2501"/>
                    <a:pt x="2050" y="2506"/>
                  </a:cubicBezTo>
                  <a:cubicBezTo>
                    <a:pt x="2042" y="2512"/>
                    <a:pt x="2031" y="2516"/>
                    <a:pt x="2022" y="2521"/>
                  </a:cubicBezTo>
                  <a:cubicBezTo>
                    <a:pt x="2014" y="2527"/>
                    <a:pt x="2006" y="2535"/>
                    <a:pt x="1997" y="2540"/>
                  </a:cubicBezTo>
                  <a:cubicBezTo>
                    <a:pt x="1989" y="2546"/>
                    <a:pt x="1978" y="2549"/>
                    <a:pt x="1966" y="2554"/>
                  </a:cubicBezTo>
                  <a:cubicBezTo>
                    <a:pt x="1955" y="2560"/>
                    <a:pt x="1946" y="2566"/>
                    <a:pt x="1937" y="2568"/>
                  </a:cubicBezTo>
                  <a:cubicBezTo>
                    <a:pt x="1929" y="2571"/>
                    <a:pt x="1918" y="2578"/>
                    <a:pt x="1909" y="2583"/>
                  </a:cubicBezTo>
                  <a:cubicBezTo>
                    <a:pt x="1901" y="2589"/>
                    <a:pt x="1889" y="2591"/>
                    <a:pt x="1878" y="2594"/>
                  </a:cubicBezTo>
                  <a:cubicBezTo>
                    <a:pt x="1867" y="2597"/>
                    <a:pt x="1858" y="2602"/>
                    <a:pt x="1847" y="2605"/>
                  </a:cubicBezTo>
                  <a:cubicBezTo>
                    <a:pt x="1836" y="2608"/>
                    <a:pt x="1827" y="2614"/>
                    <a:pt x="1816" y="2616"/>
                  </a:cubicBezTo>
                  <a:cubicBezTo>
                    <a:pt x="1805" y="2619"/>
                    <a:pt x="1799" y="2631"/>
                    <a:pt x="1788" y="2633"/>
                  </a:cubicBezTo>
                  <a:cubicBezTo>
                    <a:pt x="1777" y="2636"/>
                    <a:pt x="1768" y="2637"/>
                    <a:pt x="1757" y="2642"/>
                  </a:cubicBezTo>
                  <a:cubicBezTo>
                    <a:pt x="1746" y="2648"/>
                    <a:pt x="1738" y="2653"/>
                    <a:pt x="1726" y="2656"/>
                  </a:cubicBezTo>
                  <a:cubicBezTo>
                    <a:pt x="1715" y="2659"/>
                    <a:pt x="1704" y="2660"/>
                    <a:pt x="1695" y="2662"/>
                  </a:cubicBezTo>
                  <a:cubicBezTo>
                    <a:pt x="1687" y="2665"/>
                    <a:pt x="1676" y="2667"/>
                    <a:pt x="1664" y="2670"/>
                  </a:cubicBezTo>
                  <a:cubicBezTo>
                    <a:pt x="1653" y="2673"/>
                    <a:pt x="1645" y="2674"/>
                    <a:pt x="1633" y="2676"/>
                  </a:cubicBezTo>
                  <a:cubicBezTo>
                    <a:pt x="1622" y="2679"/>
                    <a:pt x="1614" y="2681"/>
                    <a:pt x="1602" y="2684"/>
                  </a:cubicBezTo>
                  <a:cubicBezTo>
                    <a:pt x="1591" y="2687"/>
                    <a:pt x="1580" y="2684"/>
                    <a:pt x="1571" y="2687"/>
                  </a:cubicBezTo>
                  <a:cubicBezTo>
                    <a:pt x="1563" y="2690"/>
                    <a:pt x="1552" y="2691"/>
                    <a:pt x="1540" y="2693"/>
                  </a:cubicBezTo>
                  <a:cubicBezTo>
                    <a:pt x="1529" y="2696"/>
                    <a:pt x="1520" y="2695"/>
                    <a:pt x="1508" y="2698"/>
                  </a:cubicBezTo>
                  <a:cubicBezTo>
                    <a:pt x="1497" y="2701"/>
                    <a:pt x="1486" y="2701"/>
                    <a:pt x="1477" y="2701"/>
                  </a:cubicBezTo>
                  <a:cubicBezTo>
                    <a:pt x="1469" y="2701"/>
                    <a:pt x="1455" y="2701"/>
                    <a:pt x="1446" y="2701"/>
                  </a:cubicBezTo>
                  <a:cubicBezTo>
                    <a:pt x="1438" y="2701"/>
                    <a:pt x="1424" y="2701"/>
                    <a:pt x="1415" y="2701"/>
                  </a:cubicBezTo>
                  <a:cubicBezTo>
                    <a:pt x="1407" y="2701"/>
                    <a:pt x="1393" y="2704"/>
                    <a:pt x="1384" y="2704"/>
                  </a:cubicBezTo>
                  <a:cubicBezTo>
                    <a:pt x="1376" y="2704"/>
                    <a:pt x="1362" y="2701"/>
                    <a:pt x="1354" y="2701"/>
                  </a:cubicBezTo>
                  <a:cubicBezTo>
                    <a:pt x="1345" y="2701"/>
                    <a:pt x="1331" y="2704"/>
                    <a:pt x="1323" y="2701"/>
                  </a:cubicBezTo>
                  <a:cubicBezTo>
                    <a:pt x="1314" y="2698"/>
                    <a:pt x="1300" y="2698"/>
                    <a:pt x="1292" y="2698"/>
                  </a:cubicBezTo>
                  <a:cubicBezTo>
                    <a:pt x="1283" y="2698"/>
                    <a:pt x="1269" y="2693"/>
                    <a:pt x="1261" y="2693"/>
                  </a:cubicBezTo>
                  <a:cubicBezTo>
                    <a:pt x="1252" y="2693"/>
                    <a:pt x="1238" y="2693"/>
                    <a:pt x="1230" y="2693"/>
                  </a:cubicBezTo>
                  <a:cubicBezTo>
                    <a:pt x="1221" y="2693"/>
                    <a:pt x="1207" y="2690"/>
                    <a:pt x="1199" y="2687"/>
                  </a:cubicBezTo>
                  <a:cubicBezTo>
                    <a:pt x="1190" y="2684"/>
                    <a:pt x="1179" y="2681"/>
                    <a:pt x="1168" y="2678"/>
                  </a:cubicBezTo>
                  <a:cubicBezTo>
                    <a:pt x="1157" y="2676"/>
                    <a:pt x="1145" y="2676"/>
                    <a:pt x="1137" y="2673"/>
                  </a:cubicBezTo>
                  <a:cubicBezTo>
                    <a:pt x="1129" y="2670"/>
                    <a:pt x="1114" y="2670"/>
                    <a:pt x="1106" y="2667"/>
                  </a:cubicBezTo>
                  <a:cubicBezTo>
                    <a:pt x="1098" y="2664"/>
                    <a:pt x="1086" y="2662"/>
                    <a:pt x="1075" y="2659"/>
                  </a:cubicBezTo>
                  <a:cubicBezTo>
                    <a:pt x="1064" y="2656"/>
                    <a:pt x="1055" y="2653"/>
                    <a:pt x="1044" y="2650"/>
                  </a:cubicBezTo>
                  <a:cubicBezTo>
                    <a:pt x="1033" y="2647"/>
                    <a:pt x="1021" y="2648"/>
                    <a:pt x="1013" y="2645"/>
                  </a:cubicBezTo>
                  <a:cubicBezTo>
                    <a:pt x="1004" y="2643"/>
                    <a:pt x="993" y="2636"/>
                    <a:pt x="982" y="2633"/>
                  </a:cubicBezTo>
                  <a:cubicBezTo>
                    <a:pt x="971" y="2631"/>
                    <a:pt x="962" y="2625"/>
                    <a:pt x="951" y="2622"/>
                  </a:cubicBezTo>
                  <a:cubicBezTo>
                    <a:pt x="940" y="2619"/>
                    <a:pt x="931" y="2614"/>
                    <a:pt x="920" y="2611"/>
                  </a:cubicBezTo>
                  <a:cubicBezTo>
                    <a:pt x="908" y="2608"/>
                    <a:pt x="897" y="2608"/>
                    <a:pt x="889" y="2602"/>
                  </a:cubicBezTo>
                  <a:cubicBezTo>
                    <a:pt x="880" y="2597"/>
                    <a:pt x="869" y="2591"/>
                    <a:pt x="858" y="2588"/>
                  </a:cubicBezTo>
                  <a:cubicBezTo>
                    <a:pt x="846" y="2585"/>
                    <a:pt x="838" y="2580"/>
                    <a:pt x="827" y="2577"/>
                  </a:cubicBezTo>
                  <a:cubicBezTo>
                    <a:pt x="815" y="2574"/>
                    <a:pt x="807" y="2569"/>
                    <a:pt x="796" y="2563"/>
                  </a:cubicBezTo>
                  <a:cubicBezTo>
                    <a:pt x="784" y="2558"/>
                    <a:pt x="778" y="2549"/>
                    <a:pt x="767" y="2543"/>
                  </a:cubicBezTo>
                  <a:cubicBezTo>
                    <a:pt x="755" y="2537"/>
                    <a:pt x="747" y="2535"/>
                    <a:pt x="736" y="2529"/>
                  </a:cubicBezTo>
                  <a:cubicBezTo>
                    <a:pt x="724" y="2523"/>
                    <a:pt x="716" y="2521"/>
                    <a:pt x="705" y="2515"/>
                  </a:cubicBezTo>
                  <a:cubicBezTo>
                    <a:pt x="693" y="2509"/>
                    <a:pt x="685" y="2504"/>
                    <a:pt x="677" y="2498"/>
                  </a:cubicBezTo>
                  <a:cubicBezTo>
                    <a:pt x="668" y="2492"/>
                    <a:pt x="657" y="2484"/>
                    <a:pt x="649" y="2478"/>
                  </a:cubicBezTo>
                  <a:cubicBezTo>
                    <a:pt x="640" y="2473"/>
                    <a:pt x="629" y="2464"/>
                    <a:pt x="621" y="2458"/>
                  </a:cubicBezTo>
                  <a:cubicBezTo>
                    <a:pt x="612" y="2453"/>
                    <a:pt x="600" y="2448"/>
                    <a:pt x="592" y="2439"/>
                  </a:cubicBezTo>
                  <a:cubicBezTo>
                    <a:pt x="583" y="2431"/>
                    <a:pt x="572" y="2428"/>
                    <a:pt x="564" y="2419"/>
                  </a:cubicBezTo>
                  <a:cubicBezTo>
                    <a:pt x="555" y="2411"/>
                    <a:pt x="547" y="2402"/>
                    <a:pt x="539" y="2396"/>
                  </a:cubicBezTo>
                  <a:cubicBezTo>
                    <a:pt x="530" y="2391"/>
                    <a:pt x="521" y="2380"/>
                    <a:pt x="513" y="2374"/>
                  </a:cubicBezTo>
                  <a:cubicBezTo>
                    <a:pt x="504" y="2369"/>
                    <a:pt x="493" y="2360"/>
                    <a:pt x="485" y="2354"/>
                  </a:cubicBezTo>
                  <a:cubicBezTo>
                    <a:pt x="476" y="2348"/>
                    <a:pt x="468" y="2341"/>
                    <a:pt x="460" y="2332"/>
                  </a:cubicBezTo>
                  <a:cubicBezTo>
                    <a:pt x="451" y="2324"/>
                    <a:pt x="442" y="2318"/>
                    <a:pt x="434" y="2309"/>
                  </a:cubicBezTo>
                  <a:cubicBezTo>
                    <a:pt x="425" y="2301"/>
                    <a:pt x="420" y="2293"/>
                    <a:pt x="412" y="2284"/>
                  </a:cubicBezTo>
                  <a:cubicBezTo>
                    <a:pt x="403" y="2276"/>
                    <a:pt x="394" y="2269"/>
                    <a:pt x="389" y="2261"/>
                  </a:cubicBezTo>
                  <a:cubicBezTo>
                    <a:pt x="383" y="2253"/>
                    <a:pt x="378" y="2242"/>
                    <a:pt x="370" y="2233"/>
                  </a:cubicBezTo>
                  <a:cubicBezTo>
                    <a:pt x="361" y="2225"/>
                    <a:pt x="355" y="2216"/>
                    <a:pt x="347" y="2207"/>
                  </a:cubicBezTo>
                  <a:cubicBezTo>
                    <a:pt x="339" y="2199"/>
                    <a:pt x="332" y="2190"/>
                    <a:pt x="327" y="2182"/>
                  </a:cubicBezTo>
                  <a:cubicBezTo>
                    <a:pt x="321" y="2174"/>
                    <a:pt x="315" y="2166"/>
                    <a:pt x="307" y="2157"/>
                  </a:cubicBezTo>
                  <a:cubicBezTo>
                    <a:pt x="298" y="2149"/>
                    <a:pt x="296" y="2140"/>
                    <a:pt x="291" y="2128"/>
                  </a:cubicBezTo>
                  <a:cubicBezTo>
                    <a:pt x="285" y="2117"/>
                    <a:pt x="279" y="2111"/>
                    <a:pt x="271" y="2103"/>
                  </a:cubicBezTo>
                  <a:cubicBezTo>
                    <a:pt x="262" y="2095"/>
                    <a:pt x="259" y="2086"/>
                    <a:pt x="254" y="2075"/>
                  </a:cubicBezTo>
                  <a:cubicBezTo>
                    <a:pt x="248" y="2064"/>
                    <a:pt x="240" y="2058"/>
                    <a:pt x="234" y="2049"/>
                  </a:cubicBezTo>
                  <a:cubicBezTo>
                    <a:pt x="228" y="2041"/>
                    <a:pt x="226" y="2030"/>
                    <a:pt x="220" y="2021"/>
                  </a:cubicBezTo>
                  <a:cubicBezTo>
                    <a:pt x="214" y="2013"/>
                    <a:pt x="206" y="2004"/>
                    <a:pt x="203" y="1993"/>
                  </a:cubicBezTo>
                  <a:cubicBezTo>
                    <a:pt x="200" y="1982"/>
                    <a:pt x="197" y="1970"/>
                    <a:pt x="192" y="1962"/>
                  </a:cubicBezTo>
                  <a:cubicBezTo>
                    <a:pt x="186" y="1954"/>
                    <a:pt x="183" y="1943"/>
                    <a:pt x="178" y="1934"/>
                  </a:cubicBezTo>
                  <a:cubicBezTo>
                    <a:pt x="172" y="1926"/>
                    <a:pt x="166" y="1918"/>
                    <a:pt x="161" y="1906"/>
                  </a:cubicBezTo>
                  <a:cubicBezTo>
                    <a:pt x="155" y="1895"/>
                    <a:pt x="155" y="1887"/>
                    <a:pt x="152" y="1875"/>
                  </a:cubicBezTo>
                  <a:cubicBezTo>
                    <a:pt x="149" y="1864"/>
                    <a:pt x="144" y="1856"/>
                    <a:pt x="141" y="1844"/>
                  </a:cubicBezTo>
                  <a:cubicBezTo>
                    <a:pt x="138" y="1833"/>
                    <a:pt x="130" y="1824"/>
                    <a:pt x="127" y="1815"/>
                  </a:cubicBezTo>
                  <a:cubicBezTo>
                    <a:pt x="124" y="1807"/>
                    <a:pt x="103" y="1796"/>
                    <a:pt x="101" y="1784"/>
                  </a:cubicBezTo>
                  <a:cubicBezTo>
                    <a:pt x="98" y="1773"/>
                    <a:pt x="99" y="1762"/>
                    <a:pt x="96" y="1753"/>
                  </a:cubicBezTo>
                  <a:cubicBezTo>
                    <a:pt x="93" y="1745"/>
                    <a:pt x="87" y="1733"/>
                    <a:pt x="85" y="1722"/>
                  </a:cubicBezTo>
                  <a:cubicBezTo>
                    <a:pt x="82" y="1711"/>
                    <a:pt x="79" y="1702"/>
                    <a:pt x="79" y="1691"/>
                  </a:cubicBezTo>
                  <a:cubicBezTo>
                    <a:pt x="79" y="1680"/>
                    <a:pt x="73" y="1671"/>
                    <a:pt x="73" y="1660"/>
                  </a:cubicBezTo>
                  <a:cubicBezTo>
                    <a:pt x="73" y="1649"/>
                    <a:pt x="65" y="1640"/>
                    <a:pt x="62" y="1629"/>
                  </a:cubicBezTo>
                  <a:cubicBezTo>
                    <a:pt x="59" y="1618"/>
                    <a:pt x="58" y="1609"/>
                    <a:pt x="56" y="1598"/>
                  </a:cubicBezTo>
                  <a:cubicBezTo>
                    <a:pt x="53" y="1587"/>
                    <a:pt x="56" y="1576"/>
                    <a:pt x="54" y="1567"/>
                  </a:cubicBezTo>
                  <a:cubicBezTo>
                    <a:pt x="51" y="1559"/>
                    <a:pt x="54" y="1544"/>
                    <a:pt x="51" y="1536"/>
                  </a:cubicBezTo>
                  <a:cubicBezTo>
                    <a:pt x="48" y="1528"/>
                    <a:pt x="45" y="1513"/>
                    <a:pt x="45" y="1502"/>
                  </a:cubicBezTo>
                  <a:cubicBezTo>
                    <a:pt x="45" y="1491"/>
                    <a:pt x="42" y="1480"/>
                    <a:pt x="42" y="1471"/>
                  </a:cubicBezTo>
                  <a:cubicBezTo>
                    <a:pt x="42" y="1463"/>
                    <a:pt x="42" y="1449"/>
                    <a:pt x="42" y="1440"/>
                  </a:cubicBezTo>
                  <a:cubicBezTo>
                    <a:pt x="42" y="1432"/>
                    <a:pt x="39" y="1418"/>
                    <a:pt x="39" y="1406"/>
                  </a:cubicBezTo>
                  <a:cubicBezTo>
                    <a:pt x="39" y="1395"/>
                    <a:pt x="39" y="1384"/>
                    <a:pt x="39" y="1375"/>
                  </a:cubicBezTo>
                  <a:cubicBezTo>
                    <a:pt x="39" y="1367"/>
                    <a:pt x="37" y="1353"/>
                    <a:pt x="37" y="1345"/>
                  </a:cubicBezTo>
                  <a:cubicBezTo>
                    <a:pt x="37" y="1336"/>
                    <a:pt x="37" y="1322"/>
                    <a:pt x="37" y="1314"/>
                  </a:cubicBezTo>
                  <a:cubicBezTo>
                    <a:pt x="37" y="1305"/>
                    <a:pt x="39" y="1291"/>
                    <a:pt x="42" y="1283"/>
                  </a:cubicBezTo>
                  <a:cubicBezTo>
                    <a:pt x="45" y="1274"/>
                    <a:pt x="39" y="1257"/>
                    <a:pt x="39" y="1246"/>
                  </a:cubicBezTo>
                  <a:cubicBezTo>
                    <a:pt x="39" y="1234"/>
                    <a:pt x="39" y="1223"/>
                    <a:pt x="42" y="1215"/>
                  </a:cubicBezTo>
                  <a:cubicBezTo>
                    <a:pt x="45" y="1206"/>
                    <a:pt x="48" y="1195"/>
                    <a:pt x="51" y="1184"/>
                  </a:cubicBezTo>
                  <a:cubicBezTo>
                    <a:pt x="54" y="1172"/>
                    <a:pt x="53" y="1161"/>
                    <a:pt x="56" y="1153"/>
                  </a:cubicBezTo>
                  <a:cubicBezTo>
                    <a:pt x="58" y="1144"/>
                    <a:pt x="59" y="1130"/>
                    <a:pt x="62" y="1122"/>
                  </a:cubicBezTo>
                  <a:cubicBezTo>
                    <a:pt x="65" y="1113"/>
                    <a:pt x="68" y="1100"/>
                    <a:pt x="68" y="1089"/>
                  </a:cubicBezTo>
                  <a:cubicBezTo>
                    <a:pt x="68" y="1077"/>
                    <a:pt x="70" y="1065"/>
                    <a:pt x="73" y="1057"/>
                  </a:cubicBezTo>
                  <a:cubicBezTo>
                    <a:pt x="76" y="1048"/>
                    <a:pt x="76" y="1034"/>
                    <a:pt x="79" y="1026"/>
                  </a:cubicBezTo>
                  <a:cubicBezTo>
                    <a:pt x="82" y="1017"/>
                    <a:pt x="90" y="1006"/>
                    <a:pt x="93" y="995"/>
                  </a:cubicBezTo>
                  <a:cubicBezTo>
                    <a:pt x="96" y="983"/>
                    <a:pt x="98" y="972"/>
                    <a:pt x="101" y="964"/>
                  </a:cubicBezTo>
                  <a:cubicBezTo>
                    <a:pt x="103" y="955"/>
                    <a:pt x="104" y="941"/>
                    <a:pt x="110" y="933"/>
                  </a:cubicBezTo>
                  <a:cubicBezTo>
                    <a:pt x="116" y="924"/>
                    <a:pt x="118" y="913"/>
                    <a:pt x="121" y="902"/>
                  </a:cubicBezTo>
                  <a:cubicBezTo>
                    <a:pt x="124" y="890"/>
                    <a:pt x="132" y="882"/>
                    <a:pt x="135" y="874"/>
                  </a:cubicBezTo>
                  <a:cubicBezTo>
                    <a:pt x="137" y="865"/>
                    <a:pt x="141" y="854"/>
                    <a:pt x="147" y="843"/>
                  </a:cubicBezTo>
                  <a:cubicBezTo>
                    <a:pt x="152" y="832"/>
                    <a:pt x="152" y="820"/>
                    <a:pt x="158" y="812"/>
                  </a:cubicBezTo>
                  <a:cubicBezTo>
                    <a:pt x="164" y="803"/>
                    <a:pt x="166" y="792"/>
                    <a:pt x="172" y="781"/>
                  </a:cubicBezTo>
                  <a:cubicBezTo>
                    <a:pt x="178" y="770"/>
                    <a:pt x="183" y="761"/>
                    <a:pt x="189" y="753"/>
                  </a:cubicBezTo>
                  <a:cubicBezTo>
                    <a:pt x="195" y="744"/>
                    <a:pt x="200" y="733"/>
                    <a:pt x="206" y="725"/>
                  </a:cubicBezTo>
                  <a:cubicBezTo>
                    <a:pt x="212" y="716"/>
                    <a:pt x="217" y="705"/>
                    <a:pt x="223" y="694"/>
                  </a:cubicBezTo>
                  <a:cubicBezTo>
                    <a:pt x="228" y="682"/>
                    <a:pt x="234" y="673"/>
                    <a:pt x="240" y="665"/>
                  </a:cubicBezTo>
                  <a:cubicBezTo>
                    <a:pt x="245" y="656"/>
                    <a:pt x="251" y="645"/>
                    <a:pt x="257" y="637"/>
                  </a:cubicBezTo>
                  <a:cubicBezTo>
                    <a:pt x="262" y="628"/>
                    <a:pt x="270" y="617"/>
                    <a:pt x="276" y="609"/>
                  </a:cubicBezTo>
                  <a:cubicBezTo>
                    <a:pt x="281" y="601"/>
                    <a:pt x="287" y="589"/>
                    <a:pt x="296" y="581"/>
                  </a:cubicBezTo>
                  <a:cubicBezTo>
                    <a:pt x="304" y="572"/>
                    <a:pt x="313" y="563"/>
                    <a:pt x="319" y="555"/>
                  </a:cubicBezTo>
                  <a:cubicBezTo>
                    <a:pt x="324" y="546"/>
                    <a:pt x="330" y="535"/>
                    <a:pt x="339" y="527"/>
                  </a:cubicBezTo>
                  <a:cubicBezTo>
                    <a:pt x="347" y="518"/>
                    <a:pt x="355" y="510"/>
                    <a:pt x="361" y="502"/>
                  </a:cubicBezTo>
                  <a:cubicBezTo>
                    <a:pt x="367" y="493"/>
                    <a:pt x="378" y="484"/>
                    <a:pt x="384" y="476"/>
                  </a:cubicBezTo>
                  <a:cubicBezTo>
                    <a:pt x="389" y="467"/>
                    <a:pt x="394" y="456"/>
                    <a:pt x="403" y="448"/>
                  </a:cubicBezTo>
                  <a:cubicBezTo>
                    <a:pt x="411" y="439"/>
                    <a:pt x="420" y="434"/>
                    <a:pt x="429" y="426"/>
                  </a:cubicBezTo>
                  <a:cubicBezTo>
                    <a:pt x="437" y="417"/>
                    <a:pt x="442" y="405"/>
                    <a:pt x="451" y="400"/>
                  </a:cubicBezTo>
                  <a:cubicBezTo>
                    <a:pt x="459" y="394"/>
                    <a:pt x="471" y="388"/>
                    <a:pt x="480" y="380"/>
                  </a:cubicBezTo>
                  <a:cubicBezTo>
                    <a:pt x="488" y="371"/>
                    <a:pt x="493" y="364"/>
                    <a:pt x="502" y="358"/>
                  </a:cubicBezTo>
                  <a:cubicBezTo>
                    <a:pt x="510" y="352"/>
                    <a:pt x="519" y="343"/>
                    <a:pt x="528" y="338"/>
                  </a:cubicBezTo>
                  <a:cubicBezTo>
                    <a:pt x="536" y="332"/>
                    <a:pt x="544" y="323"/>
                    <a:pt x="553" y="318"/>
                  </a:cubicBezTo>
                  <a:cubicBezTo>
                    <a:pt x="561" y="312"/>
                    <a:pt x="566" y="302"/>
                    <a:pt x="578" y="296"/>
                  </a:cubicBezTo>
                  <a:cubicBezTo>
                    <a:pt x="589" y="290"/>
                    <a:pt x="595" y="285"/>
                    <a:pt x="607" y="279"/>
                  </a:cubicBezTo>
                  <a:cubicBezTo>
                    <a:pt x="618" y="273"/>
                    <a:pt x="623" y="264"/>
                    <a:pt x="632" y="259"/>
                  </a:cubicBezTo>
                  <a:cubicBezTo>
                    <a:pt x="640" y="253"/>
                    <a:pt x="651" y="251"/>
                    <a:pt x="660" y="245"/>
                  </a:cubicBezTo>
                  <a:cubicBezTo>
                    <a:pt x="668" y="239"/>
                    <a:pt x="676" y="231"/>
                    <a:pt x="688" y="228"/>
                  </a:cubicBezTo>
                  <a:cubicBezTo>
                    <a:pt x="699" y="225"/>
                    <a:pt x="705" y="216"/>
                    <a:pt x="717" y="211"/>
                  </a:cubicBezTo>
                  <a:cubicBezTo>
                    <a:pt x="728" y="205"/>
                    <a:pt x="736" y="203"/>
                    <a:pt x="745" y="197"/>
                  </a:cubicBezTo>
                  <a:cubicBezTo>
                    <a:pt x="753" y="191"/>
                    <a:pt x="762" y="186"/>
                    <a:pt x="773" y="180"/>
                  </a:cubicBezTo>
                  <a:cubicBezTo>
                    <a:pt x="782" y="175"/>
                    <a:pt x="792" y="172"/>
                    <a:pt x="801" y="166"/>
                  </a:cubicBezTo>
                  <a:cubicBezTo>
                    <a:pt x="809" y="160"/>
                    <a:pt x="820" y="160"/>
                    <a:pt x="832" y="155"/>
                  </a:cubicBezTo>
                  <a:cubicBezTo>
                    <a:pt x="843" y="149"/>
                    <a:pt x="852" y="144"/>
                    <a:pt x="861" y="141"/>
                  </a:cubicBezTo>
                  <a:cubicBezTo>
                    <a:pt x="869" y="138"/>
                    <a:pt x="880" y="132"/>
                    <a:pt x="889" y="127"/>
                  </a:cubicBezTo>
                  <a:cubicBezTo>
                    <a:pt x="897" y="121"/>
                    <a:pt x="908" y="117"/>
                    <a:pt x="920" y="115"/>
                  </a:cubicBezTo>
                  <a:cubicBezTo>
                    <a:pt x="931" y="112"/>
                    <a:pt x="942" y="113"/>
                    <a:pt x="951" y="107"/>
                  </a:cubicBezTo>
                  <a:cubicBezTo>
                    <a:pt x="959" y="101"/>
                    <a:pt x="971" y="98"/>
                    <a:pt x="982" y="96"/>
                  </a:cubicBezTo>
                  <a:cubicBezTo>
                    <a:pt x="993" y="93"/>
                    <a:pt x="1002" y="90"/>
                    <a:pt x="1013" y="87"/>
                  </a:cubicBezTo>
                  <a:cubicBezTo>
                    <a:pt x="1024" y="84"/>
                    <a:pt x="1033" y="79"/>
                    <a:pt x="1044" y="76"/>
                  </a:cubicBezTo>
                  <a:cubicBezTo>
                    <a:pt x="1055" y="73"/>
                    <a:pt x="1066" y="73"/>
                    <a:pt x="1075" y="70"/>
                  </a:cubicBezTo>
                  <a:cubicBezTo>
                    <a:pt x="1083" y="67"/>
                    <a:pt x="1095" y="65"/>
                    <a:pt x="1106" y="62"/>
                  </a:cubicBezTo>
                  <a:cubicBezTo>
                    <a:pt x="1117" y="59"/>
                    <a:pt x="1129" y="59"/>
                    <a:pt x="1137" y="59"/>
                  </a:cubicBezTo>
                  <a:cubicBezTo>
                    <a:pt x="1145" y="59"/>
                    <a:pt x="1157" y="56"/>
                    <a:pt x="1168" y="53"/>
                  </a:cubicBezTo>
                  <a:cubicBezTo>
                    <a:pt x="1179" y="50"/>
                    <a:pt x="1188" y="50"/>
                    <a:pt x="1199" y="48"/>
                  </a:cubicBezTo>
                  <a:cubicBezTo>
                    <a:pt x="1210" y="45"/>
                    <a:pt x="1219" y="42"/>
                    <a:pt x="1230" y="42"/>
                  </a:cubicBezTo>
                  <a:cubicBezTo>
                    <a:pt x="1241" y="42"/>
                    <a:pt x="1252" y="45"/>
                    <a:pt x="1261" y="45"/>
                  </a:cubicBezTo>
                  <a:cubicBezTo>
                    <a:pt x="1269" y="45"/>
                    <a:pt x="1287" y="36"/>
                    <a:pt x="1298" y="36"/>
                  </a:cubicBezTo>
                  <a:cubicBezTo>
                    <a:pt x="1309" y="36"/>
                    <a:pt x="1320" y="36"/>
                    <a:pt x="1329" y="36"/>
                  </a:cubicBezTo>
                  <a:cubicBezTo>
                    <a:pt x="1337" y="36"/>
                    <a:pt x="1351" y="36"/>
                    <a:pt x="1360" y="36"/>
                  </a:cubicBezTo>
                  <a:cubicBezTo>
                    <a:pt x="1368" y="36"/>
                    <a:pt x="1382" y="36"/>
                    <a:pt x="1390" y="36"/>
                  </a:cubicBezTo>
                  <a:cubicBezTo>
                    <a:pt x="1398" y="36"/>
                    <a:pt x="1416" y="36"/>
                    <a:pt x="1427" y="36"/>
                  </a:cubicBezTo>
                  <a:cubicBezTo>
                    <a:pt x="1439" y="36"/>
                    <a:pt x="1450" y="39"/>
                    <a:pt x="1458" y="39"/>
                  </a:cubicBezTo>
                  <a:cubicBezTo>
                    <a:pt x="1467" y="39"/>
                    <a:pt x="1481" y="39"/>
                    <a:pt x="1489" y="39"/>
                  </a:cubicBezTo>
                  <a:cubicBezTo>
                    <a:pt x="1498" y="39"/>
                    <a:pt x="1512" y="42"/>
                    <a:pt x="1520" y="45"/>
                  </a:cubicBezTo>
                  <a:cubicBezTo>
                    <a:pt x="1529" y="48"/>
                    <a:pt x="1543" y="45"/>
                    <a:pt x="1551" y="48"/>
                  </a:cubicBezTo>
                  <a:cubicBezTo>
                    <a:pt x="1560" y="50"/>
                    <a:pt x="1574" y="50"/>
                    <a:pt x="1582" y="50"/>
                  </a:cubicBezTo>
                  <a:cubicBezTo>
                    <a:pt x="1591" y="50"/>
                    <a:pt x="1605" y="53"/>
                    <a:pt x="1613" y="56"/>
                  </a:cubicBezTo>
                  <a:cubicBezTo>
                    <a:pt x="1622" y="59"/>
                    <a:pt x="1636" y="59"/>
                    <a:pt x="1644" y="62"/>
                  </a:cubicBezTo>
                  <a:cubicBezTo>
                    <a:pt x="1653" y="65"/>
                    <a:pt x="1667" y="67"/>
                    <a:pt x="1675" y="67"/>
                  </a:cubicBezTo>
                  <a:cubicBezTo>
                    <a:pt x="1683" y="67"/>
                    <a:pt x="1695" y="73"/>
                    <a:pt x="1706" y="76"/>
                  </a:cubicBezTo>
                  <a:cubicBezTo>
                    <a:pt x="1717" y="79"/>
                    <a:pt x="1726" y="81"/>
                    <a:pt x="1737" y="84"/>
                  </a:cubicBezTo>
                  <a:cubicBezTo>
                    <a:pt x="1748" y="87"/>
                    <a:pt x="1757" y="93"/>
                    <a:pt x="1768" y="98"/>
                  </a:cubicBezTo>
                  <a:cubicBezTo>
                    <a:pt x="1779" y="104"/>
                    <a:pt x="1788" y="104"/>
                    <a:pt x="1799" y="107"/>
                  </a:cubicBezTo>
                  <a:cubicBezTo>
                    <a:pt x="1810" y="110"/>
                    <a:pt x="1822" y="112"/>
                    <a:pt x="1830" y="115"/>
                  </a:cubicBezTo>
                  <a:cubicBezTo>
                    <a:pt x="1839" y="117"/>
                    <a:pt x="1850" y="126"/>
                    <a:pt x="1861" y="129"/>
                  </a:cubicBezTo>
                  <a:cubicBezTo>
                    <a:pt x="1872" y="131"/>
                    <a:pt x="1881" y="138"/>
                    <a:pt x="1892" y="141"/>
                  </a:cubicBezTo>
                  <a:cubicBezTo>
                    <a:pt x="1904" y="144"/>
                    <a:pt x="1912" y="152"/>
                    <a:pt x="1923" y="155"/>
                  </a:cubicBezTo>
                  <a:cubicBezTo>
                    <a:pt x="1935" y="158"/>
                    <a:pt x="1946" y="160"/>
                    <a:pt x="1954" y="166"/>
                  </a:cubicBezTo>
                  <a:cubicBezTo>
                    <a:pt x="1963" y="172"/>
                    <a:pt x="1975" y="177"/>
                    <a:pt x="1983" y="183"/>
                  </a:cubicBezTo>
                  <a:cubicBezTo>
                    <a:pt x="1992" y="189"/>
                    <a:pt x="2003" y="194"/>
                    <a:pt x="2014" y="200"/>
                  </a:cubicBezTo>
                  <a:cubicBezTo>
                    <a:pt x="2026" y="206"/>
                    <a:pt x="2034" y="211"/>
                    <a:pt x="2045" y="217"/>
                  </a:cubicBezTo>
                  <a:cubicBezTo>
                    <a:pt x="2057" y="223"/>
                    <a:pt x="2065" y="231"/>
                    <a:pt x="2073" y="237"/>
                  </a:cubicBezTo>
                  <a:cubicBezTo>
                    <a:pt x="2082" y="242"/>
                    <a:pt x="2093" y="248"/>
                    <a:pt x="2104" y="254"/>
                  </a:cubicBezTo>
                  <a:cubicBezTo>
                    <a:pt x="2115" y="259"/>
                    <a:pt x="2124" y="267"/>
                    <a:pt x="2132" y="273"/>
                  </a:cubicBezTo>
                  <a:cubicBezTo>
                    <a:pt x="2141" y="278"/>
                    <a:pt x="2152" y="287"/>
                    <a:pt x="2160" y="293"/>
                  </a:cubicBezTo>
                  <a:cubicBezTo>
                    <a:pt x="2169" y="299"/>
                    <a:pt x="2180" y="304"/>
                    <a:pt x="2189" y="313"/>
                  </a:cubicBezTo>
                  <a:cubicBezTo>
                    <a:pt x="2197" y="318"/>
                    <a:pt x="2209" y="324"/>
                    <a:pt x="2217" y="333"/>
                  </a:cubicBezTo>
                  <a:cubicBezTo>
                    <a:pt x="2226" y="341"/>
                    <a:pt x="2231" y="349"/>
                    <a:pt x="2239" y="358"/>
                  </a:cubicBezTo>
                  <a:cubicBezTo>
                    <a:pt x="2248" y="366"/>
                    <a:pt x="2257" y="371"/>
                    <a:pt x="2265" y="380"/>
                  </a:cubicBezTo>
                  <a:cubicBezTo>
                    <a:pt x="2274" y="388"/>
                    <a:pt x="2285" y="391"/>
                    <a:pt x="2293" y="400"/>
                  </a:cubicBezTo>
                  <a:cubicBezTo>
                    <a:pt x="2302" y="408"/>
                    <a:pt x="2307" y="417"/>
                    <a:pt x="2315" y="426"/>
                  </a:cubicBezTo>
                  <a:cubicBezTo>
                    <a:pt x="2324" y="434"/>
                    <a:pt x="2330" y="443"/>
                    <a:pt x="2335" y="451"/>
                  </a:cubicBezTo>
                  <a:cubicBezTo>
                    <a:pt x="2341" y="459"/>
                    <a:pt x="2353" y="465"/>
                    <a:pt x="2361" y="474"/>
                  </a:cubicBezTo>
                  <a:cubicBezTo>
                    <a:pt x="2370" y="482"/>
                    <a:pt x="2372" y="491"/>
                    <a:pt x="2380" y="499"/>
                  </a:cubicBezTo>
                  <a:cubicBezTo>
                    <a:pt x="2389" y="507"/>
                    <a:pt x="2395" y="515"/>
                    <a:pt x="2403" y="524"/>
                  </a:cubicBezTo>
                  <a:cubicBezTo>
                    <a:pt x="2412" y="532"/>
                    <a:pt x="2418" y="541"/>
                    <a:pt x="2426" y="550"/>
                  </a:cubicBezTo>
                  <a:cubicBezTo>
                    <a:pt x="2435" y="558"/>
                    <a:pt x="2437" y="569"/>
                    <a:pt x="2442" y="578"/>
                  </a:cubicBezTo>
                  <a:cubicBezTo>
                    <a:pt x="2448" y="586"/>
                    <a:pt x="2457" y="594"/>
                    <a:pt x="2465" y="603"/>
                  </a:cubicBezTo>
                  <a:cubicBezTo>
                    <a:pt x="2474" y="611"/>
                    <a:pt x="2474" y="623"/>
                    <a:pt x="2479" y="632"/>
                  </a:cubicBezTo>
                  <a:cubicBezTo>
                    <a:pt x="2485" y="640"/>
                    <a:pt x="2493" y="648"/>
                    <a:pt x="2499" y="657"/>
                  </a:cubicBezTo>
                  <a:cubicBezTo>
                    <a:pt x="2505" y="665"/>
                    <a:pt x="2507" y="676"/>
                    <a:pt x="2513" y="685"/>
                  </a:cubicBezTo>
                  <a:cubicBezTo>
                    <a:pt x="2519" y="693"/>
                    <a:pt x="2527" y="701"/>
                    <a:pt x="2530" y="713"/>
                  </a:cubicBezTo>
                  <a:cubicBezTo>
                    <a:pt x="2533" y="724"/>
                    <a:pt x="2541" y="730"/>
                    <a:pt x="2547" y="742"/>
                  </a:cubicBezTo>
                  <a:cubicBezTo>
                    <a:pt x="2553" y="753"/>
                    <a:pt x="2553" y="761"/>
                    <a:pt x="2558" y="773"/>
                  </a:cubicBezTo>
                  <a:cubicBezTo>
                    <a:pt x="2564" y="784"/>
                    <a:pt x="2567" y="792"/>
                    <a:pt x="2572" y="801"/>
                  </a:cubicBezTo>
                  <a:cubicBezTo>
                    <a:pt x="2578" y="809"/>
                    <a:pt x="2581" y="821"/>
                    <a:pt x="2586" y="829"/>
                  </a:cubicBezTo>
                  <a:cubicBezTo>
                    <a:pt x="2592" y="837"/>
                    <a:pt x="2598" y="846"/>
                    <a:pt x="2603" y="857"/>
                  </a:cubicBezTo>
                  <a:cubicBezTo>
                    <a:pt x="2609" y="868"/>
                    <a:pt x="2607" y="879"/>
                    <a:pt x="2612" y="888"/>
                  </a:cubicBezTo>
                  <a:cubicBezTo>
                    <a:pt x="2618" y="896"/>
                    <a:pt x="2623" y="907"/>
                    <a:pt x="2626" y="916"/>
                  </a:cubicBezTo>
                  <a:cubicBezTo>
                    <a:pt x="2629" y="924"/>
                    <a:pt x="2632" y="935"/>
                    <a:pt x="2634" y="947"/>
                  </a:cubicBezTo>
                  <a:cubicBezTo>
                    <a:pt x="2637" y="958"/>
                    <a:pt x="2644" y="967"/>
                    <a:pt x="2646" y="979"/>
                  </a:cubicBezTo>
                  <a:cubicBezTo>
                    <a:pt x="2649" y="990"/>
                    <a:pt x="2651" y="998"/>
                    <a:pt x="2654" y="1010"/>
                  </a:cubicBezTo>
                  <a:cubicBezTo>
                    <a:pt x="2657" y="1021"/>
                    <a:pt x="2663" y="1029"/>
                    <a:pt x="2663" y="1041"/>
                  </a:cubicBezTo>
                  <a:cubicBezTo>
                    <a:pt x="2663" y="1052"/>
                    <a:pt x="2665" y="1060"/>
                    <a:pt x="2668" y="1072"/>
                  </a:cubicBezTo>
                  <a:cubicBezTo>
                    <a:pt x="2671" y="1083"/>
                    <a:pt x="2671" y="1091"/>
                    <a:pt x="2674" y="1103"/>
                  </a:cubicBezTo>
                  <a:cubicBezTo>
                    <a:pt x="2677" y="1114"/>
                    <a:pt x="2677" y="1122"/>
                    <a:pt x="2679" y="1134"/>
                  </a:cubicBezTo>
                  <a:cubicBezTo>
                    <a:pt x="2682" y="1145"/>
                    <a:pt x="2685" y="1153"/>
                    <a:pt x="2685" y="1165"/>
                  </a:cubicBezTo>
                  <a:cubicBezTo>
                    <a:pt x="2685" y="1176"/>
                    <a:pt x="2688" y="1187"/>
                    <a:pt x="2688" y="1196"/>
                  </a:cubicBezTo>
                  <a:cubicBezTo>
                    <a:pt x="2688" y="1204"/>
                    <a:pt x="2691" y="1218"/>
                    <a:pt x="2691" y="1227"/>
                  </a:cubicBezTo>
                  <a:cubicBezTo>
                    <a:pt x="2691" y="1235"/>
                    <a:pt x="2696" y="1246"/>
                    <a:pt x="2696" y="1258"/>
                  </a:cubicBezTo>
                  <a:cubicBezTo>
                    <a:pt x="2696" y="1269"/>
                    <a:pt x="2694" y="1280"/>
                    <a:pt x="2694" y="1289"/>
                  </a:cubicBezTo>
                  <a:cubicBezTo>
                    <a:pt x="2694" y="1297"/>
                    <a:pt x="2696" y="1311"/>
                    <a:pt x="2696" y="1320"/>
                  </a:cubicBezTo>
                  <a:cubicBezTo>
                    <a:pt x="2696" y="1328"/>
                    <a:pt x="2699" y="1342"/>
                    <a:pt x="2699" y="1351"/>
                  </a:cubicBezTo>
                  <a:cubicBezTo>
                    <a:pt x="2699" y="1359"/>
                    <a:pt x="2702" y="1378"/>
                    <a:pt x="2699" y="1389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ChangeArrowheads="1"/>
            </p:cNvSpPr>
            <p:nvPr/>
          </p:nvSpPr>
          <p:spPr bwMode="auto">
            <a:xfrm>
              <a:off x="4498975" y="2205038"/>
              <a:ext cx="9525" cy="7937"/>
            </a:xfrm>
            <a:custGeom>
              <a:avLst/>
              <a:gdLst>
                <a:gd name="T0" fmla="*/ 14 w 26"/>
                <a:gd name="T1" fmla="*/ 0 h 23"/>
                <a:gd name="T2" fmla="*/ 0 w 26"/>
                <a:gd name="T3" fmla="*/ 8 h 23"/>
                <a:gd name="T4" fmla="*/ 0 w 26"/>
                <a:gd name="T5" fmla="*/ 22 h 23"/>
                <a:gd name="T6" fmla="*/ 3 w 26"/>
                <a:gd name="T7" fmla="*/ 22 h 23"/>
                <a:gd name="T8" fmla="*/ 14 w 26"/>
                <a:gd name="T9" fmla="*/ 22 h 23"/>
                <a:gd name="T10" fmla="*/ 14 w 26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3">
                  <a:moveTo>
                    <a:pt x="14" y="0"/>
                  </a:moveTo>
                  <a:cubicBezTo>
                    <a:pt x="8" y="3"/>
                    <a:pt x="6" y="5"/>
                    <a:pt x="0" y="8"/>
                  </a:cubicBezTo>
                  <a:lnTo>
                    <a:pt x="0" y="22"/>
                  </a:lnTo>
                  <a:lnTo>
                    <a:pt x="3" y="22"/>
                  </a:lnTo>
                  <a:cubicBezTo>
                    <a:pt x="6" y="22"/>
                    <a:pt x="11" y="22"/>
                    <a:pt x="14" y="22"/>
                  </a:cubicBezTo>
                  <a:cubicBezTo>
                    <a:pt x="23" y="19"/>
                    <a:pt x="25" y="3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ChangeArrowheads="1"/>
            </p:cNvSpPr>
            <p:nvPr/>
          </p:nvSpPr>
          <p:spPr bwMode="auto">
            <a:xfrm>
              <a:off x="4487863" y="2219325"/>
              <a:ext cx="3175" cy="3175"/>
            </a:xfrm>
            <a:custGeom>
              <a:avLst/>
              <a:gdLst>
                <a:gd name="T0" fmla="*/ 0 w 9"/>
                <a:gd name="T1" fmla="*/ 3 h 10"/>
                <a:gd name="T2" fmla="*/ 0 w 9"/>
                <a:gd name="T3" fmla="*/ 3 h 10"/>
                <a:gd name="T4" fmla="*/ 6 w 9"/>
                <a:gd name="T5" fmla="*/ 9 h 10"/>
                <a:gd name="T6" fmla="*/ 0 w 9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3"/>
                  </a:moveTo>
                  <a:lnTo>
                    <a:pt x="0" y="3"/>
                  </a:lnTo>
                  <a:cubicBezTo>
                    <a:pt x="3" y="6"/>
                    <a:pt x="3" y="9"/>
                    <a:pt x="6" y="9"/>
                  </a:cubicBezTo>
                  <a:cubicBezTo>
                    <a:pt x="8" y="6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 noChangeArrowheads="1"/>
            </p:cNvSpPr>
            <p:nvPr/>
          </p:nvSpPr>
          <p:spPr bwMode="auto">
            <a:xfrm>
              <a:off x="4522788" y="2224088"/>
              <a:ext cx="3175" cy="3175"/>
            </a:xfrm>
            <a:custGeom>
              <a:avLst/>
              <a:gdLst>
                <a:gd name="T0" fmla="*/ 8 w 9"/>
                <a:gd name="T1" fmla="*/ 3 h 7"/>
                <a:gd name="T2" fmla="*/ 0 w 9"/>
                <a:gd name="T3" fmla="*/ 0 h 7"/>
                <a:gd name="T4" fmla="*/ 3 w 9"/>
                <a:gd name="T5" fmla="*/ 6 h 7"/>
                <a:gd name="T6" fmla="*/ 8 w 9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8" y="3"/>
                  </a:moveTo>
                  <a:cubicBezTo>
                    <a:pt x="6" y="3"/>
                    <a:pt x="6" y="0"/>
                    <a:pt x="0" y="0"/>
                  </a:cubicBezTo>
                  <a:cubicBezTo>
                    <a:pt x="0" y="3"/>
                    <a:pt x="3" y="3"/>
                    <a:pt x="3" y="6"/>
                  </a:cubicBezTo>
                  <a:cubicBezTo>
                    <a:pt x="8" y="6"/>
                    <a:pt x="8" y="6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 noChangeArrowheads="1"/>
            </p:cNvSpPr>
            <p:nvPr/>
          </p:nvSpPr>
          <p:spPr bwMode="auto">
            <a:xfrm>
              <a:off x="3778250" y="2181225"/>
              <a:ext cx="14288" cy="11113"/>
            </a:xfrm>
            <a:custGeom>
              <a:avLst/>
              <a:gdLst>
                <a:gd name="T0" fmla="*/ 23 w 38"/>
                <a:gd name="T1" fmla="*/ 8 h 32"/>
                <a:gd name="T2" fmla="*/ 9 w 38"/>
                <a:gd name="T3" fmla="*/ 0 h 32"/>
                <a:gd name="T4" fmla="*/ 3 w 38"/>
                <a:gd name="T5" fmla="*/ 23 h 32"/>
                <a:gd name="T6" fmla="*/ 12 w 38"/>
                <a:gd name="T7" fmla="*/ 31 h 32"/>
                <a:gd name="T8" fmla="*/ 23 w 38"/>
                <a:gd name="T9" fmla="*/ 20 h 32"/>
                <a:gd name="T10" fmla="*/ 31 w 38"/>
                <a:gd name="T11" fmla="*/ 3 h 32"/>
                <a:gd name="T12" fmla="*/ 23 w 38"/>
                <a:gd name="T13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32">
                  <a:moveTo>
                    <a:pt x="23" y="8"/>
                  </a:moveTo>
                  <a:cubicBezTo>
                    <a:pt x="15" y="11"/>
                    <a:pt x="17" y="0"/>
                    <a:pt x="9" y="0"/>
                  </a:cubicBezTo>
                  <a:cubicBezTo>
                    <a:pt x="6" y="8"/>
                    <a:pt x="0" y="14"/>
                    <a:pt x="3" y="23"/>
                  </a:cubicBezTo>
                  <a:cubicBezTo>
                    <a:pt x="9" y="23"/>
                    <a:pt x="15" y="23"/>
                    <a:pt x="12" y="31"/>
                  </a:cubicBezTo>
                  <a:cubicBezTo>
                    <a:pt x="20" y="31"/>
                    <a:pt x="20" y="23"/>
                    <a:pt x="23" y="20"/>
                  </a:cubicBezTo>
                  <a:cubicBezTo>
                    <a:pt x="29" y="17"/>
                    <a:pt x="37" y="11"/>
                    <a:pt x="31" y="3"/>
                  </a:cubicBezTo>
                  <a:cubicBezTo>
                    <a:pt x="26" y="0"/>
                    <a:pt x="31" y="11"/>
                    <a:pt x="2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 noChangeArrowheads="1"/>
            </p:cNvSpPr>
            <p:nvPr/>
          </p:nvSpPr>
          <p:spPr bwMode="auto">
            <a:xfrm>
              <a:off x="3813175" y="2162175"/>
              <a:ext cx="3175" cy="3175"/>
            </a:xfrm>
            <a:custGeom>
              <a:avLst/>
              <a:gdLst>
                <a:gd name="T0" fmla="*/ 2 w 9"/>
                <a:gd name="T1" fmla="*/ 0 h 10"/>
                <a:gd name="T2" fmla="*/ 0 w 9"/>
                <a:gd name="T3" fmla="*/ 9 h 10"/>
                <a:gd name="T4" fmla="*/ 5 w 9"/>
                <a:gd name="T5" fmla="*/ 9 h 10"/>
                <a:gd name="T6" fmla="*/ 2 w 9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2" y="0"/>
                  </a:moveTo>
                  <a:cubicBezTo>
                    <a:pt x="2" y="3"/>
                    <a:pt x="0" y="3"/>
                    <a:pt x="0" y="9"/>
                  </a:cubicBezTo>
                  <a:lnTo>
                    <a:pt x="5" y="9"/>
                  </a:lnTo>
                  <a:cubicBezTo>
                    <a:pt x="8" y="6"/>
                    <a:pt x="8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 noChangeArrowheads="1"/>
            </p:cNvSpPr>
            <p:nvPr/>
          </p:nvSpPr>
          <p:spPr bwMode="auto">
            <a:xfrm>
              <a:off x="3767138" y="2208213"/>
              <a:ext cx="1587" cy="3175"/>
            </a:xfrm>
            <a:custGeom>
              <a:avLst/>
              <a:gdLst>
                <a:gd name="T0" fmla="*/ 3 w 4"/>
                <a:gd name="T1" fmla="*/ 6 h 10"/>
                <a:gd name="T2" fmla="*/ 3 w 4"/>
                <a:gd name="T3" fmla="*/ 9 h 10"/>
                <a:gd name="T4" fmla="*/ 0 w 4"/>
                <a:gd name="T5" fmla="*/ 0 h 10"/>
                <a:gd name="T6" fmla="*/ 3 w 4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6"/>
                  </a:moveTo>
                  <a:lnTo>
                    <a:pt x="3" y="9"/>
                  </a:lnTo>
                  <a:cubicBezTo>
                    <a:pt x="3" y="6"/>
                    <a:pt x="3" y="3"/>
                    <a:pt x="0" y="0"/>
                  </a:cubicBezTo>
                  <a:cubicBezTo>
                    <a:pt x="3" y="3"/>
                    <a:pt x="3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" name="Freeform 12"/>
            <p:cNvSpPr>
              <a:spLocks noChangeArrowheads="1"/>
            </p:cNvSpPr>
            <p:nvPr/>
          </p:nvSpPr>
          <p:spPr bwMode="auto">
            <a:xfrm>
              <a:off x="4486275" y="2189163"/>
              <a:ext cx="1588" cy="3175"/>
            </a:xfrm>
            <a:custGeom>
              <a:avLst/>
              <a:gdLst>
                <a:gd name="T0" fmla="*/ 0 w 4"/>
                <a:gd name="T1" fmla="*/ 0 h 10"/>
                <a:gd name="T2" fmla="*/ 3 w 4"/>
                <a:gd name="T3" fmla="*/ 9 h 10"/>
                <a:gd name="T4" fmla="*/ 3 w 4"/>
                <a:gd name="T5" fmla="*/ 9 h 10"/>
                <a:gd name="T6" fmla="*/ 0 w 4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0" y="0"/>
                  </a:moveTo>
                  <a:cubicBezTo>
                    <a:pt x="0" y="3"/>
                    <a:pt x="3" y="6"/>
                    <a:pt x="3" y="9"/>
                  </a:cubicBezTo>
                  <a:lnTo>
                    <a:pt x="3" y="9"/>
                  </a:lnTo>
                  <a:cubicBezTo>
                    <a:pt x="3" y="6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 noChangeArrowheads="1"/>
            </p:cNvSpPr>
            <p:nvPr/>
          </p:nvSpPr>
          <p:spPr bwMode="auto">
            <a:xfrm>
              <a:off x="4456113" y="2189163"/>
              <a:ext cx="4762" cy="4762"/>
            </a:xfrm>
            <a:custGeom>
              <a:avLst/>
              <a:gdLst>
                <a:gd name="T0" fmla="*/ 8 w 12"/>
                <a:gd name="T1" fmla="*/ 0 h 13"/>
                <a:gd name="T2" fmla="*/ 0 w 12"/>
                <a:gd name="T3" fmla="*/ 3 h 13"/>
                <a:gd name="T4" fmla="*/ 8 w 12"/>
                <a:gd name="T5" fmla="*/ 12 h 13"/>
                <a:gd name="T6" fmla="*/ 8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8" y="0"/>
                  </a:moveTo>
                  <a:cubicBezTo>
                    <a:pt x="5" y="0"/>
                    <a:pt x="2" y="0"/>
                    <a:pt x="0" y="3"/>
                  </a:cubicBezTo>
                  <a:cubicBezTo>
                    <a:pt x="2" y="6"/>
                    <a:pt x="5" y="9"/>
                    <a:pt x="8" y="12"/>
                  </a:cubicBezTo>
                  <a:cubicBezTo>
                    <a:pt x="11" y="6"/>
                    <a:pt x="11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 noChangeArrowheads="1"/>
            </p:cNvSpPr>
            <p:nvPr/>
          </p:nvSpPr>
          <p:spPr bwMode="auto">
            <a:xfrm>
              <a:off x="4443413" y="2971800"/>
              <a:ext cx="1587" cy="1588"/>
            </a:xfrm>
            <a:custGeom>
              <a:avLst/>
              <a:gdLst>
                <a:gd name="T0" fmla="*/ 2 w 3"/>
                <a:gd name="T1" fmla="*/ 3 h 4"/>
                <a:gd name="T2" fmla="*/ 2 w 3"/>
                <a:gd name="T3" fmla="*/ 3 h 4"/>
                <a:gd name="T4" fmla="*/ 2 w 3"/>
                <a:gd name="T5" fmla="*/ 3 h 4"/>
                <a:gd name="T6" fmla="*/ 0 w 3"/>
                <a:gd name="T7" fmla="*/ 3 h 4"/>
                <a:gd name="T8" fmla="*/ 2 w 3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2" y="3"/>
                  </a:moveTo>
                  <a:lnTo>
                    <a:pt x="2" y="3"/>
                  </a:lnTo>
                  <a:cubicBezTo>
                    <a:pt x="2" y="3"/>
                    <a:pt x="2" y="0"/>
                    <a:pt x="2" y="3"/>
                  </a:cubicBezTo>
                  <a:cubicBezTo>
                    <a:pt x="2" y="0"/>
                    <a:pt x="0" y="0"/>
                    <a:pt x="0" y="3"/>
                  </a:cubicBezTo>
                  <a:lnTo>
                    <a:pt x="2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" name="Freeform 15"/>
            <p:cNvSpPr>
              <a:spLocks noChangeArrowheads="1"/>
            </p:cNvSpPr>
            <p:nvPr/>
          </p:nvSpPr>
          <p:spPr bwMode="auto">
            <a:xfrm>
              <a:off x="4240213" y="3087688"/>
              <a:ext cx="3175" cy="1587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3 h 6"/>
                <a:gd name="T4" fmla="*/ 6 w 7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cubicBezTo>
                    <a:pt x="3" y="0"/>
                    <a:pt x="3" y="3"/>
                    <a:pt x="0" y="3"/>
                  </a:cubicBezTo>
                  <a:cubicBezTo>
                    <a:pt x="3" y="5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" name="Freeform 16"/>
            <p:cNvSpPr>
              <a:spLocks noChangeArrowheads="1"/>
            </p:cNvSpPr>
            <p:nvPr/>
          </p:nvSpPr>
          <p:spPr bwMode="auto">
            <a:xfrm>
              <a:off x="4340225" y="3033713"/>
              <a:ext cx="6350" cy="4762"/>
            </a:xfrm>
            <a:custGeom>
              <a:avLst/>
              <a:gdLst>
                <a:gd name="T0" fmla="*/ 0 w 18"/>
                <a:gd name="T1" fmla="*/ 11 h 12"/>
                <a:gd name="T2" fmla="*/ 17 w 18"/>
                <a:gd name="T3" fmla="*/ 0 h 12"/>
                <a:gd name="T4" fmla="*/ 0 w 18"/>
                <a:gd name="T5" fmla="*/ 8 h 12"/>
                <a:gd name="T6" fmla="*/ 0 w 18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2">
                  <a:moveTo>
                    <a:pt x="0" y="11"/>
                  </a:moveTo>
                  <a:cubicBezTo>
                    <a:pt x="11" y="11"/>
                    <a:pt x="14" y="8"/>
                    <a:pt x="17" y="0"/>
                  </a:cubicBezTo>
                  <a:cubicBezTo>
                    <a:pt x="11" y="2"/>
                    <a:pt x="5" y="5"/>
                    <a:pt x="0" y="8"/>
                  </a:cubicBezTo>
                  <a:cubicBezTo>
                    <a:pt x="0" y="11"/>
                    <a:pt x="0" y="11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" name="Freeform 17"/>
            <p:cNvSpPr>
              <a:spLocks noChangeArrowheads="1"/>
            </p:cNvSpPr>
            <p:nvPr/>
          </p:nvSpPr>
          <p:spPr bwMode="auto">
            <a:xfrm>
              <a:off x="4552950" y="2290763"/>
              <a:ext cx="15875" cy="6350"/>
            </a:xfrm>
            <a:custGeom>
              <a:avLst/>
              <a:gdLst>
                <a:gd name="T0" fmla="*/ 37 w 46"/>
                <a:gd name="T1" fmla="*/ 9 h 16"/>
                <a:gd name="T2" fmla="*/ 3 w 46"/>
                <a:gd name="T3" fmla="*/ 0 h 16"/>
                <a:gd name="T4" fmla="*/ 0 w 46"/>
                <a:gd name="T5" fmla="*/ 9 h 16"/>
                <a:gd name="T6" fmla="*/ 45 w 46"/>
                <a:gd name="T7" fmla="*/ 15 h 16"/>
                <a:gd name="T8" fmla="*/ 37 w 46"/>
                <a:gd name="T9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6">
                  <a:moveTo>
                    <a:pt x="37" y="9"/>
                  </a:moveTo>
                  <a:cubicBezTo>
                    <a:pt x="26" y="3"/>
                    <a:pt x="14" y="0"/>
                    <a:pt x="3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14" y="9"/>
                    <a:pt x="31" y="12"/>
                    <a:pt x="45" y="15"/>
                  </a:cubicBezTo>
                  <a:cubicBezTo>
                    <a:pt x="45" y="15"/>
                    <a:pt x="43" y="12"/>
                    <a:pt x="37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" name="Freeform 18"/>
            <p:cNvSpPr>
              <a:spLocks noChangeArrowheads="1"/>
            </p:cNvSpPr>
            <p:nvPr/>
          </p:nvSpPr>
          <p:spPr bwMode="auto">
            <a:xfrm>
              <a:off x="4624388" y="2436813"/>
              <a:ext cx="4762" cy="4762"/>
            </a:xfrm>
            <a:custGeom>
              <a:avLst/>
              <a:gdLst>
                <a:gd name="T0" fmla="*/ 0 w 15"/>
                <a:gd name="T1" fmla="*/ 0 h 15"/>
                <a:gd name="T2" fmla="*/ 0 w 15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0" y="0"/>
                  </a:moveTo>
                  <a:cubicBezTo>
                    <a:pt x="0" y="14"/>
                    <a:pt x="14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" name="Freeform 19"/>
            <p:cNvSpPr>
              <a:spLocks noChangeArrowheads="1"/>
            </p:cNvSpPr>
            <p:nvPr/>
          </p:nvSpPr>
          <p:spPr bwMode="auto">
            <a:xfrm>
              <a:off x="4443413" y="2170113"/>
              <a:ext cx="3175" cy="4762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11 h 15"/>
                <a:gd name="T4" fmla="*/ 0 w 9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lnTo>
                    <a:pt x="0" y="11"/>
                  </a:lnTo>
                  <a:cubicBezTo>
                    <a:pt x="8" y="14"/>
                    <a:pt x="8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" name="Freeform 20"/>
            <p:cNvSpPr>
              <a:spLocks noChangeArrowheads="1"/>
            </p:cNvSpPr>
            <p:nvPr/>
          </p:nvSpPr>
          <p:spPr bwMode="auto">
            <a:xfrm>
              <a:off x="4470400" y="2181225"/>
              <a:ext cx="4763" cy="4763"/>
            </a:xfrm>
            <a:custGeom>
              <a:avLst/>
              <a:gdLst>
                <a:gd name="T0" fmla="*/ 0 w 12"/>
                <a:gd name="T1" fmla="*/ 0 h 12"/>
                <a:gd name="T2" fmla="*/ 3 w 12"/>
                <a:gd name="T3" fmla="*/ 11 h 12"/>
                <a:gd name="T4" fmla="*/ 11 w 12"/>
                <a:gd name="T5" fmla="*/ 0 h 12"/>
                <a:gd name="T6" fmla="*/ 0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0" y="0"/>
                  </a:moveTo>
                  <a:cubicBezTo>
                    <a:pt x="0" y="6"/>
                    <a:pt x="3" y="6"/>
                    <a:pt x="3" y="11"/>
                  </a:cubicBezTo>
                  <a:cubicBezTo>
                    <a:pt x="8" y="11"/>
                    <a:pt x="11" y="8"/>
                    <a:pt x="11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" name="Freeform 21"/>
            <p:cNvSpPr>
              <a:spLocks noChangeArrowheads="1"/>
            </p:cNvSpPr>
            <p:nvPr/>
          </p:nvSpPr>
          <p:spPr bwMode="auto">
            <a:xfrm>
              <a:off x="4178300" y="3079750"/>
              <a:ext cx="11113" cy="4763"/>
            </a:xfrm>
            <a:custGeom>
              <a:avLst/>
              <a:gdLst>
                <a:gd name="T0" fmla="*/ 31 w 32"/>
                <a:gd name="T1" fmla="*/ 0 h 15"/>
                <a:gd name="T2" fmla="*/ 0 w 32"/>
                <a:gd name="T3" fmla="*/ 3 h 15"/>
                <a:gd name="T4" fmla="*/ 26 w 32"/>
                <a:gd name="T5" fmla="*/ 9 h 15"/>
                <a:gd name="T6" fmla="*/ 31 w 32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31" y="0"/>
                  </a:moveTo>
                  <a:cubicBezTo>
                    <a:pt x="20" y="0"/>
                    <a:pt x="9" y="3"/>
                    <a:pt x="0" y="3"/>
                  </a:cubicBezTo>
                  <a:cubicBezTo>
                    <a:pt x="6" y="12"/>
                    <a:pt x="17" y="14"/>
                    <a:pt x="26" y="9"/>
                  </a:cubicBezTo>
                  <a:cubicBezTo>
                    <a:pt x="26" y="9"/>
                    <a:pt x="29" y="3"/>
                    <a:pt x="3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" name="Freeform 22"/>
            <p:cNvSpPr>
              <a:spLocks noChangeArrowheads="1"/>
            </p:cNvSpPr>
            <p:nvPr/>
          </p:nvSpPr>
          <p:spPr bwMode="auto">
            <a:xfrm>
              <a:off x="4429125" y="2146300"/>
              <a:ext cx="6350" cy="7938"/>
            </a:xfrm>
            <a:custGeom>
              <a:avLst/>
              <a:gdLst>
                <a:gd name="T0" fmla="*/ 6 w 18"/>
                <a:gd name="T1" fmla="*/ 0 h 21"/>
                <a:gd name="T2" fmla="*/ 0 w 18"/>
                <a:gd name="T3" fmla="*/ 11 h 21"/>
                <a:gd name="T4" fmla="*/ 17 w 18"/>
                <a:gd name="T5" fmla="*/ 14 h 21"/>
                <a:gd name="T6" fmla="*/ 6 w 18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6" y="0"/>
                  </a:moveTo>
                  <a:cubicBezTo>
                    <a:pt x="3" y="6"/>
                    <a:pt x="0" y="9"/>
                    <a:pt x="0" y="11"/>
                  </a:cubicBezTo>
                  <a:cubicBezTo>
                    <a:pt x="9" y="11"/>
                    <a:pt x="11" y="20"/>
                    <a:pt x="17" y="14"/>
                  </a:cubicBezTo>
                  <a:cubicBezTo>
                    <a:pt x="14" y="9"/>
                    <a:pt x="14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" name="Freeform 23"/>
            <p:cNvSpPr>
              <a:spLocks noChangeArrowheads="1"/>
            </p:cNvSpPr>
            <p:nvPr/>
          </p:nvSpPr>
          <p:spPr bwMode="auto">
            <a:xfrm>
              <a:off x="4427538" y="2157413"/>
              <a:ext cx="4762" cy="4762"/>
            </a:xfrm>
            <a:custGeom>
              <a:avLst/>
              <a:gdLst>
                <a:gd name="T0" fmla="*/ 5 w 12"/>
                <a:gd name="T1" fmla="*/ 0 h 12"/>
                <a:gd name="T2" fmla="*/ 11 w 12"/>
                <a:gd name="T3" fmla="*/ 8 h 12"/>
                <a:gd name="T4" fmla="*/ 5 w 12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cubicBezTo>
                    <a:pt x="0" y="3"/>
                    <a:pt x="2" y="11"/>
                    <a:pt x="11" y="8"/>
                  </a:cubicBezTo>
                  <a:cubicBezTo>
                    <a:pt x="11" y="6"/>
                    <a:pt x="11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" name="Freeform 24"/>
            <p:cNvSpPr>
              <a:spLocks noChangeArrowheads="1"/>
            </p:cNvSpPr>
            <p:nvPr/>
          </p:nvSpPr>
          <p:spPr bwMode="auto">
            <a:xfrm>
              <a:off x="3709988" y="2262188"/>
              <a:ext cx="4762" cy="3175"/>
            </a:xfrm>
            <a:custGeom>
              <a:avLst/>
              <a:gdLst>
                <a:gd name="T0" fmla="*/ 11 w 12"/>
                <a:gd name="T1" fmla="*/ 8 h 9"/>
                <a:gd name="T2" fmla="*/ 11 w 12"/>
                <a:gd name="T3" fmla="*/ 0 h 9"/>
                <a:gd name="T4" fmla="*/ 2 w 12"/>
                <a:gd name="T5" fmla="*/ 0 h 9"/>
                <a:gd name="T6" fmla="*/ 11 w 12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11" y="8"/>
                  </a:moveTo>
                  <a:lnTo>
                    <a:pt x="11" y="0"/>
                  </a:lnTo>
                  <a:lnTo>
                    <a:pt x="2" y="0"/>
                  </a:lnTo>
                  <a:cubicBezTo>
                    <a:pt x="0" y="5"/>
                    <a:pt x="8" y="5"/>
                    <a:pt x="11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" name="Freeform 25"/>
            <p:cNvSpPr>
              <a:spLocks noChangeArrowheads="1"/>
            </p:cNvSpPr>
            <p:nvPr/>
          </p:nvSpPr>
          <p:spPr bwMode="auto">
            <a:xfrm>
              <a:off x="3632200" y="2360613"/>
              <a:ext cx="4763" cy="4762"/>
            </a:xfrm>
            <a:custGeom>
              <a:avLst/>
              <a:gdLst>
                <a:gd name="T0" fmla="*/ 9 w 15"/>
                <a:gd name="T1" fmla="*/ 0 h 15"/>
                <a:gd name="T2" fmla="*/ 9 w 15"/>
                <a:gd name="T3" fmla="*/ 14 h 15"/>
                <a:gd name="T4" fmla="*/ 9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0"/>
                  </a:moveTo>
                  <a:cubicBezTo>
                    <a:pt x="6" y="3"/>
                    <a:pt x="0" y="12"/>
                    <a:pt x="9" y="14"/>
                  </a:cubicBezTo>
                  <a:cubicBezTo>
                    <a:pt x="9" y="12"/>
                    <a:pt x="14" y="0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" name="Freeform 26"/>
            <p:cNvSpPr>
              <a:spLocks noChangeArrowheads="1"/>
            </p:cNvSpPr>
            <p:nvPr/>
          </p:nvSpPr>
          <p:spPr bwMode="auto">
            <a:xfrm>
              <a:off x="3644900" y="2398713"/>
              <a:ext cx="3175" cy="3175"/>
            </a:xfrm>
            <a:custGeom>
              <a:avLst/>
              <a:gdLst>
                <a:gd name="T0" fmla="*/ 0 w 7"/>
                <a:gd name="T1" fmla="*/ 0 h 10"/>
                <a:gd name="T2" fmla="*/ 6 w 7"/>
                <a:gd name="T3" fmla="*/ 9 h 10"/>
                <a:gd name="T4" fmla="*/ 3 w 7"/>
                <a:gd name="T5" fmla="*/ 3 h 10"/>
                <a:gd name="T6" fmla="*/ 0 w 7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0" y="0"/>
                  </a:moveTo>
                  <a:cubicBezTo>
                    <a:pt x="0" y="3"/>
                    <a:pt x="0" y="9"/>
                    <a:pt x="6" y="9"/>
                  </a:cubicBezTo>
                  <a:cubicBezTo>
                    <a:pt x="6" y="6"/>
                    <a:pt x="3" y="6"/>
                    <a:pt x="3" y="3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" name="Freeform 27"/>
            <p:cNvSpPr>
              <a:spLocks noChangeArrowheads="1"/>
            </p:cNvSpPr>
            <p:nvPr/>
          </p:nvSpPr>
          <p:spPr bwMode="auto">
            <a:xfrm>
              <a:off x="3641725" y="2335213"/>
              <a:ext cx="20638" cy="12700"/>
            </a:xfrm>
            <a:custGeom>
              <a:avLst/>
              <a:gdLst>
                <a:gd name="T0" fmla="*/ 0 w 58"/>
                <a:gd name="T1" fmla="*/ 36 h 37"/>
                <a:gd name="T2" fmla="*/ 57 w 58"/>
                <a:gd name="T3" fmla="*/ 5 h 37"/>
                <a:gd name="T4" fmla="*/ 54 w 58"/>
                <a:gd name="T5" fmla="*/ 0 h 37"/>
                <a:gd name="T6" fmla="*/ 0 w 58"/>
                <a:gd name="T7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37">
                  <a:moveTo>
                    <a:pt x="0" y="36"/>
                  </a:moveTo>
                  <a:cubicBezTo>
                    <a:pt x="15" y="20"/>
                    <a:pt x="34" y="8"/>
                    <a:pt x="57" y="5"/>
                  </a:cubicBezTo>
                  <a:cubicBezTo>
                    <a:pt x="57" y="3"/>
                    <a:pt x="57" y="3"/>
                    <a:pt x="54" y="0"/>
                  </a:cubicBezTo>
                  <a:cubicBezTo>
                    <a:pt x="34" y="5"/>
                    <a:pt x="15" y="20"/>
                    <a:pt x="0" y="3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" name="Freeform 28"/>
            <p:cNvSpPr>
              <a:spLocks noChangeArrowheads="1"/>
            </p:cNvSpPr>
            <p:nvPr/>
          </p:nvSpPr>
          <p:spPr bwMode="auto">
            <a:xfrm>
              <a:off x="3729038" y="2228850"/>
              <a:ext cx="4762" cy="3175"/>
            </a:xfrm>
            <a:custGeom>
              <a:avLst/>
              <a:gdLst>
                <a:gd name="T0" fmla="*/ 0 w 12"/>
                <a:gd name="T1" fmla="*/ 0 h 10"/>
                <a:gd name="T2" fmla="*/ 0 w 12"/>
                <a:gd name="T3" fmla="*/ 9 h 10"/>
                <a:gd name="T4" fmla="*/ 11 w 12"/>
                <a:gd name="T5" fmla="*/ 6 h 10"/>
                <a:gd name="T6" fmla="*/ 0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lnTo>
                    <a:pt x="0" y="9"/>
                  </a:lnTo>
                  <a:cubicBezTo>
                    <a:pt x="6" y="9"/>
                    <a:pt x="6" y="6"/>
                    <a:pt x="11" y="6"/>
                  </a:cubicBezTo>
                  <a:cubicBezTo>
                    <a:pt x="11" y="3"/>
                    <a:pt x="6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" name="Freeform 29"/>
            <p:cNvSpPr>
              <a:spLocks noChangeArrowheads="1"/>
            </p:cNvSpPr>
            <p:nvPr/>
          </p:nvSpPr>
          <p:spPr bwMode="auto">
            <a:xfrm>
              <a:off x="3648075" y="2382838"/>
              <a:ext cx="3175" cy="4762"/>
            </a:xfrm>
            <a:custGeom>
              <a:avLst/>
              <a:gdLst>
                <a:gd name="T0" fmla="*/ 3 w 7"/>
                <a:gd name="T1" fmla="*/ 0 h 12"/>
                <a:gd name="T2" fmla="*/ 3 w 7"/>
                <a:gd name="T3" fmla="*/ 0 h 12"/>
                <a:gd name="T4" fmla="*/ 0 w 7"/>
                <a:gd name="T5" fmla="*/ 0 h 12"/>
                <a:gd name="T6" fmla="*/ 3 w 7"/>
                <a:gd name="T7" fmla="*/ 0 h 12"/>
                <a:gd name="T8" fmla="*/ 6 w 7"/>
                <a:gd name="T9" fmla="*/ 11 h 12"/>
                <a:gd name="T10" fmla="*/ 6 w 7"/>
                <a:gd name="T11" fmla="*/ 11 h 12"/>
                <a:gd name="T12" fmla="*/ 6 w 7"/>
                <a:gd name="T13" fmla="*/ 9 h 12"/>
                <a:gd name="T14" fmla="*/ 3 w 7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2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cubicBezTo>
                    <a:pt x="0" y="0"/>
                    <a:pt x="0" y="3"/>
                    <a:pt x="3" y="0"/>
                  </a:cubicBezTo>
                  <a:cubicBezTo>
                    <a:pt x="3" y="6"/>
                    <a:pt x="6" y="9"/>
                    <a:pt x="6" y="11"/>
                  </a:cubicBezTo>
                  <a:lnTo>
                    <a:pt x="6" y="11"/>
                  </a:lnTo>
                  <a:lnTo>
                    <a:pt x="6" y="9"/>
                  </a:lnTo>
                  <a:cubicBezTo>
                    <a:pt x="6" y="6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" name="Freeform 30"/>
            <p:cNvSpPr>
              <a:spLocks noChangeArrowheads="1"/>
            </p:cNvSpPr>
            <p:nvPr/>
          </p:nvSpPr>
          <p:spPr bwMode="auto">
            <a:xfrm>
              <a:off x="3705225" y="2247900"/>
              <a:ext cx="7938" cy="9525"/>
            </a:xfrm>
            <a:custGeom>
              <a:avLst/>
              <a:gdLst>
                <a:gd name="T0" fmla="*/ 20 w 21"/>
                <a:gd name="T1" fmla="*/ 17 h 26"/>
                <a:gd name="T2" fmla="*/ 9 w 21"/>
                <a:gd name="T3" fmla="*/ 0 h 26"/>
                <a:gd name="T4" fmla="*/ 9 w 21"/>
                <a:gd name="T5" fmla="*/ 0 h 26"/>
                <a:gd name="T6" fmla="*/ 20 w 21"/>
                <a:gd name="T7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6">
                  <a:moveTo>
                    <a:pt x="20" y="17"/>
                  </a:moveTo>
                  <a:cubicBezTo>
                    <a:pt x="20" y="8"/>
                    <a:pt x="17" y="3"/>
                    <a:pt x="9" y="0"/>
                  </a:cubicBezTo>
                  <a:lnTo>
                    <a:pt x="9" y="0"/>
                  </a:lnTo>
                  <a:cubicBezTo>
                    <a:pt x="0" y="11"/>
                    <a:pt x="12" y="25"/>
                    <a:pt x="20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" name="Freeform 31"/>
            <p:cNvSpPr>
              <a:spLocks noChangeArrowheads="1"/>
            </p:cNvSpPr>
            <p:nvPr/>
          </p:nvSpPr>
          <p:spPr bwMode="auto">
            <a:xfrm>
              <a:off x="4056063" y="3094038"/>
              <a:ext cx="3175" cy="4762"/>
            </a:xfrm>
            <a:custGeom>
              <a:avLst/>
              <a:gdLst>
                <a:gd name="T0" fmla="*/ 0 w 9"/>
                <a:gd name="T1" fmla="*/ 0 h 15"/>
                <a:gd name="T2" fmla="*/ 3 w 9"/>
                <a:gd name="T3" fmla="*/ 11 h 15"/>
                <a:gd name="T4" fmla="*/ 3 w 9"/>
                <a:gd name="T5" fmla="*/ 11 h 15"/>
                <a:gd name="T6" fmla="*/ 8 w 9"/>
                <a:gd name="T7" fmla="*/ 14 h 15"/>
                <a:gd name="T8" fmla="*/ 0 w 9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0" y="0"/>
                  </a:moveTo>
                  <a:cubicBezTo>
                    <a:pt x="0" y="3"/>
                    <a:pt x="3" y="5"/>
                    <a:pt x="3" y="11"/>
                  </a:cubicBezTo>
                  <a:lnTo>
                    <a:pt x="3" y="11"/>
                  </a:lnTo>
                  <a:cubicBezTo>
                    <a:pt x="5" y="11"/>
                    <a:pt x="5" y="14"/>
                    <a:pt x="8" y="14"/>
                  </a:cubicBezTo>
                  <a:cubicBezTo>
                    <a:pt x="5" y="8"/>
                    <a:pt x="5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" name="Freeform 32"/>
            <p:cNvSpPr>
              <a:spLocks noChangeArrowheads="1"/>
            </p:cNvSpPr>
            <p:nvPr/>
          </p:nvSpPr>
          <p:spPr bwMode="auto">
            <a:xfrm>
              <a:off x="3660775" y="2317750"/>
              <a:ext cx="12700" cy="7938"/>
            </a:xfrm>
            <a:custGeom>
              <a:avLst/>
              <a:gdLst>
                <a:gd name="T0" fmla="*/ 3 w 35"/>
                <a:gd name="T1" fmla="*/ 0 h 23"/>
                <a:gd name="T2" fmla="*/ 0 w 35"/>
                <a:gd name="T3" fmla="*/ 14 h 23"/>
                <a:gd name="T4" fmla="*/ 6 w 35"/>
                <a:gd name="T5" fmla="*/ 14 h 23"/>
                <a:gd name="T6" fmla="*/ 20 w 35"/>
                <a:gd name="T7" fmla="*/ 22 h 23"/>
                <a:gd name="T8" fmla="*/ 31 w 35"/>
                <a:gd name="T9" fmla="*/ 8 h 23"/>
                <a:gd name="T10" fmla="*/ 3 w 35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23">
                  <a:moveTo>
                    <a:pt x="3" y="0"/>
                  </a:moveTo>
                  <a:cubicBezTo>
                    <a:pt x="3" y="5"/>
                    <a:pt x="0" y="8"/>
                    <a:pt x="0" y="14"/>
                  </a:cubicBezTo>
                  <a:cubicBezTo>
                    <a:pt x="3" y="14"/>
                    <a:pt x="3" y="14"/>
                    <a:pt x="6" y="14"/>
                  </a:cubicBezTo>
                  <a:cubicBezTo>
                    <a:pt x="6" y="20"/>
                    <a:pt x="14" y="22"/>
                    <a:pt x="20" y="22"/>
                  </a:cubicBezTo>
                  <a:cubicBezTo>
                    <a:pt x="17" y="14"/>
                    <a:pt x="34" y="17"/>
                    <a:pt x="31" y="8"/>
                  </a:cubicBezTo>
                  <a:cubicBezTo>
                    <a:pt x="28" y="0"/>
                    <a:pt x="14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" name="Freeform 33"/>
            <p:cNvSpPr>
              <a:spLocks noChangeArrowheads="1"/>
            </p:cNvSpPr>
            <p:nvPr/>
          </p:nvSpPr>
          <p:spPr bwMode="auto">
            <a:xfrm>
              <a:off x="3692525" y="2265363"/>
              <a:ext cx="1588" cy="3175"/>
            </a:xfrm>
            <a:custGeom>
              <a:avLst/>
              <a:gdLst>
                <a:gd name="T0" fmla="*/ 0 w 6"/>
                <a:gd name="T1" fmla="*/ 8 h 9"/>
                <a:gd name="T2" fmla="*/ 5 w 6"/>
                <a:gd name="T3" fmla="*/ 8 h 9"/>
                <a:gd name="T4" fmla="*/ 5 w 6"/>
                <a:gd name="T5" fmla="*/ 0 h 9"/>
                <a:gd name="T6" fmla="*/ 0 w 6"/>
                <a:gd name="T7" fmla="*/ 0 h 9"/>
                <a:gd name="T8" fmla="*/ 0 w 6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0" y="8"/>
                  </a:moveTo>
                  <a:lnTo>
                    <a:pt x="5" y="8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" name="Freeform 34"/>
            <p:cNvSpPr>
              <a:spLocks noChangeArrowheads="1"/>
            </p:cNvSpPr>
            <p:nvPr/>
          </p:nvSpPr>
          <p:spPr bwMode="auto">
            <a:xfrm>
              <a:off x="3605213" y="2652713"/>
              <a:ext cx="3175" cy="1587"/>
            </a:xfrm>
            <a:custGeom>
              <a:avLst/>
              <a:gdLst>
                <a:gd name="T0" fmla="*/ 0 w 9"/>
                <a:gd name="T1" fmla="*/ 0 h 6"/>
                <a:gd name="T2" fmla="*/ 4 w 9"/>
                <a:gd name="T3" fmla="*/ 2 h 6"/>
                <a:gd name="T4" fmla="*/ 0 w 9"/>
                <a:gd name="T5" fmla="*/ 0 h 6"/>
                <a:gd name="T6" fmla="*/ 8 w 9"/>
                <a:gd name="T7" fmla="*/ 5 h 6"/>
                <a:gd name="T8" fmla="*/ 4 w 9"/>
                <a:gd name="T9" fmla="*/ 2 h 6"/>
                <a:gd name="T10" fmla="*/ 8 w 9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6">
                  <a:moveTo>
                    <a:pt x="0" y="0"/>
                  </a:moveTo>
                  <a:cubicBezTo>
                    <a:pt x="2" y="1"/>
                    <a:pt x="3" y="2"/>
                    <a:pt x="4" y="2"/>
                  </a:cubicBezTo>
                  <a:cubicBezTo>
                    <a:pt x="3" y="2"/>
                    <a:pt x="1" y="1"/>
                    <a:pt x="0" y="0"/>
                  </a:cubicBezTo>
                  <a:close/>
                  <a:moveTo>
                    <a:pt x="8" y="5"/>
                  </a:moveTo>
                  <a:cubicBezTo>
                    <a:pt x="7" y="4"/>
                    <a:pt x="5" y="3"/>
                    <a:pt x="4" y="2"/>
                  </a:cubicBezTo>
                  <a:cubicBezTo>
                    <a:pt x="6" y="4"/>
                    <a:pt x="7" y="5"/>
                    <a:pt x="8" y="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" name="Freeform 35"/>
            <p:cNvSpPr>
              <a:spLocks noChangeArrowheads="1"/>
            </p:cNvSpPr>
            <p:nvPr/>
          </p:nvSpPr>
          <p:spPr bwMode="auto">
            <a:xfrm>
              <a:off x="3930650" y="2105025"/>
              <a:ext cx="4763" cy="3175"/>
            </a:xfrm>
            <a:custGeom>
              <a:avLst/>
              <a:gdLst>
                <a:gd name="T0" fmla="*/ 0 w 12"/>
                <a:gd name="T1" fmla="*/ 6 h 10"/>
                <a:gd name="T2" fmla="*/ 5 w 12"/>
                <a:gd name="T3" fmla="*/ 9 h 10"/>
                <a:gd name="T4" fmla="*/ 11 w 12"/>
                <a:gd name="T5" fmla="*/ 6 h 10"/>
                <a:gd name="T6" fmla="*/ 0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3" y="6"/>
                    <a:pt x="3" y="6"/>
                    <a:pt x="5" y="9"/>
                  </a:cubicBezTo>
                  <a:cubicBezTo>
                    <a:pt x="8" y="9"/>
                    <a:pt x="11" y="6"/>
                    <a:pt x="11" y="6"/>
                  </a:cubicBezTo>
                  <a:cubicBezTo>
                    <a:pt x="8" y="0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" name="Freeform 36"/>
            <p:cNvSpPr>
              <a:spLocks noChangeArrowheads="1"/>
            </p:cNvSpPr>
            <p:nvPr/>
          </p:nvSpPr>
          <p:spPr bwMode="auto">
            <a:xfrm>
              <a:off x="4491038" y="2947988"/>
              <a:ext cx="7937" cy="9525"/>
            </a:xfrm>
            <a:custGeom>
              <a:avLst/>
              <a:gdLst>
                <a:gd name="T0" fmla="*/ 0 w 24"/>
                <a:gd name="T1" fmla="*/ 14 h 27"/>
                <a:gd name="T2" fmla="*/ 23 w 24"/>
                <a:gd name="T3" fmla="*/ 14 h 27"/>
                <a:gd name="T4" fmla="*/ 14 w 24"/>
                <a:gd name="T5" fmla="*/ 0 h 27"/>
                <a:gd name="T6" fmla="*/ 0 w 24"/>
                <a:gd name="T7" fmla="*/ 0 h 27"/>
                <a:gd name="T8" fmla="*/ 0 w 24"/>
                <a:gd name="T9" fmla="*/ 3 h 27"/>
                <a:gd name="T10" fmla="*/ 0 w 24"/>
                <a:gd name="T11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7">
                  <a:moveTo>
                    <a:pt x="0" y="14"/>
                  </a:moveTo>
                  <a:cubicBezTo>
                    <a:pt x="3" y="23"/>
                    <a:pt x="20" y="26"/>
                    <a:pt x="23" y="14"/>
                  </a:cubicBezTo>
                  <a:cubicBezTo>
                    <a:pt x="20" y="9"/>
                    <a:pt x="17" y="6"/>
                    <a:pt x="14" y="0"/>
                  </a:cubicBezTo>
                  <a:lnTo>
                    <a:pt x="0" y="0"/>
                  </a:lnTo>
                  <a:lnTo>
                    <a:pt x="0" y="3"/>
                  </a:lnTo>
                  <a:cubicBezTo>
                    <a:pt x="0" y="6"/>
                    <a:pt x="0" y="12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" name="Freeform 37"/>
            <p:cNvSpPr>
              <a:spLocks noChangeArrowheads="1"/>
            </p:cNvSpPr>
            <p:nvPr/>
          </p:nvSpPr>
          <p:spPr bwMode="auto">
            <a:xfrm>
              <a:off x="4446588" y="2968625"/>
              <a:ext cx="6350" cy="7938"/>
            </a:xfrm>
            <a:custGeom>
              <a:avLst/>
              <a:gdLst>
                <a:gd name="T0" fmla="*/ 14 w 18"/>
                <a:gd name="T1" fmla="*/ 0 h 21"/>
                <a:gd name="T2" fmla="*/ 0 w 18"/>
                <a:gd name="T3" fmla="*/ 3 h 21"/>
                <a:gd name="T4" fmla="*/ 3 w 18"/>
                <a:gd name="T5" fmla="*/ 11 h 21"/>
                <a:gd name="T6" fmla="*/ 3 w 18"/>
                <a:gd name="T7" fmla="*/ 14 h 21"/>
                <a:gd name="T8" fmla="*/ 3 w 18"/>
                <a:gd name="T9" fmla="*/ 20 h 21"/>
                <a:gd name="T10" fmla="*/ 6 w 18"/>
                <a:gd name="T11" fmla="*/ 20 h 21"/>
                <a:gd name="T12" fmla="*/ 6 w 18"/>
                <a:gd name="T13" fmla="*/ 14 h 21"/>
                <a:gd name="T14" fmla="*/ 6 w 18"/>
                <a:gd name="T15" fmla="*/ 11 h 21"/>
                <a:gd name="T16" fmla="*/ 17 w 18"/>
                <a:gd name="T17" fmla="*/ 14 h 21"/>
                <a:gd name="T18" fmla="*/ 17 w 18"/>
                <a:gd name="T19" fmla="*/ 0 h 21"/>
                <a:gd name="T20" fmla="*/ 14 w 18"/>
                <a:gd name="T2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21">
                  <a:moveTo>
                    <a:pt x="14" y="0"/>
                  </a:moveTo>
                  <a:cubicBezTo>
                    <a:pt x="9" y="0"/>
                    <a:pt x="6" y="3"/>
                    <a:pt x="0" y="3"/>
                  </a:cubicBezTo>
                  <a:cubicBezTo>
                    <a:pt x="0" y="6"/>
                    <a:pt x="0" y="8"/>
                    <a:pt x="3" y="11"/>
                  </a:cubicBezTo>
                  <a:lnTo>
                    <a:pt x="3" y="14"/>
                  </a:lnTo>
                  <a:lnTo>
                    <a:pt x="3" y="20"/>
                  </a:lnTo>
                  <a:lnTo>
                    <a:pt x="6" y="20"/>
                  </a:lnTo>
                  <a:lnTo>
                    <a:pt x="6" y="14"/>
                  </a:lnTo>
                  <a:lnTo>
                    <a:pt x="6" y="11"/>
                  </a:lnTo>
                  <a:cubicBezTo>
                    <a:pt x="9" y="14"/>
                    <a:pt x="14" y="17"/>
                    <a:pt x="17" y="14"/>
                  </a:cubicBezTo>
                  <a:lnTo>
                    <a:pt x="17" y="0"/>
                  </a:lnTo>
                  <a:cubicBezTo>
                    <a:pt x="14" y="3"/>
                    <a:pt x="14" y="3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" name="Freeform 38"/>
            <p:cNvSpPr>
              <a:spLocks noChangeArrowheads="1"/>
            </p:cNvSpPr>
            <p:nvPr/>
          </p:nvSpPr>
          <p:spPr bwMode="auto">
            <a:xfrm>
              <a:off x="3986213" y="3065463"/>
              <a:ext cx="7937" cy="4762"/>
            </a:xfrm>
            <a:custGeom>
              <a:avLst/>
              <a:gdLst>
                <a:gd name="T0" fmla="*/ 17 w 21"/>
                <a:gd name="T1" fmla="*/ 3 h 15"/>
                <a:gd name="T2" fmla="*/ 6 w 21"/>
                <a:gd name="T3" fmla="*/ 0 h 15"/>
                <a:gd name="T4" fmla="*/ 8 w 21"/>
                <a:gd name="T5" fmla="*/ 8 h 15"/>
                <a:gd name="T6" fmla="*/ 0 w 21"/>
                <a:gd name="T7" fmla="*/ 14 h 15"/>
                <a:gd name="T8" fmla="*/ 8 w 21"/>
                <a:gd name="T9" fmla="*/ 14 h 15"/>
                <a:gd name="T10" fmla="*/ 17 w 21"/>
                <a:gd name="T11" fmla="*/ 5 h 15"/>
                <a:gd name="T12" fmla="*/ 17 w 21"/>
                <a:gd name="T13" fmla="*/ 5 h 15"/>
                <a:gd name="T14" fmla="*/ 17 w 21"/>
                <a:gd name="T15" fmla="*/ 5 h 15"/>
                <a:gd name="T16" fmla="*/ 17 w 21"/>
                <a:gd name="T1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5">
                  <a:moveTo>
                    <a:pt x="17" y="3"/>
                  </a:moveTo>
                  <a:cubicBezTo>
                    <a:pt x="14" y="3"/>
                    <a:pt x="11" y="0"/>
                    <a:pt x="6" y="0"/>
                  </a:cubicBezTo>
                  <a:cubicBezTo>
                    <a:pt x="6" y="3"/>
                    <a:pt x="6" y="5"/>
                    <a:pt x="8" y="8"/>
                  </a:cubicBezTo>
                  <a:cubicBezTo>
                    <a:pt x="6" y="11"/>
                    <a:pt x="0" y="11"/>
                    <a:pt x="0" y="14"/>
                  </a:cubicBezTo>
                  <a:lnTo>
                    <a:pt x="8" y="14"/>
                  </a:lnTo>
                  <a:cubicBezTo>
                    <a:pt x="11" y="11"/>
                    <a:pt x="14" y="8"/>
                    <a:pt x="17" y="5"/>
                  </a:cubicBezTo>
                  <a:lnTo>
                    <a:pt x="17" y="5"/>
                  </a:lnTo>
                  <a:lnTo>
                    <a:pt x="17" y="5"/>
                  </a:lnTo>
                  <a:cubicBezTo>
                    <a:pt x="20" y="3"/>
                    <a:pt x="17" y="3"/>
                    <a:pt x="17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" name="Freeform 39"/>
            <p:cNvSpPr>
              <a:spLocks noChangeArrowheads="1"/>
            </p:cNvSpPr>
            <p:nvPr/>
          </p:nvSpPr>
          <p:spPr bwMode="auto">
            <a:xfrm>
              <a:off x="3992563" y="3067050"/>
              <a:ext cx="1587" cy="1588"/>
            </a:xfrm>
            <a:custGeom>
              <a:avLst/>
              <a:gdLst>
                <a:gd name="T0" fmla="*/ 3 w 4"/>
                <a:gd name="T1" fmla="*/ 2 h 3"/>
                <a:gd name="T2" fmla="*/ 3 w 4"/>
                <a:gd name="T3" fmla="*/ 0 h 3"/>
                <a:gd name="T4" fmla="*/ 3 w 4"/>
                <a:gd name="T5" fmla="*/ 0 h 3"/>
                <a:gd name="T6" fmla="*/ 3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lnTo>
                    <a:pt x="3" y="0"/>
                  </a:lnTo>
                  <a:lnTo>
                    <a:pt x="3" y="0"/>
                  </a:lnTo>
                  <a:cubicBezTo>
                    <a:pt x="0" y="0"/>
                    <a:pt x="3" y="0"/>
                    <a:pt x="3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" name="Freeform 40"/>
            <p:cNvSpPr>
              <a:spLocks noChangeArrowheads="1"/>
            </p:cNvSpPr>
            <p:nvPr/>
          </p:nvSpPr>
          <p:spPr bwMode="auto">
            <a:xfrm>
              <a:off x="4121150" y="3084513"/>
              <a:ext cx="7938" cy="4762"/>
            </a:xfrm>
            <a:custGeom>
              <a:avLst/>
              <a:gdLst>
                <a:gd name="T0" fmla="*/ 3 w 23"/>
                <a:gd name="T1" fmla="*/ 0 h 15"/>
                <a:gd name="T2" fmla="*/ 3 w 23"/>
                <a:gd name="T3" fmla="*/ 8 h 15"/>
                <a:gd name="T4" fmla="*/ 16 w 23"/>
                <a:gd name="T5" fmla="*/ 11 h 15"/>
                <a:gd name="T6" fmla="*/ 22 w 23"/>
                <a:gd name="T7" fmla="*/ 2 h 15"/>
                <a:gd name="T8" fmla="*/ 13 w 23"/>
                <a:gd name="T9" fmla="*/ 2 h 15"/>
                <a:gd name="T10" fmla="*/ 3 w 23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5">
                  <a:moveTo>
                    <a:pt x="3" y="0"/>
                  </a:moveTo>
                  <a:cubicBezTo>
                    <a:pt x="3" y="2"/>
                    <a:pt x="0" y="8"/>
                    <a:pt x="3" y="8"/>
                  </a:cubicBezTo>
                  <a:cubicBezTo>
                    <a:pt x="6" y="2"/>
                    <a:pt x="9" y="14"/>
                    <a:pt x="16" y="11"/>
                  </a:cubicBezTo>
                  <a:cubicBezTo>
                    <a:pt x="19" y="8"/>
                    <a:pt x="22" y="5"/>
                    <a:pt x="22" y="2"/>
                  </a:cubicBezTo>
                  <a:cubicBezTo>
                    <a:pt x="19" y="2"/>
                    <a:pt x="16" y="2"/>
                    <a:pt x="13" y="2"/>
                  </a:cubicBezTo>
                  <a:cubicBezTo>
                    <a:pt x="12" y="0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" name="Freeform 41"/>
            <p:cNvSpPr>
              <a:spLocks noChangeArrowheads="1"/>
            </p:cNvSpPr>
            <p:nvPr/>
          </p:nvSpPr>
          <p:spPr bwMode="auto">
            <a:xfrm>
              <a:off x="4151313" y="3084513"/>
              <a:ext cx="4762" cy="6350"/>
            </a:xfrm>
            <a:custGeom>
              <a:avLst/>
              <a:gdLst>
                <a:gd name="T0" fmla="*/ 3 w 15"/>
                <a:gd name="T1" fmla="*/ 5 h 17"/>
                <a:gd name="T2" fmla="*/ 0 w 15"/>
                <a:gd name="T3" fmla="*/ 11 h 17"/>
                <a:gd name="T4" fmla="*/ 0 w 15"/>
                <a:gd name="T5" fmla="*/ 11 h 17"/>
                <a:gd name="T6" fmla="*/ 6 w 15"/>
                <a:gd name="T7" fmla="*/ 16 h 17"/>
                <a:gd name="T8" fmla="*/ 11 w 15"/>
                <a:gd name="T9" fmla="*/ 8 h 17"/>
                <a:gd name="T10" fmla="*/ 14 w 15"/>
                <a:gd name="T11" fmla="*/ 0 h 17"/>
                <a:gd name="T12" fmla="*/ 14 w 15"/>
                <a:gd name="T13" fmla="*/ 0 h 17"/>
                <a:gd name="T14" fmla="*/ 8 w 15"/>
                <a:gd name="T15" fmla="*/ 0 h 17"/>
                <a:gd name="T16" fmla="*/ 3 w 15"/>
                <a:gd name="T1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7">
                  <a:moveTo>
                    <a:pt x="3" y="5"/>
                  </a:moveTo>
                  <a:cubicBezTo>
                    <a:pt x="3" y="8"/>
                    <a:pt x="0" y="8"/>
                    <a:pt x="0" y="11"/>
                  </a:cubicBezTo>
                  <a:lnTo>
                    <a:pt x="0" y="11"/>
                  </a:lnTo>
                  <a:cubicBezTo>
                    <a:pt x="3" y="14"/>
                    <a:pt x="3" y="14"/>
                    <a:pt x="6" y="16"/>
                  </a:cubicBezTo>
                  <a:cubicBezTo>
                    <a:pt x="8" y="14"/>
                    <a:pt x="8" y="11"/>
                    <a:pt x="11" y="8"/>
                  </a:cubicBezTo>
                  <a:cubicBezTo>
                    <a:pt x="11" y="5"/>
                    <a:pt x="14" y="2"/>
                    <a:pt x="14" y="0"/>
                  </a:cubicBezTo>
                  <a:lnTo>
                    <a:pt x="14" y="0"/>
                  </a:lnTo>
                  <a:cubicBezTo>
                    <a:pt x="11" y="0"/>
                    <a:pt x="11" y="0"/>
                    <a:pt x="8" y="0"/>
                  </a:cubicBezTo>
                  <a:lnTo>
                    <a:pt x="3" y="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" name="Freeform 42"/>
            <p:cNvSpPr>
              <a:spLocks noChangeArrowheads="1"/>
            </p:cNvSpPr>
            <p:nvPr/>
          </p:nvSpPr>
          <p:spPr bwMode="auto">
            <a:xfrm>
              <a:off x="4486275" y="2932113"/>
              <a:ext cx="3175" cy="6350"/>
            </a:xfrm>
            <a:custGeom>
              <a:avLst/>
              <a:gdLst>
                <a:gd name="T0" fmla="*/ 0 w 10"/>
                <a:gd name="T1" fmla="*/ 9 h 18"/>
                <a:gd name="T2" fmla="*/ 0 w 10"/>
                <a:gd name="T3" fmla="*/ 9 h 18"/>
                <a:gd name="T4" fmla="*/ 3 w 10"/>
                <a:gd name="T5" fmla="*/ 17 h 18"/>
                <a:gd name="T6" fmla="*/ 9 w 10"/>
                <a:gd name="T7" fmla="*/ 17 h 18"/>
                <a:gd name="T8" fmla="*/ 9 w 10"/>
                <a:gd name="T9" fmla="*/ 12 h 18"/>
                <a:gd name="T10" fmla="*/ 6 w 10"/>
                <a:gd name="T11" fmla="*/ 0 h 18"/>
                <a:gd name="T12" fmla="*/ 0 w 10"/>
                <a:gd name="T1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8">
                  <a:moveTo>
                    <a:pt x="0" y="9"/>
                  </a:moveTo>
                  <a:lnTo>
                    <a:pt x="0" y="9"/>
                  </a:lnTo>
                  <a:cubicBezTo>
                    <a:pt x="0" y="12"/>
                    <a:pt x="0" y="14"/>
                    <a:pt x="3" y="17"/>
                  </a:cubicBezTo>
                  <a:cubicBezTo>
                    <a:pt x="6" y="17"/>
                    <a:pt x="9" y="17"/>
                    <a:pt x="9" y="17"/>
                  </a:cubicBezTo>
                  <a:cubicBezTo>
                    <a:pt x="9" y="14"/>
                    <a:pt x="9" y="14"/>
                    <a:pt x="9" y="12"/>
                  </a:cubicBezTo>
                  <a:cubicBezTo>
                    <a:pt x="9" y="9"/>
                    <a:pt x="6" y="6"/>
                    <a:pt x="6" y="0"/>
                  </a:cubicBezTo>
                  <a:cubicBezTo>
                    <a:pt x="3" y="3"/>
                    <a:pt x="3" y="6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" name="Freeform 43"/>
            <p:cNvSpPr>
              <a:spLocks noChangeArrowheads="1"/>
            </p:cNvSpPr>
            <p:nvPr/>
          </p:nvSpPr>
          <p:spPr bwMode="auto">
            <a:xfrm>
              <a:off x="4483100" y="2935288"/>
              <a:ext cx="1588" cy="3175"/>
            </a:xfrm>
            <a:custGeom>
              <a:avLst/>
              <a:gdLst>
                <a:gd name="T0" fmla="*/ 0 w 6"/>
                <a:gd name="T1" fmla="*/ 6 h 7"/>
                <a:gd name="T2" fmla="*/ 5 w 6"/>
                <a:gd name="T3" fmla="*/ 0 h 7"/>
                <a:gd name="T4" fmla="*/ 5 w 6"/>
                <a:gd name="T5" fmla="*/ 0 h 7"/>
                <a:gd name="T6" fmla="*/ 0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6"/>
                  </a:moveTo>
                  <a:cubicBezTo>
                    <a:pt x="2" y="6"/>
                    <a:pt x="5" y="3"/>
                    <a:pt x="5" y="0"/>
                  </a:cubicBezTo>
                  <a:lnTo>
                    <a:pt x="5" y="0"/>
                  </a:lnTo>
                  <a:cubicBezTo>
                    <a:pt x="2" y="3"/>
                    <a:pt x="2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" name="Freeform 44"/>
            <p:cNvSpPr>
              <a:spLocks noChangeArrowheads="1"/>
            </p:cNvSpPr>
            <p:nvPr/>
          </p:nvSpPr>
          <p:spPr bwMode="auto">
            <a:xfrm>
              <a:off x="3663950" y="2790825"/>
              <a:ext cx="3175" cy="6350"/>
            </a:xfrm>
            <a:custGeom>
              <a:avLst/>
              <a:gdLst>
                <a:gd name="T0" fmla="*/ 0 w 9"/>
                <a:gd name="T1" fmla="*/ 3 h 18"/>
                <a:gd name="T2" fmla="*/ 5 w 9"/>
                <a:gd name="T3" fmla="*/ 17 h 18"/>
                <a:gd name="T4" fmla="*/ 8 w 9"/>
                <a:gd name="T5" fmla="*/ 12 h 18"/>
                <a:gd name="T6" fmla="*/ 2 w 9"/>
                <a:gd name="T7" fmla="*/ 0 h 18"/>
                <a:gd name="T8" fmla="*/ 0 w 9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8">
                  <a:moveTo>
                    <a:pt x="0" y="3"/>
                  </a:moveTo>
                  <a:cubicBezTo>
                    <a:pt x="0" y="12"/>
                    <a:pt x="2" y="17"/>
                    <a:pt x="5" y="17"/>
                  </a:cubicBezTo>
                  <a:cubicBezTo>
                    <a:pt x="5" y="14"/>
                    <a:pt x="5" y="14"/>
                    <a:pt x="8" y="12"/>
                  </a:cubicBezTo>
                  <a:cubicBezTo>
                    <a:pt x="5" y="9"/>
                    <a:pt x="5" y="3"/>
                    <a:pt x="2" y="0"/>
                  </a:cubicBezTo>
                  <a:cubicBezTo>
                    <a:pt x="0" y="0"/>
                    <a:pt x="0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" name="Freeform 45"/>
            <p:cNvSpPr>
              <a:spLocks noChangeArrowheads="1"/>
            </p:cNvSpPr>
            <p:nvPr/>
          </p:nvSpPr>
          <p:spPr bwMode="auto">
            <a:xfrm>
              <a:off x="3649663" y="2757488"/>
              <a:ext cx="3175" cy="3175"/>
            </a:xfrm>
            <a:custGeom>
              <a:avLst/>
              <a:gdLst>
                <a:gd name="T0" fmla="*/ 0 w 10"/>
                <a:gd name="T1" fmla="*/ 9 h 10"/>
                <a:gd name="T2" fmla="*/ 0 w 10"/>
                <a:gd name="T3" fmla="*/ 9 h 10"/>
                <a:gd name="T4" fmla="*/ 9 w 10"/>
                <a:gd name="T5" fmla="*/ 3 h 10"/>
                <a:gd name="T6" fmla="*/ 9 w 10"/>
                <a:gd name="T7" fmla="*/ 0 h 10"/>
                <a:gd name="T8" fmla="*/ 0 w 10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0" y="9"/>
                  </a:moveTo>
                  <a:cubicBezTo>
                    <a:pt x="0" y="9"/>
                    <a:pt x="3" y="9"/>
                    <a:pt x="0" y="9"/>
                  </a:cubicBezTo>
                  <a:cubicBezTo>
                    <a:pt x="3" y="6"/>
                    <a:pt x="6" y="6"/>
                    <a:pt x="9" y="3"/>
                  </a:cubicBezTo>
                  <a:lnTo>
                    <a:pt x="9" y="0"/>
                  </a:lnTo>
                  <a:cubicBezTo>
                    <a:pt x="3" y="3"/>
                    <a:pt x="3" y="6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" name="Freeform 46"/>
            <p:cNvSpPr>
              <a:spLocks noChangeArrowheads="1"/>
            </p:cNvSpPr>
            <p:nvPr/>
          </p:nvSpPr>
          <p:spPr bwMode="auto">
            <a:xfrm>
              <a:off x="3619500" y="2632075"/>
              <a:ext cx="1588" cy="3175"/>
            </a:xfrm>
            <a:custGeom>
              <a:avLst/>
              <a:gdLst>
                <a:gd name="T0" fmla="*/ 0 w 6"/>
                <a:gd name="T1" fmla="*/ 0 h 7"/>
                <a:gd name="T2" fmla="*/ 2 w 6"/>
                <a:gd name="T3" fmla="*/ 6 h 7"/>
                <a:gd name="T4" fmla="*/ 5 w 6"/>
                <a:gd name="T5" fmla="*/ 6 h 7"/>
                <a:gd name="T6" fmla="*/ 5 w 6"/>
                <a:gd name="T7" fmla="*/ 0 h 7"/>
                <a:gd name="T8" fmla="*/ 0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cubicBezTo>
                    <a:pt x="0" y="3"/>
                    <a:pt x="0" y="6"/>
                    <a:pt x="2" y="6"/>
                  </a:cubicBezTo>
                  <a:lnTo>
                    <a:pt x="5" y="6"/>
                  </a:lnTo>
                  <a:cubicBezTo>
                    <a:pt x="5" y="3"/>
                    <a:pt x="5" y="3"/>
                    <a:pt x="5" y="0"/>
                  </a:cubicBezTo>
                  <a:cubicBezTo>
                    <a:pt x="2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" name="Freeform 47"/>
            <p:cNvSpPr>
              <a:spLocks noChangeArrowheads="1"/>
            </p:cNvSpPr>
            <p:nvPr/>
          </p:nvSpPr>
          <p:spPr bwMode="auto">
            <a:xfrm>
              <a:off x="3614738" y="2503488"/>
              <a:ext cx="7937" cy="14287"/>
            </a:xfrm>
            <a:custGeom>
              <a:avLst/>
              <a:gdLst>
                <a:gd name="T0" fmla="*/ 14 w 21"/>
                <a:gd name="T1" fmla="*/ 0 h 38"/>
                <a:gd name="T2" fmla="*/ 3 w 21"/>
                <a:gd name="T3" fmla="*/ 6 h 38"/>
                <a:gd name="T4" fmla="*/ 17 w 21"/>
                <a:gd name="T5" fmla="*/ 37 h 38"/>
                <a:gd name="T6" fmla="*/ 20 w 21"/>
                <a:gd name="T7" fmla="*/ 6 h 38"/>
                <a:gd name="T8" fmla="*/ 14 w 21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38">
                  <a:moveTo>
                    <a:pt x="14" y="0"/>
                  </a:moveTo>
                  <a:cubicBezTo>
                    <a:pt x="9" y="0"/>
                    <a:pt x="6" y="3"/>
                    <a:pt x="3" y="6"/>
                  </a:cubicBezTo>
                  <a:cubicBezTo>
                    <a:pt x="0" y="17"/>
                    <a:pt x="6" y="28"/>
                    <a:pt x="17" y="37"/>
                  </a:cubicBezTo>
                  <a:cubicBezTo>
                    <a:pt x="17" y="25"/>
                    <a:pt x="20" y="17"/>
                    <a:pt x="20" y="6"/>
                  </a:cubicBezTo>
                  <a:cubicBezTo>
                    <a:pt x="17" y="3"/>
                    <a:pt x="17" y="0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" name="Freeform 48"/>
            <p:cNvSpPr>
              <a:spLocks noChangeArrowheads="1"/>
            </p:cNvSpPr>
            <p:nvPr/>
          </p:nvSpPr>
          <p:spPr bwMode="auto">
            <a:xfrm>
              <a:off x="3724275" y="2890838"/>
              <a:ext cx="4763" cy="4762"/>
            </a:xfrm>
            <a:custGeom>
              <a:avLst/>
              <a:gdLst>
                <a:gd name="T0" fmla="*/ 3 w 15"/>
                <a:gd name="T1" fmla="*/ 0 h 15"/>
                <a:gd name="T2" fmla="*/ 0 w 15"/>
                <a:gd name="T3" fmla="*/ 14 h 15"/>
                <a:gd name="T4" fmla="*/ 11 w 15"/>
                <a:gd name="T5" fmla="*/ 14 h 15"/>
                <a:gd name="T6" fmla="*/ 14 w 15"/>
                <a:gd name="T7" fmla="*/ 8 h 15"/>
                <a:gd name="T8" fmla="*/ 8 w 15"/>
                <a:gd name="T9" fmla="*/ 0 h 15"/>
                <a:gd name="T10" fmla="*/ 3 w 15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5">
                  <a:moveTo>
                    <a:pt x="3" y="0"/>
                  </a:moveTo>
                  <a:cubicBezTo>
                    <a:pt x="3" y="5"/>
                    <a:pt x="0" y="8"/>
                    <a:pt x="0" y="14"/>
                  </a:cubicBezTo>
                  <a:cubicBezTo>
                    <a:pt x="3" y="14"/>
                    <a:pt x="8" y="14"/>
                    <a:pt x="11" y="14"/>
                  </a:cubicBezTo>
                  <a:cubicBezTo>
                    <a:pt x="11" y="11"/>
                    <a:pt x="11" y="11"/>
                    <a:pt x="14" y="8"/>
                  </a:cubicBezTo>
                  <a:cubicBezTo>
                    <a:pt x="11" y="5"/>
                    <a:pt x="11" y="2"/>
                    <a:pt x="8" y="0"/>
                  </a:cubicBezTo>
                  <a:cubicBezTo>
                    <a:pt x="6" y="0"/>
                    <a:pt x="6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" name="Freeform 49"/>
            <p:cNvSpPr>
              <a:spLocks noChangeArrowheads="1"/>
            </p:cNvSpPr>
            <p:nvPr/>
          </p:nvSpPr>
          <p:spPr bwMode="auto">
            <a:xfrm>
              <a:off x="3937000" y="3048000"/>
              <a:ext cx="1588" cy="1588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0 h 6"/>
                <a:gd name="T4" fmla="*/ 0 w 6"/>
                <a:gd name="T5" fmla="*/ 5 h 6"/>
                <a:gd name="T6" fmla="*/ 5 w 6"/>
                <a:gd name="T7" fmla="*/ 3 h 6"/>
                <a:gd name="T8" fmla="*/ 5 w 6"/>
                <a:gd name="T9" fmla="*/ 3 h 6"/>
                <a:gd name="T10" fmla="*/ 0 w 6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0" y="0"/>
                  </a:lnTo>
                  <a:cubicBezTo>
                    <a:pt x="0" y="3"/>
                    <a:pt x="0" y="3"/>
                    <a:pt x="0" y="5"/>
                  </a:cubicBezTo>
                  <a:cubicBezTo>
                    <a:pt x="2" y="5"/>
                    <a:pt x="2" y="3"/>
                    <a:pt x="5" y="3"/>
                  </a:cubicBezTo>
                  <a:lnTo>
                    <a:pt x="5" y="3"/>
                  </a:lnTo>
                  <a:cubicBezTo>
                    <a:pt x="2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" name="Freeform 50"/>
            <p:cNvSpPr>
              <a:spLocks noChangeArrowheads="1"/>
            </p:cNvSpPr>
            <p:nvPr/>
          </p:nvSpPr>
          <p:spPr bwMode="auto">
            <a:xfrm>
              <a:off x="3763963" y="2933700"/>
              <a:ext cx="3175" cy="3175"/>
            </a:xfrm>
            <a:custGeom>
              <a:avLst/>
              <a:gdLst>
                <a:gd name="T0" fmla="*/ 0 w 10"/>
                <a:gd name="T1" fmla="*/ 0 h 7"/>
                <a:gd name="T2" fmla="*/ 0 w 10"/>
                <a:gd name="T3" fmla="*/ 6 h 7"/>
                <a:gd name="T4" fmla="*/ 6 w 10"/>
                <a:gd name="T5" fmla="*/ 6 h 7"/>
                <a:gd name="T6" fmla="*/ 9 w 10"/>
                <a:gd name="T7" fmla="*/ 6 h 7"/>
                <a:gd name="T8" fmla="*/ 6 w 10"/>
                <a:gd name="T9" fmla="*/ 3 h 7"/>
                <a:gd name="T10" fmla="*/ 0 w 10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7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3" y="6"/>
                    <a:pt x="3" y="6"/>
                    <a:pt x="6" y="6"/>
                  </a:cubicBezTo>
                  <a:lnTo>
                    <a:pt x="9" y="6"/>
                  </a:lnTo>
                  <a:lnTo>
                    <a:pt x="6" y="3"/>
                  </a:lnTo>
                  <a:cubicBezTo>
                    <a:pt x="3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" name="Freeform 51"/>
            <p:cNvSpPr>
              <a:spLocks noChangeArrowheads="1"/>
            </p:cNvSpPr>
            <p:nvPr/>
          </p:nvSpPr>
          <p:spPr bwMode="auto">
            <a:xfrm>
              <a:off x="3630613" y="2439988"/>
              <a:ext cx="3175" cy="3175"/>
            </a:xfrm>
            <a:custGeom>
              <a:avLst/>
              <a:gdLst>
                <a:gd name="T0" fmla="*/ 0 w 7"/>
                <a:gd name="T1" fmla="*/ 0 h 7"/>
                <a:gd name="T2" fmla="*/ 0 w 7"/>
                <a:gd name="T3" fmla="*/ 6 h 7"/>
                <a:gd name="T4" fmla="*/ 3 w 7"/>
                <a:gd name="T5" fmla="*/ 6 h 7"/>
                <a:gd name="T6" fmla="*/ 0 w 7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cubicBezTo>
                    <a:pt x="6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" name="Freeform 52"/>
            <p:cNvSpPr>
              <a:spLocks noChangeArrowheads="1"/>
            </p:cNvSpPr>
            <p:nvPr/>
          </p:nvSpPr>
          <p:spPr bwMode="auto">
            <a:xfrm>
              <a:off x="3967163" y="2078038"/>
              <a:ext cx="3175" cy="6350"/>
            </a:xfrm>
            <a:custGeom>
              <a:avLst/>
              <a:gdLst>
                <a:gd name="T0" fmla="*/ 3 w 10"/>
                <a:gd name="T1" fmla="*/ 0 h 18"/>
                <a:gd name="T2" fmla="*/ 0 w 10"/>
                <a:gd name="T3" fmla="*/ 9 h 18"/>
                <a:gd name="T4" fmla="*/ 3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3" y="0"/>
                  </a:moveTo>
                  <a:lnTo>
                    <a:pt x="0" y="9"/>
                  </a:lnTo>
                  <a:cubicBezTo>
                    <a:pt x="9" y="17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" name="Freeform 53"/>
            <p:cNvSpPr>
              <a:spLocks noChangeArrowheads="1"/>
            </p:cNvSpPr>
            <p:nvPr/>
          </p:nvSpPr>
          <p:spPr bwMode="auto">
            <a:xfrm>
              <a:off x="3871913" y="2117725"/>
              <a:ext cx="3175" cy="3175"/>
            </a:xfrm>
            <a:custGeom>
              <a:avLst/>
              <a:gdLst>
                <a:gd name="T0" fmla="*/ 0 w 7"/>
                <a:gd name="T1" fmla="*/ 6 h 7"/>
                <a:gd name="T2" fmla="*/ 6 w 7"/>
                <a:gd name="T3" fmla="*/ 6 h 7"/>
                <a:gd name="T4" fmla="*/ 6 w 7"/>
                <a:gd name="T5" fmla="*/ 0 h 7"/>
                <a:gd name="T6" fmla="*/ 0 w 7"/>
                <a:gd name="T7" fmla="*/ 0 h 7"/>
                <a:gd name="T8" fmla="*/ 0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" name="Freeform 54"/>
            <p:cNvSpPr>
              <a:spLocks noChangeArrowheads="1"/>
            </p:cNvSpPr>
            <p:nvPr/>
          </p:nvSpPr>
          <p:spPr bwMode="auto">
            <a:xfrm>
              <a:off x="3911600" y="2103438"/>
              <a:ext cx="9525" cy="9525"/>
            </a:xfrm>
            <a:custGeom>
              <a:avLst/>
              <a:gdLst>
                <a:gd name="T0" fmla="*/ 14 w 26"/>
                <a:gd name="T1" fmla="*/ 11 h 26"/>
                <a:gd name="T2" fmla="*/ 11 w 26"/>
                <a:gd name="T3" fmla="*/ 0 h 26"/>
                <a:gd name="T4" fmla="*/ 3 w 26"/>
                <a:gd name="T5" fmla="*/ 0 h 26"/>
                <a:gd name="T6" fmla="*/ 14 w 26"/>
                <a:gd name="T7" fmla="*/ 11 h 26"/>
                <a:gd name="T8" fmla="*/ 3 w 26"/>
                <a:gd name="T9" fmla="*/ 25 h 26"/>
                <a:gd name="T10" fmla="*/ 23 w 26"/>
                <a:gd name="T11" fmla="*/ 19 h 26"/>
                <a:gd name="T12" fmla="*/ 14 w 26"/>
                <a:gd name="T13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14" y="11"/>
                  </a:moveTo>
                  <a:cubicBezTo>
                    <a:pt x="14" y="5"/>
                    <a:pt x="9" y="5"/>
                    <a:pt x="11" y="0"/>
                  </a:cubicBezTo>
                  <a:lnTo>
                    <a:pt x="3" y="0"/>
                  </a:lnTo>
                  <a:cubicBezTo>
                    <a:pt x="0" y="8"/>
                    <a:pt x="11" y="8"/>
                    <a:pt x="14" y="11"/>
                  </a:cubicBezTo>
                  <a:cubicBezTo>
                    <a:pt x="6" y="11"/>
                    <a:pt x="6" y="19"/>
                    <a:pt x="3" y="25"/>
                  </a:cubicBezTo>
                  <a:cubicBezTo>
                    <a:pt x="11" y="25"/>
                    <a:pt x="14" y="19"/>
                    <a:pt x="23" y="19"/>
                  </a:cubicBezTo>
                  <a:cubicBezTo>
                    <a:pt x="25" y="14"/>
                    <a:pt x="17" y="17"/>
                    <a:pt x="14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" name="Freeform 55"/>
            <p:cNvSpPr>
              <a:spLocks noChangeArrowheads="1"/>
            </p:cNvSpPr>
            <p:nvPr/>
          </p:nvSpPr>
          <p:spPr bwMode="auto">
            <a:xfrm>
              <a:off x="3748088" y="2235200"/>
              <a:ext cx="1587" cy="1588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3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" name="Freeform 56"/>
            <p:cNvSpPr>
              <a:spLocks noChangeArrowheads="1"/>
            </p:cNvSpPr>
            <p:nvPr/>
          </p:nvSpPr>
          <p:spPr bwMode="auto">
            <a:xfrm>
              <a:off x="3738563" y="2217738"/>
              <a:ext cx="3175" cy="1587"/>
            </a:xfrm>
            <a:custGeom>
              <a:avLst/>
              <a:gdLst>
                <a:gd name="T0" fmla="*/ 0 w 9"/>
                <a:gd name="T1" fmla="*/ 2 h 3"/>
                <a:gd name="T2" fmla="*/ 8 w 9"/>
                <a:gd name="T3" fmla="*/ 0 h 3"/>
                <a:gd name="T4" fmla="*/ 8 w 9"/>
                <a:gd name="T5" fmla="*/ 0 h 3"/>
                <a:gd name="T6" fmla="*/ 0 w 9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3">
                  <a:moveTo>
                    <a:pt x="0" y="2"/>
                  </a:moveTo>
                  <a:cubicBezTo>
                    <a:pt x="2" y="2"/>
                    <a:pt x="5" y="0"/>
                    <a:pt x="8" y="0"/>
                  </a:cubicBezTo>
                  <a:lnTo>
                    <a:pt x="8" y="0"/>
                  </a:lnTo>
                  <a:cubicBezTo>
                    <a:pt x="5" y="0"/>
                    <a:pt x="2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" name="Freeform 57"/>
            <p:cNvSpPr>
              <a:spLocks noChangeArrowheads="1"/>
            </p:cNvSpPr>
            <p:nvPr/>
          </p:nvSpPr>
          <p:spPr bwMode="auto">
            <a:xfrm>
              <a:off x="3700463" y="2266950"/>
              <a:ext cx="3175" cy="1588"/>
            </a:xfrm>
            <a:custGeom>
              <a:avLst/>
              <a:gdLst>
                <a:gd name="T0" fmla="*/ 3 w 10"/>
                <a:gd name="T1" fmla="*/ 0 h 4"/>
                <a:gd name="T2" fmla="*/ 0 w 10"/>
                <a:gd name="T3" fmla="*/ 0 h 4"/>
                <a:gd name="T4" fmla="*/ 0 w 10"/>
                <a:gd name="T5" fmla="*/ 3 h 4"/>
                <a:gd name="T6" fmla="*/ 0 w 10"/>
                <a:gd name="T7" fmla="*/ 3 h 4"/>
                <a:gd name="T8" fmla="*/ 3 w 10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cubicBezTo>
                    <a:pt x="0" y="3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" name="Freeform 58"/>
            <p:cNvSpPr>
              <a:spLocks noChangeArrowheads="1"/>
            </p:cNvSpPr>
            <p:nvPr/>
          </p:nvSpPr>
          <p:spPr bwMode="auto">
            <a:xfrm>
              <a:off x="3697288" y="2271713"/>
              <a:ext cx="9525" cy="14287"/>
            </a:xfrm>
            <a:custGeom>
              <a:avLst/>
              <a:gdLst>
                <a:gd name="T0" fmla="*/ 0 w 26"/>
                <a:gd name="T1" fmla="*/ 14 h 38"/>
                <a:gd name="T2" fmla="*/ 11 w 26"/>
                <a:gd name="T3" fmla="*/ 37 h 38"/>
                <a:gd name="T4" fmla="*/ 0 w 26"/>
                <a:gd name="T5" fmla="*/ 1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38">
                  <a:moveTo>
                    <a:pt x="0" y="14"/>
                  </a:moveTo>
                  <a:cubicBezTo>
                    <a:pt x="0" y="28"/>
                    <a:pt x="8" y="28"/>
                    <a:pt x="11" y="37"/>
                  </a:cubicBezTo>
                  <a:cubicBezTo>
                    <a:pt x="25" y="25"/>
                    <a:pt x="11" y="0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" name="Freeform 59"/>
            <p:cNvSpPr>
              <a:spLocks noChangeArrowheads="1"/>
            </p:cNvSpPr>
            <p:nvPr/>
          </p:nvSpPr>
          <p:spPr bwMode="auto">
            <a:xfrm>
              <a:off x="3633788" y="2443163"/>
              <a:ext cx="1587" cy="1587"/>
            </a:xfrm>
            <a:custGeom>
              <a:avLst/>
              <a:gdLst>
                <a:gd name="T0" fmla="*/ 0 w 4"/>
                <a:gd name="T1" fmla="*/ 2 h 3"/>
                <a:gd name="T2" fmla="*/ 3 w 4"/>
                <a:gd name="T3" fmla="*/ 2 h 3"/>
                <a:gd name="T4" fmla="*/ 3 w 4"/>
                <a:gd name="T5" fmla="*/ 2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3" y="2"/>
                  </a:lnTo>
                  <a:lnTo>
                    <a:pt x="3" y="2"/>
                  </a:lnTo>
                  <a:cubicBezTo>
                    <a:pt x="3" y="0"/>
                    <a:pt x="3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" name="Freeform 60"/>
            <p:cNvSpPr>
              <a:spLocks noChangeArrowheads="1"/>
            </p:cNvSpPr>
            <p:nvPr/>
          </p:nvSpPr>
          <p:spPr bwMode="auto">
            <a:xfrm>
              <a:off x="3632200" y="2439988"/>
              <a:ext cx="4763" cy="4762"/>
            </a:xfrm>
            <a:custGeom>
              <a:avLst/>
              <a:gdLst>
                <a:gd name="T0" fmla="*/ 9 w 13"/>
                <a:gd name="T1" fmla="*/ 12 h 15"/>
                <a:gd name="T2" fmla="*/ 12 w 13"/>
                <a:gd name="T3" fmla="*/ 0 h 15"/>
                <a:gd name="T4" fmla="*/ 3 w 13"/>
                <a:gd name="T5" fmla="*/ 3 h 15"/>
                <a:gd name="T6" fmla="*/ 3 w 13"/>
                <a:gd name="T7" fmla="*/ 3 h 15"/>
                <a:gd name="T8" fmla="*/ 0 w 13"/>
                <a:gd name="T9" fmla="*/ 6 h 15"/>
                <a:gd name="T10" fmla="*/ 6 w 13"/>
                <a:gd name="T11" fmla="*/ 14 h 15"/>
                <a:gd name="T12" fmla="*/ 6 w 13"/>
                <a:gd name="T13" fmla="*/ 14 h 15"/>
                <a:gd name="T14" fmla="*/ 6 w 13"/>
                <a:gd name="T15" fmla="*/ 14 h 15"/>
                <a:gd name="T16" fmla="*/ 9 w 13"/>
                <a:gd name="T17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5">
                  <a:moveTo>
                    <a:pt x="9" y="12"/>
                  </a:moveTo>
                  <a:cubicBezTo>
                    <a:pt x="9" y="9"/>
                    <a:pt x="12" y="6"/>
                    <a:pt x="12" y="0"/>
                  </a:cubicBezTo>
                  <a:cubicBezTo>
                    <a:pt x="9" y="0"/>
                    <a:pt x="6" y="0"/>
                    <a:pt x="3" y="3"/>
                  </a:cubicBezTo>
                  <a:lnTo>
                    <a:pt x="3" y="3"/>
                  </a:lnTo>
                  <a:cubicBezTo>
                    <a:pt x="3" y="3"/>
                    <a:pt x="0" y="3"/>
                    <a:pt x="0" y="6"/>
                  </a:cubicBezTo>
                  <a:cubicBezTo>
                    <a:pt x="0" y="9"/>
                    <a:pt x="3" y="12"/>
                    <a:pt x="6" y="14"/>
                  </a:cubicBezTo>
                  <a:lnTo>
                    <a:pt x="6" y="14"/>
                  </a:lnTo>
                  <a:lnTo>
                    <a:pt x="6" y="14"/>
                  </a:lnTo>
                  <a:cubicBezTo>
                    <a:pt x="9" y="12"/>
                    <a:pt x="9" y="12"/>
                    <a:pt x="9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" name="Freeform 61"/>
            <p:cNvSpPr>
              <a:spLocks noChangeArrowheads="1"/>
            </p:cNvSpPr>
            <p:nvPr/>
          </p:nvSpPr>
          <p:spPr bwMode="auto">
            <a:xfrm>
              <a:off x="3765550" y="2208213"/>
              <a:ext cx="3175" cy="9525"/>
            </a:xfrm>
            <a:custGeom>
              <a:avLst/>
              <a:gdLst>
                <a:gd name="T0" fmla="*/ 0 w 9"/>
                <a:gd name="T1" fmla="*/ 0 h 27"/>
                <a:gd name="T2" fmla="*/ 3 w 9"/>
                <a:gd name="T3" fmla="*/ 14 h 27"/>
                <a:gd name="T4" fmla="*/ 6 w 9"/>
                <a:gd name="T5" fmla="*/ 26 h 27"/>
                <a:gd name="T6" fmla="*/ 8 w 9"/>
                <a:gd name="T7" fmla="*/ 26 h 27"/>
                <a:gd name="T8" fmla="*/ 8 w 9"/>
                <a:gd name="T9" fmla="*/ 26 h 27"/>
                <a:gd name="T10" fmla="*/ 6 w 9"/>
                <a:gd name="T11" fmla="*/ 17 h 27"/>
                <a:gd name="T12" fmla="*/ 0 w 9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7">
                  <a:moveTo>
                    <a:pt x="0" y="0"/>
                  </a:moveTo>
                  <a:cubicBezTo>
                    <a:pt x="0" y="6"/>
                    <a:pt x="3" y="9"/>
                    <a:pt x="3" y="14"/>
                  </a:cubicBezTo>
                  <a:cubicBezTo>
                    <a:pt x="3" y="17"/>
                    <a:pt x="6" y="23"/>
                    <a:pt x="6" y="26"/>
                  </a:cubicBezTo>
                  <a:lnTo>
                    <a:pt x="8" y="26"/>
                  </a:lnTo>
                  <a:lnTo>
                    <a:pt x="8" y="26"/>
                  </a:lnTo>
                  <a:cubicBezTo>
                    <a:pt x="8" y="23"/>
                    <a:pt x="6" y="20"/>
                    <a:pt x="6" y="17"/>
                  </a:cubicBezTo>
                  <a:cubicBezTo>
                    <a:pt x="3" y="9"/>
                    <a:pt x="0" y="6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" name="Freeform 62"/>
            <p:cNvSpPr>
              <a:spLocks noChangeArrowheads="1"/>
            </p:cNvSpPr>
            <p:nvPr/>
          </p:nvSpPr>
          <p:spPr bwMode="auto">
            <a:xfrm>
              <a:off x="3613150" y="2573338"/>
              <a:ext cx="4763" cy="7937"/>
            </a:xfrm>
            <a:custGeom>
              <a:avLst/>
              <a:gdLst>
                <a:gd name="T0" fmla="*/ 14 w 15"/>
                <a:gd name="T1" fmla="*/ 3 h 22"/>
                <a:gd name="T2" fmla="*/ 5 w 15"/>
                <a:gd name="T3" fmla="*/ 3 h 22"/>
                <a:gd name="T4" fmla="*/ 2 w 15"/>
                <a:gd name="T5" fmla="*/ 16 h 22"/>
                <a:gd name="T6" fmla="*/ 11 w 15"/>
                <a:gd name="T7" fmla="*/ 21 h 22"/>
                <a:gd name="T8" fmla="*/ 11 w 15"/>
                <a:gd name="T9" fmla="*/ 13 h 22"/>
                <a:gd name="T10" fmla="*/ 14 w 15"/>
                <a:gd name="T1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14" y="3"/>
                  </a:moveTo>
                  <a:cubicBezTo>
                    <a:pt x="11" y="3"/>
                    <a:pt x="5" y="0"/>
                    <a:pt x="5" y="3"/>
                  </a:cubicBezTo>
                  <a:cubicBezTo>
                    <a:pt x="11" y="6"/>
                    <a:pt x="0" y="7"/>
                    <a:pt x="2" y="16"/>
                  </a:cubicBezTo>
                  <a:cubicBezTo>
                    <a:pt x="5" y="19"/>
                    <a:pt x="8" y="21"/>
                    <a:pt x="11" y="21"/>
                  </a:cubicBezTo>
                  <a:cubicBezTo>
                    <a:pt x="11" y="19"/>
                    <a:pt x="11" y="16"/>
                    <a:pt x="11" y="13"/>
                  </a:cubicBezTo>
                  <a:cubicBezTo>
                    <a:pt x="14" y="7"/>
                    <a:pt x="14" y="5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" name="Freeform 63"/>
            <p:cNvSpPr>
              <a:spLocks noChangeArrowheads="1"/>
            </p:cNvSpPr>
            <p:nvPr/>
          </p:nvSpPr>
          <p:spPr bwMode="auto">
            <a:xfrm>
              <a:off x="3846513" y="2143125"/>
              <a:ext cx="1587" cy="3175"/>
            </a:xfrm>
            <a:custGeom>
              <a:avLst/>
              <a:gdLst>
                <a:gd name="T0" fmla="*/ 2 w 3"/>
                <a:gd name="T1" fmla="*/ 0 h 10"/>
                <a:gd name="T2" fmla="*/ 0 w 3"/>
                <a:gd name="T3" fmla="*/ 0 h 10"/>
                <a:gd name="T4" fmla="*/ 0 w 3"/>
                <a:gd name="T5" fmla="*/ 6 h 10"/>
                <a:gd name="T6" fmla="*/ 0 w 3"/>
                <a:gd name="T7" fmla="*/ 9 h 10"/>
                <a:gd name="T8" fmla="*/ 2 w 3"/>
                <a:gd name="T9" fmla="*/ 9 h 10"/>
                <a:gd name="T10" fmla="*/ 2 w 3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10">
                  <a:moveTo>
                    <a:pt x="2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" name="Freeform 64"/>
            <p:cNvSpPr>
              <a:spLocks noChangeArrowheads="1"/>
            </p:cNvSpPr>
            <p:nvPr/>
          </p:nvSpPr>
          <p:spPr bwMode="auto">
            <a:xfrm>
              <a:off x="3890963" y="3027363"/>
              <a:ext cx="3175" cy="1587"/>
            </a:xfrm>
            <a:custGeom>
              <a:avLst/>
              <a:gdLst>
                <a:gd name="T0" fmla="*/ 0 w 9"/>
                <a:gd name="T1" fmla="*/ 5 h 6"/>
                <a:gd name="T2" fmla="*/ 8 w 9"/>
                <a:gd name="T3" fmla="*/ 2 h 6"/>
                <a:gd name="T4" fmla="*/ 8 w 9"/>
                <a:gd name="T5" fmla="*/ 2 h 6"/>
                <a:gd name="T6" fmla="*/ 0 w 9"/>
                <a:gd name="T7" fmla="*/ 0 h 6"/>
                <a:gd name="T8" fmla="*/ 0 w 9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0" y="5"/>
                  </a:moveTo>
                  <a:cubicBezTo>
                    <a:pt x="3" y="5"/>
                    <a:pt x="5" y="5"/>
                    <a:pt x="8" y="2"/>
                  </a:cubicBezTo>
                  <a:lnTo>
                    <a:pt x="8" y="2"/>
                  </a:lnTo>
                  <a:cubicBezTo>
                    <a:pt x="5" y="2"/>
                    <a:pt x="3" y="0"/>
                    <a:pt x="0" y="0"/>
                  </a:cubicBezTo>
                  <a:cubicBezTo>
                    <a:pt x="0" y="0"/>
                    <a:pt x="0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" name="Freeform 65"/>
            <p:cNvSpPr>
              <a:spLocks noChangeArrowheads="1"/>
            </p:cNvSpPr>
            <p:nvPr/>
          </p:nvSpPr>
          <p:spPr bwMode="auto">
            <a:xfrm>
              <a:off x="3614738" y="2651125"/>
              <a:ext cx="1587" cy="1588"/>
            </a:xfrm>
            <a:custGeom>
              <a:avLst/>
              <a:gdLst>
                <a:gd name="T0" fmla="*/ 0 w 4"/>
                <a:gd name="T1" fmla="*/ 0 h 1"/>
                <a:gd name="T2" fmla="*/ 0 w 4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" name="Freeform 66"/>
            <p:cNvSpPr>
              <a:spLocks noChangeArrowheads="1"/>
            </p:cNvSpPr>
            <p:nvPr/>
          </p:nvSpPr>
          <p:spPr bwMode="auto">
            <a:xfrm>
              <a:off x="3613150" y="2593975"/>
              <a:ext cx="3175" cy="3175"/>
            </a:xfrm>
            <a:custGeom>
              <a:avLst/>
              <a:gdLst>
                <a:gd name="T0" fmla="*/ 5 w 9"/>
                <a:gd name="T1" fmla="*/ 6 h 7"/>
                <a:gd name="T2" fmla="*/ 8 w 9"/>
                <a:gd name="T3" fmla="*/ 3 h 7"/>
                <a:gd name="T4" fmla="*/ 2 w 9"/>
                <a:gd name="T5" fmla="*/ 0 h 7"/>
                <a:gd name="T6" fmla="*/ 0 w 9"/>
                <a:gd name="T7" fmla="*/ 3 h 7"/>
                <a:gd name="T8" fmla="*/ 5 w 9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5" y="6"/>
                  </a:moveTo>
                  <a:cubicBezTo>
                    <a:pt x="5" y="6"/>
                    <a:pt x="8" y="6"/>
                    <a:pt x="8" y="3"/>
                  </a:cubicBezTo>
                  <a:cubicBezTo>
                    <a:pt x="5" y="3"/>
                    <a:pt x="5" y="0"/>
                    <a:pt x="2" y="0"/>
                  </a:cubicBezTo>
                  <a:lnTo>
                    <a:pt x="0" y="3"/>
                  </a:lnTo>
                  <a:cubicBezTo>
                    <a:pt x="5" y="3"/>
                    <a:pt x="5" y="6"/>
                    <a:pt x="5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" name="Freeform 67"/>
            <p:cNvSpPr>
              <a:spLocks noChangeArrowheads="1"/>
            </p:cNvSpPr>
            <p:nvPr/>
          </p:nvSpPr>
          <p:spPr bwMode="auto">
            <a:xfrm>
              <a:off x="4137025" y="3084513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" name="Freeform 68"/>
            <p:cNvSpPr>
              <a:spLocks noChangeArrowheads="1"/>
            </p:cNvSpPr>
            <p:nvPr/>
          </p:nvSpPr>
          <p:spPr bwMode="auto">
            <a:xfrm>
              <a:off x="4078288" y="3082925"/>
              <a:ext cx="4762" cy="4763"/>
            </a:xfrm>
            <a:custGeom>
              <a:avLst/>
              <a:gdLst>
                <a:gd name="T0" fmla="*/ 0 w 12"/>
                <a:gd name="T1" fmla="*/ 11 h 15"/>
                <a:gd name="T2" fmla="*/ 8 w 12"/>
                <a:gd name="T3" fmla="*/ 14 h 15"/>
                <a:gd name="T4" fmla="*/ 8 w 12"/>
                <a:gd name="T5" fmla="*/ 0 h 15"/>
                <a:gd name="T6" fmla="*/ 0 w 12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0" y="11"/>
                  </a:moveTo>
                  <a:cubicBezTo>
                    <a:pt x="3" y="11"/>
                    <a:pt x="5" y="14"/>
                    <a:pt x="8" y="14"/>
                  </a:cubicBezTo>
                  <a:cubicBezTo>
                    <a:pt x="11" y="11"/>
                    <a:pt x="11" y="5"/>
                    <a:pt x="8" y="0"/>
                  </a:cubicBezTo>
                  <a:cubicBezTo>
                    <a:pt x="3" y="0"/>
                    <a:pt x="0" y="3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" name="Freeform 69"/>
            <p:cNvSpPr>
              <a:spLocks noChangeArrowheads="1"/>
            </p:cNvSpPr>
            <p:nvPr/>
          </p:nvSpPr>
          <p:spPr bwMode="auto">
            <a:xfrm>
              <a:off x="3971925" y="3070225"/>
              <a:ext cx="11113" cy="7938"/>
            </a:xfrm>
            <a:custGeom>
              <a:avLst/>
              <a:gdLst>
                <a:gd name="T0" fmla="*/ 25 w 29"/>
                <a:gd name="T1" fmla="*/ 0 h 21"/>
                <a:gd name="T2" fmla="*/ 0 w 29"/>
                <a:gd name="T3" fmla="*/ 8 h 21"/>
                <a:gd name="T4" fmla="*/ 0 w 29"/>
                <a:gd name="T5" fmla="*/ 11 h 21"/>
                <a:gd name="T6" fmla="*/ 19 w 29"/>
                <a:gd name="T7" fmla="*/ 20 h 21"/>
                <a:gd name="T8" fmla="*/ 28 w 29"/>
                <a:gd name="T9" fmla="*/ 14 h 21"/>
                <a:gd name="T10" fmla="*/ 25 w 29"/>
                <a:gd name="T11" fmla="*/ 8 h 21"/>
                <a:gd name="T12" fmla="*/ 25 w 2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1">
                  <a:moveTo>
                    <a:pt x="25" y="0"/>
                  </a:moveTo>
                  <a:cubicBezTo>
                    <a:pt x="16" y="3"/>
                    <a:pt x="8" y="6"/>
                    <a:pt x="0" y="8"/>
                  </a:cubicBezTo>
                  <a:cubicBezTo>
                    <a:pt x="0" y="8"/>
                    <a:pt x="0" y="8"/>
                    <a:pt x="0" y="11"/>
                  </a:cubicBezTo>
                  <a:cubicBezTo>
                    <a:pt x="2" y="14"/>
                    <a:pt x="8" y="17"/>
                    <a:pt x="19" y="20"/>
                  </a:cubicBezTo>
                  <a:cubicBezTo>
                    <a:pt x="22" y="17"/>
                    <a:pt x="25" y="17"/>
                    <a:pt x="28" y="14"/>
                  </a:cubicBezTo>
                  <a:cubicBezTo>
                    <a:pt x="28" y="11"/>
                    <a:pt x="25" y="11"/>
                    <a:pt x="25" y="8"/>
                  </a:cubicBezTo>
                  <a:cubicBezTo>
                    <a:pt x="28" y="6"/>
                    <a:pt x="25" y="3"/>
                    <a:pt x="2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" name="Freeform 70"/>
            <p:cNvSpPr>
              <a:spLocks noChangeArrowheads="1"/>
            </p:cNvSpPr>
            <p:nvPr/>
          </p:nvSpPr>
          <p:spPr bwMode="auto">
            <a:xfrm>
              <a:off x="3611563" y="2522538"/>
              <a:ext cx="3175" cy="4762"/>
            </a:xfrm>
            <a:custGeom>
              <a:avLst/>
              <a:gdLst>
                <a:gd name="T0" fmla="*/ 8 w 9"/>
                <a:gd name="T1" fmla="*/ 14 h 15"/>
                <a:gd name="T2" fmla="*/ 0 w 9"/>
                <a:gd name="T3" fmla="*/ 3 h 15"/>
                <a:gd name="T4" fmla="*/ 8 w 9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8" y="14"/>
                  </a:moveTo>
                  <a:cubicBezTo>
                    <a:pt x="8" y="8"/>
                    <a:pt x="8" y="0"/>
                    <a:pt x="0" y="3"/>
                  </a:cubicBezTo>
                  <a:cubicBezTo>
                    <a:pt x="0" y="8"/>
                    <a:pt x="3" y="11"/>
                    <a:pt x="8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" name="Freeform 71"/>
            <p:cNvSpPr>
              <a:spLocks noChangeArrowheads="1"/>
            </p:cNvSpPr>
            <p:nvPr/>
          </p:nvSpPr>
          <p:spPr bwMode="auto">
            <a:xfrm>
              <a:off x="3609975" y="2601913"/>
              <a:ext cx="3175" cy="1587"/>
            </a:xfrm>
            <a:custGeom>
              <a:avLst/>
              <a:gdLst>
                <a:gd name="T0" fmla="*/ 0 w 7"/>
                <a:gd name="T1" fmla="*/ 2 h 3"/>
                <a:gd name="T2" fmla="*/ 6 w 7"/>
                <a:gd name="T3" fmla="*/ 0 h 3"/>
                <a:gd name="T4" fmla="*/ 0 w 7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cubicBezTo>
                    <a:pt x="3" y="2"/>
                    <a:pt x="3" y="2"/>
                    <a:pt x="6" y="0"/>
                  </a:cubicBezTo>
                  <a:cubicBezTo>
                    <a:pt x="3" y="2"/>
                    <a:pt x="0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" name="Freeform 72"/>
            <p:cNvSpPr>
              <a:spLocks noChangeArrowheads="1"/>
            </p:cNvSpPr>
            <p:nvPr/>
          </p:nvSpPr>
          <p:spPr bwMode="auto">
            <a:xfrm>
              <a:off x="3598863" y="2527300"/>
              <a:ext cx="11112" cy="14288"/>
            </a:xfrm>
            <a:custGeom>
              <a:avLst/>
              <a:gdLst>
                <a:gd name="T0" fmla="*/ 28 w 29"/>
                <a:gd name="T1" fmla="*/ 39 h 40"/>
                <a:gd name="T2" fmla="*/ 28 w 29"/>
                <a:gd name="T3" fmla="*/ 39 h 40"/>
                <a:gd name="T4" fmla="*/ 0 w 29"/>
                <a:gd name="T5" fmla="*/ 0 h 40"/>
                <a:gd name="T6" fmla="*/ 0 w 29"/>
                <a:gd name="T7" fmla="*/ 0 h 40"/>
                <a:gd name="T8" fmla="*/ 20 w 29"/>
                <a:gd name="T9" fmla="*/ 34 h 40"/>
                <a:gd name="T10" fmla="*/ 28 w 29"/>
                <a:gd name="T11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40">
                  <a:moveTo>
                    <a:pt x="28" y="39"/>
                  </a:moveTo>
                  <a:lnTo>
                    <a:pt x="28" y="39"/>
                  </a:lnTo>
                  <a:cubicBezTo>
                    <a:pt x="17" y="28"/>
                    <a:pt x="6" y="17"/>
                    <a:pt x="0" y="0"/>
                  </a:cubicBezTo>
                  <a:lnTo>
                    <a:pt x="0" y="0"/>
                  </a:lnTo>
                  <a:cubicBezTo>
                    <a:pt x="0" y="3"/>
                    <a:pt x="0" y="14"/>
                    <a:pt x="20" y="34"/>
                  </a:cubicBezTo>
                  <a:cubicBezTo>
                    <a:pt x="26" y="39"/>
                    <a:pt x="26" y="39"/>
                    <a:pt x="28" y="3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" name="Freeform 73"/>
            <p:cNvSpPr>
              <a:spLocks noChangeArrowheads="1"/>
            </p:cNvSpPr>
            <p:nvPr/>
          </p:nvSpPr>
          <p:spPr bwMode="auto">
            <a:xfrm>
              <a:off x="3603625" y="2605088"/>
              <a:ext cx="7938" cy="9525"/>
            </a:xfrm>
            <a:custGeom>
              <a:avLst/>
              <a:gdLst>
                <a:gd name="T0" fmla="*/ 0 w 24"/>
                <a:gd name="T1" fmla="*/ 26 h 27"/>
                <a:gd name="T2" fmla="*/ 23 w 24"/>
                <a:gd name="T3" fmla="*/ 3 h 27"/>
                <a:gd name="T4" fmla="*/ 20 w 24"/>
                <a:gd name="T5" fmla="*/ 0 h 27"/>
                <a:gd name="T6" fmla="*/ 3 w 24"/>
                <a:gd name="T7" fmla="*/ 20 h 27"/>
                <a:gd name="T8" fmla="*/ 0 w 24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7">
                  <a:moveTo>
                    <a:pt x="0" y="26"/>
                  </a:moveTo>
                  <a:cubicBezTo>
                    <a:pt x="6" y="17"/>
                    <a:pt x="14" y="11"/>
                    <a:pt x="23" y="3"/>
                  </a:cubicBezTo>
                  <a:cubicBezTo>
                    <a:pt x="23" y="3"/>
                    <a:pt x="20" y="3"/>
                    <a:pt x="20" y="0"/>
                  </a:cubicBezTo>
                  <a:cubicBezTo>
                    <a:pt x="14" y="6"/>
                    <a:pt x="9" y="11"/>
                    <a:pt x="3" y="20"/>
                  </a:cubicBezTo>
                  <a:cubicBezTo>
                    <a:pt x="3" y="23"/>
                    <a:pt x="0" y="23"/>
                    <a:pt x="0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" name="Freeform 74"/>
            <p:cNvSpPr>
              <a:spLocks noChangeArrowheads="1"/>
            </p:cNvSpPr>
            <p:nvPr/>
          </p:nvSpPr>
          <p:spPr bwMode="auto">
            <a:xfrm>
              <a:off x="3613150" y="2593975"/>
              <a:ext cx="1588" cy="1588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3 h 4"/>
                <a:gd name="T4" fmla="*/ 2 w 3"/>
                <a:gd name="T5" fmla="*/ 3 h 4"/>
                <a:gd name="T6" fmla="*/ 2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" name="Freeform 75"/>
            <p:cNvSpPr>
              <a:spLocks noChangeArrowheads="1"/>
            </p:cNvSpPr>
            <p:nvPr/>
          </p:nvSpPr>
          <p:spPr bwMode="auto">
            <a:xfrm>
              <a:off x="3613150" y="2601913"/>
              <a:ext cx="3175" cy="3175"/>
            </a:xfrm>
            <a:custGeom>
              <a:avLst/>
              <a:gdLst>
                <a:gd name="T0" fmla="*/ 5 w 9"/>
                <a:gd name="T1" fmla="*/ 5 h 9"/>
                <a:gd name="T2" fmla="*/ 8 w 9"/>
                <a:gd name="T3" fmla="*/ 2 h 9"/>
                <a:gd name="T4" fmla="*/ 5 w 9"/>
                <a:gd name="T5" fmla="*/ 0 h 9"/>
                <a:gd name="T6" fmla="*/ 0 w 9"/>
                <a:gd name="T7" fmla="*/ 5 h 9"/>
                <a:gd name="T8" fmla="*/ 3 w 9"/>
                <a:gd name="T9" fmla="*/ 6 h 9"/>
                <a:gd name="T10" fmla="*/ 5 w 9"/>
                <a:gd name="T11" fmla="*/ 5 h 9"/>
                <a:gd name="T12" fmla="*/ 5 w 9"/>
                <a:gd name="T13" fmla="*/ 5 h 9"/>
                <a:gd name="T14" fmla="*/ 3 w 9"/>
                <a:gd name="T15" fmla="*/ 6 h 9"/>
                <a:gd name="T16" fmla="*/ 5 w 9"/>
                <a:gd name="T1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5" y="5"/>
                  </a:moveTo>
                  <a:lnTo>
                    <a:pt x="8" y="2"/>
                  </a:lnTo>
                  <a:lnTo>
                    <a:pt x="5" y="0"/>
                  </a:lnTo>
                  <a:lnTo>
                    <a:pt x="0" y="5"/>
                  </a:lnTo>
                  <a:cubicBezTo>
                    <a:pt x="0" y="8"/>
                    <a:pt x="0" y="8"/>
                    <a:pt x="3" y="6"/>
                  </a:cubicBezTo>
                  <a:cubicBezTo>
                    <a:pt x="3" y="6"/>
                    <a:pt x="4" y="5"/>
                    <a:pt x="5" y="5"/>
                  </a:cubicBezTo>
                  <a:close/>
                  <a:moveTo>
                    <a:pt x="5" y="5"/>
                  </a:moveTo>
                  <a:cubicBezTo>
                    <a:pt x="4" y="7"/>
                    <a:pt x="3" y="7"/>
                    <a:pt x="3" y="6"/>
                  </a:cubicBezTo>
                  <a:cubicBezTo>
                    <a:pt x="4" y="6"/>
                    <a:pt x="4" y="6"/>
                    <a:pt x="5" y="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" name="Freeform 76"/>
            <p:cNvSpPr>
              <a:spLocks noChangeArrowheads="1"/>
            </p:cNvSpPr>
            <p:nvPr/>
          </p:nvSpPr>
          <p:spPr bwMode="auto">
            <a:xfrm>
              <a:off x="4171950" y="3094038"/>
              <a:ext cx="3175" cy="1587"/>
            </a:xfrm>
            <a:custGeom>
              <a:avLst/>
              <a:gdLst>
                <a:gd name="T0" fmla="*/ 6 w 10"/>
                <a:gd name="T1" fmla="*/ 5 h 6"/>
                <a:gd name="T2" fmla="*/ 6 w 10"/>
                <a:gd name="T3" fmla="*/ 0 h 6"/>
                <a:gd name="T4" fmla="*/ 0 w 10"/>
                <a:gd name="T5" fmla="*/ 0 h 6"/>
                <a:gd name="T6" fmla="*/ 0 w 10"/>
                <a:gd name="T7" fmla="*/ 3 h 6"/>
                <a:gd name="T8" fmla="*/ 0 w 10"/>
                <a:gd name="T9" fmla="*/ 3 h 6"/>
                <a:gd name="T10" fmla="*/ 6 w 10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6">
                  <a:moveTo>
                    <a:pt x="6" y="5"/>
                  </a:moveTo>
                  <a:cubicBezTo>
                    <a:pt x="6" y="5"/>
                    <a:pt x="9" y="3"/>
                    <a:pt x="6" y="0"/>
                  </a:cubicBez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cubicBezTo>
                    <a:pt x="3" y="5"/>
                    <a:pt x="3" y="5"/>
                    <a:pt x="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" name="Freeform 77"/>
            <p:cNvSpPr>
              <a:spLocks noChangeArrowheads="1"/>
            </p:cNvSpPr>
            <p:nvPr/>
          </p:nvSpPr>
          <p:spPr bwMode="auto">
            <a:xfrm>
              <a:off x="4214813" y="3089275"/>
              <a:ext cx="4762" cy="3175"/>
            </a:xfrm>
            <a:custGeom>
              <a:avLst/>
              <a:gdLst>
                <a:gd name="T0" fmla="*/ 3 w 15"/>
                <a:gd name="T1" fmla="*/ 0 h 9"/>
                <a:gd name="T2" fmla="*/ 14 w 15"/>
                <a:gd name="T3" fmla="*/ 8 h 9"/>
                <a:gd name="T4" fmla="*/ 3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3" y="0"/>
                  </a:moveTo>
                  <a:cubicBezTo>
                    <a:pt x="0" y="8"/>
                    <a:pt x="5" y="8"/>
                    <a:pt x="14" y="8"/>
                  </a:cubicBezTo>
                  <a:cubicBezTo>
                    <a:pt x="14" y="0"/>
                    <a:pt x="8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" name="Freeform 78"/>
            <p:cNvSpPr>
              <a:spLocks noChangeArrowheads="1"/>
            </p:cNvSpPr>
            <p:nvPr/>
          </p:nvSpPr>
          <p:spPr bwMode="auto">
            <a:xfrm>
              <a:off x="4289425" y="3055938"/>
              <a:ext cx="7938" cy="7937"/>
            </a:xfrm>
            <a:custGeom>
              <a:avLst/>
              <a:gdLst>
                <a:gd name="T0" fmla="*/ 8 w 20"/>
                <a:gd name="T1" fmla="*/ 23 h 24"/>
                <a:gd name="T2" fmla="*/ 19 w 20"/>
                <a:gd name="T3" fmla="*/ 6 h 24"/>
                <a:gd name="T4" fmla="*/ 8 w 20"/>
                <a:gd name="T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8" y="23"/>
                  </a:moveTo>
                  <a:cubicBezTo>
                    <a:pt x="19" y="23"/>
                    <a:pt x="19" y="17"/>
                    <a:pt x="19" y="6"/>
                  </a:cubicBezTo>
                  <a:cubicBezTo>
                    <a:pt x="14" y="0"/>
                    <a:pt x="0" y="14"/>
                    <a:pt x="8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" name="Freeform 79"/>
            <p:cNvSpPr>
              <a:spLocks noChangeArrowheads="1"/>
            </p:cNvSpPr>
            <p:nvPr/>
          </p:nvSpPr>
          <p:spPr bwMode="auto">
            <a:xfrm>
              <a:off x="4262438" y="3073400"/>
              <a:ext cx="4762" cy="6350"/>
            </a:xfrm>
            <a:custGeom>
              <a:avLst/>
              <a:gdLst>
                <a:gd name="T0" fmla="*/ 14 w 15"/>
                <a:gd name="T1" fmla="*/ 3 h 18"/>
                <a:gd name="T2" fmla="*/ 14 w 15"/>
                <a:gd name="T3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14" y="3"/>
                  </a:moveTo>
                  <a:cubicBezTo>
                    <a:pt x="0" y="0"/>
                    <a:pt x="11" y="17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" name="Freeform 80"/>
            <p:cNvSpPr>
              <a:spLocks noChangeArrowheads="1"/>
            </p:cNvSpPr>
            <p:nvPr/>
          </p:nvSpPr>
          <p:spPr bwMode="auto">
            <a:xfrm>
              <a:off x="4149725" y="3090863"/>
              <a:ext cx="3175" cy="3175"/>
            </a:xfrm>
            <a:custGeom>
              <a:avLst/>
              <a:gdLst>
                <a:gd name="T0" fmla="*/ 0 w 7"/>
                <a:gd name="T1" fmla="*/ 0 h 10"/>
                <a:gd name="T2" fmla="*/ 0 w 7"/>
                <a:gd name="T3" fmla="*/ 0 h 10"/>
                <a:gd name="T4" fmla="*/ 3 w 7"/>
                <a:gd name="T5" fmla="*/ 9 h 10"/>
                <a:gd name="T6" fmla="*/ 6 w 7"/>
                <a:gd name="T7" fmla="*/ 3 h 10"/>
                <a:gd name="T8" fmla="*/ 0 w 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0" y="0"/>
                  </a:moveTo>
                  <a:lnTo>
                    <a:pt x="0" y="0"/>
                  </a:lnTo>
                  <a:cubicBezTo>
                    <a:pt x="0" y="6"/>
                    <a:pt x="3" y="9"/>
                    <a:pt x="3" y="9"/>
                  </a:cubicBezTo>
                  <a:cubicBezTo>
                    <a:pt x="3" y="6"/>
                    <a:pt x="6" y="6"/>
                    <a:pt x="6" y="3"/>
                  </a:cubicBez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" name="Freeform 81"/>
            <p:cNvSpPr>
              <a:spLocks noChangeArrowheads="1"/>
            </p:cNvSpPr>
            <p:nvPr/>
          </p:nvSpPr>
          <p:spPr bwMode="auto">
            <a:xfrm>
              <a:off x="3614738" y="2587625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" name="Freeform 82"/>
            <p:cNvSpPr>
              <a:spLocks noChangeArrowheads="1"/>
            </p:cNvSpPr>
            <p:nvPr/>
          </p:nvSpPr>
          <p:spPr bwMode="auto">
            <a:xfrm>
              <a:off x="3629025" y="2708275"/>
              <a:ext cx="1588" cy="1588"/>
            </a:xfrm>
            <a:custGeom>
              <a:avLst/>
              <a:gdLst>
                <a:gd name="T0" fmla="*/ 5 w 6"/>
                <a:gd name="T1" fmla="*/ 3 h 4"/>
                <a:gd name="T2" fmla="*/ 3 w 6"/>
                <a:gd name="T3" fmla="*/ 0 h 4"/>
                <a:gd name="T4" fmla="*/ 0 w 6"/>
                <a:gd name="T5" fmla="*/ 3 h 4"/>
                <a:gd name="T6" fmla="*/ 5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5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" name="Freeform 83"/>
            <p:cNvSpPr>
              <a:spLocks noChangeArrowheads="1"/>
            </p:cNvSpPr>
            <p:nvPr/>
          </p:nvSpPr>
          <p:spPr bwMode="auto">
            <a:xfrm>
              <a:off x="3609975" y="2484438"/>
              <a:ext cx="7938" cy="7937"/>
            </a:xfrm>
            <a:custGeom>
              <a:avLst/>
              <a:gdLst>
                <a:gd name="T0" fmla="*/ 0 w 24"/>
                <a:gd name="T1" fmla="*/ 0 h 24"/>
                <a:gd name="T2" fmla="*/ 20 w 24"/>
                <a:gd name="T3" fmla="*/ 23 h 24"/>
                <a:gd name="T4" fmla="*/ 23 w 24"/>
                <a:gd name="T5" fmla="*/ 23 h 24"/>
                <a:gd name="T6" fmla="*/ 0 w 2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4">
                  <a:moveTo>
                    <a:pt x="0" y="0"/>
                  </a:moveTo>
                  <a:cubicBezTo>
                    <a:pt x="6" y="9"/>
                    <a:pt x="11" y="17"/>
                    <a:pt x="20" y="23"/>
                  </a:cubicBezTo>
                  <a:lnTo>
                    <a:pt x="23" y="23"/>
                  </a:lnTo>
                  <a:cubicBezTo>
                    <a:pt x="11" y="14"/>
                    <a:pt x="6" y="9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" name="Freeform 84"/>
            <p:cNvSpPr>
              <a:spLocks noChangeArrowheads="1"/>
            </p:cNvSpPr>
            <p:nvPr/>
          </p:nvSpPr>
          <p:spPr bwMode="auto">
            <a:xfrm>
              <a:off x="4200525" y="3089275"/>
              <a:ext cx="3175" cy="3175"/>
            </a:xfrm>
            <a:custGeom>
              <a:avLst/>
              <a:gdLst>
                <a:gd name="T0" fmla="*/ 6 w 10"/>
                <a:gd name="T1" fmla="*/ 6 h 7"/>
                <a:gd name="T2" fmla="*/ 9 w 10"/>
                <a:gd name="T3" fmla="*/ 3 h 7"/>
                <a:gd name="T4" fmla="*/ 0 w 10"/>
                <a:gd name="T5" fmla="*/ 0 h 7"/>
                <a:gd name="T6" fmla="*/ 6 w 10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6" y="6"/>
                  </a:moveTo>
                  <a:lnTo>
                    <a:pt x="9" y="3"/>
                  </a:lnTo>
                  <a:cubicBezTo>
                    <a:pt x="6" y="3"/>
                    <a:pt x="3" y="3"/>
                    <a:pt x="0" y="0"/>
                  </a:cubicBezTo>
                  <a:lnTo>
                    <a:pt x="6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" name="Freeform 85"/>
            <p:cNvSpPr>
              <a:spLocks noChangeArrowheads="1"/>
            </p:cNvSpPr>
            <p:nvPr/>
          </p:nvSpPr>
          <p:spPr bwMode="auto">
            <a:xfrm>
              <a:off x="3703638" y="2881313"/>
              <a:ext cx="3175" cy="3175"/>
            </a:xfrm>
            <a:custGeom>
              <a:avLst/>
              <a:gdLst>
                <a:gd name="T0" fmla="*/ 5 w 9"/>
                <a:gd name="T1" fmla="*/ 9 h 10"/>
                <a:gd name="T2" fmla="*/ 8 w 9"/>
                <a:gd name="T3" fmla="*/ 0 h 10"/>
                <a:gd name="T4" fmla="*/ 2 w 9"/>
                <a:gd name="T5" fmla="*/ 0 h 10"/>
                <a:gd name="T6" fmla="*/ 5 w 9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5" y="9"/>
                  </a:moveTo>
                  <a:cubicBezTo>
                    <a:pt x="5" y="6"/>
                    <a:pt x="5" y="3"/>
                    <a:pt x="8" y="0"/>
                  </a:cubicBezTo>
                  <a:lnTo>
                    <a:pt x="2" y="0"/>
                  </a:lnTo>
                  <a:cubicBezTo>
                    <a:pt x="0" y="3"/>
                    <a:pt x="0" y="6"/>
                    <a:pt x="5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" name="Freeform 86"/>
            <p:cNvSpPr>
              <a:spLocks noChangeArrowheads="1"/>
            </p:cNvSpPr>
            <p:nvPr/>
          </p:nvSpPr>
          <p:spPr bwMode="auto">
            <a:xfrm>
              <a:off x="3665538" y="2828925"/>
              <a:ext cx="3175" cy="1588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5 h 6"/>
                <a:gd name="T4" fmla="*/ 6 w 7"/>
                <a:gd name="T5" fmla="*/ 0 h 6"/>
                <a:gd name="T6" fmla="*/ 0 w 7"/>
                <a:gd name="T7" fmla="*/ 0 h 6"/>
                <a:gd name="T8" fmla="*/ 0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lnTo>
                    <a:pt x="6" y="5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" name="Freeform 87"/>
            <p:cNvSpPr>
              <a:spLocks noChangeArrowheads="1"/>
            </p:cNvSpPr>
            <p:nvPr/>
          </p:nvSpPr>
          <p:spPr bwMode="auto">
            <a:xfrm>
              <a:off x="3625850" y="2732088"/>
              <a:ext cx="6350" cy="1587"/>
            </a:xfrm>
            <a:custGeom>
              <a:avLst/>
              <a:gdLst>
                <a:gd name="T0" fmla="*/ 3 w 18"/>
                <a:gd name="T1" fmla="*/ 3 h 6"/>
                <a:gd name="T2" fmla="*/ 12 w 18"/>
                <a:gd name="T3" fmla="*/ 5 h 6"/>
                <a:gd name="T4" fmla="*/ 3 w 18"/>
                <a:gd name="T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6">
                  <a:moveTo>
                    <a:pt x="3" y="3"/>
                  </a:moveTo>
                  <a:lnTo>
                    <a:pt x="12" y="5"/>
                  </a:lnTo>
                  <a:cubicBezTo>
                    <a:pt x="17" y="0"/>
                    <a:pt x="0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" name="Freeform 88"/>
            <p:cNvSpPr>
              <a:spLocks noChangeArrowheads="1"/>
            </p:cNvSpPr>
            <p:nvPr/>
          </p:nvSpPr>
          <p:spPr bwMode="auto">
            <a:xfrm>
              <a:off x="3890963" y="3028950"/>
              <a:ext cx="3175" cy="4763"/>
            </a:xfrm>
            <a:custGeom>
              <a:avLst/>
              <a:gdLst>
                <a:gd name="T0" fmla="*/ 8 w 9"/>
                <a:gd name="T1" fmla="*/ 9 h 13"/>
                <a:gd name="T2" fmla="*/ 8 w 9"/>
                <a:gd name="T3" fmla="*/ 0 h 13"/>
                <a:gd name="T4" fmla="*/ 0 w 9"/>
                <a:gd name="T5" fmla="*/ 3 h 13"/>
                <a:gd name="T6" fmla="*/ 0 w 9"/>
                <a:gd name="T7" fmla="*/ 12 h 13"/>
                <a:gd name="T8" fmla="*/ 8 w 9"/>
                <a:gd name="T9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3">
                  <a:moveTo>
                    <a:pt x="8" y="9"/>
                  </a:moveTo>
                  <a:cubicBezTo>
                    <a:pt x="8" y="6"/>
                    <a:pt x="8" y="3"/>
                    <a:pt x="8" y="0"/>
                  </a:cubicBezTo>
                  <a:cubicBezTo>
                    <a:pt x="5" y="3"/>
                    <a:pt x="3" y="3"/>
                    <a:pt x="0" y="3"/>
                  </a:cubicBezTo>
                  <a:cubicBezTo>
                    <a:pt x="0" y="6"/>
                    <a:pt x="0" y="9"/>
                    <a:pt x="0" y="12"/>
                  </a:cubicBezTo>
                  <a:cubicBezTo>
                    <a:pt x="3" y="12"/>
                    <a:pt x="5" y="9"/>
                    <a:pt x="8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" name="Freeform 89"/>
            <p:cNvSpPr>
              <a:spLocks noChangeArrowheads="1"/>
            </p:cNvSpPr>
            <p:nvPr/>
          </p:nvSpPr>
          <p:spPr bwMode="auto">
            <a:xfrm>
              <a:off x="3756025" y="2936875"/>
              <a:ext cx="3175" cy="1588"/>
            </a:xfrm>
            <a:custGeom>
              <a:avLst/>
              <a:gdLst>
                <a:gd name="T0" fmla="*/ 6 w 7"/>
                <a:gd name="T1" fmla="*/ 0 h 3"/>
                <a:gd name="T2" fmla="*/ 6 w 7"/>
                <a:gd name="T3" fmla="*/ 0 h 3"/>
                <a:gd name="T4" fmla="*/ 0 w 7"/>
                <a:gd name="T5" fmla="*/ 0 h 3"/>
                <a:gd name="T6" fmla="*/ 6 w 7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6" y="0"/>
                  </a:moveTo>
                  <a:lnTo>
                    <a:pt x="6" y="0"/>
                  </a:lnTo>
                  <a:cubicBezTo>
                    <a:pt x="3" y="0"/>
                    <a:pt x="3" y="0"/>
                    <a:pt x="0" y="0"/>
                  </a:cubicBezTo>
                  <a:cubicBezTo>
                    <a:pt x="0" y="2"/>
                    <a:pt x="3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" name="Freeform 90"/>
            <p:cNvSpPr>
              <a:spLocks noChangeArrowheads="1"/>
            </p:cNvSpPr>
            <p:nvPr/>
          </p:nvSpPr>
          <p:spPr bwMode="auto">
            <a:xfrm>
              <a:off x="3609975" y="2565400"/>
              <a:ext cx="3175" cy="4763"/>
            </a:xfrm>
            <a:custGeom>
              <a:avLst/>
              <a:gdLst>
                <a:gd name="T0" fmla="*/ 9 w 10"/>
                <a:gd name="T1" fmla="*/ 11 h 15"/>
                <a:gd name="T2" fmla="*/ 3 w 10"/>
                <a:gd name="T3" fmla="*/ 0 h 15"/>
                <a:gd name="T4" fmla="*/ 9 w 10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9" y="11"/>
                  </a:moveTo>
                  <a:cubicBezTo>
                    <a:pt x="9" y="6"/>
                    <a:pt x="9" y="0"/>
                    <a:pt x="3" y="0"/>
                  </a:cubicBezTo>
                  <a:cubicBezTo>
                    <a:pt x="0" y="6"/>
                    <a:pt x="0" y="14"/>
                    <a:pt x="9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" name="Freeform 91"/>
            <p:cNvSpPr>
              <a:spLocks noChangeArrowheads="1"/>
            </p:cNvSpPr>
            <p:nvPr/>
          </p:nvSpPr>
          <p:spPr bwMode="auto">
            <a:xfrm>
              <a:off x="3854450" y="3016250"/>
              <a:ext cx="9525" cy="11113"/>
            </a:xfrm>
            <a:custGeom>
              <a:avLst/>
              <a:gdLst>
                <a:gd name="T0" fmla="*/ 6 w 27"/>
                <a:gd name="T1" fmla="*/ 0 h 30"/>
                <a:gd name="T2" fmla="*/ 6 w 27"/>
                <a:gd name="T3" fmla="*/ 29 h 30"/>
                <a:gd name="T4" fmla="*/ 26 w 27"/>
                <a:gd name="T5" fmla="*/ 23 h 30"/>
                <a:gd name="T6" fmla="*/ 6 w 27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30">
                  <a:moveTo>
                    <a:pt x="6" y="0"/>
                  </a:moveTo>
                  <a:cubicBezTo>
                    <a:pt x="0" y="6"/>
                    <a:pt x="9" y="14"/>
                    <a:pt x="6" y="29"/>
                  </a:cubicBezTo>
                  <a:cubicBezTo>
                    <a:pt x="11" y="29"/>
                    <a:pt x="20" y="26"/>
                    <a:pt x="26" y="23"/>
                  </a:cubicBezTo>
                  <a:cubicBezTo>
                    <a:pt x="26" y="6"/>
                    <a:pt x="17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" name="Freeform 92"/>
            <p:cNvSpPr>
              <a:spLocks noChangeArrowheads="1"/>
            </p:cNvSpPr>
            <p:nvPr/>
          </p:nvSpPr>
          <p:spPr bwMode="auto">
            <a:xfrm>
              <a:off x="3722688" y="2898775"/>
              <a:ext cx="4762" cy="3175"/>
            </a:xfrm>
            <a:custGeom>
              <a:avLst/>
              <a:gdLst>
                <a:gd name="T0" fmla="*/ 11 w 12"/>
                <a:gd name="T1" fmla="*/ 0 h 7"/>
                <a:gd name="T2" fmla="*/ 0 w 12"/>
                <a:gd name="T3" fmla="*/ 0 h 7"/>
                <a:gd name="T4" fmla="*/ 0 w 12"/>
                <a:gd name="T5" fmla="*/ 3 h 7"/>
                <a:gd name="T6" fmla="*/ 11 w 12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9" y="0"/>
                    <a:pt x="3" y="0"/>
                    <a:pt x="0" y="0"/>
                  </a:cubicBezTo>
                  <a:lnTo>
                    <a:pt x="0" y="3"/>
                  </a:lnTo>
                  <a:cubicBezTo>
                    <a:pt x="3" y="6"/>
                    <a:pt x="6" y="3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" name="Freeform 93"/>
            <p:cNvSpPr>
              <a:spLocks noChangeArrowheads="1"/>
            </p:cNvSpPr>
            <p:nvPr/>
          </p:nvSpPr>
          <p:spPr bwMode="auto">
            <a:xfrm>
              <a:off x="3910013" y="3063875"/>
              <a:ext cx="4762" cy="4763"/>
            </a:xfrm>
            <a:custGeom>
              <a:avLst/>
              <a:gdLst>
                <a:gd name="T0" fmla="*/ 14 w 15"/>
                <a:gd name="T1" fmla="*/ 6 h 15"/>
                <a:gd name="T2" fmla="*/ 0 w 15"/>
                <a:gd name="T3" fmla="*/ 6 h 15"/>
                <a:gd name="T4" fmla="*/ 14 w 15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6"/>
                  </a:moveTo>
                  <a:cubicBezTo>
                    <a:pt x="11" y="6"/>
                    <a:pt x="0" y="0"/>
                    <a:pt x="0" y="6"/>
                  </a:cubicBezTo>
                  <a:cubicBezTo>
                    <a:pt x="2" y="9"/>
                    <a:pt x="11" y="14"/>
                    <a:pt x="14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" name="Freeform 94"/>
            <p:cNvSpPr>
              <a:spLocks noChangeArrowheads="1"/>
            </p:cNvSpPr>
            <p:nvPr/>
          </p:nvSpPr>
          <p:spPr bwMode="auto">
            <a:xfrm>
              <a:off x="3729038" y="2909888"/>
              <a:ext cx="11112" cy="14287"/>
            </a:xfrm>
            <a:custGeom>
              <a:avLst/>
              <a:gdLst>
                <a:gd name="T0" fmla="*/ 23 w 32"/>
                <a:gd name="T1" fmla="*/ 34 h 38"/>
                <a:gd name="T2" fmla="*/ 31 w 32"/>
                <a:gd name="T3" fmla="*/ 26 h 38"/>
                <a:gd name="T4" fmla="*/ 20 w 32"/>
                <a:gd name="T5" fmla="*/ 14 h 38"/>
                <a:gd name="T6" fmla="*/ 3 w 32"/>
                <a:gd name="T7" fmla="*/ 6 h 38"/>
                <a:gd name="T8" fmla="*/ 9 w 32"/>
                <a:gd name="T9" fmla="*/ 14 h 38"/>
                <a:gd name="T10" fmla="*/ 0 w 32"/>
                <a:gd name="T11" fmla="*/ 29 h 38"/>
                <a:gd name="T12" fmla="*/ 23 w 32"/>
                <a:gd name="T13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8">
                  <a:moveTo>
                    <a:pt x="23" y="34"/>
                  </a:moveTo>
                  <a:cubicBezTo>
                    <a:pt x="23" y="29"/>
                    <a:pt x="23" y="23"/>
                    <a:pt x="31" y="26"/>
                  </a:cubicBezTo>
                  <a:cubicBezTo>
                    <a:pt x="31" y="17"/>
                    <a:pt x="23" y="17"/>
                    <a:pt x="20" y="14"/>
                  </a:cubicBezTo>
                  <a:cubicBezTo>
                    <a:pt x="17" y="9"/>
                    <a:pt x="11" y="0"/>
                    <a:pt x="3" y="6"/>
                  </a:cubicBezTo>
                  <a:cubicBezTo>
                    <a:pt x="0" y="14"/>
                    <a:pt x="11" y="9"/>
                    <a:pt x="9" y="14"/>
                  </a:cubicBezTo>
                  <a:cubicBezTo>
                    <a:pt x="11" y="23"/>
                    <a:pt x="0" y="20"/>
                    <a:pt x="0" y="29"/>
                  </a:cubicBezTo>
                  <a:cubicBezTo>
                    <a:pt x="6" y="31"/>
                    <a:pt x="14" y="37"/>
                    <a:pt x="23" y="3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" name="Freeform 95"/>
            <p:cNvSpPr>
              <a:spLocks noChangeArrowheads="1"/>
            </p:cNvSpPr>
            <p:nvPr/>
          </p:nvSpPr>
          <p:spPr bwMode="auto">
            <a:xfrm>
              <a:off x="3813175" y="3008313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6 h 7"/>
                <a:gd name="T4" fmla="*/ 9 w 10"/>
                <a:gd name="T5" fmla="*/ 0 h 7"/>
                <a:gd name="T6" fmla="*/ 0 w 10"/>
                <a:gd name="T7" fmla="*/ 0 h 7"/>
                <a:gd name="T8" fmla="*/ 0 w 10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lnTo>
                    <a:pt x="9" y="6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" name="Freeform 96"/>
            <p:cNvSpPr>
              <a:spLocks noChangeArrowheads="1"/>
            </p:cNvSpPr>
            <p:nvPr/>
          </p:nvSpPr>
          <p:spPr bwMode="auto">
            <a:xfrm>
              <a:off x="3937000" y="3048000"/>
              <a:ext cx="1588" cy="3175"/>
            </a:xfrm>
            <a:custGeom>
              <a:avLst/>
              <a:gdLst>
                <a:gd name="T0" fmla="*/ 5 w 6"/>
                <a:gd name="T1" fmla="*/ 0 h 9"/>
                <a:gd name="T2" fmla="*/ 0 w 6"/>
                <a:gd name="T3" fmla="*/ 5 h 9"/>
                <a:gd name="T4" fmla="*/ 0 w 6"/>
                <a:gd name="T5" fmla="*/ 8 h 9"/>
                <a:gd name="T6" fmla="*/ 5 w 6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9">
                  <a:moveTo>
                    <a:pt x="5" y="0"/>
                  </a:moveTo>
                  <a:cubicBezTo>
                    <a:pt x="2" y="3"/>
                    <a:pt x="2" y="3"/>
                    <a:pt x="0" y="5"/>
                  </a:cubicBezTo>
                  <a:lnTo>
                    <a:pt x="0" y="8"/>
                  </a:lnTo>
                  <a:cubicBezTo>
                    <a:pt x="2" y="5"/>
                    <a:pt x="2" y="5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" name="Freeform 97"/>
            <p:cNvSpPr>
              <a:spLocks noChangeArrowheads="1"/>
            </p:cNvSpPr>
            <p:nvPr/>
          </p:nvSpPr>
          <p:spPr bwMode="auto">
            <a:xfrm>
              <a:off x="3937000" y="3051175"/>
              <a:ext cx="4763" cy="7938"/>
            </a:xfrm>
            <a:custGeom>
              <a:avLst/>
              <a:gdLst>
                <a:gd name="T0" fmla="*/ 14 w 15"/>
                <a:gd name="T1" fmla="*/ 23 h 24"/>
                <a:gd name="T2" fmla="*/ 8 w 15"/>
                <a:gd name="T3" fmla="*/ 3 h 24"/>
                <a:gd name="T4" fmla="*/ 8 w 15"/>
                <a:gd name="T5" fmla="*/ 0 h 24"/>
                <a:gd name="T6" fmla="*/ 0 w 15"/>
                <a:gd name="T7" fmla="*/ 0 h 24"/>
                <a:gd name="T8" fmla="*/ 2 w 15"/>
                <a:gd name="T9" fmla="*/ 12 h 24"/>
                <a:gd name="T10" fmla="*/ 5 w 15"/>
                <a:gd name="T11" fmla="*/ 23 h 24"/>
                <a:gd name="T12" fmla="*/ 14 w 15"/>
                <a:gd name="T13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4">
                  <a:moveTo>
                    <a:pt x="14" y="23"/>
                  </a:moveTo>
                  <a:cubicBezTo>
                    <a:pt x="11" y="17"/>
                    <a:pt x="8" y="9"/>
                    <a:pt x="8" y="3"/>
                  </a:cubicBezTo>
                  <a:lnTo>
                    <a:pt x="8" y="0"/>
                  </a:lnTo>
                  <a:cubicBezTo>
                    <a:pt x="5" y="0"/>
                    <a:pt x="2" y="0"/>
                    <a:pt x="0" y="0"/>
                  </a:cubicBezTo>
                  <a:cubicBezTo>
                    <a:pt x="0" y="3"/>
                    <a:pt x="2" y="9"/>
                    <a:pt x="2" y="12"/>
                  </a:cubicBezTo>
                  <a:cubicBezTo>
                    <a:pt x="2" y="14"/>
                    <a:pt x="5" y="20"/>
                    <a:pt x="5" y="23"/>
                  </a:cubicBezTo>
                  <a:cubicBezTo>
                    <a:pt x="8" y="23"/>
                    <a:pt x="11" y="23"/>
                    <a:pt x="14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" name="Freeform 98"/>
            <p:cNvSpPr>
              <a:spLocks noChangeArrowheads="1"/>
            </p:cNvSpPr>
            <p:nvPr/>
          </p:nvSpPr>
          <p:spPr bwMode="auto">
            <a:xfrm>
              <a:off x="3863975" y="3027363"/>
              <a:ext cx="1588" cy="1587"/>
            </a:xfrm>
            <a:custGeom>
              <a:avLst/>
              <a:gdLst>
                <a:gd name="T0" fmla="*/ 3 w 4"/>
                <a:gd name="T1" fmla="*/ 3 h 4"/>
                <a:gd name="T2" fmla="*/ 0 w 4"/>
                <a:gd name="T3" fmla="*/ 0 h 4"/>
                <a:gd name="T4" fmla="*/ 3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3" y="3"/>
                    <a:pt x="0" y="3"/>
                    <a:pt x="0" y="0"/>
                  </a:cubicBezTo>
                  <a:cubicBezTo>
                    <a:pt x="0" y="0"/>
                    <a:pt x="3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" name="Freeform 99"/>
            <p:cNvSpPr>
              <a:spLocks noChangeArrowheads="1"/>
            </p:cNvSpPr>
            <p:nvPr/>
          </p:nvSpPr>
          <p:spPr bwMode="auto">
            <a:xfrm>
              <a:off x="3609975" y="2649538"/>
              <a:ext cx="1588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0 h 7"/>
                <a:gd name="T4" fmla="*/ 3 w 4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6"/>
                    <a:pt x="3" y="3"/>
                    <a:pt x="3" y="0"/>
                  </a:cubicBezTo>
                  <a:cubicBezTo>
                    <a:pt x="3" y="3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" name="Freeform 100"/>
            <p:cNvSpPr>
              <a:spLocks noChangeArrowheads="1"/>
            </p:cNvSpPr>
            <p:nvPr/>
          </p:nvSpPr>
          <p:spPr bwMode="auto">
            <a:xfrm>
              <a:off x="3890963" y="3033713"/>
              <a:ext cx="3175" cy="4762"/>
            </a:xfrm>
            <a:custGeom>
              <a:avLst/>
              <a:gdLst>
                <a:gd name="T0" fmla="*/ 0 w 9"/>
                <a:gd name="T1" fmla="*/ 5 h 12"/>
                <a:gd name="T2" fmla="*/ 0 w 9"/>
                <a:gd name="T3" fmla="*/ 11 h 12"/>
                <a:gd name="T4" fmla="*/ 8 w 9"/>
                <a:gd name="T5" fmla="*/ 8 h 12"/>
                <a:gd name="T6" fmla="*/ 5 w 9"/>
                <a:gd name="T7" fmla="*/ 0 h 12"/>
                <a:gd name="T8" fmla="*/ 0 w 9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5"/>
                  </a:moveTo>
                  <a:cubicBezTo>
                    <a:pt x="0" y="8"/>
                    <a:pt x="0" y="11"/>
                    <a:pt x="0" y="11"/>
                  </a:cubicBezTo>
                  <a:cubicBezTo>
                    <a:pt x="3" y="11"/>
                    <a:pt x="5" y="8"/>
                    <a:pt x="8" y="8"/>
                  </a:cubicBezTo>
                  <a:cubicBezTo>
                    <a:pt x="8" y="5"/>
                    <a:pt x="8" y="2"/>
                    <a:pt x="5" y="0"/>
                  </a:cubicBezTo>
                  <a:cubicBezTo>
                    <a:pt x="5" y="2"/>
                    <a:pt x="3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" name="Freeform 101"/>
            <p:cNvSpPr>
              <a:spLocks noChangeArrowheads="1"/>
            </p:cNvSpPr>
            <p:nvPr/>
          </p:nvSpPr>
          <p:spPr bwMode="auto">
            <a:xfrm>
              <a:off x="3867150" y="3016250"/>
              <a:ext cx="6350" cy="7938"/>
            </a:xfrm>
            <a:custGeom>
              <a:avLst/>
              <a:gdLst>
                <a:gd name="T0" fmla="*/ 3 w 18"/>
                <a:gd name="T1" fmla="*/ 16 h 20"/>
                <a:gd name="T2" fmla="*/ 17 w 18"/>
                <a:gd name="T3" fmla="*/ 8 h 20"/>
                <a:gd name="T4" fmla="*/ 3 w 18"/>
                <a:gd name="T5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0">
                  <a:moveTo>
                    <a:pt x="3" y="16"/>
                  </a:moveTo>
                  <a:cubicBezTo>
                    <a:pt x="8" y="19"/>
                    <a:pt x="14" y="16"/>
                    <a:pt x="17" y="8"/>
                  </a:cubicBezTo>
                  <a:cubicBezTo>
                    <a:pt x="8" y="5"/>
                    <a:pt x="0" y="0"/>
                    <a:pt x="3" y="1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" name="Freeform 102"/>
            <p:cNvSpPr>
              <a:spLocks noChangeArrowheads="1"/>
            </p:cNvSpPr>
            <p:nvPr/>
          </p:nvSpPr>
          <p:spPr bwMode="auto">
            <a:xfrm>
              <a:off x="3609975" y="2665413"/>
              <a:ext cx="3175" cy="6350"/>
            </a:xfrm>
            <a:custGeom>
              <a:avLst/>
              <a:gdLst>
                <a:gd name="T0" fmla="*/ 9 w 10"/>
                <a:gd name="T1" fmla="*/ 3 h 18"/>
                <a:gd name="T2" fmla="*/ 0 w 10"/>
                <a:gd name="T3" fmla="*/ 14 h 18"/>
                <a:gd name="T4" fmla="*/ 9 w 10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9" y="3"/>
                  </a:moveTo>
                  <a:cubicBezTo>
                    <a:pt x="0" y="0"/>
                    <a:pt x="0" y="6"/>
                    <a:pt x="0" y="14"/>
                  </a:cubicBezTo>
                  <a:cubicBezTo>
                    <a:pt x="9" y="17"/>
                    <a:pt x="9" y="12"/>
                    <a:pt x="9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" name="Freeform 103"/>
            <p:cNvSpPr>
              <a:spLocks noChangeArrowheads="1"/>
            </p:cNvSpPr>
            <p:nvPr/>
          </p:nvSpPr>
          <p:spPr bwMode="auto">
            <a:xfrm>
              <a:off x="3611563" y="2689225"/>
              <a:ext cx="1587" cy="3175"/>
            </a:xfrm>
            <a:custGeom>
              <a:avLst/>
              <a:gdLst>
                <a:gd name="T0" fmla="*/ 5 w 6"/>
                <a:gd name="T1" fmla="*/ 6 h 7"/>
                <a:gd name="T2" fmla="*/ 3 w 6"/>
                <a:gd name="T3" fmla="*/ 0 h 7"/>
                <a:gd name="T4" fmla="*/ 5 w 6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5" y="6"/>
                  </a:moveTo>
                  <a:cubicBezTo>
                    <a:pt x="5" y="3"/>
                    <a:pt x="3" y="3"/>
                    <a:pt x="3" y="0"/>
                  </a:cubicBezTo>
                  <a:cubicBezTo>
                    <a:pt x="0" y="3"/>
                    <a:pt x="3" y="6"/>
                    <a:pt x="5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" name="Freeform 104"/>
            <p:cNvSpPr>
              <a:spLocks noChangeArrowheads="1"/>
            </p:cNvSpPr>
            <p:nvPr/>
          </p:nvSpPr>
          <p:spPr bwMode="auto">
            <a:xfrm>
              <a:off x="3884613" y="3041650"/>
              <a:ext cx="12700" cy="17463"/>
            </a:xfrm>
            <a:custGeom>
              <a:avLst/>
              <a:gdLst>
                <a:gd name="T0" fmla="*/ 0 w 35"/>
                <a:gd name="T1" fmla="*/ 3 h 49"/>
                <a:gd name="T2" fmla="*/ 34 w 35"/>
                <a:gd name="T3" fmla="*/ 48 h 49"/>
                <a:gd name="T4" fmla="*/ 5 w 35"/>
                <a:gd name="T5" fmla="*/ 3 h 49"/>
                <a:gd name="T6" fmla="*/ 0 w 35"/>
                <a:gd name="T7" fmla="*/ 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49">
                  <a:moveTo>
                    <a:pt x="0" y="3"/>
                  </a:moveTo>
                  <a:cubicBezTo>
                    <a:pt x="5" y="20"/>
                    <a:pt x="17" y="37"/>
                    <a:pt x="34" y="48"/>
                  </a:cubicBezTo>
                  <a:cubicBezTo>
                    <a:pt x="20" y="37"/>
                    <a:pt x="11" y="20"/>
                    <a:pt x="5" y="3"/>
                  </a:cubicBezTo>
                  <a:cubicBezTo>
                    <a:pt x="3" y="0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" name="Freeform 105"/>
            <p:cNvSpPr>
              <a:spLocks noChangeArrowheads="1"/>
            </p:cNvSpPr>
            <p:nvPr/>
          </p:nvSpPr>
          <p:spPr bwMode="auto">
            <a:xfrm>
              <a:off x="3608388" y="2654300"/>
              <a:ext cx="3175" cy="3175"/>
            </a:xfrm>
            <a:custGeom>
              <a:avLst/>
              <a:gdLst>
                <a:gd name="T0" fmla="*/ 6 w 7"/>
                <a:gd name="T1" fmla="*/ 9 h 10"/>
                <a:gd name="T2" fmla="*/ 6 w 7"/>
                <a:gd name="T3" fmla="*/ 3 h 10"/>
                <a:gd name="T4" fmla="*/ 0 w 7"/>
                <a:gd name="T5" fmla="*/ 0 h 10"/>
                <a:gd name="T6" fmla="*/ 6 w 7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9"/>
                  </a:moveTo>
                  <a:cubicBezTo>
                    <a:pt x="6" y="6"/>
                    <a:pt x="6" y="6"/>
                    <a:pt x="6" y="3"/>
                  </a:cubicBezTo>
                  <a:cubicBezTo>
                    <a:pt x="3" y="3"/>
                    <a:pt x="3" y="0"/>
                    <a:pt x="0" y="0"/>
                  </a:cubicBezTo>
                  <a:cubicBezTo>
                    <a:pt x="3" y="6"/>
                    <a:pt x="3" y="9"/>
                    <a:pt x="6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" name="Freeform 106"/>
            <p:cNvSpPr>
              <a:spLocks noChangeArrowheads="1"/>
            </p:cNvSpPr>
            <p:nvPr/>
          </p:nvSpPr>
          <p:spPr bwMode="auto">
            <a:xfrm>
              <a:off x="3875088" y="3025775"/>
              <a:ext cx="4762" cy="7938"/>
            </a:xfrm>
            <a:custGeom>
              <a:avLst/>
              <a:gdLst>
                <a:gd name="T0" fmla="*/ 0 w 12"/>
                <a:gd name="T1" fmla="*/ 8 h 21"/>
                <a:gd name="T2" fmla="*/ 11 w 12"/>
                <a:gd name="T3" fmla="*/ 17 h 21"/>
                <a:gd name="T4" fmla="*/ 8 w 12"/>
                <a:gd name="T5" fmla="*/ 3 h 21"/>
                <a:gd name="T6" fmla="*/ 0 w 12"/>
                <a:gd name="T7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1">
                  <a:moveTo>
                    <a:pt x="0" y="8"/>
                  </a:moveTo>
                  <a:cubicBezTo>
                    <a:pt x="5" y="8"/>
                    <a:pt x="2" y="20"/>
                    <a:pt x="11" y="17"/>
                  </a:cubicBezTo>
                  <a:cubicBezTo>
                    <a:pt x="11" y="11"/>
                    <a:pt x="11" y="8"/>
                    <a:pt x="8" y="3"/>
                  </a:cubicBezTo>
                  <a:cubicBezTo>
                    <a:pt x="2" y="0"/>
                    <a:pt x="0" y="3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" name="Freeform 107"/>
            <p:cNvSpPr>
              <a:spLocks noChangeArrowheads="1"/>
            </p:cNvSpPr>
            <p:nvPr/>
          </p:nvSpPr>
          <p:spPr bwMode="auto">
            <a:xfrm>
              <a:off x="3878263" y="3033713"/>
              <a:ext cx="6350" cy="1587"/>
            </a:xfrm>
            <a:custGeom>
              <a:avLst/>
              <a:gdLst>
                <a:gd name="T0" fmla="*/ 0 w 18"/>
                <a:gd name="T1" fmla="*/ 5 h 6"/>
                <a:gd name="T2" fmla="*/ 17 w 18"/>
                <a:gd name="T3" fmla="*/ 5 h 6"/>
                <a:gd name="T4" fmla="*/ 17 w 18"/>
                <a:gd name="T5" fmla="*/ 0 h 6"/>
                <a:gd name="T6" fmla="*/ 0 w 18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0" y="5"/>
                  </a:moveTo>
                  <a:cubicBezTo>
                    <a:pt x="6" y="5"/>
                    <a:pt x="11" y="5"/>
                    <a:pt x="17" y="5"/>
                  </a:cubicBezTo>
                  <a:cubicBezTo>
                    <a:pt x="17" y="2"/>
                    <a:pt x="17" y="2"/>
                    <a:pt x="17" y="0"/>
                  </a:cubicBezTo>
                  <a:cubicBezTo>
                    <a:pt x="11" y="2"/>
                    <a:pt x="6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" name="Freeform 108"/>
            <p:cNvSpPr>
              <a:spLocks noChangeArrowheads="1"/>
            </p:cNvSpPr>
            <p:nvPr/>
          </p:nvSpPr>
          <p:spPr bwMode="auto">
            <a:xfrm>
              <a:off x="3600450" y="2470150"/>
              <a:ext cx="4763" cy="7938"/>
            </a:xfrm>
            <a:custGeom>
              <a:avLst/>
              <a:gdLst>
                <a:gd name="T0" fmla="*/ 0 w 15"/>
                <a:gd name="T1" fmla="*/ 6 h 21"/>
                <a:gd name="T2" fmla="*/ 3 w 15"/>
                <a:gd name="T3" fmla="*/ 20 h 21"/>
                <a:gd name="T4" fmla="*/ 8 w 15"/>
                <a:gd name="T5" fmla="*/ 0 h 21"/>
                <a:gd name="T6" fmla="*/ 0 w 15"/>
                <a:gd name="T7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1">
                  <a:moveTo>
                    <a:pt x="0" y="6"/>
                  </a:moveTo>
                  <a:cubicBezTo>
                    <a:pt x="0" y="11"/>
                    <a:pt x="3" y="14"/>
                    <a:pt x="3" y="20"/>
                  </a:cubicBezTo>
                  <a:cubicBezTo>
                    <a:pt x="5" y="14"/>
                    <a:pt x="14" y="8"/>
                    <a:pt x="8" y="0"/>
                  </a:cubicBezTo>
                  <a:cubicBezTo>
                    <a:pt x="5" y="3"/>
                    <a:pt x="3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" name="Freeform 109"/>
            <p:cNvSpPr>
              <a:spLocks noChangeArrowheads="1"/>
            </p:cNvSpPr>
            <p:nvPr/>
          </p:nvSpPr>
          <p:spPr bwMode="auto">
            <a:xfrm>
              <a:off x="3619500" y="2468563"/>
              <a:ext cx="6350" cy="4762"/>
            </a:xfrm>
            <a:custGeom>
              <a:avLst/>
              <a:gdLst>
                <a:gd name="T0" fmla="*/ 12 w 16"/>
                <a:gd name="T1" fmla="*/ 0 h 15"/>
                <a:gd name="T2" fmla="*/ 0 w 16"/>
                <a:gd name="T3" fmla="*/ 0 h 15"/>
                <a:gd name="T4" fmla="*/ 9 w 16"/>
                <a:gd name="T5" fmla="*/ 14 h 15"/>
                <a:gd name="T6" fmla="*/ 15 w 16"/>
                <a:gd name="T7" fmla="*/ 6 h 15"/>
                <a:gd name="T8" fmla="*/ 12 w 1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2" y="0"/>
                  </a:moveTo>
                  <a:lnTo>
                    <a:pt x="0" y="0"/>
                  </a:lnTo>
                  <a:cubicBezTo>
                    <a:pt x="3" y="6"/>
                    <a:pt x="6" y="12"/>
                    <a:pt x="9" y="14"/>
                  </a:cubicBezTo>
                  <a:cubicBezTo>
                    <a:pt x="9" y="12"/>
                    <a:pt x="12" y="9"/>
                    <a:pt x="15" y="6"/>
                  </a:cubicBezTo>
                  <a:cubicBezTo>
                    <a:pt x="12" y="3"/>
                    <a:pt x="12" y="3"/>
                    <a:pt x="1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" name="Freeform 110"/>
            <p:cNvSpPr>
              <a:spLocks noChangeArrowheads="1"/>
            </p:cNvSpPr>
            <p:nvPr/>
          </p:nvSpPr>
          <p:spPr bwMode="auto">
            <a:xfrm>
              <a:off x="3630613" y="2441575"/>
              <a:ext cx="4762" cy="3175"/>
            </a:xfrm>
            <a:custGeom>
              <a:avLst/>
              <a:gdLst>
                <a:gd name="T0" fmla="*/ 11 w 12"/>
                <a:gd name="T1" fmla="*/ 8 h 9"/>
                <a:gd name="T2" fmla="*/ 5 w 12"/>
                <a:gd name="T3" fmla="*/ 0 h 9"/>
                <a:gd name="T4" fmla="*/ 0 w 12"/>
                <a:gd name="T5" fmla="*/ 3 h 9"/>
                <a:gd name="T6" fmla="*/ 5 w 12"/>
                <a:gd name="T7" fmla="*/ 8 h 9"/>
                <a:gd name="T8" fmla="*/ 11 w 12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1" y="8"/>
                  </a:moveTo>
                  <a:cubicBezTo>
                    <a:pt x="8" y="6"/>
                    <a:pt x="8" y="3"/>
                    <a:pt x="5" y="0"/>
                  </a:cubicBezTo>
                  <a:cubicBezTo>
                    <a:pt x="2" y="0"/>
                    <a:pt x="2" y="0"/>
                    <a:pt x="0" y="3"/>
                  </a:cubicBezTo>
                  <a:cubicBezTo>
                    <a:pt x="2" y="6"/>
                    <a:pt x="2" y="8"/>
                    <a:pt x="5" y="8"/>
                  </a:cubicBezTo>
                  <a:cubicBezTo>
                    <a:pt x="8" y="8"/>
                    <a:pt x="8" y="8"/>
                    <a:pt x="11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" name="Freeform 111"/>
            <p:cNvSpPr>
              <a:spLocks noChangeArrowheads="1"/>
            </p:cNvSpPr>
            <p:nvPr/>
          </p:nvSpPr>
          <p:spPr bwMode="auto">
            <a:xfrm>
              <a:off x="4632325" y="2619375"/>
              <a:ext cx="6350" cy="4763"/>
            </a:xfrm>
            <a:custGeom>
              <a:avLst/>
              <a:gdLst>
                <a:gd name="T0" fmla="*/ 15 w 16"/>
                <a:gd name="T1" fmla="*/ 3 h 13"/>
                <a:gd name="T2" fmla="*/ 0 w 16"/>
                <a:gd name="T3" fmla="*/ 3 h 13"/>
                <a:gd name="T4" fmla="*/ 12 w 16"/>
                <a:gd name="T5" fmla="*/ 12 h 13"/>
                <a:gd name="T6" fmla="*/ 15 w 16"/>
                <a:gd name="T7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3">
                  <a:moveTo>
                    <a:pt x="15" y="3"/>
                  </a:moveTo>
                  <a:cubicBezTo>
                    <a:pt x="12" y="0"/>
                    <a:pt x="6" y="0"/>
                    <a:pt x="0" y="3"/>
                  </a:cubicBezTo>
                  <a:cubicBezTo>
                    <a:pt x="0" y="9"/>
                    <a:pt x="3" y="12"/>
                    <a:pt x="12" y="12"/>
                  </a:cubicBezTo>
                  <a:cubicBezTo>
                    <a:pt x="12" y="9"/>
                    <a:pt x="15" y="6"/>
                    <a:pt x="1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" name="Freeform 112"/>
            <p:cNvSpPr>
              <a:spLocks noChangeArrowheads="1"/>
            </p:cNvSpPr>
            <p:nvPr/>
          </p:nvSpPr>
          <p:spPr bwMode="auto">
            <a:xfrm>
              <a:off x="3616325" y="2476500"/>
              <a:ext cx="7938" cy="7938"/>
            </a:xfrm>
            <a:custGeom>
              <a:avLst/>
              <a:gdLst>
                <a:gd name="T0" fmla="*/ 0 w 24"/>
                <a:gd name="T1" fmla="*/ 8 h 23"/>
                <a:gd name="T2" fmla="*/ 23 w 24"/>
                <a:gd name="T3" fmla="*/ 14 h 23"/>
                <a:gd name="T4" fmla="*/ 23 w 24"/>
                <a:gd name="T5" fmla="*/ 5 h 23"/>
                <a:gd name="T6" fmla="*/ 0 w 24"/>
                <a:gd name="T7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3">
                  <a:moveTo>
                    <a:pt x="0" y="8"/>
                  </a:moveTo>
                  <a:cubicBezTo>
                    <a:pt x="0" y="22"/>
                    <a:pt x="14" y="19"/>
                    <a:pt x="23" y="14"/>
                  </a:cubicBezTo>
                  <a:lnTo>
                    <a:pt x="23" y="5"/>
                  </a:lnTo>
                  <a:cubicBezTo>
                    <a:pt x="14" y="0"/>
                    <a:pt x="11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" name="Freeform 113"/>
            <p:cNvSpPr>
              <a:spLocks noChangeArrowheads="1"/>
            </p:cNvSpPr>
            <p:nvPr/>
          </p:nvSpPr>
          <p:spPr bwMode="auto">
            <a:xfrm>
              <a:off x="3797300" y="2989263"/>
              <a:ext cx="9525" cy="7937"/>
            </a:xfrm>
            <a:custGeom>
              <a:avLst/>
              <a:gdLst>
                <a:gd name="T0" fmla="*/ 0 w 27"/>
                <a:gd name="T1" fmla="*/ 12 h 21"/>
                <a:gd name="T2" fmla="*/ 17 w 27"/>
                <a:gd name="T3" fmla="*/ 0 h 21"/>
                <a:gd name="T4" fmla="*/ 0 w 27"/>
                <a:gd name="T5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1">
                  <a:moveTo>
                    <a:pt x="0" y="12"/>
                  </a:moveTo>
                  <a:cubicBezTo>
                    <a:pt x="9" y="20"/>
                    <a:pt x="26" y="6"/>
                    <a:pt x="17" y="0"/>
                  </a:cubicBezTo>
                  <a:cubicBezTo>
                    <a:pt x="9" y="0"/>
                    <a:pt x="0" y="6"/>
                    <a:pt x="0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" name="Freeform 114"/>
            <p:cNvSpPr>
              <a:spLocks noChangeArrowheads="1"/>
            </p:cNvSpPr>
            <p:nvPr/>
          </p:nvSpPr>
          <p:spPr bwMode="auto">
            <a:xfrm>
              <a:off x="4587875" y="2325688"/>
              <a:ext cx="4763" cy="4762"/>
            </a:xfrm>
            <a:custGeom>
              <a:avLst/>
              <a:gdLst>
                <a:gd name="T0" fmla="*/ 12 w 13"/>
                <a:gd name="T1" fmla="*/ 12 h 13"/>
                <a:gd name="T2" fmla="*/ 0 w 13"/>
                <a:gd name="T3" fmla="*/ 3 h 13"/>
                <a:gd name="T4" fmla="*/ 12 w 13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2" y="12"/>
                  </a:moveTo>
                  <a:cubicBezTo>
                    <a:pt x="12" y="3"/>
                    <a:pt x="9" y="0"/>
                    <a:pt x="0" y="3"/>
                  </a:cubicBezTo>
                  <a:cubicBezTo>
                    <a:pt x="0" y="9"/>
                    <a:pt x="6" y="12"/>
                    <a:pt x="12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" name="Freeform 115"/>
            <p:cNvSpPr>
              <a:spLocks noChangeArrowheads="1"/>
            </p:cNvSpPr>
            <p:nvPr/>
          </p:nvSpPr>
          <p:spPr bwMode="auto">
            <a:xfrm>
              <a:off x="4583113" y="2317750"/>
              <a:ext cx="3175" cy="4763"/>
            </a:xfrm>
            <a:custGeom>
              <a:avLst/>
              <a:gdLst>
                <a:gd name="T0" fmla="*/ 0 w 7"/>
                <a:gd name="T1" fmla="*/ 3 h 15"/>
                <a:gd name="T2" fmla="*/ 0 w 7"/>
                <a:gd name="T3" fmla="*/ 11 h 15"/>
                <a:gd name="T4" fmla="*/ 0 w 7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lnTo>
                    <a:pt x="0" y="11"/>
                  </a:lnTo>
                  <a:cubicBezTo>
                    <a:pt x="6" y="14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" name="Freeform 116"/>
            <p:cNvSpPr>
              <a:spLocks noChangeArrowheads="1"/>
            </p:cNvSpPr>
            <p:nvPr/>
          </p:nvSpPr>
          <p:spPr bwMode="auto">
            <a:xfrm>
              <a:off x="4581525" y="2336800"/>
              <a:ext cx="4763" cy="3175"/>
            </a:xfrm>
            <a:custGeom>
              <a:avLst/>
              <a:gdLst>
                <a:gd name="T0" fmla="*/ 6 w 13"/>
                <a:gd name="T1" fmla="*/ 0 h 10"/>
                <a:gd name="T2" fmla="*/ 6 w 13"/>
                <a:gd name="T3" fmla="*/ 9 h 10"/>
                <a:gd name="T4" fmla="*/ 6 w 13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6" y="0"/>
                  </a:moveTo>
                  <a:cubicBezTo>
                    <a:pt x="6" y="3"/>
                    <a:pt x="0" y="9"/>
                    <a:pt x="6" y="9"/>
                  </a:cubicBezTo>
                  <a:cubicBezTo>
                    <a:pt x="6" y="9"/>
                    <a:pt x="12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" name="Freeform 117"/>
            <p:cNvSpPr>
              <a:spLocks noChangeArrowheads="1"/>
            </p:cNvSpPr>
            <p:nvPr/>
          </p:nvSpPr>
          <p:spPr bwMode="auto">
            <a:xfrm>
              <a:off x="4595813" y="2381250"/>
              <a:ext cx="3175" cy="1588"/>
            </a:xfrm>
            <a:custGeom>
              <a:avLst/>
              <a:gdLst>
                <a:gd name="T0" fmla="*/ 3 w 7"/>
                <a:gd name="T1" fmla="*/ 0 h 3"/>
                <a:gd name="T2" fmla="*/ 0 w 7"/>
                <a:gd name="T3" fmla="*/ 2 h 3"/>
                <a:gd name="T4" fmla="*/ 6 w 7"/>
                <a:gd name="T5" fmla="*/ 2 h 3"/>
                <a:gd name="T6" fmla="*/ 3 w 7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3" y="0"/>
                  </a:moveTo>
                  <a:cubicBezTo>
                    <a:pt x="3" y="2"/>
                    <a:pt x="3" y="2"/>
                    <a:pt x="0" y="2"/>
                  </a:cubicBezTo>
                  <a:cubicBezTo>
                    <a:pt x="3" y="2"/>
                    <a:pt x="3" y="2"/>
                    <a:pt x="6" y="2"/>
                  </a:cubicBezTo>
                  <a:cubicBezTo>
                    <a:pt x="6" y="2"/>
                    <a:pt x="6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" name="Freeform 118"/>
            <p:cNvSpPr>
              <a:spLocks noChangeArrowheads="1"/>
            </p:cNvSpPr>
            <p:nvPr/>
          </p:nvSpPr>
          <p:spPr bwMode="auto">
            <a:xfrm>
              <a:off x="4551363" y="2293938"/>
              <a:ext cx="1587" cy="1587"/>
            </a:xfrm>
            <a:custGeom>
              <a:avLst/>
              <a:gdLst>
                <a:gd name="T0" fmla="*/ 3 w 4"/>
                <a:gd name="T1" fmla="*/ 0 h 4"/>
                <a:gd name="T2" fmla="*/ 0 w 4"/>
                <a:gd name="T3" fmla="*/ 3 h 4"/>
                <a:gd name="T4" fmla="*/ 3 w 4"/>
                <a:gd name="T5" fmla="*/ 3 h 4"/>
                <a:gd name="T6" fmla="*/ 3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3" y="0"/>
                    <a:pt x="3" y="3"/>
                    <a:pt x="0" y="3"/>
                  </a:cubicBezTo>
                  <a:lnTo>
                    <a:pt x="3" y="3"/>
                  </a:lnTo>
                  <a:lnTo>
                    <a:pt x="3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" name="Freeform 119"/>
            <p:cNvSpPr>
              <a:spLocks noChangeArrowheads="1"/>
            </p:cNvSpPr>
            <p:nvPr/>
          </p:nvSpPr>
          <p:spPr bwMode="auto">
            <a:xfrm>
              <a:off x="4319588" y="3059113"/>
              <a:ext cx="1587" cy="1587"/>
            </a:xfrm>
            <a:custGeom>
              <a:avLst/>
              <a:gdLst>
                <a:gd name="T0" fmla="*/ 5 w 6"/>
                <a:gd name="T1" fmla="*/ 3 h 4"/>
                <a:gd name="T2" fmla="*/ 5 w 6"/>
                <a:gd name="T3" fmla="*/ 3 h 4"/>
                <a:gd name="T4" fmla="*/ 0 w 6"/>
                <a:gd name="T5" fmla="*/ 0 h 4"/>
                <a:gd name="T6" fmla="*/ 5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5" y="3"/>
                  </a:lnTo>
                  <a:cubicBezTo>
                    <a:pt x="2" y="3"/>
                    <a:pt x="0" y="0"/>
                    <a:pt x="0" y="0"/>
                  </a:cubicBezTo>
                  <a:cubicBezTo>
                    <a:pt x="0" y="3"/>
                    <a:pt x="2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" name="Freeform 120"/>
            <p:cNvSpPr>
              <a:spLocks noChangeArrowheads="1"/>
            </p:cNvSpPr>
            <p:nvPr/>
          </p:nvSpPr>
          <p:spPr bwMode="auto">
            <a:xfrm>
              <a:off x="4591050" y="2363788"/>
              <a:ext cx="9525" cy="7937"/>
            </a:xfrm>
            <a:custGeom>
              <a:avLst/>
              <a:gdLst>
                <a:gd name="T0" fmla="*/ 14 w 26"/>
                <a:gd name="T1" fmla="*/ 11 h 23"/>
                <a:gd name="T2" fmla="*/ 0 w 26"/>
                <a:gd name="T3" fmla="*/ 2 h 23"/>
                <a:gd name="T4" fmla="*/ 6 w 26"/>
                <a:gd name="T5" fmla="*/ 22 h 23"/>
                <a:gd name="T6" fmla="*/ 14 w 26"/>
                <a:gd name="T7" fmla="*/ 11 h 23"/>
                <a:gd name="T8" fmla="*/ 25 w 26"/>
                <a:gd name="T9" fmla="*/ 11 h 23"/>
                <a:gd name="T10" fmla="*/ 25 w 26"/>
                <a:gd name="T11" fmla="*/ 2 h 23"/>
                <a:gd name="T12" fmla="*/ 14 w 26"/>
                <a:gd name="T1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3">
                  <a:moveTo>
                    <a:pt x="14" y="11"/>
                  </a:moveTo>
                  <a:cubicBezTo>
                    <a:pt x="14" y="5"/>
                    <a:pt x="6" y="5"/>
                    <a:pt x="0" y="2"/>
                  </a:cubicBezTo>
                  <a:cubicBezTo>
                    <a:pt x="0" y="11"/>
                    <a:pt x="6" y="14"/>
                    <a:pt x="6" y="22"/>
                  </a:cubicBezTo>
                  <a:cubicBezTo>
                    <a:pt x="14" y="22"/>
                    <a:pt x="11" y="14"/>
                    <a:pt x="14" y="11"/>
                  </a:cubicBezTo>
                  <a:cubicBezTo>
                    <a:pt x="20" y="14"/>
                    <a:pt x="20" y="8"/>
                    <a:pt x="25" y="11"/>
                  </a:cubicBezTo>
                  <a:lnTo>
                    <a:pt x="25" y="2"/>
                  </a:lnTo>
                  <a:cubicBezTo>
                    <a:pt x="17" y="0"/>
                    <a:pt x="20" y="8"/>
                    <a:pt x="14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" name="Freeform 121"/>
            <p:cNvSpPr>
              <a:spLocks noChangeArrowheads="1"/>
            </p:cNvSpPr>
            <p:nvPr/>
          </p:nvSpPr>
          <p:spPr bwMode="auto">
            <a:xfrm>
              <a:off x="4564063" y="2309813"/>
              <a:ext cx="7937" cy="7937"/>
            </a:xfrm>
            <a:custGeom>
              <a:avLst/>
              <a:gdLst>
                <a:gd name="T0" fmla="*/ 8 w 20"/>
                <a:gd name="T1" fmla="*/ 0 h 24"/>
                <a:gd name="T2" fmla="*/ 5 w 20"/>
                <a:gd name="T3" fmla="*/ 23 h 24"/>
                <a:gd name="T4" fmla="*/ 8 w 20"/>
                <a:gd name="T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8" y="0"/>
                  </a:moveTo>
                  <a:cubicBezTo>
                    <a:pt x="0" y="3"/>
                    <a:pt x="0" y="17"/>
                    <a:pt x="5" y="23"/>
                  </a:cubicBezTo>
                  <a:cubicBezTo>
                    <a:pt x="19" y="20"/>
                    <a:pt x="16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" name="Freeform 122"/>
            <p:cNvSpPr>
              <a:spLocks noChangeArrowheads="1"/>
            </p:cNvSpPr>
            <p:nvPr/>
          </p:nvSpPr>
          <p:spPr bwMode="auto">
            <a:xfrm>
              <a:off x="3819525" y="2994025"/>
              <a:ext cx="14288" cy="9525"/>
            </a:xfrm>
            <a:custGeom>
              <a:avLst/>
              <a:gdLst>
                <a:gd name="T0" fmla="*/ 40 w 41"/>
                <a:gd name="T1" fmla="*/ 12 h 27"/>
                <a:gd name="T2" fmla="*/ 17 w 41"/>
                <a:gd name="T3" fmla="*/ 23 h 27"/>
                <a:gd name="T4" fmla="*/ 40 w 41"/>
                <a:gd name="T5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27">
                  <a:moveTo>
                    <a:pt x="40" y="12"/>
                  </a:moveTo>
                  <a:cubicBezTo>
                    <a:pt x="28" y="0"/>
                    <a:pt x="0" y="12"/>
                    <a:pt x="17" y="23"/>
                  </a:cubicBezTo>
                  <a:cubicBezTo>
                    <a:pt x="31" y="26"/>
                    <a:pt x="31" y="17"/>
                    <a:pt x="40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" name="Freeform 123"/>
            <p:cNvSpPr>
              <a:spLocks noChangeArrowheads="1"/>
            </p:cNvSpPr>
            <p:nvPr/>
          </p:nvSpPr>
          <p:spPr bwMode="auto">
            <a:xfrm>
              <a:off x="3810000" y="2987675"/>
              <a:ext cx="3175" cy="3175"/>
            </a:xfrm>
            <a:custGeom>
              <a:avLst/>
              <a:gdLst>
                <a:gd name="T0" fmla="*/ 8 w 9"/>
                <a:gd name="T1" fmla="*/ 0 h 10"/>
                <a:gd name="T2" fmla="*/ 0 w 9"/>
                <a:gd name="T3" fmla="*/ 0 h 10"/>
                <a:gd name="T4" fmla="*/ 0 w 9"/>
                <a:gd name="T5" fmla="*/ 9 h 10"/>
                <a:gd name="T6" fmla="*/ 8 w 9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8" y="0"/>
                  </a:moveTo>
                  <a:lnTo>
                    <a:pt x="0" y="0"/>
                  </a:lnTo>
                  <a:lnTo>
                    <a:pt x="0" y="9"/>
                  </a:lnTo>
                  <a:cubicBezTo>
                    <a:pt x="8" y="9"/>
                    <a:pt x="6" y="0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" name="Freeform 124"/>
            <p:cNvSpPr>
              <a:spLocks noChangeArrowheads="1"/>
            </p:cNvSpPr>
            <p:nvPr/>
          </p:nvSpPr>
          <p:spPr bwMode="auto">
            <a:xfrm>
              <a:off x="4606925" y="2406650"/>
              <a:ext cx="7938" cy="7938"/>
            </a:xfrm>
            <a:custGeom>
              <a:avLst/>
              <a:gdLst>
                <a:gd name="T0" fmla="*/ 6 w 23"/>
                <a:gd name="T1" fmla="*/ 0 h 21"/>
                <a:gd name="T2" fmla="*/ 22 w 23"/>
                <a:gd name="T3" fmla="*/ 12 h 21"/>
                <a:gd name="T4" fmla="*/ 6 w 23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21">
                  <a:moveTo>
                    <a:pt x="6" y="0"/>
                  </a:moveTo>
                  <a:cubicBezTo>
                    <a:pt x="0" y="6"/>
                    <a:pt x="14" y="20"/>
                    <a:pt x="22" y="12"/>
                  </a:cubicBezTo>
                  <a:cubicBezTo>
                    <a:pt x="22" y="3"/>
                    <a:pt x="14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" name="Freeform 125"/>
            <p:cNvSpPr>
              <a:spLocks noChangeArrowheads="1"/>
            </p:cNvSpPr>
            <p:nvPr/>
          </p:nvSpPr>
          <p:spPr bwMode="auto">
            <a:xfrm>
              <a:off x="3814763" y="2998788"/>
              <a:ext cx="1587" cy="3175"/>
            </a:xfrm>
            <a:custGeom>
              <a:avLst/>
              <a:gdLst>
                <a:gd name="T0" fmla="*/ 3 w 4"/>
                <a:gd name="T1" fmla="*/ 9 h 10"/>
                <a:gd name="T2" fmla="*/ 3 w 4"/>
                <a:gd name="T3" fmla="*/ 9 h 10"/>
                <a:gd name="T4" fmla="*/ 0 w 4"/>
                <a:gd name="T5" fmla="*/ 3 h 10"/>
                <a:gd name="T6" fmla="*/ 3 w 4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9"/>
                  </a:moveTo>
                  <a:lnTo>
                    <a:pt x="3" y="9"/>
                  </a:lnTo>
                  <a:cubicBezTo>
                    <a:pt x="3" y="6"/>
                    <a:pt x="0" y="0"/>
                    <a:pt x="0" y="3"/>
                  </a:cubicBezTo>
                  <a:cubicBezTo>
                    <a:pt x="0" y="6"/>
                    <a:pt x="0" y="6"/>
                    <a:pt x="3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" name="Freeform 126"/>
            <p:cNvSpPr>
              <a:spLocks noChangeArrowheads="1"/>
            </p:cNvSpPr>
            <p:nvPr/>
          </p:nvSpPr>
          <p:spPr bwMode="auto">
            <a:xfrm>
              <a:off x="3617913" y="2493963"/>
              <a:ext cx="4762" cy="3175"/>
            </a:xfrm>
            <a:custGeom>
              <a:avLst/>
              <a:gdLst>
                <a:gd name="T0" fmla="*/ 0 w 15"/>
                <a:gd name="T1" fmla="*/ 2 h 9"/>
                <a:gd name="T2" fmla="*/ 8 w 15"/>
                <a:gd name="T3" fmla="*/ 8 h 9"/>
                <a:gd name="T4" fmla="*/ 8 w 15"/>
                <a:gd name="T5" fmla="*/ 8 h 9"/>
                <a:gd name="T6" fmla="*/ 14 w 15"/>
                <a:gd name="T7" fmla="*/ 5 h 9"/>
                <a:gd name="T8" fmla="*/ 5 w 15"/>
                <a:gd name="T9" fmla="*/ 0 h 9"/>
                <a:gd name="T10" fmla="*/ 0 w 15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9">
                  <a:moveTo>
                    <a:pt x="0" y="2"/>
                  </a:moveTo>
                  <a:cubicBezTo>
                    <a:pt x="3" y="5"/>
                    <a:pt x="5" y="8"/>
                    <a:pt x="8" y="8"/>
                  </a:cubicBezTo>
                  <a:lnTo>
                    <a:pt x="8" y="8"/>
                  </a:lnTo>
                  <a:cubicBezTo>
                    <a:pt x="11" y="8"/>
                    <a:pt x="14" y="5"/>
                    <a:pt x="14" y="5"/>
                  </a:cubicBezTo>
                  <a:cubicBezTo>
                    <a:pt x="11" y="2"/>
                    <a:pt x="8" y="2"/>
                    <a:pt x="5" y="0"/>
                  </a:cubicBezTo>
                  <a:cubicBezTo>
                    <a:pt x="3" y="0"/>
                    <a:pt x="3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" name="Freeform 127"/>
            <p:cNvSpPr>
              <a:spLocks noChangeArrowheads="1"/>
            </p:cNvSpPr>
            <p:nvPr/>
          </p:nvSpPr>
          <p:spPr bwMode="auto">
            <a:xfrm>
              <a:off x="4573588" y="2332038"/>
              <a:ext cx="4762" cy="3175"/>
            </a:xfrm>
            <a:custGeom>
              <a:avLst/>
              <a:gdLst>
                <a:gd name="T0" fmla="*/ 3 w 15"/>
                <a:gd name="T1" fmla="*/ 3 h 10"/>
                <a:gd name="T2" fmla="*/ 11 w 15"/>
                <a:gd name="T3" fmla="*/ 3 h 10"/>
                <a:gd name="T4" fmla="*/ 3 w 15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3" y="3"/>
                  </a:moveTo>
                  <a:cubicBezTo>
                    <a:pt x="0" y="9"/>
                    <a:pt x="14" y="9"/>
                    <a:pt x="11" y="3"/>
                  </a:cubicBezTo>
                  <a:cubicBezTo>
                    <a:pt x="8" y="0"/>
                    <a:pt x="3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" name="Freeform 128"/>
            <p:cNvSpPr>
              <a:spLocks noChangeArrowheads="1"/>
            </p:cNvSpPr>
            <p:nvPr/>
          </p:nvSpPr>
          <p:spPr bwMode="auto">
            <a:xfrm>
              <a:off x="4432300" y="2994025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8 w 9"/>
                <a:gd name="T3" fmla="*/ 3 h 10"/>
                <a:gd name="T4" fmla="*/ 0 w 9"/>
                <a:gd name="T5" fmla="*/ 0 h 10"/>
                <a:gd name="T6" fmla="*/ 0 w 9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cubicBezTo>
                    <a:pt x="3" y="9"/>
                    <a:pt x="5" y="9"/>
                    <a:pt x="8" y="3"/>
                  </a:cubicBezTo>
                  <a:cubicBezTo>
                    <a:pt x="5" y="3"/>
                    <a:pt x="3" y="3"/>
                    <a:pt x="0" y="0"/>
                  </a:cubicBez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" name="Freeform 129"/>
            <p:cNvSpPr>
              <a:spLocks noChangeArrowheads="1"/>
            </p:cNvSpPr>
            <p:nvPr/>
          </p:nvSpPr>
          <p:spPr bwMode="auto">
            <a:xfrm>
              <a:off x="4541838" y="2878138"/>
              <a:ext cx="3175" cy="3175"/>
            </a:xfrm>
            <a:custGeom>
              <a:avLst/>
              <a:gdLst>
                <a:gd name="T0" fmla="*/ 0 w 10"/>
                <a:gd name="T1" fmla="*/ 8 h 9"/>
                <a:gd name="T2" fmla="*/ 9 w 10"/>
                <a:gd name="T3" fmla="*/ 3 h 9"/>
                <a:gd name="T4" fmla="*/ 0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8"/>
                  </a:moveTo>
                  <a:cubicBezTo>
                    <a:pt x="6" y="8"/>
                    <a:pt x="9" y="8"/>
                    <a:pt x="9" y="3"/>
                  </a:cubicBezTo>
                  <a:cubicBezTo>
                    <a:pt x="6" y="0"/>
                    <a:pt x="0" y="0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" name="Freeform 130"/>
            <p:cNvSpPr>
              <a:spLocks noChangeArrowheads="1"/>
            </p:cNvSpPr>
            <p:nvPr/>
          </p:nvSpPr>
          <p:spPr bwMode="auto">
            <a:xfrm>
              <a:off x="4551363" y="2879725"/>
              <a:ext cx="6350" cy="6350"/>
            </a:xfrm>
            <a:custGeom>
              <a:avLst/>
              <a:gdLst>
                <a:gd name="T0" fmla="*/ 6 w 18"/>
                <a:gd name="T1" fmla="*/ 16 h 17"/>
                <a:gd name="T2" fmla="*/ 17 w 18"/>
                <a:gd name="T3" fmla="*/ 5 h 17"/>
                <a:gd name="T4" fmla="*/ 8 w 18"/>
                <a:gd name="T5" fmla="*/ 0 h 17"/>
                <a:gd name="T6" fmla="*/ 6 w 18"/>
                <a:gd name="T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7">
                  <a:moveTo>
                    <a:pt x="6" y="16"/>
                  </a:moveTo>
                  <a:cubicBezTo>
                    <a:pt x="11" y="14"/>
                    <a:pt x="17" y="14"/>
                    <a:pt x="17" y="5"/>
                  </a:cubicBezTo>
                  <a:cubicBezTo>
                    <a:pt x="14" y="2"/>
                    <a:pt x="11" y="2"/>
                    <a:pt x="8" y="0"/>
                  </a:cubicBezTo>
                  <a:cubicBezTo>
                    <a:pt x="8" y="8"/>
                    <a:pt x="0" y="11"/>
                    <a:pt x="6" y="1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" name="Freeform 131"/>
            <p:cNvSpPr>
              <a:spLocks noChangeArrowheads="1"/>
            </p:cNvSpPr>
            <p:nvPr/>
          </p:nvSpPr>
          <p:spPr bwMode="auto">
            <a:xfrm>
              <a:off x="4529138" y="2892425"/>
              <a:ext cx="4762" cy="4763"/>
            </a:xfrm>
            <a:custGeom>
              <a:avLst/>
              <a:gdLst>
                <a:gd name="T0" fmla="*/ 3 w 15"/>
                <a:gd name="T1" fmla="*/ 0 h 13"/>
                <a:gd name="T2" fmla="*/ 11 w 15"/>
                <a:gd name="T3" fmla="*/ 0 h 13"/>
                <a:gd name="T4" fmla="*/ 3 w 15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3" y="0"/>
                  </a:moveTo>
                  <a:cubicBezTo>
                    <a:pt x="0" y="12"/>
                    <a:pt x="14" y="12"/>
                    <a:pt x="11" y="0"/>
                  </a:cubicBezTo>
                  <a:lnTo>
                    <a:pt x="3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" name="Freeform 132"/>
            <p:cNvSpPr>
              <a:spLocks noChangeArrowheads="1"/>
            </p:cNvSpPr>
            <p:nvPr/>
          </p:nvSpPr>
          <p:spPr bwMode="auto">
            <a:xfrm>
              <a:off x="4538663" y="2265363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8 w 9"/>
                <a:gd name="T3" fmla="*/ 3 h 10"/>
                <a:gd name="T4" fmla="*/ 0 w 9"/>
                <a:gd name="T5" fmla="*/ 0 h 10"/>
                <a:gd name="T6" fmla="*/ 0 w 9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cubicBezTo>
                    <a:pt x="3" y="9"/>
                    <a:pt x="6" y="9"/>
                    <a:pt x="8" y="3"/>
                  </a:cubicBezTo>
                  <a:cubicBezTo>
                    <a:pt x="6" y="3"/>
                    <a:pt x="6" y="0"/>
                    <a:pt x="0" y="0"/>
                  </a:cubicBez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" name="Freeform 133"/>
            <p:cNvSpPr>
              <a:spLocks noChangeArrowheads="1"/>
            </p:cNvSpPr>
            <p:nvPr/>
          </p:nvSpPr>
          <p:spPr bwMode="auto">
            <a:xfrm>
              <a:off x="4362450" y="3030538"/>
              <a:ext cx="3175" cy="4762"/>
            </a:xfrm>
            <a:custGeom>
              <a:avLst/>
              <a:gdLst>
                <a:gd name="T0" fmla="*/ 0 w 9"/>
                <a:gd name="T1" fmla="*/ 6 h 12"/>
                <a:gd name="T2" fmla="*/ 8 w 9"/>
                <a:gd name="T3" fmla="*/ 6 h 12"/>
                <a:gd name="T4" fmla="*/ 0 w 9"/>
                <a:gd name="T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0" y="6"/>
                  </a:moveTo>
                  <a:cubicBezTo>
                    <a:pt x="3" y="6"/>
                    <a:pt x="8" y="11"/>
                    <a:pt x="8" y="6"/>
                  </a:cubicBezTo>
                  <a:cubicBezTo>
                    <a:pt x="8" y="6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" name="Freeform 134"/>
            <p:cNvSpPr>
              <a:spLocks noChangeArrowheads="1"/>
            </p:cNvSpPr>
            <p:nvPr/>
          </p:nvSpPr>
          <p:spPr bwMode="auto">
            <a:xfrm>
              <a:off x="4367213" y="3022600"/>
              <a:ext cx="3175" cy="4763"/>
            </a:xfrm>
            <a:custGeom>
              <a:avLst/>
              <a:gdLst>
                <a:gd name="T0" fmla="*/ 6 w 10"/>
                <a:gd name="T1" fmla="*/ 12 h 13"/>
                <a:gd name="T2" fmla="*/ 6 w 10"/>
                <a:gd name="T3" fmla="*/ 3 h 13"/>
                <a:gd name="T4" fmla="*/ 6 w 10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3">
                  <a:moveTo>
                    <a:pt x="6" y="12"/>
                  </a:moveTo>
                  <a:cubicBezTo>
                    <a:pt x="9" y="12"/>
                    <a:pt x="9" y="3"/>
                    <a:pt x="6" y="3"/>
                  </a:cubicBezTo>
                  <a:cubicBezTo>
                    <a:pt x="0" y="0"/>
                    <a:pt x="0" y="12"/>
                    <a:pt x="6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" name="Freeform 135"/>
            <p:cNvSpPr>
              <a:spLocks noChangeArrowheads="1"/>
            </p:cNvSpPr>
            <p:nvPr/>
          </p:nvSpPr>
          <p:spPr bwMode="auto">
            <a:xfrm>
              <a:off x="4373563" y="3036888"/>
              <a:ext cx="4762" cy="4762"/>
            </a:xfrm>
            <a:custGeom>
              <a:avLst/>
              <a:gdLst>
                <a:gd name="T0" fmla="*/ 0 w 12"/>
                <a:gd name="T1" fmla="*/ 11 h 12"/>
                <a:gd name="T2" fmla="*/ 9 w 12"/>
                <a:gd name="T3" fmla="*/ 0 h 12"/>
                <a:gd name="T4" fmla="*/ 0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0" y="11"/>
                  </a:moveTo>
                  <a:cubicBezTo>
                    <a:pt x="9" y="11"/>
                    <a:pt x="11" y="8"/>
                    <a:pt x="9" y="0"/>
                  </a:cubicBezTo>
                  <a:cubicBezTo>
                    <a:pt x="3" y="0"/>
                    <a:pt x="3" y="5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" name="Freeform 136"/>
            <p:cNvSpPr>
              <a:spLocks noChangeArrowheads="1"/>
            </p:cNvSpPr>
            <p:nvPr/>
          </p:nvSpPr>
          <p:spPr bwMode="auto">
            <a:xfrm>
              <a:off x="4386263" y="3014663"/>
              <a:ext cx="7937" cy="7937"/>
            </a:xfrm>
            <a:custGeom>
              <a:avLst/>
              <a:gdLst>
                <a:gd name="T0" fmla="*/ 0 w 23"/>
                <a:gd name="T1" fmla="*/ 6 h 21"/>
                <a:gd name="T2" fmla="*/ 22 w 23"/>
                <a:gd name="T3" fmla="*/ 8 h 21"/>
                <a:gd name="T4" fmla="*/ 0 w 23"/>
                <a:gd name="T5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21">
                  <a:moveTo>
                    <a:pt x="0" y="6"/>
                  </a:moveTo>
                  <a:cubicBezTo>
                    <a:pt x="3" y="20"/>
                    <a:pt x="17" y="17"/>
                    <a:pt x="22" y="8"/>
                  </a:cubicBezTo>
                  <a:cubicBezTo>
                    <a:pt x="20" y="0"/>
                    <a:pt x="5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" name="Freeform 137"/>
            <p:cNvSpPr>
              <a:spLocks noChangeArrowheads="1"/>
            </p:cNvSpPr>
            <p:nvPr/>
          </p:nvSpPr>
          <p:spPr bwMode="auto">
            <a:xfrm>
              <a:off x="4406900" y="3011488"/>
              <a:ext cx="4763" cy="7937"/>
            </a:xfrm>
            <a:custGeom>
              <a:avLst/>
              <a:gdLst>
                <a:gd name="T0" fmla="*/ 0 w 12"/>
                <a:gd name="T1" fmla="*/ 20 h 24"/>
                <a:gd name="T2" fmla="*/ 6 w 12"/>
                <a:gd name="T3" fmla="*/ 14 h 24"/>
                <a:gd name="T4" fmla="*/ 11 w 12"/>
                <a:gd name="T5" fmla="*/ 0 h 24"/>
                <a:gd name="T6" fmla="*/ 6 w 12"/>
                <a:gd name="T7" fmla="*/ 0 h 24"/>
                <a:gd name="T8" fmla="*/ 0 w 12"/>
                <a:gd name="T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4">
                  <a:moveTo>
                    <a:pt x="0" y="20"/>
                  </a:moveTo>
                  <a:cubicBezTo>
                    <a:pt x="0" y="23"/>
                    <a:pt x="0" y="23"/>
                    <a:pt x="6" y="14"/>
                  </a:cubicBezTo>
                  <a:cubicBezTo>
                    <a:pt x="8" y="9"/>
                    <a:pt x="8" y="6"/>
                    <a:pt x="11" y="0"/>
                  </a:cubicBezTo>
                  <a:cubicBezTo>
                    <a:pt x="8" y="0"/>
                    <a:pt x="8" y="0"/>
                    <a:pt x="6" y="0"/>
                  </a:cubicBezTo>
                  <a:cubicBezTo>
                    <a:pt x="3" y="6"/>
                    <a:pt x="0" y="12"/>
                    <a:pt x="0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" name="Freeform 138"/>
            <p:cNvSpPr>
              <a:spLocks noChangeArrowheads="1"/>
            </p:cNvSpPr>
            <p:nvPr/>
          </p:nvSpPr>
          <p:spPr bwMode="auto">
            <a:xfrm>
              <a:off x="4381500" y="3032125"/>
              <a:ext cx="4763" cy="3175"/>
            </a:xfrm>
            <a:custGeom>
              <a:avLst/>
              <a:gdLst>
                <a:gd name="T0" fmla="*/ 2 w 15"/>
                <a:gd name="T1" fmla="*/ 0 h 9"/>
                <a:gd name="T2" fmla="*/ 11 w 15"/>
                <a:gd name="T3" fmla="*/ 0 h 9"/>
                <a:gd name="T4" fmla="*/ 2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2" y="0"/>
                  </a:moveTo>
                  <a:cubicBezTo>
                    <a:pt x="0" y="8"/>
                    <a:pt x="14" y="8"/>
                    <a:pt x="11" y="0"/>
                  </a:cubicBezTo>
                  <a:lnTo>
                    <a:pt x="2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" name="Freeform 139"/>
            <p:cNvSpPr>
              <a:spLocks noChangeArrowheads="1"/>
            </p:cNvSpPr>
            <p:nvPr/>
          </p:nvSpPr>
          <p:spPr bwMode="auto">
            <a:xfrm>
              <a:off x="3619500" y="2400300"/>
              <a:ext cx="4763" cy="3175"/>
            </a:xfrm>
            <a:custGeom>
              <a:avLst/>
              <a:gdLst>
                <a:gd name="T0" fmla="*/ 12 w 13"/>
                <a:gd name="T1" fmla="*/ 0 h 10"/>
                <a:gd name="T2" fmla="*/ 6 w 13"/>
                <a:gd name="T3" fmla="*/ 0 h 10"/>
                <a:gd name="T4" fmla="*/ 0 w 13"/>
                <a:gd name="T5" fmla="*/ 9 h 10"/>
                <a:gd name="T6" fmla="*/ 12 w 1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12" y="0"/>
                  </a:moveTo>
                  <a:cubicBezTo>
                    <a:pt x="9" y="0"/>
                    <a:pt x="9" y="0"/>
                    <a:pt x="6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6" y="9"/>
                    <a:pt x="12" y="6"/>
                    <a:pt x="1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" name="Freeform 140"/>
            <p:cNvSpPr>
              <a:spLocks noChangeArrowheads="1"/>
            </p:cNvSpPr>
            <p:nvPr/>
          </p:nvSpPr>
          <p:spPr bwMode="auto">
            <a:xfrm>
              <a:off x="3621088" y="2398713"/>
              <a:ext cx="3175" cy="3175"/>
            </a:xfrm>
            <a:custGeom>
              <a:avLst/>
              <a:gdLst>
                <a:gd name="T0" fmla="*/ 0 w 7"/>
                <a:gd name="T1" fmla="*/ 6 h 7"/>
                <a:gd name="T2" fmla="*/ 0 w 7"/>
                <a:gd name="T3" fmla="*/ 6 h 7"/>
                <a:gd name="T4" fmla="*/ 6 w 7"/>
                <a:gd name="T5" fmla="*/ 0 h 7"/>
                <a:gd name="T6" fmla="*/ 0 w 7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6"/>
                  </a:moveTo>
                  <a:lnTo>
                    <a:pt x="0" y="6"/>
                  </a:lnTo>
                  <a:cubicBezTo>
                    <a:pt x="3" y="3"/>
                    <a:pt x="3" y="3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" name="Freeform 141"/>
            <p:cNvSpPr>
              <a:spLocks noChangeArrowheads="1"/>
            </p:cNvSpPr>
            <p:nvPr/>
          </p:nvSpPr>
          <p:spPr bwMode="auto">
            <a:xfrm>
              <a:off x="3621088" y="2413000"/>
              <a:ext cx="1587" cy="3175"/>
            </a:xfrm>
            <a:custGeom>
              <a:avLst/>
              <a:gdLst>
                <a:gd name="T0" fmla="*/ 3 w 4"/>
                <a:gd name="T1" fmla="*/ 3 h 7"/>
                <a:gd name="T2" fmla="*/ 0 w 4"/>
                <a:gd name="T3" fmla="*/ 0 h 7"/>
                <a:gd name="T4" fmla="*/ 0 w 4"/>
                <a:gd name="T5" fmla="*/ 3 h 7"/>
                <a:gd name="T6" fmla="*/ 3 w 4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3"/>
                  </a:moveTo>
                  <a:cubicBezTo>
                    <a:pt x="3" y="3"/>
                    <a:pt x="0" y="3"/>
                    <a:pt x="0" y="0"/>
                  </a:cubicBezTo>
                  <a:lnTo>
                    <a:pt x="0" y="3"/>
                  </a:lnTo>
                  <a:cubicBezTo>
                    <a:pt x="0" y="6"/>
                    <a:pt x="0" y="6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" name="Freeform 142"/>
            <p:cNvSpPr>
              <a:spLocks noChangeArrowheads="1"/>
            </p:cNvSpPr>
            <p:nvPr/>
          </p:nvSpPr>
          <p:spPr bwMode="auto">
            <a:xfrm>
              <a:off x="3667125" y="2832100"/>
              <a:ext cx="4763" cy="3175"/>
            </a:xfrm>
            <a:custGeom>
              <a:avLst/>
              <a:gdLst>
                <a:gd name="T0" fmla="*/ 8 w 15"/>
                <a:gd name="T1" fmla="*/ 6 h 7"/>
                <a:gd name="T2" fmla="*/ 0 w 15"/>
                <a:gd name="T3" fmla="*/ 3 h 7"/>
                <a:gd name="T4" fmla="*/ 3 w 15"/>
                <a:gd name="T5" fmla="*/ 6 h 7"/>
                <a:gd name="T6" fmla="*/ 8 w 15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8" y="6"/>
                  </a:moveTo>
                  <a:cubicBezTo>
                    <a:pt x="14" y="0"/>
                    <a:pt x="0" y="0"/>
                    <a:pt x="0" y="3"/>
                  </a:cubicBezTo>
                  <a:cubicBezTo>
                    <a:pt x="3" y="3"/>
                    <a:pt x="3" y="3"/>
                    <a:pt x="3" y="6"/>
                  </a:cubicBezTo>
                  <a:lnTo>
                    <a:pt x="8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" name="Freeform 143"/>
            <p:cNvSpPr>
              <a:spLocks noChangeArrowheads="1"/>
            </p:cNvSpPr>
            <p:nvPr/>
          </p:nvSpPr>
          <p:spPr bwMode="auto">
            <a:xfrm>
              <a:off x="3663950" y="2847975"/>
              <a:ext cx="1588" cy="1588"/>
            </a:xfrm>
            <a:custGeom>
              <a:avLst/>
              <a:gdLst>
                <a:gd name="T0" fmla="*/ 0 w 6"/>
                <a:gd name="T1" fmla="*/ 0 h 4"/>
                <a:gd name="T2" fmla="*/ 0 w 6"/>
                <a:gd name="T3" fmla="*/ 0 h 4"/>
                <a:gd name="T4" fmla="*/ 0 w 6"/>
                <a:gd name="T5" fmla="*/ 0 h 4"/>
                <a:gd name="T6" fmla="*/ 5 w 6"/>
                <a:gd name="T7" fmla="*/ 3 h 4"/>
                <a:gd name="T8" fmla="*/ 0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2" y="3"/>
                    <a:pt x="5" y="3"/>
                  </a:cubicBezTo>
                  <a:cubicBezTo>
                    <a:pt x="2" y="3"/>
                    <a:pt x="2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" name="Freeform 144"/>
            <p:cNvSpPr>
              <a:spLocks noChangeArrowheads="1"/>
            </p:cNvSpPr>
            <p:nvPr/>
          </p:nvSpPr>
          <p:spPr bwMode="auto">
            <a:xfrm>
              <a:off x="3663950" y="2847975"/>
              <a:ext cx="3175" cy="3175"/>
            </a:xfrm>
            <a:custGeom>
              <a:avLst/>
              <a:gdLst>
                <a:gd name="T0" fmla="*/ 5 w 9"/>
                <a:gd name="T1" fmla="*/ 6 h 7"/>
                <a:gd name="T2" fmla="*/ 3 w 9"/>
                <a:gd name="T3" fmla="*/ 0 h 7"/>
                <a:gd name="T4" fmla="*/ 0 w 9"/>
                <a:gd name="T5" fmla="*/ 0 h 7"/>
                <a:gd name="T6" fmla="*/ 5 w 9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5" y="6"/>
                  </a:moveTo>
                  <a:cubicBezTo>
                    <a:pt x="8" y="6"/>
                    <a:pt x="5" y="6"/>
                    <a:pt x="3" y="0"/>
                  </a:cubicBezTo>
                  <a:lnTo>
                    <a:pt x="0" y="0"/>
                  </a:lnTo>
                  <a:cubicBezTo>
                    <a:pt x="3" y="3"/>
                    <a:pt x="3" y="6"/>
                    <a:pt x="5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" name="Freeform 145"/>
            <p:cNvSpPr>
              <a:spLocks noChangeArrowheads="1"/>
            </p:cNvSpPr>
            <p:nvPr/>
          </p:nvSpPr>
          <p:spPr bwMode="auto">
            <a:xfrm>
              <a:off x="3614738" y="2403475"/>
              <a:ext cx="9525" cy="9525"/>
            </a:xfrm>
            <a:custGeom>
              <a:avLst/>
              <a:gdLst>
                <a:gd name="T0" fmla="*/ 12 w 27"/>
                <a:gd name="T1" fmla="*/ 25 h 26"/>
                <a:gd name="T2" fmla="*/ 12 w 27"/>
                <a:gd name="T3" fmla="*/ 25 h 26"/>
                <a:gd name="T4" fmla="*/ 26 w 27"/>
                <a:gd name="T5" fmla="*/ 2 h 26"/>
                <a:gd name="T6" fmla="*/ 14 w 27"/>
                <a:gd name="T7" fmla="*/ 0 h 26"/>
                <a:gd name="T8" fmla="*/ 9 w 27"/>
                <a:gd name="T9" fmla="*/ 14 h 26"/>
                <a:gd name="T10" fmla="*/ 3 w 27"/>
                <a:gd name="T11" fmla="*/ 14 h 26"/>
                <a:gd name="T12" fmla="*/ 0 w 27"/>
                <a:gd name="T13" fmla="*/ 19 h 26"/>
                <a:gd name="T14" fmla="*/ 0 w 27"/>
                <a:gd name="T15" fmla="*/ 19 h 26"/>
                <a:gd name="T16" fmla="*/ 12 w 27"/>
                <a:gd name="T17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6">
                  <a:moveTo>
                    <a:pt x="12" y="25"/>
                  </a:moveTo>
                  <a:lnTo>
                    <a:pt x="12" y="25"/>
                  </a:lnTo>
                  <a:cubicBezTo>
                    <a:pt x="14" y="17"/>
                    <a:pt x="20" y="8"/>
                    <a:pt x="26" y="2"/>
                  </a:cubicBezTo>
                  <a:cubicBezTo>
                    <a:pt x="23" y="0"/>
                    <a:pt x="17" y="0"/>
                    <a:pt x="14" y="0"/>
                  </a:cubicBezTo>
                  <a:cubicBezTo>
                    <a:pt x="12" y="2"/>
                    <a:pt x="6" y="5"/>
                    <a:pt x="9" y="14"/>
                  </a:cubicBezTo>
                  <a:cubicBezTo>
                    <a:pt x="6" y="14"/>
                    <a:pt x="6" y="14"/>
                    <a:pt x="3" y="14"/>
                  </a:cubicBezTo>
                  <a:cubicBezTo>
                    <a:pt x="3" y="17"/>
                    <a:pt x="3" y="17"/>
                    <a:pt x="0" y="19"/>
                  </a:cubicBezTo>
                  <a:lnTo>
                    <a:pt x="0" y="19"/>
                  </a:lnTo>
                  <a:cubicBezTo>
                    <a:pt x="6" y="14"/>
                    <a:pt x="6" y="25"/>
                    <a:pt x="12" y="2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1" name="Freeform 146"/>
            <p:cNvSpPr>
              <a:spLocks noChangeArrowheads="1"/>
            </p:cNvSpPr>
            <p:nvPr/>
          </p:nvSpPr>
          <p:spPr bwMode="auto">
            <a:xfrm>
              <a:off x="3738563" y="2217738"/>
              <a:ext cx="3175" cy="1587"/>
            </a:xfrm>
            <a:custGeom>
              <a:avLst/>
              <a:gdLst>
                <a:gd name="T0" fmla="*/ 0 w 9"/>
                <a:gd name="T1" fmla="*/ 2 h 3"/>
                <a:gd name="T2" fmla="*/ 8 w 9"/>
                <a:gd name="T3" fmla="*/ 0 h 3"/>
                <a:gd name="T4" fmla="*/ 0 w 9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0" y="2"/>
                  </a:moveTo>
                  <a:cubicBezTo>
                    <a:pt x="2" y="2"/>
                    <a:pt x="5" y="0"/>
                    <a:pt x="8" y="0"/>
                  </a:cubicBezTo>
                  <a:cubicBezTo>
                    <a:pt x="5" y="0"/>
                    <a:pt x="2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2" name="Freeform 147"/>
            <p:cNvSpPr>
              <a:spLocks noChangeArrowheads="1"/>
            </p:cNvSpPr>
            <p:nvPr/>
          </p:nvSpPr>
          <p:spPr bwMode="auto">
            <a:xfrm>
              <a:off x="3616325" y="2420938"/>
              <a:ext cx="1588" cy="1587"/>
            </a:xfrm>
            <a:custGeom>
              <a:avLst/>
              <a:gdLst>
                <a:gd name="T0" fmla="*/ 0 w 4"/>
                <a:gd name="T1" fmla="*/ 0 h 6"/>
                <a:gd name="T2" fmla="*/ 3 w 4"/>
                <a:gd name="T3" fmla="*/ 5 h 6"/>
                <a:gd name="T4" fmla="*/ 0 w 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cubicBezTo>
                    <a:pt x="3" y="2"/>
                    <a:pt x="3" y="5"/>
                    <a:pt x="3" y="5"/>
                  </a:cubicBezTo>
                  <a:cubicBezTo>
                    <a:pt x="3" y="2"/>
                    <a:pt x="3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3" name="Freeform 148"/>
            <p:cNvSpPr>
              <a:spLocks noChangeArrowheads="1"/>
            </p:cNvSpPr>
            <p:nvPr/>
          </p:nvSpPr>
          <p:spPr bwMode="auto">
            <a:xfrm>
              <a:off x="4240213" y="3089275"/>
              <a:ext cx="3175" cy="1588"/>
            </a:xfrm>
            <a:custGeom>
              <a:avLst/>
              <a:gdLst>
                <a:gd name="T0" fmla="*/ 0 w 7"/>
                <a:gd name="T1" fmla="*/ 2 h 3"/>
                <a:gd name="T2" fmla="*/ 0 w 7"/>
                <a:gd name="T3" fmla="*/ 2 h 3"/>
                <a:gd name="T4" fmla="*/ 6 w 7"/>
                <a:gd name="T5" fmla="*/ 0 h 3"/>
                <a:gd name="T6" fmla="*/ 6 w 7"/>
                <a:gd name="T7" fmla="*/ 0 h 3"/>
                <a:gd name="T8" fmla="*/ 0 w 7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lnTo>
                    <a:pt x="0" y="2"/>
                  </a:lnTo>
                  <a:cubicBezTo>
                    <a:pt x="3" y="2"/>
                    <a:pt x="3" y="0"/>
                    <a:pt x="6" y="0"/>
                  </a:cubicBezTo>
                  <a:lnTo>
                    <a:pt x="6" y="0"/>
                  </a:lnTo>
                  <a:cubicBezTo>
                    <a:pt x="3" y="0"/>
                    <a:pt x="3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4" name="Freeform 149"/>
            <p:cNvSpPr>
              <a:spLocks noChangeArrowheads="1"/>
            </p:cNvSpPr>
            <p:nvPr/>
          </p:nvSpPr>
          <p:spPr bwMode="auto">
            <a:xfrm>
              <a:off x="3603625" y="2498725"/>
              <a:ext cx="4763" cy="3175"/>
            </a:xfrm>
            <a:custGeom>
              <a:avLst/>
              <a:gdLst>
                <a:gd name="T0" fmla="*/ 0 w 13"/>
                <a:gd name="T1" fmla="*/ 8 h 9"/>
                <a:gd name="T2" fmla="*/ 0 w 13"/>
                <a:gd name="T3" fmla="*/ 8 h 9"/>
                <a:gd name="T4" fmla="*/ 12 w 13"/>
                <a:gd name="T5" fmla="*/ 0 h 9"/>
                <a:gd name="T6" fmla="*/ 0 w 13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0" y="8"/>
                  </a:moveTo>
                  <a:lnTo>
                    <a:pt x="0" y="8"/>
                  </a:lnTo>
                  <a:cubicBezTo>
                    <a:pt x="3" y="5"/>
                    <a:pt x="9" y="3"/>
                    <a:pt x="12" y="0"/>
                  </a:cubicBezTo>
                  <a:cubicBezTo>
                    <a:pt x="6" y="0"/>
                    <a:pt x="3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5" name="Freeform 150"/>
            <p:cNvSpPr>
              <a:spLocks noChangeArrowheads="1"/>
            </p:cNvSpPr>
            <p:nvPr/>
          </p:nvSpPr>
          <p:spPr bwMode="auto">
            <a:xfrm>
              <a:off x="4438650" y="2989263"/>
              <a:ext cx="1588" cy="3175"/>
            </a:xfrm>
            <a:custGeom>
              <a:avLst/>
              <a:gdLst>
                <a:gd name="T0" fmla="*/ 2 w 3"/>
                <a:gd name="T1" fmla="*/ 0 h 7"/>
                <a:gd name="T2" fmla="*/ 2 w 3"/>
                <a:gd name="T3" fmla="*/ 0 h 7"/>
                <a:gd name="T4" fmla="*/ 0 w 3"/>
                <a:gd name="T5" fmla="*/ 6 h 7"/>
                <a:gd name="T6" fmla="*/ 2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2" y="0"/>
                  </a:moveTo>
                  <a:lnTo>
                    <a:pt x="2" y="0"/>
                  </a:lnTo>
                  <a:cubicBezTo>
                    <a:pt x="2" y="3"/>
                    <a:pt x="2" y="3"/>
                    <a:pt x="0" y="6"/>
                  </a:cubicBezTo>
                  <a:cubicBezTo>
                    <a:pt x="0" y="3"/>
                    <a:pt x="2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6" name="Freeform 151"/>
            <p:cNvSpPr>
              <a:spLocks noChangeArrowheads="1"/>
            </p:cNvSpPr>
            <p:nvPr/>
          </p:nvSpPr>
          <p:spPr bwMode="auto">
            <a:xfrm>
              <a:off x="3992563" y="3067050"/>
              <a:ext cx="1587" cy="1588"/>
            </a:xfrm>
            <a:custGeom>
              <a:avLst/>
              <a:gdLst>
                <a:gd name="T0" fmla="*/ 0 w 4"/>
                <a:gd name="T1" fmla="*/ 0 h 3"/>
                <a:gd name="T2" fmla="*/ 0 w 4"/>
                <a:gd name="T3" fmla="*/ 2 h 3"/>
                <a:gd name="T4" fmla="*/ 0 w 4"/>
                <a:gd name="T5" fmla="*/ 2 h 3"/>
                <a:gd name="T6" fmla="*/ 0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cubicBezTo>
                    <a:pt x="3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7" name="Freeform 152"/>
            <p:cNvSpPr>
              <a:spLocks noChangeArrowheads="1"/>
            </p:cNvSpPr>
            <p:nvPr/>
          </p:nvSpPr>
          <p:spPr bwMode="auto">
            <a:xfrm>
              <a:off x="3625850" y="2420938"/>
              <a:ext cx="7938" cy="7937"/>
            </a:xfrm>
            <a:custGeom>
              <a:avLst/>
              <a:gdLst>
                <a:gd name="T0" fmla="*/ 0 w 24"/>
                <a:gd name="T1" fmla="*/ 2 h 20"/>
                <a:gd name="T2" fmla="*/ 17 w 24"/>
                <a:gd name="T3" fmla="*/ 19 h 20"/>
                <a:gd name="T4" fmla="*/ 23 w 24"/>
                <a:gd name="T5" fmla="*/ 16 h 20"/>
                <a:gd name="T6" fmla="*/ 0 w 24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0">
                  <a:moveTo>
                    <a:pt x="0" y="2"/>
                  </a:moveTo>
                  <a:cubicBezTo>
                    <a:pt x="3" y="11"/>
                    <a:pt x="6" y="16"/>
                    <a:pt x="17" y="19"/>
                  </a:cubicBezTo>
                  <a:cubicBezTo>
                    <a:pt x="17" y="16"/>
                    <a:pt x="20" y="16"/>
                    <a:pt x="23" y="16"/>
                  </a:cubicBezTo>
                  <a:cubicBezTo>
                    <a:pt x="23" y="5"/>
                    <a:pt x="6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8" name="Freeform 153"/>
            <p:cNvSpPr>
              <a:spLocks noChangeArrowheads="1"/>
            </p:cNvSpPr>
            <p:nvPr/>
          </p:nvSpPr>
          <p:spPr bwMode="auto">
            <a:xfrm>
              <a:off x="3854450" y="2112963"/>
              <a:ext cx="4763" cy="4762"/>
            </a:xfrm>
            <a:custGeom>
              <a:avLst/>
              <a:gdLst>
                <a:gd name="T0" fmla="*/ 0 w 15"/>
                <a:gd name="T1" fmla="*/ 11 h 12"/>
                <a:gd name="T2" fmla="*/ 14 w 15"/>
                <a:gd name="T3" fmla="*/ 0 h 12"/>
                <a:gd name="T4" fmla="*/ 0 w 15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0" y="11"/>
                  </a:moveTo>
                  <a:cubicBezTo>
                    <a:pt x="3" y="5"/>
                    <a:pt x="8" y="3"/>
                    <a:pt x="14" y="0"/>
                  </a:cubicBezTo>
                  <a:cubicBezTo>
                    <a:pt x="8" y="5"/>
                    <a:pt x="3" y="8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9" name="Freeform 154"/>
            <p:cNvSpPr>
              <a:spLocks noChangeArrowheads="1"/>
            </p:cNvSpPr>
            <p:nvPr/>
          </p:nvSpPr>
          <p:spPr bwMode="auto">
            <a:xfrm>
              <a:off x="3849688" y="3033713"/>
              <a:ext cx="4762" cy="3175"/>
            </a:xfrm>
            <a:custGeom>
              <a:avLst/>
              <a:gdLst>
                <a:gd name="T0" fmla="*/ 11 w 12"/>
                <a:gd name="T1" fmla="*/ 9 h 10"/>
                <a:gd name="T2" fmla="*/ 0 w 12"/>
                <a:gd name="T3" fmla="*/ 0 h 10"/>
                <a:gd name="T4" fmla="*/ 11 w 12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9"/>
                  </a:moveTo>
                  <a:cubicBezTo>
                    <a:pt x="9" y="6"/>
                    <a:pt x="3" y="3"/>
                    <a:pt x="0" y="0"/>
                  </a:cubicBezTo>
                  <a:cubicBezTo>
                    <a:pt x="3" y="3"/>
                    <a:pt x="6" y="6"/>
                    <a:pt x="11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0" name="Freeform 155"/>
            <p:cNvSpPr>
              <a:spLocks noChangeArrowheads="1"/>
            </p:cNvSpPr>
            <p:nvPr/>
          </p:nvSpPr>
          <p:spPr bwMode="auto">
            <a:xfrm>
              <a:off x="3587750" y="2574925"/>
              <a:ext cx="4763" cy="15875"/>
            </a:xfrm>
            <a:custGeom>
              <a:avLst/>
              <a:gdLst>
                <a:gd name="T0" fmla="*/ 11 w 15"/>
                <a:gd name="T1" fmla="*/ 33 h 43"/>
                <a:gd name="T2" fmla="*/ 0 w 15"/>
                <a:gd name="T3" fmla="*/ 0 h 43"/>
                <a:gd name="T4" fmla="*/ 14 w 15"/>
                <a:gd name="T5" fmla="*/ 42 h 43"/>
                <a:gd name="T6" fmla="*/ 11 w 15"/>
                <a:gd name="T7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43">
                  <a:moveTo>
                    <a:pt x="11" y="33"/>
                  </a:moveTo>
                  <a:cubicBezTo>
                    <a:pt x="9" y="22"/>
                    <a:pt x="3" y="11"/>
                    <a:pt x="0" y="0"/>
                  </a:cubicBezTo>
                  <a:cubicBezTo>
                    <a:pt x="3" y="14"/>
                    <a:pt x="6" y="31"/>
                    <a:pt x="14" y="42"/>
                  </a:cubicBezTo>
                  <a:cubicBezTo>
                    <a:pt x="14" y="39"/>
                    <a:pt x="11" y="36"/>
                    <a:pt x="11" y="3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1" name="Freeform 156"/>
            <p:cNvSpPr>
              <a:spLocks noChangeArrowheads="1"/>
            </p:cNvSpPr>
            <p:nvPr/>
          </p:nvSpPr>
          <p:spPr bwMode="auto">
            <a:xfrm>
              <a:off x="3852863" y="2116138"/>
              <a:ext cx="1587" cy="3175"/>
            </a:xfrm>
            <a:custGeom>
              <a:avLst/>
              <a:gdLst>
                <a:gd name="T0" fmla="*/ 4 w 5"/>
                <a:gd name="T1" fmla="*/ 0 h 9"/>
                <a:gd name="T2" fmla="*/ 1 w 5"/>
                <a:gd name="T3" fmla="*/ 5 h 9"/>
                <a:gd name="T4" fmla="*/ 4 w 5"/>
                <a:gd name="T5" fmla="*/ 0 h 9"/>
                <a:gd name="T6" fmla="*/ 1 w 5"/>
                <a:gd name="T7" fmla="*/ 6 h 9"/>
                <a:gd name="T8" fmla="*/ 1 w 5"/>
                <a:gd name="T9" fmla="*/ 5 h 9"/>
                <a:gd name="T10" fmla="*/ 1 w 5"/>
                <a:gd name="T11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9">
                  <a:moveTo>
                    <a:pt x="4" y="0"/>
                  </a:moveTo>
                  <a:cubicBezTo>
                    <a:pt x="2" y="3"/>
                    <a:pt x="1" y="3"/>
                    <a:pt x="1" y="5"/>
                  </a:cubicBezTo>
                  <a:cubicBezTo>
                    <a:pt x="2" y="4"/>
                    <a:pt x="3" y="3"/>
                    <a:pt x="4" y="0"/>
                  </a:cubicBezTo>
                  <a:close/>
                  <a:moveTo>
                    <a:pt x="1" y="6"/>
                  </a:moveTo>
                  <a:cubicBezTo>
                    <a:pt x="0" y="8"/>
                    <a:pt x="0" y="7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2" name="Freeform 157"/>
            <p:cNvSpPr>
              <a:spLocks noChangeArrowheads="1"/>
            </p:cNvSpPr>
            <p:nvPr/>
          </p:nvSpPr>
          <p:spPr bwMode="auto">
            <a:xfrm>
              <a:off x="4057650" y="3098800"/>
              <a:ext cx="7938" cy="4763"/>
            </a:xfrm>
            <a:custGeom>
              <a:avLst/>
              <a:gdLst>
                <a:gd name="T0" fmla="*/ 2 w 20"/>
                <a:gd name="T1" fmla="*/ 3 h 12"/>
                <a:gd name="T2" fmla="*/ 2 w 20"/>
                <a:gd name="T3" fmla="*/ 3 h 12"/>
                <a:gd name="T4" fmla="*/ 19 w 20"/>
                <a:gd name="T5" fmla="*/ 11 h 12"/>
                <a:gd name="T6" fmla="*/ 0 w 20"/>
                <a:gd name="T7" fmla="*/ 0 h 12"/>
                <a:gd name="T8" fmla="*/ 2 w 20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2">
                  <a:moveTo>
                    <a:pt x="2" y="3"/>
                  </a:moveTo>
                  <a:lnTo>
                    <a:pt x="2" y="3"/>
                  </a:lnTo>
                  <a:cubicBezTo>
                    <a:pt x="5" y="6"/>
                    <a:pt x="11" y="8"/>
                    <a:pt x="19" y="11"/>
                  </a:cubicBezTo>
                  <a:cubicBezTo>
                    <a:pt x="14" y="8"/>
                    <a:pt x="5" y="6"/>
                    <a:pt x="0" y="0"/>
                  </a:cubicBezTo>
                  <a:cubicBezTo>
                    <a:pt x="0" y="3"/>
                    <a:pt x="2" y="3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3" name="Freeform 158"/>
            <p:cNvSpPr>
              <a:spLocks noChangeArrowheads="1"/>
            </p:cNvSpPr>
            <p:nvPr/>
          </p:nvSpPr>
          <p:spPr bwMode="auto">
            <a:xfrm>
              <a:off x="3852863" y="2116138"/>
              <a:ext cx="1587" cy="3175"/>
            </a:xfrm>
            <a:custGeom>
              <a:avLst/>
              <a:gdLst>
                <a:gd name="T0" fmla="*/ 3 w 4"/>
                <a:gd name="T1" fmla="*/ 3 h 10"/>
                <a:gd name="T2" fmla="*/ 3 w 4"/>
                <a:gd name="T3" fmla="*/ 3 h 10"/>
                <a:gd name="T4" fmla="*/ 3 w 4"/>
                <a:gd name="T5" fmla="*/ 3 h 10"/>
                <a:gd name="T6" fmla="*/ 0 w 4"/>
                <a:gd name="T7" fmla="*/ 9 h 10"/>
                <a:gd name="T8" fmla="*/ 3 w 4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3" y="3"/>
                  </a:moveTo>
                  <a:lnTo>
                    <a:pt x="3" y="3"/>
                  </a:lnTo>
                  <a:cubicBezTo>
                    <a:pt x="3" y="3"/>
                    <a:pt x="3" y="0"/>
                    <a:pt x="3" y="3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0" y="6"/>
                    <a:pt x="3" y="6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4" name="Freeform 159"/>
            <p:cNvSpPr>
              <a:spLocks noChangeArrowheads="1"/>
            </p:cNvSpPr>
            <p:nvPr/>
          </p:nvSpPr>
          <p:spPr bwMode="auto">
            <a:xfrm>
              <a:off x="3633788" y="2443163"/>
              <a:ext cx="1587" cy="1587"/>
            </a:xfrm>
            <a:custGeom>
              <a:avLst/>
              <a:gdLst>
                <a:gd name="T0" fmla="*/ 3 w 4"/>
                <a:gd name="T1" fmla="*/ 0 h 3"/>
                <a:gd name="T2" fmla="*/ 0 w 4"/>
                <a:gd name="T3" fmla="*/ 0 h 3"/>
                <a:gd name="T4" fmla="*/ 0 w 4"/>
                <a:gd name="T5" fmla="*/ 0 h 3"/>
                <a:gd name="T6" fmla="*/ 3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3" y="2"/>
                    <a:pt x="3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5" name="Freeform 160"/>
            <p:cNvSpPr>
              <a:spLocks noChangeArrowheads="1"/>
            </p:cNvSpPr>
            <p:nvPr/>
          </p:nvSpPr>
          <p:spPr bwMode="auto">
            <a:xfrm>
              <a:off x="3868738" y="2119313"/>
              <a:ext cx="1587" cy="4762"/>
            </a:xfrm>
            <a:custGeom>
              <a:avLst/>
              <a:gdLst>
                <a:gd name="T0" fmla="*/ 3 w 6"/>
                <a:gd name="T1" fmla="*/ 0 h 12"/>
                <a:gd name="T2" fmla="*/ 2 w 6"/>
                <a:gd name="T3" fmla="*/ 2 h 12"/>
                <a:gd name="T4" fmla="*/ 0 w 6"/>
                <a:gd name="T5" fmla="*/ 8 h 12"/>
                <a:gd name="T6" fmla="*/ 3 w 6"/>
                <a:gd name="T7" fmla="*/ 0 h 12"/>
                <a:gd name="T8" fmla="*/ 3 w 6"/>
                <a:gd name="T9" fmla="*/ 0 h 12"/>
                <a:gd name="T10" fmla="*/ 2 w 6"/>
                <a:gd name="T11" fmla="*/ 2 h 12"/>
                <a:gd name="T12" fmla="*/ 3 w 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cubicBezTo>
                    <a:pt x="3" y="1"/>
                    <a:pt x="2" y="1"/>
                    <a:pt x="2" y="2"/>
                  </a:cubicBezTo>
                  <a:lnTo>
                    <a:pt x="0" y="8"/>
                  </a:lnTo>
                  <a:cubicBezTo>
                    <a:pt x="5" y="11"/>
                    <a:pt x="5" y="0"/>
                    <a:pt x="3" y="0"/>
                  </a:cubicBezTo>
                  <a:close/>
                  <a:moveTo>
                    <a:pt x="3" y="0"/>
                  </a:moveTo>
                  <a:lnTo>
                    <a:pt x="2" y="2"/>
                  </a:lnTo>
                  <a:cubicBezTo>
                    <a:pt x="1" y="2"/>
                    <a:pt x="1" y="2"/>
                    <a:pt x="3" y="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6" name="Freeform 161"/>
            <p:cNvSpPr>
              <a:spLocks noChangeArrowheads="1"/>
            </p:cNvSpPr>
            <p:nvPr/>
          </p:nvSpPr>
          <p:spPr bwMode="auto">
            <a:xfrm>
              <a:off x="3649663" y="2386013"/>
              <a:ext cx="3175" cy="4762"/>
            </a:xfrm>
            <a:custGeom>
              <a:avLst/>
              <a:gdLst>
                <a:gd name="T0" fmla="*/ 0 w 10"/>
                <a:gd name="T1" fmla="*/ 0 h 12"/>
                <a:gd name="T2" fmla="*/ 0 w 10"/>
                <a:gd name="T3" fmla="*/ 2 h 12"/>
                <a:gd name="T4" fmla="*/ 9 w 10"/>
                <a:gd name="T5" fmla="*/ 11 h 12"/>
                <a:gd name="T6" fmla="*/ 9 w 10"/>
                <a:gd name="T7" fmla="*/ 11 h 12"/>
                <a:gd name="T8" fmla="*/ 0 w 1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0" y="0"/>
                  </a:moveTo>
                  <a:lnTo>
                    <a:pt x="0" y="2"/>
                  </a:lnTo>
                  <a:cubicBezTo>
                    <a:pt x="3" y="5"/>
                    <a:pt x="6" y="8"/>
                    <a:pt x="9" y="11"/>
                  </a:cubicBezTo>
                  <a:lnTo>
                    <a:pt x="9" y="11"/>
                  </a:lnTo>
                  <a:cubicBezTo>
                    <a:pt x="6" y="8"/>
                    <a:pt x="3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7" name="Freeform 162"/>
            <p:cNvSpPr>
              <a:spLocks noChangeArrowheads="1"/>
            </p:cNvSpPr>
            <p:nvPr/>
          </p:nvSpPr>
          <p:spPr bwMode="auto">
            <a:xfrm>
              <a:off x="4056063" y="3098800"/>
              <a:ext cx="1587" cy="1588"/>
            </a:xfrm>
            <a:custGeom>
              <a:avLst/>
              <a:gdLst>
                <a:gd name="T0" fmla="*/ 5 w 6"/>
                <a:gd name="T1" fmla="*/ 3 h 4"/>
                <a:gd name="T2" fmla="*/ 5 w 6"/>
                <a:gd name="T3" fmla="*/ 3 h 4"/>
                <a:gd name="T4" fmla="*/ 0 w 6"/>
                <a:gd name="T5" fmla="*/ 0 h 4"/>
                <a:gd name="T6" fmla="*/ 5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5" y="3"/>
                  </a:lnTo>
                  <a:cubicBezTo>
                    <a:pt x="3" y="3"/>
                    <a:pt x="3" y="0"/>
                    <a:pt x="0" y="0"/>
                  </a:cubicBezTo>
                  <a:cubicBezTo>
                    <a:pt x="3" y="0"/>
                    <a:pt x="5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8" name="Freeform 163"/>
            <p:cNvSpPr>
              <a:spLocks noChangeArrowheads="1"/>
            </p:cNvSpPr>
            <p:nvPr/>
          </p:nvSpPr>
          <p:spPr bwMode="auto">
            <a:xfrm>
              <a:off x="4448175" y="2967038"/>
              <a:ext cx="4763" cy="3175"/>
            </a:xfrm>
            <a:custGeom>
              <a:avLst/>
              <a:gdLst>
                <a:gd name="T0" fmla="*/ 0 w 15"/>
                <a:gd name="T1" fmla="*/ 9 h 10"/>
                <a:gd name="T2" fmla="*/ 14 w 15"/>
                <a:gd name="T3" fmla="*/ 6 h 10"/>
                <a:gd name="T4" fmla="*/ 14 w 15"/>
                <a:gd name="T5" fmla="*/ 0 h 10"/>
                <a:gd name="T6" fmla="*/ 0 w 15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0" y="9"/>
                  </a:moveTo>
                  <a:cubicBezTo>
                    <a:pt x="3" y="6"/>
                    <a:pt x="8" y="6"/>
                    <a:pt x="14" y="6"/>
                  </a:cubicBezTo>
                  <a:lnTo>
                    <a:pt x="14" y="0"/>
                  </a:lnTo>
                  <a:cubicBezTo>
                    <a:pt x="8" y="0"/>
                    <a:pt x="3" y="3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9" name="Freeform 164"/>
            <p:cNvSpPr>
              <a:spLocks noChangeArrowheads="1"/>
            </p:cNvSpPr>
            <p:nvPr/>
          </p:nvSpPr>
          <p:spPr bwMode="auto">
            <a:xfrm>
              <a:off x="3611563" y="2689225"/>
              <a:ext cx="1587" cy="1588"/>
            </a:xfrm>
            <a:custGeom>
              <a:avLst/>
              <a:gdLst>
                <a:gd name="T0" fmla="*/ 0 w 4"/>
                <a:gd name="T1" fmla="*/ 0 h 6"/>
                <a:gd name="T2" fmla="*/ 3 w 4"/>
                <a:gd name="T3" fmla="*/ 5 h 6"/>
                <a:gd name="T4" fmla="*/ 0 w 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cubicBezTo>
                    <a:pt x="0" y="3"/>
                    <a:pt x="2" y="3"/>
                    <a:pt x="3" y="5"/>
                  </a:cubicBezTo>
                  <a:cubicBezTo>
                    <a:pt x="2" y="4"/>
                    <a:pt x="2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0" name="Freeform 165"/>
            <p:cNvSpPr>
              <a:spLocks noChangeArrowheads="1"/>
            </p:cNvSpPr>
            <p:nvPr/>
          </p:nvSpPr>
          <p:spPr bwMode="auto">
            <a:xfrm>
              <a:off x="4486275" y="2949575"/>
              <a:ext cx="1588" cy="3175"/>
            </a:xfrm>
            <a:custGeom>
              <a:avLst/>
              <a:gdLst>
                <a:gd name="T0" fmla="*/ 3 w 4"/>
                <a:gd name="T1" fmla="*/ 0 h 10"/>
                <a:gd name="T2" fmla="*/ 0 w 4"/>
                <a:gd name="T3" fmla="*/ 9 h 10"/>
                <a:gd name="T4" fmla="*/ 0 w 4"/>
                <a:gd name="T5" fmla="*/ 9 h 10"/>
                <a:gd name="T6" fmla="*/ 3 w 4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0"/>
                  </a:moveTo>
                  <a:cubicBezTo>
                    <a:pt x="3" y="3"/>
                    <a:pt x="3" y="6"/>
                    <a:pt x="0" y="9"/>
                  </a:cubicBezTo>
                  <a:lnTo>
                    <a:pt x="0" y="9"/>
                  </a:lnTo>
                  <a:cubicBezTo>
                    <a:pt x="0" y="6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1" name="Freeform 166"/>
            <p:cNvSpPr>
              <a:spLocks noChangeArrowheads="1"/>
            </p:cNvSpPr>
            <p:nvPr/>
          </p:nvSpPr>
          <p:spPr bwMode="auto">
            <a:xfrm>
              <a:off x="3776663" y="2965450"/>
              <a:ext cx="3175" cy="1588"/>
            </a:xfrm>
            <a:custGeom>
              <a:avLst/>
              <a:gdLst>
                <a:gd name="T0" fmla="*/ 8 w 9"/>
                <a:gd name="T1" fmla="*/ 2 h 3"/>
                <a:gd name="T2" fmla="*/ 0 w 9"/>
                <a:gd name="T3" fmla="*/ 0 h 3"/>
                <a:gd name="T4" fmla="*/ 8 w 9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8" y="2"/>
                  </a:moveTo>
                  <a:cubicBezTo>
                    <a:pt x="5" y="2"/>
                    <a:pt x="3" y="0"/>
                    <a:pt x="0" y="0"/>
                  </a:cubicBezTo>
                  <a:cubicBezTo>
                    <a:pt x="3" y="2"/>
                    <a:pt x="5" y="2"/>
                    <a:pt x="8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2" name="Freeform 167"/>
            <p:cNvSpPr>
              <a:spLocks noChangeArrowheads="1"/>
            </p:cNvSpPr>
            <p:nvPr/>
          </p:nvSpPr>
          <p:spPr bwMode="auto">
            <a:xfrm>
              <a:off x="3644900" y="2382838"/>
              <a:ext cx="3175" cy="1587"/>
            </a:xfrm>
            <a:custGeom>
              <a:avLst/>
              <a:gdLst>
                <a:gd name="T0" fmla="*/ 3 w 7"/>
                <a:gd name="T1" fmla="*/ 0 h 4"/>
                <a:gd name="T2" fmla="*/ 6 w 7"/>
                <a:gd name="T3" fmla="*/ 3 h 4"/>
                <a:gd name="T4" fmla="*/ 3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3" y="0"/>
                  </a:moveTo>
                  <a:cubicBezTo>
                    <a:pt x="0" y="3"/>
                    <a:pt x="3" y="3"/>
                    <a:pt x="6" y="3"/>
                  </a:cubicBezTo>
                  <a:cubicBezTo>
                    <a:pt x="3" y="3"/>
                    <a:pt x="3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3" name="Freeform 168"/>
            <p:cNvSpPr>
              <a:spLocks noChangeArrowheads="1"/>
            </p:cNvSpPr>
            <p:nvPr/>
          </p:nvSpPr>
          <p:spPr bwMode="auto">
            <a:xfrm>
              <a:off x="3638550" y="2389188"/>
              <a:ext cx="1588" cy="1587"/>
            </a:xfrm>
            <a:custGeom>
              <a:avLst/>
              <a:gdLst>
                <a:gd name="T0" fmla="*/ 0 w 4"/>
                <a:gd name="T1" fmla="*/ 0 h 4"/>
                <a:gd name="T2" fmla="*/ 3 w 4"/>
                <a:gd name="T3" fmla="*/ 3 h 4"/>
                <a:gd name="T4" fmla="*/ 3 w 4"/>
                <a:gd name="T5" fmla="*/ 3 h 4"/>
                <a:gd name="T6" fmla="*/ 0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3" y="3"/>
                  </a:lnTo>
                  <a:lnTo>
                    <a:pt x="3" y="3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4" name="Freeform 169"/>
            <p:cNvSpPr>
              <a:spLocks noChangeArrowheads="1"/>
            </p:cNvSpPr>
            <p:nvPr/>
          </p:nvSpPr>
          <p:spPr bwMode="auto">
            <a:xfrm>
              <a:off x="3636963" y="2389188"/>
              <a:ext cx="1587" cy="1587"/>
            </a:xfrm>
            <a:custGeom>
              <a:avLst/>
              <a:gdLst>
                <a:gd name="T0" fmla="*/ 3 w 4"/>
                <a:gd name="T1" fmla="*/ 3 h 4"/>
                <a:gd name="T2" fmla="*/ 0 w 4"/>
                <a:gd name="T3" fmla="*/ 0 h 4"/>
                <a:gd name="T4" fmla="*/ 3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3" y="0"/>
                    <a:pt x="0" y="0"/>
                    <a:pt x="0" y="0"/>
                  </a:cubicBezTo>
                  <a:cubicBezTo>
                    <a:pt x="3" y="0"/>
                    <a:pt x="3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5" name="Freeform 170"/>
            <p:cNvSpPr>
              <a:spLocks noChangeArrowheads="1"/>
            </p:cNvSpPr>
            <p:nvPr/>
          </p:nvSpPr>
          <p:spPr bwMode="auto">
            <a:xfrm>
              <a:off x="3617913" y="2705100"/>
              <a:ext cx="4762" cy="1588"/>
            </a:xfrm>
            <a:custGeom>
              <a:avLst/>
              <a:gdLst>
                <a:gd name="T0" fmla="*/ 5 w 12"/>
                <a:gd name="T1" fmla="*/ 3 h 4"/>
                <a:gd name="T2" fmla="*/ 11 w 12"/>
                <a:gd name="T3" fmla="*/ 3 h 4"/>
                <a:gd name="T4" fmla="*/ 5 w 12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4">
                  <a:moveTo>
                    <a:pt x="5" y="3"/>
                  </a:moveTo>
                  <a:cubicBezTo>
                    <a:pt x="8" y="3"/>
                    <a:pt x="11" y="3"/>
                    <a:pt x="11" y="3"/>
                  </a:cubicBezTo>
                  <a:cubicBezTo>
                    <a:pt x="5" y="3"/>
                    <a:pt x="0" y="0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6" name="Freeform 171"/>
            <p:cNvSpPr>
              <a:spLocks noChangeArrowheads="1"/>
            </p:cNvSpPr>
            <p:nvPr/>
          </p:nvSpPr>
          <p:spPr bwMode="auto">
            <a:xfrm>
              <a:off x="3940175" y="2087563"/>
              <a:ext cx="1588" cy="4762"/>
            </a:xfrm>
            <a:custGeom>
              <a:avLst/>
              <a:gdLst>
                <a:gd name="T0" fmla="*/ 0 w 4"/>
                <a:gd name="T1" fmla="*/ 11 h 12"/>
                <a:gd name="T2" fmla="*/ 0 w 4"/>
                <a:gd name="T3" fmla="*/ 11 h 12"/>
                <a:gd name="T4" fmla="*/ 3 w 4"/>
                <a:gd name="T5" fmla="*/ 0 h 12"/>
                <a:gd name="T6" fmla="*/ 0 w 4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2">
                  <a:moveTo>
                    <a:pt x="0" y="11"/>
                  </a:moveTo>
                  <a:lnTo>
                    <a:pt x="0" y="11"/>
                  </a:lnTo>
                  <a:cubicBezTo>
                    <a:pt x="0" y="8"/>
                    <a:pt x="3" y="2"/>
                    <a:pt x="3" y="0"/>
                  </a:cubicBezTo>
                  <a:cubicBezTo>
                    <a:pt x="3" y="2"/>
                    <a:pt x="0" y="5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7" name="Freeform 172"/>
            <p:cNvSpPr>
              <a:spLocks noChangeArrowheads="1"/>
            </p:cNvSpPr>
            <p:nvPr/>
          </p:nvSpPr>
          <p:spPr bwMode="auto">
            <a:xfrm>
              <a:off x="3646488" y="2381250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3 w 9"/>
                <a:gd name="T3" fmla="*/ 0 h 9"/>
                <a:gd name="T4" fmla="*/ 0 w 9"/>
                <a:gd name="T5" fmla="*/ 3 h 9"/>
                <a:gd name="T6" fmla="*/ 3 w 9"/>
                <a:gd name="T7" fmla="*/ 8 h 9"/>
                <a:gd name="T8" fmla="*/ 8 w 9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cubicBezTo>
                    <a:pt x="5" y="5"/>
                    <a:pt x="5" y="3"/>
                    <a:pt x="3" y="0"/>
                  </a:cubicBezTo>
                  <a:lnTo>
                    <a:pt x="0" y="3"/>
                  </a:lnTo>
                  <a:cubicBezTo>
                    <a:pt x="0" y="5"/>
                    <a:pt x="3" y="5"/>
                    <a:pt x="3" y="8"/>
                  </a:cubicBezTo>
                  <a:cubicBezTo>
                    <a:pt x="5" y="8"/>
                    <a:pt x="5" y="8"/>
                    <a:pt x="8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8" name="Freeform 173"/>
            <p:cNvSpPr>
              <a:spLocks noChangeArrowheads="1"/>
            </p:cNvSpPr>
            <p:nvPr/>
          </p:nvSpPr>
          <p:spPr bwMode="auto">
            <a:xfrm>
              <a:off x="4405313" y="2921000"/>
              <a:ext cx="7937" cy="4763"/>
            </a:xfrm>
            <a:custGeom>
              <a:avLst/>
              <a:gdLst>
                <a:gd name="T0" fmla="*/ 2 w 20"/>
                <a:gd name="T1" fmla="*/ 3 h 15"/>
                <a:gd name="T2" fmla="*/ 8 w 20"/>
                <a:gd name="T3" fmla="*/ 14 h 15"/>
                <a:gd name="T4" fmla="*/ 19 w 20"/>
                <a:gd name="T5" fmla="*/ 6 h 15"/>
                <a:gd name="T6" fmla="*/ 2 w 20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5">
                  <a:moveTo>
                    <a:pt x="2" y="3"/>
                  </a:moveTo>
                  <a:cubicBezTo>
                    <a:pt x="0" y="12"/>
                    <a:pt x="8" y="9"/>
                    <a:pt x="8" y="14"/>
                  </a:cubicBezTo>
                  <a:cubicBezTo>
                    <a:pt x="14" y="14"/>
                    <a:pt x="16" y="12"/>
                    <a:pt x="19" y="6"/>
                  </a:cubicBezTo>
                  <a:cubicBezTo>
                    <a:pt x="14" y="3"/>
                    <a:pt x="8" y="0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9" name="Freeform 174"/>
            <p:cNvSpPr>
              <a:spLocks noChangeArrowheads="1"/>
            </p:cNvSpPr>
            <p:nvPr/>
          </p:nvSpPr>
          <p:spPr bwMode="auto">
            <a:xfrm>
              <a:off x="4403725" y="2874963"/>
              <a:ext cx="6350" cy="7937"/>
            </a:xfrm>
            <a:custGeom>
              <a:avLst/>
              <a:gdLst>
                <a:gd name="T0" fmla="*/ 3 w 18"/>
                <a:gd name="T1" fmla="*/ 20 h 21"/>
                <a:gd name="T2" fmla="*/ 11 w 18"/>
                <a:gd name="T3" fmla="*/ 6 h 21"/>
                <a:gd name="T4" fmla="*/ 17 w 18"/>
                <a:gd name="T5" fmla="*/ 6 h 21"/>
                <a:gd name="T6" fmla="*/ 3 w 18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3" y="20"/>
                  </a:moveTo>
                  <a:cubicBezTo>
                    <a:pt x="5" y="14"/>
                    <a:pt x="8" y="12"/>
                    <a:pt x="11" y="6"/>
                  </a:cubicBezTo>
                  <a:lnTo>
                    <a:pt x="17" y="6"/>
                  </a:lnTo>
                  <a:cubicBezTo>
                    <a:pt x="8" y="0"/>
                    <a:pt x="0" y="9"/>
                    <a:pt x="3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0" name="Freeform 175"/>
            <p:cNvSpPr>
              <a:spLocks noChangeArrowheads="1"/>
            </p:cNvSpPr>
            <p:nvPr/>
          </p:nvSpPr>
          <p:spPr bwMode="auto">
            <a:xfrm>
              <a:off x="4411663" y="2697163"/>
              <a:ext cx="3175" cy="4762"/>
            </a:xfrm>
            <a:custGeom>
              <a:avLst/>
              <a:gdLst>
                <a:gd name="T0" fmla="*/ 9 w 10"/>
                <a:gd name="T1" fmla="*/ 11 h 15"/>
                <a:gd name="T2" fmla="*/ 9 w 10"/>
                <a:gd name="T3" fmla="*/ 3 h 15"/>
                <a:gd name="T4" fmla="*/ 3 w 10"/>
                <a:gd name="T5" fmla="*/ 0 h 15"/>
                <a:gd name="T6" fmla="*/ 9 w 10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5">
                  <a:moveTo>
                    <a:pt x="9" y="11"/>
                  </a:moveTo>
                  <a:lnTo>
                    <a:pt x="9" y="3"/>
                  </a:lnTo>
                  <a:cubicBezTo>
                    <a:pt x="9" y="3"/>
                    <a:pt x="6" y="0"/>
                    <a:pt x="3" y="0"/>
                  </a:cubicBezTo>
                  <a:cubicBezTo>
                    <a:pt x="0" y="3"/>
                    <a:pt x="3" y="14"/>
                    <a:pt x="9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1" name="Freeform 176"/>
            <p:cNvSpPr>
              <a:spLocks noChangeArrowheads="1"/>
            </p:cNvSpPr>
            <p:nvPr/>
          </p:nvSpPr>
          <p:spPr bwMode="auto">
            <a:xfrm>
              <a:off x="4405313" y="2717800"/>
              <a:ext cx="4762" cy="3175"/>
            </a:xfrm>
            <a:custGeom>
              <a:avLst/>
              <a:gdLst>
                <a:gd name="T0" fmla="*/ 0 w 15"/>
                <a:gd name="T1" fmla="*/ 3 h 10"/>
                <a:gd name="T2" fmla="*/ 12 w 15"/>
                <a:gd name="T3" fmla="*/ 9 h 10"/>
                <a:gd name="T4" fmla="*/ 14 w 15"/>
                <a:gd name="T5" fmla="*/ 3 h 10"/>
                <a:gd name="T6" fmla="*/ 0 w 15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0" y="3"/>
                  </a:moveTo>
                  <a:cubicBezTo>
                    <a:pt x="3" y="6"/>
                    <a:pt x="6" y="9"/>
                    <a:pt x="12" y="9"/>
                  </a:cubicBezTo>
                  <a:cubicBezTo>
                    <a:pt x="14" y="9"/>
                    <a:pt x="14" y="6"/>
                    <a:pt x="14" y="3"/>
                  </a:cubicBezTo>
                  <a:cubicBezTo>
                    <a:pt x="9" y="0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2" name="Freeform 177"/>
            <p:cNvSpPr>
              <a:spLocks noChangeArrowheads="1"/>
            </p:cNvSpPr>
            <p:nvPr/>
          </p:nvSpPr>
          <p:spPr bwMode="auto">
            <a:xfrm>
              <a:off x="4408488" y="2735263"/>
              <a:ext cx="3175" cy="6350"/>
            </a:xfrm>
            <a:custGeom>
              <a:avLst/>
              <a:gdLst>
                <a:gd name="T0" fmla="*/ 5 w 9"/>
                <a:gd name="T1" fmla="*/ 3 h 18"/>
                <a:gd name="T2" fmla="*/ 0 w 9"/>
                <a:gd name="T3" fmla="*/ 3 h 18"/>
                <a:gd name="T4" fmla="*/ 0 w 9"/>
                <a:gd name="T5" fmla="*/ 6 h 18"/>
                <a:gd name="T6" fmla="*/ 0 w 9"/>
                <a:gd name="T7" fmla="*/ 14 h 18"/>
                <a:gd name="T8" fmla="*/ 8 w 9"/>
                <a:gd name="T9" fmla="*/ 17 h 18"/>
                <a:gd name="T10" fmla="*/ 5 w 9"/>
                <a:gd name="T11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8">
                  <a:moveTo>
                    <a:pt x="5" y="3"/>
                  </a:moveTo>
                  <a:cubicBezTo>
                    <a:pt x="3" y="3"/>
                    <a:pt x="3" y="0"/>
                    <a:pt x="0" y="3"/>
                  </a:cubicBezTo>
                  <a:lnTo>
                    <a:pt x="0" y="6"/>
                  </a:lnTo>
                  <a:cubicBezTo>
                    <a:pt x="0" y="9"/>
                    <a:pt x="0" y="11"/>
                    <a:pt x="0" y="14"/>
                  </a:cubicBezTo>
                  <a:cubicBezTo>
                    <a:pt x="3" y="17"/>
                    <a:pt x="5" y="17"/>
                    <a:pt x="8" y="17"/>
                  </a:cubicBezTo>
                  <a:cubicBezTo>
                    <a:pt x="5" y="11"/>
                    <a:pt x="5" y="6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3" name="Freeform 178"/>
            <p:cNvSpPr>
              <a:spLocks noChangeArrowheads="1"/>
            </p:cNvSpPr>
            <p:nvPr/>
          </p:nvSpPr>
          <p:spPr bwMode="auto">
            <a:xfrm>
              <a:off x="4413250" y="2425700"/>
              <a:ext cx="3175" cy="3175"/>
            </a:xfrm>
            <a:custGeom>
              <a:avLst/>
              <a:gdLst>
                <a:gd name="T0" fmla="*/ 3 w 10"/>
                <a:gd name="T1" fmla="*/ 0 h 9"/>
                <a:gd name="T2" fmla="*/ 0 w 10"/>
                <a:gd name="T3" fmla="*/ 2 h 9"/>
                <a:gd name="T4" fmla="*/ 6 w 10"/>
                <a:gd name="T5" fmla="*/ 8 h 9"/>
                <a:gd name="T6" fmla="*/ 3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3" y="0"/>
                  </a:moveTo>
                  <a:cubicBezTo>
                    <a:pt x="0" y="0"/>
                    <a:pt x="0" y="2"/>
                    <a:pt x="0" y="2"/>
                  </a:cubicBezTo>
                  <a:cubicBezTo>
                    <a:pt x="0" y="5"/>
                    <a:pt x="3" y="8"/>
                    <a:pt x="6" y="8"/>
                  </a:cubicBezTo>
                  <a:cubicBezTo>
                    <a:pt x="9" y="5"/>
                    <a:pt x="9" y="2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4" name="Freeform 179"/>
            <p:cNvSpPr>
              <a:spLocks noChangeArrowheads="1"/>
            </p:cNvSpPr>
            <p:nvPr/>
          </p:nvSpPr>
          <p:spPr bwMode="auto">
            <a:xfrm>
              <a:off x="4416425" y="2343150"/>
              <a:ext cx="1588" cy="1588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3 h 4"/>
                <a:gd name="T4" fmla="*/ 2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0" y="0"/>
                    <a:pt x="0" y="0"/>
                    <a:pt x="0" y="3"/>
                  </a:cubicBezTo>
                  <a:lnTo>
                    <a:pt x="2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5" name="Freeform 180"/>
            <p:cNvSpPr>
              <a:spLocks noChangeArrowheads="1"/>
            </p:cNvSpPr>
            <p:nvPr/>
          </p:nvSpPr>
          <p:spPr bwMode="auto">
            <a:xfrm>
              <a:off x="4397375" y="2462213"/>
              <a:ext cx="1588" cy="3175"/>
            </a:xfrm>
            <a:custGeom>
              <a:avLst/>
              <a:gdLst>
                <a:gd name="T0" fmla="*/ 5 w 6"/>
                <a:gd name="T1" fmla="*/ 3 h 7"/>
                <a:gd name="T2" fmla="*/ 3 w 6"/>
                <a:gd name="T3" fmla="*/ 0 h 7"/>
                <a:gd name="T4" fmla="*/ 0 w 6"/>
                <a:gd name="T5" fmla="*/ 0 h 7"/>
                <a:gd name="T6" fmla="*/ 3 w 6"/>
                <a:gd name="T7" fmla="*/ 6 h 7"/>
                <a:gd name="T8" fmla="*/ 5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3"/>
                  </a:moveTo>
                  <a:lnTo>
                    <a:pt x="3" y="0"/>
                  </a:lnTo>
                  <a:lnTo>
                    <a:pt x="0" y="0"/>
                  </a:lnTo>
                  <a:cubicBezTo>
                    <a:pt x="0" y="3"/>
                    <a:pt x="0" y="6"/>
                    <a:pt x="3" y="6"/>
                  </a:cubicBezTo>
                  <a:cubicBezTo>
                    <a:pt x="3" y="6"/>
                    <a:pt x="3" y="6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6" name="Freeform 181"/>
            <p:cNvSpPr>
              <a:spLocks noChangeArrowheads="1"/>
            </p:cNvSpPr>
            <p:nvPr/>
          </p:nvSpPr>
          <p:spPr bwMode="auto">
            <a:xfrm>
              <a:off x="4403725" y="2965450"/>
              <a:ext cx="6350" cy="4763"/>
            </a:xfrm>
            <a:custGeom>
              <a:avLst/>
              <a:gdLst>
                <a:gd name="T0" fmla="*/ 5 w 18"/>
                <a:gd name="T1" fmla="*/ 0 h 13"/>
                <a:gd name="T2" fmla="*/ 0 w 18"/>
                <a:gd name="T3" fmla="*/ 6 h 13"/>
                <a:gd name="T4" fmla="*/ 17 w 18"/>
                <a:gd name="T5" fmla="*/ 12 h 13"/>
                <a:gd name="T6" fmla="*/ 5 w 18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3">
                  <a:moveTo>
                    <a:pt x="5" y="0"/>
                  </a:moveTo>
                  <a:cubicBezTo>
                    <a:pt x="3" y="3"/>
                    <a:pt x="3" y="3"/>
                    <a:pt x="0" y="6"/>
                  </a:cubicBezTo>
                  <a:cubicBezTo>
                    <a:pt x="3" y="12"/>
                    <a:pt x="8" y="12"/>
                    <a:pt x="17" y="12"/>
                  </a:cubicBezTo>
                  <a:cubicBezTo>
                    <a:pt x="14" y="6"/>
                    <a:pt x="11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7" name="Freeform 182"/>
            <p:cNvSpPr>
              <a:spLocks noChangeArrowheads="1"/>
            </p:cNvSpPr>
            <p:nvPr/>
          </p:nvSpPr>
          <p:spPr bwMode="auto">
            <a:xfrm>
              <a:off x="4368800" y="2495550"/>
              <a:ext cx="3175" cy="6350"/>
            </a:xfrm>
            <a:custGeom>
              <a:avLst/>
              <a:gdLst>
                <a:gd name="T0" fmla="*/ 0 w 9"/>
                <a:gd name="T1" fmla="*/ 0 h 18"/>
                <a:gd name="T2" fmla="*/ 3 w 9"/>
                <a:gd name="T3" fmla="*/ 17 h 18"/>
                <a:gd name="T4" fmla="*/ 5 w 9"/>
                <a:gd name="T5" fmla="*/ 17 h 18"/>
                <a:gd name="T6" fmla="*/ 8 w 9"/>
                <a:gd name="T7" fmla="*/ 3 h 18"/>
                <a:gd name="T8" fmla="*/ 0 w 9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8">
                  <a:moveTo>
                    <a:pt x="0" y="0"/>
                  </a:moveTo>
                  <a:cubicBezTo>
                    <a:pt x="0" y="6"/>
                    <a:pt x="0" y="12"/>
                    <a:pt x="3" y="17"/>
                  </a:cubicBezTo>
                  <a:lnTo>
                    <a:pt x="5" y="17"/>
                  </a:lnTo>
                  <a:cubicBezTo>
                    <a:pt x="8" y="12"/>
                    <a:pt x="8" y="9"/>
                    <a:pt x="8" y="3"/>
                  </a:cubicBezTo>
                  <a:cubicBezTo>
                    <a:pt x="5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8" name="Freeform 183"/>
            <p:cNvSpPr>
              <a:spLocks noChangeArrowheads="1"/>
            </p:cNvSpPr>
            <p:nvPr/>
          </p:nvSpPr>
          <p:spPr bwMode="auto">
            <a:xfrm>
              <a:off x="4376738" y="2995613"/>
              <a:ext cx="3175" cy="1587"/>
            </a:xfrm>
            <a:custGeom>
              <a:avLst/>
              <a:gdLst>
                <a:gd name="T0" fmla="*/ 3 w 7"/>
                <a:gd name="T1" fmla="*/ 3 h 4"/>
                <a:gd name="T2" fmla="*/ 6 w 7"/>
                <a:gd name="T3" fmla="*/ 3 h 4"/>
                <a:gd name="T4" fmla="*/ 3 w 7"/>
                <a:gd name="T5" fmla="*/ 0 h 4"/>
                <a:gd name="T6" fmla="*/ 0 w 7"/>
                <a:gd name="T7" fmla="*/ 0 h 4"/>
                <a:gd name="T8" fmla="*/ 3 w 7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9" name="Freeform 184"/>
            <p:cNvSpPr>
              <a:spLocks noChangeArrowheads="1"/>
            </p:cNvSpPr>
            <p:nvPr/>
          </p:nvSpPr>
          <p:spPr bwMode="auto">
            <a:xfrm>
              <a:off x="4365625" y="3005138"/>
              <a:ext cx="9525" cy="11112"/>
            </a:xfrm>
            <a:custGeom>
              <a:avLst/>
              <a:gdLst>
                <a:gd name="T0" fmla="*/ 17 w 27"/>
                <a:gd name="T1" fmla="*/ 2 h 32"/>
                <a:gd name="T2" fmla="*/ 9 w 27"/>
                <a:gd name="T3" fmla="*/ 11 h 32"/>
                <a:gd name="T4" fmla="*/ 14 w 27"/>
                <a:gd name="T5" fmla="*/ 2 h 32"/>
                <a:gd name="T6" fmla="*/ 14 w 27"/>
                <a:gd name="T7" fmla="*/ 2 h 32"/>
                <a:gd name="T8" fmla="*/ 0 w 27"/>
                <a:gd name="T9" fmla="*/ 19 h 32"/>
                <a:gd name="T10" fmla="*/ 9 w 27"/>
                <a:gd name="T11" fmla="*/ 31 h 32"/>
                <a:gd name="T12" fmla="*/ 17 w 27"/>
                <a:gd name="T13" fmla="*/ 14 h 32"/>
                <a:gd name="T14" fmla="*/ 23 w 27"/>
                <a:gd name="T15" fmla="*/ 0 h 32"/>
                <a:gd name="T16" fmla="*/ 17 w 27"/>
                <a:gd name="T17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32">
                  <a:moveTo>
                    <a:pt x="17" y="2"/>
                  </a:moveTo>
                  <a:cubicBezTo>
                    <a:pt x="14" y="5"/>
                    <a:pt x="12" y="8"/>
                    <a:pt x="9" y="11"/>
                  </a:cubicBezTo>
                  <a:cubicBezTo>
                    <a:pt x="14" y="5"/>
                    <a:pt x="14" y="2"/>
                    <a:pt x="14" y="2"/>
                  </a:cubicBezTo>
                  <a:lnTo>
                    <a:pt x="14" y="2"/>
                  </a:lnTo>
                  <a:cubicBezTo>
                    <a:pt x="9" y="8"/>
                    <a:pt x="0" y="8"/>
                    <a:pt x="0" y="19"/>
                  </a:cubicBezTo>
                  <a:cubicBezTo>
                    <a:pt x="0" y="25"/>
                    <a:pt x="3" y="31"/>
                    <a:pt x="9" y="31"/>
                  </a:cubicBezTo>
                  <a:cubicBezTo>
                    <a:pt x="17" y="31"/>
                    <a:pt x="14" y="19"/>
                    <a:pt x="17" y="14"/>
                  </a:cubicBezTo>
                  <a:cubicBezTo>
                    <a:pt x="17" y="5"/>
                    <a:pt x="26" y="5"/>
                    <a:pt x="23" y="0"/>
                  </a:cubicBezTo>
                  <a:cubicBezTo>
                    <a:pt x="20" y="0"/>
                    <a:pt x="20" y="2"/>
                    <a:pt x="17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0" name="Freeform 185"/>
            <p:cNvSpPr>
              <a:spLocks noChangeArrowheads="1"/>
            </p:cNvSpPr>
            <p:nvPr/>
          </p:nvSpPr>
          <p:spPr bwMode="auto">
            <a:xfrm>
              <a:off x="4370388" y="2652713"/>
              <a:ext cx="3175" cy="3175"/>
            </a:xfrm>
            <a:custGeom>
              <a:avLst/>
              <a:gdLst>
                <a:gd name="T0" fmla="*/ 0 w 10"/>
                <a:gd name="T1" fmla="*/ 0 h 9"/>
                <a:gd name="T2" fmla="*/ 0 w 10"/>
                <a:gd name="T3" fmla="*/ 8 h 9"/>
                <a:gd name="T4" fmla="*/ 9 w 10"/>
                <a:gd name="T5" fmla="*/ 0 h 9"/>
                <a:gd name="T6" fmla="*/ 0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lnTo>
                    <a:pt x="0" y="8"/>
                  </a:lnTo>
                  <a:cubicBezTo>
                    <a:pt x="6" y="8"/>
                    <a:pt x="9" y="5"/>
                    <a:pt x="9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1" name="Freeform 186"/>
            <p:cNvSpPr>
              <a:spLocks noChangeArrowheads="1"/>
            </p:cNvSpPr>
            <p:nvPr/>
          </p:nvSpPr>
          <p:spPr bwMode="auto">
            <a:xfrm>
              <a:off x="4413250" y="2828925"/>
              <a:ext cx="3175" cy="1588"/>
            </a:xfrm>
            <a:custGeom>
              <a:avLst/>
              <a:gdLst>
                <a:gd name="T0" fmla="*/ 0 w 10"/>
                <a:gd name="T1" fmla="*/ 5 h 6"/>
                <a:gd name="T2" fmla="*/ 9 w 10"/>
                <a:gd name="T3" fmla="*/ 2 h 6"/>
                <a:gd name="T4" fmla="*/ 3 w 10"/>
                <a:gd name="T5" fmla="*/ 0 h 6"/>
                <a:gd name="T6" fmla="*/ 0 w 10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6">
                  <a:moveTo>
                    <a:pt x="0" y="5"/>
                  </a:moveTo>
                  <a:cubicBezTo>
                    <a:pt x="3" y="5"/>
                    <a:pt x="9" y="5"/>
                    <a:pt x="9" y="2"/>
                  </a:cubicBezTo>
                  <a:cubicBezTo>
                    <a:pt x="6" y="0"/>
                    <a:pt x="6" y="0"/>
                    <a:pt x="3" y="0"/>
                  </a:cubicBezTo>
                  <a:cubicBezTo>
                    <a:pt x="3" y="2"/>
                    <a:pt x="0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2" name="Freeform 187"/>
            <p:cNvSpPr>
              <a:spLocks noChangeArrowheads="1"/>
            </p:cNvSpPr>
            <p:nvPr/>
          </p:nvSpPr>
          <p:spPr bwMode="auto">
            <a:xfrm>
              <a:off x="4395788" y="2878138"/>
              <a:ext cx="7937" cy="7937"/>
            </a:xfrm>
            <a:custGeom>
              <a:avLst/>
              <a:gdLst>
                <a:gd name="T0" fmla="*/ 0 w 21"/>
                <a:gd name="T1" fmla="*/ 17 h 21"/>
                <a:gd name="T2" fmla="*/ 20 w 21"/>
                <a:gd name="T3" fmla="*/ 11 h 21"/>
                <a:gd name="T4" fmla="*/ 6 w 21"/>
                <a:gd name="T5" fmla="*/ 0 h 21"/>
                <a:gd name="T6" fmla="*/ 0 w 21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1">
                  <a:moveTo>
                    <a:pt x="0" y="17"/>
                  </a:moveTo>
                  <a:cubicBezTo>
                    <a:pt x="9" y="20"/>
                    <a:pt x="17" y="20"/>
                    <a:pt x="20" y="11"/>
                  </a:cubicBezTo>
                  <a:cubicBezTo>
                    <a:pt x="14" y="8"/>
                    <a:pt x="11" y="3"/>
                    <a:pt x="6" y="0"/>
                  </a:cubicBezTo>
                  <a:cubicBezTo>
                    <a:pt x="3" y="3"/>
                    <a:pt x="3" y="11"/>
                    <a:pt x="0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3" name="Freeform 188"/>
            <p:cNvSpPr>
              <a:spLocks noChangeArrowheads="1"/>
            </p:cNvSpPr>
            <p:nvPr/>
          </p:nvSpPr>
          <p:spPr bwMode="auto">
            <a:xfrm>
              <a:off x="4511675" y="2709863"/>
              <a:ext cx="4763" cy="6350"/>
            </a:xfrm>
            <a:custGeom>
              <a:avLst/>
              <a:gdLst>
                <a:gd name="T0" fmla="*/ 0 w 15"/>
                <a:gd name="T1" fmla="*/ 9 h 16"/>
                <a:gd name="T2" fmla="*/ 2 w 15"/>
                <a:gd name="T3" fmla="*/ 15 h 16"/>
                <a:gd name="T4" fmla="*/ 14 w 15"/>
                <a:gd name="T5" fmla="*/ 6 h 16"/>
                <a:gd name="T6" fmla="*/ 0 w 15"/>
                <a:gd name="T7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9"/>
                  </a:moveTo>
                  <a:cubicBezTo>
                    <a:pt x="2" y="9"/>
                    <a:pt x="2" y="12"/>
                    <a:pt x="2" y="15"/>
                  </a:cubicBezTo>
                  <a:cubicBezTo>
                    <a:pt x="8" y="15"/>
                    <a:pt x="14" y="15"/>
                    <a:pt x="14" y="6"/>
                  </a:cubicBezTo>
                  <a:cubicBezTo>
                    <a:pt x="8" y="3"/>
                    <a:pt x="0" y="0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4" name="Freeform 189"/>
            <p:cNvSpPr>
              <a:spLocks noChangeArrowheads="1"/>
            </p:cNvSpPr>
            <p:nvPr/>
          </p:nvSpPr>
          <p:spPr bwMode="auto">
            <a:xfrm>
              <a:off x="4521200" y="2713038"/>
              <a:ext cx="3175" cy="4762"/>
            </a:xfrm>
            <a:custGeom>
              <a:avLst/>
              <a:gdLst>
                <a:gd name="T0" fmla="*/ 3 w 7"/>
                <a:gd name="T1" fmla="*/ 11 h 15"/>
                <a:gd name="T2" fmla="*/ 3 w 7"/>
                <a:gd name="T3" fmla="*/ 3 h 15"/>
                <a:gd name="T4" fmla="*/ 3 w 7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3" y="11"/>
                  </a:moveTo>
                  <a:cubicBezTo>
                    <a:pt x="6" y="11"/>
                    <a:pt x="6" y="3"/>
                    <a:pt x="3" y="3"/>
                  </a:cubicBezTo>
                  <a:cubicBezTo>
                    <a:pt x="0" y="0"/>
                    <a:pt x="0" y="14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5" name="Freeform 190"/>
            <p:cNvSpPr>
              <a:spLocks noChangeArrowheads="1"/>
            </p:cNvSpPr>
            <p:nvPr/>
          </p:nvSpPr>
          <p:spPr bwMode="auto">
            <a:xfrm>
              <a:off x="4370388" y="3003550"/>
              <a:ext cx="3175" cy="1588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3 h 6"/>
                <a:gd name="T4" fmla="*/ 0 w 7"/>
                <a:gd name="T5" fmla="*/ 5 h 6"/>
                <a:gd name="T6" fmla="*/ 6 w 7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cubicBezTo>
                    <a:pt x="3" y="0"/>
                    <a:pt x="3" y="0"/>
                    <a:pt x="0" y="3"/>
                  </a:cubicBezTo>
                  <a:lnTo>
                    <a:pt x="0" y="5"/>
                  </a:lnTo>
                  <a:cubicBezTo>
                    <a:pt x="6" y="5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6" name="Freeform 191"/>
            <p:cNvSpPr>
              <a:spLocks noChangeArrowheads="1"/>
            </p:cNvSpPr>
            <p:nvPr/>
          </p:nvSpPr>
          <p:spPr bwMode="auto">
            <a:xfrm>
              <a:off x="4511675" y="2695575"/>
              <a:ext cx="3175" cy="3175"/>
            </a:xfrm>
            <a:custGeom>
              <a:avLst/>
              <a:gdLst>
                <a:gd name="T0" fmla="*/ 0 w 9"/>
                <a:gd name="T1" fmla="*/ 0 h 7"/>
                <a:gd name="T2" fmla="*/ 0 w 9"/>
                <a:gd name="T3" fmla="*/ 6 h 7"/>
                <a:gd name="T4" fmla="*/ 8 w 9"/>
                <a:gd name="T5" fmla="*/ 6 h 7"/>
                <a:gd name="T6" fmla="*/ 5 w 9"/>
                <a:gd name="T7" fmla="*/ 0 h 7"/>
                <a:gd name="T8" fmla="*/ 0 w 9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0" y="0"/>
                  </a:moveTo>
                  <a:lnTo>
                    <a:pt x="0" y="6"/>
                  </a:lnTo>
                  <a:lnTo>
                    <a:pt x="8" y="6"/>
                  </a:lnTo>
                  <a:cubicBezTo>
                    <a:pt x="8" y="3"/>
                    <a:pt x="5" y="3"/>
                    <a:pt x="5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7" name="Freeform 192"/>
            <p:cNvSpPr>
              <a:spLocks noChangeArrowheads="1"/>
            </p:cNvSpPr>
            <p:nvPr/>
          </p:nvSpPr>
          <p:spPr bwMode="auto">
            <a:xfrm>
              <a:off x="4518025" y="2425700"/>
              <a:ext cx="3175" cy="3175"/>
            </a:xfrm>
            <a:custGeom>
              <a:avLst/>
              <a:gdLst>
                <a:gd name="T0" fmla="*/ 5 w 9"/>
                <a:gd name="T1" fmla="*/ 8 h 9"/>
                <a:gd name="T2" fmla="*/ 8 w 9"/>
                <a:gd name="T3" fmla="*/ 8 h 9"/>
                <a:gd name="T4" fmla="*/ 5 w 9"/>
                <a:gd name="T5" fmla="*/ 0 h 9"/>
                <a:gd name="T6" fmla="*/ 0 w 9"/>
                <a:gd name="T7" fmla="*/ 0 h 9"/>
                <a:gd name="T8" fmla="*/ 5 w 9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5" y="8"/>
                  </a:moveTo>
                  <a:lnTo>
                    <a:pt x="8" y="8"/>
                  </a:lnTo>
                  <a:cubicBezTo>
                    <a:pt x="8" y="5"/>
                    <a:pt x="8" y="2"/>
                    <a:pt x="5" y="0"/>
                  </a:cubicBezTo>
                  <a:cubicBezTo>
                    <a:pt x="2" y="0"/>
                    <a:pt x="2" y="0"/>
                    <a:pt x="0" y="0"/>
                  </a:cubicBezTo>
                  <a:cubicBezTo>
                    <a:pt x="0" y="2"/>
                    <a:pt x="0" y="5"/>
                    <a:pt x="5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8" name="Freeform 193"/>
            <p:cNvSpPr>
              <a:spLocks noChangeArrowheads="1"/>
            </p:cNvSpPr>
            <p:nvPr/>
          </p:nvSpPr>
          <p:spPr bwMode="auto">
            <a:xfrm>
              <a:off x="4519613" y="2289175"/>
              <a:ext cx="3175" cy="1588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3 w 7"/>
                <a:gd name="T5" fmla="*/ 3 h 4"/>
                <a:gd name="T6" fmla="*/ 6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0" y="0"/>
                    <a:pt x="0" y="0"/>
                  </a:cubicBezTo>
                  <a:lnTo>
                    <a:pt x="3" y="3"/>
                  </a:lnTo>
                  <a:cubicBezTo>
                    <a:pt x="3" y="3"/>
                    <a:pt x="3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9" name="Freeform 194"/>
            <p:cNvSpPr>
              <a:spLocks noChangeArrowheads="1"/>
            </p:cNvSpPr>
            <p:nvPr/>
          </p:nvSpPr>
          <p:spPr bwMode="auto">
            <a:xfrm>
              <a:off x="4529138" y="2309813"/>
              <a:ext cx="1587" cy="3175"/>
            </a:xfrm>
            <a:custGeom>
              <a:avLst/>
              <a:gdLst>
                <a:gd name="T0" fmla="*/ 0 w 6"/>
                <a:gd name="T1" fmla="*/ 9 h 10"/>
                <a:gd name="T2" fmla="*/ 5 w 6"/>
                <a:gd name="T3" fmla="*/ 0 h 10"/>
                <a:gd name="T4" fmla="*/ 0 w 6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0">
                  <a:moveTo>
                    <a:pt x="0" y="9"/>
                  </a:moveTo>
                  <a:cubicBezTo>
                    <a:pt x="2" y="6"/>
                    <a:pt x="5" y="3"/>
                    <a:pt x="5" y="0"/>
                  </a:cubicBezTo>
                  <a:cubicBezTo>
                    <a:pt x="2" y="0"/>
                    <a:pt x="0" y="3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0" name="Freeform 195"/>
            <p:cNvSpPr>
              <a:spLocks noChangeArrowheads="1"/>
            </p:cNvSpPr>
            <p:nvPr/>
          </p:nvSpPr>
          <p:spPr bwMode="auto">
            <a:xfrm>
              <a:off x="4522788" y="2535238"/>
              <a:ext cx="19050" cy="17462"/>
            </a:xfrm>
            <a:custGeom>
              <a:avLst/>
              <a:gdLst>
                <a:gd name="T0" fmla="*/ 22 w 51"/>
                <a:gd name="T1" fmla="*/ 26 h 49"/>
                <a:gd name="T2" fmla="*/ 22 w 51"/>
                <a:gd name="T3" fmla="*/ 34 h 49"/>
                <a:gd name="T4" fmla="*/ 34 w 51"/>
                <a:gd name="T5" fmla="*/ 23 h 49"/>
                <a:gd name="T6" fmla="*/ 28 w 51"/>
                <a:gd name="T7" fmla="*/ 46 h 49"/>
                <a:gd name="T8" fmla="*/ 28 w 51"/>
                <a:gd name="T9" fmla="*/ 46 h 49"/>
                <a:gd name="T10" fmla="*/ 50 w 51"/>
                <a:gd name="T11" fmla="*/ 37 h 49"/>
                <a:gd name="T12" fmla="*/ 50 w 51"/>
                <a:gd name="T13" fmla="*/ 34 h 49"/>
                <a:gd name="T14" fmla="*/ 39 w 51"/>
                <a:gd name="T15" fmla="*/ 20 h 49"/>
                <a:gd name="T16" fmla="*/ 42 w 51"/>
                <a:gd name="T17" fmla="*/ 15 h 49"/>
                <a:gd name="T18" fmla="*/ 42 w 51"/>
                <a:gd name="T19" fmla="*/ 12 h 49"/>
                <a:gd name="T20" fmla="*/ 45 w 51"/>
                <a:gd name="T21" fmla="*/ 12 h 49"/>
                <a:gd name="T22" fmla="*/ 48 w 51"/>
                <a:gd name="T23" fmla="*/ 0 h 49"/>
                <a:gd name="T24" fmla="*/ 36 w 51"/>
                <a:gd name="T25" fmla="*/ 6 h 49"/>
                <a:gd name="T26" fmla="*/ 19 w 51"/>
                <a:gd name="T27" fmla="*/ 9 h 49"/>
                <a:gd name="T28" fmla="*/ 14 w 51"/>
                <a:gd name="T29" fmla="*/ 20 h 49"/>
                <a:gd name="T30" fmla="*/ 11 w 51"/>
                <a:gd name="T31" fmla="*/ 26 h 49"/>
                <a:gd name="T32" fmla="*/ 0 w 51"/>
                <a:gd name="T33" fmla="*/ 34 h 49"/>
                <a:gd name="T34" fmla="*/ 0 w 51"/>
                <a:gd name="T35" fmla="*/ 37 h 49"/>
                <a:gd name="T36" fmla="*/ 8 w 51"/>
                <a:gd name="T37" fmla="*/ 43 h 49"/>
                <a:gd name="T38" fmla="*/ 22 w 51"/>
                <a:gd name="T39" fmla="*/ 2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" h="49">
                  <a:moveTo>
                    <a:pt x="22" y="26"/>
                  </a:moveTo>
                  <a:cubicBezTo>
                    <a:pt x="22" y="29"/>
                    <a:pt x="22" y="32"/>
                    <a:pt x="22" y="34"/>
                  </a:cubicBezTo>
                  <a:cubicBezTo>
                    <a:pt x="25" y="32"/>
                    <a:pt x="22" y="20"/>
                    <a:pt x="34" y="23"/>
                  </a:cubicBezTo>
                  <a:cubicBezTo>
                    <a:pt x="28" y="29"/>
                    <a:pt x="31" y="40"/>
                    <a:pt x="28" y="46"/>
                  </a:cubicBezTo>
                  <a:lnTo>
                    <a:pt x="28" y="46"/>
                  </a:lnTo>
                  <a:cubicBezTo>
                    <a:pt x="36" y="48"/>
                    <a:pt x="45" y="46"/>
                    <a:pt x="50" y="37"/>
                  </a:cubicBezTo>
                  <a:cubicBezTo>
                    <a:pt x="50" y="37"/>
                    <a:pt x="50" y="37"/>
                    <a:pt x="50" y="34"/>
                  </a:cubicBezTo>
                  <a:cubicBezTo>
                    <a:pt x="45" y="29"/>
                    <a:pt x="42" y="26"/>
                    <a:pt x="39" y="20"/>
                  </a:cubicBezTo>
                  <a:cubicBezTo>
                    <a:pt x="39" y="17"/>
                    <a:pt x="39" y="15"/>
                    <a:pt x="42" y="15"/>
                  </a:cubicBezTo>
                  <a:cubicBezTo>
                    <a:pt x="42" y="15"/>
                    <a:pt x="42" y="15"/>
                    <a:pt x="42" y="12"/>
                  </a:cubicBezTo>
                  <a:lnTo>
                    <a:pt x="45" y="12"/>
                  </a:lnTo>
                  <a:cubicBezTo>
                    <a:pt x="48" y="9"/>
                    <a:pt x="48" y="3"/>
                    <a:pt x="48" y="0"/>
                  </a:cubicBezTo>
                  <a:cubicBezTo>
                    <a:pt x="45" y="3"/>
                    <a:pt x="42" y="6"/>
                    <a:pt x="36" y="6"/>
                  </a:cubicBezTo>
                  <a:cubicBezTo>
                    <a:pt x="28" y="3"/>
                    <a:pt x="25" y="9"/>
                    <a:pt x="19" y="9"/>
                  </a:cubicBezTo>
                  <a:cubicBezTo>
                    <a:pt x="17" y="12"/>
                    <a:pt x="19" y="20"/>
                    <a:pt x="14" y="20"/>
                  </a:cubicBezTo>
                  <a:cubicBezTo>
                    <a:pt x="14" y="15"/>
                    <a:pt x="11" y="20"/>
                    <a:pt x="11" y="26"/>
                  </a:cubicBezTo>
                  <a:cubicBezTo>
                    <a:pt x="5" y="26"/>
                    <a:pt x="0" y="29"/>
                    <a:pt x="0" y="34"/>
                  </a:cubicBezTo>
                  <a:lnTo>
                    <a:pt x="0" y="37"/>
                  </a:lnTo>
                  <a:cubicBezTo>
                    <a:pt x="3" y="40"/>
                    <a:pt x="5" y="40"/>
                    <a:pt x="8" y="43"/>
                  </a:cubicBezTo>
                  <a:cubicBezTo>
                    <a:pt x="11" y="34"/>
                    <a:pt x="11" y="26"/>
                    <a:pt x="22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1" name="Freeform 196"/>
            <p:cNvSpPr>
              <a:spLocks noChangeArrowheads="1"/>
            </p:cNvSpPr>
            <p:nvPr/>
          </p:nvSpPr>
          <p:spPr bwMode="auto">
            <a:xfrm>
              <a:off x="4427538" y="2717800"/>
              <a:ext cx="3175" cy="3175"/>
            </a:xfrm>
            <a:custGeom>
              <a:avLst/>
              <a:gdLst>
                <a:gd name="T0" fmla="*/ 9 w 10"/>
                <a:gd name="T1" fmla="*/ 6 h 7"/>
                <a:gd name="T2" fmla="*/ 9 w 10"/>
                <a:gd name="T3" fmla="*/ 0 h 7"/>
                <a:gd name="T4" fmla="*/ 0 w 10"/>
                <a:gd name="T5" fmla="*/ 3 h 7"/>
                <a:gd name="T6" fmla="*/ 9 w 10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9" y="6"/>
                  </a:moveTo>
                  <a:cubicBezTo>
                    <a:pt x="9" y="6"/>
                    <a:pt x="9" y="3"/>
                    <a:pt x="9" y="0"/>
                  </a:cubicBezTo>
                  <a:cubicBezTo>
                    <a:pt x="6" y="0"/>
                    <a:pt x="3" y="0"/>
                    <a:pt x="0" y="3"/>
                  </a:cubicBezTo>
                  <a:cubicBezTo>
                    <a:pt x="3" y="6"/>
                    <a:pt x="6" y="6"/>
                    <a:pt x="9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2" name="Freeform 197"/>
            <p:cNvSpPr>
              <a:spLocks noChangeArrowheads="1"/>
            </p:cNvSpPr>
            <p:nvPr/>
          </p:nvSpPr>
          <p:spPr bwMode="auto">
            <a:xfrm>
              <a:off x="4432300" y="2605088"/>
              <a:ext cx="6350" cy="7937"/>
            </a:xfrm>
            <a:custGeom>
              <a:avLst/>
              <a:gdLst>
                <a:gd name="T0" fmla="*/ 11 w 18"/>
                <a:gd name="T1" fmla="*/ 17 h 21"/>
                <a:gd name="T2" fmla="*/ 0 w 18"/>
                <a:gd name="T3" fmla="*/ 9 h 21"/>
                <a:gd name="T4" fmla="*/ 8 w 18"/>
                <a:gd name="T5" fmla="*/ 20 h 21"/>
                <a:gd name="T6" fmla="*/ 11 w 18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11" y="17"/>
                  </a:moveTo>
                  <a:cubicBezTo>
                    <a:pt x="17" y="9"/>
                    <a:pt x="5" y="0"/>
                    <a:pt x="0" y="9"/>
                  </a:cubicBezTo>
                  <a:cubicBezTo>
                    <a:pt x="0" y="14"/>
                    <a:pt x="3" y="17"/>
                    <a:pt x="8" y="20"/>
                  </a:cubicBezTo>
                  <a:cubicBezTo>
                    <a:pt x="8" y="17"/>
                    <a:pt x="8" y="17"/>
                    <a:pt x="11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3" name="Freeform 198"/>
            <p:cNvSpPr>
              <a:spLocks noChangeArrowheads="1"/>
            </p:cNvSpPr>
            <p:nvPr/>
          </p:nvSpPr>
          <p:spPr bwMode="auto">
            <a:xfrm>
              <a:off x="4506913" y="2363788"/>
              <a:ext cx="7937" cy="12700"/>
            </a:xfrm>
            <a:custGeom>
              <a:avLst/>
              <a:gdLst>
                <a:gd name="T0" fmla="*/ 14 w 20"/>
                <a:gd name="T1" fmla="*/ 33 h 34"/>
                <a:gd name="T2" fmla="*/ 14 w 20"/>
                <a:gd name="T3" fmla="*/ 8 h 34"/>
                <a:gd name="T4" fmla="*/ 16 w 20"/>
                <a:gd name="T5" fmla="*/ 2 h 34"/>
                <a:gd name="T6" fmla="*/ 8 w 20"/>
                <a:gd name="T7" fmla="*/ 0 h 34"/>
                <a:gd name="T8" fmla="*/ 0 w 20"/>
                <a:gd name="T9" fmla="*/ 33 h 34"/>
                <a:gd name="T10" fmla="*/ 14 w 20"/>
                <a:gd name="T11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4">
                  <a:moveTo>
                    <a:pt x="14" y="33"/>
                  </a:moveTo>
                  <a:cubicBezTo>
                    <a:pt x="14" y="25"/>
                    <a:pt x="19" y="17"/>
                    <a:pt x="14" y="8"/>
                  </a:cubicBezTo>
                  <a:cubicBezTo>
                    <a:pt x="16" y="5"/>
                    <a:pt x="16" y="2"/>
                    <a:pt x="16" y="2"/>
                  </a:cubicBezTo>
                  <a:cubicBezTo>
                    <a:pt x="14" y="2"/>
                    <a:pt x="11" y="0"/>
                    <a:pt x="8" y="0"/>
                  </a:cubicBezTo>
                  <a:cubicBezTo>
                    <a:pt x="2" y="8"/>
                    <a:pt x="5" y="22"/>
                    <a:pt x="0" y="33"/>
                  </a:cubicBezTo>
                  <a:lnTo>
                    <a:pt x="14" y="3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4" name="Freeform 199"/>
            <p:cNvSpPr>
              <a:spLocks noChangeArrowheads="1"/>
            </p:cNvSpPr>
            <p:nvPr/>
          </p:nvSpPr>
          <p:spPr bwMode="auto">
            <a:xfrm>
              <a:off x="4435475" y="2593975"/>
              <a:ext cx="3175" cy="1588"/>
            </a:xfrm>
            <a:custGeom>
              <a:avLst/>
              <a:gdLst>
                <a:gd name="T0" fmla="*/ 0 w 7"/>
                <a:gd name="T1" fmla="*/ 0 h 4"/>
                <a:gd name="T2" fmla="*/ 0 w 7"/>
                <a:gd name="T3" fmla="*/ 3 h 4"/>
                <a:gd name="T4" fmla="*/ 6 w 7"/>
                <a:gd name="T5" fmla="*/ 3 h 4"/>
                <a:gd name="T6" fmla="*/ 0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lnTo>
                    <a:pt x="0" y="3"/>
                  </a:lnTo>
                  <a:cubicBezTo>
                    <a:pt x="3" y="3"/>
                    <a:pt x="6" y="3"/>
                    <a:pt x="6" y="3"/>
                  </a:cubicBezTo>
                  <a:cubicBezTo>
                    <a:pt x="6" y="3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5" name="Freeform 200"/>
            <p:cNvSpPr>
              <a:spLocks noChangeArrowheads="1"/>
            </p:cNvSpPr>
            <p:nvPr/>
          </p:nvSpPr>
          <p:spPr bwMode="auto">
            <a:xfrm>
              <a:off x="4433888" y="2841625"/>
              <a:ext cx="3175" cy="3175"/>
            </a:xfrm>
            <a:custGeom>
              <a:avLst/>
              <a:gdLst>
                <a:gd name="T0" fmla="*/ 0 w 10"/>
                <a:gd name="T1" fmla="*/ 3 h 7"/>
                <a:gd name="T2" fmla="*/ 6 w 10"/>
                <a:gd name="T3" fmla="*/ 6 h 7"/>
                <a:gd name="T4" fmla="*/ 9 w 10"/>
                <a:gd name="T5" fmla="*/ 3 h 7"/>
                <a:gd name="T6" fmla="*/ 0 w 10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0" y="6"/>
                    <a:pt x="3" y="6"/>
                    <a:pt x="6" y="6"/>
                  </a:cubicBezTo>
                  <a:lnTo>
                    <a:pt x="9" y="3"/>
                  </a:lnTo>
                  <a:cubicBezTo>
                    <a:pt x="3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6" name="Freeform 201"/>
            <p:cNvSpPr>
              <a:spLocks noChangeArrowheads="1"/>
            </p:cNvSpPr>
            <p:nvPr/>
          </p:nvSpPr>
          <p:spPr bwMode="auto">
            <a:xfrm>
              <a:off x="4518025" y="2698750"/>
              <a:ext cx="3175" cy="4763"/>
            </a:xfrm>
            <a:custGeom>
              <a:avLst/>
              <a:gdLst>
                <a:gd name="T0" fmla="*/ 8 w 9"/>
                <a:gd name="T1" fmla="*/ 0 h 12"/>
                <a:gd name="T2" fmla="*/ 8 w 9"/>
                <a:gd name="T3" fmla="*/ 0 h 12"/>
                <a:gd name="T4" fmla="*/ 8 w 9"/>
                <a:gd name="T5" fmla="*/ 0 h 12"/>
                <a:gd name="T6" fmla="*/ 0 w 9"/>
                <a:gd name="T7" fmla="*/ 11 h 12"/>
                <a:gd name="T8" fmla="*/ 8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cubicBezTo>
                    <a:pt x="5" y="5"/>
                    <a:pt x="2" y="8"/>
                    <a:pt x="0" y="11"/>
                  </a:cubicBezTo>
                  <a:cubicBezTo>
                    <a:pt x="5" y="8"/>
                    <a:pt x="8" y="5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7" name="Freeform 202"/>
            <p:cNvSpPr>
              <a:spLocks noChangeArrowheads="1"/>
            </p:cNvSpPr>
            <p:nvPr/>
          </p:nvSpPr>
          <p:spPr bwMode="auto">
            <a:xfrm>
              <a:off x="4537075" y="2473325"/>
              <a:ext cx="4763" cy="7938"/>
            </a:xfrm>
            <a:custGeom>
              <a:avLst/>
              <a:gdLst>
                <a:gd name="T0" fmla="*/ 14 w 15"/>
                <a:gd name="T1" fmla="*/ 0 h 21"/>
                <a:gd name="T2" fmla="*/ 3 w 15"/>
                <a:gd name="T3" fmla="*/ 17 h 21"/>
                <a:gd name="T4" fmla="*/ 14 w 15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1">
                  <a:moveTo>
                    <a:pt x="14" y="0"/>
                  </a:moveTo>
                  <a:cubicBezTo>
                    <a:pt x="6" y="0"/>
                    <a:pt x="0" y="6"/>
                    <a:pt x="3" y="17"/>
                  </a:cubicBezTo>
                  <a:cubicBezTo>
                    <a:pt x="11" y="20"/>
                    <a:pt x="14" y="12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8" name="Freeform 203"/>
            <p:cNvSpPr>
              <a:spLocks noChangeArrowheads="1"/>
            </p:cNvSpPr>
            <p:nvPr/>
          </p:nvSpPr>
          <p:spPr bwMode="auto">
            <a:xfrm>
              <a:off x="4370388" y="2139950"/>
              <a:ext cx="1587" cy="1588"/>
            </a:xfrm>
            <a:custGeom>
              <a:avLst/>
              <a:gdLst>
                <a:gd name="T0" fmla="*/ 2 w 3"/>
                <a:gd name="T1" fmla="*/ 3 h 4"/>
                <a:gd name="T2" fmla="*/ 2 w 3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3"/>
                  </a:moveTo>
                  <a:cubicBezTo>
                    <a:pt x="2" y="3"/>
                    <a:pt x="0" y="0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9" name="Freeform 204"/>
            <p:cNvSpPr>
              <a:spLocks noChangeArrowheads="1"/>
            </p:cNvSpPr>
            <p:nvPr/>
          </p:nvSpPr>
          <p:spPr bwMode="auto">
            <a:xfrm>
              <a:off x="4483100" y="2727325"/>
              <a:ext cx="1588" cy="1588"/>
            </a:xfrm>
            <a:custGeom>
              <a:avLst/>
              <a:gdLst>
                <a:gd name="T0" fmla="*/ 0 w 4"/>
                <a:gd name="T1" fmla="*/ 2 h 3"/>
                <a:gd name="T2" fmla="*/ 0 w 4"/>
                <a:gd name="T3" fmla="*/ 2 h 3"/>
                <a:gd name="T4" fmla="*/ 3 w 4"/>
                <a:gd name="T5" fmla="*/ 2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0" y="2"/>
                  </a:lnTo>
                  <a:lnTo>
                    <a:pt x="3" y="2"/>
                  </a:lnTo>
                  <a:cubicBezTo>
                    <a:pt x="3" y="0"/>
                    <a:pt x="0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0" name="Freeform 205"/>
            <p:cNvSpPr>
              <a:spLocks noChangeArrowheads="1"/>
            </p:cNvSpPr>
            <p:nvPr/>
          </p:nvSpPr>
          <p:spPr bwMode="auto">
            <a:xfrm>
              <a:off x="4479925" y="2749550"/>
              <a:ext cx="3175" cy="1588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0 h 6"/>
                <a:gd name="T4" fmla="*/ 6 w 7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cubicBezTo>
                    <a:pt x="3" y="0"/>
                    <a:pt x="3" y="0"/>
                    <a:pt x="0" y="0"/>
                  </a:cubicBezTo>
                  <a:cubicBezTo>
                    <a:pt x="0" y="3"/>
                    <a:pt x="3" y="5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1" name="Freeform 206"/>
            <p:cNvSpPr>
              <a:spLocks noChangeArrowheads="1"/>
            </p:cNvSpPr>
            <p:nvPr/>
          </p:nvSpPr>
          <p:spPr bwMode="auto">
            <a:xfrm>
              <a:off x="4486275" y="2381250"/>
              <a:ext cx="3175" cy="3175"/>
            </a:xfrm>
            <a:custGeom>
              <a:avLst/>
              <a:gdLst>
                <a:gd name="T0" fmla="*/ 6 w 10"/>
                <a:gd name="T1" fmla="*/ 0 h 9"/>
                <a:gd name="T2" fmla="*/ 0 w 10"/>
                <a:gd name="T3" fmla="*/ 8 h 9"/>
                <a:gd name="T4" fmla="*/ 9 w 10"/>
                <a:gd name="T5" fmla="*/ 8 h 9"/>
                <a:gd name="T6" fmla="*/ 6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6" y="0"/>
                  </a:moveTo>
                  <a:cubicBezTo>
                    <a:pt x="3" y="2"/>
                    <a:pt x="0" y="5"/>
                    <a:pt x="0" y="8"/>
                  </a:cubicBezTo>
                  <a:cubicBezTo>
                    <a:pt x="3" y="8"/>
                    <a:pt x="6" y="8"/>
                    <a:pt x="9" y="8"/>
                  </a:cubicBezTo>
                  <a:cubicBezTo>
                    <a:pt x="9" y="5"/>
                    <a:pt x="9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2" name="Freeform 207"/>
            <p:cNvSpPr>
              <a:spLocks noChangeArrowheads="1"/>
            </p:cNvSpPr>
            <p:nvPr/>
          </p:nvSpPr>
          <p:spPr bwMode="auto">
            <a:xfrm>
              <a:off x="4478338" y="2838450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3 w 4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3"/>
                    <a:pt x="0" y="0"/>
                  </a:cubicBezTo>
                  <a:cubicBezTo>
                    <a:pt x="3" y="0"/>
                    <a:pt x="3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3" name="Freeform 208"/>
            <p:cNvSpPr>
              <a:spLocks noChangeArrowheads="1"/>
            </p:cNvSpPr>
            <p:nvPr/>
          </p:nvSpPr>
          <p:spPr bwMode="auto">
            <a:xfrm>
              <a:off x="4473575" y="2317750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6 w 10"/>
                <a:gd name="T3" fmla="*/ 0 h 9"/>
                <a:gd name="T4" fmla="*/ 0 w 10"/>
                <a:gd name="T5" fmla="*/ 3 h 9"/>
                <a:gd name="T6" fmla="*/ 9 w 10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cubicBezTo>
                    <a:pt x="9" y="5"/>
                    <a:pt x="6" y="3"/>
                    <a:pt x="6" y="0"/>
                  </a:cubicBezTo>
                  <a:cubicBezTo>
                    <a:pt x="3" y="0"/>
                    <a:pt x="0" y="0"/>
                    <a:pt x="0" y="3"/>
                  </a:cubicBezTo>
                  <a:cubicBezTo>
                    <a:pt x="0" y="5"/>
                    <a:pt x="3" y="8"/>
                    <a:pt x="9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4" name="Freeform 209"/>
            <p:cNvSpPr>
              <a:spLocks noChangeArrowheads="1"/>
            </p:cNvSpPr>
            <p:nvPr/>
          </p:nvSpPr>
          <p:spPr bwMode="auto">
            <a:xfrm>
              <a:off x="4467225" y="2392363"/>
              <a:ext cx="1588" cy="1587"/>
            </a:xfrm>
            <a:custGeom>
              <a:avLst/>
              <a:gdLst>
                <a:gd name="T0" fmla="*/ 2 w 6"/>
                <a:gd name="T1" fmla="*/ 0 h 6"/>
                <a:gd name="T2" fmla="*/ 2 w 6"/>
                <a:gd name="T3" fmla="*/ 0 h 6"/>
                <a:gd name="T4" fmla="*/ 2 w 6"/>
                <a:gd name="T5" fmla="*/ 5 h 6"/>
                <a:gd name="T6" fmla="*/ 2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2" y="0"/>
                  </a:lnTo>
                  <a:cubicBezTo>
                    <a:pt x="0" y="2"/>
                    <a:pt x="2" y="2"/>
                    <a:pt x="2" y="5"/>
                  </a:cubicBezTo>
                  <a:cubicBezTo>
                    <a:pt x="5" y="2"/>
                    <a:pt x="2" y="0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5" name="Freeform 210"/>
            <p:cNvSpPr>
              <a:spLocks noChangeArrowheads="1"/>
            </p:cNvSpPr>
            <p:nvPr/>
          </p:nvSpPr>
          <p:spPr bwMode="auto">
            <a:xfrm>
              <a:off x="4475163" y="2293938"/>
              <a:ext cx="1587" cy="1587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0"/>
                    <a:pt x="0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6" name="Freeform 211"/>
            <p:cNvSpPr>
              <a:spLocks noChangeArrowheads="1"/>
            </p:cNvSpPr>
            <p:nvPr/>
          </p:nvSpPr>
          <p:spPr bwMode="auto">
            <a:xfrm>
              <a:off x="4489450" y="2233613"/>
              <a:ext cx="3175" cy="3175"/>
            </a:xfrm>
            <a:custGeom>
              <a:avLst/>
              <a:gdLst>
                <a:gd name="T0" fmla="*/ 2 w 9"/>
                <a:gd name="T1" fmla="*/ 0 h 9"/>
                <a:gd name="T2" fmla="*/ 0 w 9"/>
                <a:gd name="T3" fmla="*/ 8 h 9"/>
                <a:gd name="T4" fmla="*/ 5 w 9"/>
                <a:gd name="T5" fmla="*/ 8 h 9"/>
                <a:gd name="T6" fmla="*/ 2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2" y="0"/>
                  </a:moveTo>
                  <a:cubicBezTo>
                    <a:pt x="2" y="3"/>
                    <a:pt x="0" y="3"/>
                    <a:pt x="0" y="8"/>
                  </a:cubicBezTo>
                  <a:lnTo>
                    <a:pt x="5" y="8"/>
                  </a:lnTo>
                  <a:cubicBezTo>
                    <a:pt x="8" y="5"/>
                    <a:pt x="8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7" name="Freeform 212"/>
            <p:cNvSpPr>
              <a:spLocks noChangeArrowheads="1"/>
            </p:cNvSpPr>
            <p:nvPr/>
          </p:nvSpPr>
          <p:spPr bwMode="auto">
            <a:xfrm>
              <a:off x="4502150" y="2347913"/>
              <a:ext cx="7938" cy="7937"/>
            </a:xfrm>
            <a:custGeom>
              <a:avLst/>
              <a:gdLst>
                <a:gd name="T0" fmla="*/ 15 w 24"/>
                <a:gd name="T1" fmla="*/ 23 h 24"/>
                <a:gd name="T2" fmla="*/ 12 w 24"/>
                <a:gd name="T3" fmla="*/ 9 h 24"/>
                <a:gd name="T4" fmla="*/ 23 w 24"/>
                <a:gd name="T5" fmla="*/ 6 h 24"/>
                <a:gd name="T6" fmla="*/ 23 w 24"/>
                <a:gd name="T7" fmla="*/ 0 h 24"/>
                <a:gd name="T8" fmla="*/ 12 w 24"/>
                <a:gd name="T9" fmla="*/ 0 h 24"/>
                <a:gd name="T10" fmla="*/ 0 w 24"/>
                <a:gd name="T11" fmla="*/ 6 h 24"/>
                <a:gd name="T12" fmla="*/ 0 w 24"/>
                <a:gd name="T13" fmla="*/ 6 h 24"/>
                <a:gd name="T14" fmla="*/ 15 w 24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15" y="23"/>
                  </a:moveTo>
                  <a:cubicBezTo>
                    <a:pt x="12" y="20"/>
                    <a:pt x="9" y="17"/>
                    <a:pt x="12" y="9"/>
                  </a:cubicBezTo>
                  <a:cubicBezTo>
                    <a:pt x="15" y="9"/>
                    <a:pt x="20" y="6"/>
                    <a:pt x="23" y="6"/>
                  </a:cubicBezTo>
                  <a:cubicBezTo>
                    <a:pt x="23" y="3"/>
                    <a:pt x="23" y="3"/>
                    <a:pt x="23" y="0"/>
                  </a:cubicBezTo>
                  <a:cubicBezTo>
                    <a:pt x="20" y="0"/>
                    <a:pt x="15" y="0"/>
                    <a:pt x="12" y="0"/>
                  </a:cubicBezTo>
                  <a:cubicBezTo>
                    <a:pt x="9" y="3"/>
                    <a:pt x="3" y="6"/>
                    <a:pt x="0" y="6"/>
                  </a:cubicBezTo>
                  <a:lnTo>
                    <a:pt x="0" y="6"/>
                  </a:lnTo>
                  <a:cubicBezTo>
                    <a:pt x="3" y="12"/>
                    <a:pt x="6" y="20"/>
                    <a:pt x="15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8" name="Freeform 213"/>
            <p:cNvSpPr>
              <a:spLocks noChangeArrowheads="1"/>
            </p:cNvSpPr>
            <p:nvPr/>
          </p:nvSpPr>
          <p:spPr bwMode="auto">
            <a:xfrm>
              <a:off x="4500563" y="2439988"/>
              <a:ext cx="1587" cy="1587"/>
            </a:xfrm>
            <a:custGeom>
              <a:avLst/>
              <a:gdLst>
                <a:gd name="T0" fmla="*/ 5 w 6"/>
                <a:gd name="T1" fmla="*/ 3 h 4"/>
                <a:gd name="T2" fmla="*/ 3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3" y="0"/>
                  </a:lnTo>
                  <a:cubicBezTo>
                    <a:pt x="0" y="0"/>
                    <a:pt x="3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9" name="Freeform 214"/>
            <p:cNvSpPr>
              <a:spLocks noChangeArrowheads="1"/>
            </p:cNvSpPr>
            <p:nvPr/>
          </p:nvSpPr>
          <p:spPr bwMode="auto">
            <a:xfrm>
              <a:off x="4465638" y="2347913"/>
              <a:ext cx="1587" cy="3175"/>
            </a:xfrm>
            <a:custGeom>
              <a:avLst/>
              <a:gdLst>
                <a:gd name="T0" fmla="*/ 0 w 6"/>
                <a:gd name="T1" fmla="*/ 6 h 7"/>
                <a:gd name="T2" fmla="*/ 5 w 6"/>
                <a:gd name="T3" fmla="*/ 6 h 7"/>
                <a:gd name="T4" fmla="*/ 5 w 6"/>
                <a:gd name="T5" fmla="*/ 3 h 7"/>
                <a:gd name="T6" fmla="*/ 0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6"/>
                  </a:moveTo>
                  <a:cubicBezTo>
                    <a:pt x="3" y="6"/>
                    <a:pt x="3" y="6"/>
                    <a:pt x="5" y="6"/>
                  </a:cubicBezTo>
                  <a:lnTo>
                    <a:pt x="5" y="3"/>
                  </a:lnTo>
                  <a:cubicBezTo>
                    <a:pt x="0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0" name="Freeform 215"/>
            <p:cNvSpPr>
              <a:spLocks noChangeArrowheads="1"/>
            </p:cNvSpPr>
            <p:nvPr/>
          </p:nvSpPr>
          <p:spPr bwMode="auto">
            <a:xfrm>
              <a:off x="4491038" y="2370138"/>
              <a:ext cx="6350" cy="7937"/>
            </a:xfrm>
            <a:custGeom>
              <a:avLst/>
              <a:gdLst>
                <a:gd name="T0" fmla="*/ 12 w 18"/>
                <a:gd name="T1" fmla="*/ 3 h 23"/>
                <a:gd name="T2" fmla="*/ 0 w 18"/>
                <a:gd name="T3" fmla="*/ 14 h 23"/>
                <a:gd name="T4" fmla="*/ 12 w 18"/>
                <a:gd name="T5" fmla="*/ 22 h 23"/>
                <a:gd name="T6" fmla="*/ 17 w 18"/>
                <a:gd name="T7" fmla="*/ 5 h 23"/>
                <a:gd name="T8" fmla="*/ 12 w 18"/>
                <a:gd name="T9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3">
                  <a:moveTo>
                    <a:pt x="12" y="3"/>
                  </a:moveTo>
                  <a:cubicBezTo>
                    <a:pt x="6" y="8"/>
                    <a:pt x="6" y="11"/>
                    <a:pt x="0" y="14"/>
                  </a:cubicBezTo>
                  <a:cubicBezTo>
                    <a:pt x="3" y="17"/>
                    <a:pt x="9" y="19"/>
                    <a:pt x="12" y="22"/>
                  </a:cubicBezTo>
                  <a:cubicBezTo>
                    <a:pt x="14" y="19"/>
                    <a:pt x="14" y="8"/>
                    <a:pt x="17" y="5"/>
                  </a:cubicBezTo>
                  <a:cubicBezTo>
                    <a:pt x="17" y="3"/>
                    <a:pt x="14" y="0"/>
                    <a:pt x="1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1" name="Freeform 216"/>
            <p:cNvSpPr>
              <a:spLocks noChangeArrowheads="1"/>
            </p:cNvSpPr>
            <p:nvPr/>
          </p:nvSpPr>
          <p:spPr bwMode="auto">
            <a:xfrm>
              <a:off x="4492625" y="2246313"/>
              <a:ext cx="3175" cy="3175"/>
            </a:xfrm>
            <a:custGeom>
              <a:avLst/>
              <a:gdLst>
                <a:gd name="T0" fmla="*/ 0 w 9"/>
                <a:gd name="T1" fmla="*/ 0 h 7"/>
                <a:gd name="T2" fmla="*/ 8 w 9"/>
                <a:gd name="T3" fmla="*/ 6 h 7"/>
                <a:gd name="T4" fmla="*/ 0 w 9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0" y="0"/>
                  </a:moveTo>
                  <a:cubicBezTo>
                    <a:pt x="3" y="3"/>
                    <a:pt x="6" y="6"/>
                    <a:pt x="8" y="6"/>
                  </a:cubicBezTo>
                  <a:cubicBezTo>
                    <a:pt x="6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2" name="Freeform 217"/>
            <p:cNvSpPr>
              <a:spLocks noChangeArrowheads="1"/>
            </p:cNvSpPr>
            <p:nvPr/>
          </p:nvSpPr>
          <p:spPr bwMode="auto">
            <a:xfrm>
              <a:off x="4494213" y="2328863"/>
              <a:ext cx="1587" cy="3175"/>
            </a:xfrm>
            <a:custGeom>
              <a:avLst/>
              <a:gdLst>
                <a:gd name="T0" fmla="*/ 0 w 6"/>
                <a:gd name="T1" fmla="*/ 3 h 7"/>
                <a:gd name="T2" fmla="*/ 5 w 6"/>
                <a:gd name="T3" fmla="*/ 6 h 7"/>
                <a:gd name="T4" fmla="*/ 0 w 6"/>
                <a:gd name="T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0" y="3"/>
                  </a:moveTo>
                  <a:cubicBezTo>
                    <a:pt x="2" y="3"/>
                    <a:pt x="2" y="6"/>
                    <a:pt x="5" y="6"/>
                  </a:cubicBezTo>
                  <a:cubicBezTo>
                    <a:pt x="2" y="3"/>
                    <a:pt x="2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3" name="Freeform 218"/>
            <p:cNvSpPr>
              <a:spLocks noChangeArrowheads="1"/>
            </p:cNvSpPr>
            <p:nvPr/>
          </p:nvSpPr>
          <p:spPr bwMode="auto">
            <a:xfrm>
              <a:off x="4497388" y="2854325"/>
              <a:ext cx="6350" cy="4763"/>
            </a:xfrm>
            <a:custGeom>
              <a:avLst/>
              <a:gdLst>
                <a:gd name="T0" fmla="*/ 6 w 18"/>
                <a:gd name="T1" fmla="*/ 14 h 15"/>
                <a:gd name="T2" fmla="*/ 14 w 18"/>
                <a:gd name="T3" fmla="*/ 0 h 15"/>
                <a:gd name="T4" fmla="*/ 0 w 18"/>
                <a:gd name="T5" fmla="*/ 9 h 15"/>
                <a:gd name="T6" fmla="*/ 6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6" y="14"/>
                  </a:moveTo>
                  <a:cubicBezTo>
                    <a:pt x="6" y="6"/>
                    <a:pt x="17" y="9"/>
                    <a:pt x="14" y="0"/>
                  </a:cubicBezTo>
                  <a:cubicBezTo>
                    <a:pt x="9" y="3"/>
                    <a:pt x="0" y="3"/>
                    <a:pt x="0" y="9"/>
                  </a:cubicBezTo>
                  <a:cubicBezTo>
                    <a:pt x="3" y="9"/>
                    <a:pt x="3" y="11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4" name="Freeform 219"/>
            <p:cNvSpPr>
              <a:spLocks noChangeArrowheads="1"/>
            </p:cNvSpPr>
            <p:nvPr/>
          </p:nvSpPr>
          <p:spPr bwMode="auto">
            <a:xfrm>
              <a:off x="4445000" y="2936875"/>
              <a:ext cx="4763" cy="1588"/>
            </a:xfrm>
            <a:custGeom>
              <a:avLst/>
              <a:gdLst>
                <a:gd name="T0" fmla="*/ 12 w 13"/>
                <a:gd name="T1" fmla="*/ 2 h 6"/>
                <a:gd name="T2" fmla="*/ 12 w 13"/>
                <a:gd name="T3" fmla="*/ 2 h 6"/>
                <a:gd name="T4" fmla="*/ 0 w 13"/>
                <a:gd name="T5" fmla="*/ 0 h 6"/>
                <a:gd name="T6" fmla="*/ 0 w 13"/>
                <a:gd name="T7" fmla="*/ 2 h 6"/>
                <a:gd name="T8" fmla="*/ 12 w 13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6">
                  <a:moveTo>
                    <a:pt x="12" y="2"/>
                  </a:moveTo>
                  <a:cubicBezTo>
                    <a:pt x="12" y="0"/>
                    <a:pt x="9" y="0"/>
                    <a:pt x="12" y="2"/>
                  </a:cubicBezTo>
                  <a:lnTo>
                    <a:pt x="0" y="0"/>
                  </a:lnTo>
                  <a:lnTo>
                    <a:pt x="0" y="2"/>
                  </a:lnTo>
                  <a:cubicBezTo>
                    <a:pt x="3" y="5"/>
                    <a:pt x="6" y="2"/>
                    <a:pt x="12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5" name="Freeform 220"/>
            <p:cNvSpPr>
              <a:spLocks noChangeArrowheads="1"/>
            </p:cNvSpPr>
            <p:nvPr/>
          </p:nvSpPr>
          <p:spPr bwMode="auto">
            <a:xfrm>
              <a:off x="4464050" y="2332038"/>
              <a:ext cx="3175" cy="3175"/>
            </a:xfrm>
            <a:custGeom>
              <a:avLst/>
              <a:gdLst>
                <a:gd name="T0" fmla="*/ 6 w 7"/>
                <a:gd name="T1" fmla="*/ 3 h 10"/>
                <a:gd name="T2" fmla="*/ 0 w 7"/>
                <a:gd name="T3" fmla="*/ 0 h 10"/>
                <a:gd name="T4" fmla="*/ 0 w 7"/>
                <a:gd name="T5" fmla="*/ 9 h 10"/>
                <a:gd name="T6" fmla="*/ 6 w 7"/>
                <a:gd name="T7" fmla="*/ 9 h 10"/>
                <a:gd name="T8" fmla="*/ 6 w 7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6" y="3"/>
                  </a:moveTo>
                  <a:cubicBezTo>
                    <a:pt x="3" y="3"/>
                    <a:pt x="3" y="0"/>
                    <a:pt x="0" y="0"/>
                  </a:cubicBezTo>
                  <a:lnTo>
                    <a:pt x="0" y="9"/>
                  </a:lnTo>
                  <a:lnTo>
                    <a:pt x="6" y="9"/>
                  </a:lnTo>
                  <a:cubicBezTo>
                    <a:pt x="6" y="9"/>
                    <a:pt x="6" y="6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6" name="Freeform 221"/>
            <p:cNvSpPr>
              <a:spLocks noChangeArrowheads="1"/>
            </p:cNvSpPr>
            <p:nvPr/>
          </p:nvSpPr>
          <p:spPr bwMode="auto">
            <a:xfrm>
              <a:off x="4365625" y="2352675"/>
              <a:ext cx="4763" cy="11113"/>
            </a:xfrm>
            <a:custGeom>
              <a:avLst/>
              <a:gdLst>
                <a:gd name="T0" fmla="*/ 0 w 13"/>
                <a:gd name="T1" fmla="*/ 8 h 32"/>
                <a:gd name="T2" fmla="*/ 6 w 13"/>
                <a:gd name="T3" fmla="*/ 31 h 32"/>
                <a:gd name="T4" fmla="*/ 6 w 13"/>
                <a:gd name="T5" fmla="*/ 31 h 32"/>
                <a:gd name="T6" fmla="*/ 12 w 13"/>
                <a:gd name="T7" fmla="*/ 0 h 32"/>
                <a:gd name="T8" fmla="*/ 0 w 13"/>
                <a:gd name="T9" fmla="*/ 2 h 32"/>
                <a:gd name="T10" fmla="*/ 0 w 13"/>
                <a:gd name="T11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2">
                  <a:moveTo>
                    <a:pt x="0" y="8"/>
                  </a:moveTo>
                  <a:cubicBezTo>
                    <a:pt x="0" y="16"/>
                    <a:pt x="3" y="25"/>
                    <a:pt x="6" y="31"/>
                  </a:cubicBezTo>
                  <a:lnTo>
                    <a:pt x="6" y="31"/>
                  </a:lnTo>
                  <a:cubicBezTo>
                    <a:pt x="3" y="19"/>
                    <a:pt x="6" y="8"/>
                    <a:pt x="12" y="0"/>
                  </a:cubicBezTo>
                  <a:cubicBezTo>
                    <a:pt x="9" y="2"/>
                    <a:pt x="6" y="2"/>
                    <a:pt x="0" y="2"/>
                  </a:cubicBezTo>
                  <a:cubicBezTo>
                    <a:pt x="0" y="5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7" name="Freeform 222"/>
            <p:cNvSpPr>
              <a:spLocks noChangeArrowheads="1"/>
            </p:cNvSpPr>
            <p:nvPr/>
          </p:nvSpPr>
          <p:spPr bwMode="auto">
            <a:xfrm>
              <a:off x="4446588" y="2243138"/>
              <a:ext cx="4762" cy="4762"/>
            </a:xfrm>
            <a:custGeom>
              <a:avLst/>
              <a:gdLst>
                <a:gd name="T0" fmla="*/ 6 w 12"/>
                <a:gd name="T1" fmla="*/ 14 h 15"/>
                <a:gd name="T2" fmla="*/ 11 w 12"/>
                <a:gd name="T3" fmla="*/ 6 h 15"/>
                <a:gd name="T4" fmla="*/ 0 w 12"/>
                <a:gd name="T5" fmla="*/ 0 h 15"/>
                <a:gd name="T6" fmla="*/ 3 w 12"/>
                <a:gd name="T7" fmla="*/ 14 h 15"/>
                <a:gd name="T8" fmla="*/ 6 w 12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6" y="14"/>
                  </a:moveTo>
                  <a:cubicBezTo>
                    <a:pt x="9" y="11"/>
                    <a:pt x="9" y="8"/>
                    <a:pt x="11" y="6"/>
                  </a:cubicBezTo>
                  <a:cubicBezTo>
                    <a:pt x="9" y="3"/>
                    <a:pt x="6" y="3"/>
                    <a:pt x="0" y="0"/>
                  </a:cubicBezTo>
                  <a:cubicBezTo>
                    <a:pt x="0" y="6"/>
                    <a:pt x="0" y="8"/>
                    <a:pt x="3" y="14"/>
                  </a:cubicBezTo>
                  <a:cubicBezTo>
                    <a:pt x="6" y="14"/>
                    <a:pt x="6" y="14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8" name="Freeform 223"/>
            <p:cNvSpPr>
              <a:spLocks noChangeArrowheads="1"/>
            </p:cNvSpPr>
            <p:nvPr/>
          </p:nvSpPr>
          <p:spPr bwMode="auto">
            <a:xfrm>
              <a:off x="4352925" y="2555875"/>
              <a:ext cx="1588" cy="1588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0 h 4"/>
                <a:gd name="T4" fmla="*/ 3 w 4"/>
                <a:gd name="T5" fmla="*/ 3 h 4"/>
                <a:gd name="T6" fmla="*/ 0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0"/>
                  </a:lnTo>
                  <a:cubicBezTo>
                    <a:pt x="3" y="3"/>
                    <a:pt x="3" y="3"/>
                    <a:pt x="3" y="3"/>
                  </a:cubicBezTo>
                  <a:cubicBezTo>
                    <a:pt x="3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9" name="Freeform 224"/>
            <p:cNvSpPr>
              <a:spLocks noChangeArrowheads="1"/>
            </p:cNvSpPr>
            <p:nvPr/>
          </p:nvSpPr>
          <p:spPr bwMode="auto">
            <a:xfrm>
              <a:off x="4370388" y="2332038"/>
              <a:ext cx="1587" cy="3175"/>
            </a:xfrm>
            <a:custGeom>
              <a:avLst/>
              <a:gdLst>
                <a:gd name="T0" fmla="*/ 5 w 6"/>
                <a:gd name="T1" fmla="*/ 9 h 10"/>
                <a:gd name="T2" fmla="*/ 5 w 6"/>
                <a:gd name="T3" fmla="*/ 0 h 10"/>
                <a:gd name="T4" fmla="*/ 0 w 6"/>
                <a:gd name="T5" fmla="*/ 0 h 10"/>
                <a:gd name="T6" fmla="*/ 0 w 6"/>
                <a:gd name="T7" fmla="*/ 9 h 10"/>
                <a:gd name="T8" fmla="*/ 5 w 6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5" y="9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5" y="9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0" name="Freeform 225"/>
            <p:cNvSpPr>
              <a:spLocks noChangeArrowheads="1"/>
            </p:cNvSpPr>
            <p:nvPr/>
          </p:nvSpPr>
          <p:spPr bwMode="auto">
            <a:xfrm>
              <a:off x="4456113" y="2811463"/>
              <a:ext cx="3175" cy="1587"/>
            </a:xfrm>
            <a:custGeom>
              <a:avLst/>
              <a:gdLst>
                <a:gd name="T0" fmla="*/ 0 w 7"/>
                <a:gd name="T1" fmla="*/ 0 h 4"/>
                <a:gd name="T2" fmla="*/ 0 w 7"/>
                <a:gd name="T3" fmla="*/ 0 h 4"/>
                <a:gd name="T4" fmla="*/ 6 w 7"/>
                <a:gd name="T5" fmla="*/ 0 h 4"/>
                <a:gd name="T6" fmla="*/ 6 w 7"/>
                <a:gd name="T7" fmla="*/ 0 h 4"/>
                <a:gd name="T8" fmla="*/ 0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lnTo>
                    <a:pt x="0" y="0"/>
                  </a:lnTo>
                  <a:cubicBezTo>
                    <a:pt x="3" y="3"/>
                    <a:pt x="6" y="0"/>
                    <a:pt x="6" y="0"/>
                  </a:cubicBezTo>
                  <a:lnTo>
                    <a:pt x="6" y="0"/>
                  </a:ln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1" name="Freeform 226"/>
            <p:cNvSpPr>
              <a:spLocks noChangeArrowheads="1"/>
            </p:cNvSpPr>
            <p:nvPr/>
          </p:nvSpPr>
          <p:spPr bwMode="auto">
            <a:xfrm>
              <a:off x="4459288" y="2670175"/>
              <a:ext cx="3175" cy="1588"/>
            </a:xfrm>
            <a:custGeom>
              <a:avLst/>
              <a:gdLst>
                <a:gd name="T0" fmla="*/ 0 w 9"/>
                <a:gd name="T1" fmla="*/ 0 h 4"/>
                <a:gd name="T2" fmla="*/ 0 w 9"/>
                <a:gd name="T3" fmla="*/ 3 h 4"/>
                <a:gd name="T4" fmla="*/ 8 w 9"/>
                <a:gd name="T5" fmla="*/ 0 h 4"/>
                <a:gd name="T6" fmla="*/ 0 w 9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4">
                  <a:moveTo>
                    <a:pt x="0" y="0"/>
                  </a:moveTo>
                  <a:lnTo>
                    <a:pt x="0" y="3"/>
                  </a:lnTo>
                  <a:cubicBezTo>
                    <a:pt x="3" y="3"/>
                    <a:pt x="6" y="0"/>
                    <a:pt x="8" y="0"/>
                  </a:cubicBezTo>
                  <a:cubicBezTo>
                    <a:pt x="6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2" name="Freeform 227"/>
            <p:cNvSpPr>
              <a:spLocks noChangeArrowheads="1"/>
            </p:cNvSpPr>
            <p:nvPr/>
          </p:nvSpPr>
          <p:spPr bwMode="auto">
            <a:xfrm>
              <a:off x="4459288" y="2266950"/>
              <a:ext cx="3175" cy="3175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6 w 7"/>
                <a:gd name="T5" fmla="*/ 8 h 9"/>
                <a:gd name="T6" fmla="*/ 3 w 7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cubicBezTo>
                    <a:pt x="3" y="0"/>
                    <a:pt x="0" y="0"/>
                    <a:pt x="3" y="0"/>
                  </a:cubicBezTo>
                  <a:cubicBezTo>
                    <a:pt x="0" y="3"/>
                    <a:pt x="3" y="8"/>
                    <a:pt x="6" y="8"/>
                  </a:cubicBezTo>
                  <a:cubicBezTo>
                    <a:pt x="3" y="5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3" name="Freeform 228"/>
            <p:cNvSpPr>
              <a:spLocks noChangeArrowheads="1"/>
            </p:cNvSpPr>
            <p:nvPr/>
          </p:nvSpPr>
          <p:spPr bwMode="auto">
            <a:xfrm>
              <a:off x="4456113" y="2565400"/>
              <a:ext cx="3175" cy="3175"/>
            </a:xfrm>
            <a:custGeom>
              <a:avLst/>
              <a:gdLst>
                <a:gd name="T0" fmla="*/ 0 w 7"/>
                <a:gd name="T1" fmla="*/ 3 h 7"/>
                <a:gd name="T2" fmla="*/ 6 w 7"/>
                <a:gd name="T3" fmla="*/ 6 h 7"/>
                <a:gd name="T4" fmla="*/ 6 w 7"/>
                <a:gd name="T5" fmla="*/ 0 h 7"/>
                <a:gd name="T6" fmla="*/ 0 w 7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3"/>
                  </a:moveTo>
                  <a:cubicBezTo>
                    <a:pt x="3" y="3"/>
                    <a:pt x="6" y="3"/>
                    <a:pt x="6" y="6"/>
                  </a:cubicBezTo>
                  <a:lnTo>
                    <a:pt x="6" y="0"/>
                  </a:lnTo>
                  <a:cubicBezTo>
                    <a:pt x="6" y="0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4" name="Freeform 229"/>
            <p:cNvSpPr>
              <a:spLocks noChangeArrowheads="1"/>
            </p:cNvSpPr>
            <p:nvPr/>
          </p:nvSpPr>
          <p:spPr bwMode="auto">
            <a:xfrm>
              <a:off x="4452938" y="2379663"/>
              <a:ext cx="3175" cy="3175"/>
            </a:xfrm>
            <a:custGeom>
              <a:avLst/>
              <a:gdLst>
                <a:gd name="T0" fmla="*/ 8 w 9"/>
                <a:gd name="T1" fmla="*/ 3 h 9"/>
                <a:gd name="T2" fmla="*/ 8 w 9"/>
                <a:gd name="T3" fmla="*/ 3 h 9"/>
                <a:gd name="T4" fmla="*/ 8 w 9"/>
                <a:gd name="T5" fmla="*/ 3 h 9"/>
                <a:gd name="T6" fmla="*/ 3 w 9"/>
                <a:gd name="T7" fmla="*/ 0 h 9"/>
                <a:gd name="T8" fmla="*/ 0 w 9"/>
                <a:gd name="T9" fmla="*/ 6 h 9"/>
                <a:gd name="T10" fmla="*/ 8 w 9"/>
                <a:gd name="T11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9">
                  <a:moveTo>
                    <a:pt x="8" y="3"/>
                  </a:moveTo>
                  <a:lnTo>
                    <a:pt x="8" y="3"/>
                  </a:lnTo>
                  <a:lnTo>
                    <a:pt x="8" y="3"/>
                  </a:lnTo>
                  <a:cubicBezTo>
                    <a:pt x="6" y="0"/>
                    <a:pt x="3" y="0"/>
                    <a:pt x="3" y="0"/>
                  </a:cubicBezTo>
                  <a:cubicBezTo>
                    <a:pt x="0" y="3"/>
                    <a:pt x="0" y="3"/>
                    <a:pt x="0" y="6"/>
                  </a:cubicBezTo>
                  <a:cubicBezTo>
                    <a:pt x="6" y="8"/>
                    <a:pt x="8" y="8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5" name="Freeform 230"/>
            <p:cNvSpPr>
              <a:spLocks noChangeArrowheads="1"/>
            </p:cNvSpPr>
            <p:nvPr/>
          </p:nvSpPr>
          <p:spPr bwMode="auto">
            <a:xfrm>
              <a:off x="4449763" y="2941638"/>
              <a:ext cx="7937" cy="1587"/>
            </a:xfrm>
            <a:custGeom>
              <a:avLst/>
              <a:gdLst>
                <a:gd name="T0" fmla="*/ 2 w 20"/>
                <a:gd name="T1" fmla="*/ 2 h 3"/>
                <a:gd name="T2" fmla="*/ 2 w 20"/>
                <a:gd name="T3" fmla="*/ 2 h 3"/>
                <a:gd name="T4" fmla="*/ 2 w 20"/>
                <a:gd name="T5" fmla="*/ 2 h 3"/>
                <a:gd name="T6" fmla="*/ 19 w 20"/>
                <a:gd name="T7" fmla="*/ 0 h 3"/>
                <a:gd name="T8" fmla="*/ 0 w 20"/>
                <a:gd name="T9" fmla="*/ 0 h 3"/>
                <a:gd name="T10" fmla="*/ 2 w 20"/>
                <a:gd name="T1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cubicBezTo>
                    <a:pt x="8" y="2"/>
                    <a:pt x="14" y="2"/>
                    <a:pt x="19" y="0"/>
                  </a:cubicBezTo>
                  <a:lnTo>
                    <a:pt x="0" y="0"/>
                  </a:lnTo>
                  <a:cubicBezTo>
                    <a:pt x="0" y="2"/>
                    <a:pt x="0" y="2"/>
                    <a:pt x="2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6" name="Freeform 231"/>
            <p:cNvSpPr>
              <a:spLocks noChangeArrowheads="1"/>
            </p:cNvSpPr>
            <p:nvPr/>
          </p:nvSpPr>
          <p:spPr bwMode="auto">
            <a:xfrm>
              <a:off x="4456113" y="2422525"/>
              <a:ext cx="1587" cy="1588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3 h 4"/>
                <a:gd name="T4" fmla="*/ 2 w 3"/>
                <a:gd name="T5" fmla="*/ 3 h 4"/>
                <a:gd name="T6" fmla="*/ 2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lnTo>
                    <a:pt x="0" y="3"/>
                  </a:lnTo>
                  <a:lnTo>
                    <a:pt x="2" y="3"/>
                  </a:ln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7" name="Freeform 232"/>
            <p:cNvSpPr>
              <a:spLocks noChangeArrowheads="1"/>
            </p:cNvSpPr>
            <p:nvPr/>
          </p:nvSpPr>
          <p:spPr bwMode="auto">
            <a:xfrm>
              <a:off x="4344988" y="2320925"/>
              <a:ext cx="4762" cy="3175"/>
            </a:xfrm>
            <a:custGeom>
              <a:avLst/>
              <a:gdLst>
                <a:gd name="T0" fmla="*/ 3 w 15"/>
                <a:gd name="T1" fmla="*/ 6 h 10"/>
                <a:gd name="T2" fmla="*/ 11 w 15"/>
                <a:gd name="T3" fmla="*/ 6 h 10"/>
                <a:gd name="T4" fmla="*/ 11 w 15"/>
                <a:gd name="T5" fmla="*/ 0 h 10"/>
                <a:gd name="T6" fmla="*/ 0 w 15"/>
                <a:gd name="T7" fmla="*/ 0 h 10"/>
                <a:gd name="T8" fmla="*/ 3 w 15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0">
                  <a:moveTo>
                    <a:pt x="3" y="6"/>
                  </a:moveTo>
                  <a:cubicBezTo>
                    <a:pt x="6" y="9"/>
                    <a:pt x="9" y="9"/>
                    <a:pt x="11" y="6"/>
                  </a:cubicBezTo>
                  <a:cubicBezTo>
                    <a:pt x="14" y="3"/>
                    <a:pt x="14" y="3"/>
                    <a:pt x="11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8" name="Freeform 233"/>
            <p:cNvSpPr>
              <a:spLocks noChangeArrowheads="1"/>
            </p:cNvSpPr>
            <p:nvPr/>
          </p:nvSpPr>
          <p:spPr bwMode="auto">
            <a:xfrm>
              <a:off x="4413250" y="2333625"/>
              <a:ext cx="4763" cy="4763"/>
            </a:xfrm>
            <a:custGeom>
              <a:avLst/>
              <a:gdLst>
                <a:gd name="T0" fmla="*/ 9 w 12"/>
                <a:gd name="T1" fmla="*/ 11 h 12"/>
                <a:gd name="T2" fmla="*/ 11 w 12"/>
                <a:gd name="T3" fmla="*/ 3 h 12"/>
                <a:gd name="T4" fmla="*/ 6 w 12"/>
                <a:gd name="T5" fmla="*/ 0 h 12"/>
                <a:gd name="T6" fmla="*/ 6 w 12"/>
                <a:gd name="T7" fmla="*/ 0 h 12"/>
                <a:gd name="T8" fmla="*/ 3 w 12"/>
                <a:gd name="T9" fmla="*/ 0 h 12"/>
                <a:gd name="T10" fmla="*/ 9 w 12"/>
                <a:gd name="T11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9" y="11"/>
                  </a:moveTo>
                  <a:cubicBezTo>
                    <a:pt x="11" y="8"/>
                    <a:pt x="11" y="6"/>
                    <a:pt x="11" y="3"/>
                  </a:cubicBezTo>
                  <a:cubicBezTo>
                    <a:pt x="9" y="3"/>
                    <a:pt x="9" y="3"/>
                    <a:pt x="6" y="0"/>
                  </a:cubicBezTo>
                  <a:lnTo>
                    <a:pt x="6" y="0"/>
                  </a:lnTo>
                  <a:cubicBezTo>
                    <a:pt x="6" y="0"/>
                    <a:pt x="6" y="0"/>
                    <a:pt x="3" y="0"/>
                  </a:cubicBezTo>
                  <a:cubicBezTo>
                    <a:pt x="0" y="3"/>
                    <a:pt x="0" y="11"/>
                    <a:pt x="9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9" name="Freeform 234"/>
            <p:cNvSpPr>
              <a:spLocks noChangeArrowheads="1"/>
            </p:cNvSpPr>
            <p:nvPr/>
          </p:nvSpPr>
          <p:spPr bwMode="auto">
            <a:xfrm>
              <a:off x="4344988" y="2425700"/>
              <a:ext cx="1587" cy="1588"/>
            </a:xfrm>
            <a:custGeom>
              <a:avLst/>
              <a:gdLst>
                <a:gd name="T0" fmla="*/ 0 w 4"/>
                <a:gd name="T1" fmla="*/ 0 h 4"/>
                <a:gd name="T2" fmla="*/ 3 w 4"/>
                <a:gd name="T3" fmla="*/ 0 h 4"/>
                <a:gd name="T4" fmla="*/ 0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3" y="0"/>
                  </a:lnTo>
                  <a:cubicBezTo>
                    <a:pt x="0" y="3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0" name="Freeform 235"/>
            <p:cNvSpPr>
              <a:spLocks noChangeArrowheads="1"/>
            </p:cNvSpPr>
            <p:nvPr/>
          </p:nvSpPr>
          <p:spPr bwMode="auto">
            <a:xfrm>
              <a:off x="4195763" y="2681288"/>
              <a:ext cx="4762" cy="4762"/>
            </a:xfrm>
            <a:custGeom>
              <a:avLst/>
              <a:gdLst>
                <a:gd name="T0" fmla="*/ 12 w 13"/>
                <a:gd name="T1" fmla="*/ 0 h 12"/>
                <a:gd name="T2" fmla="*/ 0 w 13"/>
                <a:gd name="T3" fmla="*/ 5 h 12"/>
                <a:gd name="T4" fmla="*/ 0 w 13"/>
                <a:gd name="T5" fmla="*/ 11 h 12"/>
                <a:gd name="T6" fmla="*/ 12 w 13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2">
                  <a:moveTo>
                    <a:pt x="12" y="0"/>
                  </a:moveTo>
                  <a:cubicBezTo>
                    <a:pt x="9" y="0"/>
                    <a:pt x="3" y="3"/>
                    <a:pt x="0" y="5"/>
                  </a:cubicBezTo>
                  <a:cubicBezTo>
                    <a:pt x="0" y="8"/>
                    <a:pt x="0" y="8"/>
                    <a:pt x="0" y="11"/>
                  </a:cubicBezTo>
                  <a:cubicBezTo>
                    <a:pt x="6" y="8"/>
                    <a:pt x="9" y="5"/>
                    <a:pt x="1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1" name="Freeform 236"/>
            <p:cNvSpPr>
              <a:spLocks noChangeArrowheads="1"/>
            </p:cNvSpPr>
            <p:nvPr/>
          </p:nvSpPr>
          <p:spPr bwMode="auto">
            <a:xfrm>
              <a:off x="4405313" y="2203450"/>
              <a:ext cx="3175" cy="3175"/>
            </a:xfrm>
            <a:custGeom>
              <a:avLst/>
              <a:gdLst>
                <a:gd name="T0" fmla="*/ 6 w 10"/>
                <a:gd name="T1" fmla="*/ 6 h 7"/>
                <a:gd name="T2" fmla="*/ 9 w 10"/>
                <a:gd name="T3" fmla="*/ 3 h 7"/>
                <a:gd name="T4" fmla="*/ 0 w 10"/>
                <a:gd name="T5" fmla="*/ 3 h 7"/>
                <a:gd name="T6" fmla="*/ 6 w 10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6" y="6"/>
                  </a:moveTo>
                  <a:cubicBezTo>
                    <a:pt x="6" y="3"/>
                    <a:pt x="9" y="3"/>
                    <a:pt x="9" y="3"/>
                  </a:cubicBezTo>
                  <a:cubicBezTo>
                    <a:pt x="6" y="0"/>
                    <a:pt x="3" y="3"/>
                    <a:pt x="0" y="3"/>
                  </a:cubicBezTo>
                  <a:cubicBezTo>
                    <a:pt x="0" y="6"/>
                    <a:pt x="3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2" name="Freeform 237"/>
            <p:cNvSpPr>
              <a:spLocks noChangeArrowheads="1"/>
            </p:cNvSpPr>
            <p:nvPr/>
          </p:nvSpPr>
          <p:spPr bwMode="auto">
            <a:xfrm>
              <a:off x="4278313" y="2568575"/>
              <a:ext cx="3175" cy="3175"/>
            </a:xfrm>
            <a:custGeom>
              <a:avLst/>
              <a:gdLst>
                <a:gd name="T0" fmla="*/ 0 w 9"/>
                <a:gd name="T1" fmla="*/ 2 h 9"/>
                <a:gd name="T2" fmla="*/ 2 w 9"/>
                <a:gd name="T3" fmla="*/ 8 h 9"/>
                <a:gd name="T4" fmla="*/ 8 w 9"/>
                <a:gd name="T5" fmla="*/ 2 h 9"/>
                <a:gd name="T6" fmla="*/ 0 w 9"/>
                <a:gd name="T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0" y="2"/>
                  </a:moveTo>
                  <a:cubicBezTo>
                    <a:pt x="0" y="5"/>
                    <a:pt x="2" y="5"/>
                    <a:pt x="2" y="8"/>
                  </a:cubicBezTo>
                  <a:cubicBezTo>
                    <a:pt x="5" y="8"/>
                    <a:pt x="8" y="5"/>
                    <a:pt x="8" y="2"/>
                  </a:cubicBezTo>
                  <a:cubicBezTo>
                    <a:pt x="2" y="0"/>
                    <a:pt x="0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3" name="Freeform 238"/>
            <p:cNvSpPr>
              <a:spLocks noChangeArrowheads="1"/>
            </p:cNvSpPr>
            <p:nvPr/>
          </p:nvSpPr>
          <p:spPr bwMode="auto">
            <a:xfrm>
              <a:off x="4206875" y="2436813"/>
              <a:ext cx="3175" cy="3175"/>
            </a:xfrm>
            <a:custGeom>
              <a:avLst/>
              <a:gdLst>
                <a:gd name="T0" fmla="*/ 6 w 10"/>
                <a:gd name="T1" fmla="*/ 8 h 9"/>
                <a:gd name="T2" fmla="*/ 6 w 10"/>
                <a:gd name="T3" fmla="*/ 3 h 9"/>
                <a:gd name="T4" fmla="*/ 0 w 10"/>
                <a:gd name="T5" fmla="*/ 0 h 9"/>
                <a:gd name="T6" fmla="*/ 6 w 10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6" y="8"/>
                  </a:moveTo>
                  <a:cubicBezTo>
                    <a:pt x="6" y="5"/>
                    <a:pt x="9" y="5"/>
                    <a:pt x="6" y="3"/>
                  </a:cubicBezTo>
                  <a:cubicBezTo>
                    <a:pt x="3" y="3"/>
                    <a:pt x="0" y="0"/>
                    <a:pt x="0" y="0"/>
                  </a:cubicBezTo>
                  <a:cubicBezTo>
                    <a:pt x="0" y="5"/>
                    <a:pt x="3" y="8"/>
                    <a:pt x="6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4" name="Freeform 239"/>
            <p:cNvSpPr>
              <a:spLocks noChangeArrowheads="1"/>
            </p:cNvSpPr>
            <p:nvPr/>
          </p:nvSpPr>
          <p:spPr bwMode="auto">
            <a:xfrm>
              <a:off x="4352925" y="2400300"/>
              <a:ext cx="4763" cy="3175"/>
            </a:xfrm>
            <a:custGeom>
              <a:avLst/>
              <a:gdLst>
                <a:gd name="T0" fmla="*/ 14 w 15"/>
                <a:gd name="T1" fmla="*/ 0 h 7"/>
                <a:gd name="T2" fmla="*/ 0 w 15"/>
                <a:gd name="T3" fmla="*/ 0 h 7"/>
                <a:gd name="T4" fmla="*/ 2 w 15"/>
                <a:gd name="T5" fmla="*/ 6 h 7"/>
                <a:gd name="T6" fmla="*/ 14 w 15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14" y="0"/>
                  </a:moveTo>
                  <a:cubicBezTo>
                    <a:pt x="8" y="0"/>
                    <a:pt x="5" y="0"/>
                    <a:pt x="0" y="0"/>
                  </a:cubicBezTo>
                  <a:cubicBezTo>
                    <a:pt x="0" y="3"/>
                    <a:pt x="2" y="3"/>
                    <a:pt x="2" y="6"/>
                  </a:cubicBezTo>
                  <a:cubicBezTo>
                    <a:pt x="5" y="3"/>
                    <a:pt x="11" y="3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5" name="Freeform 240"/>
            <p:cNvSpPr>
              <a:spLocks noChangeArrowheads="1"/>
            </p:cNvSpPr>
            <p:nvPr/>
          </p:nvSpPr>
          <p:spPr bwMode="auto">
            <a:xfrm>
              <a:off x="4202113" y="2528888"/>
              <a:ext cx="3175" cy="1587"/>
            </a:xfrm>
            <a:custGeom>
              <a:avLst/>
              <a:gdLst>
                <a:gd name="T0" fmla="*/ 0 w 7"/>
                <a:gd name="T1" fmla="*/ 0 h 6"/>
                <a:gd name="T2" fmla="*/ 3 w 7"/>
                <a:gd name="T3" fmla="*/ 5 h 6"/>
                <a:gd name="T4" fmla="*/ 6 w 7"/>
                <a:gd name="T5" fmla="*/ 2 h 6"/>
                <a:gd name="T6" fmla="*/ 0 w 7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cubicBezTo>
                    <a:pt x="0" y="2"/>
                    <a:pt x="3" y="2"/>
                    <a:pt x="3" y="5"/>
                  </a:cubicBezTo>
                  <a:cubicBezTo>
                    <a:pt x="3" y="2"/>
                    <a:pt x="6" y="2"/>
                    <a:pt x="6" y="2"/>
                  </a:cubicBez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6" name="Freeform 241"/>
            <p:cNvSpPr>
              <a:spLocks noChangeArrowheads="1"/>
            </p:cNvSpPr>
            <p:nvPr/>
          </p:nvSpPr>
          <p:spPr bwMode="auto">
            <a:xfrm>
              <a:off x="4194175" y="2886075"/>
              <a:ext cx="4763" cy="3175"/>
            </a:xfrm>
            <a:custGeom>
              <a:avLst/>
              <a:gdLst>
                <a:gd name="T0" fmla="*/ 9 w 13"/>
                <a:gd name="T1" fmla="*/ 3 h 7"/>
                <a:gd name="T2" fmla="*/ 6 w 13"/>
                <a:gd name="T3" fmla="*/ 0 h 7"/>
                <a:gd name="T4" fmla="*/ 0 w 13"/>
                <a:gd name="T5" fmla="*/ 6 h 7"/>
                <a:gd name="T6" fmla="*/ 9 w 13"/>
                <a:gd name="T7" fmla="*/ 6 h 7"/>
                <a:gd name="T8" fmla="*/ 9 w 1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9" y="3"/>
                  </a:moveTo>
                  <a:lnTo>
                    <a:pt x="6" y="0"/>
                  </a:lnTo>
                  <a:cubicBezTo>
                    <a:pt x="3" y="0"/>
                    <a:pt x="3" y="3"/>
                    <a:pt x="0" y="6"/>
                  </a:cubicBezTo>
                  <a:cubicBezTo>
                    <a:pt x="3" y="6"/>
                    <a:pt x="6" y="6"/>
                    <a:pt x="9" y="6"/>
                  </a:cubicBezTo>
                  <a:cubicBezTo>
                    <a:pt x="12" y="6"/>
                    <a:pt x="12" y="6"/>
                    <a:pt x="9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7" name="Freeform 242"/>
            <p:cNvSpPr>
              <a:spLocks noChangeArrowheads="1"/>
            </p:cNvSpPr>
            <p:nvPr/>
          </p:nvSpPr>
          <p:spPr bwMode="auto">
            <a:xfrm>
              <a:off x="4208463" y="2895600"/>
              <a:ext cx="3175" cy="3175"/>
            </a:xfrm>
            <a:custGeom>
              <a:avLst/>
              <a:gdLst>
                <a:gd name="T0" fmla="*/ 0 w 7"/>
                <a:gd name="T1" fmla="*/ 8 h 9"/>
                <a:gd name="T2" fmla="*/ 6 w 7"/>
                <a:gd name="T3" fmla="*/ 3 h 9"/>
                <a:gd name="T4" fmla="*/ 0 w 7"/>
                <a:gd name="T5" fmla="*/ 0 h 9"/>
                <a:gd name="T6" fmla="*/ 0 w 7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0" y="8"/>
                  </a:moveTo>
                  <a:cubicBezTo>
                    <a:pt x="3" y="8"/>
                    <a:pt x="6" y="5"/>
                    <a:pt x="6" y="3"/>
                  </a:cubicBezTo>
                  <a:cubicBezTo>
                    <a:pt x="6" y="3"/>
                    <a:pt x="3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8" name="Freeform 243"/>
            <p:cNvSpPr>
              <a:spLocks noChangeArrowheads="1"/>
            </p:cNvSpPr>
            <p:nvPr/>
          </p:nvSpPr>
          <p:spPr bwMode="auto">
            <a:xfrm>
              <a:off x="4198938" y="2732088"/>
              <a:ext cx="4762" cy="3175"/>
            </a:xfrm>
            <a:custGeom>
              <a:avLst/>
              <a:gdLst>
                <a:gd name="T0" fmla="*/ 0 w 15"/>
                <a:gd name="T1" fmla="*/ 2 h 9"/>
                <a:gd name="T2" fmla="*/ 11 w 15"/>
                <a:gd name="T3" fmla="*/ 8 h 9"/>
                <a:gd name="T4" fmla="*/ 14 w 15"/>
                <a:gd name="T5" fmla="*/ 5 h 9"/>
                <a:gd name="T6" fmla="*/ 0 w 15"/>
                <a:gd name="T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9">
                  <a:moveTo>
                    <a:pt x="0" y="2"/>
                  </a:moveTo>
                  <a:cubicBezTo>
                    <a:pt x="3" y="5"/>
                    <a:pt x="5" y="8"/>
                    <a:pt x="11" y="8"/>
                  </a:cubicBezTo>
                  <a:cubicBezTo>
                    <a:pt x="11" y="8"/>
                    <a:pt x="11" y="8"/>
                    <a:pt x="14" y="5"/>
                  </a:cubicBezTo>
                  <a:cubicBezTo>
                    <a:pt x="11" y="2"/>
                    <a:pt x="5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9" name="Freeform 244"/>
            <p:cNvSpPr>
              <a:spLocks noChangeArrowheads="1"/>
            </p:cNvSpPr>
            <p:nvPr/>
          </p:nvSpPr>
          <p:spPr bwMode="auto">
            <a:xfrm>
              <a:off x="4197350" y="3068638"/>
              <a:ext cx="3175" cy="1587"/>
            </a:xfrm>
            <a:custGeom>
              <a:avLst/>
              <a:gdLst>
                <a:gd name="T0" fmla="*/ 3 w 9"/>
                <a:gd name="T1" fmla="*/ 3 h 4"/>
                <a:gd name="T2" fmla="*/ 8 w 9"/>
                <a:gd name="T3" fmla="*/ 3 h 4"/>
                <a:gd name="T4" fmla="*/ 8 w 9"/>
                <a:gd name="T5" fmla="*/ 0 h 4"/>
                <a:gd name="T6" fmla="*/ 3 w 9"/>
                <a:gd name="T7" fmla="*/ 0 h 4"/>
                <a:gd name="T8" fmla="*/ 3 w 9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lnTo>
                    <a:pt x="8" y="3"/>
                  </a:lnTo>
                  <a:lnTo>
                    <a:pt x="8" y="0"/>
                  </a:lnTo>
                  <a:cubicBezTo>
                    <a:pt x="6" y="0"/>
                    <a:pt x="3" y="0"/>
                    <a:pt x="3" y="0"/>
                  </a:cubicBezTo>
                  <a:cubicBezTo>
                    <a:pt x="0" y="0"/>
                    <a:pt x="3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0" name="Freeform 245"/>
            <p:cNvSpPr>
              <a:spLocks noChangeArrowheads="1"/>
            </p:cNvSpPr>
            <p:nvPr/>
          </p:nvSpPr>
          <p:spPr bwMode="auto">
            <a:xfrm>
              <a:off x="4356100" y="2552700"/>
              <a:ext cx="1588" cy="3175"/>
            </a:xfrm>
            <a:custGeom>
              <a:avLst/>
              <a:gdLst>
                <a:gd name="T0" fmla="*/ 0 w 4"/>
                <a:gd name="T1" fmla="*/ 6 h 7"/>
                <a:gd name="T2" fmla="*/ 3 w 4"/>
                <a:gd name="T3" fmla="*/ 0 h 7"/>
                <a:gd name="T4" fmla="*/ 0 w 4"/>
                <a:gd name="T5" fmla="*/ 0 h 7"/>
                <a:gd name="T6" fmla="*/ 0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6"/>
                  </a:moveTo>
                  <a:cubicBezTo>
                    <a:pt x="0" y="3"/>
                    <a:pt x="3" y="0"/>
                    <a:pt x="3" y="0"/>
                  </a:cubicBezTo>
                  <a:lnTo>
                    <a:pt x="0" y="0"/>
                  </a:lnTo>
                  <a:cubicBezTo>
                    <a:pt x="0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1" name="Freeform 246"/>
            <p:cNvSpPr>
              <a:spLocks noChangeArrowheads="1"/>
            </p:cNvSpPr>
            <p:nvPr/>
          </p:nvSpPr>
          <p:spPr bwMode="auto">
            <a:xfrm>
              <a:off x="4376738" y="2652713"/>
              <a:ext cx="4762" cy="1587"/>
            </a:xfrm>
            <a:custGeom>
              <a:avLst/>
              <a:gdLst>
                <a:gd name="T0" fmla="*/ 12 w 13"/>
                <a:gd name="T1" fmla="*/ 3 h 4"/>
                <a:gd name="T2" fmla="*/ 12 w 13"/>
                <a:gd name="T3" fmla="*/ 3 h 4"/>
                <a:gd name="T4" fmla="*/ 0 w 13"/>
                <a:gd name="T5" fmla="*/ 3 h 4"/>
                <a:gd name="T6" fmla="*/ 12 w 13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">
                  <a:moveTo>
                    <a:pt x="12" y="3"/>
                  </a:moveTo>
                  <a:lnTo>
                    <a:pt x="12" y="3"/>
                  </a:lnTo>
                  <a:cubicBezTo>
                    <a:pt x="9" y="0"/>
                    <a:pt x="6" y="3"/>
                    <a:pt x="0" y="3"/>
                  </a:cubicBezTo>
                  <a:cubicBezTo>
                    <a:pt x="3" y="3"/>
                    <a:pt x="9" y="3"/>
                    <a:pt x="1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2" name="Freeform 247"/>
            <p:cNvSpPr>
              <a:spLocks noChangeArrowheads="1"/>
            </p:cNvSpPr>
            <p:nvPr/>
          </p:nvSpPr>
          <p:spPr bwMode="auto">
            <a:xfrm>
              <a:off x="4364038" y="2414588"/>
              <a:ext cx="12700" cy="15875"/>
            </a:xfrm>
            <a:custGeom>
              <a:avLst/>
              <a:gdLst>
                <a:gd name="T0" fmla="*/ 31 w 35"/>
                <a:gd name="T1" fmla="*/ 5 h 43"/>
                <a:gd name="T2" fmla="*/ 14 w 35"/>
                <a:gd name="T3" fmla="*/ 0 h 43"/>
                <a:gd name="T4" fmla="*/ 11 w 35"/>
                <a:gd name="T5" fmla="*/ 2 h 43"/>
                <a:gd name="T6" fmla="*/ 17 w 35"/>
                <a:gd name="T7" fmla="*/ 28 h 43"/>
                <a:gd name="T8" fmla="*/ 0 w 35"/>
                <a:gd name="T9" fmla="*/ 17 h 43"/>
                <a:gd name="T10" fmla="*/ 11 w 35"/>
                <a:gd name="T11" fmla="*/ 42 h 43"/>
                <a:gd name="T12" fmla="*/ 14 w 35"/>
                <a:gd name="T13" fmla="*/ 42 h 43"/>
                <a:gd name="T14" fmla="*/ 25 w 35"/>
                <a:gd name="T15" fmla="*/ 33 h 43"/>
                <a:gd name="T16" fmla="*/ 28 w 35"/>
                <a:gd name="T17" fmla="*/ 33 h 43"/>
                <a:gd name="T18" fmla="*/ 34 w 35"/>
                <a:gd name="T19" fmla="*/ 17 h 43"/>
                <a:gd name="T20" fmla="*/ 22 w 35"/>
                <a:gd name="T21" fmla="*/ 11 h 43"/>
                <a:gd name="T22" fmla="*/ 31 w 35"/>
                <a:gd name="T23" fmla="*/ 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43">
                  <a:moveTo>
                    <a:pt x="31" y="5"/>
                  </a:moveTo>
                  <a:cubicBezTo>
                    <a:pt x="28" y="0"/>
                    <a:pt x="19" y="2"/>
                    <a:pt x="14" y="0"/>
                  </a:cubicBezTo>
                  <a:cubicBezTo>
                    <a:pt x="14" y="0"/>
                    <a:pt x="14" y="2"/>
                    <a:pt x="11" y="2"/>
                  </a:cubicBezTo>
                  <a:cubicBezTo>
                    <a:pt x="11" y="8"/>
                    <a:pt x="25" y="19"/>
                    <a:pt x="17" y="28"/>
                  </a:cubicBezTo>
                  <a:cubicBezTo>
                    <a:pt x="14" y="22"/>
                    <a:pt x="8" y="17"/>
                    <a:pt x="0" y="17"/>
                  </a:cubicBezTo>
                  <a:cubicBezTo>
                    <a:pt x="3" y="25"/>
                    <a:pt x="8" y="33"/>
                    <a:pt x="11" y="42"/>
                  </a:cubicBezTo>
                  <a:lnTo>
                    <a:pt x="14" y="42"/>
                  </a:lnTo>
                  <a:cubicBezTo>
                    <a:pt x="17" y="39"/>
                    <a:pt x="19" y="33"/>
                    <a:pt x="25" y="33"/>
                  </a:cubicBezTo>
                  <a:lnTo>
                    <a:pt x="28" y="33"/>
                  </a:lnTo>
                  <a:cubicBezTo>
                    <a:pt x="31" y="28"/>
                    <a:pt x="34" y="22"/>
                    <a:pt x="34" y="17"/>
                  </a:cubicBezTo>
                  <a:cubicBezTo>
                    <a:pt x="28" y="11"/>
                    <a:pt x="22" y="22"/>
                    <a:pt x="22" y="11"/>
                  </a:cubicBezTo>
                  <a:cubicBezTo>
                    <a:pt x="25" y="8"/>
                    <a:pt x="28" y="8"/>
                    <a:pt x="31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3" name="Freeform 248"/>
            <p:cNvSpPr>
              <a:spLocks noChangeArrowheads="1"/>
            </p:cNvSpPr>
            <p:nvPr/>
          </p:nvSpPr>
          <p:spPr bwMode="auto">
            <a:xfrm>
              <a:off x="4376738" y="2378075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3"/>
                    <a:pt x="0" y="0"/>
                  </a:cubicBezTo>
                  <a:lnTo>
                    <a:pt x="0" y="0"/>
                  </a:lnTo>
                  <a:cubicBezTo>
                    <a:pt x="0" y="3"/>
                    <a:pt x="3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4" name="Freeform 249"/>
            <p:cNvSpPr>
              <a:spLocks noChangeArrowheads="1"/>
            </p:cNvSpPr>
            <p:nvPr/>
          </p:nvSpPr>
          <p:spPr bwMode="auto">
            <a:xfrm>
              <a:off x="4379913" y="2419350"/>
              <a:ext cx="1587" cy="3175"/>
            </a:xfrm>
            <a:custGeom>
              <a:avLst/>
              <a:gdLst>
                <a:gd name="T0" fmla="*/ 5 w 6"/>
                <a:gd name="T1" fmla="*/ 0 h 7"/>
                <a:gd name="T2" fmla="*/ 5 w 6"/>
                <a:gd name="T3" fmla="*/ 0 h 7"/>
                <a:gd name="T4" fmla="*/ 3 w 6"/>
                <a:gd name="T5" fmla="*/ 6 h 7"/>
                <a:gd name="T6" fmla="*/ 5 w 6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5" y="0"/>
                  </a:moveTo>
                  <a:cubicBezTo>
                    <a:pt x="5" y="0"/>
                    <a:pt x="3" y="0"/>
                    <a:pt x="5" y="0"/>
                  </a:cubicBezTo>
                  <a:cubicBezTo>
                    <a:pt x="0" y="0"/>
                    <a:pt x="0" y="3"/>
                    <a:pt x="3" y="6"/>
                  </a:cubicBezTo>
                  <a:cubicBezTo>
                    <a:pt x="5" y="3"/>
                    <a:pt x="5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5" name="Freeform 250"/>
            <p:cNvSpPr>
              <a:spLocks noChangeArrowheads="1"/>
            </p:cNvSpPr>
            <p:nvPr/>
          </p:nvSpPr>
          <p:spPr bwMode="auto">
            <a:xfrm>
              <a:off x="4370388" y="2138363"/>
              <a:ext cx="3175" cy="3175"/>
            </a:xfrm>
            <a:custGeom>
              <a:avLst/>
              <a:gdLst>
                <a:gd name="T0" fmla="*/ 8 w 9"/>
                <a:gd name="T1" fmla="*/ 0 h 10"/>
                <a:gd name="T2" fmla="*/ 0 w 9"/>
                <a:gd name="T3" fmla="*/ 3 h 10"/>
                <a:gd name="T4" fmla="*/ 8 w 9"/>
                <a:gd name="T5" fmla="*/ 9 h 10"/>
                <a:gd name="T6" fmla="*/ 8 w 9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8" y="0"/>
                  </a:moveTo>
                  <a:cubicBezTo>
                    <a:pt x="5" y="0"/>
                    <a:pt x="2" y="0"/>
                    <a:pt x="0" y="3"/>
                  </a:cubicBezTo>
                  <a:cubicBezTo>
                    <a:pt x="2" y="6"/>
                    <a:pt x="5" y="6"/>
                    <a:pt x="8" y="9"/>
                  </a:cubicBezTo>
                  <a:cubicBezTo>
                    <a:pt x="8" y="6"/>
                    <a:pt x="8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6" name="Freeform 251"/>
            <p:cNvSpPr>
              <a:spLocks noChangeArrowheads="1"/>
            </p:cNvSpPr>
            <p:nvPr/>
          </p:nvSpPr>
          <p:spPr bwMode="auto">
            <a:xfrm>
              <a:off x="4387850" y="2792413"/>
              <a:ext cx="11113" cy="14287"/>
            </a:xfrm>
            <a:custGeom>
              <a:avLst/>
              <a:gdLst>
                <a:gd name="T0" fmla="*/ 3 w 30"/>
                <a:gd name="T1" fmla="*/ 23 h 38"/>
                <a:gd name="T2" fmla="*/ 9 w 30"/>
                <a:gd name="T3" fmla="*/ 20 h 38"/>
                <a:gd name="T4" fmla="*/ 3 w 30"/>
                <a:gd name="T5" fmla="*/ 23 h 38"/>
                <a:gd name="T6" fmla="*/ 0 w 30"/>
                <a:gd name="T7" fmla="*/ 28 h 38"/>
                <a:gd name="T8" fmla="*/ 3 w 30"/>
                <a:gd name="T9" fmla="*/ 37 h 38"/>
                <a:gd name="T10" fmla="*/ 14 w 30"/>
                <a:gd name="T11" fmla="*/ 34 h 38"/>
                <a:gd name="T12" fmla="*/ 12 w 30"/>
                <a:gd name="T13" fmla="*/ 34 h 38"/>
                <a:gd name="T14" fmla="*/ 12 w 30"/>
                <a:gd name="T15" fmla="*/ 25 h 38"/>
                <a:gd name="T16" fmla="*/ 20 w 30"/>
                <a:gd name="T17" fmla="*/ 25 h 38"/>
                <a:gd name="T18" fmla="*/ 15 w 30"/>
                <a:gd name="T19" fmla="*/ 33 h 38"/>
                <a:gd name="T20" fmla="*/ 23 w 30"/>
                <a:gd name="T21" fmla="*/ 31 h 38"/>
                <a:gd name="T22" fmla="*/ 0 w 30"/>
                <a:gd name="T23" fmla="*/ 11 h 38"/>
                <a:gd name="T24" fmla="*/ 3 w 30"/>
                <a:gd name="T25" fmla="*/ 23 h 38"/>
                <a:gd name="T26" fmla="*/ 15 w 30"/>
                <a:gd name="T27" fmla="*/ 33 h 38"/>
                <a:gd name="T28" fmla="*/ 14 w 30"/>
                <a:gd name="T29" fmla="*/ 34 h 38"/>
                <a:gd name="T30" fmla="*/ 15 w 30"/>
                <a:gd name="T31" fmla="*/ 3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8">
                  <a:moveTo>
                    <a:pt x="3" y="23"/>
                  </a:moveTo>
                  <a:cubicBezTo>
                    <a:pt x="6" y="23"/>
                    <a:pt x="6" y="20"/>
                    <a:pt x="9" y="20"/>
                  </a:cubicBezTo>
                  <a:cubicBezTo>
                    <a:pt x="9" y="23"/>
                    <a:pt x="6" y="25"/>
                    <a:pt x="3" y="23"/>
                  </a:cubicBezTo>
                  <a:cubicBezTo>
                    <a:pt x="3" y="25"/>
                    <a:pt x="0" y="28"/>
                    <a:pt x="0" y="28"/>
                  </a:cubicBezTo>
                  <a:cubicBezTo>
                    <a:pt x="0" y="31"/>
                    <a:pt x="0" y="34"/>
                    <a:pt x="3" y="37"/>
                  </a:cubicBezTo>
                  <a:cubicBezTo>
                    <a:pt x="8" y="37"/>
                    <a:pt x="11" y="35"/>
                    <a:pt x="14" y="34"/>
                  </a:cubicBezTo>
                  <a:cubicBezTo>
                    <a:pt x="13" y="34"/>
                    <a:pt x="12" y="34"/>
                    <a:pt x="12" y="34"/>
                  </a:cubicBezTo>
                  <a:lnTo>
                    <a:pt x="12" y="25"/>
                  </a:lnTo>
                  <a:lnTo>
                    <a:pt x="20" y="25"/>
                  </a:lnTo>
                  <a:cubicBezTo>
                    <a:pt x="18" y="27"/>
                    <a:pt x="18" y="31"/>
                    <a:pt x="15" y="33"/>
                  </a:cubicBezTo>
                  <a:cubicBezTo>
                    <a:pt x="17" y="32"/>
                    <a:pt x="20" y="31"/>
                    <a:pt x="23" y="31"/>
                  </a:cubicBezTo>
                  <a:cubicBezTo>
                    <a:pt x="29" y="17"/>
                    <a:pt x="17" y="0"/>
                    <a:pt x="0" y="11"/>
                  </a:cubicBezTo>
                  <a:cubicBezTo>
                    <a:pt x="3" y="17"/>
                    <a:pt x="6" y="20"/>
                    <a:pt x="3" y="23"/>
                  </a:cubicBezTo>
                  <a:close/>
                  <a:moveTo>
                    <a:pt x="15" y="33"/>
                  </a:moveTo>
                  <a:cubicBezTo>
                    <a:pt x="15" y="33"/>
                    <a:pt x="14" y="33"/>
                    <a:pt x="14" y="34"/>
                  </a:cubicBezTo>
                  <a:cubicBezTo>
                    <a:pt x="14" y="33"/>
                    <a:pt x="15" y="33"/>
                    <a:pt x="15" y="33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7" name="Freeform 252"/>
            <p:cNvSpPr>
              <a:spLocks noChangeArrowheads="1"/>
            </p:cNvSpPr>
            <p:nvPr/>
          </p:nvSpPr>
          <p:spPr bwMode="auto">
            <a:xfrm>
              <a:off x="4395788" y="2154238"/>
              <a:ext cx="1587" cy="1587"/>
            </a:xfrm>
            <a:custGeom>
              <a:avLst/>
              <a:gdLst>
                <a:gd name="T0" fmla="*/ 3 w 4"/>
                <a:gd name="T1" fmla="*/ 5 h 6"/>
                <a:gd name="T2" fmla="*/ 3 w 4"/>
                <a:gd name="T3" fmla="*/ 0 h 6"/>
                <a:gd name="T4" fmla="*/ 3 w 4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3" y="5"/>
                  </a:moveTo>
                  <a:cubicBezTo>
                    <a:pt x="3" y="2"/>
                    <a:pt x="3" y="2"/>
                    <a:pt x="3" y="0"/>
                  </a:cubicBezTo>
                  <a:cubicBezTo>
                    <a:pt x="0" y="2"/>
                    <a:pt x="0" y="2"/>
                    <a:pt x="3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8" name="Freeform 253"/>
            <p:cNvSpPr>
              <a:spLocks noChangeArrowheads="1"/>
            </p:cNvSpPr>
            <p:nvPr/>
          </p:nvSpPr>
          <p:spPr bwMode="auto">
            <a:xfrm>
              <a:off x="4268788" y="2797175"/>
              <a:ext cx="4762" cy="4763"/>
            </a:xfrm>
            <a:custGeom>
              <a:avLst/>
              <a:gdLst>
                <a:gd name="T0" fmla="*/ 0 w 13"/>
                <a:gd name="T1" fmla="*/ 3 h 13"/>
                <a:gd name="T2" fmla="*/ 3 w 13"/>
                <a:gd name="T3" fmla="*/ 12 h 13"/>
                <a:gd name="T4" fmla="*/ 12 w 13"/>
                <a:gd name="T5" fmla="*/ 9 h 13"/>
                <a:gd name="T6" fmla="*/ 0 w 13"/>
                <a:gd name="T7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3">
                  <a:moveTo>
                    <a:pt x="0" y="3"/>
                  </a:moveTo>
                  <a:cubicBezTo>
                    <a:pt x="0" y="6"/>
                    <a:pt x="3" y="9"/>
                    <a:pt x="3" y="12"/>
                  </a:cubicBezTo>
                  <a:cubicBezTo>
                    <a:pt x="6" y="12"/>
                    <a:pt x="9" y="12"/>
                    <a:pt x="12" y="9"/>
                  </a:cubicBezTo>
                  <a:cubicBezTo>
                    <a:pt x="12" y="3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9" name="Freeform 254"/>
            <p:cNvSpPr>
              <a:spLocks noChangeArrowheads="1"/>
            </p:cNvSpPr>
            <p:nvPr/>
          </p:nvSpPr>
          <p:spPr bwMode="auto">
            <a:xfrm>
              <a:off x="4395788" y="2370138"/>
              <a:ext cx="7937" cy="4762"/>
            </a:xfrm>
            <a:custGeom>
              <a:avLst/>
              <a:gdLst>
                <a:gd name="T0" fmla="*/ 0 w 21"/>
                <a:gd name="T1" fmla="*/ 8 h 15"/>
                <a:gd name="T2" fmla="*/ 11 w 21"/>
                <a:gd name="T3" fmla="*/ 14 h 15"/>
                <a:gd name="T4" fmla="*/ 17 w 21"/>
                <a:gd name="T5" fmla="*/ 11 h 15"/>
                <a:gd name="T6" fmla="*/ 17 w 21"/>
                <a:gd name="T7" fmla="*/ 11 h 15"/>
                <a:gd name="T8" fmla="*/ 20 w 21"/>
                <a:gd name="T9" fmla="*/ 5 h 15"/>
                <a:gd name="T10" fmla="*/ 0 w 21"/>
                <a:gd name="T11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5">
                  <a:moveTo>
                    <a:pt x="0" y="8"/>
                  </a:moveTo>
                  <a:cubicBezTo>
                    <a:pt x="3" y="11"/>
                    <a:pt x="8" y="14"/>
                    <a:pt x="11" y="14"/>
                  </a:cubicBezTo>
                  <a:cubicBezTo>
                    <a:pt x="14" y="14"/>
                    <a:pt x="14" y="11"/>
                    <a:pt x="17" y="11"/>
                  </a:cubicBezTo>
                  <a:lnTo>
                    <a:pt x="17" y="11"/>
                  </a:lnTo>
                  <a:cubicBezTo>
                    <a:pt x="20" y="8"/>
                    <a:pt x="20" y="8"/>
                    <a:pt x="20" y="5"/>
                  </a:cubicBezTo>
                  <a:cubicBezTo>
                    <a:pt x="11" y="3"/>
                    <a:pt x="6" y="0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0" name="Freeform 255"/>
            <p:cNvSpPr>
              <a:spLocks noChangeArrowheads="1"/>
            </p:cNvSpPr>
            <p:nvPr/>
          </p:nvSpPr>
          <p:spPr bwMode="auto">
            <a:xfrm>
              <a:off x="4359275" y="2246313"/>
              <a:ext cx="1588" cy="3175"/>
            </a:xfrm>
            <a:custGeom>
              <a:avLst/>
              <a:gdLst>
                <a:gd name="T0" fmla="*/ 3 w 4"/>
                <a:gd name="T1" fmla="*/ 0 h 9"/>
                <a:gd name="T2" fmla="*/ 0 w 4"/>
                <a:gd name="T3" fmla="*/ 5 h 9"/>
                <a:gd name="T4" fmla="*/ 3 w 4"/>
                <a:gd name="T5" fmla="*/ 8 h 9"/>
                <a:gd name="T6" fmla="*/ 3 w 4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3" y="0"/>
                  </a:moveTo>
                  <a:cubicBezTo>
                    <a:pt x="0" y="2"/>
                    <a:pt x="0" y="2"/>
                    <a:pt x="0" y="5"/>
                  </a:cubicBezTo>
                  <a:cubicBezTo>
                    <a:pt x="0" y="5"/>
                    <a:pt x="3" y="5"/>
                    <a:pt x="3" y="8"/>
                  </a:cubicBezTo>
                  <a:lnTo>
                    <a:pt x="3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1" name="Freeform 256"/>
            <p:cNvSpPr>
              <a:spLocks noChangeArrowheads="1"/>
            </p:cNvSpPr>
            <p:nvPr/>
          </p:nvSpPr>
          <p:spPr bwMode="auto">
            <a:xfrm>
              <a:off x="4400550" y="2359025"/>
              <a:ext cx="12700" cy="7938"/>
            </a:xfrm>
            <a:custGeom>
              <a:avLst/>
              <a:gdLst>
                <a:gd name="T0" fmla="*/ 34 w 35"/>
                <a:gd name="T1" fmla="*/ 11 h 23"/>
                <a:gd name="T2" fmla="*/ 34 w 35"/>
                <a:gd name="T3" fmla="*/ 8 h 23"/>
                <a:gd name="T4" fmla="*/ 28 w 35"/>
                <a:gd name="T5" fmla="*/ 8 h 23"/>
                <a:gd name="T6" fmla="*/ 31 w 35"/>
                <a:gd name="T7" fmla="*/ 5 h 23"/>
                <a:gd name="T8" fmla="*/ 20 w 35"/>
                <a:gd name="T9" fmla="*/ 0 h 23"/>
                <a:gd name="T10" fmla="*/ 6 w 35"/>
                <a:gd name="T11" fmla="*/ 11 h 23"/>
                <a:gd name="T12" fmla="*/ 6 w 35"/>
                <a:gd name="T13" fmla="*/ 14 h 23"/>
                <a:gd name="T14" fmla="*/ 6 w 35"/>
                <a:gd name="T15" fmla="*/ 14 h 23"/>
                <a:gd name="T16" fmla="*/ 0 w 35"/>
                <a:gd name="T17" fmla="*/ 22 h 23"/>
                <a:gd name="T18" fmla="*/ 34 w 35"/>
                <a:gd name="T1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3">
                  <a:moveTo>
                    <a:pt x="34" y="11"/>
                  </a:moveTo>
                  <a:lnTo>
                    <a:pt x="34" y="8"/>
                  </a:lnTo>
                  <a:cubicBezTo>
                    <a:pt x="31" y="8"/>
                    <a:pt x="31" y="8"/>
                    <a:pt x="28" y="8"/>
                  </a:cubicBezTo>
                  <a:lnTo>
                    <a:pt x="31" y="5"/>
                  </a:lnTo>
                  <a:cubicBezTo>
                    <a:pt x="28" y="2"/>
                    <a:pt x="23" y="2"/>
                    <a:pt x="20" y="0"/>
                  </a:cubicBezTo>
                  <a:cubicBezTo>
                    <a:pt x="14" y="2"/>
                    <a:pt x="12" y="5"/>
                    <a:pt x="6" y="11"/>
                  </a:cubicBezTo>
                  <a:lnTo>
                    <a:pt x="6" y="14"/>
                  </a:lnTo>
                  <a:lnTo>
                    <a:pt x="6" y="14"/>
                  </a:lnTo>
                  <a:cubicBezTo>
                    <a:pt x="3" y="17"/>
                    <a:pt x="0" y="19"/>
                    <a:pt x="0" y="22"/>
                  </a:cubicBezTo>
                  <a:cubicBezTo>
                    <a:pt x="17" y="19"/>
                    <a:pt x="17" y="5"/>
                    <a:pt x="34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2" name="Freeform 257"/>
            <p:cNvSpPr>
              <a:spLocks noChangeArrowheads="1"/>
            </p:cNvSpPr>
            <p:nvPr/>
          </p:nvSpPr>
          <p:spPr bwMode="auto">
            <a:xfrm>
              <a:off x="4386263" y="2789238"/>
              <a:ext cx="4762" cy="4762"/>
            </a:xfrm>
            <a:custGeom>
              <a:avLst/>
              <a:gdLst>
                <a:gd name="T0" fmla="*/ 11 w 12"/>
                <a:gd name="T1" fmla="*/ 2 h 15"/>
                <a:gd name="T2" fmla="*/ 8 w 12"/>
                <a:gd name="T3" fmla="*/ 0 h 15"/>
                <a:gd name="T4" fmla="*/ 0 w 12"/>
                <a:gd name="T5" fmla="*/ 8 h 15"/>
                <a:gd name="T6" fmla="*/ 11 w 12"/>
                <a:gd name="T7" fmla="*/ 14 h 15"/>
                <a:gd name="T8" fmla="*/ 11 w 12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11" y="2"/>
                  </a:moveTo>
                  <a:cubicBezTo>
                    <a:pt x="11" y="2"/>
                    <a:pt x="8" y="2"/>
                    <a:pt x="8" y="0"/>
                  </a:cubicBezTo>
                  <a:cubicBezTo>
                    <a:pt x="8" y="5"/>
                    <a:pt x="5" y="8"/>
                    <a:pt x="0" y="8"/>
                  </a:cubicBezTo>
                  <a:cubicBezTo>
                    <a:pt x="3" y="8"/>
                    <a:pt x="8" y="11"/>
                    <a:pt x="11" y="14"/>
                  </a:cubicBezTo>
                  <a:cubicBezTo>
                    <a:pt x="11" y="8"/>
                    <a:pt x="11" y="5"/>
                    <a:pt x="11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3" name="Freeform 258"/>
            <p:cNvSpPr>
              <a:spLocks noChangeArrowheads="1"/>
            </p:cNvSpPr>
            <p:nvPr/>
          </p:nvSpPr>
          <p:spPr bwMode="auto">
            <a:xfrm>
              <a:off x="4395788" y="2338388"/>
              <a:ext cx="3175" cy="3175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3 h 7"/>
                <a:gd name="T4" fmla="*/ 8 w 9"/>
                <a:gd name="T5" fmla="*/ 6 h 7"/>
                <a:gd name="T6" fmla="*/ 3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lnTo>
                    <a:pt x="0" y="3"/>
                  </a:lnTo>
                  <a:cubicBezTo>
                    <a:pt x="0" y="6"/>
                    <a:pt x="3" y="6"/>
                    <a:pt x="8" y="6"/>
                  </a:cubicBezTo>
                  <a:cubicBezTo>
                    <a:pt x="8" y="6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4" name="Freeform 259"/>
            <p:cNvSpPr>
              <a:spLocks noChangeArrowheads="1"/>
            </p:cNvSpPr>
            <p:nvPr/>
          </p:nvSpPr>
          <p:spPr bwMode="auto">
            <a:xfrm>
              <a:off x="4438650" y="2328863"/>
              <a:ext cx="3175" cy="3175"/>
            </a:xfrm>
            <a:custGeom>
              <a:avLst/>
              <a:gdLst>
                <a:gd name="T0" fmla="*/ 5 w 9"/>
                <a:gd name="T1" fmla="*/ 8 h 9"/>
                <a:gd name="T2" fmla="*/ 2 w 9"/>
                <a:gd name="T3" fmla="*/ 0 h 9"/>
                <a:gd name="T4" fmla="*/ 5 w 9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5" y="8"/>
                  </a:moveTo>
                  <a:cubicBezTo>
                    <a:pt x="8" y="3"/>
                    <a:pt x="8" y="0"/>
                    <a:pt x="2" y="0"/>
                  </a:cubicBezTo>
                  <a:cubicBezTo>
                    <a:pt x="2" y="6"/>
                    <a:pt x="0" y="8"/>
                    <a:pt x="5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5" name="Freeform 260"/>
            <p:cNvSpPr>
              <a:spLocks noChangeArrowheads="1"/>
            </p:cNvSpPr>
            <p:nvPr/>
          </p:nvSpPr>
          <p:spPr bwMode="auto">
            <a:xfrm>
              <a:off x="4440238" y="2636838"/>
              <a:ext cx="1587" cy="1587"/>
            </a:xfrm>
            <a:custGeom>
              <a:avLst/>
              <a:gdLst>
                <a:gd name="T0" fmla="*/ 0 w 4"/>
                <a:gd name="T1" fmla="*/ 2 h 3"/>
                <a:gd name="T2" fmla="*/ 3 w 4"/>
                <a:gd name="T3" fmla="*/ 0 h 3"/>
                <a:gd name="T4" fmla="*/ 0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3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6" name="Freeform 261"/>
            <p:cNvSpPr>
              <a:spLocks noChangeArrowheads="1"/>
            </p:cNvSpPr>
            <p:nvPr/>
          </p:nvSpPr>
          <p:spPr bwMode="auto">
            <a:xfrm>
              <a:off x="4435475" y="2560638"/>
              <a:ext cx="3175" cy="6350"/>
            </a:xfrm>
            <a:custGeom>
              <a:avLst/>
              <a:gdLst>
                <a:gd name="T0" fmla="*/ 6 w 9"/>
                <a:gd name="T1" fmla="*/ 17 h 18"/>
                <a:gd name="T2" fmla="*/ 8 w 9"/>
                <a:gd name="T3" fmla="*/ 8 h 18"/>
                <a:gd name="T4" fmla="*/ 8 w 9"/>
                <a:gd name="T5" fmla="*/ 0 h 18"/>
                <a:gd name="T6" fmla="*/ 3 w 9"/>
                <a:gd name="T7" fmla="*/ 0 h 18"/>
                <a:gd name="T8" fmla="*/ 6 w 9"/>
                <a:gd name="T9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8">
                  <a:moveTo>
                    <a:pt x="6" y="17"/>
                  </a:moveTo>
                  <a:cubicBezTo>
                    <a:pt x="6" y="14"/>
                    <a:pt x="6" y="11"/>
                    <a:pt x="8" y="8"/>
                  </a:cubicBezTo>
                  <a:lnTo>
                    <a:pt x="8" y="0"/>
                  </a:lnTo>
                  <a:cubicBezTo>
                    <a:pt x="6" y="0"/>
                    <a:pt x="6" y="0"/>
                    <a:pt x="3" y="0"/>
                  </a:cubicBezTo>
                  <a:cubicBezTo>
                    <a:pt x="0" y="5"/>
                    <a:pt x="0" y="17"/>
                    <a:pt x="6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7" name="Freeform 262"/>
            <p:cNvSpPr>
              <a:spLocks noChangeArrowheads="1"/>
            </p:cNvSpPr>
            <p:nvPr/>
          </p:nvSpPr>
          <p:spPr bwMode="auto">
            <a:xfrm>
              <a:off x="4257675" y="2913063"/>
              <a:ext cx="4763" cy="4762"/>
            </a:xfrm>
            <a:custGeom>
              <a:avLst/>
              <a:gdLst>
                <a:gd name="T0" fmla="*/ 14 w 15"/>
                <a:gd name="T1" fmla="*/ 3 h 12"/>
                <a:gd name="T2" fmla="*/ 3 w 15"/>
                <a:gd name="T3" fmla="*/ 0 h 12"/>
                <a:gd name="T4" fmla="*/ 0 w 15"/>
                <a:gd name="T5" fmla="*/ 5 h 12"/>
                <a:gd name="T6" fmla="*/ 12 w 15"/>
                <a:gd name="T7" fmla="*/ 11 h 12"/>
                <a:gd name="T8" fmla="*/ 14 w 15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2">
                  <a:moveTo>
                    <a:pt x="14" y="3"/>
                  </a:moveTo>
                  <a:cubicBezTo>
                    <a:pt x="12" y="0"/>
                    <a:pt x="9" y="0"/>
                    <a:pt x="3" y="0"/>
                  </a:cubicBezTo>
                  <a:cubicBezTo>
                    <a:pt x="3" y="3"/>
                    <a:pt x="3" y="3"/>
                    <a:pt x="0" y="5"/>
                  </a:cubicBezTo>
                  <a:cubicBezTo>
                    <a:pt x="3" y="8"/>
                    <a:pt x="6" y="11"/>
                    <a:pt x="12" y="11"/>
                  </a:cubicBezTo>
                  <a:cubicBezTo>
                    <a:pt x="14" y="8"/>
                    <a:pt x="14" y="5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8" name="Freeform 263"/>
            <p:cNvSpPr>
              <a:spLocks noChangeArrowheads="1"/>
            </p:cNvSpPr>
            <p:nvPr/>
          </p:nvSpPr>
          <p:spPr bwMode="auto">
            <a:xfrm>
              <a:off x="4241800" y="3048000"/>
              <a:ext cx="3175" cy="1588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0 h 6"/>
                <a:gd name="T4" fmla="*/ 0 w 7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cubicBezTo>
                    <a:pt x="3" y="5"/>
                    <a:pt x="3" y="3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9" name="Freeform 264"/>
            <p:cNvSpPr>
              <a:spLocks noChangeArrowheads="1"/>
            </p:cNvSpPr>
            <p:nvPr/>
          </p:nvSpPr>
          <p:spPr bwMode="auto">
            <a:xfrm>
              <a:off x="4256088" y="2338388"/>
              <a:ext cx="1587" cy="4762"/>
            </a:xfrm>
            <a:custGeom>
              <a:avLst/>
              <a:gdLst>
                <a:gd name="T0" fmla="*/ 0 w 6"/>
                <a:gd name="T1" fmla="*/ 6 h 15"/>
                <a:gd name="T2" fmla="*/ 0 w 6"/>
                <a:gd name="T3" fmla="*/ 14 h 15"/>
                <a:gd name="T4" fmla="*/ 5 w 6"/>
                <a:gd name="T5" fmla="*/ 0 h 15"/>
                <a:gd name="T6" fmla="*/ 0 w 6"/>
                <a:gd name="T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5">
                  <a:moveTo>
                    <a:pt x="0" y="6"/>
                  </a:moveTo>
                  <a:cubicBezTo>
                    <a:pt x="0" y="9"/>
                    <a:pt x="0" y="11"/>
                    <a:pt x="0" y="14"/>
                  </a:cubicBezTo>
                  <a:cubicBezTo>
                    <a:pt x="2" y="9"/>
                    <a:pt x="2" y="6"/>
                    <a:pt x="5" y="0"/>
                  </a:cubicBezTo>
                  <a:cubicBezTo>
                    <a:pt x="2" y="3"/>
                    <a:pt x="2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0" name="Freeform 265"/>
            <p:cNvSpPr>
              <a:spLocks noChangeArrowheads="1"/>
            </p:cNvSpPr>
            <p:nvPr/>
          </p:nvSpPr>
          <p:spPr bwMode="auto">
            <a:xfrm>
              <a:off x="4240213" y="2847975"/>
              <a:ext cx="1587" cy="3175"/>
            </a:xfrm>
            <a:custGeom>
              <a:avLst/>
              <a:gdLst>
                <a:gd name="T0" fmla="*/ 0 w 4"/>
                <a:gd name="T1" fmla="*/ 0 h 7"/>
                <a:gd name="T2" fmla="*/ 0 w 4"/>
                <a:gd name="T3" fmla="*/ 6 h 7"/>
                <a:gd name="T4" fmla="*/ 3 w 4"/>
                <a:gd name="T5" fmla="*/ 6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cubicBezTo>
                    <a:pt x="3" y="3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1" name="Freeform 266"/>
            <p:cNvSpPr>
              <a:spLocks noChangeArrowheads="1"/>
            </p:cNvSpPr>
            <p:nvPr/>
          </p:nvSpPr>
          <p:spPr bwMode="auto">
            <a:xfrm>
              <a:off x="4264025" y="2379663"/>
              <a:ext cx="3175" cy="4762"/>
            </a:xfrm>
            <a:custGeom>
              <a:avLst/>
              <a:gdLst>
                <a:gd name="T0" fmla="*/ 3 w 7"/>
                <a:gd name="T1" fmla="*/ 14 h 15"/>
                <a:gd name="T2" fmla="*/ 6 w 7"/>
                <a:gd name="T3" fmla="*/ 11 h 15"/>
                <a:gd name="T4" fmla="*/ 0 w 7"/>
                <a:gd name="T5" fmla="*/ 0 h 15"/>
                <a:gd name="T6" fmla="*/ 3 w 7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5">
                  <a:moveTo>
                    <a:pt x="3" y="14"/>
                  </a:moveTo>
                  <a:cubicBezTo>
                    <a:pt x="3" y="14"/>
                    <a:pt x="6" y="14"/>
                    <a:pt x="6" y="11"/>
                  </a:cubicBezTo>
                  <a:cubicBezTo>
                    <a:pt x="6" y="6"/>
                    <a:pt x="6" y="0"/>
                    <a:pt x="0" y="0"/>
                  </a:cubicBezTo>
                  <a:cubicBezTo>
                    <a:pt x="0" y="6"/>
                    <a:pt x="0" y="14"/>
                    <a:pt x="3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2" name="Freeform 267"/>
            <p:cNvSpPr>
              <a:spLocks noChangeArrowheads="1"/>
            </p:cNvSpPr>
            <p:nvPr/>
          </p:nvSpPr>
          <p:spPr bwMode="auto">
            <a:xfrm>
              <a:off x="4265613" y="2371725"/>
              <a:ext cx="4762" cy="3175"/>
            </a:xfrm>
            <a:custGeom>
              <a:avLst/>
              <a:gdLst>
                <a:gd name="T0" fmla="*/ 0 w 12"/>
                <a:gd name="T1" fmla="*/ 3 h 10"/>
                <a:gd name="T2" fmla="*/ 0 w 12"/>
                <a:gd name="T3" fmla="*/ 9 h 10"/>
                <a:gd name="T4" fmla="*/ 11 w 12"/>
                <a:gd name="T5" fmla="*/ 3 h 10"/>
                <a:gd name="T6" fmla="*/ 0 w 12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3"/>
                  </a:moveTo>
                  <a:cubicBezTo>
                    <a:pt x="0" y="6"/>
                    <a:pt x="0" y="6"/>
                    <a:pt x="0" y="9"/>
                  </a:cubicBezTo>
                  <a:cubicBezTo>
                    <a:pt x="3" y="6"/>
                    <a:pt x="8" y="6"/>
                    <a:pt x="11" y="3"/>
                  </a:cubicBezTo>
                  <a:cubicBezTo>
                    <a:pt x="5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3" name="Freeform 268"/>
            <p:cNvSpPr>
              <a:spLocks noChangeArrowheads="1"/>
            </p:cNvSpPr>
            <p:nvPr/>
          </p:nvSpPr>
          <p:spPr bwMode="auto">
            <a:xfrm>
              <a:off x="4435475" y="2768600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6 w 9"/>
                <a:gd name="T3" fmla="*/ 9 h 10"/>
                <a:gd name="T4" fmla="*/ 8 w 9"/>
                <a:gd name="T5" fmla="*/ 3 h 10"/>
                <a:gd name="T6" fmla="*/ 0 w 9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cubicBezTo>
                    <a:pt x="3" y="6"/>
                    <a:pt x="3" y="9"/>
                    <a:pt x="6" y="9"/>
                  </a:cubicBezTo>
                  <a:cubicBezTo>
                    <a:pt x="8" y="6"/>
                    <a:pt x="8" y="6"/>
                    <a:pt x="8" y="3"/>
                  </a:cubicBezTo>
                  <a:cubicBezTo>
                    <a:pt x="6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4" name="Freeform 269"/>
            <p:cNvSpPr>
              <a:spLocks noChangeArrowheads="1"/>
            </p:cNvSpPr>
            <p:nvPr/>
          </p:nvSpPr>
          <p:spPr bwMode="auto">
            <a:xfrm>
              <a:off x="4262438" y="2924175"/>
              <a:ext cx="1587" cy="3175"/>
            </a:xfrm>
            <a:custGeom>
              <a:avLst/>
              <a:gdLst>
                <a:gd name="T0" fmla="*/ 0 w 3"/>
                <a:gd name="T1" fmla="*/ 0 h 7"/>
                <a:gd name="T2" fmla="*/ 0 w 3"/>
                <a:gd name="T3" fmla="*/ 6 h 7"/>
                <a:gd name="T4" fmla="*/ 2 w 3"/>
                <a:gd name="T5" fmla="*/ 6 h 7"/>
                <a:gd name="T6" fmla="*/ 0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cubicBezTo>
                    <a:pt x="0" y="0"/>
                    <a:pt x="0" y="3"/>
                    <a:pt x="0" y="6"/>
                  </a:cubicBezTo>
                  <a:cubicBezTo>
                    <a:pt x="0" y="6"/>
                    <a:pt x="0" y="6"/>
                    <a:pt x="2" y="6"/>
                  </a:cubicBezTo>
                  <a:cubicBezTo>
                    <a:pt x="0" y="3"/>
                    <a:pt x="0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5" name="Freeform 270"/>
            <p:cNvSpPr>
              <a:spLocks noChangeArrowheads="1"/>
            </p:cNvSpPr>
            <p:nvPr/>
          </p:nvSpPr>
          <p:spPr bwMode="auto">
            <a:xfrm>
              <a:off x="4262438" y="2681288"/>
              <a:ext cx="4762" cy="4762"/>
            </a:xfrm>
            <a:custGeom>
              <a:avLst/>
              <a:gdLst>
                <a:gd name="T0" fmla="*/ 12 w 13"/>
                <a:gd name="T1" fmla="*/ 0 h 15"/>
                <a:gd name="T2" fmla="*/ 9 w 13"/>
                <a:gd name="T3" fmla="*/ 2 h 15"/>
                <a:gd name="T4" fmla="*/ 12 w 13"/>
                <a:gd name="T5" fmla="*/ 0 h 15"/>
                <a:gd name="T6" fmla="*/ 0 w 13"/>
                <a:gd name="T7" fmla="*/ 5 h 15"/>
                <a:gd name="T8" fmla="*/ 9 w 13"/>
                <a:gd name="T9" fmla="*/ 14 h 15"/>
                <a:gd name="T10" fmla="*/ 9 w 13"/>
                <a:gd name="T11" fmla="*/ 2 h 15"/>
                <a:gd name="T12" fmla="*/ 0 w 13"/>
                <a:gd name="T1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5">
                  <a:moveTo>
                    <a:pt x="12" y="0"/>
                  </a:moveTo>
                  <a:cubicBezTo>
                    <a:pt x="11" y="1"/>
                    <a:pt x="10" y="2"/>
                    <a:pt x="9" y="2"/>
                  </a:cubicBezTo>
                  <a:cubicBezTo>
                    <a:pt x="10" y="1"/>
                    <a:pt x="11" y="1"/>
                    <a:pt x="12" y="0"/>
                  </a:cubicBezTo>
                  <a:close/>
                  <a:moveTo>
                    <a:pt x="0" y="5"/>
                  </a:moveTo>
                  <a:lnTo>
                    <a:pt x="9" y="14"/>
                  </a:lnTo>
                  <a:cubicBezTo>
                    <a:pt x="5" y="8"/>
                    <a:pt x="6" y="5"/>
                    <a:pt x="9" y="2"/>
                  </a:cubicBezTo>
                  <a:cubicBezTo>
                    <a:pt x="7" y="4"/>
                    <a:pt x="4" y="5"/>
                    <a:pt x="0" y="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6" name="Freeform 271"/>
            <p:cNvSpPr>
              <a:spLocks noChangeArrowheads="1"/>
            </p:cNvSpPr>
            <p:nvPr/>
          </p:nvSpPr>
          <p:spPr bwMode="auto">
            <a:xfrm>
              <a:off x="4262438" y="2947988"/>
              <a:ext cx="1587" cy="4762"/>
            </a:xfrm>
            <a:custGeom>
              <a:avLst/>
              <a:gdLst>
                <a:gd name="T0" fmla="*/ 2 w 6"/>
                <a:gd name="T1" fmla="*/ 14 h 15"/>
                <a:gd name="T2" fmla="*/ 5 w 6"/>
                <a:gd name="T3" fmla="*/ 6 h 15"/>
                <a:gd name="T4" fmla="*/ 2 w 6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5">
                  <a:moveTo>
                    <a:pt x="2" y="14"/>
                  </a:moveTo>
                  <a:cubicBezTo>
                    <a:pt x="2" y="12"/>
                    <a:pt x="5" y="12"/>
                    <a:pt x="5" y="6"/>
                  </a:cubicBezTo>
                  <a:cubicBezTo>
                    <a:pt x="0" y="0"/>
                    <a:pt x="0" y="14"/>
                    <a:pt x="2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7" name="Freeform 272"/>
            <p:cNvSpPr>
              <a:spLocks noChangeArrowheads="1"/>
            </p:cNvSpPr>
            <p:nvPr/>
          </p:nvSpPr>
          <p:spPr bwMode="auto">
            <a:xfrm>
              <a:off x="4210050" y="2522538"/>
              <a:ext cx="4763" cy="3175"/>
            </a:xfrm>
            <a:custGeom>
              <a:avLst/>
              <a:gdLst>
                <a:gd name="T0" fmla="*/ 0 w 15"/>
                <a:gd name="T1" fmla="*/ 2 h 9"/>
                <a:gd name="T2" fmla="*/ 2 w 15"/>
                <a:gd name="T3" fmla="*/ 8 h 9"/>
                <a:gd name="T4" fmla="*/ 14 w 15"/>
                <a:gd name="T5" fmla="*/ 2 h 9"/>
                <a:gd name="T6" fmla="*/ 11 w 15"/>
                <a:gd name="T7" fmla="*/ 0 h 9"/>
                <a:gd name="T8" fmla="*/ 0 w 15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9">
                  <a:moveTo>
                    <a:pt x="0" y="2"/>
                  </a:moveTo>
                  <a:cubicBezTo>
                    <a:pt x="0" y="5"/>
                    <a:pt x="2" y="8"/>
                    <a:pt x="2" y="8"/>
                  </a:cubicBezTo>
                  <a:cubicBezTo>
                    <a:pt x="5" y="8"/>
                    <a:pt x="11" y="5"/>
                    <a:pt x="14" y="2"/>
                  </a:cubicBezTo>
                  <a:lnTo>
                    <a:pt x="11" y="0"/>
                  </a:lnTo>
                  <a:cubicBezTo>
                    <a:pt x="5" y="2"/>
                    <a:pt x="2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8" name="Freeform 273"/>
            <p:cNvSpPr>
              <a:spLocks noChangeArrowheads="1"/>
            </p:cNvSpPr>
            <p:nvPr/>
          </p:nvSpPr>
          <p:spPr bwMode="auto">
            <a:xfrm>
              <a:off x="4427538" y="2170113"/>
              <a:ext cx="6350" cy="6350"/>
            </a:xfrm>
            <a:custGeom>
              <a:avLst/>
              <a:gdLst>
                <a:gd name="T0" fmla="*/ 2 w 18"/>
                <a:gd name="T1" fmla="*/ 0 h 18"/>
                <a:gd name="T2" fmla="*/ 0 w 18"/>
                <a:gd name="T3" fmla="*/ 8 h 18"/>
                <a:gd name="T4" fmla="*/ 17 w 18"/>
                <a:gd name="T5" fmla="*/ 17 h 18"/>
                <a:gd name="T6" fmla="*/ 2 w 18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8">
                  <a:moveTo>
                    <a:pt x="2" y="0"/>
                  </a:moveTo>
                  <a:cubicBezTo>
                    <a:pt x="2" y="3"/>
                    <a:pt x="2" y="5"/>
                    <a:pt x="0" y="8"/>
                  </a:cubicBezTo>
                  <a:cubicBezTo>
                    <a:pt x="5" y="11"/>
                    <a:pt x="11" y="14"/>
                    <a:pt x="17" y="17"/>
                  </a:cubicBezTo>
                  <a:cubicBezTo>
                    <a:pt x="17" y="8"/>
                    <a:pt x="11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9" name="Freeform 274"/>
            <p:cNvSpPr>
              <a:spLocks noChangeArrowheads="1"/>
            </p:cNvSpPr>
            <p:nvPr/>
          </p:nvSpPr>
          <p:spPr bwMode="auto">
            <a:xfrm>
              <a:off x="4429125" y="2178050"/>
              <a:ext cx="7938" cy="3175"/>
            </a:xfrm>
            <a:custGeom>
              <a:avLst/>
              <a:gdLst>
                <a:gd name="T0" fmla="*/ 3 w 24"/>
                <a:gd name="T1" fmla="*/ 3 h 10"/>
                <a:gd name="T2" fmla="*/ 3 w 24"/>
                <a:gd name="T3" fmla="*/ 9 h 10"/>
                <a:gd name="T4" fmla="*/ 23 w 24"/>
                <a:gd name="T5" fmla="*/ 9 h 10"/>
                <a:gd name="T6" fmla="*/ 3 w 24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0">
                  <a:moveTo>
                    <a:pt x="3" y="3"/>
                  </a:moveTo>
                  <a:cubicBezTo>
                    <a:pt x="3" y="6"/>
                    <a:pt x="0" y="6"/>
                    <a:pt x="3" y="9"/>
                  </a:cubicBezTo>
                  <a:cubicBezTo>
                    <a:pt x="9" y="9"/>
                    <a:pt x="17" y="9"/>
                    <a:pt x="23" y="9"/>
                  </a:cubicBezTo>
                  <a:cubicBezTo>
                    <a:pt x="17" y="3"/>
                    <a:pt x="12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0" name="Freeform 275"/>
            <p:cNvSpPr>
              <a:spLocks noChangeArrowheads="1"/>
            </p:cNvSpPr>
            <p:nvPr/>
          </p:nvSpPr>
          <p:spPr bwMode="auto">
            <a:xfrm>
              <a:off x="4421188" y="2324100"/>
              <a:ext cx="6350" cy="9525"/>
            </a:xfrm>
            <a:custGeom>
              <a:avLst/>
              <a:gdLst>
                <a:gd name="T0" fmla="*/ 5 w 17"/>
                <a:gd name="T1" fmla="*/ 25 h 26"/>
                <a:gd name="T2" fmla="*/ 16 w 17"/>
                <a:gd name="T3" fmla="*/ 17 h 26"/>
                <a:gd name="T4" fmla="*/ 11 w 17"/>
                <a:gd name="T5" fmla="*/ 8 h 26"/>
                <a:gd name="T6" fmla="*/ 16 w 17"/>
                <a:gd name="T7" fmla="*/ 2 h 26"/>
                <a:gd name="T8" fmla="*/ 14 w 17"/>
                <a:gd name="T9" fmla="*/ 2 h 26"/>
                <a:gd name="T10" fmla="*/ 8 w 17"/>
                <a:gd name="T11" fmla="*/ 5 h 26"/>
                <a:gd name="T12" fmla="*/ 0 w 17"/>
                <a:gd name="T13" fmla="*/ 2 h 26"/>
                <a:gd name="T14" fmla="*/ 0 w 17"/>
                <a:gd name="T15" fmla="*/ 2 h 26"/>
                <a:gd name="T16" fmla="*/ 5 w 17"/>
                <a:gd name="T17" fmla="*/ 11 h 26"/>
                <a:gd name="T18" fmla="*/ 5 w 17"/>
                <a:gd name="T1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5" y="25"/>
                  </a:moveTo>
                  <a:cubicBezTo>
                    <a:pt x="11" y="25"/>
                    <a:pt x="14" y="19"/>
                    <a:pt x="16" y="17"/>
                  </a:cubicBezTo>
                  <a:cubicBezTo>
                    <a:pt x="16" y="17"/>
                    <a:pt x="11" y="11"/>
                    <a:pt x="11" y="8"/>
                  </a:cubicBezTo>
                  <a:cubicBezTo>
                    <a:pt x="11" y="5"/>
                    <a:pt x="16" y="5"/>
                    <a:pt x="16" y="2"/>
                  </a:cubicBezTo>
                  <a:cubicBezTo>
                    <a:pt x="16" y="2"/>
                    <a:pt x="16" y="2"/>
                    <a:pt x="14" y="2"/>
                  </a:cubicBezTo>
                  <a:cubicBezTo>
                    <a:pt x="14" y="2"/>
                    <a:pt x="11" y="5"/>
                    <a:pt x="8" y="5"/>
                  </a:cubicBezTo>
                  <a:cubicBezTo>
                    <a:pt x="8" y="5"/>
                    <a:pt x="5" y="0"/>
                    <a:pt x="0" y="2"/>
                  </a:cubicBezTo>
                  <a:lnTo>
                    <a:pt x="0" y="2"/>
                  </a:lnTo>
                  <a:cubicBezTo>
                    <a:pt x="2" y="5"/>
                    <a:pt x="5" y="5"/>
                    <a:pt x="5" y="11"/>
                  </a:cubicBezTo>
                  <a:cubicBezTo>
                    <a:pt x="5" y="17"/>
                    <a:pt x="0" y="19"/>
                    <a:pt x="5" y="2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1" name="Freeform 276"/>
            <p:cNvSpPr>
              <a:spLocks noChangeArrowheads="1"/>
            </p:cNvSpPr>
            <p:nvPr/>
          </p:nvSpPr>
          <p:spPr bwMode="auto">
            <a:xfrm>
              <a:off x="4214813" y="3008313"/>
              <a:ext cx="1587" cy="4762"/>
            </a:xfrm>
            <a:custGeom>
              <a:avLst/>
              <a:gdLst>
                <a:gd name="T0" fmla="*/ 0 w 6"/>
                <a:gd name="T1" fmla="*/ 8 h 12"/>
                <a:gd name="T2" fmla="*/ 0 w 6"/>
                <a:gd name="T3" fmla="*/ 8 h 12"/>
                <a:gd name="T4" fmla="*/ 5 w 6"/>
                <a:gd name="T5" fmla="*/ 0 h 12"/>
                <a:gd name="T6" fmla="*/ 3 w 6"/>
                <a:gd name="T7" fmla="*/ 0 h 12"/>
                <a:gd name="T8" fmla="*/ 0 w 6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0" y="8"/>
                  </a:moveTo>
                  <a:cubicBezTo>
                    <a:pt x="0" y="8"/>
                    <a:pt x="0" y="11"/>
                    <a:pt x="0" y="8"/>
                  </a:cubicBezTo>
                  <a:cubicBezTo>
                    <a:pt x="3" y="8"/>
                    <a:pt x="5" y="3"/>
                    <a:pt x="5" y="0"/>
                  </a:cubicBezTo>
                  <a:lnTo>
                    <a:pt x="3" y="0"/>
                  </a:lnTo>
                  <a:cubicBezTo>
                    <a:pt x="3" y="3"/>
                    <a:pt x="3" y="8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2" name="Freeform 277"/>
            <p:cNvSpPr>
              <a:spLocks noChangeArrowheads="1"/>
            </p:cNvSpPr>
            <p:nvPr/>
          </p:nvSpPr>
          <p:spPr bwMode="auto">
            <a:xfrm>
              <a:off x="4418013" y="2736850"/>
              <a:ext cx="1587" cy="1588"/>
            </a:xfrm>
            <a:custGeom>
              <a:avLst/>
              <a:gdLst>
                <a:gd name="T0" fmla="*/ 0 w 4"/>
                <a:gd name="T1" fmla="*/ 5 h 6"/>
                <a:gd name="T2" fmla="*/ 3 w 4"/>
                <a:gd name="T3" fmla="*/ 0 h 6"/>
                <a:gd name="T4" fmla="*/ 0 w 4"/>
                <a:gd name="T5" fmla="*/ 3 h 6"/>
                <a:gd name="T6" fmla="*/ 0 w 4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cubicBezTo>
                    <a:pt x="3" y="3"/>
                    <a:pt x="3" y="3"/>
                    <a:pt x="3" y="0"/>
                  </a:cubicBezTo>
                  <a:cubicBezTo>
                    <a:pt x="3" y="0"/>
                    <a:pt x="0" y="0"/>
                    <a:pt x="0" y="3"/>
                  </a:cubicBezTo>
                  <a:cubicBezTo>
                    <a:pt x="0" y="3"/>
                    <a:pt x="0" y="3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3" name="Freeform 278"/>
            <p:cNvSpPr>
              <a:spLocks noChangeArrowheads="1"/>
            </p:cNvSpPr>
            <p:nvPr/>
          </p:nvSpPr>
          <p:spPr bwMode="auto">
            <a:xfrm>
              <a:off x="4413250" y="2327275"/>
              <a:ext cx="4763" cy="4763"/>
            </a:xfrm>
            <a:custGeom>
              <a:avLst/>
              <a:gdLst>
                <a:gd name="T0" fmla="*/ 6 w 12"/>
                <a:gd name="T1" fmla="*/ 11 h 12"/>
                <a:gd name="T2" fmla="*/ 11 w 12"/>
                <a:gd name="T3" fmla="*/ 9 h 12"/>
                <a:gd name="T4" fmla="*/ 0 w 12"/>
                <a:gd name="T5" fmla="*/ 3 h 12"/>
                <a:gd name="T6" fmla="*/ 6 w 12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6" y="11"/>
                  </a:moveTo>
                  <a:cubicBezTo>
                    <a:pt x="8" y="11"/>
                    <a:pt x="11" y="11"/>
                    <a:pt x="11" y="9"/>
                  </a:cubicBezTo>
                  <a:cubicBezTo>
                    <a:pt x="11" y="3"/>
                    <a:pt x="8" y="0"/>
                    <a:pt x="0" y="3"/>
                  </a:cubicBezTo>
                  <a:cubicBezTo>
                    <a:pt x="0" y="6"/>
                    <a:pt x="3" y="9"/>
                    <a:pt x="6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4" name="Freeform 279"/>
            <p:cNvSpPr>
              <a:spLocks noChangeArrowheads="1"/>
            </p:cNvSpPr>
            <p:nvPr/>
          </p:nvSpPr>
          <p:spPr bwMode="auto">
            <a:xfrm>
              <a:off x="4233863" y="3062288"/>
              <a:ext cx="6350" cy="4762"/>
            </a:xfrm>
            <a:custGeom>
              <a:avLst/>
              <a:gdLst>
                <a:gd name="T0" fmla="*/ 2 w 17"/>
                <a:gd name="T1" fmla="*/ 3 h 15"/>
                <a:gd name="T2" fmla="*/ 16 w 17"/>
                <a:gd name="T3" fmla="*/ 6 h 15"/>
                <a:gd name="T4" fmla="*/ 2 w 17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5">
                  <a:moveTo>
                    <a:pt x="2" y="3"/>
                  </a:moveTo>
                  <a:cubicBezTo>
                    <a:pt x="0" y="9"/>
                    <a:pt x="16" y="14"/>
                    <a:pt x="16" y="6"/>
                  </a:cubicBezTo>
                  <a:cubicBezTo>
                    <a:pt x="16" y="0"/>
                    <a:pt x="8" y="3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5" name="Freeform 280"/>
            <p:cNvSpPr>
              <a:spLocks noChangeArrowheads="1"/>
            </p:cNvSpPr>
            <p:nvPr/>
          </p:nvSpPr>
          <p:spPr bwMode="auto">
            <a:xfrm>
              <a:off x="4416425" y="2530475"/>
              <a:ext cx="3175" cy="3175"/>
            </a:xfrm>
            <a:custGeom>
              <a:avLst/>
              <a:gdLst>
                <a:gd name="T0" fmla="*/ 2 w 9"/>
                <a:gd name="T1" fmla="*/ 9 h 10"/>
                <a:gd name="T2" fmla="*/ 8 w 9"/>
                <a:gd name="T3" fmla="*/ 9 h 10"/>
                <a:gd name="T4" fmla="*/ 2 w 9"/>
                <a:gd name="T5" fmla="*/ 0 h 10"/>
                <a:gd name="T6" fmla="*/ 2 w 9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2" y="9"/>
                  </a:moveTo>
                  <a:cubicBezTo>
                    <a:pt x="5" y="9"/>
                    <a:pt x="5" y="9"/>
                    <a:pt x="8" y="9"/>
                  </a:cubicBezTo>
                  <a:cubicBezTo>
                    <a:pt x="8" y="6"/>
                    <a:pt x="5" y="3"/>
                    <a:pt x="2" y="0"/>
                  </a:cubicBezTo>
                  <a:cubicBezTo>
                    <a:pt x="2" y="0"/>
                    <a:pt x="0" y="6"/>
                    <a:pt x="2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6" name="Freeform 281"/>
            <p:cNvSpPr>
              <a:spLocks noChangeArrowheads="1"/>
            </p:cNvSpPr>
            <p:nvPr/>
          </p:nvSpPr>
          <p:spPr bwMode="auto">
            <a:xfrm>
              <a:off x="4222750" y="3038475"/>
              <a:ext cx="3175" cy="1588"/>
            </a:xfrm>
            <a:custGeom>
              <a:avLst/>
              <a:gdLst>
                <a:gd name="T0" fmla="*/ 6 w 7"/>
                <a:gd name="T1" fmla="*/ 2 h 3"/>
                <a:gd name="T2" fmla="*/ 6 w 7"/>
                <a:gd name="T3" fmla="*/ 0 h 3"/>
                <a:gd name="T4" fmla="*/ 0 w 7"/>
                <a:gd name="T5" fmla="*/ 0 h 3"/>
                <a:gd name="T6" fmla="*/ 6 w 7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6" y="2"/>
                  </a:moveTo>
                  <a:lnTo>
                    <a:pt x="6" y="0"/>
                  </a:lnTo>
                  <a:cubicBezTo>
                    <a:pt x="3" y="0"/>
                    <a:pt x="3" y="0"/>
                    <a:pt x="0" y="0"/>
                  </a:cubicBezTo>
                  <a:cubicBezTo>
                    <a:pt x="0" y="2"/>
                    <a:pt x="3" y="2"/>
                    <a:pt x="6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7" name="Freeform 282"/>
            <p:cNvSpPr>
              <a:spLocks noChangeArrowheads="1"/>
            </p:cNvSpPr>
            <p:nvPr/>
          </p:nvSpPr>
          <p:spPr bwMode="auto">
            <a:xfrm>
              <a:off x="4418013" y="2593975"/>
              <a:ext cx="7937" cy="3175"/>
            </a:xfrm>
            <a:custGeom>
              <a:avLst/>
              <a:gdLst>
                <a:gd name="T0" fmla="*/ 20 w 21"/>
                <a:gd name="T1" fmla="*/ 3 h 10"/>
                <a:gd name="T2" fmla="*/ 20 w 21"/>
                <a:gd name="T3" fmla="*/ 0 h 10"/>
                <a:gd name="T4" fmla="*/ 0 w 21"/>
                <a:gd name="T5" fmla="*/ 0 h 10"/>
                <a:gd name="T6" fmla="*/ 3 w 21"/>
                <a:gd name="T7" fmla="*/ 6 h 10"/>
                <a:gd name="T8" fmla="*/ 20 w 21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0">
                  <a:moveTo>
                    <a:pt x="20" y="3"/>
                  </a:moveTo>
                  <a:lnTo>
                    <a:pt x="20" y="0"/>
                  </a:lnTo>
                  <a:cubicBezTo>
                    <a:pt x="14" y="0"/>
                    <a:pt x="9" y="0"/>
                    <a:pt x="0" y="0"/>
                  </a:cubicBezTo>
                  <a:cubicBezTo>
                    <a:pt x="0" y="3"/>
                    <a:pt x="3" y="6"/>
                    <a:pt x="3" y="6"/>
                  </a:cubicBezTo>
                  <a:cubicBezTo>
                    <a:pt x="9" y="9"/>
                    <a:pt x="14" y="6"/>
                    <a:pt x="2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8" name="Freeform 283"/>
            <p:cNvSpPr>
              <a:spLocks noChangeArrowheads="1"/>
            </p:cNvSpPr>
            <p:nvPr/>
          </p:nvSpPr>
          <p:spPr bwMode="auto">
            <a:xfrm>
              <a:off x="4229100" y="3016250"/>
              <a:ext cx="6350" cy="4763"/>
            </a:xfrm>
            <a:custGeom>
              <a:avLst/>
              <a:gdLst>
                <a:gd name="T0" fmla="*/ 0 w 18"/>
                <a:gd name="T1" fmla="*/ 9 h 15"/>
                <a:gd name="T2" fmla="*/ 9 w 18"/>
                <a:gd name="T3" fmla="*/ 14 h 15"/>
                <a:gd name="T4" fmla="*/ 17 w 18"/>
                <a:gd name="T5" fmla="*/ 6 h 15"/>
                <a:gd name="T6" fmla="*/ 0 w 18"/>
                <a:gd name="T7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0" y="9"/>
                  </a:moveTo>
                  <a:cubicBezTo>
                    <a:pt x="3" y="12"/>
                    <a:pt x="6" y="12"/>
                    <a:pt x="9" y="14"/>
                  </a:cubicBezTo>
                  <a:cubicBezTo>
                    <a:pt x="12" y="12"/>
                    <a:pt x="12" y="9"/>
                    <a:pt x="17" y="6"/>
                  </a:cubicBezTo>
                  <a:cubicBezTo>
                    <a:pt x="9" y="0"/>
                    <a:pt x="0" y="0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9" name="Freeform 284"/>
            <p:cNvSpPr>
              <a:spLocks noChangeArrowheads="1"/>
            </p:cNvSpPr>
            <p:nvPr/>
          </p:nvSpPr>
          <p:spPr bwMode="auto">
            <a:xfrm>
              <a:off x="4229100" y="2324100"/>
              <a:ext cx="6350" cy="4763"/>
            </a:xfrm>
            <a:custGeom>
              <a:avLst/>
              <a:gdLst>
                <a:gd name="T0" fmla="*/ 9 w 18"/>
                <a:gd name="T1" fmla="*/ 14 h 15"/>
                <a:gd name="T2" fmla="*/ 17 w 18"/>
                <a:gd name="T3" fmla="*/ 2 h 15"/>
                <a:gd name="T4" fmla="*/ 9 w 18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9" y="14"/>
                  </a:moveTo>
                  <a:cubicBezTo>
                    <a:pt x="9" y="8"/>
                    <a:pt x="17" y="11"/>
                    <a:pt x="17" y="2"/>
                  </a:cubicBezTo>
                  <a:cubicBezTo>
                    <a:pt x="12" y="0"/>
                    <a:pt x="0" y="8"/>
                    <a:pt x="9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0" name="Freeform 285"/>
            <p:cNvSpPr>
              <a:spLocks noChangeArrowheads="1"/>
            </p:cNvSpPr>
            <p:nvPr/>
          </p:nvSpPr>
          <p:spPr bwMode="auto">
            <a:xfrm>
              <a:off x="4227513" y="3009900"/>
              <a:ext cx="1587" cy="1588"/>
            </a:xfrm>
            <a:custGeom>
              <a:avLst/>
              <a:gdLst>
                <a:gd name="T0" fmla="*/ 2 w 6"/>
                <a:gd name="T1" fmla="*/ 0 h 6"/>
                <a:gd name="T2" fmla="*/ 0 w 6"/>
                <a:gd name="T3" fmla="*/ 0 h 6"/>
                <a:gd name="T4" fmla="*/ 2 w 6"/>
                <a:gd name="T5" fmla="*/ 5 h 6"/>
                <a:gd name="T6" fmla="*/ 2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0" y="0"/>
                  </a:lnTo>
                  <a:cubicBezTo>
                    <a:pt x="0" y="2"/>
                    <a:pt x="2" y="2"/>
                    <a:pt x="2" y="5"/>
                  </a:cubicBezTo>
                  <a:cubicBezTo>
                    <a:pt x="5" y="2"/>
                    <a:pt x="5" y="2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1" name="Freeform 286"/>
            <p:cNvSpPr>
              <a:spLocks noChangeArrowheads="1"/>
            </p:cNvSpPr>
            <p:nvPr/>
          </p:nvSpPr>
          <p:spPr bwMode="auto">
            <a:xfrm>
              <a:off x="4221163" y="2279650"/>
              <a:ext cx="1587" cy="1588"/>
            </a:xfrm>
            <a:custGeom>
              <a:avLst/>
              <a:gdLst>
                <a:gd name="T0" fmla="*/ 5 w 6"/>
                <a:gd name="T1" fmla="*/ 5 h 6"/>
                <a:gd name="T2" fmla="*/ 5 w 6"/>
                <a:gd name="T3" fmla="*/ 5 h 6"/>
                <a:gd name="T4" fmla="*/ 2 w 6"/>
                <a:gd name="T5" fmla="*/ 0 h 6"/>
                <a:gd name="T6" fmla="*/ 5 w 6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5" y="5"/>
                  </a:moveTo>
                  <a:lnTo>
                    <a:pt x="5" y="5"/>
                  </a:lnTo>
                  <a:cubicBezTo>
                    <a:pt x="5" y="2"/>
                    <a:pt x="5" y="0"/>
                    <a:pt x="2" y="0"/>
                  </a:cubicBezTo>
                  <a:cubicBezTo>
                    <a:pt x="0" y="2"/>
                    <a:pt x="0" y="5"/>
                    <a:pt x="5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2" name="Freeform 287"/>
            <p:cNvSpPr>
              <a:spLocks noChangeArrowheads="1"/>
            </p:cNvSpPr>
            <p:nvPr/>
          </p:nvSpPr>
          <p:spPr bwMode="auto">
            <a:xfrm>
              <a:off x="4227513" y="2524125"/>
              <a:ext cx="1587" cy="1588"/>
            </a:xfrm>
            <a:custGeom>
              <a:avLst/>
              <a:gdLst>
                <a:gd name="T0" fmla="*/ 0 w 6"/>
                <a:gd name="T1" fmla="*/ 0 h 4"/>
                <a:gd name="T2" fmla="*/ 0 w 6"/>
                <a:gd name="T3" fmla="*/ 0 h 4"/>
                <a:gd name="T4" fmla="*/ 3 w 6"/>
                <a:gd name="T5" fmla="*/ 3 h 4"/>
                <a:gd name="T6" fmla="*/ 5 w 6"/>
                <a:gd name="T7" fmla="*/ 3 h 4"/>
                <a:gd name="T8" fmla="*/ 0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0" y="0"/>
                  </a:lnTo>
                  <a:lnTo>
                    <a:pt x="3" y="3"/>
                  </a:lnTo>
                  <a:cubicBezTo>
                    <a:pt x="3" y="3"/>
                    <a:pt x="3" y="3"/>
                    <a:pt x="5" y="3"/>
                  </a:cubicBezTo>
                  <a:cubicBezTo>
                    <a:pt x="5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3" name="Freeform 288"/>
            <p:cNvSpPr>
              <a:spLocks noChangeArrowheads="1"/>
            </p:cNvSpPr>
            <p:nvPr/>
          </p:nvSpPr>
          <p:spPr bwMode="auto">
            <a:xfrm>
              <a:off x="4227513" y="2309813"/>
              <a:ext cx="1587" cy="1587"/>
            </a:xfrm>
            <a:custGeom>
              <a:avLst/>
              <a:gdLst>
                <a:gd name="T0" fmla="*/ 0 w 3"/>
                <a:gd name="T1" fmla="*/ 0 h 4"/>
                <a:gd name="T2" fmla="*/ 2 w 3"/>
                <a:gd name="T3" fmla="*/ 3 h 4"/>
                <a:gd name="T4" fmla="*/ 0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cubicBezTo>
                    <a:pt x="0" y="0"/>
                    <a:pt x="0" y="3"/>
                    <a:pt x="2" y="3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4" name="Freeform 289"/>
            <p:cNvSpPr>
              <a:spLocks noChangeArrowheads="1"/>
            </p:cNvSpPr>
            <p:nvPr/>
          </p:nvSpPr>
          <p:spPr bwMode="auto">
            <a:xfrm>
              <a:off x="4206875" y="2625725"/>
              <a:ext cx="3175" cy="3175"/>
            </a:xfrm>
            <a:custGeom>
              <a:avLst/>
              <a:gdLst>
                <a:gd name="T0" fmla="*/ 3 w 7"/>
                <a:gd name="T1" fmla="*/ 0 h 10"/>
                <a:gd name="T2" fmla="*/ 3 w 7"/>
                <a:gd name="T3" fmla="*/ 0 h 10"/>
                <a:gd name="T4" fmla="*/ 3 w 7"/>
                <a:gd name="T5" fmla="*/ 9 h 10"/>
                <a:gd name="T6" fmla="*/ 6 w 7"/>
                <a:gd name="T7" fmla="*/ 9 h 10"/>
                <a:gd name="T8" fmla="*/ 3 w 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3" y="0"/>
                  </a:moveTo>
                  <a:lnTo>
                    <a:pt x="3" y="0"/>
                  </a:lnTo>
                  <a:cubicBezTo>
                    <a:pt x="0" y="3"/>
                    <a:pt x="0" y="6"/>
                    <a:pt x="3" y="9"/>
                  </a:cubicBezTo>
                  <a:lnTo>
                    <a:pt x="6" y="9"/>
                  </a:lnTo>
                  <a:cubicBezTo>
                    <a:pt x="6" y="6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5" name="Freeform 290"/>
            <p:cNvSpPr>
              <a:spLocks noChangeArrowheads="1"/>
            </p:cNvSpPr>
            <p:nvPr/>
          </p:nvSpPr>
          <p:spPr bwMode="auto">
            <a:xfrm>
              <a:off x="4487863" y="2220913"/>
              <a:ext cx="3175" cy="3175"/>
            </a:xfrm>
            <a:custGeom>
              <a:avLst/>
              <a:gdLst>
                <a:gd name="T0" fmla="*/ 6 w 7"/>
                <a:gd name="T1" fmla="*/ 6 h 9"/>
                <a:gd name="T2" fmla="*/ 0 w 7"/>
                <a:gd name="T3" fmla="*/ 0 h 9"/>
                <a:gd name="T4" fmla="*/ 0 w 7"/>
                <a:gd name="T5" fmla="*/ 6 h 9"/>
                <a:gd name="T6" fmla="*/ 6 w 7"/>
                <a:gd name="T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6" y="6"/>
                  </a:moveTo>
                  <a:cubicBezTo>
                    <a:pt x="3" y="3"/>
                    <a:pt x="3" y="3"/>
                    <a:pt x="0" y="0"/>
                  </a:cubicBezTo>
                  <a:lnTo>
                    <a:pt x="0" y="6"/>
                  </a:lnTo>
                  <a:cubicBezTo>
                    <a:pt x="3" y="8"/>
                    <a:pt x="3" y="8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6" name="Freeform 291"/>
            <p:cNvSpPr>
              <a:spLocks noChangeArrowheads="1"/>
            </p:cNvSpPr>
            <p:nvPr/>
          </p:nvSpPr>
          <p:spPr bwMode="auto">
            <a:xfrm>
              <a:off x="4514850" y="2251075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0 w 10"/>
                <a:gd name="T3" fmla="*/ 6 h 7"/>
                <a:gd name="T4" fmla="*/ 9 w 10"/>
                <a:gd name="T5" fmla="*/ 6 h 7"/>
                <a:gd name="T6" fmla="*/ 3 w 10"/>
                <a:gd name="T7" fmla="*/ 0 h 7"/>
                <a:gd name="T8" fmla="*/ 0 w 10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lnTo>
                    <a:pt x="0" y="6"/>
                  </a:lnTo>
                  <a:cubicBezTo>
                    <a:pt x="3" y="6"/>
                    <a:pt x="6" y="6"/>
                    <a:pt x="9" y="6"/>
                  </a:cubicBezTo>
                  <a:cubicBezTo>
                    <a:pt x="6" y="3"/>
                    <a:pt x="6" y="0"/>
                    <a:pt x="3" y="0"/>
                  </a:cubicBezTo>
                  <a:cubicBezTo>
                    <a:pt x="3" y="3"/>
                    <a:pt x="3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7" name="Freeform 292"/>
            <p:cNvSpPr>
              <a:spLocks noChangeArrowheads="1"/>
            </p:cNvSpPr>
            <p:nvPr/>
          </p:nvSpPr>
          <p:spPr bwMode="auto">
            <a:xfrm>
              <a:off x="4513263" y="2247900"/>
              <a:ext cx="3175" cy="3175"/>
            </a:xfrm>
            <a:custGeom>
              <a:avLst/>
              <a:gdLst>
                <a:gd name="T0" fmla="*/ 3 w 7"/>
                <a:gd name="T1" fmla="*/ 8 h 9"/>
                <a:gd name="T2" fmla="*/ 6 w 7"/>
                <a:gd name="T3" fmla="*/ 8 h 9"/>
                <a:gd name="T4" fmla="*/ 0 w 7"/>
                <a:gd name="T5" fmla="*/ 0 h 9"/>
                <a:gd name="T6" fmla="*/ 3 w 7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lnTo>
                    <a:pt x="6" y="8"/>
                  </a:lnTo>
                  <a:cubicBezTo>
                    <a:pt x="3" y="6"/>
                    <a:pt x="0" y="3"/>
                    <a:pt x="0" y="0"/>
                  </a:cubicBezTo>
                  <a:cubicBezTo>
                    <a:pt x="0" y="3"/>
                    <a:pt x="3" y="6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8" name="Freeform 293"/>
            <p:cNvSpPr>
              <a:spLocks noChangeArrowheads="1"/>
            </p:cNvSpPr>
            <p:nvPr/>
          </p:nvSpPr>
          <p:spPr bwMode="auto">
            <a:xfrm>
              <a:off x="4486275" y="2220913"/>
              <a:ext cx="1588" cy="3175"/>
            </a:xfrm>
            <a:custGeom>
              <a:avLst/>
              <a:gdLst>
                <a:gd name="T0" fmla="*/ 0 w 4"/>
                <a:gd name="T1" fmla="*/ 8 h 9"/>
                <a:gd name="T2" fmla="*/ 3 w 4"/>
                <a:gd name="T3" fmla="*/ 0 h 9"/>
                <a:gd name="T4" fmla="*/ 0 w 4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9">
                  <a:moveTo>
                    <a:pt x="0" y="8"/>
                  </a:moveTo>
                  <a:cubicBezTo>
                    <a:pt x="3" y="6"/>
                    <a:pt x="3" y="3"/>
                    <a:pt x="3" y="0"/>
                  </a:cubicBezTo>
                  <a:cubicBezTo>
                    <a:pt x="3" y="0"/>
                    <a:pt x="3" y="3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9" name="Freeform 294"/>
            <p:cNvSpPr>
              <a:spLocks noChangeArrowheads="1"/>
            </p:cNvSpPr>
            <p:nvPr/>
          </p:nvSpPr>
          <p:spPr bwMode="auto">
            <a:xfrm>
              <a:off x="4614863" y="2439988"/>
              <a:ext cx="1587" cy="3175"/>
            </a:xfrm>
            <a:custGeom>
              <a:avLst/>
              <a:gdLst>
                <a:gd name="T0" fmla="*/ 0 w 3"/>
                <a:gd name="T1" fmla="*/ 6 h 7"/>
                <a:gd name="T2" fmla="*/ 2 w 3"/>
                <a:gd name="T3" fmla="*/ 3 h 7"/>
                <a:gd name="T4" fmla="*/ 2 w 3"/>
                <a:gd name="T5" fmla="*/ 3 h 7"/>
                <a:gd name="T6" fmla="*/ 2 w 3"/>
                <a:gd name="T7" fmla="*/ 0 h 7"/>
                <a:gd name="T8" fmla="*/ 0 w 3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6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ubicBezTo>
                    <a:pt x="0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0" name="Freeform 295"/>
            <p:cNvSpPr>
              <a:spLocks noChangeArrowheads="1"/>
            </p:cNvSpPr>
            <p:nvPr/>
          </p:nvSpPr>
          <p:spPr bwMode="auto">
            <a:xfrm>
              <a:off x="4452938" y="2190750"/>
              <a:ext cx="4762" cy="9525"/>
            </a:xfrm>
            <a:custGeom>
              <a:avLst/>
              <a:gdLst>
                <a:gd name="T0" fmla="*/ 0 w 15"/>
                <a:gd name="T1" fmla="*/ 12 h 27"/>
                <a:gd name="T2" fmla="*/ 6 w 15"/>
                <a:gd name="T3" fmla="*/ 26 h 27"/>
                <a:gd name="T4" fmla="*/ 14 w 15"/>
                <a:gd name="T5" fmla="*/ 9 h 27"/>
                <a:gd name="T6" fmla="*/ 6 w 15"/>
                <a:gd name="T7" fmla="*/ 0 h 27"/>
                <a:gd name="T8" fmla="*/ 0 w 15"/>
                <a:gd name="T9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7">
                  <a:moveTo>
                    <a:pt x="0" y="12"/>
                  </a:moveTo>
                  <a:cubicBezTo>
                    <a:pt x="3" y="17"/>
                    <a:pt x="3" y="20"/>
                    <a:pt x="6" y="26"/>
                  </a:cubicBezTo>
                  <a:cubicBezTo>
                    <a:pt x="8" y="20"/>
                    <a:pt x="14" y="14"/>
                    <a:pt x="14" y="9"/>
                  </a:cubicBezTo>
                  <a:cubicBezTo>
                    <a:pt x="11" y="6"/>
                    <a:pt x="8" y="3"/>
                    <a:pt x="6" y="0"/>
                  </a:cubicBezTo>
                  <a:cubicBezTo>
                    <a:pt x="3" y="3"/>
                    <a:pt x="0" y="6"/>
                    <a:pt x="0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1" name="Freeform 296"/>
            <p:cNvSpPr>
              <a:spLocks noChangeArrowheads="1"/>
            </p:cNvSpPr>
            <p:nvPr/>
          </p:nvSpPr>
          <p:spPr bwMode="auto">
            <a:xfrm>
              <a:off x="4465638" y="2200275"/>
              <a:ext cx="3175" cy="4763"/>
            </a:xfrm>
            <a:custGeom>
              <a:avLst/>
              <a:gdLst>
                <a:gd name="T0" fmla="*/ 5 w 9"/>
                <a:gd name="T1" fmla="*/ 11 h 12"/>
                <a:gd name="T2" fmla="*/ 8 w 9"/>
                <a:gd name="T3" fmla="*/ 2 h 12"/>
                <a:gd name="T4" fmla="*/ 5 w 9"/>
                <a:gd name="T5" fmla="*/ 0 h 12"/>
                <a:gd name="T6" fmla="*/ 5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5" y="11"/>
                  </a:moveTo>
                  <a:cubicBezTo>
                    <a:pt x="3" y="8"/>
                    <a:pt x="8" y="5"/>
                    <a:pt x="8" y="2"/>
                  </a:cubicBezTo>
                  <a:lnTo>
                    <a:pt x="5" y="0"/>
                  </a:lnTo>
                  <a:cubicBezTo>
                    <a:pt x="3" y="2"/>
                    <a:pt x="0" y="11"/>
                    <a:pt x="5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2" name="Freeform 297"/>
            <p:cNvSpPr>
              <a:spLocks noChangeArrowheads="1"/>
            </p:cNvSpPr>
            <p:nvPr/>
          </p:nvSpPr>
          <p:spPr bwMode="auto">
            <a:xfrm>
              <a:off x="3940175" y="2101850"/>
              <a:ext cx="6350" cy="4763"/>
            </a:xfrm>
            <a:custGeom>
              <a:avLst/>
              <a:gdLst>
                <a:gd name="T0" fmla="*/ 11 w 18"/>
                <a:gd name="T1" fmla="*/ 14 h 15"/>
                <a:gd name="T2" fmla="*/ 17 w 18"/>
                <a:gd name="T3" fmla="*/ 0 h 15"/>
                <a:gd name="T4" fmla="*/ 0 w 18"/>
                <a:gd name="T5" fmla="*/ 5 h 15"/>
                <a:gd name="T6" fmla="*/ 11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1" y="14"/>
                  </a:moveTo>
                  <a:cubicBezTo>
                    <a:pt x="14" y="8"/>
                    <a:pt x="14" y="5"/>
                    <a:pt x="17" y="0"/>
                  </a:cubicBezTo>
                  <a:cubicBezTo>
                    <a:pt x="11" y="3"/>
                    <a:pt x="6" y="5"/>
                    <a:pt x="0" y="5"/>
                  </a:cubicBezTo>
                  <a:cubicBezTo>
                    <a:pt x="3" y="8"/>
                    <a:pt x="9" y="11"/>
                    <a:pt x="11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3" name="Freeform 298"/>
            <p:cNvSpPr>
              <a:spLocks noChangeArrowheads="1"/>
            </p:cNvSpPr>
            <p:nvPr/>
          </p:nvSpPr>
          <p:spPr bwMode="auto">
            <a:xfrm>
              <a:off x="3932238" y="2106613"/>
              <a:ext cx="3175" cy="3175"/>
            </a:xfrm>
            <a:custGeom>
              <a:avLst/>
              <a:gdLst>
                <a:gd name="T0" fmla="*/ 6 w 7"/>
                <a:gd name="T1" fmla="*/ 3 h 7"/>
                <a:gd name="T2" fmla="*/ 6 w 7"/>
                <a:gd name="T3" fmla="*/ 0 h 7"/>
                <a:gd name="T4" fmla="*/ 0 w 7"/>
                <a:gd name="T5" fmla="*/ 3 h 7"/>
                <a:gd name="T6" fmla="*/ 6 w 7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6" y="3"/>
                  </a:moveTo>
                  <a:lnTo>
                    <a:pt x="6" y="0"/>
                  </a:lnTo>
                  <a:cubicBezTo>
                    <a:pt x="3" y="0"/>
                    <a:pt x="0" y="3"/>
                    <a:pt x="0" y="3"/>
                  </a:cubicBezTo>
                  <a:cubicBezTo>
                    <a:pt x="0" y="6"/>
                    <a:pt x="3" y="6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4" name="Freeform 299"/>
            <p:cNvSpPr>
              <a:spLocks noChangeArrowheads="1"/>
            </p:cNvSpPr>
            <p:nvPr/>
          </p:nvSpPr>
          <p:spPr bwMode="auto">
            <a:xfrm>
              <a:off x="3748088" y="2235200"/>
              <a:ext cx="4762" cy="3175"/>
            </a:xfrm>
            <a:custGeom>
              <a:avLst/>
              <a:gdLst>
                <a:gd name="T0" fmla="*/ 11 w 12"/>
                <a:gd name="T1" fmla="*/ 3 h 10"/>
                <a:gd name="T2" fmla="*/ 3 w 12"/>
                <a:gd name="T3" fmla="*/ 0 h 10"/>
                <a:gd name="T4" fmla="*/ 0 w 12"/>
                <a:gd name="T5" fmla="*/ 3 h 10"/>
                <a:gd name="T6" fmla="*/ 11 w 12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1" y="3"/>
                  </a:moveTo>
                  <a:cubicBezTo>
                    <a:pt x="8" y="6"/>
                    <a:pt x="5" y="0"/>
                    <a:pt x="3" y="0"/>
                  </a:cubicBezTo>
                  <a:lnTo>
                    <a:pt x="0" y="3"/>
                  </a:lnTo>
                  <a:cubicBezTo>
                    <a:pt x="3" y="3"/>
                    <a:pt x="11" y="9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5" name="Freeform 300"/>
            <p:cNvSpPr>
              <a:spLocks noChangeArrowheads="1"/>
            </p:cNvSpPr>
            <p:nvPr/>
          </p:nvSpPr>
          <p:spPr bwMode="auto">
            <a:xfrm>
              <a:off x="3851275" y="2149475"/>
              <a:ext cx="1588" cy="4763"/>
            </a:xfrm>
            <a:custGeom>
              <a:avLst/>
              <a:gdLst>
                <a:gd name="T0" fmla="*/ 3 w 4"/>
                <a:gd name="T1" fmla="*/ 14 h 15"/>
                <a:gd name="T2" fmla="*/ 3 w 4"/>
                <a:gd name="T3" fmla="*/ 0 h 15"/>
                <a:gd name="T4" fmla="*/ 0 w 4"/>
                <a:gd name="T5" fmla="*/ 0 h 15"/>
                <a:gd name="T6" fmla="*/ 3 w 4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5">
                  <a:moveTo>
                    <a:pt x="3" y="14"/>
                  </a:moveTo>
                  <a:cubicBezTo>
                    <a:pt x="3" y="8"/>
                    <a:pt x="3" y="5"/>
                    <a:pt x="3" y="0"/>
                  </a:cubicBezTo>
                  <a:lnTo>
                    <a:pt x="0" y="0"/>
                  </a:lnTo>
                  <a:cubicBezTo>
                    <a:pt x="3" y="5"/>
                    <a:pt x="3" y="11"/>
                    <a:pt x="3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6" name="Freeform 301"/>
            <p:cNvSpPr>
              <a:spLocks noChangeArrowheads="1"/>
            </p:cNvSpPr>
            <p:nvPr/>
          </p:nvSpPr>
          <p:spPr bwMode="auto">
            <a:xfrm>
              <a:off x="4541838" y="2439988"/>
              <a:ext cx="6350" cy="9525"/>
            </a:xfrm>
            <a:custGeom>
              <a:avLst/>
              <a:gdLst>
                <a:gd name="T0" fmla="*/ 3 w 18"/>
                <a:gd name="T1" fmla="*/ 23 h 27"/>
                <a:gd name="T2" fmla="*/ 3 w 18"/>
                <a:gd name="T3" fmla="*/ 23 h 27"/>
                <a:gd name="T4" fmla="*/ 17 w 18"/>
                <a:gd name="T5" fmla="*/ 23 h 27"/>
                <a:gd name="T6" fmla="*/ 14 w 18"/>
                <a:gd name="T7" fmla="*/ 9 h 27"/>
                <a:gd name="T8" fmla="*/ 0 w 18"/>
                <a:gd name="T9" fmla="*/ 9 h 27"/>
                <a:gd name="T10" fmla="*/ 3 w 18"/>
                <a:gd name="T11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7">
                  <a:moveTo>
                    <a:pt x="3" y="23"/>
                  </a:moveTo>
                  <a:cubicBezTo>
                    <a:pt x="3" y="26"/>
                    <a:pt x="6" y="26"/>
                    <a:pt x="3" y="23"/>
                  </a:cubicBezTo>
                  <a:cubicBezTo>
                    <a:pt x="12" y="20"/>
                    <a:pt x="9" y="23"/>
                    <a:pt x="17" y="23"/>
                  </a:cubicBezTo>
                  <a:cubicBezTo>
                    <a:pt x="17" y="17"/>
                    <a:pt x="14" y="14"/>
                    <a:pt x="14" y="9"/>
                  </a:cubicBezTo>
                  <a:cubicBezTo>
                    <a:pt x="9" y="3"/>
                    <a:pt x="3" y="0"/>
                    <a:pt x="0" y="9"/>
                  </a:cubicBezTo>
                  <a:cubicBezTo>
                    <a:pt x="6" y="9"/>
                    <a:pt x="0" y="20"/>
                    <a:pt x="3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7" name="Freeform 302"/>
            <p:cNvSpPr>
              <a:spLocks noChangeArrowheads="1"/>
            </p:cNvSpPr>
            <p:nvPr/>
          </p:nvSpPr>
          <p:spPr bwMode="auto">
            <a:xfrm>
              <a:off x="4122738" y="3081338"/>
              <a:ext cx="6350" cy="3175"/>
            </a:xfrm>
            <a:custGeom>
              <a:avLst/>
              <a:gdLst>
                <a:gd name="T0" fmla="*/ 3 w 17"/>
                <a:gd name="T1" fmla="*/ 0 h 10"/>
                <a:gd name="T2" fmla="*/ 0 w 17"/>
                <a:gd name="T3" fmla="*/ 9 h 10"/>
                <a:gd name="T4" fmla="*/ 7 w 17"/>
                <a:gd name="T5" fmla="*/ 9 h 10"/>
                <a:gd name="T6" fmla="*/ 16 w 17"/>
                <a:gd name="T7" fmla="*/ 9 h 10"/>
                <a:gd name="T8" fmla="*/ 3 w 1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0">
                  <a:moveTo>
                    <a:pt x="3" y="0"/>
                  </a:moveTo>
                  <a:cubicBezTo>
                    <a:pt x="3" y="0"/>
                    <a:pt x="0" y="6"/>
                    <a:pt x="0" y="9"/>
                  </a:cubicBezTo>
                  <a:cubicBezTo>
                    <a:pt x="3" y="9"/>
                    <a:pt x="6" y="9"/>
                    <a:pt x="7" y="9"/>
                  </a:cubicBezTo>
                  <a:cubicBezTo>
                    <a:pt x="10" y="9"/>
                    <a:pt x="13" y="9"/>
                    <a:pt x="16" y="9"/>
                  </a:cubicBezTo>
                  <a:cubicBezTo>
                    <a:pt x="16" y="3"/>
                    <a:pt x="10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8" name="Freeform 303"/>
            <p:cNvSpPr>
              <a:spLocks noChangeArrowheads="1"/>
            </p:cNvSpPr>
            <p:nvPr/>
          </p:nvSpPr>
          <p:spPr bwMode="auto">
            <a:xfrm>
              <a:off x="3767138" y="2936875"/>
              <a:ext cx="1587" cy="1588"/>
            </a:xfrm>
            <a:custGeom>
              <a:avLst/>
              <a:gdLst>
                <a:gd name="T0" fmla="*/ 0 w 4"/>
                <a:gd name="T1" fmla="*/ 0 h 3"/>
                <a:gd name="T2" fmla="*/ 0 w 4"/>
                <a:gd name="T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cubicBezTo>
                    <a:pt x="0" y="0"/>
                    <a:pt x="3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9" name="Freeform 304"/>
            <p:cNvSpPr>
              <a:spLocks noChangeArrowheads="1"/>
            </p:cNvSpPr>
            <p:nvPr/>
          </p:nvSpPr>
          <p:spPr bwMode="auto">
            <a:xfrm>
              <a:off x="3725863" y="2890838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5 w 9"/>
                <a:gd name="T3" fmla="*/ 11 h 12"/>
                <a:gd name="T4" fmla="*/ 8 w 9"/>
                <a:gd name="T5" fmla="*/ 3 h 12"/>
                <a:gd name="T6" fmla="*/ 0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2" y="5"/>
                    <a:pt x="2" y="8"/>
                    <a:pt x="5" y="11"/>
                  </a:cubicBezTo>
                  <a:cubicBezTo>
                    <a:pt x="5" y="8"/>
                    <a:pt x="8" y="5"/>
                    <a:pt x="8" y="3"/>
                  </a:cubicBezTo>
                  <a:cubicBezTo>
                    <a:pt x="5" y="0"/>
                    <a:pt x="2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0" name="Freeform 305"/>
            <p:cNvSpPr>
              <a:spLocks noChangeArrowheads="1"/>
            </p:cNvSpPr>
            <p:nvPr/>
          </p:nvSpPr>
          <p:spPr bwMode="auto">
            <a:xfrm>
              <a:off x="3665538" y="2790825"/>
              <a:ext cx="3175" cy="4763"/>
            </a:xfrm>
            <a:custGeom>
              <a:avLst/>
              <a:gdLst>
                <a:gd name="T0" fmla="*/ 0 w 10"/>
                <a:gd name="T1" fmla="*/ 0 h 13"/>
                <a:gd name="T2" fmla="*/ 6 w 10"/>
                <a:gd name="T3" fmla="*/ 12 h 13"/>
                <a:gd name="T4" fmla="*/ 9 w 10"/>
                <a:gd name="T5" fmla="*/ 0 h 13"/>
                <a:gd name="T6" fmla="*/ 0 w 1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0" y="0"/>
                  </a:moveTo>
                  <a:cubicBezTo>
                    <a:pt x="3" y="3"/>
                    <a:pt x="3" y="9"/>
                    <a:pt x="6" y="12"/>
                  </a:cubicBezTo>
                  <a:cubicBezTo>
                    <a:pt x="6" y="9"/>
                    <a:pt x="9" y="3"/>
                    <a:pt x="9" y="0"/>
                  </a:cubicBezTo>
                  <a:cubicBezTo>
                    <a:pt x="6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1" name="Freeform 306"/>
            <p:cNvSpPr>
              <a:spLocks noChangeArrowheads="1"/>
            </p:cNvSpPr>
            <p:nvPr/>
          </p:nvSpPr>
          <p:spPr bwMode="auto">
            <a:xfrm>
              <a:off x="3987800" y="3063875"/>
              <a:ext cx="4763" cy="3175"/>
            </a:xfrm>
            <a:custGeom>
              <a:avLst/>
              <a:gdLst>
                <a:gd name="T0" fmla="*/ 8 w 15"/>
                <a:gd name="T1" fmla="*/ 0 h 7"/>
                <a:gd name="T2" fmla="*/ 5 w 15"/>
                <a:gd name="T3" fmla="*/ 3 h 7"/>
                <a:gd name="T4" fmla="*/ 0 w 15"/>
                <a:gd name="T5" fmla="*/ 0 h 7"/>
                <a:gd name="T6" fmla="*/ 0 w 15"/>
                <a:gd name="T7" fmla="*/ 0 h 7"/>
                <a:gd name="T8" fmla="*/ 0 w 15"/>
                <a:gd name="T9" fmla="*/ 3 h 7"/>
                <a:gd name="T10" fmla="*/ 11 w 15"/>
                <a:gd name="T11" fmla="*/ 6 h 7"/>
                <a:gd name="T12" fmla="*/ 11 w 15"/>
                <a:gd name="T13" fmla="*/ 6 h 7"/>
                <a:gd name="T14" fmla="*/ 11 w 15"/>
                <a:gd name="T15" fmla="*/ 6 h 7"/>
                <a:gd name="T16" fmla="*/ 11 w 15"/>
                <a:gd name="T17" fmla="*/ 6 h 7"/>
                <a:gd name="T18" fmla="*/ 8 w 15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7">
                  <a:moveTo>
                    <a:pt x="8" y="0"/>
                  </a:moveTo>
                  <a:lnTo>
                    <a:pt x="5" y="3"/>
                  </a:lnTo>
                  <a:cubicBezTo>
                    <a:pt x="2" y="3"/>
                    <a:pt x="2" y="0"/>
                    <a:pt x="0" y="0"/>
                  </a:cubicBezTo>
                  <a:lnTo>
                    <a:pt x="0" y="0"/>
                  </a:lnTo>
                  <a:lnTo>
                    <a:pt x="0" y="3"/>
                  </a:lnTo>
                  <a:cubicBezTo>
                    <a:pt x="2" y="3"/>
                    <a:pt x="5" y="6"/>
                    <a:pt x="11" y="6"/>
                  </a:cubicBez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cubicBezTo>
                    <a:pt x="14" y="6"/>
                    <a:pt x="11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2" name="Freeform 307"/>
            <p:cNvSpPr>
              <a:spLocks noChangeArrowheads="1"/>
            </p:cNvSpPr>
            <p:nvPr/>
          </p:nvSpPr>
          <p:spPr bwMode="auto">
            <a:xfrm>
              <a:off x="3938588" y="3046413"/>
              <a:ext cx="3175" cy="3175"/>
            </a:xfrm>
            <a:custGeom>
              <a:avLst/>
              <a:gdLst>
                <a:gd name="T0" fmla="*/ 3 w 7"/>
                <a:gd name="T1" fmla="*/ 0 h 7"/>
                <a:gd name="T2" fmla="*/ 0 w 7"/>
                <a:gd name="T3" fmla="*/ 3 h 7"/>
                <a:gd name="T4" fmla="*/ 3 w 7"/>
                <a:gd name="T5" fmla="*/ 3 h 7"/>
                <a:gd name="T6" fmla="*/ 3 w 7"/>
                <a:gd name="T7" fmla="*/ 0 h 7"/>
                <a:gd name="T8" fmla="*/ 6 w 7"/>
                <a:gd name="T9" fmla="*/ 6 h 7"/>
                <a:gd name="T10" fmla="*/ 3 w 7"/>
                <a:gd name="T11" fmla="*/ 3 h 7"/>
                <a:gd name="T12" fmla="*/ 6 w 7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7">
                  <a:moveTo>
                    <a:pt x="3" y="0"/>
                  </a:moveTo>
                  <a:lnTo>
                    <a:pt x="0" y="3"/>
                  </a:ln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1"/>
                    <a:pt x="3" y="0"/>
                  </a:cubicBezTo>
                  <a:close/>
                  <a:moveTo>
                    <a:pt x="6" y="6"/>
                  </a:moveTo>
                  <a:cubicBezTo>
                    <a:pt x="4" y="6"/>
                    <a:pt x="4" y="5"/>
                    <a:pt x="3" y="3"/>
                  </a:cubicBezTo>
                  <a:cubicBezTo>
                    <a:pt x="4" y="4"/>
                    <a:pt x="5" y="5"/>
                    <a:pt x="6" y="6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3" name="Freeform 308"/>
            <p:cNvSpPr>
              <a:spLocks noChangeArrowheads="1"/>
            </p:cNvSpPr>
            <p:nvPr/>
          </p:nvSpPr>
          <p:spPr bwMode="auto">
            <a:xfrm>
              <a:off x="3652838" y="2755900"/>
              <a:ext cx="1587" cy="3175"/>
            </a:xfrm>
            <a:custGeom>
              <a:avLst/>
              <a:gdLst>
                <a:gd name="T0" fmla="*/ 3 w 4"/>
                <a:gd name="T1" fmla="*/ 0 h 10"/>
                <a:gd name="T2" fmla="*/ 0 w 4"/>
                <a:gd name="T3" fmla="*/ 6 h 10"/>
                <a:gd name="T4" fmla="*/ 0 w 4"/>
                <a:gd name="T5" fmla="*/ 9 h 10"/>
                <a:gd name="T6" fmla="*/ 3 w 4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0"/>
                  </a:moveTo>
                  <a:cubicBezTo>
                    <a:pt x="0" y="3"/>
                    <a:pt x="0" y="3"/>
                    <a:pt x="0" y="6"/>
                  </a:cubicBezTo>
                  <a:lnTo>
                    <a:pt x="0" y="9"/>
                  </a:lnTo>
                  <a:cubicBezTo>
                    <a:pt x="0" y="6"/>
                    <a:pt x="3" y="6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4" name="Freeform 309"/>
            <p:cNvSpPr>
              <a:spLocks noChangeArrowheads="1"/>
            </p:cNvSpPr>
            <p:nvPr/>
          </p:nvSpPr>
          <p:spPr bwMode="auto">
            <a:xfrm>
              <a:off x="3889375" y="3024188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0 w 9"/>
                <a:gd name="T3" fmla="*/ 6 h 10"/>
                <a:gd name="T4" fmla="*/ 8 w 9"/>
                <a:gd name="T5" fmla="*/ 9 h 10"/>
                <a:gd name="T6" fmla="*/ 8 w 9"/>
                <a:gd name="T7" fmla="*/ 0 h 10"/>
                <a:gd name="T8" fmla="*/ 0 w 9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lnTo>
                    <a:pt x="0" y="6"/>
                  </a:lnTo>
                  <a:cubicBezTo>
                    <a:pt x="3" y="9"/>
                    <a:pt x="6" y="9"/>
                    <a:pt x="8" y="9"/>
                  </a:cubicBezTo>
                  <a:cubicBezTo>
                    <a:pt x="8" y="6"/>
                    <a:pt x="8" y="3"/>
                    <a:pt x="8" y="0"/>
                  </a:cubicBezTo>
                  <a:cubicBezTo>
                    <a:pt x="6" y="3"/>
                    <a:pt x="3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5" name="Freeform 310"/>
            <p:cNvSpPr>
              <a:spLocks noChangeArrowheads="1"/>
            </p:cNvSpPr>
            <p:nvPr/>
          </p:nvSpPr>
          <p:spPr bwMode="auto">
            <a:xfrm>
              <a:off x="3765550" y="2930525"/>
              <a:ext cx="4763" cy="4763"/>
            </a:xfrm>
            <a:custGeom>
              <a:avLst/>
              <a:gdLst>
                <a:gd name="T0" fmla="*/ 14 w 15"/>
                <a:gd name="T1" fmla="*/ 0 h 15"/>
                <a:gd name="T2" fmla="*/ 6 w 15"/>
                <a:gd name="T3" fmla="*/ 2 h 15"/>
                <a:gd name="T4" fmla="*/ 6 w 15"/>
                <a:gd name="T5" fmla="*/ 8 h 15"/>
                <a:gd name="T6" fmla="*/ 8 w 15"/>
                <a:gd name="T7" fmla="*/ 8 h 15"/>
                <a:gd name="T8" fmla="*/ 0 w 15"/>
                <a:gd name="T9" fmla="*/ 11 h 15"/>
                <a:gd name="T10" fmla="*/ 3 w 15"/>
                <a:gd name="T11" fmla="*/ 14 h 15"/>
                <a:gd name="T12" fmla="*/ 11 w 15"/>
                <a:gd name="T13" fmla="*/ 14 h 15"/>
                <a:gd name="T14" fmla="*/ 14 w 15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14" y="0"/>
                  </a:moveTo>
                  <a:cubicBezTo>
                    <a:pt x="11" y="0"/>
                    <a:pt x="8" y="0"/>
                    <a:pt x="6" y="2"/>
                  </a:cubicBezTo>
                  <a:cubicBezTo>
                    <a:pt x="6" y="5"/>
                    <a:pt x="6" y="5"/>
                    <a:pt x="6" y="8"/>
                  </a:cubicBezTo>
                  <a:cubicBezTo>
                    <a:pt x="6" y="8"/>
                    <a:pt x="6" y="8"/>
                    <a:pt x="8" y="8"/>
                  </a:cubicBezTo>
                  <a:cubicBezTo>
                    <a:pt x="6" y="8"/>
                    <a:pt x="3" y="11"/>
                    <a:pt x="0" y="11"/>
                  </a:cubicBezTo>
                  <a:lnTo>
                    <a:pt x="3" y="14"/>
                  </a:lnTo>
                  <a:cubicBezTo>
                    <a:pt x="6" y="14"/>
                    <a:pt x="8" y="14"/>
                    <a:pt x="11" y="14"/>
                  </a:cubicBezTo>
                  <a:cubicBezTo>
                    <a:pt x="11" y="8"/>
                    <a:pt x="14" y="5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6" name="Freeform 311"/>
            <p:cNvSpPr>
              <a:spLocks noChangeArrowheads="1"/>
            </p:cNvSpPr>
            <p:nvPr/>
          </p:nvSpPr>
          <p:spPr bwMode="auto">
            <a:xfrm>
              <a:off x="3624263" y="2492375"/>
              <a:ext cx="1587" cy="317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0 h 7"/>
                <a:gd name="T4" fmla="*/ 5 w 6"/>
                <a:gd name="T5" fmla="*/ 6 h 7"/>
                <a:gd name="T6" fmla="*/ 0 w 6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lnTo>
                    <a:pt x="0" y="0"/>
                  </a:lnTo>
                  <a:cubicBezTo>
                    <a:pt x="2" y="3"/>
                    <a:pt x="5" y="3"/>
                    <a:pt x="5" y="6"/>
                  </a:cubicBezTo>
                  <a:cubicBezTo>
                    <a:pt x="5" y="3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7" name="Freeform 312"/>
            <p:cNvSpPr>
              <a:spLocks noChangeArrowheads="1"/>
            </p:cNvSpPr>
            <p:nvPr/>
          </p:nvSpPr>
          <p:spPr bwMode="auto">
            <a:xfrm>
              <a:off x="3619500" y="2532063"/>
              <a:ext cx="3175" cy="3175"/>
            </a:xfrm>
            <a:custGeom>
              <a:avLst/>
              <a:gdLst>
                <a:gd name="T0" fmla="*/ 3 w 7"/>
                <a:gd name="T1" fmla="*/ 8 h 9"/>
                <a:gd name="T2" fmla="*/ 6 w 7"/>
                <a:gd name="T3" fmla="*/ 6 h 9"/>
                <a:gd name="T4" fmla="*/ 0 w 7"/>
                <a:gd name="T5" fmla="*/ 0 h 9"/>
                <a:gd name="T6" fmla="*/ 0 w 7"/>
                <a:gd name="T7" fmla="*/ 3 h 9"/>
                <a:gd name="T8" fmla="*/ 3 w 7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lnTo>
                    <a:pt x="6" y="6"/>
                  </a:lnTo>
                  <a:cubicBezTo>
                    <a:pt x="6" y="3"/>
                    <a:pt x="6" y="0"/>
                    <a:pt x="0" y="0"/>
                  </a:cubicBezTo>
                  <a:lnTo>
                    <a:pt x="0" y="3"/>
                  </a:lnTo>
                  <a:cubicBezTo>
                    <a:pt x="0" y="3"/>
                    <a:pt x="0" y="8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8" name="Freeform 313"/>
            <p:cNvSpPr>
              <a:spLocks noChangeArrowheads="1"/>
            </p:cNvSpPr>
            <p:nvPr/>
          </p:nvSpPr>
          <p:spPr bwMode="auto">
            <a:xfrm>
              <a:off x="3624263" y="2654300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  <a:gd name="T4" fmla="*/ 0 w 4"/>
                <a:gd name="T5" fmla="*/ 3 h 4"/>
                <a:gd name="T6" fmla="*/ 3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0" y="3"/>
                    <a:pt x="3" y="0"/>
                  </a:cubicBezTo>
                  <a:lnTo>
                    <a:pt x="0" y="3"/>
                  </a:lnTo>
                  <a:cubicBezTo>
                    <a:pt x="0" y="3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9" name="Freeform 314"/>
            <p:cNvSpPr>
              <a:spLocks noChangeArrowheads="1"/>
            </p:cNvSpPr>
            <p:nvPr/>
          </p:nvSpPr>
          <p:spPr bwMode="auto">
            <a:xfrm>
              <a:off x="3635375" y="2436813"/>
              <a:ext cx="15875" cy="7937"/>
            </a:xfrm>
            <a:custGeom>
              <a:avLst/>
              <a:gdLst>
                <a:gd name="T0" fmla="*/ 17 w 43"/>
                <a:gd name="T1" fmla="*/ 11 h 23"/>
                <a:gd name="T2" fmla="*/ 17 w 43"/>
                <a:gd name="T3" fmla="*/ 8 h 23"/>
                <a:gd name="T4" fmla="*/ 22 w 43"/>
                <a:gd name="T5" fmla="*/ 8 h 23"/>
                <a:gd name="T6" fmla="*/ 22 w 43"/>
                <a:gd name="T7" fmla="*/ 11 h 23"/>
                <a:gd name="T8" fmla="*/ 42 w 43"/>
                <a:gd name="T9" fmla="*/ 0 h 23"/>
                <a:gd name="T10" fmla="*/ 39 w 43"/>
                <a:gd name="T11" fmla="*/ 0 h 23"/>
                <a:gd name="T12" fmla="*/ 25 w 43"/>
                <a:gd name="T13" fmla="*/ 8 h 23"/>
                <a:gd name="T14" fmla="*/ 25 w 43"/>
                <a:gd name="T15" fmla="*/ 3 h 23"/>
                <a:gd name="T16" fmla="*/ 5 w 43"/>
                <a:gd name="T17" fmla="*/ 11 h 23"/>
                <a:gd name="T18" fmla="*/ 3 w 43"/>
                <a:gd name="T19" fmla="*/ 11 h 23"/>
                <a:gd name="T20" fmla="*/ 0 w 43"/>
                <a:gd name="T21" fmla="*/ 22 h 23"/>
                <a:gd name="T22" fmla="*/ 0 w 43"/>
                <a:gd name="T23" fmla="*/ 22 h 23"/>
                <a:gd name="T24" fmla="*/ 0 w 43"/>
                <a:gd name="T25" fmla="*/ 22 h 23"/>
                <a:gd name="T26" fmla="*/ 0 w 43"/>
                <a:gd name="T27" fmla="*/ 22 h 23"/>
                <a:gd name="T28" fmla="*/ 5 w 43"/>
                <a:gd name="T29" fmla="*/ 19 h 23"/>
                <a:gd name="T30" fmla="*/ 17 w 43"/>
                <a:gd name="T31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" h="23">
                  <a:moveTo>
                    <a:pt x="17" y="11"/>
                  </a:moveTo>
                  <a:lnTo>
                    <a:pt x="17" y="8"/>
                  </a:lnTo>
                  <a:lnTo>
                    <a:pt x="22" y="8"/>
                  </a:lnTo>
                  <a:lnTo>
                    <a:pt x="22" y="11"/>
                  </a:lnTo>
                  <a:cubicBezTo>
                    <a:pt x="28" y="8"/>
                    <a:pt x="36" y="5"/>
                    <a:pt x="42" y="0"/>
                  </a:cubicBezTo>
                  <a:lnTo>
                    <a:pt x="39" y="0"/>
                  </a:lnTo>
                  <a:cubicBezTo>
                    <a:pt x="34" y="0"/>
                    <a:pt x="34" y="8"/>
                    <a:pt x="25" y="8"/>
                  </a:cubicBezTo>
                  <a:cubicBezTo>
                    <a:pt x="25" y="5"/>
                    <a:pt x="25" y="3"/>
                    <a:pt x="25" y="3"/>
                  </a:cubicBezTo>
                  <a:cubicBezTo>
                    <a:pt x="19" y="5"/>
                    <a:pt x="14" y="8"/>
                    <a:pt x="5" y="11"/>
                  </a:cubicBezTo>
                  <a:lnTo>
                    <a:pt x="3" y="11"/>
                  </a:lnTo>
                  <a:cubicBezTo>
                    <a:pt x="3" y="14"/>
                    <a:pt x="0" y="17"/>
                    <a:pt x="0" y="22"/>
                  </a:cubicBez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cubicBezTo>
                    <a:pt x="3" y="22"/>
                    <a:pt x="3" y="22"/>
                    <a:pt x="5" y="19"/>
                  </a:cubicBezTo>
                  <a:cubicBezTo>
                    <a:pt x="8" y="14"/>
                    <a:pt x="14" y="14"/>
                    <a:pt x="17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0" name="Freeform 315"/>
            <p:cNvSpPr>
              <a:spLocks noChangeArrowheads="1"/>
            </p:cNvSpPr>
            <p:nvPr/>
          </p:nvSpPr>
          <p:spPr bwMode="auto">
            <a:xfrm>
              <a:off x="3616325" y="2573338"/>
              <a:ext cx="4763" cy="6350"/>
            </a:xfrm>
            <a:custGeom>
              <a:avLst/>
              <a:gdLst>
                <a:gd name="T0" fmla="*/ 8 w 12"/>
                <a:gd name="T1" fmla="*/ 2 h 19"/>
                <a:gd name="T2" fmla="*/ 0 w 12"/>
                <a:gd name="T3" fmla="*/ 0 h 19"/>
                <a:gd name="T4" fmla="*/ 0 w 12"/>
                <a:gd name="T5" fmla="*/ 7 h 19"/>
                <a:gd name="T6" fmla="*/ 0 w 12"/>
                <a:gd name="T7" fmla="*/ 16 h 19"/>
                <a:gd name="T8" fmla="*/ 8 w 12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">
                  <a:moveTo>
                    <a:pt x="8" y="2"/>
                  </a:moveTo>
                  <a:cubicBezTo>
                    <a:pt x="8" y="2"/>
                    <a:pt x="3" y="0"/>
                    <a:pt x="0" y="0"/>
                  </a:cubicBezTo>
                  <a:cubicBezTo>
                    <a:pt x="0" y="3"/>
                    <a:pt x="0" y="4"/>
                    <a:pt x="0" y="7"/>
                  </a:cubicBezTo>
                  <a:cubicBezTo>
                    <a:pt x="0" y="10"/>
                    <a:pt x="0" y="13"/>
                    <a:pt x="0" y="16"/>
                  </a:cubicBezTo>
                  <a:cubicBezTo>
                    <a:pt x="8" y="18"/>
                    <a:pt x="11" y="13"/>
                    <a:pt x="8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1" name="Freeform 316"/>
            <p:cNvSpPr>
              <a:spLocks noChangeArrowheads="1"/>
            </p:cNvSpPr>
            <p:nvPr/>
          </p:nvSpPr>
          <p:spPr bwMode="auto">
            <a:xfrm>
              <a:off x="3621088" y="2632075"/>
              <a:ext cx="3175" cy="3175"/>
            </a:xfrm>
            <a:custGeom>
              <a:avLst/>
              <a:gdLst>
                <a:gd name="T0" fmla="*/ 6 w 7"/>
                <a:gd name="T1" fmla="*/ 3 h 10"/>
                <a:gd name="T2" fmla="*/ 0 w 7"/>
                <a:gd name="T3" fmla="*/ 0 h 10"/>
                <a:gd name="T4" fmla="*/ 0 w 7"/>
                <a:gd name="T5" fmla="*/ 6 h 10"/>
                <a:gd name="T6" fmla="*/ 6 w 7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3"/>
                  </a:moveTo>
                  <a:cubicBezTo>
                    <a:pt x="3" y="3"/>
                    <a:pt x="3" y="3"/>
                    <a:pt x="0" y="0"/>
                  </a:cubicBezTo>
                  <a:cubicBezTo>
                    <a:pt x="0" y="3"/>
                    <a:pt x="0" y="3"/>
                    <a:pt x="0" y="6"/>
                  </a:cubicBezTo>
                  <a:cubicBezTo>
                    <a:pt x="3" y="9"/>
                    <a:pt x="6" y="6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2" name="Freeform 317"/>
            <p:cNvSpPr>
              <a:spLocks noChangeArrowheads="1"/>
            </p:cNvSpPr>
            <p:nvPr/>
          </p:nvSpPr>
          <p:spPr bwMode="auto">
            <a:xfrm>
              <a:off x="4176713" y="3076575"/>
              <a:ext cx="12700" cy="4763"/>
            </a:xfrm>
            <a:custGeom>
              <a:avLst/>
              <a:gdLst>
                <a:gd name="T0" fmla="*/ 0 w 35"/>
                <a:gd name="T1" fmla="*/ 11 h 12"/>
                <a:gd name="T2" fmla="*/ 0 w 35"/>
                <a:gd name="T3" fmla="*/ 11 h 12"/>
                <a:gd name="T4" fmla="*/ 34 w 35"/>
                <a:gd name="T5" fmla="*/ 8 h 12"/>
                <a:gd name="T6" fmla="*/ 34 w 35"/>
                <a:gd name="T7" fmla="*/ 8 h 12"/>
                <a:gd name="T8" fmla="*/ 0 w 35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2">
                  <a:moveTo>
                    <a:pt x="0" y="11"/>
                  </a:moveTo>
                  <a:lnTo>
                    <a:pt x="0" y="11"/>
                  </a:lnTo>
                  <a:cubicBezTo>
                    <a:pt x="12" y="11"/>
                    <a:pt x="23" y="11"/>
                    <a:pt x="34" y="8"/>
                  </a:cubicBezTo>
                  <a:lnTo>
                    <a:pt x="34" y="8"/>
                  </a:lnTo>
                  <a:cubicBezTo>
                    <a:pt x="23" y="0"/>
                    <a:pt x="9" y="3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3" name="Freeform 318"/>
            <p:cNvSpPr>
              <a:spLocks noChangeArrowheads="1"/>
            </p:cNvSpPr>
            <p:nvPr/>
          </p:nvSpPr>
          <p:spPr bwMode="auto">
            <a:xfrm>
              <a:off x="4479925" y="2933700"/>
              <a:ext cx="4763" cy="3175"/>
            </a:xfrm>
            <a:custGeom>
              <a:avLst/>
              <a:gdLst>
                <a:gd name="T0" fmla="*/ 14 w 15"/>
                <a:gd name="T1" fmla="*/ 3 h 10"/>
                <a:gd name="T2" fmla="*/ 14 w 15"/>
                <a:gd name="T3" fmla="*/ 3 h 10"/>
                <a:gd name="T4" fmla="*/ 14 w 15"/>
                <a:gd name="T5" fmla="*/ 3 h 10"/>
                <a:gd name="T6" fmla="*/ 0 w 15"/>
                <a:gd name="T7" fmla="*/ 9 h 10"/>
                <a:gd name="T8" fmla="*/ 9 w 15"/>
                <a:gd name="T9" fmla="*/ 9 h 10"/>
                <a:gd name="T10" fmla="*/ 14 w 15"/>
                <a:gd name="T1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0">
                  <a:moveTo>
                    <a:pt x="14" y="3"/>
                  </a:moveTo>
                  <a:lnTo>
                    <a:pt x="14" y="3"/>
                  </a:lnTo>
                  <a:lnTo>
                    <a:pt x="14" y="3"/>
                  </a:lnTo>
                  <a:cubicBezTo>
                    <a:pt x="6" y="0"/>
                    <a:pt x="0" y="0"/>
                    <a:pt x="0" y="9"/>
                  </a:cubicBezTo>
                  <a:cubicBezTo>
                    <a:pt x="3" y="9"/>
                    <a:pt x="6" y="9"/>
                    <a:pt x="9" y="9"/>
                  </a:cubicBezTo>
                  <a:cubicBezTo>
                    <a:pt x="11" y="9"/>
                    <a:pt x="11" y="6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4" name="Freeform 319"/>
            <p:cNvSpPr>
              <a:spLocks noChangeArrowheads="1"/>
            </p:cNvSpPr>
            <p:nvPr/>
          </p:nvSpPr>
          <p:spPr bwMode="auto">
            <a:xfrm>
              <a:off x="4451350" y="2963863"/>
              <a:ext cx="3175" cy="3175"/>
            </a:xfrm>
            <a:custGeom>
              <a:avLst/>
              <a:gdLst>
                <a:gd name="T0" fmla="*/ 0 w 7"/>
                <a:gd name="T1" fmla="*/ 3 h 7"/>
                <a:gd name="T2" fmla="*/ 0 w 7"/>
                <a:gd name="T3" fmla="*/ 6 h 7"/>
                <a:gd name="T4" fmla="*/ 6 w 7"/>
                <a:gd name="T5" fmla="*/ 0 h 7"/>
                <a:gd name="T6" fmla="*/ 0 w 7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3"/>
                  </a:moveTo>
                  <a:lnTo>
                    <a:pt x="0" y="6"/>
                  </a:lnTo>
                  <a:cubicBezTo>
                    <a:pt x="3" y="3"/>
                    <a:pt x="3" y="3"/>
                    <a:pt x="6" y="0"/>
                  </a:cubicBezTo>
                  <a:cubicBezTo>
                    <a:pt x="3" y="0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5" name="Freeform 320"/>
            <p:cNvSpPr>
              <a:spLocks noChangeArrowheads="1"/>
            </p:cNvSpPr>
            <p:nvPr/>
          </p:nvSpPr>
          <p:spPr bwMode="auto">
            <a:xfrm>
              <a:off x="4486275" y="2932113"/>
              <a:ext cx="1588" cy="3175"/>
            </a:xfrm>
            <a:custGeom>
              <a:avLst/>
              <a:gdLst>
                <a:gd name="T0" fmla="*/ 3 w 4"/>
                <a:gd name="T1" fmla="*/ 0 h 7"/>
                <a:gd name="T2" fmla="*/ 0 w 4"/>
                <a:gd name="T3" fmla="*/ 0 h 7"/>
                <a:gd name="T4" fmla="*/ 0 w 4"/>
                <a:gd name="T5" fmla="*/ 0 h 7"/>
                <a:gd name="T6" fmla="*/ 0 w 4"/>
                <a:gd name="T7" fmla="*/ 6 h 7"/>
                <a:gd name="T8" fmla="*/ 0 w 4"/>
                <a:gd name="T9" fmla="*/ 6 h 7"/>
                <a:gd name="T10" fmla="*/ 3 w 4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7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0" y="6"/>
                  </a:cubicBezTo>
                  <a:lnTo>
                    <a:pt x="0" y="6"/>
                  </a:lnTo>
                  <a:cubicBezTo>
                    <a:pt x="3" y="6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6" name="Freeform 321"/>
            <p:cNvSpPr>
              <a:spLocks noChangeArrowheads="1"/>
            </p:cNvSpPr>
            <p:nvPr/>
          </p:nvSpPr>
          <p:spPr bwMode="auto">
            <a:xfrm>
              <a:off x="4146550" y="3076575"/>
              <a:ext cx="4763" cy="7938"/>
            </a:xfrm>
            <a:custGeom>
              <a:avLst/>
              <a:gdLst>
                <a:gd name="T0" fmla="*/ 11 w 12"/>
                <a:gd name="T1" fmla="*/ 3 h 21"/>
                <a:gd name="T2" fmla="*/ 8 w 12"/>
                <a:gd name="T3" fmla="*/ 0 h 21"/>
                <a:gd name="T4" fmla="*/ 0 w 12"/>
                <a:gd name="T5" fmla="*/ 14 h 21"/>
                <a:gd name="T6" fmla="*/ 0 w 12"/>
                <a:gd name="T7" fmla="*/ 17 h 21"/>
                <a:gd name="T8" fmla="*/ 3 w 12"/>
                <a:gd name="T9" fmla="*/ 20 h 21"/>
                <a:gd name="T10" fmla="*/ 3 w 12"/>
                <a:gd name="T11" fmla="*/ 20 h 21"/>
                <a:gd name="T12" fmla="*/ 11 w 12"/>
                <a:gd name="T13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1">
                  <a:moveTo>
                    <a:pt x="11" y="3"/>
                  </a:moveTo>
                  <a:lnTo>
                    <a:pt x="8" y="0"/>
                  </a:lnTo>
                  <a:cubicBezTo>
                    <a:pt x="5" y="5"/>
                    <a:pt x="3" y="11"/>
                    <a:pt x="0" y="14"/>
                  </a:cubicBezTo>
                  <a:cubicBezTo>
                    <a:pt x="0" y="14"/>
                    <a:pt x="0" y="14"/>
                    <a:pt x="0" y="17"/>
                  </a:cubicBezTo>
                  <a:lnTo>
                    <a:pt x="3" y="20"/>
                  </a:lnTo>
                  <a:lnTo>
                    <a:pt x="3" y="20"/>
                  </a:lnTo>
                  <a:cubicBezTo>
                    <a:pt x="5" y="14"/>
                    <a:pt x="8" y="8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7" name="Freeform 322"/>
            <p:cNvSpPr>
              <a:spLocks noChangeArrowheads="1"/>
            </p:cNvSpPr>
            <p:nvPr/>
          </p:nvSpPr>
          <p:spPr bwMode="auto">
            <a:xfrm>
              <a:off x="4154488" y="3081338"/>
              <a:ext cx="3175" cy="1587"/>
            </a:xfrm>
            <a:custGeom>
              <a:avLst/>
              <a:gdLst>
                <a:gd name="T0" fmla="*/ 0 w 7"/>
                <a:gd name="T1" fmla="*/ 0 h 4"/>
                <a:gd name="T2" fmla="*/ 0 w 7"/>
                <a:gd name="T3" fmla="*/ 0 h 4"/>
                <a:gd name="T4" fmla="*/ 6 w 7"/>
                <a:gd name="T5" fmla="*/ 3 h 4"/>
                <a:gd name="T6" fmla="*/ 0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lnTo>
                    <a:pt x="0" y="0"/>
                  </a:lnTo>
                  <a:cubicBezTo>
                    <a:pt x="0" y="3"/>
                    <a:pt x="3" y="3"/>
                    <a:pt x="6" y="3"/>
                  </a:cubicBezTo>
                  <a:cubicBezTo>
                    <a:pt x="3" y="3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8" name="Freeform 323"/>
            <p:cNvSpPr>
              <a:spLocks noChangeArrowheads="1"/>
            </p:cNvSpPr>
            <p:nvPr/>
          </p:nvSpPr>
          <p:spPr bwMode="auto">
            <a:xfrm>
              <a:off x="3741738" y="2244725"/>
              <a:ext cx="1587" cy="1588"/>
            </a:xfrm>
            <a:custGeom>
              <a:avLst/>
              <a:gdLst>
                <a:gd name="T0" fmla="*/ 0 w 1"/>
                <a:gd name="T1" fmla="*/ 3 h 4"/>
                <a:gd name="T2" fmla="*/ 0 w 1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4">
                  <a:moveTo>
                    <a:pt x="0" y="3"/>
                  </a:moveTo>
                  <a:cubicBezTo>
                    <a:pt x="0" y="3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9" name="Freeform 324"/>
            <p:cNvSpPr>
              <a:spLocks noChangeArrowheads="1"/>
            </p:cNvSpPr>
            <p:nvPr/>
          </p:nvSpPr>
          <p:spPr bwMode="auto">
            <a:xfrm>
              <a:off x="4440238" y="2963863"/>
              <a:ext cx="6350" cy="9525"/>
            </a:xfrm>
            <a:custGeom>
              <a:avLst/>
              <a:gdLst>
                <a:gd name="T0" fmla="*/ 0 w 18"/>
                <a:gd name="T1" fmla="*/ 0 h 26"/>
                <a:gd name="T2" fmla="*/ 0 w 18"/>
                <a:gd name="T3" fmla="*/ 6 h 26"/>
                <a:gd name="T4" fmla="*/ 3 w 18"/>
                <a:gd name="T5" fmla="*/ 22 h 26"/>
                <a:gd name="T6" fmla="*/ 12 w 18"/>
                <a:gd name="T7" fmla="*/ 25 h 26"/>
                <a:gd name="T8" fmla="*/ 14 w 18"/>
                <a:gd name="T9" fmla="*/ 25 h 26"/>
                <a:gd name="T10" fmla="*/ 17 w 18"/>
                <a:gd name="T11" fmla="*/ 22 h 26"/>
                <a:gd name="T12" fmla="*/ 14 w 18"/>
                <a:gd name="T13" fmla="*/ 3 h 26"/>
                <a:gd name="T14" fmla="*/ 0 w 18"/>
                <a:gd name="T1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6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0" y="11"/>
                    <a:pt x="0" y="17"/>
                    <a:pt x="3" y="22"/>
                  </a:cubicBezTo>
                  <a:cubicBezTo>
                    <a:pt x="6" y="22"/>
                    <a:pt x="9" y="22"/>
                    <a:pt x="12" y="25"/>
                  </a:cubicBezTo>
                  <a:lnTo>
                    <a:pt x="14" y="25"/>
                  </a:lnTo>
                  <a:cubicBezTo>
                    <a:pt x="14" y="25"/>
                    <a:pt x="17" y="25"/>
                    <a:pt x="17" y="22"/>
                  </a:cubicBezTo>
                  <a:cubicBezTo>
                    <a:pt x="17" y="17"/>
                    <a:pt x="14" y="8"/>
                    <a:pt x="14" y="3"/>
                  </a:cubicBezTo>
                  <a:cubicBezTo>
                    <a:pt x="9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0" name="Freeform 325"/>
            <p:cNvSpPr>
              <a:spLocks noChangeArrowheads="1"/>
            </p:cNvSpPr>
            <p:nvPr/>
          </p:nvSpPr>
          <p:spPr bwMode="auto">
            <a:xfrm>
              <a:off x="4340225" y="3028950"/>
              <a:ext cx="7938" cy="7938"/>
            </a:xfrm>
            <a:custGeom>
              <a:avLst/>
              <a:gdLst>
                <a:gd name="T0" fmla="*/ 3 w 21"/>
                <a:gd name="T1" fmla="*/ 20 h 21"/>
                <a:gd name="T2" fmla="*/ 20 w 21"/>
                <a:gd name="T3" fmla="*/ 12 h 21"/>
                <a:gd name="T4" fmla="*/ 20 w 21"/>
                <a:gd name="T5" fmla="*/ 12 h 21"/>
                <a:gd name="T6" fmla="*/ 3 w 21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1">
                  <a:moveTo>
                    <a:pt x="3" y="20"/>
                  </a:moveTo>
                  <a:cubicBezTo>
                    <a:pt x="8" y="17"/>
                    <a:pt x="14" y="14"/>
                    <a:pt x="20" y="12"/>
                  </a:cubicBezTo>
                  <a:lnTo>
                    <a:pt x="20" y="12"/>
                  </a:lnTo>
                  <a:cubicBezTo>
                    <a:pt x="14" y="0"/>
                    <a:pt x="0" y="9"/>
                    <a:pt x="3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1" name="Freeform 326"/>
            <p:cNvSpPr>
              <a:spLocks noChangeArrowheads="1"/>
            </p:cNvSpPr>
            <p:nvPr/>
          </p:nvSpPr>
          <p:spPr bwMode="auto">
            <a:xfrm>
              <a:off x="4306888" y="3048000"/>
              <a:ext cx="1587" cy="1588"/>
            </a:xfrm>
            <a:custGeom>
              <a:avLst/>
              <a:gdLst>
                <a:gd name="T0" fmla="*/ 0 w 3"/>
                <a:gd name="T1" fmla="*/ 0 h 6"/>
                <a:gd name="T2" fmla="*/ 2 w 3"/>
                <a:gd name="T3" fmla="*/ 5 h 6"/>
                <a:gd name="T4" fmla="*/ 0 w 3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6">
                  <a:moveTo>
                    <a:pt x="0" y="0"/>
                  </a:moveTo>
                  <a:cubicBezTo>
                    <a:pt x="0" y="3"/>
                    <a:pt x="2" y="3"/>
                    <a:pt x="2" y="5"/>
                  </a:cubicBezTo>
                  <a:cubicBezTo>
                    <a:pt x="2" y="3"/>
                    <a:pt x="2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2" name="Freeform 327"/>
            <p:cNvSpPr>
              <a:spLocks noChangeArrowheads="1"/>
            </p:cNvSpPr>
            <p:nvPr/>
          </p:nvSpPr>
          <p:spPr bwMode="auto">
            <a:xfrm>
              <a:off x="4516438" y="2873375"/>
              <a:ext cx="4762" cy="4763"/>
            </a:xfrm>
            <a:custGeom>
              <a:avLst/>
              <a:gdLst>
                <a:gd name="T0" fmla="*/ 14 w 15"/>
                <a:gd name="T1" fmla="*/ 5 h 15"/>
                <a:gd name="T2" fmla="*/ 3 w 15"/>
                <a:gd name="T3" fmla="*/ 0 h 15"/>
                <a:gd name="T4" fmla="*/ 0 w 15"/>
                <a:gd name="T5" fmla="*/ 3 h 15"/>
                <a:gd name="T6" fmla="*/ 3 w 15"/>
                <a:gd name="T7" fmla="*/ 11 h 15"/>
                <a:gd name="T8" fmla="*/ 14 w 15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4" y="5"/>
                  </a:moveTo>
                  <a:cubicBezTo>
                    <a:pt x="8" y="5"/>
                    <a:pt x="8" y="0"/>
                    <a:pt x="3" y="0"/>
                  </a:cubicBezTo>
                  <a:cubicBezTo>
                    <a:pt x="3" y="0"/>
                    <a:pt x="3" y="3"/>
                    <a:pt x="0" y="3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8" y="14"/>
                    <a:pt x="11" y="8"/>
                    <a:pt x="14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3" name="Freeform 328"/>
            <p:cNvSpPr>
              <a:spLocks noChangeArrowheads="1"/>
            </p:cNvSpPr>
            <p:nvPr/>
          </p:nvSpPr>
          <p:spPr bwMode="auto">
            <a:xfrm>
              <a:off x="4537075" y="2732088"/>
              <a:ext cx="3175" cy="4762"/>
            </a:xfrm>
            <a:custGeom>
              <a:avLst/>
              <a:gdLst>
                <a:gd name="T0" fmla="*/ 3 w 10"/>
                <a:gd name="T1" fmla="*/ 0 h 15"/>
                <a:gd name="T2" fmla="*/ 0 w 10"/>
                <a:gd name="T3" fmla="*/ 3 h 15"/>
                <a:gd name="T4" fmla="*/ 6 w 10"/>
                <a:gd name="T5" fmla="*/ 14 h 15"/>
                <a:gd name="T6" fmla="*/ 6 w 10"/>
                <a:gd name="T7" fmla="*/ 14 h 15"/>
                <a:gd name="T8" fmla="*/ 3 w 1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3" y="0"/>
                  </a:moveTo>
                  <a:cubicBezTo>
                    <a:pt x="3" y="0"/>
                    <a:pt x="0" y="0"/>
                    <a:pt x="0" y="3"/>
                  </a:cubicBezTo>
                  <a:cubicBezTo>
                    <a:pt x="0" y="8"/>
                    <a:pt x="0" y="11"/>
                    <a:pt x="6" y="14"/>
                  </a:cubicBezTo>
                  <a:lnTo>
                    <a:pt x="6" y="14"/>
                  </a:lnTo>
                  <a:cubicBezTo>
                    <a:pt x="6" y="8"/>
                    <a:pt x="9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4" name="Freeform 329"/>
            <p:cNvSpPr>
              <a:spLocks noChangeArrowheads="1"/>
            </p:cNvSpPr>
            <p:nvPr/>
          </p:nvSpPr>
          <p:spPr bwMode="auto">
            <a:xfrm>
              <a:off x="4541838" y="2552700"/>
              <a:ext cx="3175" cy="3175"/>
            </a:xfrm>
            <a:custGeom>
              <a:avLst/>
              <a:gdLst>
                <a:gd name="T0" fmla="*/ 6 w 7"/>
                <a:gd name="T1" fmla="*/ 6 h 10"/>
                <a:gd name="T2" fmla="*/ 0 w 7"/>
                <a:gd name="T3" fmla="*/ 9 h 10"/>
                <a:gd name="T4" fmla="*/ 0 w 7"/>
                <a:gd name="T5" fmla="*/ 9 h 10"/>
                <a:gd name="T6" fmla="*/ 6 w 7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6"/>
                  </a:moveTo>
                  <a:cubicBezTo>
                    <a:pt x="0" y="0"/>
                    <a:pt x="0" y="6"/>
                    <a:pt x="0" y="9"/>
                  </a:cubicBezTo>
                  <a:lnTo>
                    <a:pt x="0" y="9"/>
                  </a:lnTo>
                  <a:cubicBezTo>
                    <a:pt x="3" y="9"/>
                    <a:pt x="3" y="9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5" name="Freeform 330"/>
            <p:cNvSpPr>
              <a:spLocks noChangeArrowheads="1"/>
            </p:cNvSpPr>
            <p:nvPr/>
          </p:nvSpPr>
          <p:spPr bwMode="auto">
            <a:xfrm>
              <a:off x="4559300" y="2670175"/>
              <a:ext cx="3175" cy="6350"/>
            </a:xfrm>
            <a:custGeom>
              <a:avLst/>
              <a:gdLst>
                <a:gd name="T0" fmla="*/ 6 w 10"/>
                <a:gd name="T1" fmla="*/ 15 h 16"/>
                <a:gd name="T2" fmla="*/ 9 w 10"/>
                <a:gd name="T3" fmla="*/ 3 h 16"/>
                <a:gd name="T4" fmla="*/ 6 w 10"/>
                <a:gd name="T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6" y="15"/>
                  </a:moveTo>
                  <a:cubicBezTo>
                    <a:pt x="6" y="9"/>
                    <a:pt x="9" y="9"/>
                    <a:pt x="9" y="3"/>
                  </a:cubicBezTo>
                  <a:cubicBezTo>
                    <a:pt x="0" y="0"/>
                    <a:pt x="0" y="15"/>
                    <a:pt x="6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6" name="Freeform 331"/>
            <p:cNvSpPr>
              <a:spLocks noChangeArrowheads="1"/>
            </p:cNvSpPr>
            <p:nvPr/>
          </p:nvSpPr>
          <p:spPr bwMode="auto">
            <a:xfrm>
              <a:off x="4548188" y="2678113"/>
              <a:ext cx="3175" cy="4762"/>
            </a:xfrm>
            <a:custGeom>
              <a:avLst/>
              <a:gdLst>
                <a:gd name="T0" fmla="*/ 0 w 7"/>
                <a:gd name="T1" fmla="*/ 12 h 13"/>
                <a:gd name="T2" fmla="*/ 6 w 7"/>
                <a:gd name="T3" fmla="*/ 9 h 13"/>
                <a:gd name="T4" fmla="*/ 0 w 7"/>
                <a:gd name="T5" fmla="*/ 0 h 13"/>
                <a:gd name="T6" fmla="*/ 0 w 7"/>
                <a:gd name="T7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0" y="12"/>
                  </a:moveTo>
                  <a:cubicBezTo>
                    <a:pt x="3" y="12"/>
                    <a:pt x="6" y="12"/>
                    <a:pt x="6" y="9"/>
                  </a:cubicBezTo>
                  <a:cubicBezTo>
                    <a:pt x="6" y="6"/>
                    <a:pt x="3" y="3"/>
                    <a:pt x="0" y="0"/>
                  </a:cubicBezTo>
                  <a:cubicBezTo>
                    <a:pt x="0" y="3"/>
                    <a:pt x="0" y="9"/>
                    <a:pt x="0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7" name="Freeform 332"/>
            <p:cNvSpPr>
              <a:spLocks noChangeArrowheads="1"/>
            </p:cNvSpPr>
            <p:nvPr/>
          </p:nvSpPr>
          <p:spPr bwMode="auto">
            <a:xfrm>
              <a:off x="4545013" y="2757488"/>
              <a:ext cx="4762" cy="3175"/>
            </a:xfrm>
            <a:custGeom>
              <a:avLst/>
              <a:gdLst>
                <a:gd name="T0" fmla="*/ 6 w 12"/>
                <a:gd name="T1" fmla="*/ 0 h 10"/>
                <a:gd name="T2" fmla="*/ 11 w 12"/>
                <a:gd name="T3" fmla="*/ 9 h 10"/>
                <a:gd name="T4" fmla="*/ 6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6" y="0"/>
                  </a:moveTo>
                  <a:cubicBezTo>
                    <a:pt x="0" y="3"/>
                    <a:pt x="6" y="9"/>
                    <a:pt x="11" y="9"/>
                  </a:cubicBezTo>
                  <a:cubicBezTo>
                    <a:pt x="11" y="3"/>
                    <a:pt x="8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8" name="Freeform 333"/>
            <p:cNvSpPr>
              <a:spLocks noChangeArrowheads="1"/>
            </p:cNvSpPr>
            <p:nvPr/>
          </p:nvSpPr>
          <p:spPr bwMode="auto">
            <a:xfrm>
              <a:off x="4541838" y="2554288"/>
              <a:ext cx="4762" cy="6350"/>
            </a:xfrm>
            <a:custGeom>
              <a:avLst/>
              <a:gdLst>
                <a:gd name="T0" fmla="*/ 9 w 15"/>
                <a:gd name="T1" fmla="*/ 0 h 18"/>
                <a:gd name="T2" fmla="*/ 0 w 15"/>
                <a:gd name="T3" fmla="*/ 6 h 18"/>
                <a:gd name="T4" fmla="*/ 0 w 15"/>
                <a:gd name="T5" fmla="*/ 11 h 18"/>
                <a:gd name="T6" fmla="*/ 9 w 15"/>
                <a:gd name="T7" fmla="*/ 17 h 18"/>
                <a:gd name="T8" fmla="*/ 9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9" y="0"/>
                  </a:moveTo>
                  <a:cubicBezTo>
                    <a:pt x="6" y="0"/>
                    <a:pt x="3" y="3"/>
                    <a:pt x="0" y="6"/>
                  </a:cubicBezTo>
                  <a:cubicBezTo>
                    <a:pt x="0" y="9"/>
                    <a:pt x="0" y="9"/>
                    <a:pt x="0" y="11"/>
                  </a:cubicBezTo>
                  <a:cubicBezTo>
                    <a:pt x="3" y="14"/>
                    <a:pt x="6" y="17"/>
                    <a:pt x="9" y="17"/>
                  </a:cubicBezTo>
                  <a:cubicBezTo>
                    <a:pt x="14" y="11"/>
                    <a:pt x="12" y="6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9" name="Freeform 334"/>
            <p:cNvSpPr>
              <a:spLocks noChangeArrowheads="1"/>
            </p:cNvSpPr>
            <p:nvPr/>
          </p:nvSpPr>
          <p:spPr bwMode="auto">
            <a:xfrm>
              <a:off x="4543425" y="2563813"/>
              <a:ext cx="3175" cy="1587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3" y="0"/>
                    <a:pt x="0" y="0"/>
                  </a:cubicBezTo>
                  <a:cubicBezTo>
                    <a:pt x="3" y="3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0" name="Freeform 335"/>
            <p:cNvSpPr>
              <a:spLocks noChangeArrowheads="1"/>
            </p:cNvSpPr>
            <p:nvPr/>
          </p:nvSpPr>
          <p:spPr bwMode="auto">
            <a:xfrm>
              <a:off x="4537075" y="2681288"/>
              <a:ext cx="6350" cy="6350"/>
            </a:xfrm>
            <a:custGeom>
              <a:avLst/>
              <a:gdLst>
                <a:gd name="T0" fmla="*/ 9 w 18"/>
                <a:gd name="T1" fmla="*/ 5 h 17"/>
                <a:gd name="T2" fmla="*/ 0 w 18"/>
                <a:gd name="T3" fmla="*/ 0 h 17"/>
                <a:gd name="T4" fmla="*/ 6 w 18"/>
                <a:gd name="T5" fmla="*/ 16 h 17"/>
                <a:gd name="T6" fmla="*/ 9 w 18"/>
                <a:gd name="T7" fmla="*/ 16 h 17"/>
                <a:gd name="T8" fmla="*/ 17 w 18"/>
                <a:gd name="T9" fmla="*/ 14 h 17"/>
                <a:gd name="T10" fmla="*/ 9 w 18"/>
                <a:gd name="T11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7">
                  <a:moveTo>
                    <a:pt x="9" y="5"/>
                  </a:moveTo>
                  <a:cubicBezTo>
                    <a:pt x="9" y="0"/>
                    <a:pt x="6" y="0"/>
                    <a:pt x="0" y="0"/>
                  </a:cubicBezTo>
                  <a:cubicBezTo>
                    <a:pt x="0" y="8"/>
                    <a:pt x="3" y="11"/>
                    <a:pt x="6" y="16"/>
                  </a:cubicBezTo>
                  <a:lnTo>
                    <a:pt x="9" y="16"/>
                  </a:lnTo>
                  <a:cubicBezTo>
                    <a:pt x="12" y="16"/>
                    <a:pt x="12" y="14"/>
                    <a:pt x="17" y="14"/>
                  </a:cubicBezTo>
                  <a:cubicBezTo>
                    <a:pt x="17" y="2"/>
                    <a:pt x="12" y="11"/>
                    <a:pt x="9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1" name="Freeform 336"/>
            <p:cNvSpPr>
              <a:spLocks noChangeArrowheads="1"/>
            </p:cNvSpPr>
            <p:nvPr/>
          </p:nvSpPr>
          <p:spPr bwMode="auto">
            <a:xfrm>
              <a:off x="4521200" y="2855913"/>
              <a:ext cx="4763" cy="4762"/>
            </a:xfrm>
            <a:custGeom>
              <a:avLst/>
              <a:gdLst>
                <a:gd name="T0" fmla="*/ 0 w 12"/>
                <a:gd name="T1" fmla="*/ 3 h 15"/>
                <a:gd name="T2" fmla="*/ 6 w 12"/>
                <a:gd name="T3" fmla="*/ 14 h 15"/>
                <a:gd name="T4" fmla="*/ 11 w 12"/>
                <a:gd name="T5" fmla="*/ 0 h 15"/>
                <a:gd name="T6" fmla="*/ 0 w 12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0" y="3"/>
                  </a:moveTo>
                  <a:cubicBezTo>
                    <a:pt x="0" y="8"/>
                    <a:pt x="0" y="11"/>
                    <a:pt x="6" y="14"/>
                  </a:cubicBezTo>
                  <a:cubicBezTo>
                    <a:pt x="9" y="11"/>
                    <a:pt x="11" y="6"/>
                    <a:pt x="11" y="0"/>
                  </a:cubicBezTo>
                  <a:cubicBezTo>
                    <a:pt x="6" y="3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2" name="Freeform 337"/>
            <p:cNvSpPr>
              <a:spLocks noChangeArrowheads="1"/>
            </p:cNvSpPr>
            <p:nvPr/>
          </p:nvSpPr>
          <p:spPr bwMode="auto">
            <a:xfrm>
              <a:off x="4524375" y="2722563"/>
              <a:ext cx="3175" cy="6350"/>
            </a:xfrm>
            <a:custGeom>
              <a:avLst/>
              <a:gdLst>
                <a:gd name="T0" fmla="*/ 8 w 9"/>
                <a:gd name="T1" fmla="*/ 0 h 18"/>
                <a:gd name="T2" fmla="*/ 0 w 9"/>
                <a:gd name="T3" fmla="*/ 17 h 18"/>
                <a:gd name="T4" fmla="*/ 0 w 9"/>
                <a:gd name="T5" fmla="*/ 17 h 18"/>
                <a:gd name="T6" fmla="*/ 8 w 9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8">
                  <a:moveTo>
                    <a:pt x="8" y="0"/>
                  </a:moveTo>
                  <a:cubicBezTo>
                    <a:pt x="2" y="3"/>
                    <a:pt x="2" y="12"/>
                    <a:pt x="0" y="17"/>
                  </a:cubicBezTo>
                  <a:lnTo>
                    <a:pt x="0" y="17"/>
                  </a:lnTo>
                  <a:cubicBezTo>
                    <a:pt x="5" y="12"/>
                    <a:pt x="8" y="6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3" name="Freeform 338"/>
            <p:cNvSpPr>
              <a:spLocks noChangeArrowheads="1"/>
            </p:cNvSpPr>
            <p:nvPr/>
          </p:nvSpPr>
          <p:spPr bwMode="auto">
            <a:xfrm>
              <a:off x="4524375" y="2636838"/>
              <a:ext cx="4763" cy="6350"/>
            </a:xfrm>
            <a:custGeom>
              <a:avLst/>
              <a:gdLst>
                <a:gd name="T0" fmla="*/ 11 w 12"/>
                <a:gd name="T1" fmla="*/ 5 h 17"/>
                <a:gd name="T2" fmla="*/ 0 w 12"/>
                <a:gd name="T3" fmla="*/ 16 h 17"/>
                <a:gd name="T4" fmla="*/ 11 w 12"/>
                <a:gd name="T5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7">
                  <a:moveTo>
                    <a:pt x="11" y="5"/>
                  </a:moveTo>
                  <a:cubicBezTo>
                    <a:pt x="5" y="0"/>
                    <a:pt x="0" y="8"/>
                    <a:pt x="0" y="16"/>
                  </a:cubicBezTo>
                  <a:cubicBezTo>
                    <a:pt x="2" y="16"/>
                    <a:pt x="11" y="14"/>
                    <a:pt x="11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4" name="Freeform 339"/>
            <p:cNvSpPr>
              <a:spLocks noChangeArrowheads="1"/>
            </p:cNvSpPr>
            <p:nvPr/>
          </p:nvSpPr>
          <p:spPr bwMode="auto">
            <a:xfrm>
              <a:off x="4518025" y="2878138"/>
              <a:ext cx="6350" cy="7937"/>
            </a:xfrm>
            <a:custGeom>
              <a:avLst/>
              <a:gdLst>
                <a:gd name="T0" fmla="*/ 5 w 18"/>
                <a:gd name="T1" fmla="*/ 22 h 23"/>
                <a:gd name="T2" fmla="*/ 5 w 18"/>
                <a:gd name="T3" fmla="*/ 17 h 23"/>
                <a:gd name="T4" fmla="*/ 17 w 18"/>
                <a:gd name="T5" fmla="*/ 11 h 23"/>
                <a:gd name="T6" fmla="*/ 14 w 18"/>
                <a:gd name="T7" fmla="*/ 6 h 23"/>
                <a:gd name="T8" fmla="*/ 5 w 18"/>
                <a:gd name="T9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3">
                  <a:moveTo>
                    <a:pt x="5" y="22"/>
                  </a:moveTo>
                  <a:cubicBezTo>
                    <a:pt x="5" y="20"/>
                    <a:pt x="5" y="20"/>
                    <a:pt x="5" y="17"/>
                  </a:cubicBezTo>
                  <a:cubicBezTo>
                    <a:pt x="8" y="17"/>
                    <a:pt x="14" y="14"/>
                    <a:pt x="17" y="11"/>
                  </a:cubicBezTo>
                  <a:cubicBezTo>
                    <a:pt x="17" y="8"/>
                    <a:pt x="17" y="8"/>
                    <a:pt x="14" y="6"/>
                  </a:cubicBezTo>
                  <a:cubicBezTo>
                    <a:pt x="8" y="0"/>
                    <a:pt x="0" y="14"/>
                    <a:pt x="5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5" name="Freeform 340"/>
            <p:cNvSpPr>
              <a:spLocks noChangeArrowheads="1"/>
            </p:cNvSpPr>
            <p:nvPr/>
          </p:nvSpPr>
          <p:spPr bwMode="auto">
            <a:xfrm>
              <a:off x="4530725" y="2665413"/>
              <a:ext cx="3175" cy="1587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0 h 6"/>
                <a:gd name="T4" fmla="*/ 0 w 7"/>
                <a:gd name="T5" fmla="*/ 0 h 6"/>
                <a:gd name="T6" fmla="*/ 0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cubicBezTo>
                    <a:pt x="3" y="2"/>
                    <a:pt x="3" y="2"/>
                    <a:pt x="6" y="0"/>
                  </a:cubicBezTo>
                  <a:cubicBezTo>
                    <a:pt x="3" y="0"/>
                    <a:pt x="3" y="0"/>
                    <a:pt x="0" y="0"/>
                  </a:cubicBezTo>
                  <a:lnTo>
                    <a:pt x="0" y="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6" name="Freeform 341"/>
            <p:cNvSpPr>
              <a:spLocks noChangeArrowheads="1"/>
            </p:cNvSpPr>
            <p:nvPr/>
          </p:nvSpPr>
          <p:spPr bwMode="auto">
            <a:xfrm>
              <a:off x="4527550" y="2876550"/>
              <a:ext cx="6350" cy="6350"/>
            </a:xfrm>
            <a:custGeom>
              <a:avLst/>
              <a:gdLst>
                <a:gd name="T0" fmla="*/ 0 w 18"/>
                <a:gd name="T1" fmla="*/ 17 h 18"/>
                <a:gd name="T2" fmla="*/ 17 w 18"/>
                <a:gd name="T3" fmla="*/ 3 h 18"/>
                <a:gd name="T4" fmla="*/ 8 w 18"/>
                <a:gd name="T5" fmla="*/ 0 h 18"/>
                <a:gd name="T6" fmla="*/ 0 w 18"/>
                <a:gd name="T7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8">
                  <a:moveTo>
                    <a:pt x="0" y="17"/>
                  </a:moveTo>
                  <a:cubicBezTo>
                    <a:pt x="8" y="17"/>
                    <a:pt x="14" y="11"/>
                    <a:pt x="17" y="3"/>
                  </a:cubicBezTo>
                  <a:cubicBezTo>
                    <a:pt x="14" y="3"/>
                    <a:pt x="11" y="3"/>
                    <a:pt x="8" y="0"/>
                  </a:cubicBezTo>
                  <a:cubicBezTo>
                    <a:pt x="6" y="6"/>
                    <a:pt x="3" y="11"/>
                    <a:pt x="0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7" name="Freeform 342"/>
            <p:cNvSpPr>
              <a:spLocks noChangeArrowheads="1"/>
            </p:cNvSpPr>
            <p:nvPr/>
          </p:nvSpPr>
          <p:spPr bwMode="auto">
            <a:xfrm>
              <a:off x="4532313" y="2557463"/>
              <a:ext cx="3175" cy="4762"/>
            </a:xfrm>
            <a:custGeom>
              <a:avLst/>
              <a:gdLst>
                <a:gd name="T0" fmla="*/ 3 w 7"/>
                <a:gd name="T1" fmla="*/ 0 h 13"/>
                <a:gd name="T2" fmla="*/ 0 w 7"/>
                <a:gd name="T3" fmla="*/ 0 h 13"/>
                <a:gd name="T4" fmla="*/ 0 w 7"/>
                <a:gd name="T5" fmla="*/ 12 h 13"/>
                <a:gd name="T6" fmla="*/ 3 w 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3" y="0"/>
                  </a:moveTo>
                  <a:lnTo>
                    <a:pt x="0" y="0"/>
                  </a:lnTo>
                  <a:cubicBezTo>
                    <a:pt x="0" y="3"/>
                    <a:pt x="0" y="9"/>
                    <a:pt x="0" y="12"/>
                  </a:cubicBezTo>
                  <a:cubicBezTo>
                    <a:pt x="3" y="9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8" name="Freeform 343"/>
            <p:cNvSpPr>
              <a:spLocks noChangeArrowheads="1"/>
            </p:cNvSpPr>
            <p:nvPr/>
          </p:nvSpPr>
          <p:spPr bwMode="auto">
            <a:xfrm>
              <a:off x="4530725" y="2751138"/>
              <a:ext cx="6350" cy="4762"/>
            </a:xfrm>
            <a:custGeom>
              <a:avLst/>
              <a:gdLst>
                <a:gd name="T0" fmla="*/ 0 w 16"/>
                <a:gd name="T1" fmla="*/ 11 h 12"/>
                <a:gd name="T2" fmla="*/ 15 w 16"/>
                <a:gd name="T3" fmla="*/ 3 h 12"/>
                <a:gd name="T4" fmla="*/ 12 w 16"/>
                <a:gd name="T5" fmla="*/ 3 h 12"/>
                <a:gd name="T6" fmla="*/ 0 w 16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2">
                  <a:moveTo>
                    <a:pt x="0" y="11"/>
                  </a:moveTo>
                  <a:cubicBezTo>
                    <a:pt x="9" y="11"/>
                    <a:pt x="15" y="9"/>
                    <a:pt x="15" y="3"/>
                  </a:cubicBezTo>
                  <a:lnTo>
                    <a:pt x="12" y="3"/>
                  </a:lnTo>
                  <a:cubicBezTo>
                    <a:pt x="6" y="0"/>
                    <a:pt x="0" y="3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9" name="Freeform 344"/>
            <p:cNvSpPr>
              <a:spLocks noChangeArrowheads="1"/>
            </p:cNvSpPr>
            <p:nvPr/>
          </p:nvSpPr>
          <p:spPr bwMode="auto">
            <a:xfrm>
              <a:off x="4568825" y="2470150"/>
              <a:ext cx="3175" cy="4763"/>
            </a:xfrm>
            <a:custGeom>
              <a:avLst/>
              <a:gdLst>
                <a:gd name="T0" fmla="*/ 5 w 9"/>
                <a:gd name="T1" fmla="*/ 11 h 12"/>
                <a:gd name="T2" fmla="*/ 8 w 9"/>
                <a:gd name="T3" fmla="*/ 8 h 12"/>
                <a:gd name="T4" fmla="*/ 0 w 9"/>
                <a:gd name="T5" fmla="*/ 0 h 12"/>
                <a:gd name="T6" fmla="*/ 0 w 9"/>
                <a:gd name="T7" fmla="*/ 6 h 12"/>
                <a:gd name="T8" fmla="*/ 5 w 9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5" y="11"/>
                  </a:moveTo>
                  <a:lnTo>
                    <a:pt x="8" y="8"/>
                  </a:lnTo>
                  <a:cubicBezTo>
                    <a:pt x="5" y="6"/>
                    <a:pt x="3" y="3"/>
                    <a:pt x="0" y="0"/>
                  </a:cubicBezTo>
                  <a:cubicBezTo>
                    <a:pt x="0" y="3"/>
                    <a:pt x="0" y="3"/>
                    <a:pt x="0" y="6"/>
                  </a:cubicBezTo>
                  <a:cubicBezTo>
                    <a:pt x="0" y="11"/>
                    <a:pt x="3" y="11"/>
                    <a:pt x="5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0" name="Freeform 345"/>
            <p:cNvSpPr>
              <a:spLocks noChangeArrowheads="1"/>
            </p:cNvSpPr>
            <p:nvPr/>
          </p:nvSpPr>
          <p:spPr bwMode="auto">
            <a:xfrm>
              <a:off x="4568825" y="2420938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8 w 9"/>
                <a:gd name="T3" fmla="*/ 0 h 9"/>
                <a:gd name="T4" fmla="*/ 0 w 9"/>
                <a:gd name="T5" fmla="*/ 0 h 9"/>
                <a:gd name="T6" fmla="*/ 8 w 9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lnTo>
                    <a:pt x="8" y="0"/>
                  </a:lnTo>
                  <a:lnTo>
                    <a:pt x="0" y="0"/>
                  </a:lnTo>
                  <a:cubicBezTo>
                    <a:pt x="0" y="5"/>
                    <a:pt x="3" y="8"/>
                    <a:pt x="8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1" name="Freeform 346"/>
            <p:cNvSpPr>
              <a:spLocks noChangeArrowheads="1"/>
            </p:cNvSpPr>
            <p:nvPr/>
          </p:nvSpPr>
          <p:spPr bwMode="auto">
            <a:xfrm>
              <a:off x="4564063" y="2481263"/>
              <a:ext cx="4762" cy="4762"/>
            </a:xfrm>
            <a:custGeom>
              <a:avLst/>
              <a:gdLst>
                <a:gd name="T0" fmla="*/ 3 w 13"/>
                <a:gd name="T1" fmla="*/ 14 h 15"/>
                <a:gd name="T2" fmla="*/ 12 w 13"/>
                <a:gd name="T3" fmla="*/ 6 h 15"/>
                <a:gd name="T4" fmla="*/ 12 w 13"/>
                <a:gd name="T5" fmla="*/ 0 h 15"/>
                <a:gd name="T6" fmla="*/ 0 w 13"/>
                <a:gd name="T7" fmla="*/ 6 h 15"/>
                <a:gd name="T8" fmla="*/ 3 w 13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3" y="14"/>
                  </a:moveTo>
                  <a:cubicBezTo>
                    <a:pt x="9" y="11"/>
                    <a:pt x="12" y="8"/>
                    <a:pt x="12" y="6"/>
                  </a:cubicBezTo>
                  <a:cubicBezTo>
                    <a:pt x="12" y="3"/>
                    <a:pt x="12" y="3"/>
                    <a:pt x="12" y="0"/>
                  </a:cubicBezTo>
                  <a:cubicBezTo>
                    <a:pt x="9" y="3"/>
                    <a:pt x="9" y="8"/>
                    <a:pt x="0" y="6"/>
                  </a:cubicBezTo>
                  <a:cubicBezTo>
                    <a:pt x="0" y="6"/>
                    <a:pt x="0" y="8"/>
                    <a:pt x="3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2" name="Freeform 347"/>
            <p:cNvSpPr>
              <a:spLocks noChangeArrowheads="1"/>
            </p:cNvSpPr>
            <p:nvPr/>
          </p:nvSpPr>
          <p:spPr bwMode="auto">
            <a:xfrm>
              <a:off x="4548188" y="2579688"/>
              <a:ext cx="14287" cy="17462"/>
            </a:xfrm>
            <a:custGeom>
              <a:avLst/>
              <a:gdLst>
                <a:gd name="T0" fmla="*/ 3 w 38"/>
                <a:gd name="T1" fmla="*/ 15 h 47"/>
                <a:gd name="T2" fmla="*/ 12 w 38"/>
                <a:gd name="T3" fmla="*/ 15 h 47"/>
                <a:gd name="T4" fmla="*/ 9 w 38"/>
                <a:gd name="T5" fmla="*/ 20 h 47"/>
                <a:gd name="T6" fmla="*/ 15 w 38"/>
                <a:gd name="T7" fmla="*/ 31 h 47"/>
                <a:gd name="T8" fmla="*/ 17 w 38"/>
                <a:gd name="T9" fmla="*/ 46 h 47"/>
                <a:gd name="T10" fmla="*/ 31 w 38"/>
                <a:gd name="T11" fmla="*/ 40 h 47"/>
                <a:gd name="T12" fmla="*/ 34 w 38"/>
                <a:gd name="T13" fmla="*/ 37 h 47"/>
                <a:gd name="T14" fmla="*/ 26 w 38"/>
                <a:gd name="T15" fmla="*/ 23 h 47"/>
                <a:gd name="T16" fmla="*/ 23 w 38"/>
                <a:gd name="T17" fmla="*/ 0 h 47"/>
                <a:gd name="T18" fmla="*/ 0 w 38"/>
                <a:gd name="T19" fmla="*/ 6 h 47"/>
                <a:gd name="T20" fmla="*/ 3 w 38"/>
                <a:gd name="T21" fmla="*/ 1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47">
                  <a:moveTo>
                    <a:pt x="3" y="15"/>
                  </a:moveTo>
                  <a:cubicBezTo>
                    <a:pt x="6" y="15"/>
                    <a:pt x="9" y="15"/>
                    <a:pt x="12" y="15"/>
                  </a:cubicBezTo>
                  <a:cubicBezTo>
                    <a:pt x="12" y="17"/>
                    <a:pt x="12" y="20"/>
                    <a:pt x="9" y="20"/>
                  </a:cubicBezTo>
                  <a:cubicBezTo>
                    <a:pt x="12" y="23"/>
                    <a:pt x="15" y="29"/>
                    <a:pt x="15" y="31"/>
                  </a:cubicBezTo>
                  <a:cubicBezTo>
                    <a:pt x="9" y="34"/>
                    <a:pt x="15" y="46"/>
                    <a:pt x="17" y="46"/>
                  </a:cubicBezTo>
                  <a:cubicBezTo>
                    <a:pt x="20" y="40"/>
                    <a:pt x="26" y="43"/>
                    <a:pt x="31" y="40"/>
                  </a:cubicBezTo>
                  <a:cubicBezTo>
                    <a:pt x="31" y="40"/>
                    <a:pt x="31" y="40"/>
                    <a:pt x="34" y="37"/>
                  </a:cubicBezTo>
                  <a:cubicBezTo>
                    <a:pt x="37" y="29"/>
                    <a:pt x="26" y="31"/>
                    <a:pt x="26" y="23"/>
                  </a:cubicBezTo>
                  <a:cubicBezTo>
                    <a:pt x="26" y="15"/>
                    <a:pt x="26" y="9"/>
                    <a:pt x="23" y="0"/>
                  </a:cubicBezTo>
                  <a:cubicBezTo>
                    <a:pt x="15" y="0"/>
                    <a:pt x="6" y="0"/>
                    <a:pt x="0" y="6"/>
                  </a:cubicBezTo>
                  <a:cubicBezTo>
                    <a:pt x="0" y="12"/>
                    <a:pt x="0" y="12"/>
                    <a:pt x="3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3" name="Freeform 348"/>
            <p:cNvSpPr>
              <a:spLocks noChangeArrowheads="1"/>
            </p:cNvSpPr>
            <p:nvPr/>
          </p:nvSpPr>
          <p:spPr bwMode="auto">
            <a:xfrm>
              <a:off x="4557713" y="2525713"/>
              <a:ext cx="1587" cy="3175"/>
            </a:xfrm>
            <a:custGeom>
              <a:avLst/>
              <a:gdLst>
                <a:gd name="T0" fmla="*/ 2 w 6"/>
                <a:gd name="T1" fmla="*/ 6 h 7"/>
                <a:gd name="T2" fmla="*/ 2 w 6"/>
                <a:gd name="T3" fmla="*/ 0 h 7"/>
                <a:gd name="T4" fmla="*/ 0 w 6"/>
                <a:gd name="T5" fmla="*/ 0 h 7"/>
                <a:gd name="T6" fmla="*/ 2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2" y="6"/>
                  </a:moveTo>
                  <a:cubicBezTo>
                    <a:pt x="5" y="6"/>
                    <a:pt x="5" y="3"/>
                    <a:pt x="2" y="0"/>
                  </a:cubicBezTo>
                  <a:lnTo>
                    <a:pt x="0" y="0"/>
                  </a:lnTo>
                  <a:cubicBezTo>
                    <a:pt x="0" y="3"/>
                    <a:pt x="0" y="6"/>
                    <a:pt x="2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4" name="Freeform 349"/>
            <p:cNvSpPr>
              <a:spLocks noChangeArrowheads="1"/>
            </p:cNvSpPr>
            <p:nvPr/>
          </p:nvSpPr>
          <p:spPr bwMode="auto">
            <a:xfrm>
              <a:off x="4559300" y="2652713"/>
              <a:ext cx="3175" cy="4762"/>
            </a:xfrm>
            <a:custGeom>
              <a:avLst/>
              <a:gdLst>
                <a:gd name="T0" fmla="*/ 9 w 10"/>
                <a:gd name="T1" fmla="*/ 8 h 12"/>
                <a:gd name="T2" fmla="*/ 6 w 10"/>
                <a:gd name="T3" fmla="*/ 0 h 12"/>
                <a:gd name="T4" fmla="*/ 0 w 10"/>
                <a:gd name="T5" fmla="*/ 8 h 12"/>
                <a:gd name="T6" fmla="*/ 6 w 10"/>
                <a:gd name="T7" fmla="*/ 11 h 12"/>
                <a:gd name="T8" fmla="*/ 9 w 10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9" y="8"/>
                  </a:moveTo>
                  <a:cubicBezTo>
                    <a:pt x="9" y="5"/>
                    <a:pt x="9" y="3"/>
                    <a:pt x="6" y="0"/>
                  </a:cubicBezTo>
                  <a:cubicBezTo>
                    <a:pt x="3" y="3"/>
                    <a:pt x="3" y="5"/>
                    <a:pt x="0" y="8"/>
                  </a:cubicBezTo>
                  <a:cubicBezTo>
                    <a:pt x="3" y="8"/>
                    <a:pt x="3" y="11"/>
                    <a:pt x="6" y="11"/>
                  </a:cubicBezTo>
                  <a:cubicBezTo>
                    <a:pt x="6" y="8"/>
                    <a:pt x="9" y="8"/>
                    <a:pt x="9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5" name="Freeform 350"/>
            <p:cNvSpPr>
              <a:spLocks noChangeArrowheads="1"/>
            </p:cNvSpPr>
            <p:nvPr/>
          </p:nvSpPr>
          <p:spPr bwMode="auto">
            <a:xfrm>
              <a:off x="4552950" y="2327275"/>
              <a:ext cx="12700" cy="11113"/>
            </a:xfrm>
            <a:custGeom>
              <a:avLst/>
              <a:gdLst>
                <a:gd name="T0" fmla="*/ 6 w 35"/>
                <a:gd name="T1" fmla="*/ 14 h 29"/>
                <a:gd name="T2" fmla="*/ 12 w 35"/>
                <a:gd name="T3" fmla="*/ 20 h 29"/>
                <a:gd name="T4" fmla="*/ 23 w 35"/>
                <a:gd name="T5" fmla="*/ 28 h 29"/>
                <a:gd name="T6" fmla="*/ 23 w 35"/>
                <a:gd name="T7" fmla="*/ 28 h 29"/>
                <a:gd name="T8" fmla="*/ 34 w 35"/>
                <a:gd name="T9" fmla="*/ 20 h 29"/>
                <a:gd name="T10" fmla="*/ 17 w 35"/>
                <a:gd name="T11" fmla="*/ 11 h 29"/>
                <a:gd name="T12" fmla="*/ 0 w 35"/>
                <a:gd name="T13" fmla="*/ 6 h 29"/>
                <a:gd name="T14" fmla="*/ 6 w 35"/>
                <a:gd name="T15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9">
                  <a:moveTo>
                    <a:pt x="6" y="14"/>
                  </a:moveTo>
                  <a:cubicBezTo>
                    <a:pt x="9" y="17"/>
                    <a:pt x="9" y="17"/>
                    <a:pt x="12" y="20"/>
                  </a:cubicBezTo>
                  <a:cubicBezTo>
                    <a:pt x="14" y="23"/>
                    <a:pt x="17" y="25"/>
                    <a:pt x="23" y="28"/>
                  </a:cubicBezTo>
                  <a:lnTo>
                    <a:pt x="23" y="28"/>
                  </a:lnTo>
                  <a:cubicBezTo>
                    <a:pt x="29" y="28"/>
                    <a:pt x="34" y="25"/>
                    <a:pt x="34" y="20"/>
                  </a:cubicBezTo>
                  <a:cubicBezTo>
                    <a:pt x="34" y="11"/>
                    <a:pt x="23" y="14"/>
                    <a:pt x="17" y="11"/>
                  </a:cubicBezTo>
                  <a:cubicBezTo>
                    <a:pt x="9" y="11"/>
                    <a:pt x="9" y="0"/>
                    <a:pt x="0" y="6"/>
                  </a:cubicBezTo>
                  <a:cubicBezTo>
                    <a:pt x="0" y="9"/>
                    <a:pt x="3" y="14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6" name="Freeform 351"/>
            <p:cNvSpPr>
              <a:spLocks noChangeArrowheads="1"/>
            </p:cNvSpPr>
            <p:nvPr/>
          </p:nvSpPr>
          <p:spPr bwMode="auto">
            <a:xfrm>
              <a:off x="4562475" y="2738438"/>
              <a:ext cx="1588" cy="1587"/>
            </a:xfrm>
            <a:custGeom>
              <a:avLst/>
              <a:gdLst>
                <a:gd name="T0" fmla="*/ 3 w 4"/>
                <a:gd name="T1" fmla="*/ 0 h 6"/>
                <a:gd name="T2" fmla="*/ 3 w 4"/>
                <a:gd name="T3" fmla="*/ 0 h 6"/>
                <a:gd name="T4" fmla="*/ 0 w 4"/>
                <a:gd name="T5" fmla="*/ 5 h 6"/>
                <a:gd name="T6" fmla="*/ 0 w 4"/>
                <a:gd name="T7" fmla="*/ 5 h 6"/>
                <a:gd name="T8" fmla="*/ 3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3" y="0"/>
                  </a:moveTo>
                  <a:lnTo>
                    <a:pt x="3" y="0"/>
                  </a:lnTo>
                  <a:cubicBezTo>
                    <a:pt x="0" y="0"/>
                    <a:pt x="0" y="2"/>
                    <a:pt x="0" y="5"/>
                  </a:cubicBezTo>
                  <a:lnTo>
                    <a:pt x="0" y="5"/>
                  </a:lnTo>
                  <a:cubicBezTo>
                    <a:pt x="3" y="5"/>
                    <a:pt x="3" y="2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7" name="Freeform 352"/>
            <p:cNvSpPr>
              <a:spLocks noChangeArrowheads="1"/>
            </p:cNvSpPr>
            <p:nvPr/>
          </p:nvSpPr>
          <p:spPr bwMode="auto">
            <a:xfrm>
              <a:off x="4564063" y="2527300"/>
              <a:ext cx="1587" cy="4763"/>
            </a:xfrm>
            <a:custGeom>
              <a:avLst/>
              <a:gdLst>
                <a:gd name="T0" fmla="*/ 3 w 4"/>
                <a:gd name="T1" fmla="*/ 11 h 12"/>
                <a:gd name="T2" fmla="*/ 3 w 4"/>
                <a:gd name="T3" fmla="*/ 0 h 12"/>
                <a:gd name="T4" fmla="*/ 3 w 4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3" y="11"/>
                  </a:moveTo>
                  <a:cubicBezTo>
                    <a:pt x="3" y="8"/>
                    <a:pt x="3" y="3"/>
                    <a:pt x="3" y="0"/>
                  </a:cubicBezTo>
                  <a:cubicBezTo>
                    <a:pt x="0" y="3"/>
                    <a:pt x="0" y="6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8" name="Freeform 353"/>
            <p:cNvSpPr>
              <a:spLocks noChangeArrowheads="1"/>
            </p:cNvSpPr>
            <p:nvPr/>
          </p:nvSpPr>
          <p:spPr bwMode="auto">
            <a:xfrm>
              <a:off x="4562475" y="2816225"/>
              <a:ext cx="4763" cy="7938"/>
            </a:xfrm>
            <a:custGeom>
              <a:avLst/>
              <a:gdLst>
                <a:gd name="T0" fmla="*/ 11 w 12"/>
                <a:gd name="T1" fmla="*/ 0 h 21"/>
                <a:gd name="T2" fmla="*/ 3 w 12"/>
                <a:gd name="T3" fmla="*/ 14 h 21"/>
                <a:gd name="T4" fmla="*/ 3 w 12"/>
                <a:gd name="T5" fmla="*/ 14 h 21"/>
                <a:gd name="T6" fmla="*/ 0 w 12"/>
                <a:gd name="T7" fmla="*/ 20 h 21"/>
                <a:gd name="T8" fmla="*/ 11 w 12"/>
                <a:gd name="T9" fmla="*/ 17 h 21"/>
                <a:gd name="T10" fmla="*/ 11 w 12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1">
                  <a:moveTo>
                    <a:pt x="11" y="0"/>
                  </a:moveTo>
                  <a:cubicBezTo>
                    <a:pt x="6" y="3"/>
                    <a:pt x="3" y="8"/>
                    <a:pt x="3" y="14"/>
                  </a:cubicBezTo>
                  <a:lnTo>
                    <a:pt x="3" y="14"/>
                  </a:lnTo>
                  <a:cubicBezTo>
                    <a:pt x="0" y="17"/>
                    <a:pt x="0" y="17"/>
                    <a:pt x="0" y="20"/>
                  </a:cubicBezTo>
                  <a:cubicBezTo>
                    <a:pt x="6" y="20"/>
                    <a:pt x="6" y="20"/>
                    <a:pt x="11" y="17"/>
                  </a:cubicBezTo>
                  <a:cubicBezTo>
                    <a:pt x="8" y="11"/>
                    <a:pt x="8" y="5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9" name="Freeform 354"/>
            <p:cNvSpPr>
              <a:spLocks noChangeArrowheads="1"/>
            </p:cNvSpPr>
            <p:nvPr/>
          </p:nvSpPr>
          <p:spPr bwMode="auto">
            <a:xfrm>
              <a:off x="4572000" y="2387600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3 w 7"/>
                <a:gd name="T3" fmla="*/ 0 h 7"/>
                <a:gd name="T4" fmla="*/ 0 w 7"/>
                <a:gd name="T5" fmla="*/ 3 h 7"/>
                <a:gd name="T6" fmla="*/ 0 w 7"/>
                <a:gd name="T7" fmla="*/ 3 h 7"/>
                <a:gd name="T8" fmla="*/ 0 w 7"/>
                <a:gd name="T9" fmla="*/ 3 h 7"/>
                <a:gd name="T10" fmla="*/ 6 w 7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cubicBezTo>
                    <a:pt x="6" y="3"/>
                    <a:pt x="6" y="3"/>
                    <a:pt x="3" y="0"/>
                  </a:cubicBezTo>
                  <a:cubicBezTo>
                    <a:pt x="3" y="0"/>
                    <a:pt x="3" y="0"/>
                    <a:pt x="0" y="3"/>
                  </a:cubicBezTo>
                  <a:lnTo>
                    <a:pt x="0" y="3"/>
                  </a:lnTo>
                  <a:lnTo>
                    <a:pt x="0" y="3"/>
                  </a:lnTo>
                  <a:cubicBezTo>
                    <a:pt x="3" y="3"/>
                    <a:pt x="6" y="3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0" name="Freeform 355"/>
            <p:cNvSpPr>
              <a:spLocks noChangeArrowheads="1"/>
            </p:cNvSpPr>
            <p:nvPr/>
          </p:nvSpPr>
          <p:spPr bwMode="auto">
            <a:xfrm>
              <a:off x="4568825" y="2568575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8 w 9"/>
                <a:gd name="T3" fmla="*/ 3 h 10"/>
                <a:gd name="T4" fmla="*/ 3 w 9"/>
                <a:gd name="T5" fmla="*/ 0 h 10"/>
                <a:gd name="T6" fmla="*/ 0 w 9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cubicBezTo>
                    <a:pt x="3" y="9"/>
                    <a:pt x="8" y="6"/>
                    <a:pt x="8" y="3"/>
                  </a:cubicBezTo>
                  <a:cubicBezTo>
                    <a:pt x="5" y="3"/>
                    <a:pt x="5" y="3"/>
                    <a:pt x="3" y="0"/>
                  </a:cubicBezTo>
                  <a:cubicBezTo>
                    <a:pt x="3" y="3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1" name="Freeform 356"/>
            <p:cNvSpPr>
              <a:spLocks noChangeArrowheads="1"/>
            </p:cNvSpPr>
            <p:nvPr/>
          </p:nvSpPr>
          <p:spPr bwMode="auto">
            <a:xfrm>
              <a:off x="3633788" y="2700338"/>
              <a:ext cx="3175" cy="3175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6 h 7"/>
                <a:gd name="T4" fmla="*/ 6 w 9"/>
                <a:gd name="T5" fmla="*/ 6 h 7"/>
                <a:gd name="T6" fmla="*/ 8 w 9"/>
                <a:gd name="T7" fmla="*/ 3 h 7"/>
                <a:gd name="T8" fmla="*/ 3 w 9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cubicBezTo>
                    <a:pt x="3" y="3"/>
                    <a:pt x="0" y="3"/>
                    <a:pt x="0" y="6"/>
                  </a:cubicBezTo>
                  <a:cubicBezTo>
                    <a:pt x="3" y="6"/>
                    <a:pt x="3" y="6"/>
                    <a:pt x="6" y="6"/>
                  </a:cubicBezTo>
                  <a:lnTo>
                    <a:pt x="8" y="3"/>
                  </a:lnTo>
                  <a:cubicBezTo>
                    <a:pt x="6" y="3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2" name="Freeform 357"/>
            <p:cNvSpPr>
              <a:spLocks noChangeArrowheads="1"/>
            </p:cNvSpPr>
            <p:nvPr/>
          </p:nvSpPr>
          <p:spPr bwMode="auto">
            <a:xfrm>
              <a:off x="3632200" y="2605088"/>
              <a:ext cx="3175" cy="3175"/>
            </a:xfrm>
            <a:custGeom>
              <a:avLst/>
              <a:gdLst>
                <a:gd name="T0" fmla="*/ 0 w 7"/>
                <a:gd name="T1" fmla="*/ 0 h 9"/>
                <a:gd name="T2" fmla="*/ 0 w 7"/>
                <a:gd name="T3" fmla="*/ 6 h 9"/>
                <a:gd name="T4" fmla="*/ 3 w 7"/>
                <a:gd name="T5" fmla="*/ 8 h 9"/>
                <a:gd name="T6" fmla="*/ 6 w 7"/>
                <a:gd name="T7" fmla="*/ 6 h 9"/>
                <a:gd name="T8" fmla="*/ 0 w 7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0" y="0"/>
                  </a:moveTo>
                  <a:lnTo>
                    <a:pt x="0" y="6"/>
                  </a:lnTo>
                  <a:lnTo>
                    <a:pt x="3" y="8"/>
                  </a:lnTo>
                  <a:cubicBezTo>
                    <a:pt x="6" y="8"/>
                    <a:pt x="6" y="8"/>
                    <a:pt x="6" y="6"/>
                  </a:cubicBezTo>
                  <a:cubicBezTo>
                    <a:pt x="3" y="6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3" name="Freeform 358"/>
            <p:cNvSpPr>
              <a:spLocks noChangeArrowheads="1"/>
            </p:cNvSpPr>
            <p:nvPr/>
          </p:nvSpPr>
          <p:spPr bwMode="auto">
            <a:xfrm>
              <a:off x="3632200" y="2470150"/>
              <a:ext cx="4763" cy="3175"/>
            </a:xfrm>
            <a:custGeom>
              <a:avLst/>
              <a:gdLst>
                <a:gd name="T0" fmla="*/ 9 w 15"/>
                <a:gd name="T1" fmla="*/ 8 h 9"/>
                <a:gd name="T2" fmla="*/ 12 w 15"/>
                <a:gd name="T3" fmla="*/ 0 h 9"/>
                <a:gd name="T4" fmla="*/ 0 w 15"/>
                <a:gd name="T5" fmla="*/ 8 h 9"/>
                <a:gd name="T6" fmla="*/ 9 w 15"/>
                <a:gd name="T7" fmla="*/ 8 h 9"/>
                <a:gd name="T8" fmla="*/ 12 w 15"/>
                <a:gd name="T9" fmla="*/ 0 h 9"/>
                <a:gd name="T10" fmla="*/ 14 w 15"/>
                <a:gd name="T11" fmla="*/ 0 h 9"/>
                <a:gd name="T12" fmla="*/ 12 w 15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9">
                  <a:moveTo>
                    <a:pt x="9" y="8"/>
                  </a:moveTo>
                  <a:cubicBezTo>
                    <a:pt x="9" y="6"/>
                    <a:pt x="12" y="3"/>
                    <a:pt x="12" y="0"/>
                  </a:cubicBezTo>
                  <a:cubicBezTo>
                    <a:pt x="6" y="0"/>
                    <a:pt x="0" y="1"/>
                    <a:pt x="0" y="8"/>
                  </a:cubicBezTo>
                  <a:lnTo>
                    <a:pt x="9" y="8"/>
                  </a:lnTo>
                  <a:close/>
                  <a:moveTo>
                    <a:pt x="12" y="0"/>
                  </a:moveTo>
                  <a:lnTo>
                    <a:pt x="14" y="0"/>
                  </a:lnTo>
                  <a:cubicBezTo>
                    <a:pt x="13" y="0"/>
                    <a:pt x="13" y="0"/>
                    <a:pt x="12" y="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4" name="Freeform 359"/>
            <p:cNvSpPr>
              <a:spLocks noChangeArrowheads="1"/>
            </p:cNvSpPr>
            <p:nvPr/>
          </p:nvSpPr>
          <p:spPr bwMode="auto">
            <a:xfrm>
              <a:off x="3629025" y="2652713"/>
              <a:ext cx="4763" cy="3175"/>
            </a:xfrm>
            <a:custGeom>
              <a:avLst/>
              <a:gdLst>
                <a:gd name="T0" fmla="*/ 0 w 12"/>
                <a:gd name="T1" fmla="*/ 3 h 9"/>
                <a:gd name="T2" fmla="*/ 0 w 12"/>
                <a:gd name="T3" fmla="*/ 3 h 9"/>
                <a:gd name="T4" fmla="*/ 11 w 12"/>
                <a:gd name="T5" fmla="*/ 5 h 9"/>
                <a:gd name="T6" fmla="*/ 11 w 12"/>
                <a:gd name="T7" fmla="*/ 5 h 9"/>
                <a:gd name="T8" fmla="*/ 11 w 12"/>
                <a:gd name="T9" fmla="*/ 5 h 9"/>
                <a:gd name="T10" fmla="*/ 0 w 12"/>
                <a:gd name="T11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9">
                  <a:moveTo>
                    <a:pt x="0" y="3"/>
                  </a:moveTo>
                  <a:lnTo>
                    <a:pt x="0" y="3"/>
                  </a:lnTo>
                  <a:cubicBezTo>
                    <a:pt x="3" y="8"/>
                    <a:pt x="5" y="8"/>
                    <a:pt x="11" y="5"/>
                  </a:cubicBezTo>
                  <a:lnTo>
                    <a:pt x="11" y="5"/>
                  </a:lnTo>
                  <a:lnTo>
                    <a:pt x="11" y="5"/>
                  </a:lnTo>
                  <a:cubicBezTo>
                    <a:pt x="5" y="3"/>
                    <a:pt x="5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5" name="Freeform 360"/>
            <p:cNvSpPr>
              <a:spLocks noChangeArrowheads="1"/>
            </p:cNvSpPr>
            <p:nvPr/>
          </p:nvSpPr>
          <p:spPr bwMode="auto">
            <a:xfrm>
              <a:off x="3700463" y="2297113"/>
              <a:ext cx="4762" cy="4762"/>
            </a:xfrm>
            <a:custGeom>
              <a:avLst/>
              <a:gdLst>
                <a:gd name="T0" fmla="*/ 6 w 12"/>
                <a:gd name="T1" fmla="*/ 8 h 12"/>
                <a:gd name="T2" fmla="*/ 11 w 12"/>
                <a:gd name="T3" fmla="*/ 8 h 12"/>
                <a:gd name="T4" fmla="*/ 9 w 12"/>
                <a:gd name="T5" fmla="*/ 0 h 12"/>
                <a:gd name="T6" fmla="*/ 2 w 12"/>
                <a:gd name="T7" fmla="*/ 8 h 12"/>
                <a:gd name="T8" fmla="*/ 6 w 12"/>
                <a:gd name="T9" fmla="*/ 8 h 12"/>
                <a:gd name="T10" fmla="*/ 0 w 12"/>
                <a:gd name="T11" fmla="*/ 11 h 12"/>
                <a:gd name="T12" fmla="*/ 2 w 12"/>
                <a:gd name="T13" fmla="*/ 8 h 12"/>
                <a:gd name="T14" fmla="*/ 0 w 12"/>
                <a:gd name="T1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6" y="8"/>
                  </a:moveTo>
                  <a:lnTo>
                    <a:pt x="11" y="8"/>
                  </a:lnTo>
                  <a:cubicBezTo>
                    <a:pt x="11" y="5"/>
                    <a:pt x="9" y="2"/>
                    <a:pt x="9" y="0"/>
                  </a:cubicBezTo>
                  <a:cubicBezTo>
                    <a:pt x="6" y="2"/>
                    <a:pt x="4" y="5"/>
                    <a:pt x="2" y="8"/>
                  </a:cubicBezTo>
                  <a:cubicBezTo>
                    <a:pt x="3" y="8"/>
                    <a:pt x="5" y="8"/>
                    <a:pt x="6" y="8"/>
                  </a:cubicBezTo>
                  <a:close/>
                  <a:moveTo>
                    <a:pt x="0" y="11"/>
                  </a:moveTo>
                  <a:cubicBezTo>
                    <a:pt x="0" y="9"/>
                    <a:pt x="1" y="9"/>
                    <a:pt x="2" y="8"/>
                  </a:cubicBezTo>
                  <a:cubicBezTo>
                    <a:pt x="2" y="9"/>
                    <a:pt x="1" y="10"/>
                    <a:pt x="0" y="1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6" name="Freeform 361"/>
            <p:cNvSpPr>
              <a:spLocks noChangeArrowheads="1"/>
            </p:cNvSpPr>
            <p:nvPr/>
          </p:nvSpPr>
          <p:spPr bwMode="auto">
            <a:xfrm>
              <a:off x="3621088" y="2584450"/>
              <a:ext cx="4762" cy="7938"/>
            </a:xfrm>
            <a:custGeom>
              <a:avLst/>
              <a:gdLst>
                <a:gd name="T0" fmla="*/ 3 w 15"/>
                <a:gd name="T1" fmla="*/ 0 h 23"/>
                <a:gd name="T2" fmla="*/ 3 w 15"/>
                <a:gd name="T3" fmla="*/ 3 h 23"/>
                <a:gd name="T4" fmla="*/ 3 w 15"/>
                <a:gd name="T5" fmla="*/ 3 h 23"/>
                <a:gd name="T6" fmla="*/ 0 w 15"/>
                <a:gd name="T7" fmla="*/ 5 h 23"/>
                <a:gd name="T8" fmla="*/ 0 w 15"/>
                <a:gd name="T9" fmla="*/ 11 h 23"/>
                <a:gd name="T10" fmla="*/ 9 w 15"/>
                <a:gd name="T11" fmla="*/ 0 h 23"/>
                <a:gd name="T12" fmla="*/ 3 w 15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3">
                  <a:moveTo>
                    <a:pt x="3" y="0"/>
                  </a:moveTo>
                  <a:lnTo>
                    <a:pt x="3" y="3"/>
                  </a:lnTo>
                  <a:lnTo>
                    <a:pt x="3" y="3"/>
                  </a:lnTo>
                  <a:cubicBezTo>
                    <a:pt x="3" y="3"/>
                    <a:pt x="3" y="5"/>
                    <a:pt x="0" y="5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6" y="22"/>
                    <a:pt x="14" y="11"/>
                    <a:pt x="9" y="0"/>
                  </a:cubicBezTo>
                  <a:cubicBezTo>
                    <a:pt x="6" y="0"/>
                    <a:pt x="3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7" name="Freeform 362"/>
            <p:cNvSpPr>
              <a:spLocks noChangeArrowheads="1"/>
            </p:cNvSpPr>
            <p:nvPr/>
          </p:nvSpPr>
          <p:spPr bwMode="auto">
            <a:xfrm>
              <a:off x="3652838" y="2389188"/>
              <a:ext cx="1587" cy="3175"/>
            </a:xfrm>
            <a:custGeom>
              <a:avLst/>
              <a:gdLst>
                <a:gd name="T0" fmla="*/ 5 w 6"/>
                <a:gd name="T1" fmla="*/ 3 h 7"/>
                <a:gd name="T2" fmla="*/ 3 w 6"/>
                <a:gd name="T3" fmla="*/ 0 h 7"/>
                <a:gd name="T4" fmla="*/ 0 w 6"/>
                <a:gd name="T5" fmla="*/ 6 h 7"/>
                <a:gd name="T6" fmla="*/ 0 w 6"/>
                <a:gd name="T7" fmla="*/ 6 h 7"/>
                <a:gd name="T8" fmla="*/ 5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3"/>
                  </a:moveTo>
                  <a:lnTo>
                    <a:pt x="3" y="0"/>
                  </a:lnTo>
                  <a:cubicBezTo>
                    <a:pt x="3" y="3"/>
                    <a:pt x="0" y="3"/>
                    <a:pt x="0" y="6"/>
                  </a:cubicBezTo>
                  <a:lnTo>
                    <a:pt x="0" y="6"/>
                  </a:lnTo>
                  <a:cubicBezTo>
                    <a:pt x="3" y="3"/>
                    <a:pt x="5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8" name="Freeform 363"/>
            <p:cNvSpPr>
              <a:spLocks noChangeArrowheads="1"/>
            </p:cNvSpPr>
            <p:nvPr/>
          </p:nvSpPr>
          <p:spPr bwMode="auto">
            <a:xfrm>
              <a:off x="3619500" y="2597150"/>
              <a:ext cx="3175" cy="1588"/>
            </a:xfrm>
            <a:custGeom>
              <a:avLst/>
              <a:gdLst>
                <a:gd name="T0" fmla="*/ 8 w 9"/>
                <a:gd name="T1" fmla="*/ 2 h 6"/>
                <a:gd name="T2" fmla="*/ 2 w 9"/>
                <a:gd name="T3" fmla="*/ 0 h 6"/>
                <a:gd name="T4" fmla="*/ 2 w 9"/>
                <a:gd name="T5" fmla="*/ 0 h 6"/>
                <a:gd name="T6" fmla="*/ 2 w 9"/>
                <a:gd name="T7" fmla="*/ 0 h 6"/>
                <a:gd name="T8" fmla="*/ 0 w 9"/>
                <a:gd name="T9" fmla="*/ 2 h 6"/>
                <a:gd name="T10" fmla="*/ 5 w 9"/>
                <a:gd name="T11" fmla="*/ 5 h 6"/>
                <a:gd name="T12" fmla="*/ 8 w 9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8" y="2"/>
                  </a:moveTo>
                  <a:cubicBezTo>
                    <a:pt x="5" y="2"/>
                    <a:pt x="5" y="0"/>
                    <a:pt x="2" y="0"/>
                  </a:cubicBez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ubicBezTo>
                    <a:pt x="2" y="2"/>
                    <a:pt x="2" y="5"/>
                    <a:pt x="5" y="5"/>
                  </a:cubicBezTo>
                  <a:cubicBezTo>
                    <a:pt x="5" y="5"/>
                    <a:pt x="5" y="5"/>
                    <a:pt x="8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9" name="Freeform 364"/>
            <p:cNvSpPr>
              <a:spLocks noChangeArrowheads="1"/>
            </p:cNvSpPr>
            <p:nvPr/>
          </p:nvSpPr>
          <p:spPr bwMode="auto">
            <a:xfrm>
              <a:off x="3619500" y="2605088"/>
              <a:ext cx="3175" cy="3175"/>
            </a:xfrm>
            <a:custGeom>
              <a:avLst/>
              <a:gdLst>
                <a:gd name="T0" fmla="*/ 0 w 9"/>
                <a:gd name="T1" fmla="*/ 3 h 9"/>
                <a:gd name="T2" fmla="*/ 2 w 9"/>
                <a:gd name="T3" fmla="*/ 6 h 9"/>
                <a:gd name="T4" fmla="*/ 2 w 9"/>
                <a:gd name="T5" fmla="*/ 6 h 9"/>
                <a:gd name="T6" fmla="*/ 8 w 9"/>
                <a:gd name="T7" fmla="*/ 8 h 9"/>
                <a:gd name="T8" fmla="*/ 8 w 9"/>
                <a:gd name="T9" fmla="*/ 3 h 9"/>
                <a:gd name="T10" fmla="*/ 5 w 9"/>
                <a:gd name="T11" fmla="*/ 0 h 9"/>
                <a:gd name="T12" fmla="*/ 0 w 9"/>
                <a:gd name="T1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9">
                  <a:moveTo>
                    <a:pt x="0" y="3"/>
                  </a:moveTo>
                  <a:cubicBezTo>
                    <a:pt x="2" y="3"/>
                    <a:pt x="2" y="3"/>
                    <a:pt x="2" y="6"/>
                  </a:cubicBezTo>
                  <a:lnTo>
                    <a:pt x="2" y="6"/>
                  </a:lnTo>
                  <a:cubicBezTo>
                    <a:pt x="5" y="6"/>
                    <a:pt x="5" y="8"/>
                    <a:pt x="8" y="8"/>
                  </a:cubicBezTo>
                  <a:lnTo>
                    <a:pt x="8" y="3"/>
                  </a:lnTo>
                  <a:lnTo>
                    <a:pt x="5" y="0"/>
                  </a:lnTo>
                  <a:cubicBezTo>
                    <a:pt x="2" y="0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0" name="Freeform 365"/>
            <p:cNvSpPr>
              <a:spLocks noChangeArrowheads="1"/>
            </p:cNvSpPr>
            <p:nvPr/>
          </p:nvSpPr>
          <p:spPr bwMode="auto">
            <a:xfrm>
              <a:off x="4592638" y="2411413"/>
              <a:ext cx="4762" cy="3175"/>
            </a:xfrm>
            <a:custGeom>
              <a:avLst/>
              <a:gdLst>
                <a:gd name="T0" fmla="*/ 9 w 13"/>
                <a:gd name="T1" fmla="*/ 9 h 10"/>
                <a:gd name="T2" fmla="*/ 12 w 13"/>
                <a:gd name="T3" fmla="*/ 0 h 10"/>
                <a:gd name="T4" fmla="*/ 0 w 13"/>
                <a:gd name="T5" fmla="*/ 0 h 10"/>
                <a:gd name="T6" fmla="*/ 9 w 13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9" y="9"/>
                  </a:moveTo>
                  <a:cubicBezTo>
                    <a:pt x="9" y="6"/>
                    <a:pt x="12" y="3"/>
                    <a:pt x="12" y="0"/>
                  </a:cubicBezTo>
                  <a:lnTo>
                    <a:pt x="0" y="0"/>
                  </a:lnTo>
                  <a:cubicBezTo>
                    <a:pt x="0" y="3"/>
                    <a:pt x="3" y="9"/>
                    <a:pt x="9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1" name="Freeform 366"/>
            <p:cNvSpPr>
              <a:spLocks noChangeArrowheads="1"/>
            </p:cNvSpPr>
            <p:nvPr/>
          </p:nvSpPr>
          <p:spPr bwMode="auto">
            <a:xfrm>
              <a:off x="4600575" y="2528888"/>
              <a:ext cx="1588" cy="1587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5 h 6"/>
                <a:gd name="T4" fmla="*/ 3 w 4"/>
                <a:gd name="T5" fmla="*/ 0 h 6"/>
                <a:gd name="T6" fmla="*/ 0 w 4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cubicBezTo>
                    <a:pt x="0" y="2"/>
                    <a:pt x="0" y="2"/>
                    <a:pt x="0" y="5"/>
                  </a:cubicBezTo>
                  <a:cubicBezTo>
                    <a:pt x="3" y="5"/>
                    <a:pt x="3" y="2"/>
                    <a:pt x="3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2" name="Freeform 367"/>
            <p:cNvSpPr>
              <a:spLocks noChangeArrowheads="1"/>
            </p:cNvSpPr>
            <p:nvPr/>
          </p:nvSpPr>
          <p:spPr bwMode="auto">
            <a:xfrm>
              <a:off x="4602163" y="2417763"/>
              <a:ext cx="6350" cy="4762"/>
            </a:xfrm>
            <a:custGeom>
              <a:avLst/>
              <a:gdLst>
                <a:gd name="T0" fmla="*/ 17 w 18"/>
                <a:gd name="T1" fmla="*/ 9 h 15"/>
                <a:gd name="T2" fmla="*/ 3 w 18"/>
                <a:gd name="T3" fmla="*/ 0 h 15"/>
                <a:gd name="T4" fmla="*/ 17 w 18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7" y="9"/>
                  </a:moveTo>
                  <a:cubicBezTo>
                    <a:pt x="17" y="0"/>
                    <a:pt x="11" y="0"/>
                    <a:pt x="3" y="0"/>
                  </a:cubicBezTo>
                  <a:cubicBezTo>
                    <a:pt x="0" y="12"/>
                    <a:pt x="11" y="14"/>
                    <a:pt x="17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3" name="Freeform 368"/>
            <p:cNvSpPr>
              <a:spLocks noChangeArrowheads="1"/>
            </p:cNvSpPr>
            <p:nvPr/>
          </p:nvSpPr>
          <p:spPr bwMode="auto">
            <a:xfrm>
              <a:off x="4491038" y="2397125"/>
              <a:ext cx="3175" cy="3175"/>
            </a:xfrm>
            <a:custGeom>
              <a:avLst/>
              <a:gdLst>
                <a:gd name="T0" fmla="*/ 0 w 7"/>
                <a:gd name="T1" fmla="*/ 3 h 9"/>
                <a:gd name="T2" fmla="*/ 3 w 7"/>
                <a:gd name="T3" fmla="*/ 8 h 9"/>
                <a:gd name="T4" fmla="*/ 6 w 7"/>
                <a:gd name="T5" fmla="*/ 8 h 9"/>
                <a:gd name="T6" fmla="*/ 6 w 7"/>
                <a:gd name="T7" fmla="*/ 5 h 9"/>
                <a:gd name="T8" fmla="*/ 0 w 7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0" y="3"/>
                  </a:moveTo>
                  <a:cubicBezTo>
                    <a:pt x="0" y="5"/>
                    <a:pt x="3" y="5"/>
                    <a:pt x="3" y="8"/>
                  </a:cubicBezTo>
                  <a:lnTo>
                    <a:pt x="6" y="8"/>
                  </a:lnTo>
                  <a:lnTo>
                    <a:pt x="6" y="5"/>
                  </a:lnTo>
                  <a:cubicBezTo>
                    <a:pt x="3" y="0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4" name="Freeform 369"/>
            <p:cNvSpPr>
              <a:spLocks noChangeArrowheads="1"/>
            </p:cNvSpPr>
            <p:nvPr/>
          </p:nvSpPr>
          <p:spPr bwMode="auto">
            <a:xfrm>
              <a:off x="4579938" y="2417763"/>
              <a:ext cx="4762" cy="3175"/>
            </a:xfrm>
            <a:custGeom>
              <a:avLst/>
              <a:gdLst>
                <a:gd name="T0" fmla="*/ 5 w 15"/>
                <a:gd name="T1" fmla="*/ 6 h 7"/>
                <a:gd name="T2" fmla="*/ 14 w 15"/>
                <a:gd name="T3" fmla="*/ 0 h 7"/>
                <a:gd name="T4" fmla="*/ 0 w 15"/>
                <a:gd name="T5" fmla="*/ 6 h 7"/>
                <a:gd name="T6" fmla="*/ 5 w 15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5" y="6"/>
                  </a:moveTo>
                  <a:cubicBezTo>
                    <a:pt x="8" y="6"/>
                    <a:pt x="14" y="3"/>
                    <a:pt x="14" y="0"/>
                  </a:cubicBezTo>
                  <a:cubicBezTo>
                    <a:pt x="8" y="0"/>
                    <a:pt x="5" y="3"/>
                    <a:pt x="0" y="6"/>
                  </a:cubicBezTo>
                  <a:cubicBezTo>
                    <a:pt x="3" y="6"/>
                    <a:pt x="3" y="6"/>
                    <a:pt x="5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5" name="Freeform 370"/>
            <p:cNvSpPr>
              <a:spLocks noChangeArrowheads="1"/>
            </p:cNvSpPr>
            <p:nvPr/>
          </p:nvSpPr>
          <p:spPr bwMode="auto">
            <a:xfrm>
              <a:off x="4603750" y="2449513"/>
              <a:ext cx="6350" cy="11112"/>
            </a:xfrm>
            <a:custGeom>
              <a:avLst/>
              <a:gdLst>
                <a:gd name="T0" fmla="*/ 11 w 18"/>
                <a:gd name="T1" fmla="*/ 2 h 32"/>
                <a:gd name="T2" fmla="*/ 2 w 18"/>
                <a:gd name="T3" fmla="*/ 19 h 32"/>
                <a:gd name="T4" fmla="*/ 0 w 18"/>
                <a:gd name="T5" fmla="*/ 31 h 32"/>
                <a:gd name="T6" fmla="*/ 5 w 18"/>
                <a:gd name="T7" fmla="*/ 31 h 32"/>
                <a:gd name="T8" fmla="*/ 11 w 18"/>
                <a:gd name="T9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32">
                  <a:moveTo>
                    <a:pt x="11" y="2"/>
                  </a:moveTo>
                  <a:cubicBezTo>
                    <a:pt x="8" y="8"/>
                    <a:pt x="5" y="14"/>
                    <a:pt x="2" y="19"/>
                  </a:cubicBezTo>
                  <a:cubicBezTo>
                    <a:pt x="2" y="22"/>
                    <a:pt x="0" y="28"/>
                    <a:pt x="0" y="31"/>
                  </a:cubicBezTo>
                  <a:cubicBezTo>
                    <a:pt x="2" y="31"/>
                    <a:pt x="5" y="31"/>
                    <a:pt x="5" y="31"/>
                  </a:cubicBezTo>
                  <a:cubicBezTo>
                    <a:pt x="11" y="14"/>
                    <a:pt x="17" y="0"/>
                    <a:pt x="11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6" name="Freeform 371"/>
            <p:cNvSpPr>
              <a:spLocks noChangeArrowheads="1"/>
            </p:cNvSpPr>
            <p:nvPr/>
          </p:nvSpPr>
          <p:spPr bwMode="auto">
            <a:xfrm>
              <a:off x="4610100" y="2444750"/>
              <a:ext cx="1588" cy="3175"/>
            </a:xfrm>
            <a:custGeom>
              <a:avLst/>
              <a:gdLst>
                <a:gd name="T0" fmla="*/ 5 w 6"/>
                <a:gd name="T1" fmla="*/ 0 h 7"/>
                <a:gd name="T2" fmla="*/ 5 w 6"/>
                <a:gd name="T3" fmla="*/ 0 h 7"/>
                <a:gd name="T4" fmla="*/ 0 w 6"/>
                <a:gd name="T5" fmla="*/ 6 h 7"/>
                <a:gd name="T6" fmla="*/ 0 w 6"/>
                <a:gd name="T7" fmla="*/ 6 h 7"/>
                <a:gd name="T8" fmla="*/ 5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0"/>
                  </a:moveTo>
                  <a:lnTo>
                    <a:pt x="5" y="0"/>
                  </a:lnTo>
                  <a:cubicBezTo>
                    <a:pt x="5" y="0"/>
                    <a:pt x="2" y="3"/>
                    <a:pt x="0" y="6"/>
                  </a:cubicBezTo>
                  <a:lnTo>
                    <a:pt x="0" y="6"/>
                  </a:lnTo>
                  <a:cubicBezTo>
                    <a:pt x="2" y="6"/>
                    <a:pt x="5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7" name="Freeform 372"/>
            <p:cNvSpPr>
              <a:spLocks noChangeArrowheads="1"/>
            </p:cNvSpPr>
            <p:nvPr/>
          </p:nvSpPr>
          <p:spPr bwMode="auto">
            <a:xfrm>
              <a:off x="4502150" y="2398713"/>
              <a:ext cx="3175" cy="1587"/>
            </a:xfrm>
            <a:custGeom>
              <a:avLst/>
              <a:gdLst>
                <a:gd name="T0" fmla="*/ 6 w 7"/>
                <a:gd name="T1" fmla="*/ 2 h 3"/>
                <a:gd name="T2" fmla="*/ 0 w 7"/>
                <a:gd name="T3" fmla="*/ 2 h 3"/>
                <a:gd name="T4" fmla="*/ 6 w 7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6" y="2"/>
                  </a:moveTo>
                  <a:cubicBezTo>
                    <a:pt x="3" y="0"/>
                    <a:pt x="3" y="0"/>
                    <a:pt x="0" y="2"/>
                  </a:cubicBezTo>
                  <a:lnTo>
                    <a:pt x="6" y="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8" name="Freeform 373"/>
            <p:cNvSpPr>
              <a:spLocks noChangeArrowheads="1"/>
            </p:cNvSpPr>
            <p:nvPr/>
          </p:nvSpPr>
          <p:spPr bwMode="auto">
            <a:xfrm>
              <a:off x="4606925" y="2538413"/>
              <a:ext cx="3175" cy="4762"/>
            </a:xfrm>
            <a:custGeom>
              <a:avLst/>
              <a:gdLst>
                <a:gd name="T0" fmla="*/ 0 w 9"/>
                <a:gd name="T1" fmla="*/ 8 h 12"/>
                <a:gd name="T2" fmla="*/ 6 w 9"/>
                <a:gd name="T3" fmla="*/ 11 h 12"/>
                <a:gd name="T4" fmla="*/ 8 w 9"/>
                <a:gd name="T5" fmla="*/ 3 h 12"/>
                <a:gd name="T6" fmla="*/ 0 w 9"/>
                <a:gd name="T7" fmla="*/ 0 h 12"/>
                <a:gd name="T8" fmla="*/ 0 w 9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8"/>
                  </a:moveTo>
                  <a:cubicBezTo>
                    <a:pt x="3" y="8"/>
                    <a:pt x="3" y="11"/>
                    <a:pt x="6" y="11"/>
                  </a:cubicBezTo>
                  <a:cubicBezTo>
                    <a:pt x="8" y="8"/>
                    <a:pt x="8" y="5"/>
                    <a:pt x="8" y="3"/>
                  </a:cubicBezTo>
                  <a:cubicBezTo>
                    <a:pt x="6" y="3"/>
                    <a:pt x="3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9" name="Freeform 374"/>
            <p:cNvSpPr>
              <a:spLocks noChangeArrowheads="1"/>
            </p:cNvSpPr>
            <p:nvPr/>
          </p:nvSpPr>
          <p:spPr bwMode="auto">
            <a:xfrm>
              <a:off x="4008438" y="2305050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6 h 7"/>
                <a:gd name="T4" fmla="*/ 3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lnTo>
                    <a:pt x="3" y="6"/>
                  </a:lnTo>
                  <a:cubicBezTo>
                    <a:pt x="3" y="3"/>
                    <a:pt x="3" y="3"/>
                    <a:pt x="3" y="0"/>
                  </a:cubicBezTo>
                  <a:cubicBezTo>
                    <a:pt x="3" y="0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0" name="Freeform 375"/>
            <p:cNvSpPr>
              <a:spLocks noChangeArrowheads="1"/>
            </p:cNvSpPr>
            <p:nvPr/>
          </p:nvSpPr>
          <p:spPr bwMode="auto">
            <a:xfrm>
              <a:off x="4005263" y="2979738"/>
              <a:ext cx="1587" cy="4762"/>
            </a:xfrm>
            <a:custGeom>
              <a:avLst/>
              <a:gdLst>
                <a:gd name="T0" fmla="*/ 0 w 6"/>
                <a:gd name="T1" fmla="*/ 0 h 12"/>
                <a:gd name="T2" fmla="*/ 2 w 6"/>
                <a:gd name="T3" fmla="*/ 11 h 12"/>
                <a:gd name="T4" fmla="*/ 5 w 6"/>
                <a:gd name="T5" fmla="*/ 6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cubicBezTo>
                    <a:pt x="0" y="8"/>
                    <a:pt x="0" y="8"/>
                    <a:pt x="2" y="11"/>
                  </a:cubicBezTo>
                  <a:cubicBezTo>
                    <a:pt x="5" y="8"/>
                    <a:pt x="5" y="8"/>
                    <a:pt x="5" y="6"/>
                  </a:cubicBezTo>
                  <a:cubicBezTo>
                    <a:pt x="5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1" name="Freeform 376"/>
            <p:cNvSpPr>
              <a:spLocks noChangeArrowheads="1"/>
            </p:cNvSpPr>
            <p:nvPr/>
          </p:nvSpPr>
          <p:spPr bwMode="auto">
            <a:xfrm>
              <a:off x="4002088" y="2347913"/>
              <a:ext cx="4762" cy="7937"/>
            </a:xfrm>
            <a:custGeom>
              <a:avLst/>
              <a:gdLst>
                <a:gd name="T0" fmla="*/ 0 w 13"/>
                <a:gd name="T1" fmla="*/ 14 h 23"/>
                <a:gd name="T2" fmla="*/ 3 w 13"/>
                <a:gd name="T3" fmla="*/ 22 h 23"/>
                <a:gd name="T4" fmla="*/ 6 w 13"/>
                <a:gd name="T5" fmla="*/ 19 h 23"/>
                <a:gd name="T6" fmla="*/ 6 w 13"/>
                <a:gd name="T7" fmla="*/ 17 h 23"/>
                <a:gd name="T8" fmla="*/ 9 w 13"/>
                <a:gd name="T9" fmla="*/ 5 h 23"/>
                <a:gd name="T10" fmla="*/ 9 w 13"/>
                <a:gd name="T11" fmla="*/ 0 h 23"/>
                <a:gd name="T12" fmla="*/ 0 w 13"/>
                <a:gd name="T13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3">
                  <a:moveTo>
                    <a:pt x="0" y="14"/>
                  </a:moveTo>
                  <a:cubicBezTo>
                    <a:pt x="3" y="17"/>
                    <a:pt x="6" y="17"/>
                    <a:pt x="3" y="22"/>
                  </a:cubicBezTo>
                  <a:lnTo>
                    <a:pt x="6" y="19"/>
                  </a:lnTo>
                  <a:lnTo>
                    <a:pt x="6" y="17"/>
                  </a:lnTo>
                  <a:cubicBezTo>
                    <a:pt x="12" y="8"/>
                    <a:pt x="9" y="14"/>
                    <a:pt x="9" y="5"/>
                  </a:cubicBezTo>
                  <a:cubicBezTo>
                    <a:pt x="9" y="2"/>
                    <a:pt x="9" y="2"/>
                    <a:pt x="9" y="0"/>
                  </a:cubicBezTo>
                  <a:cubicBezTo>
                    <a:pt x="6" y="2"/>
                    <a:pt x="3" y="8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2" name="Freeform 377"/>
            <p:cNvSpPr>
              <a:spLocks noChangeArrowheads="1"/>
            </p:cNvSpPr>
            <p:nvPr/>
          </p:nvSpPr>
          <p:spPr bwMode="auto">
            <a:xfrm>
              <a:off x="3994150" y="2967038"/>
              <a:ext cx="9525" cy="4762"/>
            </a:xfrm>
            <a:custGeom>
              <a:avLst/>
              <a:gdLst>
                <a:gd name="T0" fmla="*/ 8 w 26"/>
                <a:gd name="T1" fmla="*/ 0 h 15"/>
                <a:gd name="T2" fmla="*/ 25 w 26"/>
                <a:gd name="T3" fmla="*/ 14 h 15"/>
                <a:gd name="T4" fmla="*/ 8 w 26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15">
                  <a:moveTo>
                    <a:pt x="8" y="0"/>
                  </a:moveTo>
                  <a:cubicBezTo>
                    <a:pt x="0" y="11"/>
                    <a:pt x="14" y="14"/>
                    <a:pt x="25" y="14"/>
                  </a:cubicBezTo>
                  <a:cubicBezTo>
                    <a:pt x="22" y="9"/>
                    <a:pt x="17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3" name="Freeform 378"/>
            <p:cNvSpPr>
              <a:spLocks noChangeArrowheads="1"/>
            </p:cNvSpPr>
            <p:nvPr/>
          </p:nvSpPr>
          <p:spPr bwMode="auto">
            <a:xfrm>
              <a:off x="4000500" y="2546350"/>
              <a:ext cx="3175" cy="4763"/>
            </a:xfrm>
            <a:custGeom>
              <a:avLst/>
              <a:gdLst>
                <a:gd name="T0" fmla="*/ 0 w 9"/>
                <a:gd name="T1" fmla="*/ 6 h 15"/>
                <a:gd name="T2" fmla="*/ 2 w 9"/>
                <a:gd name="T3" fmla="*/ 12 h 15"/>
                <a:gd name="T4" fmla="*/ 8 w 9"/>
                <a:gd name="T5" fmla="*/ 14 h 15"/>
                <a:gd name="T6" fmla="*/ 0 w 9"/>
                <a:gd name="T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5">
                  <a:moveTo>
                    <a:pt x="0" y="6"/>
                  </a:moveTo>
                  <a:cubicBezTo>
                    <a:pt x="2" y="6"/>
                    <a:pt x="2" y="9"/>
                    <a:pt x="2" y="12"/>
                  </a:cubicBezTo>
                  <a:cubicBezTo>
                    <a:pt x="5" y="12"/>
                    <a:pt x="5" y="14"/>
                    <a:pt x="8" y="14"/>
                  </a:cubicBezTo>
                  <a:cubicBezTo>
                    <a:pt x="8" y="6"/>
                    <a:pt x="2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4" name="Freeform 379"/>
            <p:cNvSpPr>
              <a:spLocks noChangeArrowheads="1"/>
            </p:cNvSpPr>
            <p:nvPr/>
          </p:nvSpPr>
          <p:spPr bwMode="auto">
            <a:xfrm>
              <a:off x="4002088" y="2895600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3 h 7"/>
                <a:gd name="T4" fmla="*/ 3 w 10"/>
                <a:gd name="T5" fmla="*/ 6 h 7"/>
                <a:gd name="T6" fmla="*/ 9 w 10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6" y="0"/>
                    <a:pt x="3" y="3"/>
                    <a:pt x="0" y="3"/>
                  </a:cubicBezTo>
                  <a:cubicBezTo>
                    <a:pt x="0" y="3"/>
                    <a:pt x="0" y="6"/>
                    <a:pt x="3" y="6"/>
                  </a:cubicBezTo>
                  <a:cubicBezTo>
                    <a:pt x="6" y="3"/>
                    <a:pt x="6" y="0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5" name="Freeform 380"/>
            <p:cNvSpPr>
              <a:spLocks noChangeArrowheads="1"/>
            </p:cNvSpPr>
            <p:nvPr/>
          </p:nvSpPr>
          <p:spPr bwMode="auto">
            <a:xfrm>
              <a:off x="4005263" y="2892425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3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lnTo>
                    <a:pt x="3" y="3"/>
                  </a:lnTo>
                  <a:lnTo>
                    <a:pt x="0" y="0"/>
                  </a:lnTo>
                  <a:cubicBezTo>
                    <a:pt x="0" y="3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6" name="Freeform 381"/>
            <p:cNvSpPr>
              <a:spLocks noChangeArrowheads="1"/>
            </p:cNvSpPr>
            <p:nvPr/>
          </p:nvSpPr>
          <p:spPr bwMode="auto">
            <a:xfrm>
              <a:off x="3995738" y="2386013"/>
              <a:ext cx="11112" cy="7937"/>
            </a:xfrm>
            <a:custGeom>
              <a:avLst/>
              <a:gdLst>
                <a:gd name="T0" fmla="*/ 6 w 29"/>
                <a:gd name="T1" fmla="*/ 2 h 23"/>
                <a:gd name="T2" fmla="*/ 0 w 29"/>
                <a:gd name="T3" fmla="*/ 11 h 23"/>
                <a:gd name="T4" fmla="*/ 6 w 29"/>
                <a:gd name="T5" fmla="*/ 14 h 23"/>
                <a:gd name="T6" fmla="*/ 3 w 29"/>
                <a:gd name="T7" fmla="*/ 22 h 23"/>
                <a:gd name="T8" fmla="*/ 12 w 29"/>
                <a:gd name="T9" fmla="*/ 19 h 23"/>
                <a:gd name="T10" fmla="*/ 26 w 29"/>
                <a:gd name="T11" fmla="*/ 19 h 23"/>
                <a:gd name="T12" fmla="*/ 26 w 29"/>
                <a:gd name="T13" fmla="*/ 17 h 23"/>
                <a:gd name="T14" fmla="*/ 28 w 29"/>
                <a:gd name="T15" fmla="*/ 11 h 23"/>
                <a:gd name="T16" fmla="*/ 14 w 29"/>
                <a:gd name="T17" fmla="*/ 2 h 23"/>
                <a:gd name="T18" fmla="*/ 9 w 29"/>
                <a:gd name="T19" fmla="*/ 14 h 23"/>
                <a:gd name="T20" fmla="*/ 6 w 29"/>
                <a:gd name="T21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23">
                  <a:moveTo>
                    <a:pt x="6" y="2"/>
                  </a:moveTo>
                  <a:cubicBezTo>
                    <a:pt x="6" y="5"/>
                    <a:pt x="0" y="8"/>
                    <a:pt x="0" y="11"/>
                  </a:cubicBezTo>
                  <a:lnTo>
                    <a:pt x="6" y="14"/>
                  </a:lnTo>
                  <a:cubicBezTo>
                    <a:pt x="6" y="14"/>
                    <a:pt x="0" y="19"/>
                    <a:pt x="3" y="22"/>
                  </a:cubicBezTo>
                  <a:cubicBezTo>
                    <a:pt x="6" y="22"/>
                    <a:pt x="9" y="22"/>
                    <a:pt x="12" y="19"/>
                  </a:cubicBezTo>
                  <a:lnTo>
                    <a:pt x="26" y="19"/>
                  </a:lnTo>
                  <a:lnTo>
                    <a:pt x="26" y="17"/>
                  </a:lnTo>
                  <a:cubicBezTo>
                    <a:pt x="26" y="17"/>
                    <a:pt x="28" y="17"/>
                    <a:pt x="28" y="11"/>
                  </a:cubicBezTo>
                  <a:cubicBezTo>
                    <a:pt x="26" y="5"/>
                    <a:pt x="23" y="0"/>
                    <a:pt x="14" y="2"/>
                  </a:cubicBezTo>
                  <a:cubicBezTo>
                    <a:pt x="14" y="8"/>
                    <a:pt x="17" y="17"/>
                    <a:pt x="9" y="14"/>
                  </a:cubicBezTo>
                  <a:cubicBezTo>
                    <a:pt x="0" y="14"/>
                    <a:pt x="12" y="5"/>
                    <a:pt x="6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7" name="Freeform 382"/>
            <p:cNvSpPr>
              <a:spLocks noChangeArrowheads="1"/>
            </p:cNvSpPr>
            <p:nvPr/>
          </p:nvSpPr>
          <p:spPr bwMode="auto">
            <a:xfrm>
              <a:off x="3975100" y="2381250"/>
              <a:ext cx="22225" cy="19050"/>
            </a:xfrm>
            <a:custGeom>
              <a:avLst/>
              <a:gdLst>
                <a:gd name="T0" fmla="*/ 20 w 60"/>
                <a:gd name="T1" fmla="*/ 19 h 51"/>
                <a:gd name="T2" fmla="*/ 11 w 60"/>
                <a:gd name="T3" fmla="*/ 31 h 51"/>
                <a:gd name="T4" fmla="*/ 6 w 60"/>
                <a:gd name="T5" fmla="*/ 22 h 51"/>
                <a:gd name="T6" fmla="*/ 8 w 60"/>
                <a:gd name="T7" fmla="*/ 19 h 51"/>
                <a:gd name="T8" fmla="*/ 0 w 60"/>
                <a:gd name="T9" fmla="*/ 25 h 51"/>
                <a:gd name="T10" fmla="*/ 0 w 60"/>
                <a:gd name="T11" fmla="*/ 28 h 51"/>
                <a:gd name="T12" fmla="*/ 6 w 60"/>
                <a:gd name="T13" fmla="*/ 31 h 51"/>
                <a:gd name="T14" fmla="*/ 3 w 60"/>
                <a:gd name="T15" fmla="*/ 33 h 51"/>
                <a:gd name="T16" fmla="*/ 11 w 60"/>
                <a:gd name="T17" fmla="*/ 50 h 51"/>
                <a:gd name="T18" fmla="*/ 14 w 60"/>
                <a:gd name="T19" fmla="*/ 50 h 51"/>
                <a:gd name="T20" fmla="*/ 31 w 60"/>
                <a:gd name="T21" fmla="*/ 36 h 51"/>
                <a:gd name="T22" fmla="*/ 31 w 60"/>
                <a:gd name="T23" fmla="*/ 45 h 51"/>
                <a:gd name="T24" fmla="*/ 37 w 60"/>
                <a:gd name="T25" fmla="*/ 42 h 51"/>
                <a:gd name="T26" fmla="*/ 51 w 60"/>
                <a:gd name="T27" fmla="*/ 45 h 51"/>
                <a:gd name="T28" fmla="*/ 59 w 60"/>
                <a:gd name="T29" fmla="*/ 36 h 51"/>
                <a:gd name="T30" fmla="*/ 45 w 60"/>
                <a:gd name="T31" fmla="*/ 25 h 51"/>
                <a:gd name="T32" fmla="*/ 45 w 60"/>
                <a:gd name="T33" fmla="*/ 25 h 51"/>
                <a:gd name="T34" fmla="*/ 42 w 60"/>
                <a:gd name="T35" fmla="*/ 31 h 51"/>
                <a:gd name="T36" fmla="*/ 51 w 60"/>
                <a:gd name="T37" fmla="*/ 39 h 51"/>
                <a:gd name="T38" fmla="*/ 42 w 60"/>
                <a:gd name="T39" fmla="*/ 42 h 51"/>
                <a:gd name="T40" fmla="*/ 37 w 60"/>
                <a:gd name="T41" fmla="*/ 33 h 51"/>
                <a:gd name="T42" fmla="*/ 37 w 60"/>
                <a:gd name="T43" fmla="*/ 31 h 51"/>
                <a:gd name="T44" fmla="*/ 31 w 60"/>
                <a:gd name="T45" fmla="*/ 14 h 51"/>
                <a:gd name="T46" fmla="*/ 34 w 60"/>
                <a:gd name="T47" fmla="*/ 14 h 51"/>
                <a:gd name="T48" fmla="*/ 31 w 60"/>
                <a:gd name="T49" fmla="*/ 2 h 51"/>
                <a:gd name="T50" fmla="*/ 34 w 60"/>
                <a:gd name="T51" fmla="*/ 2 h 51"/>
                <a:gd name="T52" fmla="*/ 28 w 60"/>
                <a:gd name="T53" fmla="*/ 0 h 51"/>
                <a:gd name="T54" fmla="*/ 20 w 60"/>
                <a:gd name="T55" fmla="*/ 1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0" h="51">
                  <a:moveTo>
                    <a:pt x="20" y="19"/>
                  </a:moveTo>
                  <a:cubicBezTo>
                    <a:pt x="20" y="19"/>
                    <a:pt x="20" y="33"/>
                    <a:pt x="11" y="31"/>
                  </a:cubicBezTo>
                  <a:cubicBezTo>
                    <a:pt x="11" y="25"/>
                    <a:pt x="8" y="25"/>
                    <a:pt x="6" y="22"/>
                  </a:cubicBezTo>
                  <a:cubicBezTo>
                    <a:pt x="6" y="22"/>
                    <a:pt x="8" y="22"/>
                    <a:pt x="8" y="19"/>
                  </a:cubicBezTo>
                  <a:cubicBezTo>
                    <a:pt x="6" y="22"/>
                    <a:pt x="3" y="22"/>
                    <a:pt x="0" y="25"/>
                  </a:cubicBezTo>
                  <a:lnTo>
                    <a:pt x="0" y="28"/>
                  </a:lnTo>
                  <a:cubicBezTo>
                    <a:pt x="3" y="28"/>
                    <a:pt x="3" y="31"/>
                    <a:pt x="6" y="31"/>
                  </a:cubicBezTo>
                  <a:cubicBezTo>
                    <a:pt x="3" y="31"/>
                    <a:pt x="3" y="31"/>
                    <a:pt x="3" y="33"/>
                  </a:cubicBezTo>
                  <a:cubicBezTo>
                    <a:pt x="6" y="39"/>
                    <a:pt x="11" y="42"/>
                    <a:pt x="11" y="50"/>
                  </a:cubicBezTo>
                  <a:lnTo>
                    <a:pt x="14" y="50"/>
                  </a:lnTo>
                  <a:cubicBezTo>
                    <a:pt x="14" y="39"/>
                    <a:pt x="23" y="39"/>
                    <a:pt x="31" y="36"/>
                  </a:cubicBezTo>
                  <a:cubicBezTo>
                    <a:pt x="31" y="39"/>
                    <a:pt x="31" y="42"/>
                    <a:pt x="31" y="45"/>
                  </a:cubicBezTo>
                  <a:cubicBezTo>
                    <a:pt x="34" y="45"/>
                    <a:pt x="37" y="42"/>
                    <a:pt x="37" y="42"/>
                  </a:cubicBezTo>
                  <a:cubicBezTo>
                    <a:pt x="42" y="45"/>
                    <a:pt x="45" y="45"/>
                    <a:pt x="51" y="45"/>
                  </a:cubicBezTo>
                  <a:cubicBezTo>
                    <a:pt x="54" y="42"/>
                    <a:pt x="56" y="39"/>
                    <a:pt x="59" y="36"/>
                  </a:cubicBezTo>
                  <a:cubicBezTo>
                    <a:pt x="54" y="33"/>
                    <a:pt x="51" y="28"/>
                    <a:pt x="45" y="25"/>
                  </a:cubicBezTo>
                  <a:lnTo>
                    <a:pt x="45" y="25"/>
                  </a:lnTo>
                  <a:cubicBezTo>
                    <a:pt x="45" y="28"/>
                    <a:pt x="42" y="28"/>
                    <a:pt x="42" y="31"/>
                  </a:cubicBezTo>
                  <a:cubicBezTo>
                    <a:pt x="45" y="33"/>
                    <a:pt x="51" y="31"/>
                    <a:pt x="51" y="39"/>
                  </a:cubicBezTo>
                  <a:cubicBezTo>
                    <a:pt x="48" y="39"/>
                    <a:pt x="45" y="39"/>
                    <a:pt x="42" y="42"/>
                  </a:cubicBezTo>
                  <a:cubicBezTo>
                    <a:pt x="42" y="39"/>
                    <a:pt x="37" y="39"/>
                    <a:pt x="37" y="33"/>
                  </a:cubicBezTo>
                  <a:cubicBezTo>
                    <a:pt x="37" y="33"/>
                    <a:pt x="37" y="33"/>
                    <a:pt x="37" y="31"/>
                  </a:cubicBezTo>
                  <a:cubicBezTo>
                    <a:pt x="31" y="25"/>
                    <a:pt x="28" y="19"/>
                    <a:pt x="31" y="14"/>
                  </a:cubicBezTo>
                  <a:lnTo>
                    <a:pt x="34" y="14"/>
                  </a:lnTo>
                  <a:cubicBezTo>
                    <a:pt x="31" y="11"/>
                    <a:pt x="31" y="8"/>
                    <a:pt x="31" y="2"/>
                  </a:cubicBezTo>
                  <a:cubicBezTo>
                    <a:pt x="31" y="2"/>
                    <a:pt x="31" y="2"/>
                    <a:pt x="34" y="2"/>
                  </a:cubicBezTo>
                  <a:cubicBezTo>
                    <a:pt x="34" y="0"/>
                    <a:pt x="31" y="0"/>
                    <a:pt x="28" y="0"/>
                  </a:cubicBezTo>
                  <a:cubicBezTo>
                    <a:pt x="31" y="14"/>
                    <a:pt x="23" y="14"/>
                    <a:pt x="20" y="1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8" name="Freeform 383"/>
            <p:cNvSpPr>
              <a:spLocks noChangeArrowheads="1"/>
            </p:cNvSpPr>
            <p:nvPr/>
          </p:nvSpPr>
          <p:spPr bwMode="auto">
            <a:xfrm>
              <a:off x="3990975" y="2154238"/>
              <a:ext cx="3175" cy="4762"/>
            </a:xfrm>
            <a:custGeom>
              <a:avLst/>
              <a:gdLst>
                <a:gd name="T0" fmla="*/ 9 w 10"/>
                <a:gd name="T1" fmla="*/ 0 h 13"/>
                <a:gd name="T2" fmla="*/ 9 w 10"/>
                <a:gd name="T3" fmla="*/ 0 h 13"/>
                <a:gd name="T4" fmla="*/ 0 w 10"/>
                <a:gd name="T5" fmla="*/ 12 h 13"/>
                <a:gd name="T6" fmla="*/ 9 w 1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9" y="0"/>
                  </a:moveTo>
                  <a:lnTo>
                    <a:pt x="9" y="0"/>
                  </a:lnTo>
                  <a:cubicBezTo>
                    <a:pt x="6" y="3"/>
                    <a:pt x="0" y="6"/>
                    <a:pt x="0" y="12"/>
                  </a:cubicBezTo>
                  <a:cubicBezTo>
                    <a:pt x="6" y="12"/>
                    <a:pt x="9" y="6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9" name="Freeform 384"/>
            <p:cNvSpPr>
              <a:spLocks noChangeArrowheads="1"/>
            </p:cNvSpPr>
            <p:nvPr/>
          </p:nvSpPr>
          <p:spPr bwMode="auto">
            <a:xfrm>
              <a:off x="3995738" y="2341563"/>
              <a:ext cx="4762" cy="3175"/>
            </a:xfrm>
            <a:custGeom>
              <a:avLst/>
              <a:gdLst>
                <a:gd name="T0" fmla="*/ 3 w 13"/>
                <a:gd name="T1" fmla="*/ 8 h 9"/>
                <a:gd name="T2" fmla="*/ 12 w 13"/>
                <a:gd name="T3" fmla="*/ 0 h 9"/>
                <a:gd name="T4" fmla="*/ 0 w 13"/>
                <a:gd name="T5" fmla="*/ 2 h 9"/>
                <a:gd name="T6" fmla="*/ 3 w 13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3" y="8"/>
                  </a:moveTo>
                  <a:cubicBezTo>
                    <a:pt x="6" y="5"/>
                    <a:pt x="9" y="2"/>
                    <a:pt x="12" y="0"/>
                  </a:cubicBezTo>
                  <a:cubicBezTo>
                    <a:pt x="9" y="0"/>
                    <a:pt x="6" y="2"/>
                    <a:pt x="0" y="2"/>
                  </a:cubicBezTo>
                  <a:cubicBezTo>
                    <a:pt x="0" y="2"/>
                    <a:pt x="3" y="5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0" name="Freeform 385"/>
            <p:cNvSpPr>
              <a:spLocks noChangeArrowheads="1"/>
            </p:cNvSpPr>
            <p:nvPr/>
          </p:nvSpPr>
          <p:spPr bwMode="auto">
            <a:xfrm>
              <a:off x="3900488" y="2466975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3"/>
                    <a:pt x="0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1" name="Freeform 386"/>
            <p:cNvSpPr>
              <a:spLocks noChangeArrowheads="1"/>
            </p:cNvSpPr>
            <p:nvPr/>
          </p:nvSpPr>
          <p:spPr bwMode="auto">
            <a:xfrm>
              <a:off x="3995738" y="2155825"/>
              <a:ext cx="3175" cy="3175"/>
            </a:xfrm>
            <a:custGeom>
              <a:avLst/>
              <a:gdLst>
                <a:gd name="T0" fmla="*/ 6 w 7"/>
                <a:gd name="T1" fmla="*/ 6 h 10"/>
                <a:gd name="T2" fmla="*/ 3 w 7"/>
                <a:gd name="T3" fmla="*/ 0 h 10"/>
                <a:gd name="T4" fmla="*/ 0 w 7"/>
                <a:gd name="T5" fmla="*/ 3 h 10"/>
                <a:gd name="T6" fmla="*/ 0 w 7"/>
                <a:gd name="T7" fmla="*/ 9 h 10"/>
                <a:gd name="T8" fmla="*/ 3 w 7"/>
                <a:gd name="T9" fmla="*/ 9 h 10"/>
                <a:gd name="T10" fmla="*/ 6 w 7"/>
                <a:gd name="T1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0">
                  <a:moveTo>
                    <a:pt x="6" y="6"/>
                  </a:moveTo>
                  <a:cubicBezTo>
                    <a:pt x="6" y="3"/>
                    <a:pt x="6" y="0"/>
                    <a:pt x="3" y="0"/>
                  </a:cubicBezTo>
                  <a:cubicBezTo>
                    <a:pt x="3" y="3"/>
                    <a:pt x="3" y="3"/>
                    <a:pt x="0" y="3"/>
                  </a:cubicBezTo>
                  <a:lnTo>
                    <a:pt x="0" y="9"/>
                  </a:lnTo>
                  <a:cubicBezTo>
                    <a:pt x="0" y="9"/>
                    <a:pt x="0" y="9"/>
                    <a:pt x="3" y="9"/>
                  </a:cubicBezTo>
                  <a:cubicBezTo>
                    <a:pt x="6" y="6"/>
                    <a:pt x="6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2" name="Freeform 387"/>
            <p:cNvSpPr>
              <a:spLocks noChangeArrowheads="1"/>
            </p:cNvSpPr>
            <p:nvPr/>
          </p:nvSpPr>
          <p:spPr bwMode="auto">
            <a:xfrm>
              <a:off x="3987800" y="2424113"/>
              <a:ext cx="4763" cy="4762"/>
            </a:xfrm>
            <a:custGeom>
              <a:avLst/>
              <a:gdLst>
                <a:gd name="T0" fmla="*/ 8 w 12"/>
                <a:gd name="T1" fmla="*/ 3 h 15"/>
                <a:gd name="T2" fmla="*/ 3 w 12"/>
                <a:gd name="T3" fmla="*/ 0 h 15"/>
                <a:gd name="T4" fmla="*/ 0 w 12"/>
                <a:gd name="T5" fmla="*/ 11 h 15"/>
                <a:gd name="T6" fmla="*/ 11 w 12"/>
                <a:gd name="T7" fmla="*/ 14 h 15"/>
                <a:gd name="T8" fmla="*/ 8 w 12"/>
                <a:gd name="T9" fmla="*/ 11 h 15"/>
                <a:gd name="T10" fmla="*/ 8 w 12"/>
                <a:gd name="T11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5">
                  <a:moveTo>
                    <a:pt x="8" y="3"/>
                  </a:moveTo>
                  <a:cubicBezTo>
                    <a:pt x="8" y="3"/>
                    <a:pt x="5" y="3"/>
                    <a:pt x="3" y="0"/>
                  </a:cubicBezTo>
                  <a:cubicBezTo>
                    <a:pt x="0" y="3"/>
                    <a:pt x="0" y="8"/>
                    <a:pt x="0" y="11"/>
                  </a:cubicBezTo>
                  <a:cubicBezTo>
                    <a:pt x="3" y="11"/>
                    <a:pt x="5" y="14"/>
                    <a:pt x="11" y="14"/>
                  </a:cubicBezTo>
                  <a:cubicBezTo>
                    <a:pt x="11" y="14"/>
                    <a:pt x="11" y="11"/>
                    <a:pt x="8" y="11"/>
                  </a:cubicBezTo>
                  <a:cubicBezTo>
                    <a:pt x="11" y="8"/>
                    <a:pt x="11" y="6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3" name="Freeform 388"/>
            <p:cNvSpPr>
              <a:spLocks noChangeArrowheads="1"/>
            </p:cNvSpPr>
            <p:nvPr/>
          </p:nvSpPr>
          <p:spPr bwMode="auto">
            <a:xfrm>
              <a:off x="3987800" y="2566988"/>
              <a:ext cx="3175" cy="3175"/>
            </a:xfrm>
            <a:custGeom>
              <a:avLst/>
              <a:gdLst>
                <a:gd name="T0" fmla="*/ 8 w 9"/>
                <a:gd name="T1" fmla="*/ 5 h 9"/>
                <a:gd name="T2" fmla="*/ 8 w 9"/>
                <a:gd name="T3" fmla="*/ 0 h 9"/>
                <a:gd name="T4" fmla="*/ 0 w 9"/>
                <a:gd name="T5" fmla="*/ 3 h 9"/>
                <a:gd name="T6" fmla="*/ 2 w 9"/>
                <a:gd name="T7" fmla="*/ 5 h 9"/>
                <a:gd name="T8" fmla="*/ 6 w 9"/>
                <a:gd name="T9" fmla="*/ 6 h 9"/>
                <a:gd name="T10" fmla="*/ 8 w 9"/>
                <a:gd name="T11" fmla="*/ 5 h 9"/>
                <a:gd name="T12" fmla="*/ 8 w 9"/>
                <a:gd name="T13" fmla="*/ 5 h 9"/>
                <a:gd name="T14" fmla="*/ 6 w 9"/>
                <a:gd name="T15" fmla="*/ 6 h 9"/>
                <a:gd name="T16" fmla="*/ 8 w 9"/>
                <a:gd name="T1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8" y="5"/>
                  </a:moveTo>
                  <a:lnTo>
                    <a:pt x="8" y="0"/>
                  </a:lnTo>
                  <a:cubicBezTo>
                    <a:pt x="5" y="0"/>
                    <a:pt x="0" y="0"/>
                    <a:pt x="0" y="3"/>
                  </a:cubicBezTo>
                  <a:cubicBezTo>
                    <a:pt x="2" y="3"/>
                    <a:pt x="2" y="3"/>
                    <a:pt x="2" y="5"/>
                  </a:cubicBezTo>
                  <a:cubicBezTo>
                    <a:pt x="2" y="8"/>
                    <a:pt x="2" y="8"/>
                    <a:pt x="6" y="6"/>
                  </a:cubicBezTo>
                  <a:cubicBezTo>
                    <a:pt x="6" y="6"/>
                    <a:pt x="7" y="5"/>
                    <a:pt x="8" y="5"/>
                  </a:cubicBezTo>
                  <a:close/>
                  <a:moveTo>
                    <a:pt x="8" y="5"/>
                  </a:moveTo>
                  <a:cubicBezTo>
                    <a:pt x="7" y="7"/>
                    <a:pt x="6" y="7"/>
                    <a:pt x="6" y="6"/>
                  </a:cubicBezTo>
                  <a:cubicBezTo>
                    <a:pt x="7" y="6"/>
                    <a:pt x="7" y="6"/>
                    <a:pt x="8" y="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4" name="Freeform 389"/>
            <p:cNvSpPr>
              <a:spLocks noChangeArrowheads="1"/>
            </p:cNvSpPr>
            <p:nvPr/>
          </p:nvSpPr>
          <p:spPr bwMode="auto">
            <a:xfrm>
              <a:off x="3986213" y="2444750"/>
              <a:ext cx="3175" cy="6350"/>
            </a:xfrm>
            <a:custGeom>
              <a:avLst/>
              <a:gdLst>
                <a:gd name="T0" fmla="*/ 6 w 9"/>
                <a:gd name="T1" fmla="*/ 0 h 16"/>
                <a:gd name="T2" fmla="*/ 3 w 9"/>
                <a:gd name="T3" fmla="*/ 0 h 16"/>
                <a:gd name="T4" fmla="*/ 0 w 9"/>
                <a:gd name="T5" fmla="*/ 6 h 16"/>
                <a:gd name="T6" fmla="*/ 3 w 9"/>
                <a:gd name="T7" fmla="*/ 6 h 16"/>
                <a:gd name="T8" fmla="*/ 8 w 9"/>
                <a:gd name="T9" fmla="*/ 12 h 16"/>
                <a:gd name="T10" fmla="*/ 6 w 9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6">
                  <a:moveTo>
                    <a:pt x="6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0" y="3"/>
                    <a:pt x="0" y="6"/>
                  </a:cubicBezTo>
                  <a:lnTo>
                    <a:pt x="3" y="6"/>
                  </a:lnTo>
                  <a:cubicBezTo>
                    <a:pt x="3" y="6"/>
                    <a:pt x="3" y="15"/>
                    <a:pt x="8" y="12"/>
                  </a:cubicBezTo>
                  <a:cubicBezTo>
                    <a:pt x="8" y="9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5" name="Freeform 390"/>
            <p:cNvSpPr>
              <a:spLocks noChangeArrowheads="1"/>
            </p:cNvSpPr>
            <p:nvPr/>
          </p:nvSpPr>
          <p:spPr bwMode="auto">
            <a:xfrm>
              <a:off x="3973513" y="2376488"/>
              <a:ext cx="3175" cy="4762"/>
            </a:xfrm>
            <a:custGeom>
              <a:avLst/>
              <a:gdLst>
                <a:gd name="T0" fmla="*/ 0 w 10"/>
                <a:gd name="T1" fmla="*/ 6 h 13"/>
                <a:gd name="T2" fmla="*/ 6 w 10"/>
                <a:gd name="T3" fmla="*/ 12 h 13"/>
                <a:gd name="T4" fmla="*/ 3 w 10"/>
                <a:gd name="T5" fmla="*/ 0 h 13"/>
                <a:gd name="T6" fmla="*/ 0 w 10"/>
                <a:gd name="T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0" y="6"/>
                  </a:moveTo>
                  <a:cubicBezTo>
                    <a:pt x="0" y="9"/>
                    <a:pt x="0" y="12"/>
                    <a:pt x="6" y="12"/>
                  </a:cubicBezTo>
                  <a:cubicBezTo>
                    <a:pt x="9" y="9"/>
                    <a:pt x="6" y="3"/>
                    <a:pt x="3" y="0"/>
                  </a:cubicBezTo>
                  <a:cubicBezTo>
                    <a:pt x="3" y="3"/>
                    <a:pt x="3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6" name="Freeform 391"/>
            <p:cNvSpPr>
              <a:spLocks noChangeArrowheads="1"/>
            </p:cNvSpPr>
            <p:nvPr/>
          </p:nvSpPr>
          <p:spPr bwMode="auto">
            <a:xfrm>
              <a:off x="3997325" y="2863850"/>
              <a:ext cx="7938" cy="3175"/>
            </a:xfrm>
            <a:custGeom>
              <a:avLst/>
              <a:gdLst>
                <a:gd name="T0" fmla="*/ 9 w 21"/>
                <a:gd name="T1" fmla="*/ 0 h 10"/>
                <a:gd name="T2" fmla="*/ 9 w 21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0">
                  <a:moveTo>
                    <a:pt x="9" y="0"/>
                  </a:moveTo>
                  <a:cubicBezTo>
                    <a:pt x="0" y="9"/>
                    <a:pt x="20" y="9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7" name="Freeform 392"/>
            <p:cNvSpPr>
              <a:spLocks noChangeArrowheads="1"/>
            </p:cNvSpPr>
            <p:nvPr/>
          </p:nvSpPr>
          <p:spPr bwMode="auto">
            <a:xfrm>
              <a:off x="3979863" y="2735263"/>
              <a:ext cx="6350" cy="4762"/>
            </a:xfrm>
            <a:custGeom>
              <a:avLst/>
              <a:gdLst>
                <a:gd name="T0" fmla="*/ 0 w 18"/>
                <a:gd name="T1" fmla="*/ 8 h 12"/>
                <a:gd name="T2" fmla="*/ 17 w 18"/>
                <a:gd name="T3" fmla="*/ 6 h 12"/>
                <a:gd name="T4" fmla="*/ 6 w 18"/>
                <a:gd name="T5" fmla="*/ 0 h 12"/>
                <a:gd name="T6" fmla="*/ 0 w 18"/>
                <a:gd name="T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2">
                  <a:moveTo>
                    <a:pt x="0" y="8"/>
                  </a:moveTo>
                  <a:cubicBezTo>
                    <a:pt x="9" y="11"/>
                    <a:pt x="12" y="6"/>
                    <a:pt x="17" y="6"/>
                  </a:cubicBezTo>
                  <a:cubicBezTo>
                    <a:pt x="14" y="6"/>
                    <a:pt x="9" y="3"/>
                    <a:pt x="6" y="0"/>
                  </a:cubicBezTo>
                  <a:cubicBezTo>
                    <a:pt x="3" y="3"/>
                    <a:pt x="0" y="6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8" name="Freeform 393"/>
            <p:cNvSpPr>
              <a:spLocks noChangeArrowheads="1"/>
            </p:cNvSpPr>
            <p:nvPr/>
          </p:nvSpPr>
          <p:spPr bwMode="auto">
            <a:xfrm>
              <a:off x="3979863" y="2516188"/>
              <a:ext cx="1587" cy="1587"/>
            </a:xfrm>
            <a:custGeom>
              <a:avLst/>
              <a:gdLst>
                <a:gd name="T0" fmla="*/ 3 w 4"/>
                <a:gd name="T1" fmla="*/ 0 h 6"/>
                <a:gd name="T2" fmla="*/ 0 w 4"/>
                <a:gd name="T3" fmla="*/ 5 h 6"/>
                <a:gd name="T4" fmla="*/ 3 w 4"/>
                <a:gd name="T5" fmla="*/ 3 h 6"/>
                <a:gd name="T6" fmla="*/ 3 w 4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0"/>
                  </a:moveTo>
                  <a:cubicBezTo>
                    <a:pt x="0" y="3"/>
                    <a:pt x="0" y="5"/>
                    <a:pt x="0" y="5"/>
                  </a:cubicBezTo>
                  <a:cubicBezTo>
                    <a:pt x="0" y="5"/>
                    <a:pt x="3" y="5"/>
                    <a:pt x="3" y="3"/>
                  </a:cubicBezTo>
                  <a:lnTo>
                    <a:pt x="3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9" name="Freeform 394"/>
            <p:cNvSpPr>
              <a:spLocks noChangeArrowheads="1"/>
            </p:cNvSpPr>
            <p:nvPr/>
          </p:nvSpPr>
          <p:spPr bwMode="auto">
            <a:xfrm>
              <a:off x="3976688" y="2416175"/>
              <a:ext cx="3175" cy="3175"/>
            </a:xfrm>
            <a:custGeom>
              <a:avLst/>
              <a:gdLst>
                <a:gd name="T0" fmla="*/ 1 w 7"/>
                <a:gd name="T1" fmla="*/ 3 h 7"/>
                <a:gd name="T2" fmla="*/ 3 w 7"/>
                <a:gd name="T3" fmla="*/ 6 h 7"/>
                <a:gd name="T4" fmla="*/ 6 w 7"/>
                <a:gd name="T5" fmla="*/ 0 h 7"/>
                <a:gd name="T6" fmla="*/ 6 w 7"/>
                <a:gd name="T7" fmla="*/ 0 h 7"/>
                <a:gd name="T8" fmla="*/ 1 w 7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3"/>
                  </a:moveTo>
                  <a:cubicBezTo>
                    <a:pt x="1" y="6"/>
                    <a:pt x="0" y="6"/>
                    <a:pt x="3" y="6"/>
                  </a:cubicBezTo>
                  <a:cubicBezTo>
                    <a:pt x="5" y="6"/>
                    <a:pt x="6" y="3"/>
                    <a:pt x="6" y="0"/>
                  </a:cubicBezTo>
                  <a:lnTo>
                    <a:pt x="6" y="0"/>
                  </a:lnTo>
                  <a:cubicBezTo>
                    <a:pt x="3" y="3"/>
                    <a:pt x="1" y="3"/>
                    <a:pt x="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0" name="Freeform 395"/>
            <p:cNvSpPr>
              <a:spLocks noChangeArrowheads="1"/>
            </p:cNvSpPr>
            <p:nvPr/>
          </p:nvSpPr>
          <p:spPr bwMode="auto">
            <a:xfrm>
              <a:off x="3978275" y="2406650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0 h 7"/>
                <a:gd name="T4" fmla="*/ 0 w 10"/>
                <a:gd name="T5" fmla="*/ 6 h 7"/>
                <a:gd name="T6" fmla="*/ 9 w 10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6" y="0"/>
                    <a:pt x="3" y="0"/>
                    <a:pt x="0" y="0"/>
                  </a:cubicBezTo>
                  <a:cubicBezTo>
                    <a:pt x="0" y="3"/>
                    <a:pt x="0" y="3"/>
                    <a:pt x="0" y="6"/>
                  </a:cubicBezTo>
                  <a:cubicBezTo>
                    <a:pt x="3" y="6"/>
                    <a:pt x="6" y="3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1" name="Freeform 396"/>
            <p:cNvSpPr>
              <a:spLocks noChangeArrowheads="1"/>
            </p:cNvSpPr>
            <p:nvPr/>
          </p:nvSpPr>
          <p:spPr bwMode="auto">
            <a:xfrm>
              <a:off x="3983038" y="2378075"/>
              <a:ext cx="4762" cy="4763"/>
            </a:xfrm>
            <a:custGeom>
              <a:avLst/>
              <a:gdLst>
                <a:gd name="T0" fmla="*/ 2 w 12"/>
                <a:gd name="T1" fmla="*/ 0 h 15"/>
                <a:gd name="T2" fmla="*/ 0 w 12"/>
                <a:gd name="T3" fmla="*/ 14 h 15"/>
                <a:gd name="T4" fmla="*/ 8 w 12"/>
                <a:gd name="T5" fmla="*/ 11 h 15"/>
                <a:gd name="T6" fmla="*/ 11 w 12"/>
                <a:gd name="T7" fmla="*/ 0 h 15"/>
                <a:gd name="T8" fmla="*/ 2 w 1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2" y="0"/>
                  </a:moveTo>
                  <a:cubicBezTo>
                    <a:pt x="2" y="6"/>
                    <a:pt x="2" y="9"/>
                    <a:pt x="0" y="14"/>
                  </a:cubicBezTo>
                  <a:cubicBezTo>
                    <a:pt x="2" y="11"/>
                    <a:pt x="2" y="9"/>
                    <a:pt x="8" y="11"/>
                  </a:cubicBezTo>
                  <a:cubicBezTo>
                    <a:pt x="8" y="9"/>
                    <a:pt x="8" y="3"/>
                    <a:pt x="11" y="0"/>
                  </a:cubicBezTo>
                  <a:cubicBezTo>
                    <a:pt x="5" y="0"/>
                    <a:pt x="2" y="0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2" name="Freeform 397"/>
            <p:cNvSpPr>
              <a:spLocks noChangeArrowheads="1"/>
            </p:cNvSpPr>
            <p:nvPr/>
          </p:nvSpPr>
          <p:spPr bwMode="auto">
            <a:xfrm>
              <a:off x="3997325" y="2398713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0 w 7"/>
                <a:gd name="T3" fmla="*/ 0 h 7"/>
                <a:gd name="T4" fmla="*/ 0 w 7"/>
                <a:gd name="T5" fmla="*/ 3 h 7"/>
                <a:gd name="T6" fmla="*/ 6 w 7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cubicBezTo>
                    <a:pt x="6" y="3"/>
                    <a:pt x="3" y="0"/>
                    <a:pt x="0" y="0"/>
                  </a:cubicBezTo>
                  <a:lnTo>
                    <a:pt x="0" y="3"/>
                  </a:lnTo>
                  <a:cubicBezTo>
                    <a:pt x="3" y="3"/>
                    <a:pt x="6" y="3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3" name="Freeform 398"/>
            <p:cNvSpPr>
              <a:spLocks noChangeArrowheads="1"/>
            </p:cNvSpPr>
            <p:nvPr/>
          </p:nvSpPr>
          <p:spPr bwMode="auto">
            <a:xfrm>
              <a:off x="3997325" y="2428875"/>
              <a:ext cx="1588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3 w 4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0"/>
                    <a:pt x="0" y="0"/>
                  </a:cubicBezTo>
                  <a:cubicBezTo>
                    <a:pt x="0" y="3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4" name="Freeform 399"/>
            <p:cNvSpPr>
              <a:spLocks noChangeArrowheads="1"/>
            </p:cNvSpPr>
            <p:nvPr/>
          </p:nvSpPr>
          <p:spPr bwMode="auto">
            <a:xfrm>
              <a:off x="4002088" y="2395538"/>
              <a:ext cx="4762" cy="9525"/>
            </a:xfrm>
            <a:custGeom>
              <a:avLst/>
              <a:gdLst>
                <a:gd name="T0" fmla="*/ 0 w 15"/>
                <a:gd name="T1" fmla="*/ 20 h 26"/>
                <a:gd name="T2" fmla="*/ 6 w 15"/>
                <a:gd name="T3" fmla="*/ 25 h 26"/>
                <a:gd name="T4" fmla="*/ 12 w 15"/>
                <a:gd name="T5" fmla="*/ 14 h 26"/>
                <a:gd name="T6" fmla="*/ 12 w 15"/>
                <a:gd name="T7" fmla="*/ 14 h 26"/>
                <a:gd name="T8" fmla="*/ 14 w 15"/>
                <a:gd name="T9" fmla="*/ 0 h 26"/>
                <a:gd name="T10" fmla="*/ 9 w 15"/>
                <a:gd name="T11" fmla="*/ 6 h 26"/>
                <a:gd name="T12" fmla="*/ 9 w 15"/>
                <a:gd name="T13" fmla="*/ 11 h 26"/>
                <a:gd name="T14" fmla="*/ 3 w 15"/>
                <a:gd name="T15" fmla="*/ 11 h 26"/>
                <a:gd name="T16" fmla="*/ 0 w 15"/>
                <a:gd name="T17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26">
                  <a:moveTo>
                    <a:pt x="0" y="20"/>
                  </a:moveTo>
                  <a:cubicBezTo>
                    <a:pt x="3" y="23"/>
                    <a:pt x="3" y="23"/>
                    <a:pt x="6" y="25"/>
                  </a:cubicBezTo>
                  <a:cubicBezTo>
                    <a:pt x="9" y="23"/>
                    <a:pt x="12" y="17"/>
                    <a:pt x="12" y="14"/>
                  </a:cubicBezTo>
                  <a:lnTo>
                    <a:pt x="12" y="14"/>
                  </a:lnTo>
                  <a:cubicBezTo>
                    <a:pt x="14" y="8"/>
                    <a:pt x="14" y="6"/>
                    <a:pt x="14" y="0"/>
                  </a:cubicBezTo>
                  <a:cubicBezTo>
                    <a:pt x="12" y="3"/>
                    <a:pt x="12" y="3"/>
                    <a:pt x="9" y="6"/>
                  </a:cubicBezTo>
                  <a:cubicBezTo>
                    <a:pt x="9" y="8"/>
                    <a:pt x="9" y="8"/>
                    <a:pt x="9" y="11"/>
                  </a:cubicBezTo>
                  <a:cubicBezTo>
                    <a:pt x="6" y="11"/>
                    <a:pt x="6" y="11"/>
                    <a:pt x="3" y="11"/>
                  </a:cubicBezTo>
                  <a:cubicBezTo>
                    <a:pt x="0" y="14"/>
                    <a:pt x="0" y="17"/>
                    <a:pt x="0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5" name="Freeform 400"/>
            <p:cNvSpPr>
              <a:spLocks noChangeArrowheads="1"/>
            </p:cNvSpPr>
            <p:nvPr/>
          </p:nvSpPr>
          <p:spPr bwMode="auto">
            <a:xfrm>
              <a:off x="3990975" y="2760663"/>
              <a:ext cx="3175" cy="4762"/>
            </a:xfrm>
            <a:custGeom>
              <a:avLst/>
              <a:gdLst>
                <a:gd name="T0" fmla="*/ 3 w 10"/>
                <a:gd name="T1" fmla="*/ 0 h 12"/>
                <a:gd name="T2" fmla="*/ 0 w 10"/>
                <a:gd name="T3" fmla="*/ 11 h 12"/>
                <a:gd name="T4" fmla="*/ 3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3" y="0"/>
                  </a:moveTo>
                  <a:cubicBezTo>
                    <a:pt x="3" y="2"/>
                    <a:pt x="0" y="5"/>
                    <a:pt x="0" y="11"/>
                  </a:cubicBezTo>
                  <a:cubicBezTo>
                    <a:pt x="9" y="11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6" name="Freeform 401"/>
            <p:cNvSpPr>
              <a:spLocks noChangeArrowheads="1"/>
            </p:cNvSpPr>
            <p:nvPr/>
          </p:nvSpPr>
          <p:spPr bwMode="auto">
            <a:xfrm>
              <a:off x="3995738" y="2570163"/>
              <a:ext cx="4762" cy="3175"/>
            </a:xfrm>
            <a:custGeom>
              <a:avLst/>
              <a:gdLst>
                <a:gd name="T0" fmla="*/ 0 w 13"/>
                <a:gd name="T1" fmla="*/ 0 h 10"/>
                <a:gd name="T2" fmla="*/ 0 w 13"/>
                <a:gd name="T3" fmla="*/ 3 h 10"/>
                <a:gd name="T4" fmla="*/ 12 w 13"/>
                <a:gd name="T5" fmla="*/ 9 h 10"/>
                <a:gd name="T6" fmla="*/ 0 w 1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0" y="0"/>
                  </a:moveTo>
                  <a:lnTo>
                    <a:pt x="0" y="3"/>
                  </a:lnTo>
                  <a:cubicBezTo>
                    <a:pt x="3" y="6"/>
                    <a:pt x="9" y="9"/>
                    <a:pt x="12" y="9"/>
                  </a:cubicBezTo>
                  <a:cubicBezTo>
                    <a:pt x="9" y="6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7" name="Freeform 402"/>
            <p:cNvSpPr>
              <a:spLocks noChangeArrowheads="1"/>
            </p:cNvSpPr>
            <p:nvPr/>
          </p:nvSpPr>
          <p:spPr bwMode="auto">
            <a:xfrm>
              <a:off x="3990975" y="2509838"/>
              <a:ext cx="3175" cy="4762"/>
            </a:xfrm>
            <a:custGeom>
              <a:avLst/>
              <a:gdLst>
                <a:gd name="T0" fmla="*/ 3 w 10"/>
                <a:gd name="T1" fmla="*/ 11 h 12"/>
                <a:gd name="T2" fmla="*/ 9 w 10"/>
                <a:gd name="T3" fmla="*/ 3 h 12"/>
                <a:gd name="T4" fmla="*/ 3 w 10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3" y="11"/>
                  </a:moveTo>
                  <a:cubicBezTo>
                    <a:pt x="6" y="11"/>
                    <a:pt x="9" y="6"/>
                    <a:pt x="9" y="3"/>
                  </a:cubicBezTo>
                  <a:cubicBezTo>
                    <a:pt x="3" y="0"/>
                    <a:pt x="0" y="6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8" name="Freeform 403"/>
            <p:cNvSpPr>
              <a:spLocks noChangeArrowheads="1"/>
            </p:cNvSpPr>
            <p:nvPr/>
          </p:nvSpPr>
          <p:spPr bwMode="auto">
            <a:xfrm>
              <a:off x="3990975" y="2443163"/>
              <a:ext cx="4763" cy="6350"/>
            </a:xfrm>
            <a:custGeom>
              <a:avLst/>
              <a:gdLst>
                <a:gd name="T0" fmla="*/ 14 w 15"/>
                <a:gd name="T1" fmla="*/ 2 h 18"/>
                <a:gd name="T2" fmla="*/ 0 w 15"/>
                <a:gd name="T3" fmla="*/ 2 h 18"/>
                <a:gd name="T4" fmla="*/ 9 w 15"/>
                <a:gd name="T5" fmla="*/ 17 h 18"/>
                <a:gd name="T6" fmla="*/ 11 w 15"/>
                <a:gd name="T7" fmla="*/ 17 h 18"/>
                <a:gd name="T8" fmla="*/ 9 w 15"/>
                <a:gd name="T9" fmla="*/ 5 h 18"/>
                <a:gd name="T10" fmla="*/ 14 w 15"/>
                <a:gd name="T1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8">
                  <a:moveTo>
                    <a:pt x="14" y="2"/>
                  </a:moveTo>
                  <a:cubicBezTo>
                    <a:pt x="9" y="0"/>
                    <a:pt x="6" y="0"/>
                    <a:pt x="0" y="2"/>
                  </a:cubicBezTo>
                  <a:cubicBezTo>
                    <a:pt x="3" y="8"/>
                    <a:pt x="3" y="17"/>
                    <a:pt x="9" y="17"/>
                  </a:cubicBezTo>
                  <a:cubicBezTo>
                    <a:pt x="9" y="17"/>
                    <a:pt x="9" y="17"/>
                    <a:pt x="11" y="17"/>
                  </a:cubicBezTo>
                  <a:cubicBezTo>
                    <a:pt x="11" y="11"/>
                    <a:pt x="9" y="11"/>
                    <a:pt x="9" y="5"/>
                  </a:cubicBezTo>
                  <a:cubicBezTo>
                    <a:pt x="9" y="0"/>
                    <a:pt x="11" y="2"/>
                    <a:pt x="14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9" name="Freeform 404"/>
            <p:cNvSpPr>
              <a:spLocks noChangeArrowheads="1"/>
            </p:cNvSpPr>
            <p:nvPr/>
          </p:nvSpPr>
          <p:spPr bwMode="auto">
            <a:xfrm>
              <a:off x="3922713" y="2335213"/>
              <a:ext cx="3175" cy="1587"/>
            </a:xfrm>
            <a:custGeom>
              <a:avLst/>
              <a:gdLst>
                <a:gd name="T0" fmla="*/ 6 w 7"/>
                <a:gd name="T1" fmla="*/ 3 h 4"/>
                <a:gd name="T2" fmla="*/ 0 w 7"/>
                <a:gd name="T3" fmla="*/ 0 h 4"/>
                <a:gd name="T4" fmla="*/ 0 w 7"/>
                <a:gd name="T5" fmla="*/ 3 h 4"/>
                <a:gd name="T6" fmla="*/ 6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3"/>
                  </a:moveTo>
                  <a:cubicBezTo>
                    <a:pt x="6" y="3"/>
                    <a:pt x="3" y="3"/>
                    <a:pt x="0" y="0"/>
                  </a:cubicBezTo>
                  <a:lnTo>
                    <a:pt x="0" y="3"/>
                  </a:lnTo>
                  <a:cubicBezTo>
                    <a:pt x="3" y="3"/>
                    <a:pt x="6" y="3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0" name="Freeform 405"/>
            <p:cNvSpPr>
              <a:spLocks noChangeArrowheads="1"/>
            </p:cNvSpPr>
            <p:nvPr/>
          </p:nvSpPr>
          <p:spPr bwMode="auto">
            <a:xfrm>
              <a:off x="3925888" y="3040063"/>
              <a:ext cx="4762" cy="4762"/>
            </a:xfrm>
            <a:custGeom>
              <a:avLst/>
              <a:gdLst>
                <a:gd name="T0" fmla="*/ 14 w 15"/>
                <a:gd name="T1" fmla="*/ 6 h 15"/>
                <a:gd name="T2" fmla="*/ 0 w 15"/>
                <a:gd name="T3" fmla="*/ 6 h 15"/>
                <a:gd name="T4" fmla="*/ 14 w 15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6"/>
                  </a:moveTo>
                  <a:cubicBezTo>
                    <a:pt x="11" y="6"/>
                    <a:pt x="0" y="0"/>
                    <a:pt x="0" y="6"/>
                  </a:cubicBezTo>
                  <a:cubicBezTo>
                    <a:pt x="5" y="9"/>
                    <a:pt x="11" y="14"/>
                    <a:pt x="14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1" name="Freeform 406"/>
            <p:cNvSpPr>
              <a:spLocks noChangeArrowheads="1"/>
            </p:cNvSpPr>
            <p:nvPr/>
          </p:nvSpPr>
          <p:spPr bwMode="auto">
            <a:xfrm>
              <a:off x="3929063" y="2124075"/>
              <a:ext cx="3175" cy="3175"/>
            </a:xfrm>
            <a:custGeom>
              <a:avLst/>
              <a:gdLst>
                <a:gd name="T0" fmla="*/ 3 w 7"/>
                <a:gd name="T1" fmla="*/ 3 h 10"/>
                <a:gd name="T2" fmla="*/ 0 w 7"/>
                <a:gd name="T3" fmla="*/ 9 h 10"/>
                <a:gd name="T4" fmla="*/ 6 w 7"/>
                <a:gd name="T5" fmla="*/ 6 h 10"/>
                <a:gd name="T6" fmla="*/ 3 w 7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3" y="3"/>
                  </a:moveTo>
                  <a:cubicBezTo>
                    <a:pt x="3" y="6"/>
                    <a:pt x="3" y="6"/>
                    <a:pt x="0" y="9"/>
                  </a:cubicBezTo>
                  <a:cubicBezTo>
                    <a:pt x="3" y="9"/>
                    <a:pt x="6" y="6"/>
                    <a:pt x="6" y="6"/>
                  </a:cubicBezTo>
                  <a:cubicBezTo>
                    <a:pt x="6" y="3"/>
                    <a:pt x="6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2" name="Freeform 407"/>
            <p:cNvSpPr>
              <a:spLocks noChangeArrowheads="1"/>
            </p:cNvSpPr>
            <p:nvPr/>
          </p:nvSpPr>
          <p:spPr bwMode="auto">
            <a:xfrm>
              <a:off x="3900488" y="2278063"/>
              <a:ext cx="3175" cy="1587"/>
            </a:xfrm>
            <a:custGeom>
              <a:avLst/>
              <a:gdLst>
                <a:gd name="T0" fmla="*/ 6 w 7"/>
                <a:gd name="T1" fmla="*/ 3 h 6"/>
                <a:gd name="T2" fmla="*/ 0 w 7"/>
                <a:gd name="T3" fmla="*/ 0 h 6"/>
                <a:gd name="T4" fmla="*/ 0 w 7"/>
                <a:gd name="T5" fmla="*/ 5 h 6"/>
                <a:gd name="T6" fmla="*/ 6 w 7"/>
                <a:gd name="T7" fmla="*/ 5 h 6"/>
                <a:gd name="T8" fmla="*/ 6 w 7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3"/>
                  </a:moveTo>
                  <a:cubicBezTo>
                    <a:pt x="3" y="3"/>
                    <a:pt x="3" y="3"/>
                    <a:pt x="0" y="0"/>
                  </a:cubicBezTo>
                  <a:lnTo>
                    <a:pt x="0" y="5"/>
                  </a:lnTo>
                  <a:lnTo>
                    <a:pt x="6" y="5"/>
                  </a:lnTo>
                  <a:lnTo>
                    <a:pt x="6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3" name="Freeform 408"/>
            <p:cNvSpPr>
              <a:spLocks noChangeArrowheads="1"/>
            </p:cNvSpPr>
            <p:nvPr/>
          </p:nvSpPr>
          <p:spPr bwMode="auto">
            <a:xfrm>
              <a:off x="3900488" y="2540000"/>
              <a:ext cx="4762" cy="7938"/>
            </a:xfrm>
            <a:custGeom>
              <a:avLst/>
              <a:gdLst>
                <a:gd name="T0" fmla="*/ 3 w 12"/>
                <a:gd name="T1" fmla="*/ 22 h 23"/>
                <a:gd name="T2" fmla="*/ 11 w 12"/>
                <a:gd name="T3" fmla="*/ 17 h 23"/>
                <a:gd name="T4" fmla="*/ 9 w 12"/>
                <a:gd name="T5" fmla="*/ 0 h 23"/>
                <a:gd name="T6" fmla="*/ 3 w 12"/>
                <a:gd name="T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3">
                  <a:moveTo>
                    <a:pt x="3" y="22"/>
                  </a:moveTo>
                  <a:cubicBezTo>
                    <a:pt x="9" y="22"/>
                    <a:pt x="9" y="19"/>
                    <a:pt x="11" y="17"/>
                  </a:cubicBezTo>
                  <a:cubicBezTo>
                    <a:pt x="11" y="11"/>
                    <a:pt x="11" y="5"/>
                    <a:pt x="9" y="0"/>
                  </a:cubicBezTo>
                  <a:cubicBezTo>
                    <a:pt x="3" y="5"/>
                    <a:pt x="0" y="14"/>
                    <a:pt x="3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4" name="Freeform 409"/>
            <p:cNvSpPr>
              <a:spLocks noChangeArrowheads="1"/>
            </p:cNvSpPr>
            <p:nvPr/>
          </p:nvSpPr>
          <p:spPr bwMode="auto">
            <a:xfrm>
              <a:off x="3903663" y="2536825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6 h 7"/>
                <a:gd name="T4" fmla="*/ 0 w 10"/>
                <a:gd name="T5" fmla="*/ 6 h 7"/>
                <a:gd name="T6" fmla="*/ 9 w 10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6" y="3"/>
                    <a:pt x="3" y="6"/>
                    <a:pt x="0" y="6"/>
                  </a:cubicBezTo>
                  <a:lnTo>
                    <a:pt x="0" y="6"/>
                  </a:lnTo>
                  <a:cubicBezTo>
                    <a:pt x="6" y="6"/>
                    <a:pt x="9" y="3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5" name="Freeform 410"/>
            <p:cNvSpPr>
              <a:spLocks noChangeArrowheads="1"/>
            </p:cNvSpPr>
            <p:nvPr/>
          </p:nvSpPr>
          <p:spPr bwMode="auto">
            <a:xfrm>
              <a:off x="3917950" y="2127250"/>
              <a:ext cx="4763" cy="1588"/>
            </a:xfrm>
            <a:custGeom>
              <a:avLst/>
              <a:gdLst>
                <a:gd name="T0" fmla="*/ 14 w 15"/>
                <a:gd name="T1" fmla="*/ 2 h 6"/>
                <a:gd name="T2" fmla="*/ 14 w 15"/>
                <a:gd name="T3" fmla="*/ 2 h 6"/>
                <a:gd name="T4" fmla="*/ 0 w 15"/>
                <a:gd name="T5" fmla="*/ 2 h 6"/>
                <a:gd name="T6" fmla="*/ 0 w 15"/>
                <a:gd name="T7" fmla="*/ 5 h 6"/>
                <a:gd name="T8" fmla="*/ 14 w 15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14" y="2"/>
                  </a:moveTo>
                  <a:cubicBezTo>
                    <a:pt x="14" y="2"/>
                    <a:pt x="14" y="0"/>
                    <a:pt x="14" y="2"/>
                  </a:cubicBezTo>
                  <a:cubicBezTo>
                    <a:pt x="8" y="2"/>
                    <a:pt x="6" y="2"/>
                    <a:pt x="0" y="2"/>
                  </a:cubicBezTo>
                  <a:lnTo>
                    <a:pt x="0" y="5"/>
                  </a:lnTo>
                  <a:cubicBezTo>
                    <a:pt x="6" y="2"/>
                    <a:pt x="11" y="2"/>
                    <a:pt x="14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6" name="Freeform 411"/>
            <p:cNvSpPr>
              <a:spLocks noChangeArrowheads="1"/>
            </p:cNvSpPr>
            <p:nvPr/>
          </p:nvSpPr>
          <p:spPr bwMode="auto">
            <a:xfrm>
              <a:off x="3910013" y="2203450"/>
              <a:ext cx="1587" cy="4763"/>
            </a:xfrm>
            <a:custGeom>
              <a:avLst/>
              <a:gdLst>
                <a:gd name="T0" fmla="*/ 2 w 3"/>
                <a:gd name="T1" fmla="*/ 0 h 12"/>
                <a:gd name="T2" fmla="*/ 0 w 3"/>
                <a:gd name="T3" fmla="*/ 11 h 12"/>
                <a:gd name="T4" fmla="*/ 0 w 3"/>
                <a:gd name="T5" fmla="*/ 11 h 12"/>
                <a:gd name="T6" fmla="*/ 2 w 3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2">
                  <a:moveTo>
                    <a:pt x="2" y="0"/>
                  </a:moveTo>
                  <a:cubicBezTo>
                    <a:pt x="0" y="0"/>
                    <a:pt x="0" y="6"/>
                    <a:pt x="0" y="11"/>
                  </a:cubicBezTo>
                  <a:lnTo>
                    <a:pt x="0" y="11"/>
                  </a:lnTo>
                  <a:cubicBezTo>
                    <a:pt x="0" y="6"/>
                    <a:pt x="0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7" name="Freeform 412"/>
            <p:cNvSpPr>
              <a:spLocks noChangeArrowheads="1"/>
            </p:cNvSpPr>
            <p:nvPr/>
          </p:nvSpPr>
          <p:spPr bwMode="auto">
            <a:xfrm>
              <a:off x="3959225" y="2327275"/>
              <a:ext cx="14288" cy="9525"/>
            </a:xfrm>
            <a:custGeom>
              <a:avLst/>
              <a:gdLst>
                <a:gd name="T0" fmla="*/ 22 w 40"/>
                <a:gd name="T1" fmla="*/ 26 h 27"/>
                <a:gd name="T2" fmla="*/ 32 w 40"/>
                <a:gd name="T3" fmla="*/ 11 h 27"/>
                <a:gd name="T4" fmla="*/ 28 w 40"/>
                <a:gd name="T5" fmla="*/ 12 h 27"/>
                <a:gd name="T6" fmla="*/ 14 w 40"/>
                <a:gd name="T7" fmla="*/ 3 h 27"/>
                <a:gd name="T8" fmla="*/ 14 w 40"/>
                <a:gd name="T9" fmla="*/ 17 h 27"/>
                <a:gd name="T10" fmla="*/ 3 w 40"/>
                <a:gd name="T11" fmla="*/ 20 h 27"/>
                <a:gd name="T12" fmla="*/ 22 w 40"/>
                <a:gd name="T13" fmla="*/ 26 h 27"/>
                <a:gd name="T14" fmla="*/ 33 w 40"/>
                <a:gd name="T15" fmla="*/ 9 h 27"/>
                <a:gd name="T16" fmla="*/ 32 w 40"/>
                <a:gd name="T17" fmla="*/ 11 h 27"/>
                <a:gd name="T18" fmla="*/ 33 w 40"/>
                <a:gd name="T19" fmla="*/ 9 h 27"/>
                <a:gd name="T20" fmla="*/ 39 w 40"/>
                <a:gd name="T21" fmla="*/ 0 h 27"/>
                <a:gd name="T22" fmla="*/ 34 w 40"/>
                <a:gd name="T23" fmla="*/ 0 h 27"/>
                <a:gd name="T24" fmla="*/ 33 w 40"/>
                <a:gd name="T25" fmla="*/ 9 h 27"/>
                <a:gd name="T26" fmla="*/ 39 w 40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27">
                  <a:moveTo>
                    <a:pt x="22" y="26"/>
                  </a:moveTo>
                  <a:lnTo>
                    <a:pt x="32" y="11"/>
                  </a:lnTo>
                  <a:cubicBezTo>
                    <a:pt x="31" y="11"/>
                    <a:pt x="30" y="12"/>
                    <a:pt x="28" y="12"/>
                  </a:cubicBezTo>
                  <a:cubicBezTo>
                    <a:pt x="20" y="12"/>
                    <a:pt x="25" y="0"/>
                    <a:pt x="14" y="3"/>
                  </a:cubicBezTo>
                  <a:lnTo>
                    <a:pt x="14" y="17"/>
                  </a:lnTo>
                  <a:cubicBezTo>
                    <a:pt x="11" y="14"/>
                    <a:pt x="0" y="12"/>
                    <a:pt x="3" y="20"/>
                  </a:cubicBezTo>
                  <a:cubicBezTo>
                    <a:pt x="11" y="20"/>
                    <a:pt x="17" y="23"/>
                    <a:pt x="22" y="26"/>
                  </a:cubicBezTo>
                  <a:close/>
                  <a:moveTo>
                    <a:pt x="33" y="9"/>
                  </a:moveTo>
                  <a:cubicBezTo>
                    <a:pt x="33" y="10"/>
                    <a:pt x="33" y="11"/>
                    <a:pt x="32" y="11"/>
                  </a:cubicBezTo>
                  <a:lnTo>
                    <a:pt x="33" y="9"/>
                  </a:lnTo>
                  <a:close/>
                  <a:moveTo>
                    <a:pt x="39" y="0"/>
                  </a:moveTo>
                  <a:lnTo>
                    <a:pt x="34" y="0"/>
                  </a:lnTo>
                  <a:cubicBezTo>
                    <a:pt x="30" y="4"/>
                    <a:pt x="33" y="7"/>
                    <a:pt x="33" y="9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8" name="Freeform 413"/>
            <p:cNvSpPr>
              <a:spLocks noChangeArrowheads="1"/>
            </p:cNvSpPr>
            <p:nvPr/>
          </p:nvSpPr>
          <p:spPr bwMode="auto">
            <a:xfrm>
              <a:off x="3978275" y="2103438"/>
              <a:ext cx="4763" cy="3175"/>
            </a:xfrm>
            <a:custGeom>
              <a:avLst/>
              <a:gdLst>
                <a:gd name="T0" fmla="*/ 12 w 13"/>
                <a:gd name="T1" fmla="*/ 2 h 9"/>
                <a:gd name="T2" fmla="*/ 9 w 13"/>
                <a:gd name="T3" fmla="*/ 0 h 9"/>
                <a:gd name="T4" fmla="*/ 0 w 13"/>
                <a:gd name="T5" fmla="*/ 5 h 9"/>
                <a:gd name="T6" fmla="*/ 12 w 13"/>
                <a:gd name="T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12" y="2"/>
                  </a:moveTo>
                  <a:cubicBezTo>
                    <a:pt x="9" y="2"/>
                    <a:pt x="9" y="2"/>
                    <a:pt x="9" y="0"/>
                  </a:cubicBezTo>
                  <a:cubicBezTo>
                    <a:pt x="6" y="2"/>
                    <a:pt x="3" y="5"/>
                    <a:pt x="0" y="5"/>
                  </a:cubicBezTo>
                  <a:cubicBezTo>
                    <a:pt x="6" y="8"/>
                    <a:pt x="9" y="5"/>
                    <a:pt x="12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9" name="Freeform 414"/>
            <p:cNvSpPr>
              <a:spLocks noChangeArrowheads="1"/>
            </p:cNvSpPr>
            <p:nvPr/>
          </p:nvSpPr>
          <p:spPr bwMode="auto">
            <a:xfrm>
              <a:off x="3971925" y="2098675"/>
              <a:ext cx="11113" cy="11113"/>
            </a:xfrm>
            <a:custGeom>
              <a:avLst/>
              <a:gdLst>
                <a:gd name="T0" fmla="*/ 19 w 29"/>
                <a:gd name="T1" fmla="*/ 22 h 32"/>
                <a:gd name="T2" fmla="*/ 19 w 29"/>
                <a:gd name="T3" fmla="*/ 22 h 32"/>
                <a:gd name="T4" fmla="*/ 28 w 29"/>
                <a:gd name="T5" fmla="*/ 16 h 32"/>
                <a:gd name="T6" fmla="*/ 22 w 29"/>
                <a:gd name="T7" fmla="*/ 0 h 32"/>
                <a:gd name="T8" fmla="*/ 0 w 29"/>
                <a:gd name="T9" fmla="*/ 19 h 32"/>
                <a:gd name="T10" fmla="*/ 5 w 29"/>
                <a:gd name="T11" fmla="*/ 31 h 32"/>
                <a:gd name="T12" fmla="*/ 19 w 29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2">
                  <a:moveTo>
                    <a:pt x="19" y="22"/>
                  </a:moveTo>
                  <a:lnTo>
                    <a:pt x="19" y="22"/>
                  </a:lnTo>
                  <a:cubicBezTo>
                    <a:pt x="22" y="19"/>
                    <a:pt x="25" y="19"/>
                    <a:pt x="28" y="16"/>
                  </a:cubicBezTo>
                  <a:cubicBezTo>
                    <a:pt x="25" y="11"/>
                    <a:pt x="22" y="5"/>
                    <a:pt x="22" y="0"/>
                  </a:cubicBezTo>
                  <a:cubicBezTo>
                    <a:pt x="11" y="2"/>
                    <a:pt x="3" y="8"/>
                    <a:pt x="0" y="19"/>
                  </a:cubicBezTo>
                  <a:cubicBezTo>
                    <a:pt x="3" y="22"/>
                    <a:pt x="5" y="28"/>
                    <a:pt x="5" y="31"/>
                  </a:cubicBezTo>
                  <a:cubicBezTo>
                    <a:pt x="11" y="28"/>
                    <a:pt x="17" y="25"/>
                    <a:pt x="19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0" name="Freeform 415"/>
            <p:cNvSpPr>
              <a:spLocks noChangeArrowheads="1"/>
            </p:cNvSpPr>
            <p:nvPr/>
          </p:nvSpPr>
          <p:spPr bwMode="auto">
            <a:xfrm>
              <a:off x="3970338" y="2132013"/>
              <a:ext cx="4762" cy="4762"/>
            </a:xfrm>
            <a:custGeom>
              <a:avLst/>
              <a:gdLst>
                <a:gd name="T0" fmla="*/ 8 w 12"/>
                <a:gd name="T1" fmla="*/ 0 h 12"/>
                <a:gd name="T2" fmla="*/ 0 w 12"/>
                <a:gd name="T3" fmla="*/ 11 h 12"/>
                <a:gd name="T4" fmla="*/ 11 w 12"/>
                <a:gd name="T5" fmla="*/ 2 h 12"/>
                <a:gd name="T6" fmla="*/ 8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cubicBezTo>
                    <a:pt x="6" y="2"/>
                    <a:pt x="3" y="8"/>
                    <a:pt x="0" y="11"/>
                  </a:cubicBezTo>
                  <a:cubicBezTo>
                    <a:pt x="3" y="8"/>
                    <a:pt x="8" y="8"/>
                    <a:pt x="11" y="2"/>
                  </a:cubicBezTo>
                  <a:cubicBezTo>
                    <a:pt x="8" y="2"/>
                    <a:pt x="8" y="2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1" name="Freeform 416"/>
            <p:cNvSpPr>
              <a:spLocks noChangeArrowheads="1"/>
            </p:cNvSpPr>
            <p:nvPr/>
          </p:nvSpPr>
          <p:spPr bwMode="auto">
            <a:xfrm>
              <a:off x="3983038" y="2114550"/>
              <a:ext cx="3175" cy="1588"/>
            </a:xfrm>
            <a:custGeom>
              <a:avLst/>
              <a:gdLst>
                <a:gd name="T0" fmla="*/ 8 w 9"/>
                <a:gd name="T1" fmla="*/ 0 h 6"/>
                <a:gd name="T2" fmla="*/ 0 w 9"/>
                <a:gd name="T3" fmla="*/ 5 h 6"/>
                <a:gd name="T4" fmla="*/ 8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8" y="0"/>
                  </a:moveTo>
                  <a:cubicBezTo>
                    <a:pt x="5" y="0"/>
                    <a:pt x="3" y="2"/>
                    <a:pt x="0" y="5"/>
                  </a:cubicBezTo>
                  <a:cubicBezTo>
                    <a:pt x="5" y="5"/>
                    <a:pt x="8" y="2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2" name="Freeform 417"/>
            <p:cNvSpPr>
              <a:spLocks noChangeArrowheads="1"/>
            </p:cNvSpPr>
            <p:nvPr/>
          </p:nvSpPr>
          <p:spPr bwMode="auto">
            <a:xfrm>
              <a:off x="3965575" y="2319338"/>
              <a:ext cx="4763" cy="6350"/>
            </a:xfrm>
            <a:custGeom>
              <a:avLst/>
              <a:gdLst>
                <a:gd name="T0" fmla="*/ 11 w 12"/>
                <a:gd name="T1" fmla="*/ 8 h 18"/>
                <a:gd name="T2" fmla="*/ 11 w 12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11" y="8"/>
                  </a:moveTo>
                  <a:cubicBezTo>
                    <a:pt x="0" y="0"/>
                    <a:pt x="5" y="17"/>
                    <a:pt x="11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3" name="Freeform 418"/>
            <p:cNvSpPr>
              <a:spLocks noChangeArrowheads="1"/>
            </p:cNvSpPr>
            <p:nvPr/>
          </p:nvSpPr>
          <p:spPr bwMode="auto">
            <a:xfrm>
              <a:off x="3984625" y="2157413"/>
              <a:ext cx="1588" cy="3175"/>
            </a:xfrm>
            <a:custGeom>
              <a:avLst/>
              <a:gdLst>
                <a:gd name="T0" fmla="*/ 0 w 4"/>
                <a:gd name="T1" fmla="*/ 6 h 7"/>
                <a:gd name="T2" fmla="*/ 0 w 4"/>
                <a:gd name="T3" fmla="*/ 6 h 7"/>
                <a:gd name="T4" fmla="*/ 3 w 4"/>
                <a:gd name="T5" fmla="*/ 0 h 7"/>
                <a:gd name="T6" fmla="*/ 0 w 4"/>
                <a:gd name="T7" fmla="*/ 0 h 7"/>
                <a:gd name="T8" fmla="*/ 0 w 4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0" y="6"/>
                  </a:moveTo>
                  <a:lnTo>
                    <a:pt x="0" y="6"/>
                  </a:lnTo>
                  <a:cubicBezTo>
                    <a:pt x="3" y="3"/>
                    <a:pt x="3" y="3"/>
                    <a:pt x="3" y="0"/>
                  </a:cubicBez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4" name="Freeform 419"/>
            <p:cNvSpPr>
              <a:spLocks noChangeArrowheads="1"/>
            </p:cNvSpPr>
            <p:nvPr/>
          </p:nvSpPr>
          <p:spPr bwMode="auto">
            <a:xfrm>
              <a:off x="3875088" y="2641600"/>
              <a:ext cx="1587" cy="1588"/>
            </a:xfrm>
            <a:custGeom>
              <a:avLst/>
              <a:gdLst>
                <a:gd name="T0" fmla="*/ 0 w 4"/>
                <a:gd name="T1" fmla="*/ 4 h 5"/>
                <a:gd name="T2" fmla="*/ 3 w 4"/>
                <a:gd name="T3" fmla="*/ 0 h 5"/>
                <a:gd name="T4" fmla="*/ 0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0" y="4"/>
                  </a:moveTo>
                  <a:cubicBezTo>
                    <a:pt x="2" y="3"/>
                    <a:pt x="3" y="1"/>
                    <a:pt x="3" y="0"/>
                  </a:cubicBezTo>
                  <a:cubicBezTo>
                    <a:pt x="3" y="2"/>
                    <a:pt x="0" y="2"/>
                    <a:pt x="0" y="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5" name="Freeform 420"/>
            <p:cNvSpPr>
              <a:spLocks noChangeArrowheads="1"/>
            </p:cNvSpPr>
            <p:nvPr/>
          </p:nvSpPr>
          <p:spPr bwMode="auto">
            <a:xfrm>
              <a:off x="3948113" y="2328863"/>
              <a:ext cx="1587" cy="3175"/>
            </a:xfrm>
            <a:custGeom>
              <a:avLst/>
              <a:gdLst>
                <a:gd name="T0" fmla="*/ 0 w 6"/>
                <a:gd name="T1" fmla="*/ 6 h 7"/>
                <a:gd name="T2" fmla="*/ 5 w 6"/>
                <a:gd name="T3" fmla="*/ 6 h 7"/>
                <a:gd name="T4" fmla="*/ 5 w 6"/>
                <a:gd name="T5" fmla="*/ 0 h 7"/>
                <a:gd name="T6" fmla="*/ 0 w 6"/>
                <a:gd name="T7" fmla="*/ 0 h 7"/>
                <a:gd name="T8" fmla="*/ 0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6"/>
                  </a:moveTo>
                  <a:lnTo>
                    <a:pt x="5" y="6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6" name="Freeform 421"/>
            <p:cNvSpPr>
              <a:spLocks noChangeArrowheads="1"/>
            </p:cNvSpPr>
            <p:nvPr/>
          </p:nvSpPr>
          <p:spPr bwMode="auto">
            <a:xfrm>
              <a:off x="3979863" y="2320925"/>
              <a:ext cx="6350" cy="4763"/>
            </a:xfrm>
            <a:custGeom>
              <a:avLst/>
              <a:gdLst>
                <a:gd name="T0" fmla="*/ 0 w 18"/>
                <a:gd name="T1" fmla="*/ 3 h 13"/>
                <a:gd name="T2" fmla="*/ 0 w 18"/>
                <a:gd name="T3" fmla="*/ 3 h 13"/>
                <a:gd name="T4" fmla="*/ 17 w 18"/>
                <a:gd name="T5" fmla="*/ 12 h 13"/>
                <a:gd name="T6" fmla="*/ 17 w 18"/>
                <a:gd name="T7" fmla="*/ 9 h 13"/>
                <a:gd name="T8" fmla="*/ 14 w 18"/>
                <a:gd name="T9" fmla="*/ 3 h 13"/>
                <a:gd name="T10" fmla="*/ 0 w 18"/>
                <a:gd name="T11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3">
                  <a:moveTo>
                    <a:pt x="0" y="3"/>
                  </a:moveTo>
                  <a:cubicBezTo>
                    <a:pt x="0" y="3"/>
                    <a:pt x="0" y="6"/>
                    <a:pt x="0" y="3"/>
                  </a:cubicBezTo>
                  <a:cubicBezTo>
                    <a:pt x="3" y="9"/>
                    <a:pt x="12" y="6"/>
                    <a:pt x="17" y="12"/>
                  </a:cubicBezTo>
                  <a:lnTo>
                    <a:pt x="17" y="9"/>
                  </a:lnTo>
                  <a:cubicBezTo>
                    <a:pt x="17" y="6"/>
                    <a:pt x="14" y="6"/>
                    <a:pt x="14" y="3"/>
                  </a:cubicBezTo>
                  <a:cubicBezTo>
                    <a:pt x="9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7" name="Freeform 422"/>
            <p:cNvSpPr>
              <a:spLocks noChangeArrowheads="1"/>
            </p:cNvSpPr>
            <p:nvPr/>
          </p:nvSpPr>
          <p:spPr bwMode="auto">
            <a:xfrm>
              <a:off x="3956050" y="2109788"/>
              <a:ext cx="3175" cy="1587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3" y="0"/>
                    <a:pt x="0" y="0"/>
                  </a:cubicBezTo>
                  <a:cubicBezTo>
                    <a:pt x="3" y="3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8" name="Freeform 423"/>
            <p:cNvSpPr>
              <a:spLocks noChangeArrowheads="1"/>
            </p:cNvSpPr>
            <p:nvPr/>
          </p:nvSpPr>
          <p:spPr bwMode="auto">
            <a:xfrm>
              <a:off x="3941763" y="2328863"/>
              <a:ext cx="17462" cy="28575"/>
            </a:xfrm>
            <a:custGeom>
              <a:avLst/>
              <a:gdLst>
                <a:gd name="T0" fmla="*/ 22 w 49"/>
                <a:gd name="T1" fmla="*/ 8 h 80"/>
                <a:gd name="T2" fmla="*/ 8 w 49"/>
                <a:gd name="T3" fmla="*/ 17 h 80"/>
                <a:gd name="T4" fmla="*/ 8 w 49"/>
                <a:gd name="T5" fmla="*/ 17 h 80"/>
                <a:gd name="T6" fmla="*/ 6 w 49"/>
                <a:gd name="T7" fmla="*/ 22 h 80"/>
                <a:gd name="T8" fmla="*/ 6 w 49"/>
                <a:gd name="T9" fmla="*/ 22 h 80"/>
                <a:gd name="T10" fmla="*/ 8 w 49"/>
                <a:gd name="T11" fmla="*/ 34 h 80"/>
                <a:gd name="T12" fmla="*/ 11 w 49"/>
                <a:gd name="T13" fmla="*/ 34 h 80"/>
                <a:gd name="T14" fmla="*/ 11 w 49"/>
                <a:gd name="T15" fmla="*/ 39 h 80"/>
                <a:gd name="T16" fmla="*/ 8 w 49"/>
                <a:gd name="T17" fmla="*/ 39 h 80"/>
                <a:gd name="T18" fmla="*/ 3 w 49"/>
                <a:gd name="T19" fmla="*/ 70 h 80"/>
                <a:gd name="T20" fmla="*/ 0 w 49"/>
                <a:gd name="T21" fmla="*/ 70 h 80"/>
                <a:gd name="T22" fmla="*/ 0 w 49"/>
                <a:gd name="T23" fmla="*/ 73 h 80"/>
                <a:gd name="T24" fmla="*/ 14 w 49"/>
                <a:gd name="T25" fmla="*/ 73 h 80"/>
                <a:gd name="T26" fmla="*/ 8 w 49"/>
                <a:gd name="T27" fmla="*/ 70 h 80"/>
                <a:gd name="T28" fmla="*/ 11 w 49"/>
                <a:gd name="T29" fmla="*/ 65 h 80"/>
                <a:gd name="T30" fmla="*/ 6 w 49"/>
                <a:gd name="T31" fmla="*/ 56 h 80"/>
                <a:gd name="T32" fmla="*/ 25 w 49"/>
                <a:gd name="T33" fmla="*/ 59 h 80"/>
                <a:gd name="T34" fmla="*/ 20 w 49"/>
                <a:gd name="T35" fmla="*/ 37 h 80"/>
                <a:gd name="T36" fmla="*/ 39 w 49"/>
                <a:gd name="T37" fmla="*/ 22 h 80"/>
                <a:gd name="T38" fmla="*/ 48 w 49"/>
                <a:gd name="T39" fmla="*/ 8 h 80"/>
                <a:gd name="T40" fmla="*/ 39 w 49"/>
                <a:gd name="T41" fmla="*/ 0 h 80"/>
                <a:gd name="T42" fmla="*/ 22 w 49"/>
                <a:gd name="T43" fmla="*/ 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9" h="80">
                  <a:moveTo>
                    <a:pt x="22" y="8"/>
                  </a:moveTo>
                  <a:cubicBezTo>
                    <a:pt x="20" y="17"/>
                    <a:pt x="17" y="22"/>
                    <a:pt x="8" y="17"/>
                  </a:cubicBezTo>
                  <a:lnTo>
                    <a:pt x="8" y="17"/>
                  </a:lnTo>
                  <a:cubicBezTo>
                    <a:pt x="8" y="20"/>
                    <a:pt x="8" y="22"/>
                    <a:pt x="6" y="22"/>
                  </a:cubicBezTo>
                  <a:lnTo>
                    <a:pt x="6" y="22"/>
                  </a:lnTo>
                  <a:cubicBezTo>
                    <a:pt x="6" y="25"/>
                    <a:pt x="8" y="31"/>
                    <a:pt x="8" y="34"/>
                  </a:cubicBezTo>
                  <a:lnTo>
                    <a:pt x="11" y="34"/>
                  </a:lnTo>
                  <a:lnTo>
                    <a:pt x="11" y="39"/>
                  </a:lnTo>
                  <a:lnTo>
                    <a:pt x="8" y="39"/>
                  </a:lnTo>
                  <a:cubicBezTo>
                    <a:pt x="3" y="48"/>
                    <a:pt x="0" y="59"/>
                    <a:pt x="3" y="70"/>
                  </a:cubicBezTo>
                  <a:lnTo>
                    <a:pt x="0" y="70"/>
                  </a:lnTo>
                  <a:lnTo>
                    <a:pt x="0" y="73"/>
                  </a:lnTo>
                  <a:cubicBezTo>
                    <a:pt x="6" y="73"/>
                    <a:pt x="11" y="79"/>
                    <a:pt x="14" y="73"/>
                  </a:cubicBezTo>
                  <a:cubicBezTo>
                    <a:pt x="11" y="73"/>
                    <a:pt x="11" y="70"/>
                    <a:pt x="8" y="70"/>
                  </a:cubicBezTo>
                  <a:cubicBezTo>
                    <a:pt x="8" y="68"/>
                    <a:pt x="8" y="68"/>
                    <a:pt x="11" y="65"/>
                  </a:cubicBezTo>
                  <a:cubicBezTo>
                    <a:pt x="8" y="62"/>
                    <a:pt x="6" y="62"/>
                    <a:pt x="6" y="56"/>
                  </a:cubicBezTo>
                  <a:cubicBezTo>
                    <a:pt x="11" y="51"/>
                    <a:pt x="20" y="56"/>
                    <a:pt x="25" y="59"/>
                  </a:cubicBezTo>
                  <a:cubicBezTo>
                    <a:pt x="28" y="48"/>
                    <a:pt x="20" y="45"/>
                    <a:pt x="20" y="37"/>
                  </a:cubicBezTo>
                  <a:cubicBezTo>
                    <a:pt x="25" y="31"/>
                    <a:pt x="31" y="25"/>
                    <a:pt x="39" y="22"/>
                  </a:cubicBezTo>
                  <a:cubicBezTo>
                    <a:pt x="39" y="14"/>
                    <a:pt x="39" y="8"/>
                    <a:pt x="48" y="8"/>
                  </a:cubicBezTo>
                  <a:cubicBezTo>
                    <a:pt x="48" y="3"/>
                    <a:pt x="42" y="0"/>
                    <a:pt x="39" y="0"/>
                  </a:cubicBezTo>
                  <a:cubicBezTo>
                    <a:pt x="42" y="11"/>
                    <a:pt x="28" y="6"/>
                    <a:pt x="22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9" name="Freeform 424"/>
            <p:cNvSpPr>
              <a:spLocks noChangeArrowheads="1"/>
            </p:cNvSpPr>
            <p:nvPr/>
          </p:nvSpPr>
          <p:spPr bwMode="auto">
            <a:xfrm>
              <a:off x="3994150" y="2336800"/>
              <a:ext cx="1588" cy="1588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5 h 6"/>
                <a:gd name="T4" fmla="*/ 5 w 6"/>
                <a:gd name="T5" fmla="*/ 2 h 6"/>
                <a:gd name="T6" fmla="*/ 0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cubicBezTo>
                    <a:pt x="0" y="2"/>
                    <a:pt x="0" y="2"/>
                    <a:pt x="0" y="5"/>
                  </a:cubicBezTo>
                  <a:cubicBezTo>
                    <a:pt x="2" y="5"/>
                    <a:pt x="5" y="5"/>
                    <a:pt x="5" y="2"/>
                  </a:cubicBezTo>
                  <a:cubicBezTo>
                    <a:pt x="5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0" name="Freeform 425"/>
            <p:cNvSpPr>
              <a:spLocks noChangeArrowheads="1"/>
            </p:cNvSpPr>
            <p:nvPr/>
          </p:nvSpPr>
          <p:spPr bwMode="auto">
            <a:xfrm>
              <a:off x="3919538" y="2589213"/>
              <a:ext cx="3175" cy="3175"/>
            </a:xfrm>
            <a:custGeom>
              <a:avLst/>
              <a:gdLst>
                <a:gd name="T0" fmla="*/ 0 w 9"/>
                <a:gd name="T1" fmla="*/ 0 h 9"/>
                <a:gd name="T2" fmla="*/ 5 w 9"/>
                <a:gd name="T3" fmla="*/ 8 h 9"/>
                <a:gd name="T4" fmla="*/ 8 w 9"/>
                <a:gd name="T5" fmla="*/ 3 h 9"/>
                <a:gd name="T6" fmla="*/ 0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cubicBezTo>
                    <a:pt x="0" y="3"/>
                    <a:pt x="3" y="8"/>
                    <a:pt x="5" y="8"/>
                  </a:cubicBezTo>
                  <a:cubicBezTo>
                    <a:pt x="5" y="5"/>
                    <a:pt x="8" y="5"/>
                    <a:pt x="8" y="3"/>
                  </a:cubicBezTo>
                  <a:cubicBezTo>
                    <a:pt x="5" y="3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1" name="Freeform 426"/>
            <p:cNvSpPr>
              <a:spLocks noChangeArrowheads="1"/>
            </p:cNvSpPr>
            <p:nvPr/>
          </p:nvSpPr>
          <p:spPr bwMode="auto">
            <a:xfrm>
              <a:off x="3910013" y="2541588"/>
              <a:ext cx="7937" cy="4762"/>
            </a:xfrm>
            <a:custGeom>
              <a:avLst/>
              <a:gdLst>
                <a:gd name="T0" fmla="*/ 2 w 20"/>
                <a:gd name="T1" fmla="*/ 12 h 13"/>
                <a:gd name="T2" fmla="*/ 19 w 20"/>
                <a:gd name="T3" fmla="*/ 0 h 13"/>
                <a:gd name="T4" fmla="*/ 2 w 20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3">
                  <a:moveTo>
                    <a:pt x="2" y="12"/>
                  </a:moveTo>
                  <a:cubicBezTo>
                    <a:pt x="11" y="12"/>
                    <a:pt x="19" y="12"/>
                    <a:pt x="19" y="0"/>
                  </a:cubicBezTo>
                  <a:cubicBezTo>
                    <a:pt x="11" y="0"/>
                    <a:pt x="0" y="0"/>
                    <a:pt x="2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2" name="Freeform 427"/>
            <p:cNvSpPr>
              <a:spLocks noChangeArrowheads="1"/>
            </p:cNvSpPr>
            <p:nvPr/>
          </p:nvSpPr>
          <p:spPr bwMode="auto">
            <a:xfrm>
              <a:off x="3917950" y="2368550"/>
              <a:ext cx="4763" cy="6350"/>
            </a:xfrm>
            <a:custGeom>
              <a:avLst/>
              <a:gdLst>
                <a:gd name="T0" fmla="*/ 6 w 15"/>
                <a:gd name="T1" fmla="*/ 0 h 18"/>
                <a:gd name="T2" fmla="*/ 0 w 15"/>
                <a:gd name="T3" fmla="*/ 14 h 18"/>
                <a:gd name="T4" fmla="*/ 6 w 15"/>
                <a:gd name="T5" fmla="*/ 17 h 18"/>
                <a:gd name="T6" fmla="*/ 9 w 15"/>
                <a:gd name="T7" fmla="*/ 17 h 18"/>
                <a:gd name="T8" fmla="*/ 9 w 15"/>
                <a:gd name="T9" fmla="*/ 17 h 18"/>
                <a:gd name="T10" fmla="*/ 9 w 15"/>
                <a:gd name="T11" fmla="*/ 0 h 18"/>
                <a:gd name="T12" fmla="*/ 6 w 15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8">
                  <a:moveTo>
                    <a:pt x="6" y="0"/>
                  </a:moveTo>
                  <a:cubicBezTo>
                    <a:pt x="6" y="6"/>
                    <a:pt x="0" y="6"/>
                    <a:pt x="0" y="14"/>
                  </a:cubicBezTo>
                  <a:cubicBezTo>
                    <a:pt x="3" y="14"/>
                    <a:pt x="3" y="17"/>
                    <a:pt x="6" y="17"/>
                  </a:cubicBezTo>
                  <a:lnTo>
                    <a:pt x="9" y="17"/>
                  </a:lnTo>
                  <a:lnTo>
                    <a:pt x="9" y="17"/>
                  </a:lnTo>
                  <a:cubicBezTo>
                    <a:pt x="14" y="11"/>
                    <a:pt x="14" y="6"/>
                    <a:pt x="9" y="0"/>
                  </a:cubicBez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3" name="Freeform 428"/>
            <p:cNvSpPr>
              <a:spLocks noChangeArrowheads="1"/>
            </p:cNvSpPr>
            <p:nvPr/>
          </p:nvSpPr>
          <p:spPr bwMode="auto">
            <a:xfrm>
              <a:off x="3914775" y="2544763"/>
              <a:ext cx="4763" cy="6350"/>
            </a:xfrm>
            <a:custGeom>
              <a:avLst/>
              <a:gdLst>
                <a:gd name="T0" fmla="*/ 14 w 15"/>
                <a:gd name="T1" fmla="*/ 0 h 18"/>
                <a:gd name="T2" fmla="*/ 5 w 15"/>
                <a:gd name="T3" fmla="*/ 17 h 18"/>
                <a:gd name="T4" fmla="*/ 14 w 15"/>
                <a:gd name="T5" fmla="*/ 14 h 18"/>
                <a:gd name="T6" fmla="*/ 14 w 15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8">
                  <a:moveTo>
                    <a:pt x="14" y="0"/>
                  </a:moveTo>
                  <a:cubicBezTo>
                    <a:pt x="5" y="0"/>
                    <a:pt x="0" y="11"/>
                    <a:pt x="5" y="17"/>
                  </a:cubicBezTo>
                  <a:cubicBezTo>
                    <a:pt x="11" y="17"/>
                    <a:pt x="11" y="14"/>
                    <a:pt x="14" y="14"/>
                  </a:cubicBezTo>
                  <a:lnTo>
                    <a:pt x="14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4" name="Freeform 429"/>
            <p:cNvSpPr>
              <a:spLocks noChangeArrowheads="1"/>
            </p:cNvSpPr>
            <p:nvPr/>
          </p:nvSpPr>
          <p:spPr bwMode="auto">
            <a:xfrm>
              <a:off x="3919538" y="2414588"/>
              <a:ext cx="4762" cy="1587"/>
            </a:xfrm>
            <a:custGeom>
              <a:avLst/>
              <a:gdLst>
                <a:gd name="T0" fmla="*/ 0 w 12"/>
                <a:gd name="T1" fmla="*/ 5 h 6"/>
                <a:gd name="T2" fmla="*/ 11 w 12"/>
                <a:gd name="T3" fmla="*/ 5 h 6"/>
                <a:gd name="T4" fmla="*/ 8 w 12"/>
                <a:gd name="T5" fmla="*/ 0 h 6"/>
                <a:gd name="T6" fmla="*/ 0 w 12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0" y="5"/>
                  </a:moveTo>
                  <a:lnTo>
                    <a:pt x="11" y="5"/>
                  </a:lnTo>
                  <a:cubicBezTo>
                    <a:pt x="8" y="5"/>
                    <a:pt x="5" y="5"/>
                    <a:pt x="8" y="0"/>
                  </a:cubicBezTo>
                  <a:cubicBezTo>
                    <a:pt x="5" y="0"/>
                    <a:pt x="3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5" name="Freeform 430"/>
            <p:cNvSpPr>
              <a:spLocks noChangeArrowheads="1"/>
            </p:cNvSpPr>
            <p:nvPr/>
          </p:nvSpPr>
          <p:spPr bwMode="auto">
            <a:xfrm>
              <a:off x="3930650" y="2914650"/>
              <a:ext cx="1588" cy="3175"/>
            </a:xfrm>
            <a:custGeom>
              <a:avLst/>
              <a:gdLst>
                <a:gd name="T0" fmla="*/ 0 w 6"/>
                <a:gd name="T1" fmla="*/ 6 h 7"/>
                <a:gd name="T2" fmla="*/ 0 w 6"/>
                <a:gd name="T3" fmla="*/ 6 h 7"/>
                <a:gd name="T4" fmla="*/ 5 w 6"/>
                <a:gd name="T5" fmla="*/ 3 h 7"/>
                <a:gd name="T6" fmla="*/ 3 w 6"/>
                <a:gd name="T7" fmla="*/ 0 h 7"/>
                <a:gd name="T8" fmla="*/ 0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6"/>
                  </a:moveTo>
                  <a:lnTo>
                    <a:pt x="0" y="6"/>
                  </a:lnTo>
                  <a:cubicBezTo>
                    <a:pt x="3" y="6"/>
                    <a:pt x="5" y="6"/>
                    <a:pt x="5" y="3"/>
                  </a:cubicBezTo>
                  <a:cubicBezTo>
                    <a:pt x="5" y="3"/>
                    <a:pt x="3" y="3"/>
                    <a:pt x="3" y="0"/>
                  </a:cubicBezTo>
                  <a:cubicBezTo>
                    <a:pt x="3" y="3"/>
                    <a:pt x="0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6" name="Freeform 431"/>
            <p:cNvSpPr>
              <a:spLocks noChangeArrowheads="1"/>
            </p:cNvSpPr>
            <p:nvPr/>
          </p:nvSpPr>
          <p:spPr bwMode="auto">
            <a:xfrm>
              <a:off x="3933825" y="2730500"/>
              <a:ext cx="6350" cy="6350"/>
            </a:xfrm>
            <a:custGeom>
              <a:avLst/>
              <a:gdLst>
                <a:gd name="T0" fmla="*/ 14 w 18"/>
                <a:gd name="T1" fmla="*/ 6 h 18"/>
                <a:gd name="T2" fmla="*/ 3 w 18"/>
                <a:gd name="T3" fmla="*/ 11 h 18"/>
                <a:gd name="T4" fmla="*/ 14 w 18"/>
                <a:gd name="T5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8">
                  <a:moveTo>
                    <a:pt x="14" y="6"/>
                  </a:moveTo>
                  <a:cubicBezTo>
                    <a:pt x="12" y="0"/>
                    <a:pt x="0" y="3"/>
                    <a:pt x="3" y="11"/>
                  </a:cubicBezTo>
                  <a:cubicBezTo>
                    <a:pt x="6" y="17"/>
                    <a:pt x="17" y="17"/>
                    <a:pt x="14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7" name="Freeform 432"/>
            <p:cNvSpPr>
              <a:spLocks noChangeArrowheads="1"/>
            </p:cNvSpPr>
            <p:nvPr/>
          </p:nvSpPr>
          <p:spPr bwMode="auto">
            <a:xfrm>
              <a:off x="3932238" y="2800350"/>
              <a:ext cx="3175" cy="4763"/>
            </a:xfrm>
            <a:custGeom>
              <a:avLst/>
              <a:gdLst>
                <a:gd name="T0" fmla="*/ 0 w 10"/>
                <a:gd name="T1" fmla="*/ 2 h 15"/>
                <a:gd name="T2" fmla="*/ 6 w 10"/>
                <a:gd name="T3" fmla="*/ 14 h 15"/>
                <a:gd name="T4" fmla="*/ 9 w 10"/>
                <a:gd name="T5" fmla="*/ 5 h 15"/>
                <a:gd name="T6" fmla="*/ 6 w 10"/>
                <a:gd name="T7" fmla="*/ 0 h 15"/>
                <a:gd name="T8" fmla="*/ 0 w 10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0" y="2"/>
                  </a:moveTo>
                  <a:cubicBezTo>
                    <a:pt x="0" y="5"/>
                    <a:pt x="3" y="11"/>
                    <a:pt x="6" y="14"/>
                  </a:cubicBezTo>
                  <a:cubicBezTo>
                    <a:pt x="9" y="11"/>
                    <a:pt x="9" y="8"/>
                    <a:pt x="9" y="5"/>
                  </a:cubicBezTo>
                  <a:cubicBezTo>
                    <a:pt x="9" y="2"/>
                    <a:pt x="6" y="2"/>
                    <a:pt x="6" y="0"/>
                  </a:cubicBezTo>
                  <a:cubicBezTo>
                    <a:pt x="3" y="2"/>
                    <a:pt x="0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8" name="Freeform 433"/>
            <p:cNvSpPr>
              <a:spLocks noChangeArrowheads="1"/>
            </p:cNvSpPr>
            <p:nvPr/>
          </p:nvSpPr>
          <p:spPr bwMode="auto">
            <a:xfrm>
              <a:off x="3937000" y="2897188"/>
              <a:ext cx="3175" cy="4762"/>
            </a:xfrm>
            <a:custGeom>
              <a:avLst/>
              <a:gdLst>
                <a:gd name="T0" fmla="*/ 0 w 9"/>
                <a:gd name="T1" fmla="*/ 11 h 12"/>
                <a:gd name="T2" fmla="*/ 8 w 9"/>
                <a:gd name="T3" fmla="*/ 8 h 12"/>
                <a:gd name="T4" fmla="*/ 3 w 9"/>
                <a:gd name="T5" fmla="*/ 0 h 12"/>
                <a:gd name="T6" fmla="*/ 0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3" y="11"/>
                    <a:pt x="5" y="11"/>
                    <a:pt x="8" y="8"/>
                  </a:cubicBezTo>
                  <a:cubicBezTo>
                    <a:pt x="8" y="5"/>
                    <a:pt x="5" y="2"/>
                    <a:pt x="3" y="0"/>
                  </a:cubicBezTo>
                  <a:cubicBezTo>
                    <a:pt x="3" y="2"/>
                    <a:pt x="0" y="8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9" name="Freeform 434"/>
            <p:cNvSpPr>
              <a:spLocks noChangeArrowheads="1"/>
            </p:cNvSpPr>
            <p:nvPr/>
          </p:nvSpPr>
          <p:spPr bwMode="auto">
            <a:xfrm>
              <a:off x="3930650" y="2892425"/>
              <a:ext cx="4763" cy="7938"/>
            </a:xfrm>
            <a:custGeom>
              <a:avLst/>
              <a:gdLst>
                <a:gd name="T0" fmla="*/ 8 w 12"/>
                <a:gd name="T1" fmla="*/ 0 h 24"/>
                <a:gd name="T2" fmla="*/ 3 w 12"/>
                <a:gd name="T3" fmla="*/ 14 h 24"/>
                <a:gd name="T4" fmla="*/ 8 w 12"/>
                <a:gd name="T5" fmla="*/ 23 h 24"/>
                <a:gd name="T6" fmla="*/ 11 w 12"/>
                <a:gd name="T7" fmla="*/ 23 h 24"/>
                <a:gd name="T8" fmla="*/ 8 w 12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4">
                  <a:moveTo>
                    <a:pt x="8" y="0"/>
                  </a:moveTo>
                  <a:cubicBezTo>
                    <a:pt x="0" y="3"/>
                    <a:pt x="3" y="9"/>
                    <a:pt x="3" y="14"/>
                  </a:cubicBezTo>
                  <a:cubicBezTo>
                    <a:pt x="5" y="17"/>
                    <a:pt x="8" y="20"/>
                    <a:pt x="8" y="23"/>
                  </a:cubicBezTo>
                  <a:lnTo>
                    <a:pt x="11" y="23"/>
                  </a:lnTo>
                  <a:cubicBezTo>
                    <a:pt x="8" y="14"/>
                    <a:pt x="8" y="6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0" name="Freeform 435"/>
            <p:cNvSpPr>
              <a:spLocks noChangeArrowheads="1"/>
            </p:cNvSpPr>
            <p:nvPr/>
          </p:nvSpPr>
          <p:spPr bwMode="auto">
            <a:xfrm>
              <a:off x="3927475" y="2347913"/>
              <a:ext cx="11113" cy="9525"/>
            </a:xfrm>
            <a:custGeom>
              <a:avLst/>
              <a:gdLst>
                <a:gd name="T0" fmla="*/ 12 w 32"/>
                <a:gd name="T1" fmla="*/ 22 h 26"/>
                <a:gd name="T2" fmla="*/ 14 w 32"/>
                <a:gd name="T3" fmla="*/ 17 h 26"/>
                <a:gd name="T4" fmla="*/ 14 w 32"/>
                <a:gd name="T5" fmla="*/ 19 h 26"/>
                <a:gd name="T6" fmla="*/ 14 w 32"/>
                <a:gd name="T7" fmla="*/ 19 h 26"/>
                <a:gd name="T8" fmla="*/ 31 w 32"/>
                <a:gd name="T9" fmla="*/ 17 h 26"/>
                <a:gd name="T10" fmla="*/ 29 w 32"/>
                <a:gd name="T11" fmla="*/ 14 h 26"/>
                <a:gd name="T12" fmla="*/ 0 w 32"/>
                <a:gd name="T13" fmla="*/ 19 h 26"/>
                <a:gd name="T14" fmla="*/ 12 w 32"/>
                <a:gd name="T15" fmla="*/ 2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26">
                  <a:moveTo>
                    <a:pt x="12" y="22"/>
                  </a:moveTo>
                  <a:cubicBezTo>
                    <a:pt x="12" y="22"/>
                    <a:pt x="14" y="19"/>
                    <a:pt x="14" y="17"/>
                  </a:cubicBezTo>
                  <a:cubicBezTo>
                    <a:pt x="14" y="19"/>
                    <a:pt x="14" y="19"/>
                    <a:pt x="14" y="19"/>
                  </a:cubicBezTo>
                  <a:lnTo>
                    <a:pt x="14" y="19"/>
                  </a:lnTo>
                  <a:cubicBezTo>
                    <a:pt x="20" y="19"/>
                    <a:pt x="29" y="22"/>
                    <a:pt x="31" y="17"/>
                  </a:cubicBezTo>
                  <a:lnTo>
                    <a:pt x="29" y="14"/>
                  </a:lnTo>
                  <a:cubicBezTo>
                    <a:pt x="17" y="14"/>
                    <a:pt x="3" y="0"/>
                    <a:pt x="0" y="19"/>
                  </a:cubicBezTo>
                  <a:cubicBezTo>
                    <a:pt x="3" y="25"/>
                    <a:pt x="9" y="22"/>
                    <a:pt x="12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1" name="Freeform 436"/>
            <p:cNvSpPr>
              <a:spLocks noChangeArrowheads="1"/>
            </p:cNvSpPr>
            <p:nvPr/>
          </p:nvSpPr>
          <p:spPr bwMode="auto">
            <a:xfrm>
              <a:off x="3937000" y="2381250"/>
              <a:ext cx="7938" cy="4763"/>
            </a:xfrm>
            <a:custGeom>
              <a:avLst/>
              <a:gdLst>
                <a:gd name="T0" fmla="*/ 11 w 21"/>
                <a:gd name="T1" fmla="*/ 0 h 15"/>
                <a:gd name="T2" fmla="*/ 0 w 21"/>
                <a:gd name="T3" fmla="*/ 5 h 15"/>
                <a:gd name="T4" fmla="*/ 0 w 21"/>
                <a:gd name="T5" fmla="*/ 11 h 15"/>
                <a:gd name="T6" fmla="*/ 11 w 21"/>
                <a:gd name="T7" fmla="*/ 14 h 15"/>
                <a:gd name="T8" fmla="*/ 20 w 21"/>
                <a:gd name="T9" fmla="*/ 8 h 15"/>
                <a:gd name="T10" fmla="*/ 11 w 21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5">
                  <a:moveTo>
                    <a:pt x="11" y="0"/>
                  </a:moveTo>
                  <a:cubicBezTo>
                    <a:pt x="11" y="5"/>
                    <a:pt x="0" y="0"/>
                    <a:pt x="0" y="5"/>
                  </a:cubicBezTo>
                  <a:cubicBezTo>
                    <a:pt x="0" y="8"/>
                    <a:pt x="0" y="8"/>
                    <a:pt x="0" y="11"/>
                  </a:cubicBezTo>
                  <a:cubicBezTo>
                    <a:pt x="3" y="14"/>
                    <a:pt x="5" y="14"/>
                    <a:pt x="11" y="14"/>
                  </a:cubicBezTo>
                  <a:cubicBezTo>
                    <a:pt x="14" y="11"/>
                    <a:pt x="17" y="8"/>
                    <a:pt x="20" y="8"/>
                  </a:cubicBezTo>
                  <a:cubicBezTo>
                    <a:pt x="14" y="3"/>
                    <a:pt x="14" y="0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2" name="Freeform 437"/>
            <p:cNvSpPr>
              <a:spLocks noChangeArrowheads="1"/>
            </p:cNvSpPr>
            <p:nvPr/>
          </p:nvSpPr>
          <p:spPr bwMode="auto">
            <a:xfrm>
              <a:off x="3932238" y="2436813"/>
              <a:ext cx="3175" cy="3175"/>
            </a:xfrm>
            <a:custGeom>
              <a:avLst/>
              <a:gdLst>
                <a:gd name="T0" fmla="*/ 0 w 9"/>
                <a:gd name="T1" fmla="*/ 6 h 7"/>
                <a:gd name="T2" fmla="*/ 5 w 9"/>
                <a:gd name="T3" fmla="*/ 0 h 7"/>
                <a:gd name="T4" fmla="*/ 0 w 9"/>
                <a:gd name="T5" fmla="*/ 0 h 7"/>
                <a:gd name="T6" fmla="*/ 0 w 9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0" y="6"/>
                  </a:moveTo>
                  <a:cubicBezTo>
                    <a:pt x="2" y="6"/>
                    <a:pt x="8" y="6"/>
                    <a:pt x="5" y="0"/>
                  </a:cubicBezTo>
                  <a:cubicBezTo>
                    <a:pt x="2" y="0"/>
                    <a:pt x="0" y="0"/>
                    <a:pt x="0" y="0"/>
                  </a:cubicBezTo>
                  <a:cubicBezTo>
                    <a:pt x="0" y="3"/>
                    <a:pt x="0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3" name="Freeform 438"/>
            <p:cNvSpPr>
              <a:spLocks noChangeArrowheads="1"/>
            </p:cNvSpPr>
            <p:nvPr/>
          </p:nvSpPr>
          <p:spPr bwMode="auto">
            <a:xfrm>
              <a:off x="3895725" y="2838450"/>
              <a:ext cx="9525" cy="4763"/>
            </a:xfrm>
            <a:custGeom>
              <a:avLst/>
              <a:gdLst>
                <a:gd name="T0" fmla="*/ 22 w 26"/>
                <a:gd name="T1" fmla="*/ 8 h 12"/>
                <a:gd name="T2" fmla="*/ 25 w 26"/>
                <a:gd name="T3" fmla="*/ 3 h 12"/>
                <a:gd name="T4" fmla="*/ 25 w 26"/>
                <a:gd name="T5" fmla="*/ 3 h 12"/>
                <a:gd name="T6" fmla="*/ 8 w 26"/>
                <a:gd name="T7" fmla="*/ 0 h 12"/>
                <a:gd name="T8" fmla="*/ 3 w 26"/>
                <a:gd name="T9" fmla="*/ 3 h 12"/>
                <a:gd name="T10" fmla="*/ 0 w 26"/>
                <a:gd name="T11" fmla="*/ 6 h 12"/>
                <a:gd name="T12" fmla="*/ 0 w 26"/>
                <a:gd name="T13" fmla="*/ 11 h 12"/>
                <a:gd name="T14" fmla="*/ 22 w 26"/>
                <a:gd name="T1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2">
                  <a:moveTo>
                    <a:pt x="22" y="8"/>
                  </a:moveTo>
                  <a:cubicBezTo>
                    <a:pt x="22" y="6"/>
                    <a:pt x="22" y="6"/>
                    <a:pt x="25" y="3"/>
                  </a:cubicBezTo>
                  <a:lnTo>
                    <a:pt x="25" y="3"/>
                  </a:lnTo>
                  <a:cubicBezTo>
                    <a:pt x="17" y="6"/>
                    <a:pt x="17" y="3"/>
                    <a:pt x="8" y="0"/>
                  </a:cubicBezTo>
                  <a:cubicBezTo>
                    <a:pt x="6" y="0"/>
                    <a:pt x="6" y="3"/>
                    <a:pt x="3" y="3"/>
                  </a:cubicBezTo>
                  <a:lnTo>
                    <a:pt x="0" y="6"/>
                  </a:lnTo>
                  <a:cubicBezTo>
                    <a:pt x="0" y="8"/>
                    <a:pt x="0" y="8"/>
                    <a:pt x="0" y="11"/>
                  </a:cubicBezTo>
                  <a:cubicBezTo>
                    <a:pt x="6" y="11"/>
                    <a:pt x="17" y="8"/>
                    <a:pt x="22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4" name="Freeform 439"/>
            <p:cNvSpPr>
              <a:spLocks noChangeArrowheads="1"/>
            </p:cNvSpPr>
            <p:nvPr/>
          </p:nvSpPr>
          <p:spPr bwMode="auto">
            <a:xfrm>
              <a:off x="3900488" y="2692400"/>
              <a:ext cx="6350" cy="1588"/>
            </a:xfrm>
            <a:custGeom>
              <a:avLst/>
              <a:gdLst>
                <a:gd name="T0" fmla="*/ 0 w 18"/>
                <a:gd name="T1" fmla="*/ 5 h 6"/>
                <a:gd name="T2" fmla="*/ 17 w 18"/>
                <a:gd name="T3" fmla="*/ 2 h 6"/>
                <a:gd name="T4" fmla="*/ 3 w 18"/>
                <a:gd name="T5" fmla="*/ 0 h 6"/>
                <a:gd name="T6" fmla="*/ 0 w 18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0" y="5"/>
                  </a:moveTo>
                  <a:cubicBezTo>
                    <a:pt x="6" y="5"/>
                    <a:pt x="14" y="5"/>
                    <a:pt x="17" y="2"/>
                  </a:cubicBezTo>
                  <a:cubicBezTo>
                    <a:pt x="14" y="0"/>
                    <a:pt x="8" y="0"/>
                    <a:pt x="3" y="0"/>
                  </a:cubicBezTo>
                  <a:cubicBezTo>
                    <a:pt x="0" y="0"/>
                    <a:pt x="0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5" name="Freeform 440"/>
            <p:cNvSpPr>
              <a:spLocks noChangeArrowheads="1"/>
            </p:cNvSpPr>
            <p:nvPr/>
          </p:nvSpPr>
          <p:spPr bwMode="auto">
            <a:xfrm>
              <a:off x="3886200" y="2282825"/>
              <a:ext cx="6350" cy="7938"/>
            </a:xfrm>
            <a:custGeom>
              <a:avLst/>
              <a:gdLst>
                <a:gd name="T0" fmla="*/ 0 w 16"/>
                <a:gd name="T1" fmla="*/ 0 h 21"/>
                <a:gd name="T2" fmla="*/ 0 w 16"/>
                <a:gd name="T3" fmla="*/ 6 h 21"/>
                <a:gd name="T4" fmla="*/ 6 w 16"/>
                <a:gd name="T5" fmla="*/ 9 h 21"/>
                <a:gd name="T6" fmla="*/ 6 w 16"/>
                <a:gd name="T7" fmla="*/ 20 h 21"/>
                <a:gd name="T8" fmla="*/ 15 w 16"/>
                <a:gd name="T9" fmla="*/ 14 h 21"/>
                <a:gd name="T10" fmla="*/ 0 w 16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1">
                  <a:moveTo>
                    <a:pt x="0" y="0"/>
                  </a:moveTo>
                  <a:cubicBezTo>
                    <a:pt x="0" y="3"/>
                    <a:pt x="0" y="6"/>
                    <a:pt x="0" y="6"/>
                  </a:cubicBezTo>
                  <a:lnTo>
                    <a:pt x="6" y="9"/>
                  </a:lnTo>
                  <a:cubicBezTo>
                    <a:pt x="6" y="11"/>
                    <a:pt x="6" y="17"/>
                    <a:pt x="6" y="20"/>
                  </a:cubicBezTo>
                  <a:cubicBezTo>
                    <a:pt x="9" y="20"/>
                    <a:pt x="12" y="17"/>
                    <a:pt x="15" y="14"/>
                  </a:cubicBezTo>
                  <a:cubicBezTo>
                    <a:pt x="9" y="9"/>
                    <a:pt x="6" y="6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6" name="Freeform 441"/>
            <p:cNvSpPr>
              <a:spLocks noChangeArrowheads="1"/>
            </p:cNvSpPr>
            <p:nvPr/>
          </p:nvSpPr>
          <p:spPr bwMode="auto">
            <a:xfrm>
              <a:off x="3886200" y="2363788"/>
              <a:ext cx="3175" cy="4762"/>
            </a:xfrm>
            <a:custGeom>
              <a:avLst/>
              <a:gdLst>
                <a:gd name="T0" fmla="*/ 0 w 10"/>
                <a:gd name="T1" fmla="*/ 0 h 12"/>
                <a:gd name="T2" fmla="*/ 3 w 10"/>
                <a:gd name="T3" fmla="*/ 11 h 12"/>
                <a:gd name="T4" fmla="*/ 9 w 10"/>
                <a:gd name="T5" fmla="*/ 5 h 12"/>
                <a:gd name="T6" fmla="*/ 0 w 10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0" y="0"/>
                  </a:moveTo>
                  <a:cubicBezTo>
                    <a:pt x="0" y="2"/>
                    <a:pt x="3" y="5"/>
                    <a:pt x="3" y="11"/>
                  </a:cubicBezTo>
                  <a:cubicBezTo>
                    <a:pt x="6" y="11"/>
                    <a:pt x="9" y="8"/>
                    <a:pt x="9" y="5"/>
                  </a:cubicBezTo>
                  <a:cubicBezTo>
                    <a:pt x="3" y="5"/>
                    <a:pt x="0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7" name="Freeform 442"/>
            <p:cNvSpPr>
              <a:spLocks noChangeArrowheads="1"/>
            </p:cNvSpPr>
            <p:nvPr/>
          </p:nvSpPr>
          <p:spPr bwMode="auto">
            <a:xfrm>
              <a:off x="3889375" y="3014663"/>
              <a:ext cx="1588" cy="3175"/>
            </a:xfrm>
            <a:custGeom>
              <a:avLst/>
              <a:gdLst>
                <a:gd name="T0" fmla="*/ 0 w 4"/>
                <a:gd name="T1" fmla="*/ 0 h 9"/>
                <a:gd name="T2" fmla="*/ 0 w 4"/>
                <a:gd name="T3" fmla="*/ 8 h 9"/>
                <a:gd name="T4" fmla="*/ 3 w 4"/>
                <a:gd name="T5" fmla="*/ 8 h 9"/>
                <a:gd name="T6" fmla="*/ 0 w 4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0" y="0"/>
                  </a:moveTo>
                  <a:cubicBezTo>
                    <a:pt x="0" y="3"/>
                    <a:pt x="0" y="6"/>
                    <a:pt x="0" y="8"/>
                  </a:cubicBezTo>
                  <a:lnTo>
                    <a:pt x="3" y="8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8" name="Freeform 443"/>
            <p:cNvSpPr>
              <a:spLocks noChangeArrowheads="1"/>
            </p:cNvSpPr>
            <p:nvPr/>
          </p:nvSpPr>
          <p:spPr bwMode="auto">
            <a:xfrm>
              <a:off x="3900488" y="3019425"/>
              <a:ext cx="4762" cy="3175"/>
            </a:xfrm>
            <a:custGeom>
              <a:avLst/>
              <a:gdLst>
                <a:gd name="T0" fmla="*/ 6 w 12"/>
                <a:gd name="T1" fmla="*/ 0 h 7"/>
                <a:gd name="T2" fmla="*/ 0 w 12"/>
                <a:gd name="T3" fmla="*/ 3 h 7"/>
                <a:gd name="T4" fmla="*/ 8 w 12"/>
                <a:gd name="T5" fmla="*/ 6 h 7"/>
                <a:gd name="T6" fmla="*/ 11 w 12"/>
                <a:gd name="T7" fmla="*/ 6 h 7"/>
                <a:gd name="T8" fmla="*/ 6 w 12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6" y="0"/>
                  </a:moveTo>
                  <a:cubicBezTo>
                    <a:pt x="3" y="0"/>
                    <a:pt x="3" y="3"/>
                    <a:pt x="0" y="3"/>
                  </a:cubicBezTo>
                  <a:cubicBezTo>
                    <a:pt x="0" y="6"/>
                    <a:pt x="3" y="6"/>
                    <a:pt x="8" y="6"/>
                  </a:cubicBezTo>
                  <a:lnTo>
                    <a:pt x="11" y="6"/>
                  </a:lnTo>
                  <a:cubicBezTo>
                    <a:pt x="11" y="3"/>
                    <a:pt x="8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9" name="Freeform 444"/>
            <p:cNvSpPr>
              <a:spLocks noChangeArrowheads="1"/>
            </p:cNvSpPr>
            <p:nvPr/>
          </p:nvSpPr>
          <p:spPr bwMode="auto">
            <a:xfrm>
              <a:off x="3910013" y="3027363"/>
              <a:ext cx="1587" cy="1587"/>
            </a:xfrm>
            <a:custGeom>
              <a:avLst/>
              <a:gdLst>
                <a:gd name="T0" fmla="*/ 0 w 6"/>
                <a:gd name="T1" fmla="*/ 5 h 6"/>
                <a:gd name="T2" fmla="*/ 5 w 6"/>
                <a:gd name="T3" fmla="*/ 2 h 6"/>
                <a:gd name="T4" fmla="*/ 0 w 6"/>
                <a:gd name="T5" fmla="*/ 0 h 6"/>
                <a:gd name="T6" fmla="*/ 0 w 6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5"/>
                  </a:moveTo>
                  <a:cubicBezTo>
                    <a:pt x="2" y="5"/>
                    <a:pt x="5" y="2"/>
                    <a:pt x="5" y="2"/>
                  </a:cubicBezTo>
                  <a:cubicBezTo>
                    <a:pt x="2" y="0"/>
                    <a:pt x="2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0" name="Freeform 445"/>
            <p:cNvSpPr>
              <a:spLocks noChangeArrowheads="1"/>
            </p:cNvSpPr>
            <p:nvPr/>
          </p:nvSpPr>
          <p:spPr bwMode="auto">
            <a:xfrm>
              <a:off x="3911600" y="2882900"/>
              <a:ext cx="3175" cy="1588"/>
            </a:xfrm>
            <a:custGeom>
              <a:avLst/>
              <a:gdLst>
                <a:gd name="T0" fmla="*/ 3 w 10"/>
                <a:gd name="T1" fmla="*/ 3 h 4"/>
                <a:gd name="T2" fmla="*/ 9 w 10"/>
                <a:gd name="T3" fmla="*/ 3 h 4"/>
                <a:gd name="T4" fmla="*/ 0 w 10"/>
                <a:gd name="T5" fmla="*/ 0 h 4"/>
                <a:gd name="T6" fmla="*/ 3 w 10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4">
                  <a:moveTo>
                    <a:pt x="3" y="3"/>
                  </a:moveTo>
                  <a:lnTo>
                    <a:pt x="9" y="3"/>
                  </a:lnTo>
                  <a:cubicBezTo>
                    <a:pt x="6" y="3"/>
                    <a:pt x="3" y="0"/>
                    <a:pt x="0" y="0"/>
                  </a:cubicBezTo>
                  <a:cubicBezTo>
                    <a:pt x="0" y="3"/>
                    <a:pt x="0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1" name="Freeform 446"/>
            <p:cNvSpPr>
              <a:spLocks noChangeArrowheads="1"/>
            </p:cNvSpPr>
            <p:nvPr/>
          </p:nvSpPr>
          <p:spPr bwMode="auto">
            <a:xfrm>
              <a:off x="3910013" y="3030538"/>
              <a:ext cx="1587" cy="1587"/>
            </a:xfrm>
            <a:custGeom>
              <a:avLst/>
              <a:gdLst>
                <a:gd name="T0" fmla="*/ 0 w 6"/>
                <a:gd name="T1" fmla="*/ 3 h 4"/>
                <a:gd name="T2" fmla="*/ 2 w 6"/>
                <a:gd name="T3" fmla="*/ 3 h 4"/>
                <a:gd name="T4" fmla="*/ 5 w 6"/>
                <a:gd name="T5" fmla="*/ 0 h 4"/>
                <a:gd name="T6" fmla="*/ 5 w 6"/>
                <a:gd name="T7" fmla="*/ 0 h 4"/>
                <a:gd name="T8" fmla="*/ 0 w 6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3"/>
                  </a:moveTo>
                  <a:lnTo>
                    <a:pt x="2" y="3"/>
                  </a:lnTo>
                  <a:lnTo>
                    <a:pt x="5" y="0"/>
                  </a:lnTo>
                  <a:lnTo>
                    <a:pt x="5" y="0"/>
                  </a:lnTo>
                  <a:cubicBezTo>
                    <a:pt x="2" y="3"/>
                    <a:pt x="2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2" name="Freeform 447"/>
            <p:cNvSpPr>
              <a:spLocks noChangeArrowheads="1"/>
            </p:cNvSpPr>
            <p:nvPr/>
          </p:nvSpPr>
          <p:spPr bwMode="auto">
            <a:xfrm>
              <a:off x="3903663" y="2757488"/>
              <a:ext cx="6350" cy="4762"/>
            </a:xfrm>
            <a:custGeom>
              <a:avLst/>
              <a:gdLst>
                <a:gd name="T0" fmla="*/ 3 w 16"/>
                <a:gd name="T1" fmla="*/ 12 h 13"/>
                <a:gd name="T2" fmla="*/ 12 w 16"/>
                <a:gd name="T3" fmla="*/ 0 h 13"/>
                <a:gd name="T4" fmla="*/ 3 w 16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3" y="12"/>
                  </a:moveTo>
                  <a:cubicBezTo>
                    <a:pt x="9" y="12"/>
                    <a:pt x="15" y="9"/>
                    <a:pt x="12" y="0"/>
                  </a:cubicBezTo>
                  <a:cubicBezTo>
                    <a:pt x="6" y="0"/>
                    <a:pt x="0" y="0"/>
                    <a:pt x="3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3" name="Freeform 448"/>
            <p:cNvSpPr>
              <a:spLocks noChangeArrowheads="1"/>
            </p:cNvSpPr>
            <p:nvPr/>
          </p:nvSpPr>
          <p:spPr bwMode="auto">
            <a:xfrm>
              <a:off x="3910013" y="2238375"/>
              <a:ext cx="6350" cy="11113"/>
            </a:xfrm>
            <a:custGeom>
              <a:avLst/>
              <a:gdLst>
                <a:gd name="T0" fmla="*/ 17 w 18"/>
                <a:gd name="T1" fmla="*/ 8 h 29"/>
                <a:gd name="T2" fmla="*/ 14 w 18"/>
                <a:gd name="T3" fmla="*/ 0 h 29"/>
                <a:gd name="T4" fmla="*/ 8 w 18"/>
                <a:gd name="T5" fmla="*/ 0 h 29"/>
                <a:gd name="T6" fmla="*/ 0 w 18"/>
                <a:gd name="T7" fmla="*/ 17 h 29"/>
                <a:gd name="T8" fmla="*/ 2 w 18"/>
                <a:gd name="T9" fmla="*/ 17 h 29"/>
                <a:gd name="T10" fmla="*/ 14 w 18"/>
                <a:gd name="T11" fmla="*/ 8 h 29"/>
                <a:gd name="T12" fmla="*/ 5 w 18"/>
                <a:gd name="T13" fmla="*/ 25 h 29"/>
                <a:gd name="T14" fmla="*/ 17 w 18"/>
                <a:gd name="T15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9">
                  <a:moveTo>
                    <a:pt x="17" y="8"/>
                  </a:moveTo>
                  <a:cubicBezTo>
                    <a:pt x="17" y="5"/>
                    <a:pt x="17" y="3"/>
                    <a:pt x="14" y="0"/>
                  </a:cubicBezTo>
                  <a:lnTo>
                    <a:pt x="8" y="0"/>
                  </a:lnTo>
                  <a:cubicBezTo>
                    <a:pt x="5" y="5"/>
                    <a:pt x="2" y="11"/>
                    <a:pt x="0" y="17"/>
                  </a:cubicBezTo>
                  <a:cubicBezTo>
                    <a:pt x="0" y="17"/>
                    <a:pt x="0" y="17"/>
                    <a:pt x="2" y="17"/>
                  </a:cubicBezTo>
                  <a:cubicBezTo>
                    <a:pt x="5" y="14"/>
                    <a:pt x="5" y="8"/>
                    <a:pt x="14" y="8"/>
                  </a:cubicBezTo>
                  <a:cubicBezTo>
                    <a:pt x="14" y="14"/>
                    <a:pt x="11" y="20"/>
                    <a:pt x="5" y="25"/>
                  </a:cubicBezTo>
                  <a:cubicBezTo>
                    <a:pt x="11" y="28"/>
                    <a:pt x="14" y="17"/>
                    <a:pt x="17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4" name="Freeform 449"/>
            <p:cNvSpPr>
              <a:spLocks noChangeArrowheads="1"/>
            </p:cNvSpPr>
            <p:nvPr/>
          </p:nvSpPr>
          <p:spPr bwMode="auto">
            <a:xfrm>
              <a:off x="3960813" y="2740025"/>
              <a:ext cx="7937" cy="4763"/>
            </a:xfrm>
            <a:custGeom>
              <a:avLst/>
              <a:gdLst>
                <a:gd name="T0" fmla="*/ 12 w 21"/>
                <a:gd name="T1" fmla="*/ 14 h 15"/>
                <a:gd name="T2" fmla="*/ 17 w 21"/>
                <a:gd name="T3" fmla="*/ 9 h 15"/>
                <a:gd name="T4" fmla="*/ 20 w 21"/>
                <a:gd name="T5" fmla="*/ 3 h 15"/>
                <a:gd name="T6" fmla="*/ 15 w 21"/>
                <a:gd name="T7" fmla="*/ 0 h 15"/>
                <a:gd name="T8" fmla="*/ 12 w 21"/>
                <a:gd name="T9" fmla="*/ 3 h 15"/>
                <a:gd name="T10" fmla="*/ 12 w 21"/>
                <a:gd name="T11" fmla="*/ 3 h 15"/>
                <a:gd name="T12" fmla="*/ 6 w 21"/>
                <a:gd name="T13" fmla="*/ 6 h 15"/>
                <a:gd name="T14" fmla="*/ 0 w 21"/>
                <a:gd name="T15" fmla="*/ 0 h 15"/>
                <a:gd name="T16" fmla="*/ 0 w 21"/>
                <a:gd name="T17" fmla="*/ 9 h 15"/>
                <a:gd name="T18" fmla="*/ 3 w 21"/>
                <a:gd name="T19" fmla="*/ 9 h 15"/>
                <a:gd name="T20" fmla="*/ 12 w 21"/>
                <a:gd name="T21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5">
                  <a:moveTo>
                    <a:pt x="12" y="14"/>
                  </a:moveTo>
                  <a:cubicBezTo>
                    <a:pt x="12" y="11"/>
                    <a:pt x="15" y="9"/>
                    <a:pt x="17" y="9"/>
                  </a:cubicBezTo>
                  <a:cubicBezTo>
                    <a:pt x="17" y="6"/>
                    <a:pt x="20" y="6"/>
                    <a:pt x="20" y="3"/>
                  </a:cubicBezTo>
                  <a:cubicBezTo>
                    <a:pt x="17" y="3"/>
                    <a:pt x="17" y="0"/>
                    <a:pt x="15" y="0"/>
                  </a:cubicBezTo>
                  <a:cubicBezTo>
                    <a:pt x="15" y="0"/>
                    <a:pt x="15" y="3"/>
                    <a:pt x="12" y="3"/>
                  </a:cubicBezTo>
                  <a:lnTo>
                    <a:pt x="12" y="3"/>
                  </a:lnTo>
                  <a:cubicBezTo>
                    <a:pt x="9" y="3"/>
                    <a:pt x="9" y="6"/>
                    <a:pt x="6" y="6"/>
                  </a:cubicBezTo>
                  <a:cubicBezTo>
                    <a:pt x="3" y="6"/>
                    <a:pt x="3" y="3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0" y="9"/>
                    <a:pt x="0" y="9"/>
                    <a:pt x="3" y="9"/>
                  </a:cubicBezTo>
                  <a:cubicBezTo>
                    <a:pt x="6" y="9"/>
                    <a:pt x="6" y="11"/>
                    <a:pt x="12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5" name="Freeform 450"/>
            <p:cNvSpPr>
              <a:spLocks noChangeArrowheads="1"/>
            </p:cNvSpPr>
            <p:nvPr/>
          </p:nvSpPr>
          <p:spPr bwMode="auto">
            <a:xfrm>
              <a:off x="3959225" y="2587625"/>
              <a:ext cx="4763" cy="3175"/>
            </a:xfrm>
            <a:custGeom>
              <a:avLst/>
              <a:gdLst>
                <a:gd name="T0" fmla="*/ 11 w 12"/>
                <a:gd name="T1" fmla="*/ 3 h 10"/>
                <a:gd name="T2" fmla="*/ 5 w 12"/>
                <a:gd name="T3" fmla="*/ 0 h 10"/>
                <a:gd name="T4" fmla="*/ 11 w 12"/>
                <a:gd name="T5" fmla="*/ 6 h 10"/>
                <a:gd name="T6" fmla="*/ 11 w 12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1" y="3"/>
                  </a:moveTo>
                  <a:cubicBezTo>
                    <a:pt x="11" y="3"/>
                    <a:pt x="8" y="0"/>
                    <a:pt x="5" y="0"/>
                  </a:cubicBezTo>
                  <a:cubicBezTo>
                    <a:pt x="2" y="3"/>
                    <a:pt x="0" y="9"/>
                    <a:pt x="11" y="6"/>
                  </a:cubicBezTo>
                  <a:lnTo>
                    <a:pt x="11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6" name="Freeform 451"/>
            <p:cNvSpPr>
              <a:spLocks noChangeArrowheads="1"/>
            </p:cNvSpPr>
            <p:nvPr/>
          </p:nvSpPr>
          <p:spPr bwMode="auto">
            <a:xfrm>
              <a:off x="3965575" y="2511425"/>
              <a:ext cx="3175" cy="4763"/>
            </a:xfrm>
            <a:custGeom>
              <a:avLst/>
              <a:gdLst>
                <a:gd name="T0" fmla="*/ 0 w 9"/>
                <a:gd name="T1" fmla="*/ 11 h 15"/>
                <a:gd name="T2" fmla="*/ 0 w 9"/>
                <a:gd name="T3" fmla="*/ 11 h 15"/>
                <a:gd name="T4" fmla="*/ 3 w 9"/>
                <a:gd name="T5" fmla="*/ 0 h 15"/>
                <a:gd name="T6" fmla="*/ 0 w 9"/>
                <a:gd name="T7" fmla="*/ 0 h 15"/>
                <a:gd name="T8" fmla="*/ 0 w 9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0" y="11"/>
                  </a:moveTo>
                  <a:lnTo>
                    <a:pt x="0" y="11"/>
                  </a:lnTo>
                  <a:cubicBezTo>
                    <a:pt x="8" y="14"/>
                    <a:pt x="8" y="2"/>
                    <a:pt x="3" y="0"/>
                  </a:cubicBezTo>
                  <a:cubicBezTo>
                    <a:pt x="3" y="0"/>
                    <a:pt x="3" y="0"/>
                    <a:pt x="0" y="0"/>
                  </a:cubicBezTo>
                  <a:cubicBezTo>
                    <a:pt x="0" y="2"/>
                    <a:pt x="3" y="8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7" name="Freeform 452"/>
            <p:cNvSpPr>
              <a:spLocks noChangeArrowheads="1"/>
            </p:cNvSpPr>
            <p:nvPr/>
          </p:nvSpPr>
          <p:spPr bwMode="auto">
            <a:xfrm>
              <a:off x="3959225" y="270033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0 h 4"/>
                <a:gd name="T4" fmla="*/ 0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0"/>
                    <a:pt x="0" y="0"/>
                    <a:pt x="0" y="0"/>
                  </a:cubicBezTo>
                  <a:lnTo>
                    <a:pt x="0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8" name="Freeform 453"/>
            <p:cNvSpPr>
              <a:spLocks noChangeArrowheads="1"/>
            </p:cNvSpPr>
            <p:nvPr/>
          </p:nvSpPr>
          <p:spPr bwMode="auto">
            <a:xfrm>
              <a:off x="3952875" y="3033713"/>
              <a:ext cx="3175" cy="3175"/>
            </a:xfrm>
            <a:custGeom>
              <a:avLst/>
              <a:gdLst>
                <a:gd name="T0" fmla="*/ 3 w 7"/>
                <a:gd name="T1" fmla="*/ 6 h 7"/>
                <a:gd name="T2" fmla="*/ 6 w 7"/>
                <a:gd name="T3" fmla="*/ 0 h 7"/>
                <a:gd name="T4" fmla="*/ 0 w 7"/>
                <a:gd name="T5" fmla="*/ 0 h 7"/>
                <a:gd name="T6" fmla="*/ 3 w 7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3" y="6"/>
                  </a:moveTo>
                  <a:cubicBezTo>
                    <a:pt x="6" y="3"/>
                    <a:pt x="6" y="0"/>
                    <a:pt x="6" y="0"/>
                  </a:cubicBezTo>
                  <a:cubicBezTo>
                    <a:pt x="3" y="0"/>
                    <a:pt x="3" y="0"/>
                    <a:pt x="0" y="0"/>
                  </a:cubicBezTo>
                  <a:cubicBezTo>
                    <a:pt x="0" y="0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9" name="Freeform 454"/>
            <p:cNvSpPr>
              <a:spLocks noChangeArrowheads="1"/>
            </p:cNvSpPr>
            <p:nvPr/>
          </p:nvSpPr>
          <p:spPr bwMode="auto">
            <a:xfrm>
              <a:off x="3956050" y="2590800"/>
              <a:ext cx="3175" cy="3175"/>
            </a:xfrm>
            <a:custGeom>
              <a:avLst/>
              <a:gdLst>
                <a:gd name="T0" fmla="*/ 0 w 7"/>
                <a:gd name="T1" fmla="*/ 9 h 10"/>
                <a:gd name="T2" fmla="*/ 3 w 7"/>
                <a:gd name="T3" fmla="*/ 0 h 10"/>
                <a:gd name="T4" fmla="*/ 0 w 7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0">
                  <a:moveTo>
                    <a:pt x="0" y="9"/>
                  </a:moveTo>
                  <a:cubicBezTo>
                    <a:pt x="6" y="6"/>
                    <a:pt x="6" y="3"/>
                    <a:pt x="3" y="0"/>
                  </a:cubicBezTo>
                  <a:cubicBezTo>
                    <a:pt x="3" y="3"/>
                    <a:pt x="0" y="6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0" name="Freeform 455"/>
            <p:cNvSpPr>
              <a:spLocks noChangeArrowheads="1"/>
            </p:cNvSpPr>
            <p:nvPr/>
          </p:nvSpPr>
          <p:spPr bwMode="auto">
            <a:xfrm>
              <a:off x="3973513" y="2719388"/>
              <a:ext cx="3175" cy="3175"/>
            </a:xfrm>
            <a:custGeom>
              <a:avLst/>
              <a:gdLst>
                <a:gd name="T0" fmla="*/ 3 w 10"/>
                <a:gd name="T1" fmla="*/ 6 h 7"/>
                <a:gd name="T2" fmla="*/ 9 w 10"/>
                <a:gd name="T3" fmla="*/ 0 h 7"/>
                <a:gd name="T4" fmla="*/ 3 w 10"/>
                <a:gd name="T5" fmla="*/ 0 h 7"/>
                <a:gd name="T6" fmla="*/ 3 w 10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3" y="6"/>
                  </a:moveTo>
                  <a:cubicBezTo>
                    <a:pt x="3" y="3"/>
                    <a:pt x="6" y="3"/>
                    <a:pt x="9" y="0"/>
                  </a:cubicBezTo>
                  <a:lnTo>
                    <a:pt x="3" y="0"/>
                  </a:lnTo>
                  <a:cubicBezTo>
                    <a:pt x="0" y="0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1" name="Freeform 456"/>
            <p:cNvSpPr>
              <a:spLocks noChangeArrowheads="1"/>
            </p:cNvSpPr>
            <p:nvPr/>
          </p:nvSpPr>
          <p:spPr bwMode="auto">
            <a:xfrm>
              <a:off x="3946525" y="2928938"/>
              <a:ext cx="6350" cy="4762"/>
            </a:xfrm>
            <a:custGeom>
              <a:avLst/>
              <a:gdLst>
                <a:gd name="T0" fmla="*/ 8 w 18"/>
                <a:gd name="T1" fmla="*/ 11 h 12"/>
                <a:gd name="T2" fmla="*/ 17 w 18"/>
                <a:gd name="T3" fmla="*/ 3 h 12"/>
                <a:gd name="T4" fmla="*/ 11 w 18"/>
                <a:gd name="T5" fmla="*/ 0 h 12"/>
                <a:gd name="T6" fmla="*/ 8 w 18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2">
                  <a:moveTo>
                    <a:pt x="8" y="11"/>
                  </a:moveTo>
                  <a:cubicBezTo>
                    <a:pt x="17" y="11"/>
                    <a:pt x="17" y="6"/>
                    <a:pt x="17" y="3"/>
                  </a:cubicBezTo>
                  <a:cubicBezTo>
                    <a:pt x="14" y="0"/>
                    <a:pt x="14" y="0"/>
                    <a:pt x="11" y="0"/>
                  </a:cubicBezTo>
                  <a:cubicBezTo>
                    <a:pt x="8" y="3"/>
                    <a:pt x="0" y="6"/>
                    <a:pt x="8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2" name="Freeform 457"/>
            <p:cNvSpPr>
              <a:spLocks noChangeArrowheads="1"/>
            </p:cNvSpPr>
            <p:nvPr/>
          </p:nvSpPr>
          <p:spPr bwMode="auto">
            <a:xfrm>
              <a:off x="3973513" y="2370138"/>
              <a:ext cx="4762" cy="1587"/>
            </a:xfrm>
            <a:custGeom>
              <a:avLst/>
              <a:gdLst>
                <a:gd name="T0" fmla="*/ 3 w 15"/>
                <a:gd name="T1" fmla="*/ 5 h 6"/>
                <a:gd name="T2" fmla="*/ 14 w 15"/>
                <a:gd name="T3" fmla="*/ 3 h 6"/>
                <a:gd name="T4" fmla="*/ 12 w 15"/>
                <a:gd name="T5" fmla="*/ 0 h 6"/>
                <a:gd name="T6" fmla="*/ 3 w 15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6">
                  <a:moveTo>
                    <a:pt x="3" y="5"/>
                  </a:moveTo>
                  <a:cubicBezTo>
                    <a:pt x="9" y="5"/>
                    <a:pt x="12" y="5"/>
                    <a:pt x="14" y="3"/>
                  </a:cubicBezTo>
                  <a:lnTo>
                    <a:pt x="12" y="0"/>
                  </a:lnTo>
                  <a:cubicBezTo>
                    <a:pt x="6" y="0"/>
                    <a:pt x="0" y="0"/>
                    <a:pt x="3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3" name="Freeform 458"/>
            <p:cNvSpPr>
              <a:spLocks noChangeArrowheads="1"/>
            </p:cNvSpPr>
            <p:nvPr/>
          </p:nvSpPr>
          <p:spPr bwMode="auto">
            <a:xfrm>
              <a:off x="3965575" y="2987675"/>
              <a:ext cx="6350" cy="6350"/>
            </a:xfrm>
            <a:custGeom>
              <a:avLst/>
              <a:gdLst>
                <a:gd name="T0" fmla="*/ 8 w 18"/>
                <a:gd name="T1" fmla="*/ 0 h 18"/>
                <a:gd name="T2" fmla="*/ 8 w 18"/>
                <a:gd name="T3" fmla="*/ 0 h 18"/>
                <a:gd name="T4" fmla="*/ 8 w 18"/>
                <a:gd name="T5" fmla="*/ 17 h 18"/>
                <a:gd name="T6" fmla="*/ 14 w 18"/>
                <a:gd name="T7" fmla="*/ 0 h 18"/>
                <a:gd name="T8" fmla="*/ 14 w 18"/>
                <a:gd name="T9" fmla="*/ 0 h 18"/>
                <a:gd name="T10" fmla="*/ 8 w 18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cubicBezTo>
                    <a:pt x="0" y="5"/>
                    <a:pt x="5" y="11"/>
                    <a:pt x="8" y="17"/>
                  </a:cubicBezTo>
                  <a:cubicBezTo>
                    <a:pt x="14" y="14"/>
                    <a:pt x="17" y="5"/>
                    <a:pt x="14" y="0"/>
                  </a:cubicBezTo>
                  <a:lnTo>
                    <a:pt x="14" y="0"/>
                  </a:lnTo>
                  <a:cubicBezTo>
                    <a:pt x="11" y="0"/>
                    <a:pt x="8" y="0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4" name="Freeform 459"/>
            <p:cNvSpPr>
              <a:spLocks noChangeArrowheads="1"/>
            </p:cNvSpPr>
            <p:nvPr/>
          </p:nvSpPr>
          <p:spPr bwMode="auto">
            <a:xfrm>
              <a:off x="3965575" y="2778125"/>
              <a:ext cx="3175" cy="4763"/>
            </a:xfrm>
            <a:custGeom>
              <a:avLst/>
              <a:gdLst>
                <a:gd name="T0" fmla="*/ 5 w 9"/>
                <a:gd name="T1" fmla="*/ 0 h 15"/>
                <a:gd name="T2" fmla="*/ 0 w 9"/>
                <a:gd name="T3" fmla="*/ 5 h 15"/>
                <a:gd name="T4" fmla="*/ 3 w 9"/>
                <a:gd name="T5" fmla="*/ 11 h 15"/>
                <a:gd name="T6" fmla="*/ 5 w 9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5">
                  <a:moveTo>
                    <a:pt x="5" y="0"/>
                  </a:moveTo>
                  <a:cubicBezTo>
                    <a:pt x="3" y="0"/>
                    <a:pt x="8" y="11"/>
                    <a:pt x="0" y="5"/>
                  </a:cubicBezTo>
                  <a:cubicBezTo>
                    <a:pt x="0" y="8"/>
                    <a:pt x="0" y="11"/>
                    <a:pt x="3" y="11"/>
                  </a:cubicBezTo>
                  <a:cubicBezTo>
                    <a:pt x="5" y="14"/>
                    <a:pt x="5" y="8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5" name="Freeform 460"/>
            <p:cNvSpPr>
              <a:spLocks noChangeArrowheads="1"/>
            </p:cNvSpPr>
            <p:nvPr/>
          </p:nvSpPr>
          <p:spPr bwMode="auto">
            <a:xfrm>
              <a:off x="3959225" y="2408238"/>
              <a:ext cx="14288" cy="22225"/>
            </a:xfrm>
            <a:custGeom>
              <a:avLst/>
              <a:gdLst>
                <a:gd name="T0" fmla="*/ 31 w 38"/>
                <a:gd name="T1" fmla="*/ 6 h 63"/>
                <a:gd name="T2" fmla="*/ 25 w 38"/>
                <a:gd name="T3" fmla="*/ 20 h 63"/>
                <a:gd name="T4" fmla="*/ 22 w 38"/>
                <a:gd name="T5" fmla="*/ 20 h 63"/>
                <a:gd name="T6" fmla="*/ 20 w 38"/>
                <a:gd name="T7" fmla="*/ 20 h 63"/>
                <a:gd name="T8" fmla="*/ 14 w 38"/>
                <a:gd name="T9" fmla="*/ 25 h 63"/>
                <a:gd name="T10" fmla="*/ 3 w 38"/>
                <a:gd name="T11" fmla="*/ 25 h 63"/>
                <a:gd name="T12" fmla="*/ 0 w 38"/>
                <a:gd name="T13" fmla="*/ 53 h 63"/>
                <a:gd name="T14" fmla="*/ 0 w 38"/>
                <a:gd name="T15" fmla="*/ 59 h 63"/>
                <a:gd name="T16" fmla="*/ 8 w 38"/>
                <a:gd name="T17" fmla="*/ 62 h 63"/>
                <a:gd name="T18" fmla="*/ 20 w 38"/>
                <a:gd name="T19" fmla="*/ 45 h 63"/>
                <a:gd name="T20" fmla="*/ 28 w 38"/>
                <a:gd name="T21" fmla="*/ 42 h 63"/>
                <a:gd name="T22" fmla="*/ 22 w 38"/>
                <a:gd name="T23" fmla="*/ 25 h 63"/>
                <a:gd name="T24" fmla="*/ 31 w 38"/>
                <a:gd name="T25" fmla="*/ 17 h 63"/>
                <a:gd name="T26" fmla="*/ 31 w 38"/>
                <a:gd name="T27" fmla="*/ 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63">
                  <a:moveTo>
                    <a:pt x="31" y="6"/>
                  </a:moveTo>
                  <a:cubicBezTo>
                    <a:pt x="31" y="11"/>
                    <a:pt x="31" y="17"/>
                    <a:pt x="25" y="20"/>
                  </a:cubicBezTo>
                  <a:lnTo>
                    <a:pt x="22" y="20"/>
                  </a:lnTo>
                  <a:lnTo>
                    <a:pt x="20" y="20"/>
                  </a:lnTo>
                  <a:cubicBezTo>
                    <a:pt x="20" y="22"/>
                    <a:pt x="17" y="25"/>
                    <a:pt x="14" y="25"/>
                  </a:cubicBezTo>
                  <a:cubicBezTo>
                    <a:pt x="11" y="25"/>
                    <a:pt x="3" y="28"/>
                    <a:pt x="3" y="25"/>
                  </a:cubicBezTo>
                  <a:cubicBezTo>
                    <a:pt x="0" y="34"/>
                    <a:pt x="0" y="42"/>
                    <a:pt x="0" y="53"/>
                  </a:cubicBezTo>
                  <a:lnTo>
                    <a:pt x="0" y="59"/>
                  </a:lnTo>
                  <a:cubicBezTo>
                    <a:pt x="3" y="59"/>
                    <a:pt x="5" y="62"/>
                    <a:pt x="8" y="62"/>
                  </a:cubicBezTo>
                  <a:cubicBezTo>
                    <a:pt x="14" y="56"/>
                    <a:pt x="11" y="48"/>
                    <a:pt x="20" y="45"/>
                  </a:cubicBezTo>
                  <a:cubicBezTo>
                    <a:pt x="22" y="45"/>
                    <a:pt x="25" y="45"/>
                    <a:pt x="28" y="42"/>
                  </a:cubicBezTo>
                  <a:cubicBezTo>
                    <a:pt x="28" y="37"/>
                    <a:pt x="25" y="34"/>
                    <a:pt x="22" y="25"/>
                  </a:cubicBezTo>
                  <a:lnTo>
                    <a:pt x="31" y="17"/>
                  </a:lnTo>
                  <a:cubicBezTo>
                    <a:pt x="31" y="11"/>
                    <a:pt x="37" y="0"/>
                    <a:pt x="31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6" name="Freeform 461"/>
            <p:cNvSpPr>
              <a:spLocks noChangeArrowheads="1"/>
            </p:cNvSpPr>
            <p:nvPr/>
          </p:nvSpPr>
          <p:spPr bwMode="auto">
            <a:xfrm>
              <a:off x="3965575" y="2430463"/>
              <a:ext cx="1588" cy="3175"/>
            </a:xfrm>
            <a:custGeom>
              <a:avLst/>
              <a:gdLst>
                <a:gd name="T0" fmla="*/ 0 w 3"/>
                <a:gd name="T1" fmla="*/ 0 h 7"/>
                <a:gd name="T2" fmla="*/ 0 w 3"/>
                <a:gd name="T3" fmla="*/ 6 h 7"/>
                <a:gd name="T4" fmla="*/ 2 w 3"/>
                <a:gd name="T5" fmla="*/ 0 h 7"/>
                <a:gd name="T6" fmla="*/ 0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0" y="3"/>
                    <a:pt x="2" y="3"/>
                    <a:pt x="2" y="0"/>
                  </a:cubicBezTo>
                  <a:cubicBezTo>
                    <a:pt x="2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7" name="Freeform 462"/>
            <p:cNvSpPr>
              <a:spLocks noChangeArrowheads="1"/>
            </p:cNvSpPr>
            <p:nvPr/>
          </p:nvSpPr>
          <p:spPr bwMode="auto">
            <a:xfrm>
              <a:off x="3971925" y="2863850"/>
              <a:ext cx="1588" cy="1588"/>
            </a:xfrm>
            <a:custGeom>
              <a:avLst/>
              <a:gdLst>
                <a:gd name="T0" fmla="*/ 2 w 3"/>
                <a:gd name="T1" fmla="*/ 3 h 4"/>
                <a:gd name="T2" fmla="*/ 2 w 3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3"/>
                  </a:moveTo>
                  <a:cubicBezTo>
                    <a:pt x="2" y="3"/>
                    <a:pt x="0" y="0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8" name="Freeform 463"/>
            <p:cNvSpPr>
              <a:spLocks noChangeArrowheads="1"/>
            </p:cNvSpPr>
            <p:nvPr/>
          </p:nvSpPr>
          <p:spPr bwMode="auto">
            <a:xfrm>
              <a:off x="3957638" y="2344738"/>
              <a:ext cx="12700" cy="11112"/>
            </a:xfrm>
            <a:custGeom>
              <a:avLst/>
              <a:gdLst>
                <a:gd name="T0" fmla="*/ 0 w 35"/>
                <a:gd name="T1" fmla="*/ 9 h 29"/>
                <a:gd name="T2" fmla="*/ 3 w 35"/>
                <a:gd name="T3" fmla="*/ 26 h 29"/>
                <a:gd name="T4" fmla="*/ 14 w 35"/>
                <a:gd name="T5" fmla="*/ 9 h 29"/>
                <a:gd name="T6" fmla="*/ 20 w 35"/>
                <a:gd name="T7" fmla="*/ 20 h 29"/>
                <a:gd name="T8" fmla="*/ 23 w 35"/>
                <a:gd name="T9" fmla="*/ 20 h 29"/>
                <a:gd name="T10" fmla="*/ 31 w 35"/>
                <a:gd name="T11" fmla="*/ 28 h 29"/>
                <a:gd name="T12" fmla="*/ 34 w 35"/>
                <a:gd name="T13" fmla="*/ 17 h 29"/>
                <a:gd name="T14" fmla="*/ 28 w 35"/>
                <a:gd name="T15" fmla="*/ 6 h 29"/>
                <a:gd name="T16" fmla="*/ 20 w 35"/>
                <a:gd name="T17" fmla="*/ 3 h 29"/>
                <a:gd name="T18" fmla="*/ 17 w 35"/>
                <a:gd name="T19" fmla="*/ 0 h 29"/>
                <a:gd name="T20" fmla="*/ 17 w 35"/>
                <a:gd name="T21" fmla="*/ 0 h 29"/>
                <a:gd name="T22" fmla="*/ 20 w 35"/>
                <a:gd name="T23" fmla="*/ 9 h 29"/>
                <a:gd name="T24" fmla="*/ 0 w 35"/>
                <a:gd name="T25" fmla="*/ 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29">
                  <a:moveTo>
                    <a:pt x="0" y="9"/>
                  </a:moveTo>
                  <a:cubicBezTo>
                    <a:pt x="0" y="14"/>
                    <a:pt x="0" y="23"/>
                    <a:pt x="3" y="26"/>
                  </a:cubicBezTo>
                  <a:cubicBezTo>
                    <a:pt x="8" y="20"/>
                    <a:pt x="11" y="14"/>
                    <a:pt x="14" y="9"/>
                  </a:cubicBezTo>
                  <a:cubicBezTo>
                    <a:pt x="17" y="11"/>
                    <a:pt x="20" y="14"/>
                    <a:pt x="20" y="20"/>
                  </a:cubicBezTo>
                  <a:cubicBezTo>
                    <a:pt x="20" y="20"/>
                    <a:pt x="20" y="20"/>
                    <a:pt x="23" y="20"/>
                  </a:cubicBezTo>
                  <a:cubicBezTo>
                    <a:pt x="28" y="20"/>
                    <a:pt x="25" y="28"/>
                    <a:pt x="31" y="28"/>
                  </a:cubicBezTo>
                  <a:cubicBezTo>
                    <a:pt x="31" y="26"/>
                    <a:pt x="31" y="20"/>
                    <a:pt x="34" y="17"/>
                  </a:cubicBezTo>
                  <a:cubicBezTo>
                    <a:pt x="31" y="14"/>
                    <a:pt x="31" y="9"/>
                    <a:pt x="28" y="6"/>
                  </a:cubicBezTo>
                  <a:cubicBezTo>
                    <a:pt x="28" y="6"/>
                    <a:pt x="23" y="3"/>
                    <a:pt x="20" y="3"/>
                  </a:cubicBezTo>
                  <a:lnTo>
                    <a:pt x="17" y="0"/>
                  </a:lnTo>
                  <a:lnTo>
                    <a:pt x="17" y="0"/>
                  </a:lnTo>
                  <a:cubicBezTo>
                    <a:pt x="14" y="3"/>
                    <a:pt x="20" y="6"/>
                    <a:pt x="20" y="9"/>
                  </a:cubicBezTo>
                  <a:cubicBezTo>
                    <a:pt x="14" y="9"/>
                    <a:pt x="8" y="9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9" name="Freeform 464"/>
            <p:cNvSpPr>
              <a:spLocks noChangeArrowheads="1"/>
            </p:cNvSpPr>
            <p:nvPr/>
          </p:nvSpPr>
          <p:spPr bwMode="auto">
            <a:xfrm>
              <a:off x="3956050" y="2386013"/>
              <a:ext cx="12700" cy="19050"/>
            </a:xfrm>
            <a:custGeom>
              <a:avLst/>
              <a:gdLst>
                <a:gd name="T0" fmla="*/ 9 w 35"/>
                <a:gd name="T1" fmla="*/ 51 h 52"/>
                <a:gd name="T2" fmla="*/ 23 w 35"/>
                <a:gd name="T3" fmla="*/ 48 h 52"/>
                <a:gd name="T4" fmla="*/ 23 w 35"/>
                <a:gd name="T5" fmla="*/ 31 h 52"/>
                <a:gd name="T6" fmla="*/ 31 w 35"/>
                <a:gd name="T7" fmla="*/ 36 h 52"/>
                <a:gd name="T8" fmla="*/ 34 w 35"/>
                <a:gd name="T9" fmla="*/ 22 h 52"/>
                <a:gd name="T10" fmla="*/ 29 w 35"/>
                <a:gd name="T11" fmla="*/ 14 h 52"/>
                <a:gd name="T12" fmla="*/ 34 w 35"/>
                <a:gd name="T13" fmla="*/ 0 h 52"/>
                <a:gd name="T14" fmla="*/ 6 w 35"/>
                <a:gd name="T15" fmla="*/ 8 h 52"/>
                <a:gd name="T16" fmla="*/ 3 w 35"/>
                <a:gd name="T17" fmla="*/ 11 h 52"/>
                <a:gd name="T18" fmla="*/ 12 w 35"/>
                <a:gd name="T19" fmla="*/ 20 h 52"/>
                <a:gd name="T20" fmla="*/ 9 w 35"/>
                <a:gd name="T21" fmla="*/ 22 h 52"/>
                <a:gd name="T22" fmla="*/ 14 w 35"/>
                <a:gd name="T23" fmla="*/ 25 h 52"/>
                <a:gd name="T24" fmla="*/ 17 w 35"/>
                <a:gd name="T25" fmla="*/ 34 h 52"/>
                <a:gd name="T26" fmla="*/ 6 w 35"/>
                <a:gd name="T27" fmla="*/ 31 h 52"/>
                <a:gd name="T28" fmla="*/ 0 w 35"/>
                <a:gd name="T29" fmla="*/ 42 h 52"/>
                <a:gd name="T30" fmla="*/ 9 w 35"/>
                <a:gd name="T31" fmla="*/ 5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52">
                  <a:moveTo>
                    <a:pt x="9" y="51"/>
                  </a:moveTo>
                  <a:cubicBezTo>
                    <a:pt x="14" y="51"/>
                    <a:pt x="14" y="45"/>
                    <a:pt x="23" y="48"/>
                  </a:cubicBezTo>
                  <a:cubicBezTo>
                    <a:pt x="23" y="42"/>
                    <a:pt x="17" y="34"/>
                    <a:pt x="23" y="31"/>
                  </a:cubicBezTo>
                  <a:cubicBezTo>
                    <a:pt x="31" y="28"/>
                    <a:pt x="26" y="39"/>
                    <a:pt x="31" y="36"/>
                  </a:cubicBezTo>
                  <a:cubicBezTo>
                    <a:pt x="31" y="31"/>
                    <a:pt x="31" y="28"/>
                    <a:pt x="34" y="22"/>
                  </a:cubicBezTo>
                  <a:cubicBezTo>
                    <a:pt x="31" y="20"/>
                    <a:pt x="31" y="17"/>
                    <a:pt x="29" y="14"/>
                  </a:cubicBezTo>
                  <a:cubicBezTo>
                    <a:pt x="29" y="8"/>
                    <a:pt x="34" y="5"/>
                    <a:pt x="34" y="0"/>
                  </a:cubicBezTo>
                  <a:cubicBezTo>
                    <a:pt x="23" y="3"/>
                    <a:pt x="17" y="11"/>
                    <a:pt x="6" y="8"/>
                  </a:cubicBezTo>
                  <a:lnTo>
                    <a:pt x="3" y="11"/>
                  </a:lnTo>
                  <a:cubicBezTo>
                    <a:pt x="6" y="14"/>
                    <a:pt x="9" y="14"/>
                    <a:pt x="12" y="20"/>
                  </a:cubicBezTo>
                  <a:cubicBezTo>
                    <a:pt x="12" y="20"/>
                    <a:pt x="9" y="20"/>
                    <a:pt x="9" y="22"/>
                  </a:cubicBezTo>
                  <a:cubicBezTo>
                    <a:pt x="9" y="22"/>
                    <a:pt x="14" y="22"/>
                    <a:pt x="14" y="25"/>
                  </a:cubicBezTo>
                  <a:cubicBezTo>
                    <a:pt x="17" y="28"/>
                    <a:pt x="14" y="31"/>
                    <a:pt x="17" y="34"/>
                  </a:cubicBezTo>
                  <a:cubicBezTo>
                    <a:pt x="12" y="34"/>
                    <a:pt x="12" y="31"/>
                    <a:pt x="6" y="31"/>
                  </a:cubicBezTo>
                  <a:cubicBezTo>
                    <a:pt x="6" y="36"/>
                    <a:pt x="3" y="39"/>
                    <a:pt x="0" y="42"/>
                  </a:cubicBezTo>
                  <a:cubicBezTo>
                    <a:pt x="6" y="45"/>
                    <a:pt x="9" y="48"/>
                    <a:pt x="9" y="5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0" name="Freeform 465"/>
            <p:cNvSpPr>
              <a:spLocks noChangeArrowheads="1"/>
            </p:cNvSpPr>
            <p:nvPr/>
          </p:nvSpPr>
          <p:spPr bwMode="auto">
            <a:xfrm>
              <a:off x="3963988" y="2338388"/>
              <a:ext cx="1587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3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1" name="Freeform 466"/>
            <p:cNvSpPr>
              <a:spLocks noChangeArrowheads="1"/>
            </p:cNvSpPr>
            <p:nvPr/>
          </p:nvSpPr>
          <p:spPr bwMode="auto">
            <a:xfrm>
              <a:off x="3946525" y="2932113"/>
              <a:ext cx="6350" cy="4762"/>
            </a:xfrm>
            <a:custGeom>
              <a:avLst/>
              <a:gdLst>
                <a:gd name="T0" fmla="*/ 0 w 18"/>
                <a:gd name="T1" fmla="*/ 3 h 15"/>
                <a:gd name="T2" fmla="*/ 0 w 18"/>
                <a:gd name="T3" fmla="*/ 12 h 15"/>
                <a:gd name="T4" fmla="*/ 14 w 18"/>
                <a:gd name="T5" fmla="*/ 9 h 15"/>
                <a:gd name="T6" fmla="*/ 17 w 18"/>
                <a:gd name="T7" fmla="*/ 6 h 15"/>
                <a:gd name="T8" fmla="*/ 0 w 18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0" y="3"/>
                  </a:moveTo>
                  <a:cubicBezTo>
                    <a:pt x="0" y="6"/>
                    <a:pt x="0" y="9"/>
                    <a:pt x="0" y="12"/>
                  </a:cubicBezTo>
                  <a:cubicBezTo>
                    <a:pt x="6" y="14"/>
                    <a:pt x="11" y="12"/>
                    <a:pt x="14" y="9"/>
                  </a:cubicBezTo>
                  <a:cubicBezTo>
                    <a:pt x="14" y="9"/>
                    <a:pt x="14" y="6"/>
                    <a:pt x="17" y="6"/>
                  </a:cubicBezTo>
                  <a:cubicBezTo>
                    <a:pt x="11" y="0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2" name="Freeform 467"/>
            <p:cNvSpPr>
              <a:spLocks noChangeArrowheads="1"/>
            </p:cNvSpPr>
            <p:nvPr/>
          </p:nvSpPr>
          <p:spPr bwMode="auto">
            <a:xfrm>
              <a:off x="3962400" y="2400300"/>
              <a:ext cx="7938" cy="9525"/>
            </a:xfrm>
            <a:custGeom>
              <a:avLst/>
              <a:gdLst>
                <a:gd name="T0" fmla="*/ 20 w 24"/>
                <a:gd name="T1" fmla="*/ 3 h 27"/>
                <a:gd name="T2" fmla="*/ 3 w 24"/>
                <a:gd name="T3" fmla="*/ 17 h 27"/>
                <a:gd name="T4" fmla="*/ 0 w 24"/>
                <a:gd name="T5" fmla="*/ 20 h 27"/>
                <a:gd name="T6" fmla="*/ 6 w 24"/>
                <a:gd name="T7" fmla="*/ 26 h 27"/>
                <a:gd name="T8" fmla="*/ 20 w 24"/>
                <a:gd name="T9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7">
                  <a:moveTo>
                    <a:pt x="20" y="3"/>
                  </a:moveTo>
                  <a:cubicBezTo>
                    <a:pt x="9" y="0"/>
                    <a:pt x="9" y="11"/>
                    <a:pt x="3" y="17"/>
                  </a:cubicBezTo>
                  <a:lnTo>
                    <a:pt x="0" y="20"/>
                  </a:lnTo>
                  <a:cubicBezTo>
                    <a:pt x="3" y="23"/>
                    <a:pt x="3" y="23"/>
                    <a:pt x="6" y="26"/>
                  </a:cubicBezTo>
                  <a:cubicBezTo>
                    <a:pt x="14" y="20"/>
                    <a:pt x="23" y="14"/>
                    <a:pt x="2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3" name="Freeform 468"/>
            <p:cNvSpPr>
              <a:spLocks noChangeArrowheads="1"/>
            </p:cNvSpPr>
            <p:nvPr/>
          </p:nvSpPr>
          <p:spPr bwMode="auto">
            <a:xfrm>
              <a:off x="3944938" y="2406650"/>
              <a:ext cx="4762" cy="4763"/>
            </a:xfrm>
            <a:custGeom>
              <a:avLst/>
              <a:gdLst>
                <a:gd name="T0" fmla="*/ 6 w 13"/>
                <a:gd name="T1" fmla="*/ 14 h 15"/>
                <a:gd name="T2" fmla="*/ 12 w 13"/>
                <a:gd name="T3" fmla="*/ 12 h 15"/>
                <a:gd name="T4" fmla="*/ 6 w 13"/>
                <a:gd name="T5" fmla="*/ 0 h 15"/>
                <a:gd name="T6" fmla="*/ 0 w 13"/>
                <a:gd name="T7" fmla="*/ 9 h 15"/>
                <a:gd name="T8" fmla="*/ 6 w 13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6" y="14"/>
                  </a:moveTo>
                  <a:cubicBezTo>
                    <a:pt x="9" y="14"/>
                    <a:pt x="12" y="12"/>
                    <a:pt x="12" y="12"/>
                  </a:cubicBezTo>
                  <a:cubicBezTo>
                    <a:pt x="9" y="9"/>
                    <a:pt x="9" y="3"/>
                    <a:pt x="6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3" y="12"/>
                    <a:pt x="3" y="12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4" name="Freeform 469"/>
            <p:cNvSpPr>
              <a:spLocks noChangeArrowheads="1"/>
            </p:cNvSpPr>
            <p:nvPr/>
          </p:nvSpPr>
          <p:spPr bwMode="auto">
            <a:xfrm>
              <a:off x="3965575" y="2355850"/>
              <a:ext cx="3175" cy="3175"/>
            </a:xfrm>
            <a:custGeom>
              <a:avLst/>
              <a:gdLst>
                <a:gd name="T0" fmla="*/ 0 w 9"/>
                <a:gd name="T1" fmla="*/ 0 h 9"/>
                <a:gd name="T2" fmla="*/ 0 w 9"/>
                <a:gd name="T3" fmla="*/ 6 h 9"/>
                <a:gd name="T4" fmla="*/ 0 w 9"/>
                <a:gd name="T5" fmla="*/ 8 h 9"/>
                <a:gd name="T6" fmla="*/ 8 w 9"/>
                <a:gd name="T7" fmla="*/ 3 h 9"/>
                <a:gd name="T8" fmla="*/ 0 w 9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0" y="6"/>
                    <a:pt x="0" y="6"/>
                    <a:pt x="0" y="8"/>
                  </a:cubicBezTo>
                  <a:cubicBezTo>
                    <a:pt x="3" y="8"/>
                    <a:pt x="5" y="6"/>
                    <a:pt x="8" y="3"/>
                  </a:cubicBezTo>
                  <a:cubicBezTo>
                    <a:pt x="5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5" name="Freeform 470"/>
            <p:cNvSpPr>
              <a:spLocks noChangeArrowheads="1"/>
            </p:cNvSpPr>
            <p:nvPr/>
          </p:nvSpPr>
          <p:spPr bwMode="auto">
            <a:xfrm>
              <a:off x="3944938" y="2724150"/>
              <a:ext cx="3175" cy="3175"/>
            </a:xfrm>
            <a:custGeom>
              <a:avLst/>
              <a:gdLst>
                <a:gd name="T0" fmla="*/ 0 w 7"/>
                <a:gd name="T1" fmla="*/ 6 h 7"/>
                <a:gd name="T2" fmla="*/ 6 w 7"/>
                <a:gd name="T3" fmla="*/ 3 h 7"/>
                <a:gd name="T4" fmla="*/ 6 w 7"/>
                <a:gd name="T5" fmla="*/ 0 h 7"/>
                <a:gd name="T6" fmla="*/ 0 w 7"/>
                <a:gd name="T7" fmla="*/ 0 h 7"/>
                <a:gd name="T8" fmla="*/ 0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6"/>
                  </a:moveTo>
                  <a:cubicBezTo>
                    <a:pt x="3" y="6"/>
                    <a:pt x="3" y="6"/>
                    <a:pt x="6" y="3"/>
                  </a:cubicBez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6" name="Freeform 471"/>
            <p:cNvSpPr>
              <a:spLocks noChangeArrowheads="1"/>
            </p:cNvSpPr>
            <p:nvPr/>
          </p:nvSpPr>
          <p:spPr bwMode="auto">
            <a:xfrm>
              <a:off x="3944938" y="2687638"/>
              <a:ext cx="4762" cy="4762"/>
            </a:xfrm>
            <a:custGeom>
              <a:avLst/>
              <a:gdLst>
                <a:gd name="T0" fmla="*/ 6 w 12"/>
                <a:gd name="T1" fmla="*/ 0 h 13"/>
                <a:gd name="T2" fmla="*/ 0 w 12"/>
                <a:gd name="T3" fmla="*/ 9 h 13"/>
                <a:gd name="T4" fmla="*/ 6 w 12"/>
                <a:gd name="T5" fmla="*/ 12 h 13"/>
                <a:gd name="T6" fmla="*/ 9 w 12"/>
                <a:gd name="T7" fmla="*/ 6 h 13"/>
                <a:gd name="T8" fmla="*/ 6 w 12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6" y="0"/>
                  </a:moveTo>
                  <a:cubicBezTo>
                    <a:pt x="3" y="3"/>
                    <a:pt x="3" y="6"/>
                    <a:pt x="0" y="9"/>
                  </a:cubicBezTo>
                  <a:cubicBezTo>
                    <a:pt x="3" y="9"/>
                    <a:pt x="3" y="9"/>
                    <a:pt x="6" y="12"/>
                  </a:cubicBezTo>
                  <a:cubicBezTo>
                    <a:pt x="9" y="12"/>
                    <a:pt x="9" y="9"/>
                    <a:pt x="9" y="6"/>
                  </a:cubicBezTo>
                  <a:cubicBezTo>
                    <a:pt x="11" y="6"/>
                    <a:pt x="9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7" name="Freeform 472"/>
            <p:cNvSpPr>
              <a:spLocks noChangeArrowheads="1"/>
            </p:cNvSpPr>
            <p:nvPr/>
          </p:nvSpPr>
          <p:spPr bwMode="auto">
            <a:xfrm>
              <a:off x="3952875" y="2366963"/>
              <a:ext cx="9525" cy="7937"/>
            </a:xfrm>
            <a:custGeom>
              <a:avLst/>
              <a:gdLst>
                <a:gd name="T0" fmla="*/ 0 w 26"/>
                <a:gd name="T1" fmla="*/ 20 h 24"/>
                <a:gd name="T2" fmla="*/ 14 w 26"/>
                <a:gd name="T3" fmla="*/ 23 h 24"/>
                <a:gd name="T4" fmla="*/ 25 w 26"/>
                <a:gd name="T5" fmla="*/ 11 h 24"/>
                <a:gd name="T6" fmla="*/ 17 w 26"/>
                <a:gd name="T7" fmla="*/ 0 h 24"/>
                <a:gd name="T8" fmla="*/ 0 w 26"/>
                <a:gd name="T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4">
                  <a:moveTo>
                    <a:pt x="0" y="20"/>
                  </a:moveTo>
                  <a:cubicBezTo>
                    <a:pt x="3" y="23"/>
                    <a:pt x="11" y="20"/>
                    <a:pt x="14" y="23"/>
                  </a:cubicBezTo>
                  <a:cubicBezTo>
                    <a:pt x="17" y="17"/>
                    <a:pt x="20" y="14"/>
                    <a:pt x="25" y="11"/>
                  </a:cubicBezTo>
                  <a:cubicBezTo>
                    <a:pt x="25" y="6"/>
                    <a:pt x="22" y="3"/>
                    <a:pt x="17" y="0"/>
                  </a:cubicBezTo>
                  <a:cubicBezTo>
                    <a:pt x="8" y="6"/>
                    <a:pt x="6" y="14"/>
                    <a:pt x="0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8" name="Freeform 473"/>
            <p:cNvSpPr>
              <a:spLocks noChangeArrowheads="1"/>
            </p:cNvSpPr>
            <p:nvPr/>
          </p:nvSpPr>
          <p:spPr bwMode="auto">
            <a:xfrm>
              <a:off x="3948113" y="2352675"/>
              <a:ext cx="6350" cy="4763"/>
            </a:xfrm>
            <a:custGeom>
              <a:avLst/>
              <a:gdLst>
                <a:gd name="T0" fmla="*/ 0 w 18"/>
                <a:gd name="T1" fmla="*/ 8 h 12"/>
                <a:gd name="T2" fmla="*/ 11 w 18"/>
                <a:gd name="T3" fmla="*/ 11 h 12"/>
                <a:gd name="T4" fmla="*/ 14 w 18"/>
                <a:gd name="T5" fmla="*/ 0 h 12"/>
                <a:gd name="T6" fmla="*/ 0 w 18"/>
                <a:gd name="T7" fmla="*/ 0 h 12"/>
                <a:gd name="T8" fmla="*/ 0 w 18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0" y="8"/>
                  </a:moveTo>
                  <a:cubicBezTo>
                    <a:pt x="2" y="11"/>
                    <a:pt x="8" y="11"/>
                    <a:pt x="11" y="11"/>
                  </a:cubicBezTo>
                  <a:cubicBezTo>
                    <a:pt x="11" y="5"/>
                    <a:pt x="17" y="5"/>
                    <a:pt x="14" y="0"/>
                  </a:cubicBez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9" name="Freeform 474"/>
            <p:cNvSpPr>
              <a:spLocks noChangeArrowheads="1"/>
            </p:cNvSpPr>
            <p:nvPr/>
          </p:nvSpPr>
          <p:spPr bwMode="auto">
            <a:xfrm>
              <a:off x="3948113" y="2752725"/>
              <a:ext cx="1587" cy="1588"/>
            </a:xfrm>
            <a:custGeom>
              <a:avLst/>
              <a:gdLst>
                <a:gd name="T0" fmla="*/ 5 w 6"/>
                <a:gd name="T1" fmla="*/ 0 h 4"/>
                <a:gd name="T2" fmla="*/ 0 w 6"/>
                <a:gd name="T3" fmla="*/ 0 h 4"/>
                <a:gd name="T4" fmla="*/ 0 w 6"/>
                <a:gd name="T5" fmla="*/ 3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2" y="0"/>
                    <a:pt x="2" y="0"/>
                    <a:pt x="0" y="0"/>
                  </a:cubicBezTo>
                  <a:lnTo>
                    <a:pt x="0" y="3"/>
                  </a:lnTo>
                  <a:cubicBezTo>
                    <a:pt x="2" y="3"/>
                    <a:pt x="2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0" name="Freeform 475"/>
            <p:cNvSpPr>
              <a:spLocks noChangeArrowheads="1"/>
            </p:cNvSpPr>
            <p:nvPr/>
          </p:nvSpPr>
          <p:spPr bwMode="auto">
            <a:xfrm>
              <a:off x="3948113" y="2357438"/>
              <a:ext cx="4762" cy="4762"/>
            </a:xfrm>
            <a:custGeom>
              <a:avLst/>
              <a:gdLst>
                <a:gd name="T0" fmla="*/ 0 w 12"/>
                <a:gd name="T1" fmla="*/ 5 h 15"/>
                <a:gd name="T2" fmla="*/ 11 w 12"/>
                <a:gd name="T3" fmla="*/ 11 h 15"/>
                <a:gd name="T4" fmla="*/ 0 w 12"/>
                <a:gd name="T5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0" y="5"/>
                  </a:moveTo>
                  <a:cubicBezTo>
                    <a:pt x="5" y="5"/>
                    <a:pt x="3" y="14"/>
                    <a:pt x="11" y="11"/>
                  </a:cubicBezTo>
                  <a:cubicBezTo>
                    <a:pt x="11" y="5"/>
                    <a:pt x="0" y="0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1" name="Freeform 476"/>
            <p:cNvSpPr>
              <a:spLocks noChangeArrowheads="1"/>
            </p:cNvSpPr>
            <p:nvPr/>
          </p:nvSpPr>
          <p:spPr bwMode="auto">
            <a:xfrm>
              <a:off x="3759200" y="2627313"/>
              <a:ext cx="4763" cy="4762"/>
            </a:xfrm>
            <a:custGeom>
              <a:avLst/>
              <a:gdLst>
                <a:gd name="T0" fmla="*/ 0 w 12"/>
                <a:gd name="T1" fmla="*/ 11 h 12"/>
                <a:gd name="T2" fmla="*/ 0 w 12"/>
                <a:gd name="T3" fmla="*/ 9 h 12"/>
                <a:gd name="T4" fmla="*/ 0 w 12"/>
                <a:gd name="T5" fmla="*/ 11 h 12"/>
                <a:gd name="T6" fmla="*/ 6 w 12"/>
                <a:gd name="T7" fmla="*/ 9 h 12"/>
                <a:gd name="T8" fmla="*/ 3 w 12"/>
                <a:gd name="T9" fmla="*/ 11 h 12"/>
                <a:gd name="T10" fmla="*/ 11 w 12"/>
                <a:gd name="T11" fmla="*/ 11 h 12"/>
                <a:gd name="T12" fmla="*/ 11 w 12"/>
                <a:gd name="T13" fmla="*/ 6 h 12"/>
                <a:gd name="T14" fmla="*/ 8 w 12"/>
                <a:gd name="T15" fmla="*/ 3 h 12"/>
                <a:gd name="T16" fmla="*/ 0 w 12"/>
                <a:gd name="T17" fmla="*/ 9 h 12"/>
                <a:gd name="T18" fmla="*/ 6 w 12"/>
                <a:gd name="T1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0" y="11"/>
                  </a:moveTo>
                  <a:cubicBezTo>
                    <a:pt x="0" y="11"/>
                    <a:pt x="0" y="10"/>
                    <a:pt x="0" y="9"/>
                  </a:cubicBezTo>
                  <a:cubicBezTo>
                    <a:pt x="0" y="10"/>
                    <a:pt x="0" y="11"/>
                    <a:pt x="0" y="11"/>
                  </a:cubicBezTo>
                  <a:close/>
                  <a:moveTo>
                    <a:pt x="6" y="9"/>
                  </a:moveTo>
                  <a:lnTo>
                    <a:pt x="3" y="11"/>
                  </a:lnTo>
                  <a:lnTo>
                    <a:pt x="11" y="11"/>
                  </a:lnTo>
                  <a:lnTo>
                    <a:pt x="11" y="6"/>
                  </a:lnTo>
                  <a:lnTo>
                    <a:pt x="8" y="3"/>
                  </a:lnTo>
                  <a:cubicBezTo>
                    <a:pt x="6" y="0"/>
                    <a:pt x="1" y="2"/>
                    <a:pt x="0" y="9"/>
                  </a:cubicBezTo>
                  <a:cubicBezTo>
                    <a:pt x="1" y="7"/>
                    <a:pt x="2" y="7"/>
                    <a:pt x="6" y="9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2" name="Freeform 477"/>
            <p:cNvSpPr>
              <a:spLocks noChangeArrowheads="1"/>
            </p:cNvSpPr>
            <p:nvPr/>
          </p:nvSpPr>
          <p:spPr bwMode="auto">
            <a:xfrm>
              <a:off x="3756025" y="2757488"/>
              <a:ext cx="4763" cy="4762"/>
            </a:xfrm>
            <a:custGeom>
              <a:avLst/>
              <a:gdLst>
                <a:gd name="T0" fmla="*/ 2 w 12"/>
                <a:gd name="T1" fmla="*/ 11 h 12"/>
                <a:gd name="T2" fmla="*/ 11 w 12"/>
                <a:gd name="T3" fmla="*/ 11 h 12"/>
                <a:gd name="T4" fmla="*/ 11 w 12"/>
                <a:gd name="T5" fmla="*/ 3 h 12"/>
                <a:gd name="T6" fmla="*/ 2 w 12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2" y="11"/>
                  </a:moveTo>
                  <a:cubicBezTo>
                    <a:pt x="5" y="11"/>
                    <a:pt x="8" y="11"/>
                    <a:pt x="11" y="11"/>
                  </a:cubicBezTo>
                  <a:cubicBezTo>
                    <a:pt x="11" y="9"/>
                    <a:pt x="11" y="6"/>
                    <a:pt x="11" y="3"/>
                  </a:cubicBezTo>
                  <a:cubicBezTo>
                    <a:pt x="5" y="0"/>
                    <a:pt x="0" y="3"/>
                    <a:pt x="2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3" name="Freeform 478"/>
            <p:cNvSpPr>
              <a:spLocks noChangeArrowheads="1"/>
            </p:cNvSpPr>
            <p:nvPr/>
          </p:nvSpPr>
          <p:spPr bwMode="auto">
            <a:xfrm>
              <a:off x="3703638" y="2319338"/>
              <a:ext cx="1587" cy="3175"/>
            </a:xfrm>
            <a:custGeom>
              <a:avLst/>
              <a:gdLst>
                <a:gd name="T0" fmla="*/ 0 w 4"/>
                <a:gd name="T1" fmla="*/ 0 h 7"/>
                <a:gd name="T2" fmla="*/ 0 w 4"/>
                <a:gd name="T3" fmla="*/ 6 h 7"/>
                <a:gd name="T4" fmla="*/ 0 w 4"/>
                <a:gd name="T5" fmla="*/ 6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lnTo>
                    <a:pt x="0" y="6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4" name="Freeform 479"/>
            <p:cNvSpPr>
              <a:spLocks noChangeArrowheads="1"/>
            </p:cNvSpPr>
            <p:nvPr/>
          </p:nvSpPr>
          <p:spPr bwMode="auto">
            <a:xfrm>
              <a:off x="3759200" y="2900363"/>
              <a:ext cx="4763" cy="4762"/>
            </a:xfrm>
            <a:custGeom>
              <a:avLst/>
              <a:gdLst>
                <a:gd name="T0" fmla="*/ 11 w 12"/>
                <a:gd name="T1" fmla="*/ 3 h 12"/>
                <a:gd name="T2" fmla="*/ 0 w 12"/>
                <a:gd name="T3" fmla="*/ 0 h 12"/>
                <a:gd name="T4" fmla="*/ 11 w 12"/>
                <a:gd name="T5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11" y="3"/>
                  </a:moveTo>
                  <a:cubicBezTo>
                    <a:pt x="6" y="3"/>
                    <a:pt x="6" y="0"/>
                    <a:pt x="0" y="0"/>
                  </a:cubicBezTo>
                  <a:cubicBezTo>
                    <a:pt x="0" y="8"/>
                    <a:pt x="11" y="11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5" name="Freeform 480"/>
            <p:cNvSpPr>
              <a:spLocks noChangeArrowheads="1"/>
            </p:cNvSpPr>
            <p:nvPr/>
          </p:nvSpPr>
          <p:spPr bwMode="auto">
            <a:xfrm>
              <a:off x="3759200" y="2892425"/>
              <a:ext cx="3175" cy="3175"/>
            </a:xfrm>
            <a:custGeom>
              <a:avLst/>
              <a:gdLst>
                <a:gd name="T0" fmla="*/ 5 w 9"/>
                <a:gd name="T1" fmla="*/ 9 h 10"/>
                <a:gd name="T2" fmla="*/ 3 w 9"/>
                <a:gd name="T3" fmla="*/ 0 h 10"/>
                <a:gd name="T4" fmla="*/ 5 w 9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5" y="9"/>
                  </a:moveTo>
                  <a:cubicBezTo>
                    <a:pt x="8" y="6"/>
                    <a:pt x="8" y="0"/>
                    <a:pt x="3" y="0"/>
                  </a:cubicBezTo>
                  <a:cubicBezTo>
                    <a:pt x="0" y="3"/>
                    <a:pt x="0" y="9"/>
                    <a:pt x="5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6" name="Freeform 481"/>
            <p:cNvSpPr>
              <a:spLocks noChangeArrowheads="1"/>
            </p:cNvSpPr>
            <p:nvPr/>
          </p:nvSpPr>
          <p:spPr bwMode="auto">
            <a:xfrm>
              <a:off x="3756025" y="2887663"/>
              <a:ext cx="4763" cy="4762"/>
            </a:xfrm>
            <a:custGeom>
              <a:avLst/>
              <a:gdLst>
                <a:gd name="T0" fmla="*/ 0 w 12"/>
                <a:gd name="T1" fmla="*/ 11 h 15"/>
                <a:gd name="T2" fmla="*/ 11 w 12"/>
                <a:gd name="T3" fmla="*/ 11 h 15"/>
                <a:gd name="T4" fmla="*/ 11 w 12"/>
                <a:gd name="T5" fmla="*/ 3 h 15"/>
                <a:gd name="T6" fmla="*/ 8 w 12"/>
                <a:gd name="T7" fmla="*/ 0 h 15"/>
                <a:gd name="T8" fmla="*/ 0 w 12"/>
                <a:gd name="T9" fmla="*/ 6 h 15"/>
                <a:gd name="T10" fmla="*/ 0 w 12"/>
                <a:gd name="T11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5">
                  <a:moveTo>
                    <a:pt x="0" y="11"/>
                  </a:moveTo>
                  <a:cubicBezTo>
                    <a:pt x="2" y="11"/>
                    <a:pt x="5" y="14"/>
                    <a:pt x="11" y="11"/>
                  </a:cubicBezTo>
                  <a:cubicBezTo>
                    <a:pt x="8" y="9"/>
                    <a:pt x="11" y="6"/>
                    <a:pt x="11" y="3"/>
                  </a:cubicBezTo>
                  <a:lnTo>
                    <a:pt x="8" y="0"/>
                  </a:lnTo>
                  <a:cubicBezTo>
                    <a:pt x="8" y="3"/>
                    <a:pt x="5" y="6"/>
                    <a:pt x="0" y="6"/>
                  </a:cubicBezTo>
                  <a:cubicBezTo>
                    <a:pt x="0" y="9"/>
                    <a:pt x="0" y="9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7" name="Freeform 482"/>
            <p:cNvSpPr>
              <a:spLocks noChangeArrowheads="1"/>
            </p:cNvSpPr>
            <p:nvPr/>
          </p:nvSpPr>
          <p:spPr bwMode="auto">
            <a:xfrm>
              <a:off x="3762375" y="2863850"/>
              <a:ext cx="1588" cy="1588"/>
            </a:xfrm>
            <a:custGeom>
              <a:avLst/>
              <a:gdLst>
                <a:gd name="T0" fmla="*/ 0 w 4"/>
                <a:gd name="T1" fmla="*/ 3 h 4"/>
                <a:gd name="T2" fmla="*/ 3 w 4"/>
                <a:gd name="T3" fmla="*/ 0 h 4"/>
                <a:gd name="T4" fmla="*/ 0 w 4"/>
                <a:gd name="T5" fmla="*/ 0 h 4"/>
                <a:gd name="T6" fmla="*/ 0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3"/>
                    <a:pt x="0" y="0"/>
                    <a:pt x="3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8" name="Freeform 483"/>
            <p:cNvSpPr>
              <a:spLocks noChangeArrowheads="1"/>
            </p:cNvSpPr>
            <p:nvPr/>
          </p:nvSpPr>
          <p:spPr bwMode="auto">
            <a:xfrm>
              <a:off x="3756025" y="2728913"/>
              <a:ext cx="3175" cy="3175"/>
            </a:xfrm>
            <a:custGeom>
              <a:avLst/>
              <a:gdLst>
                <a:gd name="T0" fmla="*/ 0 w 10"/>
                <a:gd name="T1" fmla="*/ 0 h 10"/>
                <a:gd name="T2" fmla="*/ 0 w 10"/>
                <a:gd name="T3" fmla="*/ 0 h 10"/>
                <a:gd name="T4" fmla="*/ 3 w 10"/>
                <a:gd name="T5" fmla="*/ 6 h 10"/>
                <a:gd name="T6" fmla="*/ 3 w 10"/>
                <a:gd name="T7" fmla="*/ 9 h 10"/>
                <a:gd name="T8" fmla="*/ 6 w 10"/>
                <a:gd name="T9" fmla="*/ 9 h 10"/>
                <a:gd name="T10" fmla="*/ 9 w 10"/>
                <a:gd name="T11" fmla="*/ 6 h 10"/>
                <a:gd name="T12" fmla="*/ 0 w 10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0" y="0"/>
                  </a:moveTo>
                  <a:lnTo>
                    <a:pt x="0" y="0"/>
                  </a:lnTo>
                  <a:cubicBezTo>
                    <a:pt x="0" y="3"/>
                    <a:pt x="3" y="3"/>
                    <a:pt x="3" y="6"/>
                  </a:cubicBezTo>
                  <a:cubicBezTo>
                    <a:pt x="3" y="6"/>
                    <a:pt x="3" y="6"/>
                    <a:pt x="3" y="9"/>
                  </a:cubicBezTo>
                  <a:cubicBezTo>
                    <a:pt x="3" y="9"/>
                    <a:pt x="3" y="9"/>
                    <a:pt x="6" y="9"/>
                  </a:cubicBezTo>
                  <a:cubicBezTo>
                    <a:pt x="6" y="6"/>
                    <a:pt x="6" y="6"/>
                    <a:pt x="9" y="6"/>
                  </a:cubicBezTo>
                  <a:cubicBezTo>
                    <a:pt x="6" y="3"/>
                    <a:pt x="6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9" name="Freeform 484"/>
            <p:cNvSpPr>
              <a:spLocks noChangeArrowheads="1"/>
            </p:cNvSpPr>
            <p:nvPr/>
          </p:nvSpPr>
          <p:spPr bwMode="auto">
            <a:xfrm>
              <a:off x="3759200" y="2228850"/>
              <a:ext cx="3175" cy="4763"/>
            </a:xfrm>
            <a:custGeom>
              <a:avLst/>
              <a:gdLst>
                <a:gd name="T0" fmla="*/ 6 w 7"/>
                <a:gd name="T1" fmla="*/ 0 h 12"/>
                <a:gd name="T2" fmla="*/ 3 w 7"/>
                <a:gd name="T3" fmla="*/ 0 h 12"/>
                <a:gd name="T4" fmla="*/ 0 w 7"/>
                <a:gd name="T5" fmla="*/ 2 h 12"/>
                <a:gd name="T6" fmla="*/ 6 w 7"/>
                <a:gd name="T7" fmla="*/ 11 h 12"/>
                <a:gd name="T8" fmla="*/ 6 w 7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2">
                  <a:moveTo>
                    <a:pt x="6" y="0"/>
                  </a:moveTo>
                  <a:lnTo>
                    <a:pt x="3" y="0"/>
                  </a:lnTo>
                  <a:cubicBezTo>
                    <a:pt x="3" y="2"/>
                    <a:pt x="3" y="2"/>
                    <a:pt x="0" y="2"/>
                  </a:cubicBezTo>
                  <a:cubicBezTo>
                    <a:pt x="0" y="5"/>
                    <a:pt x="3" y="8"/>
                    <a:pt x="6" y="11"/>
                  </a:cubicBezTo>
                  <a:cubicBezTo>
                    <a:pt x="6" y="5"/>
                    <a:pt x="6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0" name="Freeform 485"/>
            <p:cNvSpPr>
              <a:spLocks noChangeArrowheads="1"/>
            </p:cNvSpPr>
            <p:nvPr/>
          </p:nvSpPr>
          <p:spPr bwMode="auto">
            <a:xfrm>
              <a:off x="3751263" y="2619375"/>
              <a:ext cx="11112" cy="12700"/>
            </a:xfrm>
            <a:custGeom>
              <a:avLst/>
              <a:gdLst>
                <a:gd name="T0" fmla="*/ 20 w 29"/>
                <a:gd name="T1" fmla="*/ 36 h 37"/>
                <a:gd name="T2" fmla="*/ 9 w 29"/>
                <a:gd name="T3" fmla="*/ 0 h 37"/>
                <a:gd name="T4" fmla="*/ 20 w 29"/>
                <a:gd name="T5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37">
                  <a:moveTo>
                    <a:pt x="20" y="36"/>
                  </a:moveTo>
                  <a:cubicBezTo>
                    <a:pt x="14" y="25"/>
                    <a:pt x="28" y="0"/>
                    <a:pt x="9" y="0"/>
                  </a:cubicBezTo>
                  <a:cubicBezTo>
                    <a:pt x="0" y="14"/>
                    <a:pt x="3" y="36"/>
                    <a:pt x="20" y="3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1" name="Freeform 486"/>
            <p:cNvSpPr>
              <a:spLocks noChangeArrowheads="1"/>
            </p:cNvSpPr>
            <p:nvPr/>
          </p:nvSpPr>
          <p:spPr bwMode="auto">
            <a:xfrm>
              <a:off x="3706813" y="2543175"/>
              <a:ext cx="9525" cy="11113"/>
            </a:xfrm>
            <a:custGeom>
              <a:avLst/>
              <a:gdLst>
                <a:gd name="T0" fmla="*/ 14 w 26"/>
                <a:gd name="T1" fmla="*/ 0 h 29"/>
                <a:gd name="T2" fmla="*/ 6 w 26"/>
                <a:gd name="T3" fmla="*/ 6 h 29"/>
                <a:gd name="T4" fmla="*/ 0 w 26"/>
                <a:gd name="T5" fmla="*/ 20 h 29"/>
                <a:gd name="T6" fmla="*/ 11 w 26"/>
                <a:gd name="T7" fmla="*/ 25 h 29"/>
                <a:gd name="T8" fmla="*/ 23 w 26"/>
                <a:gd name="T9" fmla="*/ 20 h 29"/>
                <a:gd name="T10" fmla="*/ 25 w 26"/>
                <a:gd name="T11" fmla="*/ 9 h 29"/>
                <a:gd name="T12" fmla="*/ 25 w 26"/>
                <a:gd name="T13" fmla="*/ 9 h 29"/>
                <a:gd name="T14" fmla="*/ 14 w 26"/>
                <a:gd name="T1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9">
                  <a:moveTo>
                    <a:pt x="14" y="0"/>
                  </a:moveTo>
                  <a:cubicBezTo>
                    <a:pt x="11" y="3"/>
                    <a:pt x="9" y="6"/>
                    <a:pt x="6" y="6"/>
                  </a:cubicBezTo>
                  <a:cubicBezTo>
                    <a:pt x="6" y="11"/>
                    <a:pt x="3" y="14"/>
                    <a:pt x="0" y="20"/>
                  </a:cubicBezTo>
                  <a:cubicBezTo>
                    <a:pt x="6" y="23"/>
                    <a:pt x="3" y="28"/>
                    <a:pt x="11" y="25"/>
                  </a:cubicBezTo>
                  <a:cubicBezTo>
                    <a:pt x="14" y="23"/>
                    <a:pt x="17" y="20"/>
                    <a:pt x="23" y="20"/>
                  </a:cubicBezTo>
                  <a:cubicBezTo>
                    <a:pt x="23" y="17"/>
                    <a:pt x="23" y="14"/>
                    <a:pt x="25" y="9"/>
                  </a:cubicBezTo>
                  <a:lnTo>
                    <a:pt x="25" y="9"/>
                  </a:lnTo>
                  <a:cubicBezTo>
                    <a:pt x="20" y="6"/>
                    <a:pt x="20" y="3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2" name="Freeform 487"/>
            <p:cNvSpPr>
              <a:spLocks noChangeArrowheads="1"/>
            </p:cNvSpPr>
            <p:nvPr/>
          </p:nvSpPr>
          <p:spPr bwMode="auto">
            <a:xfrm>
              <a:off x="3716338" y="2562225"/>
              <a:ext cx="11112" cy="4763"/>
            </a:xfrm>
            <a:custGeom>
              <a:avLst/>
              <a:gdLst>
                <a:gd name="T0" fmla="*/ 20 w 30"/>
                <a:gd name="T1" fmla="*/ 8 h 15"/>
                <a:gd name="T2" fmla="*/ 12 w 30"/>
                <a:gd name="T3" fmla="*/ 0 h 15"/>
                <a:gd name="T4" fmla="*/ 3 w 30"/>
                <a:gd name="T5" fmla="*/ 8 h 15"/>
                <a:gd name="T6" fmla="*/ 15 w 30"/>
                <a:gd name="T7" fmla="*/ 8 h 15"/>
                <a:gd name="T8" fmla="*/ 15 w 30"/>
                <a:gd name="T9" fmla="*/ 8 h 15"/>
                <a:gd name="T10" fmla="*/ 20 w 30"/>
                <a:gd name="T11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5">
                  <a:moveTo>
                    <a:pt x="20" y="8"/>
                  </a:moveTo>
                  <a:cubicBezTo>
                    <a:pt x="15" y="11"/>
                    <a:pt x="15" y="2"/>
                    <a:pt x="12" y="0"/>
                  </a:cubicBezTo>
                  <a:cubicBezTo>
                    <a:pt x="6" y="0"/>
                    <a:pt x="0" y="0"/>
                    <a:pt x="3" y="8"/>
                  </a:cubicBezTo>
                  <a:cubicBezTo>
                    <a:pt x="6" y="11"/>
                    <a:pt x="12" y="11"/>
                    <a:pt x="15" y="8"/>
                  </a:cubicBezTo>
                  <a:lnTo>
                    <a:pt x="15" y="8"/>
                  </a:lnTo>
                  <a:cubicBezTo>
                    <a:pt x="12" y="14"/>
                    <a:pt x="29" y="8"/>
                    <a:pt x="2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3" name="Freeform 488"/>
            <p:cNvSpPr>
              <a:spLocks noChangeArrowheads="1"/>
            </p:cNvSpPr>
            <p:nvPr/>
          </p:nvSpPr>
          <p:spPr bwMode="auto">
            <a:xfrm>
              <a:off x="3716338" y="2587625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3 h 7"/>
                <a:gd name="T4" fmla="*/ 0 w 10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cubicBezTo>
                    <a:pt x="3" y="6"/>
                    <a:pt x="6" y="3"/>
                    <a:pt x="9" y="3"/>
                  </a:cubicBezTo>
                  <a:cubicBezTo>
                    <a:pt x="3" y="3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4" name="Freeform 489"/>
            <p:cNvSpPr>
              <a:spLocks noChangeArrowheads="1"/>
            </p:cNvSpPr>
            <p:nvPr/>
          </p:nvSpPr>
          <p:spPr bwMode="auto">
            <a:xfrm>
              <a:off x="3725863" y="2884488"/>
              <a:ext cx="4762" cy="4762"/>
            </a:xfrm>
            <a:custGeom>
              <a:avLst/>
              <a:gdLst>
                <a:gd name="T0" fmla="*/ 8 w 15"/>
                <a:gd name="T1" fmla="*/ 5 h 12"/>
                <a:gd name="T2" fmla="*/ 8 w 15"/>
                <a:gd name="T3" fmla="*/ 0 h 12"/>
                <a:gd name="T4" fmla="*/ 0 w 15"/>
                <a:gd name="T5" fmla="*/ 8 h 12"/>
                <a:gd name="T6" fmla="*/ 11 w 15"/>
                <a:gd name="T7" fmla="*/ 11 h 12"/>
                <a:gd name="T8" fmla="*/ 14 w 15"/>
                <a:gd name="T9" fmla="*/ 0 h 12"/>
                <a:gd name="T10" fmla="*/ 11 w 15"/>
                <a:gd name="T11" fmla="*/ 0 h 12"/>
                <a:gd name="T12" fmla="*/ 8 w 15"/>
                <a:gd name="T1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2">
                  <a:moveTo>
                    <a:pt x="8" y="5"/>
                  </a:moveTo>
                  <a:cubicBezTo>
                    <a:pt x="8" y="2"/>
                    <a:pt x="8" y="2"/>
                    <a:pt x="8" y="0"/>
                  </a:cubicBezTo>
                  <a:cubicBezTo>
                    <a:pt x="2" y="0"/>
                    <a:pt x="0" y="2"/>
                    <a:pt x="0" y="8"/>
                  </a:cubicBezTo>
                  <a:cubicBezTo>
                    <a:pt x="2" y="11"/>
                    <a:pt x="5" y="11"/>
                    <a:pt x="11" y="11"/>
                  </a:cubicBezTo>
                  <a:cubicBezTo>
                    <a:pt x="11" y="8"/>
                    <a:pt x="11" y="2"/>
                    <a:pt x="14" y="0"/>
                  </a:cubicBezTo>
                  <a:cubicBezTo>
                    <a:pt x="14" y="0"/>
                    <a:pt x="14" y="0"/>
                    <a:pt x="11" y="0"/>
                  </a:cubicBezTo>
                  <a:cubicBezTo>
                    <a:pt x="11" y="2"/>
                    <a:pt x="11" y="2"/>
                    <a:pt x="8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5" name="Freeform 490"/>
            <p:cNvSpPr>
              <a:spLocks noChangeArrowheads="1"/>
            </p:cNvSpPr>
            <p:nvPr/>
          </p:nvSpPr>
          <p:spPr bwMode="auto">
            <a:xfrm>
              <a:off x="3724275" y="2535238"/>
              <a:ext cx="3175" cy="4762"/>
            </a:xfrm>
            <a:custGeom>
              <a:avLst/>
              <a:gdLst>
                <a:gd name="T0" fmla="*/ 6 w 9"/>
                <a:gd name="T1" fmla="*/ 0 h 13"/>
                <a:gd name="T2" fmla="*/ 6 w 9"/>
                <a:gd name="T3" fmla="*/ 0 h 13"/>
                <a:gd name="T4" fmla="*/ 0 w 9"/>
                <a:gd name="T5" fmla="*/ 12 h 13"/>
                <a:gd name="T6" fmla="*/ 6 w 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6" y="0"/>
                  </a:moveTo>
                  <a:lnTo>
                    <a:pt x="6" y="0"/>
                  </a:lnTo>
                  <a:cubicBezTo>
                    <a:pt x="3" y="3"/>
                    <a:pt x="3" y="9"/>
                    <a:pt x="0" y="12"/>
                  </a:cubicBezTo>
                  <a:cubicBezTo>
                    <a:pt x="6" y="12"/>
                    <a:pt x="8" y="9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6" name="Freeform 491"/>
            <p:cNvSpPr>
              <a:spLocks noChangeArrowheads="1"/>
            </p:cNvSpPr>
            <p:nvPr/>
          </p:nvSpPr>
          <p:spPr bwMode="auto">
            <a:xfrm>
              <a:off x="3706813" y="2625725"/>
              <a:ext cx="1587" cy="1588"/>
            </a:xfrm>
            <a:custGeom>
              <a:avLst/>
              <a:gdLst>
                <a:gd name="T0" fmla="*/ 3 w 4"/>
                <a:gd name="T1" fmla="*/ 5 h 6"/>
                <a:gd name="T2" fmla="*/ 3 w 4"/>
                <a:gd name="T3" fmla="*/ 0 h 6"/>
                <a:gd name="T4" fmla="*/ 0 w 4"/>
                <a:gd name="T5" fmla="*/ 0 h 6"/>
                <a:gd name="T6" fmla="*/ 3 w 4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5"/>
                  </a:moveTo>
                  <a:lnTo>
                    <a:pt x="3" y="0"/>
                  </a:lnTo>
                  <a:lnTo>
                    <a:pt x="0" y="0"/>
                  </a:lnTo>
                  <a:cubicBezTo>
                    <a:pt x="3" y="0"/>
                    <a:pt x="3" y="2"/>
                    <a:pt x="3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7" name="Freeform 492"/>
            <p:cNvSpPr>
              <a:spLocks noChangeArrowheads="1"/>
            </p:cNvSpPr>
            <p:nvPr/>
          </p:nvSpPr>
          <p:spPr bwMode="auto">
            <a:xfrm>
              <a:off x="3705225" y="2673350"/>
              <a:ext cx="3175" cy="4763"/>
            </a:xfrm>
            <a:custGeom>
              <a:avLst/>
              <a:gdLst>
                <a:gd name="T0" fmla="*/ 0 w 7"/>
                <a:gd name="T1" fmla="*/ 3 h 15"/>
                <a:gd name="T2" fmla="*/ 3 w 7"/>
                <a:gd name="T3" fmla="*/ 14 h 15"/>
                <a:gd name="T4" fmla="*/ 6 w 7"/>
                <a:gd name="T5" fmla="*/ 6 h 15"/>
                <a:gd name="T6" fmla="*/ 3 w 7"/>
                <a:gd name="T7" fmla="*/ 0 h 15"/>
                <a:gd name="T8" fmla="*/ 0 w 7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cubicBezTo>
                    <a:pt x="0" y="8"/>
                    <a:pt x="0" y="14"/>
                    <a:pt x="3" y="14"/>
                  </a:cubicBezTo>
                  <a:cubicBezTo>
                    <a:pt x="3" y="11"/>
                    <a:pt x="6" y="8"/>
                    <a:pt x="6" y="6"/>
                  </a:cubicBezTo>
                  <a:cubicBezTo>
                    <a:pt x="6" y="3"/>
                    <a:pt x="3" y="3"/>
                    <a:pt x="3" y="0"/>
                  </a:cubicBezTo>
                  <a:cubicBezTo>
                    <a:pt x="3" y="3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8" name="Freeform 493"/>
            <p:cNvSpPr>
              <a:spLocks noChangeArrowheads="1"/>
            </p:cNvSpPr>
            <p:nvPr/>
          </p:nvSpPr>
          <p:spPr bwMode="auto">
            <a:xfrm>
              <a:off x="3705225" y="2727325"/>
              <a:ext cx="4763" cy="4763"/>
            </a:xfrm>
            <a:custGeom>
              <a:avLst/>
              <a:gdLst>
                <a:gd name="T0" fmla="*/ 9 w 15"/>
                <a:gd name="T1" fmla="*/ 11 h 12"/>
                <a:gd name="T2" fmla="*/ 9 w 15"/>
                <a:gd name="T3" fmla="*/ 0 h 12"/>
                <a:gd name="T4" fmla="*/ 9 w 15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9" y="11"/>
                  </a:moveTo>
                  <a:cubicBezTo>
                    <a:pt x="9" y="8"/>
                    <a:pt x="14" y="0"/>
                    <a:pt x="9" y="0"/>
                  </a:cubicBezTo>
                  <a:cubicBezTo>
                    <a:pt x="6" y="0"/>
                    <a:pt x="0" y="8"/>
                    <a:pt x="9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9" name="Freeform 494"/>
            <p:cNvSpPr>
              <a:spLocks noChangeArrowheads="1"/>
            </p:cNvSpPr>
            <p:nvPr/>
          </p:nvSpPr>
          <p:spPr bwMode="auto">
            <a:xfrm>
              <a:off x="3740150" y="2595563"/>
              <a:ext cx="6350" cy="4762"/>
            </a:xfrm>
            <a:custGeom>
              <a:avLst/>
              <a:gdLst>
                <a:gd name="T0" fmla="*/ 0 w 18"/>
                <a:gd name="T1" fmla="*/ 5 h 15"/>
                <a:gd name="T2" fmla="*/ 9 w 18"/>
                <a:gd name="T3" fmla="*/ 14 h 15"/>
                <a:gd name="T4" fmla="*/ 14 w 18"/>
                <a:gd name="T5" fmla="*/ 14 h 15"/>
                <a:gd name="T6" fmla="*/ 1 w 18"/>
                <a:gd name="T7" fmla="*/ 0 h 15"/>
                <a:gd name="T8" fmla="*/ 0 w 18"/>
                <a:gd name="T9" fmla="*/ 5 h 15"/>
                <a:gd name="T10" fmla="*/ 0 w 18"/>
                <a:gd name="T11" fmla="*/ 0 h 15"/>
                <a:gd name="T12" fmla="*/ 1 w 18"/>
                <a:gd name="T13" fmla="*/ 0 h 15"/>
                <a:gd name="T14" fmla="*/ 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0" y="5"/>
                  </a:moveTo>
                  <a:cubicBezTo>
                    <a:pt x="3" y="8"/>
                    <a:pt x="9" y="8"/>
                    <a:pt x="9" y="14"/>
                  </a:cubicBezTo>
                  <a:lnTo>
                    <a:pt x="14" y="14"/>
                  </a:lnTo>
                  <a:cubicBezTo>
                    <a:pt x="17" y="3"/>
                    <a:pt x="9" y="3"/>
                    <a:pt x="1" y="0"/>
                  </a:cubicBezTo>
                  <a:cubicBezTo>
                    <a:pt x="2" y="1"/>
                    <a:pt x="0" y="3"/>
                    <a:pt x="0" y="5"/>
                  </a:cubicBezTo>
                  <a:close/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0" name="Freeform 495"/>
            <p:cNvSpPr>
              <a:spLocks noChangeArrowheads="1"/>
            </p:cNvSpPr>
            <p:nvPr/>
          </p:nvSpPr>
          <p:spPr bwMode="auto">
            <a:xfrm>
              <a:off x="3744913" y="2586038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0 w 7"/>
                <a:gd name="T3" fmla="*/ 0 h 6"/>
                <a:gd name="T4" fmla="*/ 0 w 7"/>
                <a:gd name="T5" fmla="*/ 2 h 6"/>
                <a:gd name="T6" fmla="*/ 0 w 7"/>
                <a:gd name="T7" fmla="*/ 2 h 6"/>
                <a:gd name="T8" fmla="*/ 6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cubicBezTo>
                    <a:pt x="6" y="2"/>
                    <a:pt x="6" y="0"/>
                    <a:pt x="0" y="0"/>
                  </a:cubicBezTo>
                  <a:lnTo>
                    <a:pt x="0" y="2"/>
                  </a:lnTo>
                  <a:lnTo>
                    <a:pt x="0" y="2"/>
                  </a:lnTo>
                  <a:cubicBezTo>
                    <a:pt x="3" y="2"/>
                    <a:pt x="3" y="5"/>
                    <a:pt x="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1" name="Freeform 496"/>
            <p:cNvSpPr>
              <a:spLocks noChangeArrowheads="1"/>
            </p:cNvSpPr>
            <p:nvPr/>
          </p:nvSpPr>
          <p:spPr bwMode="auto">
            <a:xfrm>
              <a:off x="3748088" y="2857500"/>
              <a:ext cx="3175" cy="1588"/>
            </a:xfrm>
            <a:custGeom>
              <a:avLst/>
              <a:gdLst>
                <a:gd name="T0" fmla="*/ 0 w 9"/>
                <a:gd name="T1" fmla="*/ 2 h 6"/>
                <a:gd name="T2" fmla="*/ 8 w 9"/>
                <a:gd name="T3" fmla="*/ 2 h 6"/>
                <a:gd name="T4" fmla="*/ 0 w 9"/>
                <a:gd name="T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0" y="2"/>
                  </a:moveTo>
                  <a:cubicBezTo>
                    <a:pt x="3" y="5"/>
                    <a:pt x="5" y="5"/>
                    <a:pt x="8" y="2"/>
                  </a:cubicBezTo>
                  <a:cubicBezTo>
                    <a:pt x="5" y="0"/>
                    <a:pt x="3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2" name="Freeform 497"/>
            <p:cNvSpPr>
              <a:spLocks noChangeArrowheads="1"/>
            </p:cNvSpPr>
            <p:nvPr/>
          </p:nvSpPr>
          <p:spPr bwMode="auto">
            <a:xfrm>
              <a:off x="3749675" y="2909888"/>
              <a:ext cx="9525" cy="11112"/>
            </a:xfrm>
            <a:custGeom>
              <a:avLst/>
              <a:gdLst>
                <a:gd name="T0" fmla="*/ 19 w 26"/>
                <a:gd name="T1" fmla="*/ 6 h 30"/>
                <a:gd name="T2" fmla="*/ 19 w 26"/>
                <a:gd name="T3" fmla="*/ 6 h 30"/>
                <a:gd name="T4" fmla="*/ 0 w 26"/>
                <a:gd name="T5" fmla="*/ 6 h 30"/>
                <a:gd name="T6" fmla="*/ 25 w 26"/>
                <a:gd name="T7" fmla="*/ 29 h 30"/>
                <a:gd name="T8" fmla="*/ 22 w 26"/>
                <a:gd name="T9" fmla="*/ 20 h 30"/>
                <a:gd name="T10" fmla="*/ 19 w 26"/>
                <a:gd name="T11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0">
                  <a:moveTo>
                    <a:pt x="19" y="6"/>
                  </a:moveTo>
                  <a:lnTo>
                    <a:pt x="19" y="6"/>
                  </a:lnTo>
                  <a:cubicBezTo>
                    <a:pt x="8" y="9"/>
                    <a:pt x="5" y="0"/>
                    <a:pt x="0" y="6"/>
                  </a:cubicBezTo>
                  <a:cubicBezTo>
                    <a:pt x="2" y="17"/>
                    <a:pt x="14" y="26"/>
                    <a:pt x="25" y="29"/>
                  </a:cubicBezTo>
                  <a:cubicBezTo>
                    <a:pt x="25" y="26"/>
                    <a:pt x="25" y="23"/>
                    <a:pt x="22" y="20"/>
                  </a:cubicBezTo>
                  <a:cubicBezTo>
                    <a:pt x="19" y="17"/>
                    <a:pt x="17" y="12"/>
                    <a:pt x="19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3" name="Freeform 498"/>
            <p:cNvSpPr>
              <a:spLocks noChangeArrowheads="1"/>
            </p:cNvSpPr>
            <p:nvPr/>
          </p:nvSpPr>
          <p:spPr bwMode="auto">
            <a:xfrm>
              <a:off x="3738563" y="2863850"/>
              <a:ext cx="7937" cy="4763"/>
            </a:xfrm>
            <a:custGeom>
              <a:avLst/>
              <a:gdLst>
                <a:gd name="T0" fmla="*/ 0 w 23"/>
                <a:gd name="T1" fmla="*/ 6 h 13"/>
                <a:gd name="T2" fmla="*/ 0 w 23"/>
                <a:gd name="T3" fmla="*/ 12 h 13"/>
                <a:gd name="T4" fmla="*/ 16 w 23"/>
                <a:gd name="T5" fmla="*/ 12 h 13"/>
                <a:gd name="T6" fmla="*/ 22 w 23"/>
                <a:gd name="T7" fmla="*/ 3 h 13"/>
                <a:gd name="T8" fmla="*/ 19 w 23"/>
                <a:gd name="T9" fmla="*/ 3 h 13"/>
                <a:gd name="T10" fmla="*/ 0 w 23"/>
                <a:gd name="T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3">
                  <a:moveTo>
                    <a:pt x="0" y="6"/>
                  </a:moveTo>
                  <a:cubicBezTo>
                    <a:pt x="0" y="9"/>
                    <a:pt x="0" y="9"/>
                    <a:pt x="0" y="12"/>
                  </a:cubicBezTo>
                  <a:cubicBezTo>
                    <a:pt x="5" y="12"/>
                    <a:pt x="11" y="12"/>
                    <a:pt x="16" y="12"/>
                  </a:cubicBezTo>
                  <a:cubicBezTo>
                    <a:pt x="19" y="9"/>
                    <a:pt x="22" y="6"/>
                    <a:pt x="22" y="3"/>
                  </a:cubicBezTo>
                  <a:cubicBezTo>
                    <a:pt x="22" y="3"/>
                    <a:pt x="22" y="3"/>
                    <a:pt x="19" y="3"/>
                  </a:cubicBezTo>
                  <a:cubicBezTo>
                    <a:pt x="16" y="0"/>
                    <a:pt x="8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4" name="Freeform 499"/>
            <p:cNvSpPr>
              <a:spLocks noChangeArrowheads="1"/>
            </p:cNvSpPr>
            <p:nvPr/>
          </p:nvSpPr>
          <p:spPr bwMode="auto">
            <a:xfrm>
              <a:off x="3730625" y="2582863"/>
              <a:ext cx="4763" cy="4762"/>
            </a:xfrm>
            <a:custGeom>
              <a:avLst/>
              <a:gdLst>
                <a:gd name="T0" fmla="*/ 8 w 15"/>
                <a:gd name="T1" fmla="*/ 14 h 15"/>
                <a:gd name="T2" fmla="*/ 8 w 15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8" y="14"/>
                  </a:moveTo>
                  <a:cubicBezTo>
                    <a:pt x="14" y="0"/>
                    <a:pt x="0" y="6"/>
                    <a:pt x="8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5" name="Freeform 500"/>
            <p:cNvSpPr>
              <a:spLocks noChangeArrowheads="1"/>
            </p:cNvSpPr>
            <p:nvPr/>
          </p:nvSpPr>
          <p:spPr bwMode="auto">
            <a:xfrm>
              <a:off x="3733800" y="2586038"/>
              <a:ext cx="4763" cy="4762"/>
            </a:xfrm>
            <a:custGeom>
              <a:avLst/>
              <a:gdLst>
                <a:gd name="T0" fmla="*/ 6 w 15"/>
                <a:gd name="T1" fmla="*/ 0 h 15"/>
                <a:gd name="T2" fmla="*/ 6 w 15"/>
                <a:gd name="T3" fmla="*/ 14 h 15"/>
                <a:gd name="T4" fmla="*/ 6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6" y="0"/>
                  </a:moveTo>
                  <a:cubicBezTo>
                    <a:pt x="9" y="5"/>
                    <a:pt x="0" y="14"/>
                    <a:pt x="6" y="14"/>
                  </a:cubicBezTo>
                  <a:cubicBezTo>
                    <a:pt x="9" y="8"/>
                    <a:pt x="14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6" name="Freeform 501"/>
            <p:cNvSpPr>
              <a:spLocks noChangeArrowheads="1"/>
            </p:cNvSpPr>
            <p:nvPr/>
          </p:nvSpPr>
          <p:spPr bwMode="auto">
            <a:xfrm>
              <a:off x="3762375" y="2228850"/>
              <a:ext cx="3175" cy="3175"/>
            </a:xfrm>
            <a:custGeom>
              <a:avLst/>
              <a:gdLst>
                <a:gd name="T0" fmla="*/ 6 w 7"/>
                <a:gd name="T1" fmla="*/ 6 h 10"/>
                <a:gd name="T2" fmla="*/ 3 w 7"/>
                <a:gd name="T3" fmla="*/ 0 h 10"/>
                <a:gd name="T4" fmla="*/ 0 w 7"/>
                <a:gd name="T5" fmla="*/ 9 h 10"/>
                <a:gd name="T6" fmla="*/ 6 w 7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6"/>
                  </a:moveTo>
                  <a:cubicBezTo>
                    <a:pt x="6" y="3"/>
                    <a:pt x="6" y="3"/>
                    <a:pt x="3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0" y="9"/>
                    <a:pt x="3" y="9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7" name="Freeform 502"/>
            <p:cNvSpPr>
              <a:spLocks noChangeArrowheads="1"/>
            </p:cNvSpPr>
            <p:nvPr/>
          </p:nvSpPr>
          <p:spPr bwMode="auto">
            <a:xfrm>
              <a:off x="3681413" y="2425700"/>
              <a:ext cx="3175" cy="4763"/>
            </a:xfrm>
            <a:custGeom>
              <a:avLst/>
              <a:gdLst>
                <a:gd name="T0" fmla="*/ 5 w 9"/>
                <a:gd name="T1" fmla="*/ 14 h 15"/>
                <a:gd name="T2" fmla="*/ 8 w 9"/>
                <a:gd name="T3" fmla="*/ 0 h 15"/>
                <a:gd name="T4" fmla="*/ 0 w 9"/>
                <a:gd name="T5" fmla="*/ 2 h 15"/>
                <a:gd name="T6" fmla="*/ 0 w 9"/>
                <a:gd name="T7" fmla="*/ 11 h 15"/>
                <a:gd name="T8" fmla="*/ 5 w 9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5" y="14"/>
                  </a:moveTo>
                  <a:cubicBezTo>
                    <a:pt x="8" y="11"/>
                    <a:pt x="8" y="5"/>
                    <a:pt x="8" y="0"/>
                  </a:cubicBezTo>
                  <a:cubicBezTo>
                    <a:pt x="5" y="0"/>
                    <a:pt x="2" y="2"/>
                    <a:pt x="0" y="2"/>
                  </a:cubicBezTo>
                  <a:cubicBezTo>
                    <a:pt x="0" y="5"/>
                    <a:pt x="2" y="8"/>
                    <a:pt x="0" y="11"/>
                  </a:cubicBezTo>
                  <a:cubicBezTo>
                    <a:pt x="2" y="11"/>
                    <a:pt x="2" y="14"/>
                    <a:pt x="5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8" name="Freeform 503"/>
            <p:cNvSpPr>
              <a:spLocks noChangeArrowheads="1"/>
            </p:cNvSpPr>
            <p:nvPr/>
          </p:nvSpPr>
          <p:spPr bwMode="auto">
            <a:xfrm>
              <a:off x="3673475" y="2436813"/>
              <a:ext cx="4763" cy="3175"/>
            </a:xfrm>
            <a:custGeom>
              <a:avLst/>
              <a:gdLst>
                <a:gd name="T0" fmla="*/ 3 w 12"/>
                <a:gd name="T1" fmla="*/ 8 h 9"/>
                <a:gd name="T2" fmla="*/ 11 w 12"/>
                <a:gd name="T3" fmla="*/ 3 h 9"/>
                <a:gd name="T4" fmla="*/ 3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3" y="8"/>
                  </a:moveTo>
                  <a:cubicBezTo>
                    <a:pt x="8" y="8"/>
                    <a:pt x="11" y="8"/>
                    <a:pt x="11" y="3"/>
                  </a:cubicBezTo>
                  <a:cubicBezTo>
                    <a:pt x="8" y="0"/>
                    <a:pt x="0" y="0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9" name="Freeform 504"/>
            <p:cNvSpPr>
              <a:spLocks noChangeArrowheads="1"/>
            </p:cNvSpPr>
            <p:nvPr/>
          </p:nvSpPr>
          <p:spPr bwMode="auto">
            <a:xfrm>
              <a:off x="3703638" y="2298700"/>
              <a:ext cx="1587" cy="3175"/>
            </a:xfrm>
            <a:custGeom>
              <a:avLst/>
              <a:gdLst>
                <a:gd name="T0" fmla="*/ 3 w 6"/>
                <a:gd name="T1" fmla="*/ 3 h 7"/>
                <a:gd name="T2" fmla="*/ 5 w 6"/>
                <a:gd name="T3" fmla="*/ 6 h 7"/>
                <a:gd name="T4" fmla="*/ 3 w 6"/>
                <a:gd name="T5" fmla="*/ 3 h 7"/>
                <a:gd name="T6" fmla="*/ 0 w 6"/>
                <a:gd name="T7" fmla="*/ 3 h 7"/>
                <a:gd name="T8" fmla="*/ 3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3" y="3"/>
                  </a:moveTo>
                  <a:lnTo>
                    <a:pt x="5" y="6"/>
                  </a:lnTo>
                  <a:cubicBezTo>
                    <a:pt x="5" y="3"/>
                    <a:pt x="5" y="3"/>
                    <a:pt x="3" y="3"/>
                  </a:cubicBezTo>
                  <a:cubicBezTo>
                    <a:pt x="3" y="0"/>
                    <a:pt x="0" y="3"/>
                    <a:pt x="0" y="3"/>
                  </a:cubicBezTo>
                  <a:lnTo>
                    <a:pt x="3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0" name="Freeform 505"/>
            <p:cNvSpPr>
              <a:spLocks noChangeArrowheads="1"/>
            </p:cNvSpPr>
            <p:nvPr/>
          </p:nvSpPr>
          <p:spPr bwMode="auto">
            <a:xfrm>
              <a:off x="3683000" y="2473325"/>
              <a:ext cx="6350" cy="11113"/>
            </a:xfrm>
            <a:custGeom>
              <a:avLst/>
              <a:gdLst>
                <a:gd name="T0" fmla="*/ 17 w 18"/>
                <a:gd name="T1" fmla="*/ 26 h 29"/>
                <a:gd name="T2" fmla="*/ 14 w 18"/>
                <a:gd name="T3" fmla="*/ 14 h 29"/>
                <a:gd name="T4" fmla="*/ 11 w 18"/>
                <a:gd name="T5" fmla="*/ 12 h 29"/>
                <a:gd name="T6" fmla="*/ 9 w 18"/>
                <a:gd name="T7" fmla="*/ 0 h 29"/>
                <a:gd name="T8" fmla="*/ 6 w 18"/>
                <a:gd name="T9" fmla="*/ 0 h 29"/>
                <a:gd name="T10" fmla="*/ 6 w 18"/>
                <a:gd name="T11" fmla="*/ 3 h 29"/>
                <a:gd name="T12" fmla="*/ 17 w 18"/>
                <a:gd name="T13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9">
                  <a:moveTo>
                    <a:pt x="17" y="26"/>
                  </a:moveTo>
                  <a:cubicBezTo>
                    <a:pt x="14" y="23"/>
                    <a:pt x="14" y="17"/>
                    <a:pt x="14" y="14"/>
                  </a:cubicBezTo>
                  <a:lnTo>
                    <a:pt x="11" y="12"/>
                  </a:lnTo>
                  <a:cubicBezTo>
                    <a:pt x="11" y="9"/>
                    <a:pt x="11" y="3"/>
                    <a:pt x="9" y="0"/>
                  </a:cubicBezTo>
                  <a:cubicBezTo>
                    <a:pt x="9" y="0"/>
                    <a:pt x="9" y="0"/>
                    <a:pt x="6" y="0"/>
                  </a:cubicBezTo>
                  <a:lnTo>
                    <a:pt x="6" y="3"/>
                  </a:lnTo>
                  <a:cubicBezTo>
                    <a:pt x="6" y="12"/>
                    <a:pt x="0" y="28"/>
                    <a:pt x="17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1" name="Freeform 506"/>
            <p:cNvSpPr>
              <a:spLocks noChangeArrowheads="1"/>
            </p:cNvSpPr>
            <p:nvPr/>
          </p:nvSpPr>
          <p:spPr bwMode="auto">
            <a:xfrm>
              <a:off x="3665538" y="2403475"/>
              <a:ext cx="9525" cy="4763"/>
            </a:xfrm>
            <a:custGeom>
              <a:avLst/>
              <a:gdLst>
                <a:gd name="T0" fmla="*/ 26 w 27"/>
                <a:gd name="T1" fmla="*/ 5 h 15"/>
                <a:gd name="T2" fmla="*/ 26 w 27"/>
                <a:gd name="T3" fmla="*/ 0 h 15"/>
                <a:gd name="T4" fmla="*/ 9 w 27"/>
                <a:gd name="T5" fmla="*/ 5 h 15"/>
                <a:gd name="T6" fmla="*/ 6 w 27"/>
                <a:gd name="T7" fmla="*/ 8 h 15"/>
                <a:gd name="T8" fmla="*/ 6 w 27"/>
                <a:gd name="T9" fmla="*/ 5 h 15"/>
                <a:gd name="T10" fmla="*/ 0 w 27"/>
                <a:gd name="T11" fmla="*/ 5 h 15"/>
                <a:gd name="T12" fmla="*/ 0 w 27"/>
                <a:gd name="T13" fmla="*/ 5 h 15"/>
                <a:gd name="T14" fmla="*/ 26 w 27"/>
                <a:gd name="T15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5">
                  <a:moveTo>
                    <a:pt x="26" y="5"/>
                  </a:moveTo>
                  <a:cubicBezTo>
                    <a:pt x="26" y="3"/>
                    <a:pt x="26" y="3"/>
                    <a:pt x="26" y="0"/>
                  </a:cubicBezTo>
                  <a:cubicBezTo>
                    <a:pt x="20" y="3"/>
                    <a:pt x="14" y="3"/>
                    <a:pt x="9" y="5"/>
                  </a:cubicBezTo>
                  <a:cubicBezTo>
                    <a:pt x="9" y="5"/>
                    <a:pt x="9" y="8"/>
                    <a:pt x="6" y="8"/>
                  </a:cubicBezTo>
                  <a:lnTo>
                    <a:pt x="6" y="5"/>
                  </a:lnTo>
                  <a:cubicBezTo>
                    <a:pt x="3" y="5"/>
                    <a:pt x="3" y="5"/>
                    <a:pt x="0" y="5"/>
                  </a:cubicBezTo>
                  <a:lnTo>
                    <a:pt x="0" y="5"/>
                  </a:lnTo>
                  <a:cubicBezTo>
                    <a:pt x="9" y="11"/>
                    <a:pt x="20" y="14"/>
                    <a:pt x="2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2" name="Freeform 507"/>
            <p:cNvSpPr>
              <a:spLocks noChangeArrowheads="1"/>
            </p:cNvSpPr>
            <p:nvPr/>
          </p:nvSpPr>
          <p:spPr bwMode="auto">
            <a:xfrm>
              <a:off x="3686175" y="2714625"/>
              <a:ext cx="6350" cy="12700"/>
            </a:xfrm>
            <a:custGeom>
              <a:avLst/>
              <a:gdLst>
                <a:gd name="T0" fmla="*/ 0 w 18"/>
                <a:gd name="T1" fmla="*/ 3 h 35"/>
                <a:gd name="T2" fmla="*/ 0 w 18"/>
                <a:gd name="T3" fmla="*/ 3 h 35"/>
                <a:gd name="T4" fmla="*/ 5 w 18"/>
                <a:gd name="T5" fmla="*/ 14 h 35"/>
                <a:gd name="T6" fmla="*/ 5 w 18"/>
                <a:gd name="T7" fmla="*/ 17 h 35"/>
                <a:gd name="T8" fmla="*/ 11 w 18"/>
                <a:gd name="T9" fmla="*/ 31 h 35"/>
                <a:gd name="T10" fmla="*/ 17 w 18"/>
                <a:gd name="T11" fmla="*/ 14 h 35"/>
                <a:gd name="T12" fmla="*/ 5 w 18"/>
                <a:gd name="T13" fmla="*/ 11 h 35"/>
                <a:gd name="T14" fmla="*/ 0 w 18"/>
                <a:gd name="T15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5">
                  <a:moveTo>
                    <a:pt x="0" y="3"/>
                  </a:moveTo>
                  <a:lnTo>
                    <a:pt x="0" y="3"/>
                  </a:lnTo>
                  <a:cubicBezTo>
                    <a:pt x="0" y="5"/>
                    <a:pt x="2" y="8"/>
                    <a:pt x="5" y="14"/>
                  </a:cubicBezTo>
                  <a:lnTo>
                    <a:pt x="5" y="17"/>
                  </a:lnTo>
                  <a:cubicBezTo>
                    <a:pt x="8" y="22"/>
                    <a:pt x="5" y="34"/>
                    <a:pt x="11" y="31"/>
                  </a:cubicBezTo>
                  <a:cubicBezTo>
                    <a:pt x="17" y="28"/>
                    <a:pt x="17" y="22"/>
                    <a:pt x="17" y="14"/>
                  </a:cubicBezTo>
                  <a:cubicBezTo>
                    <a:pt x="14" y="14"/>
                    <a:pt x="11" y="14"/>
                    <a:pt x="5" y="11"/>
                  </a:cubicBezTo>
                  <a:cubicBezTo>
                    <a:pt x="5" y="8"/>
                    <a:pt x="8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3" name="Freeform 508"/>
            <p:cNvSpPr>
              <a:spLocks noChangeArrowheads="1"/>
            </p:cNvSpPr>
            <p:nvPr/>
          </p:nvSpPr>
          <p:spPr bwMode="auto">
            <a:xfrm>
              <a:off x="3668713" y="2360613"/>
              <a:ext cx="4762" cy="3175"/>
            </a:xfrm>
            <a:custGeom>
              <a:avLst/>
              <a:gdLst>
                <a:gd name="T0" fmla="*/ 11 w 12"/>
                <a:gd name="T1" fmla="*/ 0 h 10"/>
                <a:gd name="T2" fmla="*/ 0 w 12"/>
                <a:gd name="T3" fmla="*/ 6 h 10"/>
                <a:gd name="T4" fmla="*/ 11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0"/>
                  </a:moveTo>
                  <a:cubicBezTo>
                    <a:pt x="5" y="0"/>
                    <a:pt x="0" y="0"/>
                    <a:pt x="0" y="6"/>
                  </a:cubicBezTo>
                  <a:cubicBezTo>
                    <a:pt x="2" y="9"/>
                    <a:pt x="11" y="9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4" name="Freeform 509"/>
            <p:cNvSpPr>
              <a:spLocks noChangeArrowheads="1"/>
            </p:cNvSpPr>
            <p:nvPr/>
          </p:nvSpPr>
          <p:spPr bwMode="auto">
            <a:xfrm>
              <a:off x="3654425" y="2392363"/>
              <a:ext cx="3175" cy="1587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3 h 6"/>
                <a:gd name="T4" fmla="*/ 3 w 7"/>
                <a:gd name="T5" fmla="*/ 0 h 6"/>
                <a:gd name="T6" fmla="*/ 0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cubicBezTo>
                    <a:pt x="3" y="5"/>
                    <a:pt x="6" y="3"/>
                    <a:pt x="6" y="3"/>
                  </a:cubicBezTo>
                  <a:lnTo>
                    <a:pt x="3" y="0"/>
                  </a:lnTo>
                  <a:cubicBezTo>
                    <a:pt x="0" y="0"/>
                    <a:pt x="0" y="0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5" name="Freeform 510"/>
            <p:cNvSpPr>
              <a:spLocks noChangeArrowheads="1"/>
            </p:cNvSpPr>
            <p:nvPr/>
          </p:nvSpPr>
          <p:spPr bwMode="auto">
            <a:xfrm>
              <a:off x="3656013" y="2376488"/>
              <a:ext cx="4762" cy="6350"/>
            </a:xfrm>
            <a:custGeom>
              <a:avLst/>
              <a:gdLst>
                <a:gd name="T0" fmla="*/ 8 w 15"/>
                <a:gd name="T1" fmla="*/ 15 h 16"/>
                <a:gd name="T2" fmla="*/ 8 w 15"/>
                <a:gd name="T3" fmla="*/ 0 h 16"/>
                <a:gd name="T4" fmla="*/ 8 w 15"/>
                <a:gd name="T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8" y="15"/>
                  </a:moveTo>
                  <a:cubicBezTo>
                    <a:pt x="8" y="12"/>
                    <a:pt x="14" y="0"/>
                    <a:pt x="8" y="0"/>
                  </a:cubicBezTo>
                  <a:cubicBezTo>
                    <a:pt x="6" y="6"/>
                    <a:pt x="0" y="12"/>
                    <a:pt x="8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6" name="Freeform 511"/>
            <p:cNvSpPr>
              <a:spLocks noChangeArrowheads="1"/>
            </p:cNvSpPr>
            <p:nvPr/>
          </p:nvSpPr>
          <p:spPr bwMode="auto">
            <a:xfrm>
              <a:off x="3660775" y="2670175"/>
              <a:ext cx="3175" cy="6350"/>
            </a:xfrm>
            <a:custGeom>
              <a:avLst/>
              <a:gdLst>
                <a:gd name="T0" fmla="*/ 9 w 10"/>
                <a:gd name="T1" fmla="*/ 12 h 16"/>
                <a:gd name="T2" fmla="*/ 0 w 10"/>
                <a:gd name="T3" fmla="*/ 0 h 16"/>
                <a:gd name="T4" fmla="*/ 9 w 10"/>
                <a:gd name="T5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9" y="12"/>
                  </a:moveTo>
                  <a:cubicBezTo>
                    <a:pt x="9" y="3"/>
                    <a:pt x="9" y="0"/>
                    <a:pt x="0" y="0"/>
                  </a:cubicBezTo>
                  <a:cubicBezTo>
                    <a:pt x="0" y="9"/>
                    <a:pt x="0" y="15"/>
                    <a:pt x="9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7" name="Freeform 512"/>
            <p:cNvSpPr>
              <a:spLocks noChangeArrowheads="1"/>
            </p:cNvSpPr>
            <p:nvPr/>
          </p:nvSpPr>
          <p:spPr bwMode="auto">
            <a:xfrm>
              <a:off x="3665538" y="2435225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8" name="Freeform 513"/>
            <p:cNvSpPr>
              <a:spLocks noChangeArrowheads="1"/>
            </p:cNvSpPr>
            <p:nvPr/>
          </p:nvSpPr>
          <p:spPr bwMode="auto">
            <a:xfrm>
              <a:off x="3659188" y="2427288"/>
              <a:ext cx="6350" cy="6350"/>
            </a:xfrm>
            <a:custGeom>
              <a:avLst/>
              <a:gdLst>
                <a:gd name="T0" fmla="*/ 3 w 18"/>
                <a:gd name="T1" fmla="*/ 15 h 16"/>
                <a:gd name="T2" fmla="*/ 9 w 18"/>
                <a:gd name="T3" fmla="*/ 15 h 16"/>
                <a:gd name="T4" fmla="*/ 3 w 18"/>
                <a:gd name="T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6">
                  <a:moveTo>
                    <a:pt x="3" y="15"/>
                  </a:moveTo>
                  <a:lnTo>
                    <a:pt x="9" y="15"/>
                  </a:lnTo>
                  <a:cubicBezTo>
                    <a:pt x="17" y="9"/>
                    <a:pt x="0" y="0"/>
                    <a:pt x="3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9" name="Freeform 514"/>
            <p:cNvSpPr>
              <a:spLocks noChangeArrowheads="1"/>
            </p:cNvSpPr>
            <p:nvPr/>
          </p:nvSpPr>
          <p:spPr bwMode="auto">
            <a:xfrm>
              <a:off x="3719513" y="2374900"/>
              <a:ext cx="6350" cy="4763"/>
            </a:xfrm>
            <a:custGeom>
              <a:avLst/>
              <a:gdLst>
                <a:gd name="T0" fmla="*/ 8 w 18"/>
                <a:gd name="T1" fmla="*/ 0 h 12"/>
                <a:gd name="T2" fmla="*/ 8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cubicBezTo>
                    <a:pt x="0" y="11"/>
                    <a:pt x="17" y="8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0" name="Freeform 515"/>
            <p:cNvSpPr>
              <a:spLocks noChangeArrowheads="1"/>
            </p:cNvSpPr>
            <p:nvPr/>
          </p:nvSpPr>
          <p:spPr bwMode="auto">
            <a:xfrm>
              <a:off x="3703638" y="2374900"/>
              <a:ext cx="4762" cy="6350"/>
            </a:xfrm>
            <a:custGeom>
              <a:avLst/>
              <a:gdLst>
                <a:gd name="T0" fmla="*/ 0 w 15"/>
                <a:gd name="T1" fmla="*/ 8 h 18"/>
                <a:gd name="T2" fmla="*/ 11 w 15"/>
                <a:gd name="T3" fmla="*/ 14 h 18"/>
                <a:gd name="T4" fmla="*/ 0 w 15"/>
                <a:gd name="T5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8">
                  <a:moveTo>
                    <a:pt x="0" y="8"/>
                  </a:moveTo>
                  <a:cubicBezTo>
                    <a:pt x="5" y="8"/>
                    <a:pt x="5" y="17"/>
                    <a:pt x="11" y="14"/>
                  </a:cubicBezTo>
                  <a:cubicBezTo>
                    <a:pt x="14" y="5"/>
                    <a:pt x="3" y="0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1" name="Freeform 516"/>
            <p:cNvSpPr>
              <a:spLocks noChangeArrowheads="1"/>
            </p:cNvSpPr>
            <p:nvPr/>
          </p:nvSpPr>
          <p:spPr bwMode="auto">
            <a:xfrm>
              <a:off x="3732213" y="2386013"/>
              <a:ext cx="1587" cy="1587"/>
            </a:xfrm>
            <a:custGeom>
              <a:avLst/>
              <a:gdLst>
                <a:gd name="T0" fmla="*/ 5 w 6"/>
                <a:gd name="T1" fmla="*/ 0 h 6"/>
                <a:gd name="T2" fmla="*/ 0 w 6"/>
                <a:gd name="T3" fmla="*/ 0 h 6"/>
                <a:gd name="T4" fmla="*/ 0 w 6"/>
                <a:gd name="T5" fmla="*/ 5 h 6"/>
                <a:gd name="T6" fmla="*/ 5 w 6"/>
                <a:gd name="T7" fmla="*/ 5 h 6"/>
                <a:gd name="T8" fmla="*/ 5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5" y="5"/>
                  </a:lnTo>
                  <a:lnTo>
                    <a:pt x="5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2" name="Freeform 517"/>
            <p:cNvSpPr>
              <a:spLocks noChangeArrowheads="1"/>
            </p:cNvSpPr>
            <p:nvPr/>
          </p:nvSpPr>
          <p:spPr bwMode="auto">
            <a:xfrm>
              <a:off x="3724275" y="2266950"/>
              <a:ext cx="6350" cy="7938"/>
            </a:xfrm>
            <a:custGeom>
              <a:avLst/>
              <a:gdLst>
                <a:gd name="T0" fmla="*/ 17 w 18"/>
                <a:gd name="T1" fmla="*/ 8 h 21"/>
                <a:gd name="T2" fmla="*/ 17 w 18"/>
                <a:gd name="T3" fmla="*/ 3 h 21"/>
                <a:gd name="T4" fmla="*/ 3 w 18"/>
                <a:gd name="T5" fmla="*/ 0 h 21"/>
                <a:gd name="T6" fmla="*/ 0 w 18"/>
                <a:gd name="T7" fmla="*/ 17 h 21"/>
                <a:gd name="T8" fmla="*/ 17 w 18"/>
                <a:gd name="T9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1">
                  <a:moveTo>
                    <a:pt x="17" y="8"/>
                  </a:moveTo>
                  <a:lnTo>
                    <a:pt x="17" y="3"/>
                  </a:lnTo>
                  <a:cubicBezTo>
                    <a:pt x="11" y="0"/>
                    <a:pt x="8" y="0"/>
                    <a:pt x="3" y="0"/>
                  </a:cubicBezTo>
                  <a:cubicBezTo>
                    <a:pt x="0" y="5"/>
                    <a:pt x="0" y="11"/>
                    <a:pt x="0" y="17"/>
                  </a:cubicBezTo>
                  <a:cubicBezTo>
                    <a:pt x="8" y="20"/>
                    <a:pt x="8" y="11"/>
                    <a:pt x="17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3" name="Freeform 518"/>
            <p:cNvSpPr>
              <a:spLocks noChangeArrowheads="1"/>
            </p:cNvSpPr>
            <p:nvPr/>
          </p:nvSpPr>
          <p:spPr bwMode="auto">
            <a:xfrm>
              <a:off x="3841750" y="2760663"/>
              <a:ext cx="12700" cy="7937"/>
            </a:xfrm>
            <a:custGeom>
              <a:avLst/>
              <a:gdLst>
                <a:gd name="T0" fmla="*/ 33 w 34"/>
                <a:gd name="T1" fmla="*/ 11 h 23"/>
                <a:gd name="T2" fmla="*/ 33 w 34"/>
                <a:gd name="T3" fmla="*/ 5 h 23"/>
                <a:gd name="T4" fmla="*/ 31 w 34"/>
                <a:gd name="T5" fmla="*/ 8 h 23"/>
                <a:gd name="T6" fmla="*/ 25 w 34"/>
                <a:gd name="T7" fmla="*/ 0 h 23"/>
                <a:gd name="T8" fmla="*/ 0 w 34"/>
                <a:gd name="T9" fmla="*/ 22 h 23"/>
                <a:gd name="T10" fmla="*/ 33 w 34"/>
                <a:gd name="T11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3" y="8"/>
                    <a:pt x="33" y="8"/>
                    <a:pt x="33" y="5"/>
                  </a:cubicBezTo>
                  <a:lnTo>
                    <a:pt x="31" y="8"/>
                  </a:lnTo>
                  <a:cubicBezTo>
                    <a:pt x="31" y="5"/>
                    <a:pt x="28" y="3"/>
                    <a:pt x="25" y="0"/>
                  </a:cubicBezTo>
                  <a:cubicBezTo>
                    <a:pt x="14" y="5"/>
                    <a:pt x="8" y="17"/>
                    <a:pt x="0" y="22"/>
                  </a:cubicBezTo>
                  <a:cubicBezTo>
                    <a:pt x="16" y="22"/>
                    <a:pt x="19" y="8"/>
                    <a:pt x="3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4" name="Freeform 519"/>
            <p:cNvSpPr>
              <a:spLocks noChangeArrowheads="1"/>
            </p:cNvSpPr>
            <p:nvPr/>
          </p:nvSpPr>
          <p:spPr bwMode="auto">
            <a:xfrm>
              <a:off x="3846513" y="2160588"/>
              <a:ext cx="1587" cy="3175"/>
            </a:xfrm>
            <a:custGeom>
              <a:avLst/>
              <a:gdLst>
                <a:gd name="T0" fmla="*/ 5 w 6"/>
                <a:gd name="T1" fmla="*/ 0 h 10"/>
                <a:gd name="T2" fmla="*/ 2 w 6"/>
                <a:gd name="T3" fmla="*/ 0 h 10"/>
                <a:gd name="T4" fmla="*/ 0 w 6"/>
                <a:gd name="T5" fmla="*/ 6 h 10"/>
                <a:gd name="T6" fmla="*/ 2 w 6"/>
                <a:gd name="T7" fmla="*/ 9 h 10"/>
                <a:gd name="T8" fmla="*/ 5 w 6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5" y="0"/>
                  </a:moveTo>
                  <a:lnTo>
                    <a:pt x="2" y="0"/>
                  </a:lnTo>
                  <a:cubicBezTo>
                    <a:pt x="2" y="3"/>
                    <a:pt x="2" y="3"/>
                    <a:pt x="0" y="6"/>
                  </a:cubicBezTo>
                  <a:lnTo>
                    <a:pt x="2" y="9"/>
                  </a:lnTo>
                  <a:cubicBezTo>
                    <a:pt x="2" y="3"/>
                    <a:pt x="2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5" name="Freeform 520"/>
            <p:cNvSpPr>
              <a:spLocks noChangeArrowheads="1"/>
            </p:cNvSpPr>
            <p:nvPr/>
          </p:nvSpPr>
          <p:spPr bwMode="auto">
            <a:xfrm>
              <a:off x="3838575" y="2730500"/>
              <a:ext cx="3175" cy="3175"/>
            </a:xfrm>
            <a:custGeom>
              <a:avLst/>
              <a:gdLst>
                <a:gd name="T0" fmla="*/ 3 w 7"/>
                <a:gd name="T1" fmla="*/ 0 h 9"/>
                <a:gd name="T2" fmla="*/ 0 w 7"/>
                <a:gd name="T3" fmla="*/ 8 h 9"/>
                <a:gd name="T4" fmla="*/ 6 w 7"/>
                <a:gd name="T5" fmla="*/ 6 h 9"/>
                <a:gd name="T6" fmla="*/ 3 w 7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cubicBezTo>
                    <a:pt x="3" y="3"/>
                    <a:pt x="0" y="6"/>
                    <a:pt x="0" y="8"/>
                  </a:cubicBezTo>
                  <a:cubicBezTo>
                    <a:pt x="3" y="8"/>
                    <a:pt x="3" y="6"/>
                    <a:pt x="6" y="6"/>
                  </a:cubicBezTo>
                  <a:cubicBezTo>
                    <a:pt x="6" y="0"/>
                    <a:pt x="6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6" name="Freeform 521"/>
            <p:cNvSpPr>
              <a:spLocks noChangeArrowheads="1"/>
            </p:cNvSpPr>
            <p:nvPr/>
          </p:nvSpPr>
          <p:spPr bwMode="auto">
            <a:xfrm>
              <a:off x="3836988" y="2765425"/>
              <a:ext cx="4762" cy="4763"/>
            </a:xfrm>
            <a:custGeom>
              <a:avLst/>
              <a:gdLst>
                <a:gd name="T0" fmla="*/ 0 w 13"/>
                <a:gd name="T1" fmla="*/ 8 h 15"/>
                <a:gd name="T2" fmla="*/ 0 w 13"/>
                <a:gd name="T3" fmla="*/ 14 h 15"/>
                <a:gd name="T4" fmla="*/ 6 w 13"/>
                <a:gd name="T5" fmla="*/ 14 h 15"/>
                <a:gd name="T6" fmla="*/ 12 w 13"/>
                <a:gd name="T7" fmla="*/ 0 h 15"/>
                <a:gd name="T8" fmla="*/ 0 w 13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0" y="8"/>
                  </a:moveTo>
                  <a:cubicBezTo>
                    <a:pt x="0" y="11"/>
                    <a:pt x="0" y="11"/>
                    <a:pt x="0" y="14"/>
                  </a:cubicBezTo>
                  <a:lnTo>
                    <a:pt x="6" y="14"/>
                  </a:lnTo>
                  <a:cubicBezTo>
                    <a:pt x="9" y="11"/>
                    <a:pt x="9" y="3"/>
                    <a:pt x="12" y="0"/>
                  </a:cubicBezTo>
                  <a:cubicBezTo>
                    <a:pt x="9" y="0"/>
                    <a:pt x="3" y="3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7" name="Freeform 522"/>
            <p:cNvSpPr>
              <a:spLocks noChangeArrowheads="1"/>
            </p:cNvSpPr>
            <p:nvPr/>
          </p:nvSpPr>
          <p:spPr bwMode="auto">
            <a:xfrm>
              <a:off x="3849688" y="2547938"/>
              <a:ext cx="3175" cy="3175"/>
            </a:xfrm>
            <a:custGeom>
              <a:avLst/>
              <a:gdLst>
                <a:gd name="T0" fmla="*/ 9 w 10"/>
                <a:gd name="T1" fmla="*/ 9 h 10"/>
                <a:gd name="T2" fmla="*/ 9 w 10"/>
                <a:gd name="T3" fmla="*/ 0 h 10"/>
                <a:gd name="T4" fmla="*/ 0 w 10"/>
                <a:gd name="T5" fmla="*/ 0 h 10"/>
                <a:gd name="T6" fmla="*/ 3 w 10"/>
                <a:gd name="T7" fmla="*/ 9 h 10"/>
                <a:gd name="T8" fmla="*/ 9 w 10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9" y="9"/>
                  </a:moveTo>
                  <a:cubicBezTo>
                    <a:pt x="9" y="6"/>
                    <a:pt x="9" y="3"/>
                    <a:pt x="9" y="0"/>
                  </a:cubicBezTo>
                  <a:cubicBezTo>
                    <a:pt x="6" y="0"/>
                    <a:pt x="3" y="0"/>
                    <a:pt x="0" y="0"/>
                  </a:cubicBezTo>
                  <a:cubicBezTo>
                    <a:pt x="0" y="3"/>
                    <a:pt x="0" y="6"/>
                    <a:pt x="3" y="9"/>
                  </a:cubicBezTo>
                  <a:cubicBezTo>
                    <a:pt x="6" y="9"/>
                    <a:pt x="6" y="9"/>
                    <a:pt x="9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8" name="Freeform 523"/>
            <p:cNvSpPr>
              <a:spLocks noChangeArrowheads="1"/>
            </p:cNvSpPr>
            <p:nvPr/>
          </p:nvSpPr>
          <p:spPr bwMode="auto">
            <a:xfrm>
              <a:off x="3703638" y="2389188"/>
              <a:ext cx="3175" cy="3175"/>
            </a:xfrm>
            <a:custGeom>
              <a:avLst/>
              <a:gdLst>
                <a:gd name="T0" fmla="*/ 3 w 9"/>
                <a:gd name="T1" fmla="*/ 0 h 10"/>
                <a:gd name="T2" fmla="*/ 0 w 9"/>
                <a:gd name="T3" fmla="*/ 6 h 10"/>
                <a:gd name="T4" fmla="*/ 5 w 9"/>
                <a:gd name="T5" fmla="*/ 9 h 10"/>
                <a:gd name="T6" fmla="*/ 8 w 9"/>
                <a:gd name="T7" fmla="*/ 3 h 10"/>
                <a:gd name="T8" fmla="*/ 3 w 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3" y="0"/>
                  </a:moveTo>
                  <a:cubicBezTo>
                    <a:pt x="3" y="3"/>
                    <a:pt x="0" y="3"/>
                    <a:pt x="0" y="6"/>
                  </a:cubicBezTo>
                  <a:cubicBezTo>
                    <a:pt x="3" y="6"/>
                    <a:pt x="3" y="9"/>
                    <a:pt x="5" y="9"/>
                  </a:cubicBezTo>
                  <a:cubicBezTo>
                    <a:pt x="5" y="6"/>
                    <a:pt x="8" y="6"/>
                    <a:pt x="8" y="3"/>
                  </a:cubicBezTo>
                  <a:cubicBezTo>
                    <a:pt x="5" y="3"/>
                    <a:pt x="5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9" name="Freeform 524"/>
            <p:cNvSpPr>
              <a:spLocks noChangeArrowheads="1"/>
            </p:cNvSpPr>
            <p:nvPr/>
          </p:nvSpPr>
          <p:spPr bwMode="auto">
            <a:xfrm>
              <a:off x="3836988" y="2336800"/>
              <a:ext cx="4762" cy="3175"/>
            </a:xfrm>
            <a:custGeom>
              <a:avLst/>
              <a:gdLst>
                <a:gd name="T0" fmla="*/ 3 w 13"/>
                <a:gd name="T1" fmla="*/ 0 h 10"/>
                <a:gd name="T2" fmla="*/ 0 w 13"/>
                <a:gd name="T3" fmla="*/ 9 h 10"/>
                <a:gd name="T4" fmla="*/ 9 w 13"/>
                <a:gd name="T5" fmla="*/ 6 h 10"/>
                <a:gd name="T6" fmla="*/ 12 w 13"/>
                <a:gd name="T7" fmla="*/ 6 h 10"/>
                <a:gd name="T8" fmla="*/ 12 w 13"/>
                <a:gd name="T9" fmla="*/ 6 h 10"/>
                <a:gd name="T10" fmla="*/ 3 w 13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0">
                  <a:moveTo>
                    <a:pt x="3" y="0"/>
                  </a:moveTo>
                  <a:cubicBezTo>
                    <a:pt x="0" y="3"/>
                    <a:pt x="0" y="6"/>
                    <a:pt x="0" y="9"/>
                  </a:cubicBezTo>
                  <a:cubicBezTo>
                    <a:pt x="3" y="9"/>
                    <a:pt x="6" y="9"/>
                    <a:pt x="9" y="6"/>
                  </a:cubicBezTo>
                  <a:lnTo>
                    <a:pt x="12" y="6"/>
                  </a:lnTo>
                  <a:lnTo>
                    <a:pt x="12" y="6"/>
                  </a:lnTo>
                  <a:cubicBezTo>
                    <a:pt x="6" y="6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0" name="Freeform 525"/>
            <p:cNvSpPr>
              <a:spLocks noChangeArrowheads="1"/>
            </p:cNvSpPr>
            <p:nvPr/>
          </p:nvSpPr>
          <p:spPr bwMode="auto">
            <a:xfrm>
              <a:off x="3822700" y="2598738"/>
              <a:ext cx="3175" cy="4762"/>
            </a:xfrm>
            <a:custGeom>
              <a:avLst/>
              <a:gdLst>
                <a:gd name="T0" fmla="*/ 8 w 9"/>
                <a:gd name="T1" fmla="*/ 3 h 15"/>
                <a:gd name="T2" fmla="*/ 0 w 9"/>
                <a:gd name="T3" fmla="*/ 11 h 15"/>
                <a:gd name="T4" fmla="*/ 8 w 9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3" y="0"/>
                    <a:pt x="3" y="9"/>
                    <a:pt x="0" y="11"/>
                  </a:cubicBezTo>
                  <a:cubicBezTo>
                    <a:pt x="8" y="14"/>
                    <a:pt x="8" y="11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1" name="Freeform 526"/>
            <p:cNvSpPr>
              <a:spLocks noChangeArrowheads="1"/>
            </p:cNvSpPr>
            <p:nvPr/>
          </p:nvSpPr>
          <p:spPr bwMode="auto">
            <a:xfrm>
              <a:off x="3827463" y="2498725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  <a:gd name="T4" fmla="*/ 0 w 4"/>
                <a:gd name="T5" fmla="*/ 3 h 4"/>
                <a:gd name="T6" fmla="*/ 3 w 4"/>
                <a:gd name="T7" fmla="*/ 3 h 4"/>
                <a:gd name="T8" fmla="*/ 3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lnTo>
                    <a:pt x="3" y="0"/>
                  </a:lnTo>
                  <a:cubicBezTo>
                    <a:pt x="0" y="0"/>
                    <a:pt x="0" y="3"/>
                    <a:pt x="0" y="3"/>
                  </a:cubicBezTo>
                  <a:cubicBezTo>
                    <a:pt x="0" y="3"/>
                    <a:pt x="0" y="3"/>
                    <a:pt x="3" y="3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2" name="Freeform 527"/>
            <p:cNvSpPr>
              <a:spLocks noChangeArrowheads="1"/>
            </p:cNvSpPr>
            <p:nvPr/>
          </p:nvSpPr>
          <p:spPr bwMode="auto">
            <a:xfrm>
              <a:off x="3825875" y="2476500"/>
              <a:ext cx="1588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0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3" name="Freeform 528"/>
            <p:cNvSpPr>
              <a:spLocks noChangeArrowheads="1"/>
            </p:cNvSpPr>
            <p:nvPr/>
          </p:nvSpPr>
          <p:spPr bwMode="auto">
            <a:xfrm>
              <a:off x="3838575" y="2235200"/>
              <a:ext cx="3175" cy="1588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0 h 6"/>
                <a:gd name="T4" fmla="*/ 0 w 7"/>
                <a:gd name="T5" fmla="*/ 2 h 6"/>
                <a:gd name="T6" fmla="*/ 3 w 7"/>
                <a:gd name="T7" fmla="*/ 5 h 6"/>
                <a:gd name="T8" fmla="*/ 6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lnTo>
                    <a:pt x="0" y="0"/>
                  </a:lnTo>
                  <a:lnTo>
                    <a:pt x="0" y="2"/>
                  </a:lnTo>
                  <a:cubicBezTo>
                    <a:pt x="0" y="2"/>
                    <a:pt x="3" y="2"/>
                    <a:pt x="3" y="5"/>
                  </a:cubicBezTo>
                  <a:cubicBezTo>
                    <a:pt x="3" y="5"/>
                    <a:pt x="6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4" name="Freeform 529"/>
            <p:cNvSpPr>
              <a:spLocks noChangeArrowheads="1"/>
            </p:cNvSpPr>
            <p:nvPr/>
          </p:nvSpPr>
          <p:spPr bwMode="auto">
            <a:xfrm>
              <a:off x="3835400" y="2195513"/>
              <a:ext cx="3175" cy="4762"/>
            </a:xfrm>
            <a:custGeom>
              <a:avLst/>
              <a:gdLst>
                <a:gd name="T0" fmla="*/ 5 w 9"/>
                <a:gd name="T1" fmla="*/ 12 h 13"/>
                <a:gd name="T2" fmla="*/ 8 w 9"/>
                <a:gd name="T3" fmla="*/ 3 h 13"/>
                <a:gd name="T4" fmla="*/ 0 w 9"/>
                <a:gd name="T5" fmla="*/ 0 h 13"/>
                <a:gd name="T6" fmla="*/ 2 w 9"/>
                <a:gd name="T7" fmla="*/ 9 h 13"/>
                <a:gd name="T8" fmla="*/ 5 w 9"/>
                <a:gd name="T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3">
                  <a:moveTo>
                    <a:pt x="5" y="12"/>
                  </a:moveTo>
                  <a:cubicBezTo>
                    <a:pt x="5" y="9"/>
                    <a:pt x="8" y="6"/>
                    <a:pt x="8" y="3"/>
                  </a:cubicBezTo>
                  <a:cubicBezTo>
                    <a:pt x="5" y="0"/>
                    <a:pt x="2" y="0"/>
                    <a:pt x="0" y="0"/>
                  </a:cubicBezTo>
                  <a:cubicBezTo>
                    <a:pt x="0" y="3"/>
                    <a:pt x="0" y="6"/>
                    <a:pt x="2" y="9"/>
                  </a:cubicBezTo>
                  <a:lnTo>
                    <a:pt x="5" y="1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5" name="Freeform 530"/>
            <p:cNvSpPr>
              <a:spLocks noChangeArrowheads="1"/>
            </p:cNvSpPr>
            <p:nvPr/>
          </p:nvSpPr>
          <p:spPr bwMode="auto">
            <a:xfrm>
              <a:off x="3832225" y="2746375"/>
              <a:ext cx="3175" cy="4763"/>
            </a:xfrm>
            <a:custGeom>
              <a:avLst/>
              <a:gdLst>
                <a:gd name="T0" fmla="*/ 9 w 10"/>
                <a:gd name="T1" fmla="*/ 0 h 13"/>
                <a:gd name="T2" fmla="*/ 3 w 10"/>
                <a:gd name="T3" fmla="*/ 0 h 13"/>
                <a:gd name="T4" fmla="*/ 0 w 10"/>
                <a:gd name="T5" fmla="*/ 12 h 13"/>
                <a:gd name="T6" fmla="*/ 9 w 1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9" y="0"/>
                  </a:moveTo>
                  <a:cubicBezTo>
                    <a:pt x="6" y="0"/>
                    <a:pt x="6" y="0"/>
                    <a:pt x="3" y="0"/>
                  </a:cubicBezTo>
                  <a:cubicBezTo>
                    <a:pt x="3" y="3"/>
                    <a:pt x="0" y="9"/>
                    <a:pt x="0" y="12"/>
                  </a:cubicBezTo>
                  <a:cubicBezTo>
                    <a:pt x="6" y="12"/>
                    <a:pt x="9" y="6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6" name="Freeform 531"/>
            <p:cNvSpPr>
              <a:spLocks noChangeArrowheads="1"/>
            </p:cNvSpPr>
            <p:nvPr/>
          </p:nvSpPr>
          <p:spPr bwMode="auto">
            <a:xfrm>
              <a:off x="3892550" y="2209800"/>
              <a:ext cx="3175" cy="4763"/>
            </a:xfrm>
            <a:custGeom>
              <a:avLst/>
              <a:gdLst>
                <a:gd name="T0" fmla="*/ 8 w 9"/>
                <a:gd name="T1" fmla="*/ 3 h 12"/>
                <a:gd name="T2" fmla="*/ 5 w 9"/>
                <a:gd name="T3" fmla="*/ 3 h 12"/>
                <a:gd name="T4" fmla="*/ 0 w 9"/>
                <a:gd name="T5" fmla="*/ 5 h 12"/>
                <a:gd name="T6" fmla="*/ 8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3"/>
                  </a:moveTo>
                  <a:lnTo>
                    <a:pt x="5" y="3"/>
                  </a:lnTo>
                  <a:cubicBezTo>
                    <a:pt x="0" y="0"/>
                    <a:pt x="0" y="3"/>
                    <a:pt x="0" y="5"/>
                  </a:cubicBezTo>
                  <a:cubicBezTo>
                    <a:pt x="2" y="11"/>
                    <a:pt x="5" y="5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7" name="Freeform 532"/>
            <p:cNvSpPr>
              <a:spLocks noChangeArrowheads="1"/>
            </p:cNvSpPr>
            <p:nvPr/>
          </p:nvSpPr>
          <p:spPr bwMode="auto">
            <a:xfrm>
              <a:off x="3895725" y="2386013"/>
              <a:ext cx="3175" cy="1587"/>
            </a:xfrm>
            <a:custGeom>
              <a:avLst/>
              <a:gdLst>
                <a:gd name="T0" fmla="*/ 3 w 7"/>
                <a:gd name="T1" fmla="*/ 5 h 6"/>
                <a:gd name="T2" fmla="*/ 0 w 7"/>
                <a:gd name="T3" fmla="*/ 0 h 6"/>
                <a:gd name="T4" fmla="*/ 0 w 7"/>
                <a:gd name="T5" fmla="*/ 3 h 6"/>
                <a:gd name="T6" fmla="*/ 3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3" y="5"/>
                  </a:moveTo>
                  <a:cubicBezTo>
                    <a:pt x="6" y="3"/>
                    <a:pt x="3" y="0"/>
                    <a:pt x="0" y="0"/>
                  </a:cubicBezTo>
                  <a:lnTo>
                    <a:pt x="0" y="3"/>
                  </a:lnTo>
                  <a:lnTo>
                    <a:pt x="3" y="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8" name="Freeform 533"/>
            <p:cNvSpPr>
              <a:spLocks noChangeArrowheads="1"/>
            </p:cNvSpPr>
            <p:nvPr/>
          </p:nvSpPr>
          <p:spPr bwMode="auto">
            <a:xfrm>
              <a:off x="3819525" y="2767013"/>
              <a:ext cx="4763" cy="4762"/>
            </a:xfrm>
            <a:custGeom>
              <a:avLst/>
              <a:gdLst>
                <a:gd name="T0" fmla="*/ 6 w 15"/>
                <a:gd name="T1" fmla="*/ 0 h 13"/>
                <a:gd name="T2" fmla="*/ 6 w 15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6" y="0"/>
                  </a:moveTo>
                  <a:cubicBezTo>
                    <a:pt x="0" y="12"/>
                    <a:pt x="14" y="9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9" name="Freeform 534"/>
            <p:cNvSpPr>
              <a:spLocks noChangeArrowheads="1"/>
            </p:cNvSpPr>
            <p:nvPr/>
          </p:nvSpPr>
          <p:spPr bwMode="auto">
            <a:xfrm>
              <a:off x="3894138" y="2805113"/>
              <a:ext cx="3175" cy="1587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0 h 6"/>
                <a:gd name="T4" fmla="*/ 3 w 7"/>
                <a:gd name="T5" fmla="*/ 0 h 6"/>
                <a:gd name="T6" fmla="*/ 0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cubicBezTo>
                    <a:pt x="0" y="3"/>
                    <a:pt x="3" y="3"/>
                    <a:pt x="6" y="0"/>
                  </a:cubicBezTo>
                  <a:lnTo>
                    <a:pt x="3" y="0"/>
                  </a:lnTo>
                  <a:cubicBezTo>
                    <a:pt x="0" y="0"/>
                    <a:pt x="0" y="3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0" name="Freeform 535"/>
            <p:cNvSpPr>
              <a:spLocks noChangeArrowheads="1"/>
            </p:cNvSpPr>
            <p:nvPr/>
          </p:nvSpPr>
          <p:spPr bwMode="auto">
            <a:xfrm>
              <a:off x="3890963" y="2276475"/>
              <a:ext cx="1587" cy="1588"/>
            </a:xfrm>
            <a:custGeom>
              <a:avLst/>
              <a:gdLst>
                <a:gd name="T0" fmla="*/ 3 w 4"/>
                <a:gd name="T1" fmla="*/ 3 h 4"/>
                <a:gd name="T2" fmla="*/ 0 w 4"/>
                <a:gd name="T3" fmla="*/ 0 h 4"/>
                <a:gd name="T4" fmla="*/ 3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lnTo>
                    <a:pt x="0" y="0"/>
                  </a:lnTo>
                  <a:cubicBezTo>
                    <a:pt x="0" y="0"/>
                    <a:pt x="0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1" name="Freeform 536"/>
            <p:cNvSpPr>
              <a:spLocks noChangeArrowheads="1"/>
            </p:cNvSpPr>
            <p:nvPr/>
          </p:nvSpPr>
          <p:spPr bwMode="auto">
            <a:xfrm>
              <a:off x="3897313" y="2457450"/>
              <a:ext cx="1587" cy="1588"/>
            </a:xfrm>
            <a:custGeom>
              <a:avLst/>
              <a:gdLst>
                <a:gd name="T0" fmla="*/ 3 w 4"/>
                <a:gd name="T1" fmla="*/ 3 h 4"/>
                <a:gd name="T2" fmla="*/ 3 w 4"/>
                <a:gd name="T3" fmla="*/ 0 h 4"/>
                <a:gd name="T4" fmla="*/ 0 w 4"/>
                <a:gd name="T5" fmla="*/ 0 h 4"/>
                <a:gd name="T6" fmla="*/ 3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2" name="Freeform 537"/>
            <p:cNvSpPr>
              <a:spLocks noChangeArrowheads="1"/>
            </p:cNvSpPr>
            <p:nvPr/>
          </p:nvSpPr>
          <p:spPr bwMode="auto">
            <a:xfrm>
              <a:off x="3898900" y="2724150"/>
              <a:ext cx="1588" cy="1588"/>
            </a:xfrm>
            <a:custGeom>
              <a:avLst/>
              <a:gdLst>
                <a:gd name="T0" fmla="*/ 3 w 4"/>
                <a:gd name="T1" fmla="*/ 3 h 4"/>
                <a:gd name="T2" fmla="*/ 3 w 4"/>
                <a:gd name="T3" fmla="*/ 0 h 4"/>
                <a:gd name="T4" fmla="*/ 3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lnTo>
                    <a:pt x="3" y="0"/>
                  </a:lnTo>
                  <a:cubicBezTo>
                    <a:pt x="3" y="3"/>
                    <a:pt x="0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3" name="Freeform 538"/>
            <p:cNvSpPr>
              <a:spLocks noChangeArrowheads="1"/>
            </p:cNvSpPr>
            <p:nvPr/>
          </p:nvSpPr>
          <p:spPr bwMode="auto">
            <a:xfrm>
              <a:off x="3897313" y="2728913"/>
              <a:ext cx="3175" cy="4762"/>
            </a:xfrm>
            <a:custGeom>
              <a:avLst/>
              <a:gdLst>
                <a:gd name="T0" fmla="*/ 0 w 9"/>
                <a:gd name="T1" fmla="*/ 9 h 12"/>
                <a:gd name="T2" fmla="*/ 8 w 9"/>
                <a:gd name="T3" fmla="*/ 3 h 12"/>
                <a:gd name="T4" fmla="*/ 3 w 9"/>
                <a:gd name="T5" fmla="*/ 0 h 12"/>
                <a:gd name="T6" fmla="*/ 0 w 9"/>
                <a:gd name="T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9"/>
                  </a:moveTo>
                  <a:cubicBezTo>
                    <a:pt x="5" y="11"/>
                    <a:pt x="8" y="6"/>
                    <a:pt x="8" y="3"/>
                  </a:cubicBezTo>
                  <a:cubicBezTo>
                    <a:pt x="5" y="3"/>
                    <a:pt x="5" y="3"/>
                    <a:pt x="3" y="0"/>
                  </a:cubicBezTo>
                  <a:cubicBezTo>
                    <a:pt x="5" y="6"/>
                    <a:pt x="3" y="9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4" name="Freeform 539"/>
            <p:cNvSpPr>
              <a:spLocks noChangeArrowheads="1"/>
            </p:cNvSpPr>
            <p:nvPr/>
          </p:nvSpPr>
          <p:spPr bwMode="auto">
            <a:xfrm>
              <a:off x="3884613" y="2255838"/>
              <a:ext cx="6350" cy="6350"/>
            </a:xfrm>
            <a:custGeom>
              <a:avLst/>
              <a:gdLst>
                <a:gd name="T0" fmla="*/ 11 w 18"/>
                <a:gd name="T1" fmla="*/ 0 h 18"/>
                <a:gd name="T2" fmla="*/ 0 w 18"/>
                <a:gd name="T3" fmla="*/ 11 h 18"/>
                <a:gd name="T4" fmla="*/ 8 w 18"/>
                <a:gd name="T5" fmla="*/ 17 h 18"/>
                <a:gd name="T6" fmla="*/ 11 w 18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cubicBezTo>
                    <a:pt x="3" y="0"/>
                    <a:pt x="0" y="3"/>
                    <a:pt x="0" y="11"/>
                  </a:cubicBezTo>
                  <a:cubicBezTo>
                    <a:pt x="3" y="11"/>
                    <a:pt x="5" y="14"/>
                    <a:pt x="8" y="17"/>
                  </a:cubicBezTo>
                  <a:cubicBezTo>
                    <a:pt x="11" y="11"/>
                    <a:pt x="17" y="5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5" name="Freeform 540"/>
            <p:cNvSpPr>
              <a:spLocks noChangeArrowheads="1"/>
            </p:cNvSpPr>
            <p:nvPr/>
          </p:nvSpPr>
          <p:spPr bwMode="auto">
            <a:xfrm>
              <a:off x="3868738" y="2430463"/>
              <a:ext cx="4762" cy="6350"/>
            </a:xfrm>
            <a:custGeom>
              <a:avLst/>
              <a:gdLst>
                <a:gd name="T0" fmla="*/ 5 w 15"/>
                <a:gd name="T1" fmla="*/ 0 h 18"/>
                <a:gd name="T2" fmla="*/ 0 w 15"/>
                <a:gd name="T3" fmla="*/ 11 h 18"/>
                <a:gd name="T4" fmla="*/ 14 w 15"/>
                <a:gd name="T5" fmla="*/ 17 h 18"/>
                <a:gd name="T6" fmla="*/ 5 w 15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8">
                  <a:moveTo>
                    <a:pt x="5" y="0"/>
                  </a:moveTo>
                  <a:cubicBezTo>
                    <a:pt x="3" y="3"/>
                    <a:pt x="0" y="6"/>
                    <a:pt x="0" y="11"/>
                  </a:cubicBezTo>
                  <a:cubicBezTo>
                    <a:pt x="3" y="14"/>
                    <a:pt x="8" y="17"/>
                    <a:pt x="14" y="17"/>
                  </a:cubicBezTo>
                  <a:cubicBezTo>
                    <a:pt x="8" y="8"/>
                    <a:pt x="5" y="6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6" name="Freeform 541"/>
            <p:cNvSpPr>
              <a:spLocks noChangeArrowheads="1"/>
            </p:cNvSpPr>
            <p:nvPr/>
          </p:nvSpPr>
          <p:spPr bwMode="auto">
            <a:xfrm>
              <a:off x="3873500" y="2433638"/>
              <a:ext cx="4763" cy="3175"/>
            </a:xfrm>
            <a:custGeom>
              <a:avLst/>
              <a:gdLst>
                <a:gd name="T0" fmla="*/ 0 w 12"/>
                <a:gd name="T1" fmla="*/ 6 h 7"/>
                <a:gd name="T2" fmla="*/ 11 w 12"/>
                <a:gd name="T3" fmla="*/ 3 h 7"/>
                <a:gd name="T4" fmla="*/ 0 w 12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7">
                  <a:moveTo>
                    <a:pt x="0" y="6"/>
                  </a:moveTo>
                  <a:cubicBezTo>
                    <a:pt x="5" y="6"/>
                    <a:pt x="8" y="6"/>
                    <a:pt x="11" y="3"/>
                  </a:cubicBezTo>
                  <a:cubicBezTo>
                    <a:pt x="8" y="0"/>
                    <a:pt x="3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7" name="Freeform 542"/>
            <p:cNvSpPr>
              <a:spLocks noChangeArrowheads="1"/>
            </p:cNvSpPr>
            <p:nvPr/>
          </p:nvSpPr>
          <p:spPr bwMode="auto">
            <a:xfrm>
              <a:off x="3862388" y="2568575"/>
              <a:ext cx="4762" cy="4763"/>
            </a:xfrm>
            <a:custGeom>
              <a:avLst/>
              <a:gdLst>
                <a:gd name="T0" fmla="*/ 11 w 12"/>
                <a:gd name="T1" fmla="*/ 9 h 13"/>
                <a:gd name="T2" fmla="*/ 8 w 12"/>
                <a:gd name="T3" fmla="*/ 0 h 13"/>
                <a:gd name="T4" fmla="*/ 5 w 12"/>
                <a:gd name="T5" fmla="*/ 6 h 13"/>
                <a:gd name="T6" fmla="*/ 0 w 12"/>
                <a:gd name="T7" fmla="*/ 6 h 13"/>
                <a:gd name="T8" fmla="*/ 0 w 12"/>
                <a:gd name="T9" fmla="*/ 12 h 13"/>
                <a:gd name="T10" fmla="*/ 11 w 12"/>
                <a:gd name="T1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3">
                  <a:moveTo>
                    <a:pt x="11" y="9"/>
                  </a:moveTo>
                  <a:cubicBezTo>
                    <a:pt x="11" y="6"/>
                    <a:pt x="11" y="3"/>
                    <a:pt x="8" y="0"/>
                  </a:cubicBezTo>
                  <a:cubicBezTo>
                    <a:pt x="8" y="3"/>
                    <a:pt x="5" y="3"/>
                    <a:pt x="5" y="6"/>
                  </a:cubicBezTo>
                  <a:lnTo>
                    <a:pt x="0" y="6"/>
                  </a:lnTo>
                  <a:cubicBezTo>
                    <a:pt x="0" y="9"/>
                    <a:pt x="0" y="9"/>
                    <a:pt x="0" y="12"/>
                  </a:cubicBezTo>
                  <a:lnTo>
                    <a:pt x="11" y="9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8" name="Freeform 543"/>
            <p:cNvSpPr>
              <a:spLocks noChangeArrowheads="1"/>
            </p:cNvSpPr>
            <p:nvPr/>
          </p:nvSpPr>
          <p:spPr bwMode="auto">
            <a:xfrm>
              <a:off x="3878263" y="2776538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6 w 7"/>
                <a:gd name="T3" fmla="*/ 0 h 6"/>
                <a:gd name="T4" fmla="*/ 3 w 7"/>
                <a:gd name="T5" fmla="*/ 0 h 6"/>
                <a:gd name="T6" fmla="*/ 6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lnTo>
                    <a:pt x="6" y="0"/>
                  </a:lnTo>
                  <a:lnTo>
                    <a:pt x="3" y="0"/>
                  </a:lnTo>
                  <a:cubicBezTo>
                    <a:pt x="0" y="3"/>
                    <a:pt x="0" y="5"/>
                    <a:pt x="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9" name="Freeform 544"/>
            <p:cNvSpPr>
              <a:spLocks noChangeArrowheads="1"/>
            </p:cNvSpPr>
            <p:nvPr/>
          </p:nvSpPr>
          <p:spPr bwMode="auto">
            <a:xfrm>
              <a:off x="3878263" y="2913063"/>
              <a:ext cx="1587" cy="1587"/>
            </a:xfrm>
            <a:custGeom>
              <a:avLst/>
              <a:gdLst>
                <a:gd name="T0" fmla="*/ 3 w 4"/>
                <a:gd name="T1" fmla="*/ 0 h 3"/>
                <a:gd name="T2" fmla="*/ 0 w 4"/>
                <a:gd name="T3" fmla="*/ 0 h 3"/>
                <a:gd name="T4" fmla="*/ 0 w 4"/>
                <a:gd name="T5" fmla="*/ 2 h 3"/>
                <a:gd name="T6" fmla="*/ 3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2"/>
                  </a:cubicBezTo>
                  <a:cubicBezTo>
                    <a:pt x="0" y="0"/>
                    <a:pt x="0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0" name="Freeform 545"/>
            <p:cNvSpPr>
              <a:spLocks noChangeArrowheads="1"/>
            </p:cNvSpPr>
            <p:nvPr/>
          </p:nvSpPr>
          <p:spPr bwMode="auto">
            <a:xfrm>
              <a:off x="3646488" y="2722563"/>
              <a:ext cx="9525" cy="9525"/>
            </a:xfrm>
            <a:custGeom>
              <a:avLst/>
              <a:gdLst>
                <a:gd name="T0" fmla="*/ 14 w 26"/>
                <a:gd name="T1" fmla="*/ 3 h 27"/>
                <a:gd name="T2" fmla="*/ 11 w 26"/>
                <a:gd name="T3" fmla="*/ 9 h 27"/>
                <a:gd name="T4" fmla="*/ 8 w 26"/>
                <a:gd name="T5" fmla="*/ 0 h 27"/>
                <a:gd name="T6" fmla="*/ 0 w 26"/>
                <a:gd name="T7" fmla="*/ 3 h 27"/>
                <a:gd name="T8" fmla="*/ 20 w 26"/>
                <a:gd name="T9" fmla="*/ 26 h 27"/>
                <a:gd name="T10" fmla="*/ 25 w 26"/>
                <a:gd name="T11" fmla="*/ 23 h 27"/>
                <a:gd name="T12" fmla="*/ 14 w 26"/>
                <a:gd name="T13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7">
                  <a:moveTo>
                    <a:pt x="14" y="3"/>
                  </a:moveTo>
                  <a:cubicBezTo>
                    <a:pt x="14" y="6"/>
                    <a:pt x="14" y="14"/>
                    <a:pt x="11" y="9"/>
                  </a:cubicBezTo>
                  <a:cubicBezTo>
                    <a:pt x="11" y="6"/>
                    <a:pt x="8" y="3"/>
                    <a:pt x="8" y="0"/>
                  </a:cubicBezTo>
                  <a:cubicBezTo>
                    <a:pt x="5" y="0"/>
                    <a:pt x="3" y="3"/>
                    <a:pt x="0" y="3"/>
                  </a:cubicBezTo>
                  <a:cubicBezTo>
                    <a:pt x="3" y="14"/>
                    <a:pt x="8" y="23"/>
                    <a:pt x="20" y="26"/>
                  </a:cubicBezTo>
                  <a:cubicBezTo>
                    <a:pt x="22" y="26"/>
                    <a:pt x="22" y="23"/>
                    <a:pt x="25" y="23"/>
                  </a:cubicBezTo>
                  <a:cubicBezTo>
                    <a:pt x="22" y="14"/>
                    <a:pt x="22" y="9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1" name="Freeform 546"/>
            <p:cNvSpPr>
              <a:spLocks noChangeArrowheads="1"/>
            </p:cNvSpPr>
            <p:nvPr/>
          </p:nvSpPr>
          <p:spPr bwMode="auto">
            <a:xfrm>
              <a:off x="3651250" y="2586038"/>
              <a:ext cx="6350" cy="4762"/>
            </a:xfrm>
            <a:custGeom>
              <a:avLst/>
              <a:gdLst>
                <a:gd name="T0" fmla="*/ 8 w 18"/>
                <a:gd name="T1" fmla="*/ 0 h 12"/>
                <a:gd name="T2" fmla="*/ 0 w 18"/>
                <a:gd name="T3" fmla="*/ 0 h 12"/>
                <a:gd name="T4" fmla="*/ 17 w 18"/>
                <a:gd name="T5" fmla="*/ 11 h 12"/>
                <a:gd name="T6" fmla="*/ 17 w 18"/>
                <a:gd name="T7" fmla="*/ 11 h 12"/>
                <a:gd name="T8" fmla="*/ 8 w 18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cubicBezTo>
                    <a:pt x="6" y="0"/>
                    <a:pt x="3" y="0"/>
                    <a:pt x="0" y="0"/>
                  </a:cubicBezTo>
                  <a:cubicBezTo>
                    <a:pt x="3" y="5"/>
                    <a:pt x="8" y="11"/>
                    <a:pt x="17" y="11"/>
                  </a:cubicBezTo>
                  <a:lnTo>
                    <a:pt x="17" y="11"/>
                  </a:lnTo>
                  <a:cubicBezTo>
                    <a:pt x="14" y="8"/>
                    <a:pt x="8" y="2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2" name="Freeform 547"/>
            <p:cNvSpPr>
              <a:spLocks noChangeArrowheads="1"/>
            </p:cNvSpPr>
            <p:nvPr/>
          </p:nvSpPr>
          <p:spPr bwMode="auto">
            <a:xfrm>
              <a:off x="3816350" y="2633663"/>
              <a:ext cx="4763" cy="4762"/>
            </a:xfrm>
            <a:custGeom>
              <a:avLst/>
              <a:gdLst>
                <a:gd name="T0" fmla="*/ 11 w 15"/>
                <a:gd name="T1" fmla="*/ 11 h 12"/>
                <a:gd name="T2" fmla="*/ 14 w 15"/>
                <a:gd name="T3" fmla="*/ 3 h 12"/>
                <a:gd name="T4" fmla="*/ 5 w 15"/>
                <a:gd name="T5" fmla="*/ 0 h 12"/>
                <a:gd name="T6" fmla="*/ 0 w 15"/>
                <a:gd name="T7" fmla="*/ 6 h 12"/>
                <a:gd name="T8" fmla="*/ 11 w 15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2">
                  <a:moveTo>
                    <a:pt x="11" y="11"/>
                  </a:moveTo>
                  <a:cubicBezTo>
                    <a:pt x="11" y="9"/>
                    <a:pt x="14" y="6"/>
                    <a:pt x="14" y="3"/>
                  </a:cubicBezTo>
                  <a:cubicBezTo>
                    <a:pt x="11" y="0"/>
                    <a:pt x="7" y="0"/>
                    <a:pt x="5" y="0"/>
                  </a:cubicBezTo>
                  <a:cubicBezTo>
                    <a:pt x="2" y="0"/>
                    <a:pt x="3" y="3"/>
                    <a:pt x="0" y="6"/>
                  </a:cubicBezTo>
                  <a:cubicBezTo>
                    <a:pt x="5" y="9"/>
                    <a:pt x="8" y="9"/>
                    <a:pt x="11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3" name="Freeform 548"/>
            <p:cNvSpPr>
              <a:spLocks noChangeArrowheads="1"/>
            </p:cNvSpPr>
            <p:nvPr/>
          </p:nvSpPr>
          <p:spPr bwMode="auto">
            <a:xfrm>
              <a:off x="3644900" y="2582863"/>
              <a:ext cx="3175" cy="3175"/>
            </a:xfrm>
            <a:custGeom>
              <a:avLst/>
              <a:gdLst>
                <a:gd name="T0" fmla="*/ 8 w 9"/>
                <a:gd name="T1" fmla="*/ 0 h 7"/>
                <a:gd name="T2" fmla="*/ 0 w 9"/>
                <a:gd name="T3" fmla="*/ 6 h 7"/>
                <a:gd name="T4" fmla="*/ 8 w 9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8" y="0"/>
                  </a:moveTo>
                  <a:cubicBezTo>
                    <a:pt x="3" y="0"/>
                    <a:pt x="0" y="0"/>
                    <a:pt x="0" y="6"/>
                  </a:cubicBezTo>
                  <a:cubicBezTo>
                    <a:pt x="6" y="6"/>
                    <a:pt x="8" y="6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4" name="Freeform 549"/>
            <p:cNvSpPr>
              <a:spLocks noChangeArrowheads="1"/>
            </p:cNvSpPr>
            <p:nvPr/>
          </p:nvSpPr>
          <p:spPr bwMode="auto">
            <a:xfrm>
              <a:off x="3702050" y="2305050"/>
              <a:ext cx="3175" cy="3175"/>
            </a:xfrm>
            <a:custGeom>
              <a:avLst/>
              <a:gdLst>
                <a:gd name="T0" fmla="*/ 8 w 9"/>
                <a:gd name="T1" fmla="*/ 6 h 10"/>
                <a:gd name="T2" fmla="*/ 8 w 9"/>
                <a:gd name="T3" fmla="*/ 0 h 10"/>
                <a:gd name="T4" fmla="*/ 6 w 9"/>
                <a:gd name="T5" fmla="*/ 0 h 10"/>
                <a:gd name="T6" fmla="*/ 0 w 9"/>
                <a:gd name="T7" fmla="*/ 9 h 10"/>
                <a:gd name="T8" fmla="*/ 8 w 9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8" y="6"/>
                  </a:moveTo>
                  <a:cubicBezTo>
                    <a:pt x="8" y="6"/>
                    <a:pt x="8" y="3"/>
                    <a:pt x="8" y="0"/>
                  </a:cubicBezTo>
                  <a:lnTo>
                    <a:pt x="6" y="0"/>
                  </a:lnTo>
                  <a:cubicBezTo>
                    <a:pt x="6" y="3"/>
                    <a:pt x="0" y="3"/>
                    <a:pt x="0" y="9"/>
                  </a:cubicBezTo>
                  <a:cubicBezTo>
                    <a:pt x="3" y="9"/>
                    <a:pt x="6" y="9"/>
                    <a:pt x="8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5" name="Freeform 550"/>
            <p:cNvSpPr>
              <a:spLocks noChangeArrowheads="1"/>
            </p:cNvSpPr>
            <p:nvPr/>
          </p:nvSpPr>
          <p:spPr bwMode="auto">
            <a:xfrm>
              <a:off x="3700463" y="2397125"/>
              <a:ext cx="3175" cy="4763"/>
            </a:xfrm>
            <a:custGeom>
              <a:avLst/>
              <a:gdLst>
                <a:gd name="T0" fmla="*/ 0 w 10"/>
                <a:gd name="T1" fmla="*/ 14 h 15"/>
                <a:gd name="T2" fmla="*/ 9 w 10"/>
                <a:gd name="T3" fmla="*/ 3 h 15"/>
                <a:gd name="T4" fmla="*/ 0 w 10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0" y="14"/>
                  </a:moveTo>
                  <a:cubicBezTo>
                    <a:pt x="6" y="14"/>
                    <a:pt x="9" y="11"/>
                    <a:pt x="9" y="3"/>
                  </a:cubicBezTo>
                  <a:cubicBezTo>
                    <a:pt x="0" y="0"/>
                    <a:pt x="0" y="5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6" name="Freeform 551"/>
            <p:cNvSpPr>
              <a:spLocks noChangeArrowheads="1"/>
            </p:cNvSpPr>
            <p:nvPr/>
          </p:nvSpPr>
          <p:spPr bwMode="auto">
            <a:xfrm>
              <a:off x="3641725" y="2584450"/>
              <a:ext cx="4763" cy="4763"/>
            </a:xfrm>
            <a:custGeom>
              <a:avLst/>
              <a:gdLst>
                <a:gd name="T0" fmla="*/ 0 w 12"/>
                <a:gd name="T1" fmla="*/ 8 h 15"/>
                <a:gd name="T2" fmla="*/ 8 w 12"/>
                <a:gd name="T3" fmla="*/ 14 h 15"/>
                <a:gd name="T4" fmla="*/ 11 w 12"/>
                <a:gd name="T5" fmla="*/ 0 h 15"/>
                <a:gd name="T6" fmla="*/ 0 w 12"/>
                <a:gd name="T7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0" y="8"/>
                  </a:moveTo>
                  <a:cubicBezTo>
                    <a:pt x="2" y="11"/>
                    <a:pt x="5" y="11"/>
                    <a:pt x="8" y="14"/>
                  </a:cubicBezTo>
                  <a:cubicBezTo>
                    <a:pt x="11" y="11"/>
                    <a:pt x="11" y="8"/>
                    <a:pt x="11" y="0"/>
                  </a:cubicBezTo>
                  <a:cubicBezTo>
                    <a:pt x="5" y="3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7" name="Freeform 552"/>
            <p:cNvSpPr>
              <a:spLocks noChangeArrowheads="1"/>
            </p:cNvSpPr>
            <p:nvPr/>
          </p:nvSpPr>
          <p:spPr bwMode="auto">
            <a:xfrm>
              <a:off x="3806825" y="2706688"/>
              <a:ext cx="3175" cy="4762"/>
            </a:xfrm>
            <a:custGeom>
              <a:avLst/>
              <a:gdLst>
                <a:gd name="T0" fmla="*/ 8 w 9"/>
                <a:gd name="T1" fmla="*/ 6 h 15"/>
                <a:gd name="T2" fmla="*/ 0 w 9"/>
                <a:gd name="T3" fmla="*/ 0 h 15"/>
                <a:gd name="T4" fmla="*/ 8 w 9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8" y="6"/>
                  </a:moveTo>
                  <a:cubicBezTo>
                    <a:pt x="5" y="6"/>
                    <a:pt x="2" y="3"/>
                    <a:pt x="0" y="0"/>
                  </a:cubicBezTo>
                  <a:cubicBezTo>
                    <a:pt x="0" y="6"/>
                    <a:pt x="8" y="14"/>
                    <a:pt x="8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8" name="Freeform 553"/>
            <p:cNvSpPr>
              <a:spLocks noChangeArrowheads="1"/>
            </p:cNvSpPr>
            <p:nvPr/>
          </p:nvSpPr>
          <p:spPr bwMode="auto">
            <a:xfrm>
              <a:off x="3800475" y="2209800"/>
              <a:ext cx="1588" cy="1588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0 h 4"/>
                <a:gd name="T4" fmla="*/ 0 w 3"/>
                <a:gd name="T5" fmla="*/ 0 h 4"/>
                <a:gd name="T6" fmla="*/ 2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2" y="0"/>
                    <a:pt x="0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9" name="Freeform 554"/>
            <p:cNvSpPr>
              <a:spLocks noChangeArrowheads="1"/>
            </p:cNvSpPr>
            <p:nvPr/>
          </p:nvSpPr>
          <p:spPr bwMode="auto">
            <a:xfrm>
              <a:off x="3802063" y="2951163"/>
              <a:ext cx="1587" cy="3175"/>
            </a:xfrm>
            <a:custGeom>
              <a:avLst/>
              <a:gdLst>
                <a:gd name="T0" fmla="*/ 0 w 4"/>
                <a:gd name="T1" fmla="*/ 0 h 7"/>
                <a:gd name="T2" fmla="*/ 0 w 4"/>
                <a:gd name="T3" fmla="*/ 6 h 7"/>
                <a:gd name="T4" fmla="*/ 3 w 4"/>
                <a:gd name="T5" fmla="*/ 6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cubicBezTo>
                    <a:pt x="0" y="3"/>
                    <a:pt x="0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0" name="Freeform 555"/>
            <p:cNvSpPr>
              <a:spLocks noChangeArrowheads="1"/>
            </p:cNvSpPr>
            <p:nvPr/>
          </p:nvSpPr>
          <p:spPr bwMode="auto">
            <a:xfrm>
              <a:off x="3813175" y="2487613"/>
              <a:ext cx="3175" cy="1587"/>
            </a:xfrm>
            <a:custGeom>
              <a:avLst/>
              <a:gdLst>
                <a:gd name="T0" fmla="*/ 8 w 9"/>
                <a:gd name="T1" fmla="*/ 0 h 4"/>
                <a:gd name="T2" fmla="*/ 0 w 9"/>
                <a:gd name="T3" fmla="*/ 0 h 4"/>
                <a:gd name="T4" fmla="*/ 0 w 9"/>
                <a:gd name="T5" fmla="*/ 3 h 4"/>
                <a:gd name="T6" fmla="*/ 5 w 9"/>
                <a:gd name="T7" fmla="*/ 3 h 4"/>
                <a:gd name="T8" fmla="*/ 8 w 9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8" y="0"/>
                  </a:moveTo>
                  <a:lnTo>
                    <a:pt x="0" y="0"/>
                  </a:lnTo>
                  <a:lnTo>
                    <a:pt x="0" y="3"/>
                  </a:lnTo>
                  <a:cubicBezTo>
                    <a:pt x="2" y="3"/>
                    <a:pt x="5" y="3"/>
                    <a:pt x="5" y="3"/>
                  </a:cubicBezTo>
                  <a:cubicBezTo>
                    <a:pt x="8" y="3"/>
                    <a:pt x="8" y="0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1" name="Freeform 556"/>
            <p:cNvSpPr>
              <a:spLocks noChangeArrowheads="1"/>
            </p:cNvSpPr>
            <p:nvPr/>
          </p:nvSpPr>
          <p:spPr bwMode="auto">
            <a:xfrm>
              <a:off x="3816350" y="2622550"/>
              <a:ext cx="1588" cy="1588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3 h 4"/>
                <a:gd name="T4" fmla="*/ 0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3"/>
                  </a:lnTo>
                  <a:cubicBezTo>
                    <a:pt x="0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2" name="Freeform 557"/>
            <p:cNvSpPr>
              <a:spLocks noChangeArrowheads="1"/>
            </p:cNvSpPr>
            <p:nvPr/>
          </p:nvSpPr>
          <p:spPr bwMode="auto">
            <a:xfrm>
              <a:off x="3816350" y="2479675"/>
              <a:ext cx="3175" cy="4763"/>
            </a:xfrm>
            <a:custGeom>
              <a:avLst/>
              <a:gdLst>
                <a:gd name="T0" fmla="*/ 8 w 9"/>
                <a:gd name="T1" fmla="*/ 14 h 15"/>
                <a:gd name="T2" fmla="*/ 3 w 9"/>
                <a:gd name="T3" fmla="*/ 0 h 15"/>
                <a:gd name="T4" fmla="*/ 3 w 9"/>
                <a:gd name="T5" fmla="*/ 0 h 15"/>
                <a:gd name="T6" fmla="*/ 3 w 9"/>
                <a:gd name="T7" fmla="*/ 12 h 15"/>
                <a:gd name="T8" fmla="*/ 8 w 9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8" y="14"/>
                  </a:moveTo>
                  <a:cubicBezTo>
                    <a:pt x="3" y="12"/>
                    <a:pt x="3" y="6"/>
                    <a:pt x="3" y="0"/>
                  </a:cubicBezTo>
                  <a:lnTo>
                    <a:pt x="3" y="0"/>
                  </a:lnTo>
                  <a:cubicBezTo>
                    <a:pt x="0" y="3"/>
                    <a:pt x="0" y="9"/>
                    <a:pt x="3" y="12"/>
                  </a:cubicBezTo>
                  <a:cubicBezTo>
                    <a:pt x="3" y="12"/>
                    <a:pt x="6" y="14"/>
                    <a:pt x="8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3" name="Freeform 558"/>
            <p:cNvSpPr>
              <a:spLocks noChangeArrowheads="1"/>
            </p:cNvSpPr>
            <p:nvPr/>
          </p:nvSpPr>
          <p:spPr bwMode="auto">
            <a:xfrm>
              <a:off x="3811588" y="2636838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3 w 4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0" y="0"/>
                    <a:pt x="0" y="0"/>
                  </a:cubicBezTo>
                  <a:cubicBezTo>
                    <a:pt x="0" y="3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4" name="Freeform 559"/>
            <p:cNvSpPr>
              <a:spLocks noChangeArrowheads="1"/>
            </p:cNvSpPr>
            <p:nvPr/>
          </p:nvSpPr>
          <p:spPr bwMode="auto">
            <a:xfrm>
              <a:off x="3783013" y="2200275"/>
              <a:ext cx="9525" cy="12700"/>
            </a:xfrm>
            <a:custGeom>
              <a:avLst/>
              <a:gdLst>
                <a:gd name="T0" fmla="*/ 22 w 26"/>
                <a:gd name="T1" fmla="*/ 20 h 35"/>
                <a:gd name="T2" fmla="*/ 22 w 26"/>
                <a:gd name="T3" fmla="*/ 0 h 35"/>
                <a:gd name="T4" fmla="*/ 0 w 26"/>
                <a:gd name="T5" fmla="*/ 31 h 35"/>
                <a:gd name="T6" fmla="*/ 22 w 26"/>
                <a:gd name="T7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5">
                  <a:moveTo>
                    <a:pt x="22" y="20"/>
                  </a:moveTo>
                  <a:cubicBezTo>
                    <a:pt x="19" y="9"/>
                    <a:pt x="25" y="6"/>
                    <a:pt x="22" y="0"/>
                  </a:cubicBezTo>
                  <a:cubicBezTo>
                    <a:pt x="8" y="6"/>
                    <a:pt x="0" y="17"/>
                    <a:pt x="0" y="31"/>
                  </a:cubicBezTo>
                  <a:cubicBezTo>
                    <a:pt x="8" y="34"/>
                    <a:pt x="5" y="17"/>
                    <a:pt x="22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5" name="Freeform 560"/>
            <p:cNvSpPr>
              <a:spLocks noChangeArrowheads="1"/>
            </p:cNvSpPr>
            <p:nvPr/>
          </p:nvSpPr>
          <p:spPr bwMode="auto">
            <a:xfrm>
              <a:off x="3900488" y="2662238"/>
              <a:ext cx="4762" cy="4762"/>
            </a:xfrm>
            <a:custGeom>
              <a:avLst/>
              <a:gdLst>
                <a:gd name="T0" fmla="*/ 11 w 12"/>
                <a:gd name="T1" fmla="*/ 6 h 12"/>
                <a:gd name="T2" fmla="*/ 9 w 12"/>
                <a:gd name="T3" fmla="*/ 0 h 12"/>
                <a:gd name="T4" fmla="*/ 0 w 12"/>
                <a:gd name="T5" fmla="*/ 3 h 12"/>
                <a:gd name="T6" fmla="*/ 11 w 12"/>
                <a:gd name="T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11" y="6"/>
                  </a:moveTo>
                  <a:cubicBezTo>
                    <a:pt x="9" y="6"/>
                    <a:pt x="9" y="3"/>
                    <a:pt x="9" y="0"/>
                  </a:cubicBezTo>
                  <a:cubicBezTo>
                    <a:pt x="6" y="0"/>
                    <a:pt x="3" y="3"/>
                    <a:pt x="0" y="3"/>
                  </a:cubicBezTo>
                  <a:cubicBezTo>
                    <a:pt x="6" y="3"/>
                    <a:pt x="9" y="11"/>
                    <a:pt x="11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6" name="Freeform 561"/>
            <p:cNvSpPr>
              <a:spLocks noChangeArrowheads="1"/>
            </p:cNvSpPr>
            <p:nvPr/>
          </p:nvSpPr>
          <p:spPr bwMode="auto">
            <a:xfrm>
              <a:off x="3798888" y="2203450"/>
              <a:ext cx="1587" cy="3175"/>
            </a:xfrm>
            <a:custGeom>
              <a:avLst/>
              <a:gdLst>
                <a:gd name="T0" fmla="*/ 0 w 4"/>
                <a:gd name="T1" fmla="*/ 8 h 9"/>
                <a:gd name="T2" fmla="*/ 3 w 4"/>
                <a:gd name="T3" fmla="*/ 3 h 9"/>
                <a:gd name="T4" fmla="*/ 0 w 4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9">
                  <a:moveTo>
                    <a:pt x="0" y="8"/>
                  </a:moveTo>
                  <a:cubicBezTo>
                    <a:pt x="0" y="6"/>
                    <a:pt x="3" y="6"/>
                    <a:pt x="3" y="3"/>
                  </a:cubicBezTo>
                  <a:cubicBezTo>
                    <a:pt x="3" y="0"/>
                    <a:pt x="0" y="3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7" name="Freeform 562"/>
            <p:cNvSpPr>
              <a:spLocks noChangeArrowheads="1"/>
            </p:cNvSpPr>
            <p:nvPr/>
          </p:nvSpPr>
          <p:spPr bwMode="auto">
            <a:xfrm>
              <a:off x="3789363" y="2490788"/>
              <a:ext cx="1587" cy="3175"/>
            </a:xfrm>
            <a:custGeom>
              <a:avLst/>
              <a:gdLst>
                <a:gd name="T0" fmla="*/ 0 w 6"/>
                <a:gd name="T1" fmla="*/ 3 h 10"/>
                <a:gd name="T2" fmla="*/ 0 w 6"/>
                <a:gd name="T3" fmla="*/ 9 h 10"/>
                <a:gd name="T4" fmla="*/ 5 w 6"/>
                <a:gd name="T5" fmla="*/ 3 h 10"/>
                <a:gd name="T6" fmla="*/ 5 w 6"/>
                <a:gd name="T7" fmla="*/ 3 h 10"/>
                <a:gd name="T8" fmla="*/ 0 w 6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0" y="3"/>
                  </a:moveTo>
                  <a:cubicBezTo>
                    <a:pt x="0" y="6"/>
                    <a:pt x="0" y="6"/>
                    <a:pt x="0" y="9"/>
                  </a:cubicBezTo>
                  <a:cubicBezTo>
                    <a:pt x="2" y="9"/>
                    <a:pt x="2" y="6"/>
                    <a:pt x="5" y="3"/>
                  </a:cubicBezTo>
                  <a:lnTo>
                    <a:pt x="5" y="3"/>
                  </a:lnTo>
                  <a:cubicBezTo>
                    <a:pt x="5" y="3"/>
                    <a:pt x="2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8" name="Freeform 563"/>
            <p:cNvSpPr>
              <a:spLocks noChangeArrowheads="1"/>
            </p:cNvSpPr>
            <p:nvPr/>
          </p:nvSpPr>
          <p:spPr bwMode="auto">
            <a:xfrm>
              <a:off x="4192588" y="2154238"/>
              <a:ext cx="3175" cy="3175"/>
            </a:xfrm>
            <a:custGeom>
              <a:avLst/>
              <a:gdLst>
                <a:gd name="T0" fmla="*/ 8 w 9"/>
                <a:gd name="T1" fmla="*/ 0 h 9"/>
                <a:gd name="T2" fmla="*/ 2 w 9"/>
                <a:gd name="T3" fmla="*/ 0 h 9"/>
                <a:gd name="T4" fmla="*/ 0 w 9"/>
                <a:gd name="T5" fmla="*/ 8 h 9"/>
                <a:gd name="T6" fmla="*/ 8 w 9"/>
                <a:gd name="T7" fmla="*/ 8 h 9"/>
                <a:gd name="T8" fmla="*/ 8 w 9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0"/>
                  </a:moveTo>
                  <a:lnTo>
                    <a:pt x="2" y="0"/>
                  </a:lnTo>
                  <a:cubicBezTo>
                    <a:pt x="2" y="2"/>
                    <a:pt x="0" y="2"/>
                    <a:pt x="0" y="8"/>
                  </a:cubicBezTo>
                  <a:lnTo>
                    <a:pt x="8" y="8"/>
                  </a:lnTo>
                  <a:lnTo>
                    <a:pt x="8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9" name="Freeform 564"/>
            <p:cNvSpPr>
              <a:spLocks noChangeArrowheads="1"/>
            </p:cNvSpPr>
            <p:nvPr/>
          </p:nvSpPr>
          <p:spPr bwMode="auto">
            <a:xfrm>
              <a:off x="4133850" y="2317750"/>
              <a:ext cx="1588" cy="1588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3 h 4"/>
                <a:gd name="T4" fmla="*/ 0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3"/>
                  </a:lnTo>
                  <a:cubicBezTo>
                    <a:pt x="0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0" name="Freeform 565"/>
            <p:cNvSpPr>
              <a:spLocks noChangeArrowheads="1"/>
            </p:cNvSpPr>
            <p:nvPr/>
          </p:nvSpPr>
          <p:spPr bwMode="auto">
            <a:xfrm>
              <a:off x="4133850" y="3076575"/>
              <a:ext cx="4763" cy="1588"/>
            </a:xfrm>
            <a:custGeom>
              <a:avLst/>
              <a:gdLst>
                <a:gd name="T0" fmla="*/ 0 w 15"/>
                <a:gd name="T1" fmla="*/ 3 h 6"/>
                <a:gd name="T2" fmla="*/ 14 w 15"/>
                <a:gd name="T3" fmla="*/ 5 h 6"/>
                <a:gd name="T4" fmla="*/ 0 w 15"/>
                <a:gd name="T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6">
                  <a:moveTo>
                    <a:pt x="0" y="3"/>
                  </a:moveTo>
                  <a:cubicBezTo>
                    <a:pt x="6" y="3"/>
                    <a:pt x="8" y="5"/>
                    <a:pt x="14" y="5"/>
                  </a:cubicBezTo>
                  <a:cubicBezTo>
                    <a:pt x="11" y="3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1" name="Freeform 566"/>
            <p:cNvSpPr>
              <a:spLocks noChangeArrowheads="1"/>
            </p:cNvSpPr>
            <p:nvPr/>
          </p:nvSpPr>
          <p:spPr bwMode="auto">
            <a:xfrm>
              <a:off x="4149725" y="2662238"/>
              <a:ext cx="4763" cy="3175"/>
            </a:xfrm>
            <a:custGeom>
              <a:avLst/>
              <a:gdLst>
                <a:gd name="T0" fmla="*/ 6 w 13"/>
                <a:gd name="T1" fmla="*/ 9 h 10"/>
                <a:gd name="T2" fmla="*/ 12 w 13"/>
                <a:gd name="T3" fmla="*/ 6 h 10"/>
                <a:gd name="T4" fmla="*/ 12 w 13"/>
                <a:gd name="T5" fmla="*/ 0 h 10"/>
                <a:gd name="T6" fmla="*/ 0 w 13"/>
                <a:gd name="T7" fmla="*/ 0 h 10"/>
                <a:gd name="T8" fmla="*/ 6 w 13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0">
                  <a:moveTo>
                    <a:pt x="6" y="9"/>
                  </a:moveTo>
                  <a:cubicBezTo>
                    <a:pt x="9" y="9"/>
                    <a:pt x="9" y="6"/>
                    <a:pt x="12" y="6"/>
                  </a:cubicBezTo>
                  <a:lnTo>
                    <a:pt x="12" y="0"/>
                  </a:lnTo>
                  <a:lnTo>
                    <a:pt x="0" y="0"/>
                  </a:lnTo>
                  <a:cubicBezTo>
                    <a:pt x="0" y="6"/>
                    <a:pt x="3" y="9"/>
                    <a:pt x="6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2" name="Freeform 567"/>
            <p:cNvSpPr>
              <a:spLocks noChangeArrowheads="1"/>
            </p:cNvSpPr>
            <p:nvPr/>
          </p:nvSpPr>
          <p:spPr bwMode="auto">
            <a:xfrm>
              <a:off x="4151313" y="2590800"/>
              <a:ext cx="3175" cy="4763"/>
            </a:xfrm>
            <a:custGeom>
              <a:avLst/>
              <a:gdLst>
                <a:gd name="T0" fmla="*/ 0 w 7"/>
                <a:gd name="T1" fmla="*/ 9 h 13"/>
                <a:gd name="T2" fmla="*/ 6 w 7"/>
                <a:gd name="T3" fmla="*/ 3 h 13"/>
                <a:gd name="T4" fmla="*/ 6 w 7"/>
                <a:gd name="T5" fmla="*/ 0 h 13"/>
                <a:gd name="T6" fmla="*/ 0 w 7"/>
                <a:gd name="T7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0" y="9"/>
                  </a:moveTo>
                  <a:cubicBezTo>
                    <a:pt x="6" y="12"/>
                    <a:pt x="6" y="6"/>
                    <a:pt x="6" y="3"/>
                  </a:cubicBezTo>
                  <a:cubicBezTo>
                    <a:pt x="6" y="3"/>
                    <a:pt x="6" y="3"/>
                    <a:pt x="6" y="0"/>
                  </a:cubicBezTo>
                  <a:cubicBezTo>
                    <a:pt x="3" y="0"/>
                    <a:pt x="0" y="3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3" name="Freeform 568"/>
            <p:cNvSpPr>
              <a:spLocks noChangeArrowheads="1"/>
            </p:cNvSpPr>
            <p:nvPr/>
          </p:nvSpPr>
          <p:spPr bwMode="auto">
            <a:xfrm>
              <a:off x="4152900" y="2674938"/>
              <a:ext cx="4763" cy="3175"/>
            </a:xfrm>
            <a:custGeom>
              <a:avLst/>
              <a:gdLst>
                <a:gd name="T0" fmla="*/ 14 w 15"/>
                <a:gd name="T1" fmla="*/ 0 h 9"/>
                <a:gd name="T2" fmla="*/ 5 w 15"/>
                <a:gd name="T3" fmla="*/ 0 h 9"/>
                <a:gd name="T4" fmla="*/ 2 w 15"/>
                <a:gd name="T5" fmla="*/ 5 h 9"/>
                <a:gd name="T6" fmla="*/ 2 w 15"/>
                <a:gd name="T7" fmla="*/ 5 h 9"/>
                <a:gd name="T8" fmla="*/ 14 w 1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9">
                  <a:moveTo>
                    <a:pt x="14" y="0"/>
                  </a:moveTo>
                  <a:cubicBezTo>
                    <a:pt x="11" y="0"/>
                    <a:pt x="8" y="0"/>
                    <a:pt x="5" y="0"/>
                  </a:cubicBezTo>
                  <a:cubicBezTo>
                    <a:pt x="2" y="0"/>
                    <a:pt x="0" y="3"/>
                    <a:pt x="2" y="5"/>
                  </a:cubicBezTo>
                  <a:lnTo>
                    <a:pt x="2" y="5"/>
                  </a:lnTo>
                  <a:cubicBezTo>
                    <a:pt x="5" y="8"/>
                    <a:pt x="11" y="5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4" name="Freeform 569"/>
            <p:cNvSpPr>
              <a:spLocks noChangeArrowheads="1"/>
            </p:cNvSpPr>
            <p:nvPr/>
          </p:nvSpPr>
          <p:spPr bwMode="auto">
            <a:xfrm>
              <a:off x="4156075" y="277653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3 w 4"/>
                <a:gd name="T3" fmla="*/ 3 h 4"/>
                <a:gd name="T4" fmla="*/ 3 w 4"/>
                <a:gd name="T5" fmla="*/ 0 h 4"/>
                <a:gd name="T6" fmla="*/ 0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5" name="Freeform 570"/>
            <p:cNvSpPr>
              <a:spLocks noChangeArrowheads="1"/>
            </p:cNvSpPr>
            <p:nvPr/>
          </p:nvSpPr>
          <p:spPr bwMode="auto">
            <a:xfrm>
              <a:off x="4133850" y="2990850"/>
              <a:ext cx="3175" cy="3175"/>
            </a:xfrm>
            <a:custGeom>
              <a:avLst/>
              <a:gdLst>
                <a:gd name="T0" fmla="*/ 8 w 9"/>
                <a:gd name="T1" fmla="*/ 6 h 7"/>
                <a:gd name="T2" fmla="*/ 0 w 9"/>
                <a:gd name="T3" fmla="*/ 0 h 7"/>
                <a:gd name="T4" fmla="*/ 8 w 9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8" y="6"/>
                  </a:moveTo>
                  <a:cubicBezTo>
                    <a:pt x="8" y="0"/>
                    <a:pt x="3" y="0"/>
                    <a:pt x="0" y="0"/>
                  </a:cubicBezTo>
                  <a:cubicBezTo>
                    <a:pt x="3" y="0"/>
                    <a:pt x="6" y="3"/>
                    <a:pt x="8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6" name="Freeform 571"/>
            <p:cNvSpPr>
              <a:spLocks noChangeArrowheads="1"/>
            </p:cNvSpPr>
            <p:nvPr/>
          </p:nvSpPr>
          <p:spPr bwMode="auto">
            <a:xfrm>
              <a:off x="4146550" y="2587625"/>
              <a:ext cx="4763" cy="1588"/>
            </a:xfrm>
            <a:custGeom>
              <a:avLst/>
              <a:gdLst>
                <a:gd name="T0" fmla="*/ 11 w 12"/>
                <a:gd name="T1" fmla="*/ 3 h 4"/>
                <a:gd name="T2" fmla="*/ 0 w 12"/>
                <a:gd name="T3" fmla="*/ 0 h 4"/>
                <a:gd name="T4" fmla="*/ 11 w 12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4">
                  <a:moveTo>
                    <a:pt x="11" y="3"/>
                  </a:moveTo>
                  <a:cubicBezTo>
                    <a:pt x="8" y="3"/>
                    <a:pt x="3" y="0"/>
                    <a:pt x="0" y="0"/>
                  </a:cubicBezTo>
                  <a:cubicBezTo>
                    <a:pt x="5" y="3"/>
                    <a:pt x="8" y="3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7" name="Freeform 572"/>
            <p:cNvSpPr>
              <a:spLocks noChangeArrowheads="1"/>
            </p:cNvSpPr>
            <p:nvPr/>
          </p:nvSpPr>
          <p:spPr bwMode="auto">
            <a:xfrm>
              <a:off x="4148138" y="2625725"/>
              <a:ext cx="4762" cy="3175"/>
            </a:xfrm>
            <a:custGeom>
              <a:avLst/>
              <a:gdLst>
                <a:gd name="T0" fmla="*/ 11 w 12"/>
                <a:gd name="T1" fmla="*/ 3 h 7"/>
                <a:gd name="T2" fmla="*/ 0 w 12"/>
                <a:gd name="T3" fmla="*/ 3 h 7"/>
                <a:gd name="T4" fmla="*/ 5 w 12"/>
                <a:gd name="T5" fmla="*/ 6 h 7"/>
                <a:gd name="T6" fmla="*/ 11 w 12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7">
                  <a:moveTo>
                    <a:pt x="11" y="3"/>
                  </a:moveTo>
                  <a:cubicBezTo>
                    <a:pt x="5" y="3"/>
                    <a:pt x="2" y="0"/>
                    <a:pt x="0" y="3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8" y="6"/>
                    <a:pt x="8" y="6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8" name="Freeform 573"/>
            <p:cNvSpPr>
              <a:spLocks noChangeArrowheads="1"/>
            </p:cNvSpPr>
            <p:nvPr/>
          </p:nvSpPr>
          <p:spPr bwMode="auto">
            <a:xfrm>
              <a:off x="4256088" y="2279650"/>
              <a:ext cx="4762" cy="4763"/>
            </a:xfrm>
            <a:custGeom>
              <a:avLst/>
              <a:gdLst>
                <a:gd name="T0" fmla="*/ 14 w 15"/>
                <a:gd name="T1" fmla="*/ 8 h 15"/>
                <a:gd name="T2" fmla="*/ 0 w 15"/>
                <a:gd name="T3" fmla="*/ 8 h 15"/>
                <a:gd name="T4" fmla="*/ 14 w 15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8"/>
                  </a:moveTo>
                  <a:cubicBezTo>
                    <a:pt x="11" y="5"/>
                    <a:pt x="2" y="0"/>
                    <a:pt x="0" y="8"/>
                  </a:cubicBezTo>
                  <a:cubicBezTo>
                    <a:pt x="0" y="8"/>
                    <a:pt x="11" y="14"/>
                    <a:pt x="14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9" name="Freeform 574"/>
            <p:cNvSpPr>
              <a:spLocks noChangeArrowheads="1"/>
            </p:cNvSpPr>
            <p:nvPr/>
          </p:nvSpPr>
          <p:spPr bwMode="auto">
            <a:xfrm>
              <a:off x="4159250" y="2157413"/>
              <a:ext cx="1588" cy="3175"/>
            </a:xfrm>
            <a:custGeom>
              <a:avLst/>
              <a:gdLst>
                <a:gd name="T0" fmla="*/ 0 w 4"/>
                <a:gd name="T1" fmla="*/ 3 h 10"/>
                <a:gd name="T2" fmla="*/ 3 w 4"/>
                <a:gd name="T3" fmla="*/ 0 h 10"/>
                <a:gd name="T4" fmla="*/ 0 w 4"/>
                <a:gd name="T5" fmla="*/ 0 h 10"/>
                <a:gd name="T6" fmla="*/ 0 w 4"/>
                <a:gd name="T7" fmla="*/ 9 h 10"/>
                <a:gd name="T8" fmla="*/ 3 w 4"/>
                <a:gd name="T9" fmla="*/ 9 h 10"/>
                <a:gd name="T10" fmla="*/ 0 w 4"/>
                <a:gd name="T1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0">
                  <a:moveTo>
                    <a:pt x="0" y="3"/>
                  </a:moveTo>
                  <a:cubicBezTo>
                    <a:pt x="0" y="3"/>
                    <a:pt x="0" y="0"/>
                    <a:pt x="3" y="0"/>
                  </a:cubicBezTo>
                  <a:lnTo>
                    <a:pt x="0" y="0"/>
                  </a:lnTo>
                  <a:lnTo>
                    <a:pt x="0" y="9"/>
                  </a:lnTo>
                  <a:lnTo>
                    <a:pt x="3" y="9"/>
                  </a:lnTo>
                  <a:cubicBezTo>
                    <a:pt x="0" y="6"/>
                    <a:pt x="0" y="6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0" name="Freeform 575"/>
            <p:cNvSpPr>
              <a:spLocks noChangeArrowheads="1"/>
            </p:cNvSpPr>
            <p:nvPr/>
          </p:nvSpPr>
          <p:spPr bwMode="auto">
            <a:xfrm>
              <a:off x="3873500" y="2511425"/>
              <a:ext cx="1588" cy="1588"/>
            </a:xfrm>
            <a:custGeom>
              <a:avLst/>
              <a:gdLst>
                <a:gd name="T0" fmla="*/ 5 w 6"/>
                <a:gd name="T1" fmla="*/ 0 h 6"/>
                <a:gd name="T2" fmla="*/ 0 w 6"/>
                <a:gd name="T3" fmla="*/ 2 h 6"/>
                <a:gd name="T4" fmla="*/ 3 w 6"/>
                <a:gd name="T5" fmla="*/ 5 h 6"/>
                <a:gd name="T6" fmla="*/ 5 w 6"/>
                <a:gd name="T7" fmla="*/ 5 h 6"/>
                <a:gd name="T8" fmla="*/ 5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0"/>
                  </a:moveTo>
                  <a:cubicBezTo>
                    <a:pt x="3" y="0"/>
                    <a:pt x="0" y="0"/>
                    <a:pt x="0" y="2"/>
                  </a:cubicBezTo>
                  <a:cubicBezTo>
                    <a:pt x="3" y="2"/>
                    <a:pt x="3" y="2"/>
                    <a:pt x="3" y="5"/>
                  </a:cubicBezTo>
                  <a:cubicBezTo>
                    <a:pt x="3" y="5"/>
                    <a:pt x="3" y="5"/>
                    <a:pt x="5" y="5"/>
                  </a:cubicBezTo>
                  <a:cubicBezTo>
                    <a:pt x="5" y="5"/>
                    <a:pt x="5" y="2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1" name="Freeform 576"/>
            <p:cNvSpPr>
              <a:spLocks noChangeArrowheads="1"/>
            </p:cNvSpPr>
            <p:nvPr/>
          </p:nvSpPr>
          <p:spPr bwMode="auto">
            <a:xfrm>
              <a:off x="4249738" y="2287588"/>
              <a:ext cx="1587" cy="1587"/>
            </a:xfrm>
            <a:custGeom>
              <a:avLst/>
              <a:gdLst>
                <a:gd name="T0" fmla="*/ 5 w 6"/>
                <a:gd name="T1" fmla="*/ 3 h 4"/>
                <a:gd name="T2" fmla="*/ 5 w 6"/>
                <a:gd name="T3" fmla="*/ 3 h 4"/>
                <a:gd name="T4" fmla="*/ 0 w 6"/>
                <a:gd name="T5" fmla="*/ 0 h 4"/>
                <a:gd name="T6" fmla="*/ 0 w 6"/>
                <a:gd name="T7" fmla="*/ 0 h 4"/>
                <a:gd name="T8" fmla="*/ 5 w 6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3" y="3"/>
                    <a:pt x="3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2" name="Freeform 577"/>
            <p:cNvSpPr>
              <a:spLocks noChangeArrowheads="1"/>
            </p:cNvSpPr>
            <p:nvPr/>
          </p:nvSpPr>
          <p:spPr bwMode="auto">
            <a:xfrm>
              <a:off x="4232275" y="3052763"/>
              <a:ext cx="7938" cy="3175"/>
            </a:xfrm>
            <a:custGeom>
              <a:avLst/>
              <a:gdLst>
                <a:gd name="T0" fmla="*/ 3 w 21"/>
                <a:gd name="T1" fmla="*/ 8 h 9"/>
                <a:gd name="T2" fmla="*/ 8 w 21"/>
                <a:gd name="T3" fmla="*/ 8 h 9"/>
                <a:gd name="T4" fmla="*/ 19 w 21"/>
                <a:gd name="T5" fmla="*/ 6 h 9"/>
                <a:gd name="T6" fmla="*/ 17 w 21"/>
                <a:gd name="T7" fmla="*/ 3 h 9"/>
                <a:gd name="T8" fmla="*/ 8 w 21"/>
                <a:gd name="T9" fmla="*/ 3 h 9"/>
                <a:gd name="T10" fmla="*/ 0 w 21"/>
                <a:gd name="T11" fmla="*/ 3 h 9"/>
                <a:gd name="T12" fmla="*/ 3 w 21"/>
                <a:gd name="T1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9">
                  <a:moveTo>
                    <a:pt x="3" y="8"/>
                  </a:moveTo>
                  <a:cubicBezTo>
                    <a:pt x="5" y="8"/>
                    <a:pt x="8" y="8"/>
                    <a:pt x="8" y="8"/>
                  </a:cubicBezTo>
                  <a:cubicBezTo>
                    <a:pt x="5" y="0"/>
                    <a:pt x="8" y="6"/>
                    <a:pt x="19" y="6"/>
                  </a:cubicBezTo>
                  <a:cubicBezTo>
                    <a:pt x="19" y="6"/>
                    <a:pt x="20" y="3"/>
                    <a:pt x="17" y="3"/>
                  </a:cubicBezTo>
                  <a:cubicBezTo>
                    <a:pt x="15" y="3"/>
                    <a:pt x="11" y="3"/>
                    <a:pt x="8" y="3"/>
                  </a:cubicBezTo>
                  <a:cubicBezTo>
                    <a:pt x="5" y="3"/>
                    <a:pt x="3" y="3"/>
                    <a:pt x="0" y="3"/>
                  </a:cubicBezTo>
                  <a:cubicBezTo>
                    <a:pt x="0" y="3"/>
                    <a:pt x="0" y="6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3" name="Freeform 578"/>
            <p:cNvSpPr>
              <a:spLocks noChangeArrowheads="1"/>
            </p:cNvSpPr>
            <p:nvPr/>
          </p:nvSpPr>
          <p:spPr bwMode="auto">
            <a:xfrm>
              <a:off x="4238625" y="2330450"/>
              <a:ext cx="4763" cy="3175"/>
            </a:xfrm>
            <a:custGeom>
              <a:avLst/>
              <a:gdLst>
                <a:gd name="T0" fmla="*/ 14 w 15"/>
                <a:gd name="T1" fmla="*/ 2 h 9"/>
                <a:gd name="T2" fmla="*/ 0 w 15"/>
                <a:gd name="T3" fmla="*/ 0 h 9"/>
                <a:gd name="T4" fmla="*/ 14 w 15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2"/>
                  </a:moveTo>
                  <a:cubicBezTo>
                    <a:pt x="11" y="0"/>
                    <a:pt x="5" y="0"/>
                    <a:pt x="0" y="0"/>
                  </a:cubicBezTo>
                  <a:cubicBezTo>
                    <a:pt x="0" y="5"/>
                    <a:pt x="14" y="8"/>
                    <a:pt x="14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4" name="Freeform 579"/>
            <p:cNvSpPr>
              <a:spLocks noChangeArrowheads="1"/>
            </p:cNvSpPr>
            <p:nvPr/>
          </p:nvSpPr>
          <p:spPr bwMode="auto">
            <a:xfrm>
              <a:off x="4248150" y="2432050"/>
              <a:ext cx="7938" cy="6350"/>
            </a:xfrm>
            <a:custGeom>
              <a:avLst/>
              <a:gdLst>
                <a:gd name="T0" fmla="*/ 20 w 21"/>
                <a:gd name="T1" fmla="*/ 8 h 18"/>
                <a:gd name="T2" fmla="*/ 20 w 21"/>
                <a:gd name="T3" fmla="*/ 8 h 18"/>
                <a:gd name="T4" fmla="*/ 3 w 21"/>
                <a:gd name="T5" fmla="*/ 0 h 18"/>
                <a:gd name="T6" fmla="*/ 0 w 21"/>
                <a:gd name="T7" fmla="*/ 11 h 18"/>
                <a:gd name="T8" fmla="*/ 3 w 21"/>
                <a:gd name="T9" fmla="*/ 17 h 18"/>
                <a:gd name="T10" fmla="*/ 20 w 21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8">
                  <a:moveTo>
                    <a:pt x="20" y="8"/>
                  </a:moveTo>
                  <a:lnTo>
                    <a:pt x="20" y="8"/>
                  </a:lnTo>
                  <a:cubicBezTo>
                    <a:pt x="17" y="3"/>
                    <a:pt x="8" y="0"/>
                    <a:pt x="3" y="0"/>
                  </a:cubicBezTo>
                  <a:cubicBezTo>
                    <a:pt x="3" y="3"/>
                    <a:pt x="3" y="8"/>
                    <a:pt x="0" y="11"/>
                  </a:cubicBezTo>
                  <a:cubicBezTo>
                    <a:pt x="0" y="14"/>
                    <a:pt x="3" y="14"/>
                    <a:pt x="3" y="17"/>
                  </a:cubicBezTo>
                  <a:cubicBezTo>
                    <a:pt x="8" y="14"/>
                    <a:pt x="14" y="11"/>
                    <a:pt x="2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5" name="Freeform 580"/>
            <p:cNvSpPr>
              <a:spLocks noChangeArrowheads="1"/>
            </p:cNvSpPr>
            <p:nvPr/>
          </p:nvSpPr>
          <p:spPr bwMode="auto">
            <a:xfrm>
              <a:off x="4187825" y="3073400"/>
              <a:ext cx="1588" cy="3175"/>
            </a:xfrm>
            <a:custGeom>
              <a:avLst/>
              <a:gdLst>
                <a:gd name="T0" fmla="*/ 0 w 6"/>
                <a:gd name="T1" fmla="*/ 5 h 9"/>
                <a:gd name="T2" fmla="*/ 2 w 6"/>
                <a:gd name="T3" fmla="*/ 8 h 9"/>
                <a:gd name="T4" fmla="*/ 5 w 6"/>
                <a:gd name="T5" fmla="*/ 2 h 9"/>
                <a:gd name="T6" fmla="*/ 0 w 6"/>
                <a:gd name="T7" fmla="*/ 0 h 9"/>
                <a:gd name="T8" fmla="*/ 0 w 6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0" y="5"/>
                  </a:moveTo>
                  <a:cubicBezTo>
                    <a:pt x="2" y="5"/>
                    <a:pt x="2" y="8"/>
                    <a:pt x="2" y="8"/>
                  </a:cubicBezTo>
                  <a:cubicBezTo>
                    <a:pt x="2" y="5"/>
                    <a:pt x="5" y="5"/>
                    <a:pt x="5" y="2"/>
                  </a:cubicBezTo>
                  <a:cubicBezTo>
                    <a:pt x="2" y="2"/>
                    <a:pt x="2" y="0"/>
                    <a:pt x="0" y="0"/>
                  </a:cubicBezTo>
                  <a:cubicBezTo>
                    <a:pt x="2" y="2"/>
                    <a:pt x="2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6" name="Freeform 581"/>
            <p:cNvSpPr>
              <a:spLocks noChangeArrowheads="1"/>
            </p:cNvSpPr>
            <p:nvPr/>
          </p:nvSpPr>
          <p:spPr bwMode="auto">
            <a:xfrm>
              <a:off x="4159250" y="2374900"/>
              <a:ext cx="1588" cy="3175"/>
            </a:xfrm>
            <a:custGeom>
              <a:avLst/>
              <a:gdLst>
                <a:gd name="T0" fmla="*/ 0 w 6"/>
                <a:gd name="T1" fmla="*/ 2 h 9"/>
                <a:gd name="T2" fmla="*/ 0 w 6"/>
                <a:gd name="T3" fmla="*/ 8 h 9"/>
                <a:gd name="T4" fmla="*/ 5 w 6"/>
                <a:gd name="T5" fmla="*/ 5 h 9"/>
                <a:gd name="T6" fmla="*/ 5 w 6"/>
                <a:gd name="T7" fmla="*/ 0 h 9"/>
                <a:gd name="T8" fmla="*/ 0 w 6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0" y="2"/>
                  </a:moveTo>
                  <a:cubicBezTo>
                    <a:pt x="0" y="5"/>
                    <a:pt x="0" y="8"/>
                    <a:pt x="0" y="8"/>
                  </a:cubicBezTo>
                  <a:cubicBezTo>
                    <a:pt x="3" y="8"/>
                    <a:pt x="5" y="5"/>
                    <a:pt x="5" y="5"/>
                  </a:cubicBezTo>
                  <a:lnTo>
                    <a:pt x="5" y="0"/>
                  </a:lnTo>
                  <a:cubicBezTo>
                    <a:pt x="5" y="2"/>
                    <a:pt x="3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7" name="Freeform 582"/>
            <p:cNvSpPr>
              <a:spLocks noChangeArrowheads="1"/>
            </p:cNvSpPr>
            <p:nvPr/>
          </p:nvSpPr>
          <p:spPr bwMode="auto">
            <a:xfrm>
              <a:off x="4167188" y="2455863"/>
              <a:ext cx="4762" cy="4762"/>
            </a:xfrm>
            <a:custGeom>
              <a:avLst/>
              <a:gdLst>
                <a:gd name="T0" fmla="*/ 0 w 12"/>
                <a:gd name="T1" fmla="*/ 9 h 15"/>
                <a:gd name="T2" fmla="*/ 3 w 12"/>
                <a:gd name="T3" fmla="*/ 14 h 15"/>
                <a:gd name="T4" fmla="*/ 3 w 12"/>
                <a:gd name="T5" fmla="*/ 14 h 15"/>
                <a:gd name="T6" fmla="*/ 11 w 12"/>
                <a:gd name="T7" fmla="*/ 9 h 15"/>
                <a:gd name="T8" fmla="*/ 11 w 12"/>
                <a:gd name="T9" fmla="*/ 6 h 15"/>
                <a:gd name="T10" fmla="*/ 3 w 12"/>
                <a:gd name="T11" fmla="*/ 0 h 15"/>
                <a:gd name="T12" fmla="*/ 0 w 12"/>
                <a:gd name="T13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">
                  <a:moveTo>
                    <a:pt x="0" y="9"/>
                  </a:moveTo>
                  <a:cubicBezTo>
                    <a:pt x="3" y="12"/>
                    <a:pt x="0" y="14"/>
                    <a:pt x="3" y="14"/>
                  </a:cubicBezTo>
                  <a:lnTo>
                    <a:pt x="3" y="14"/>
                  </a:lnTo>
                  <a:cubicBezTo>
                    <a:pt x="6" y="14"/>
                    <a:pt x="9" y="12"/>
                    <a:pt x="11" y="9"/>
                  </a:cubicBezTo>
                  <a:lnTo>
                    <a:pt x="11" y="6"/>
                  </a:lnTo>
                  <a:cubicBezTo>
                    <a:pt x="9" y="6"/>
                    <a:pt x="3" y="3"/>
                    <a:pt x="3" y="0"/>
                  </a:cubicBezTo>
                  <a:cubicBezTo>
                    <a:pt x="0" y="6"/>
                    <a:pt x="0" y="6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8" name="Freeform 583"/>
            <p:cNvSpPr>
              <a:spLocks noChangeArrowheads="1"/>
            </p:cNvSpPr>
            <p:nvPr/>
          </p:nvSpPr>
          <p:spPr bwMode="auto">
            <a:xfrm>
              <a:off x="4162425" y="2982913"/>
              <a:ext cx="7938" cy="6350"/>
            </a:xfrm>
            <a:custGeom>
              <a:avLst/>
              <a:gdLst>
                <a:gd name="T0" fmla="*/ 3 w 21"/>
                <a:gd name="T1" fmla="*/ 0 h 18"/>
                <a:gd name="T2" fmla="*/ 8 w 21"/>
                <a:gd name="T3" fmla="*/ 17 h 18"/>
                <a:gd name="T4" fmla="*/ 14 w 21"/>
                <a:gd name="T5" fmla="*/ 17 h 18"/>
                <a:gd name="T6" fmla="*/ 20 w 21"/>
                <a:gd name="T7" fmla="*/ 14 h 18"/>
                <a:gd name="T8" fmla="*/ 20 w 21"/>
                <a:gd name="T9" fmla="*/ 12 h 18"/>
                <a:gd name="T10" fmla="*/ 3 w 21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8">
                  <a:moveTo>
                    <a:pt x="3" y="0"/>
                  </a:moveTo>
                  <a:cubicBezTo>
                    <a:pt x="0" y="6"/>
                    <a:pt x="3" y="14"/>
                    <a:pt x="8" y="17"/>
                  </a:cubicBezTo>
                  <a:cubicBezTo>
                    <a:pt x="11" y="17"/>
                    <a:pt x="11" y="17"/>
                    <a:pt x="14" y="17"/>
                  </a:cubicBezTo>
                  <a:cubicBezTo>
                    <a:pt x="14" y="12"/>
                    <a:pt x="17" y="12"/>
                    <a:pt x="20" y="14"/>
                  </a:cubicBezTo>
                  <a:cubicBezTo>
                    <a:pt x="20" y="14"/>
                    <a:pt x="20" y="14"/>
                    <a:pt x="20" y="12"/>
                  </a:cubicBezTo>
                  <a:cubicBezTo>
                    <a:pt x="17" y="6"/>
                    <a:pt x="11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9" name="Freeform 584"/>
            <p:cNvSpPr>
              <a:spLocks noChangeArrowheads="1"/>
            </p:cNvSpPr>
            <p:nvPr/>
          </p:nvSpPr>
          <p:spPr bwMode="auto">
            <a:xfrm>
              <a:off x="4156075" y="2994025"/>
              <a:ext cx="4763" cy="4763"/>
            </a:xfrm>
            <a:custGeom>
              <a:avLst/>
              <a:gdLst>
                <a:gd name="T0" fmla="*/ 6 w 15"/>
                <a:gd name="T1" fmla="*/ 0 h 12"/>
                <a:gd name="T2" fmla="*/ 0 w 15"/>
                <a:gd name="T3" fmla="*/ 8 h 12"/>
                <a:gd name="T4" fmla="*/ 14 w 15"/>
                <a:gd name="T5" fmla="*/ 8 h 12"/>
                <a:gd name="T6" fmla="*/ 6 w 15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2">
                  <a:moveTo>
                    <a:pt x="6" y="0"/>
                  </a:moveTo>
                  <a:cubicBezTo>
                    <a:pt x="3" y="2"/>
                    <a:pt x="0" y="2"/>
                    <a:pt x="0" y="8"/>
                  </a:cubicBezTo>
                  <a:cubicBezTo>
                    <a:pt x="9" y="8"/>
                    <a:pt x="12" y="11"/>
                    <a:pt x="14" y="8"/>
                  </a:cubicBezTo>
                  <a:cubicBezTo>
                    <a:pt x="12" y="5"/>
                    <a:pt x="9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0" name="Freeform 585"/>
            <p:cNvSpPr>
              <a:spLocks noChangeArrowheads="1"/>
            </p:cNvSpPr>
            <p:nvPr/>
          </p:nvSpPr>
          <p:spPr bwMode="auto">
            <a:xfrm>
              <a:off x="4167188" y="2921000"/>
              <a:ext cx="1587" cy="1588"/>
            </a:xfrm>
            <a:custGeom>
              <a:avLst/>
              <a:gdLst>
                <a:gd name="T0" fmla="*/ 0 w 4"/>
                <a:gd name="T1" fmla="*/ 0 h 4"/>
                <a:gd name="T2" fmla="*/ 3 w 4"/>
                <a:gd name="T3" fmla="*/ 3 h 4"/>
                <a:gd name="T4" fmla="*/ 0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cubicBezTo>
                    <a:pt x="0" y="3"/>
                    <a:pt x="3" y="3"/>
                    <a:pt x="3" y="3"/>
                  </a:cubicBez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1" name="Freeform 586"/>
            <p:cNvSpPr>
              <a:spLocks noChangeArrowheads="1"/>
            </p:cNvSpPr>
            <p:nvPr/>
          </p:nvSpPr>
          <p:spPr bwMode="auto">
            <a:xfrm>
              <a:off x="4164013" y="2994025"/>
              <a:ext cx="7937" cy="4763"/>
            </a:xfrm>
            <a:custGeom>
              <a:avLst/>
              <a:gdLst>
                <a:gd name="T0" fmla="*/ 0 w 21"/>
                <a:gd name="T1" fmla="*/ 3 h 13"/>
                <a:gd name="T2" fmla="*/ 14 w 21"/>
                <a:gd name="T3" fmla="*/ 12 h 13"/>
                <a:gd name="T4" fmla="*/ 20 w 21"/>
                <a:gd name="T5" fmla="*/ 6 h 13"/>
                <a:gd name="T6" fmla="*/ 17 w 21"/>
                <a:gd name="T7" fmla="*/ 3 h 13"/>
                <a:gd name="T8" fmla="*/ 0 w 21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3">
                  <a:moveTo>
                    <a:pt x="0" y="3"/>
                  </a:moveTo>
                  <a:cubicBezTo>
                    <a:pt x="3" y="9"/>
                    <a:pt x="8" y="9"/>
                    <a:pt x="14" y="12"/>
                  </a:cubicBezTo>
                  <a:cubicBezTo>
                    <a:pt x="17" y="12"/>
                    <a:pt x="17" y="9"/>
                    <a:pt x="20" y="6"/>
                  </a:cubicBezTo>
                  <a:cubicBezTo>
                    <a:pt x="20" y="6"/>
                    <a:pt x="20" y="3"/>
                    <a:pt x="17" y="3"/>
                  </a:cubicBezTo>
                  <a:cubicBezTo>
                    <a:pt x="8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2" name="Freeform 587"/>
            <p:cNvSpPr>
              <a:spLocks noChangeArrowheads="1"/>
            </p:cNvSpPr>
            <p:nvPr/>
          </p:nvSpPr>
          <p:spPr bwMode="auto">
            <a:xfrm>
              <a:off x="4168775" y="2546350"/>
              <a:ext cx="9525" cy="11113"/>
            </a:xfrm>
            <a:custGeom>
              <a:avLst/>
              <a:gdLst>
                <a:gd name="T0" fmla="*/ 0 w 26"/>
                <a:gd name="T1" fmla="*/ 20 h 30"/>
                <a:gd name="T2" fmla="*/ 14 w 26"/>
                <a:gd name="T3" fmla="*/ 26 h 30"/>
                <a:gd name="T4" fmla="*/ 20 w 26"/>
                <a:gd name="T5" fmla="*/ 26 h 30"/>
                <a:gd name="T6" fmla="*/ 25 w 26"/>
                <a:gd name="T7" fmla="*/ 17 h 30"/>
                <a:gd name="T8" fmla="*/ 0 w 26"/>
                <a:gd name="T9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0">
                  <a:moveTo>
                    <a:pt x="0" y="20"/>
                  </a:moveTo>
                  <a:cubicBezTo>
                    <a:pt x="8" y="23"/>
                    <a:pt x="11" y="29"/>
                    <a:pt x="14" y="26"/>
                  </a:cubicBezTo>
                  <a:cubicBezTo>
                    <a:pt x="17" y="23"/>
                    <a:pt x="20" y="23"/>
                    <a:pt x="20" y="26"/>
                  </a:cubicBezTo>
                  <a:cubicBezTo>
                    <a:pt x="22" y="26"/>
                    <a:pt x="25" y="23"/>
                    <a:pt x="25" y="17"/>
                  </a:cubicBezTo>
                  <a:cubicBezTo>
                    <a:pt x="20" y="0"/>
                    <a:pt x="6" y="9"/>
                    <a:pt x="0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3" name="Freeform 588"/>
            <p:cNvSpPr>
              <a:spLocks noChangeArrowheads="1"/>
            </p:cNvSpPr>
            <p:nvPr/>
          </p:nvSpPr>
          <p:spPr bwMode="auto">
            <a:xfrm>
              <a:off x="4175125" y="3008313"/>
              <a:ext cx="1588" cy="3175"/>
            </a:xfrm>
            <a:custGeom>
              <a:avLst/>
              <a:gdLst>
                <a:gd name="T0" fmla="*/ 0 w 6"/>
                <a:gd name="T1" fmla="*/ 0 h 7"/>
                <a:gd name="T2" fmla="*/ 5 w 6"/>
                <a:gd name="T3" fmla="*/ 6 h 7"/>
                <a:gd name="T4" fmla="*/ 5 w 6"/>
                <a:gd name="T5" fmla="*/ 0 h 7"/>
                <a:gd name="T6" fmla="*/ 0 w 6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cubicBezTo>
                    <a:pt x="0" y="3"/>
                    <a:pt x="3" y="6"/>
                    <a:pt x="5" y="6"/>
                  </a:cubicBezTo>
                  <a:cubicBezTo>
                    <a:pt x="5" y="3"/>
                    <a:pt x="5" y="3"/>
                    <a:pt x="5" y="0"/>
                  </a:cubicBez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4" name="Freeform 589"/>
            <p:cNvSpPr>
              <a:spLocks noChangeArrowheads="1"/>
            </p:cNvSpPr>
            <p:nvPr/>
          </p:nvSpPr>
          <p:spPr bwMode="auto">
            <a:xfrm>
              <a:off x="4159250" y="2917825"/>
              <a:ext cx="4763" cy="4763"/>
            </a:xfrm>
            <a:custGeom>
              <a:avLst/>
              <a:gdLst>
                <a:gd name="T0" fmla="*/ 3 w 15"/>
                <a:gd name="T1" fmla="*/ 3 h 15"/>
                <a:gd name="T2" fmla="*/ 11 w 15"/>
                <a:gd name="T3" fmla="*/ 14 h 15"/>
                <a:gd name="T4" fmla="*/ 11 w 15"/>
                <a:gd name="T5" fmla="*/ 11 h 15"/>
                <a:gd name="T6" fmla="*/ 5 w 15"/>
                <a:gd name="T7" fmla="*/ 8 h 15"/>
                <a:gd name="T8" fmla="*/ 14 w 15"/>
                <a:gd name="T9" fmla="*/ 0 h 15"/>
                <a:gd name="T10" fmla="*/ 3 w 15"/>
                <a:gd name="T11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5">
                  <a:moveTo>
                    <a:pt x="3" y="3"/>
                  </a:moveTo>
                  <a:cubicBezTo>
                    <a:pt x="0" y="11"/>
                    <a:pt x="5" y="14"/>
                    <a:pt x="11" y="14"/>
                  </a:cubicBezTo>
                  <a:cubicBezTo>
                    <a:pt x="11" y="14"/>
                    <a:pt x="11" y="14"/>
                    <a:pt x="11" y="11"/>
                  </a:cubicBezTo>
                  <a:cubicBezTo>
                    <a:pt x="8" y="11"/>
                    <a:pt x="5" y="11"/>
                    <a:pt x="5" y="8"/>
                  </a:cubicBezTo>
                  <a:cubicBezTo>
                    <a:pt x="8" y="6"/>
                    <a:pt x="11" y="3"/>
                    <a:pt x="14" y="0"/>
                  </a:cubicBezTo>
                  <a:cubicBezTo>
                    <a:pt x="8" y="3"/>
                    <a:pt x="5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5" name="Freeform 590"/>
            <p:cNvSpPr>
              <a:spLocks noChangeArrowheads="1"/>
            </p:cNvSpPr>
            <p:nvPr/>
          </p:nvSpPr>
          <p:spPr bwMode="auto">
            <a:xfrm>
              <a:off x="4184650" y="3036888"/>
              <a:ext cx="3175" cy="1587"/>
            </a:xfrm>
            <a:custGeom>
              <a:avLst/>
              <a:gdLst>
                <a:gd name="T0" fmla="*/ 6 w 7"/>
                <a:gd name="T1" fmla="*/ 3 h 4"/>
                <a:gd name="T2" fmla="*/ 0 w 7"/>
                <a:gd name="T3" fmla="*/ 0 h 4"/>
                <a:gd name="T4" fmla="*/ 6 w 7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3"/>
                  </a:moveTo>
                  <a:cubicBezTo>
                    <a:pt x="3" y="3"/>
                    <a:pt x="3" y="0"/>
                    <a:pt x="0" y="0"/>
                  </a:cubicBezTo>
                  <a:cubicBezTo>
                    <a:pt x="0" y="0"/>
                    <a:pt x="3" y="3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6" name="Freeform 591"/>
            <p:cNvSpPr>
              <a:spLocks noChangeArrowheads="1"/>
            </p:cNvSpPr>
            <p:nvPr/>
          </p:nvSpPr>
          <p:spPr bwMode="auto">
            <a:xfrm>
              <a:off x="4181475" y="3068638"/>
              <a:ext cx="4763" cy="4762"/>
            </a:xfrm>
            <a:custGeom>
              <a:avLst/>
              <a:gdLst>
                <a:gd name="T0" fmla="*/ 5 w 12"/>
                <a:gd name="T1" fmla="*/ 3 h 15"/>
                <a:gd name="T2" fmla="*/ 3 w 12"/>
                <a:gd name="T3" fmla="*/ 14 h 15"/>
                <a:gd name="T4" fmla="*/ 11 w 12"/>
                <a:gd name="T5" fmla="*/ 3 h 15"/>
                <a:gd name="T6" fmla="*/ 5 w 12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5" y="3"/>
                  </a:moveTo>
                  <a:cubicBezTo>
                    <a:pt x="5" y="9"/>
                    <a:pt x="0" y="9"/>
                    <a:pt x="3" y="14"/>
                  </a:cubicBezTo>
                  <a:cubicBezTo>
                    <a:pt x="5" y="12"/>
                    <a:pt x="8" y="6"/>
                    <a:pt x="11" y="3"/>
                  </a:cubicBezTo>
                  <a:cubicBezTo>
                    <a:pt x="8" y="0"/>
                    <a:pt x="5" y="0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7" name="Freeform 592"/>
            <p:cNvSpPr>
              <a:spLocks noChangeArrowheads="1"/>
            </p:cNvSpPr>
            <p:nvPr/>
          </p:nvSpPr>
          <p:spPr bwMode="auto">
            <a:xfrm>
              <a:off x="4181475" y="2592388"/>
              <a:ext cx="4763" cy="3175"/>
            </a:xfrm>
            <a:custGeom>
              <a:avLst/>
              <a:gdLst>
                <a:gd name="T0" fmla="*/ 14 w 15"/>
                <a:gd name="T1" fmla="*/ 0 h 10"/>
                <a:gd name="T2" fmla="*/ 0 w 15"/>
                <a:gd name="T3" fmla="*/ 9 h 10"/>
                <a:gd name="T4" fmla="*/ 14 w 15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14" y="0"/>
                  </a:moveTo>
                  <a:cubicBezTo>
                    <a:pt x="8" y="0"/>
                    <a:pt x="2" y="3"/>
                    <a:pt x="0" y="9"/>
                  </a:cubicBezTo>
                  <a:cubicBezTo>
                    <a:pt x="8" y="9"/>
                    <a:pt x="14" y="6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8" name="Freeform 593"/>
            <p:cNvSpPr>
              <a:spLocks noChangeArrowheads="1"/>
            </p:cNvSpPr>
            <p:nvPr/>
          </p:nvSpPr>
          <p:spPr bwMode="auto">
            <a:xfrm>
              <a:off x="4179888" y="2647950"/>
              <a:ext cx="1587" cy="1588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  <a:gd name="T4" fmla="*/ 0 w 4"/>
                <a:gd name="T5" fmla="*/ 0 h 4"/>
                <a:gd name="T6" fmla="*/ 0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0" y="3"/>
                  </a:lnTo>
                  <a:cubicBezTo>
                    <a:pt x="3" y="0"/>
                    <a:pt x="0" y="0"/>
                    <a:pt x="0" y="0"/>
                  </a:cubicBezTo>
                  <a:lnTo>
                    <a:pt x="0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9" name="Freeform 594"/>
            <p:cNvSpPr>
              <a:spLocks noChangeArrowheads="1"/>
            </p:cNvSpPr>
            <p:nvPr/>
          </p:nvSpPr>
          <p:spPr bwMode="auto">
            <a:xfrm>
              <a:off x="4254500" y="2143125"/>
              <a:ext cx="3175" cy="6350"/>
            </a:xfrm>
            <a:custGeom>
              <a:avLst/>
              <a:gdLst>
                <a:gd name="T0" fmla="*/ 0 w 9"/>
                <a:gd name="T1" fmla="*/ 2 h 18"/>
                <a:gd name="T2" fmla="*/ 0 w 9"/>
                <a:gd name="T3" fmla="*/ 14 h 18"/>
                <a:gd name="T4" fmla="*/ 0 w 9"/>
                <a:gd name="T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8">
                  <a:moveTo>
                    <a:pt x="0" y="2"/>
                  </a:moveTo>
                  <a:lnTo>
                    <a:pt x="0" y="14"/>
                  </a:lnTo>
                  <a:cubicBezTo>
                    <a:pt x="8" y="17"/>
                    <a:pt x="8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0" name="Freeform 595"/>
            <p:cNvSpPr>
              <a:spLocks noChangeArrowheads="1"/>
            </p:cNvSpPr>
            <p:nvPr/>
          </p:nvSpPr>
          <p:spPr bwMode="auto">
            <a:xfrm>
              <a:off x="4305300" y="2430463"/>
              <a:ext cx="4763" cy="4762"/>
            </a:xfrm>
            <a:custGeom>
              <a:avLst/>
              <a:gdLst>
                <a:gd name="T0" fmla="*/ 11 w 12"/>
                <a:gd name="T1" fmla="*/ 14 h 15"/>
                <a:gd name="T2" fmla="*/ 6 w 12"/>
                <a:gd name="T3" fmla="*/ 0 h 15"/>
                <a:gd name="T4" fmla="*/ 11 w 12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1" y="14"/>
                  </a:moveTo>
                  <a:cubicBezTo>
                    <a:pt x="11" y="8"/>
                    <a:pt x="8" y="3"/>
                    <a:pt x="6" y="0"/>
                  </a:cubicBezTo>
                  <a:cubicBezTo>
                    <a:pt x="6" y="6"/>
                    <a:pt x="0" y="14"/>
                    <a:pt x="11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1" name="Freeform 596"/>
            <p:cNvSpPr>
              <a:spLocks noChangeArrowheads="1"/>
            </p:cNvSpPr>
            <p:nvPr/>
          </p:nvSpPr>
          <p:spPr bwMode="auto">
            <a:xfrm>
              <a:off x="4319588" y="2771775"/>
              <a:ext cx="1587" cy="3175"/>
            </a:xfrm>
            <a:custGeom>
              <a:avLst/>
              <a:gdLst>
                <a:gd name="T0" fmla="*/ 0 w 6"/>
                <a:gd name="T1" fmla="*/ 5 h 7"/>
                <a:gd name="T2" fmla="*/ 0 w 6"/>
                <a:gd name="T3" fmla="*/ 5 h 7"/>
                <a:gd name="T4" fmla="*/ 2 w 6"/>
                <a:gd name="T5" fmla="*/ 5 h 7"/>
                <a:gd name="T6" fmla="*/ 5 w 6"/>
                <a:gd name="T7" fmla="*/ 3 h 7"/>
                <a:gd name="T8" fmla="*/ 2 w 6"/>
                <a:gd name="T9" fmla="*/ 0 h 7"/>
                <a:gd name="T10" fmla="*/ 0 w 6"/>
                <a:gd name="T1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7">
                  <a:moveTo>
                    <a:pt x="0" y="5"/>
                  </a:moveTo>
                  <a:lnTo>
                    <a:pt x="0" y="5"/>
                  </a:lnTo>
                  <a:lnTo>
                    <a:pt x="2" y="5"/>
                  </a:lnTo>
                  <a:cubicBezTo>
                    <a:pt x="2" y="5"/>
                    <a:pt x="5" y="6"/>
                    <a:pt x="5" y="3"/>
                  </a:cubicBezTo>
                  <a:cubicBezTo>
                    <a:pt x="5" y="1"/>
                    <a:pt x="2" y="0"/>
                    <a:pt x="2" y="0"/>
                  </a:cubicBezTo>
                  <a:cubicBezTo>
                    <a:pt x="2" y="3"/>
                    <a:pt x="0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2" name="Freeform 597"/>
            <p:cNvSpPr>
              <a:spLocks noChangeArrowheads="1"/>
            </p:cNvSpPr>
            <p:nvPr/>
          </p:nvSpPr>
          <p:spPr bwMode="auto">
            <a:xfrm>
              <a:off x="4297363" y="2608263"/>
              <a:ext cx="3175" cy="4762"/>
            </a:xfrm>
            <a:custGeom>
              <a:avLst/>
              <a:gdLst>
                <a:gd name="T0" fmla="*/ 0 w 10"/>
                <a:gd name="T1" fmla="*/ 3 h 13"/>
                <a:gd name="T2" fmla="*/ 0 w 10"/>
                <a:gd name="T3" fmla="*/ 12 h 13"/>
                <a:gd name="T4" fmla="*/ 6 w 10"/>
                <a:gd name="T5" fmla="*/ 12 h 13"/>
                <a:gd name="T6" fmla="*/ 6 w 10"/>
                <a:gd name="T7" fmla="*/ 9 h 13"/>
                <a:gd name="T8" fmla="*/ 9 w 10"/>
                <a:gd name="T9" fmla="*/ 0 h 13"/>
                <a:gd name="T10" fmla="*/ 0 w 10"/>
                <a:gd name="T11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3">
                  <a:moveTo>
                    <a:pt x="0" y="3"/>
                  </a:moveTo>
                  <a:cubicBezTo>
                    <a:pt x="0" y="6"/>
                    <a:pt x="0" y="9"/>
                    <a:pt x="0" y="12"/>
                  </a:cubicBezTo>
                  <a:cubicBezTo>
                    <a:pt x="3" y="12"/>
                    <a:pt x="3" y="12"/>
                    <a:pt x="6" y="12"/>
                  </a:cubicBezTo>
                  <a:lnTo>
                    <a:pt x="6" y="9"/>
                  </a:lnTo>
                  <a:cubicBezTo>
                    <a:pt x="9" y="6"/>
                    <a:pt x="9" y="3"/>
                    <a:pt x="9" y="0"/>
                  </a:cubicBezTo>
                  <a:cubicBezTo>
                    <a:pt x="6" y="0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3" name="Freeform 598"/>
            <p:cNvSpPr>
              <a:spLocks noChangeArrowheads="1"/>
            </p:cNvSpPr>
            <p:nvPr/>
          </p:nvSpPr>
          <p:spPr bwMode="auto">
            <a:xfrm>
              <a:off x="4302125" y="2168525"/>
              <a:ext cx="4763" cy="4763"/>
            </a:xfrm>
            <a:custGeom>
              <a:avLst/>
              <a:gdLst>
                <a:gd name="T0" fmla="*/ 0 w 12"/>
                <a:gd name="T1" fmla="*/ 0 h 15"/>
                <a:gd name="T2" fmla="*/ 11 w 12"/>
                <a:gd name="T3" fmla="*/ 14 h 15"/>
                <a:gd name="T4" fmla="*/ 0 w 1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0" y="0"/>
                  </a:moveTo>
                  <a:cubicBezTo>
                    <a:pt x="0" y="9"/>
                    <a:pt x="2" y="14"/>
                    <a:pt x="11" y="14"/>
                  </a:cubicBezTo>
                  <a:cubicBezTo>
                    <a:pt x="11" y="3"/>
                    <a:pt x="8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4" name="Freeform 599"/>
            <p:cNvSpPr>
              <a:spLocks noChangeArrowheads="1"/>
            </p:cNvSpPr>
            <p:nvPr/>
          </p:nvSpPr>
          <p:spPr bwMode="auto">
            <a:xfrm>
              <a:off x="4289425" y="2738438"/>
              <a:ext cx="3175" cy="3175"/>
            </a:xfrm>
            <a:custGeom>
              <a:avLst/>
              <a:gdLst>
                <a:gd name="T0" fmla="*/ 0 w 9"/>
                <a:gd name="T1" fmla="*/ 8 h 9"/>
                <a:gd name="T2" fmla="*/ 8 w 9"/>
                <a:gd name="T3" fmla="*/ 0 h 9"/>
                <a:gd name="T4" fmla="*/ 0 w 9"/>
                <a:gd name="T5" fmla="*/ 0 h 9"/>
                <a:gd name="T6" fmla="*/ 0 w 9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0" y="8"/>
                  </a:moveTo>
                  <a:cubicBezTo>
                    <a:pt x="5" y="8"/>
                    <a:pt x="8" y="5"/>
                    <a:pt x="8" y="0"/>
                  </a:cubicBez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5" name="Freeform 600"/>
            <p:cNvSpPr>
              <a:spLocks noChangeArrowheads="1"/>
            </p:cNvSpPr>
            <p:nvPr/>
          </p:nvSpPr>
          <p:spPr bwMode="auto">
            <a:xfrm>
              <a:off x="4300538" y="2506663"/>
              <a:ext cx="3175" cy="4762"/>
            </a:xfrm>
            <a:custGeom>
              <a:avLst/>
              <a:gdLst>
                <a:gd name="T0" fmla="*/ 0 w 9"/>
                <a:gd name="T1" fmla="*/ 3 h 13"/>
                <a:gd name="T2" fmla="*/ 8 w 9"/>
                <a:gd name="T3" fmla="*/ 12 h 13"/>
                <a:gd name="T4" fmla="*/ 3 w 9"/>
                <a:gd name="T5" fmla="*/ 0 h 13"/>
                <a:gd name="T6" fmla="*/ 0 w 9"/>
                <a:gd name="T7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0" y="3"/>
                  </a:moveTo>
                  <a:cubicBezTo>
                    <a:pt x="0" y="9"/>
                    <a:pt x="3" y="12"/>
                    <a:pt x="8" y="12"/>
                  </a:cubicBezTo>
                  <a:cubicBezTo>
                    <a:pt x="8" y="6"/>
                    <a:pt x="6" y="3"/>
                    <a:pt x="3" y="0"/>
                  </a:cubicBezTo>
                  <a:cubicBezTo>
                    <a:pt x="0" y="0"/>
                    <a:pt x="0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6" name="Freeform 601"/>
            <p:cNvSpPr>
              <a:spLocks noChangeArrowheads="1"/>
            </p:cNvSpPr>
            <p:nvPr/>
          </p:nvSpPr>
          <p:spPr bwMode="auto">
            <a:xfrm>
              <a:off x="4300538" y="2408238"/>
              <a:ext cx="14287" cy="7937"/>
            </a:xfrm>
            <a:custGeom>
              <a:avLst/>
              <a:gdLst>
                <a:gd name="T0" fmla="*/ 14 w 40"/>
                <a:gd name="T1" fmla="*/ 22 h 23"/>
                <a:gd name="T2" fmla="*/ 31 w 40"/>
                <a:gd name="T3" fmla="*/ 14 h 23"/>
                <a:gd name="T4" fmla="*/ 30 w 40"/>
                <a:gd name="T5" fmla="*/ 8 h 23"/>
                <a:gd name="T6" fmla="*/ 28 w 40"/>
                <a:gd name="T7" fmla="*/ 11 h 23"/>
                <a:gd name="T8" fmla="*/ 25 w 40"/>
                <a:gd name="T9" fmla="*/ 8 h 23"/>
                <a:gd name="T10" fmla="*/ 22 w 40"/>
                <a:gd name="T11" fmla="*/ 14 h 23"/>
                <a:gd name="T12" fmla="*/ 14 w 40"/>
                <a:gd name="T13" fmla="*/ 17 h 23"/>
                <a:gd name="T14" fmla="*/ 17 w 40"/>
                <a:gd name="T15" fmla="*/ 6 h 23"/>
                <a:gd name="T16" fmla="*/ 8 w 40"/>
                <a:gd name="T17" fmla="*/ 3 h 23"/>
                <a:gd name="T18" fmla="*/ 0 w 40"/>
                <a:gd name="T19" fmla="*/ 8 h 23"/>
                <a:gd name="T20" fmla="*/ 14 w 40"/>
                <a:gd name="T21" fmla="*/ 22 h 23"/>
                <a:gd name="T22" fmla="*/ 32 w 40"/>
                <a:gd name="T23" fmla="*/ 6 h 23"/>
                <a:gd name="T24" fmla="*/ 30 w 40"/>
                <a:gd name="T25" fmla="*/ 8 h 23"/>
                <a:gd name="T26" fmla="*/ 32 w 40"/>
                <a:gd name="T27" fmla="*/ 6 h 23"/>
                <a:gd name="T28" fmla="*/ 39 w 40"/>
                <a:gd name="T29" fmla="*/ 3 h 23"/>
                <a:gd name="T30" fmla="*/ 39 w 40"/>
                <a:gd name="T31" fmla="*/ 0 h 23"/>
                <a:gd name="T32" fmla="*/ 37 w 40"/>
                <a:gd name="T33" fmla="*/ 0 h 23"/>
                <a:gd name="T34" fmla="*/ 32 w 40"/>
                <a:gd name="T35" fmla="*/ 6 h 23"/>
                <a:gd name="T36" fmla="*/ 39 w 40"/>
                <a:gd name="T3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23">
                  <a:moveTo>
                    <a:pt x="14" y="22"/>
                  </a:moveTo>
                  <a:cubicBezTo>
                    <a:pt x="14" y="14"/>
                    <a:pt x="25" y="20"/>
                    <a:pt x="31" y="14"/>
                  </a:cubicBezTo>
                  <a:cubicBezTo>
                    <a:pt x="30" y="12"/>
                    <a:pt x="30" y="10"/>
                    <a:pt x="30" y="8"/>
                  </a:cubicBezTo>
                  <a:cubicBezTo>
                    <a:pt x="30" y="9"/>
                    <a:pt x="29" y="10"/>
                    <a:pt x="28" y="11"/>
                  </a:cubicBezTo>
                  <a:cubicBezTo>
                    <a:pt x="28" y="11"/>
                    <a:pt x="28" y="8"/>
                    <a:pt x="25" y="8"/>
                  </a:cubicBezTo>
                  <a:cubicBezTo>
                    <a:pt x="25" y="8"/>
                    <a:pt x="25" y="14"/>
                    <a:pt x="22" y="14"/>
                  </a:cubicBezTo>
                  <a:cubicBezTo>
                    <a:pt x="20" y="17"/>
                    <a:pt x="17" y="14"/>
                    <a:pt x="14" y="17"/>
                  </a:cubicBezTo>
                  <a:cubicBezTo>
                    <a:pt x="14" y="11"/>
                    <a:pt x="17" y="11"/>
                    <a:pt x="17" y="6"/>
                  </a:cubicBezTo>
                  <a:cubicBezTo>
                    <a:pt x="14" y="6"/>
                    <a:pt x="8" y="6"/>
                    <a:pt x="8" y="3"/>
                  </a:cubicBezTo>
                  <a:cubicBezTo>
                    <a:pt x="6" y="6"/>
                    <a:pt x="3" y="6"/>
                    <a:pt x="0" y="8"/>
                  </a:cubicBezTo>
                  <a:cubicBezTo>
                    <a:pt x="0" y="17"/>
                    <a:pt x="8" y="22"/>
                    <a:pt x="14" y="22"/>
                  </a:cubicBezTo>
                  <a:close/>
                  <a:moveTo>
                    <a:pt x="32" y="6"/>
                  </a:moveTo>
                  <a:cubicBezTo>
                    <a:pt x="31" y="6"/>
                    <a:pt x="31" y="7"/>
                    <a:pt x="30" y="8"/>
                  </a:cubicBezTo>
                  <a:cubicBezTo>
                    <a:pt x="31" y="7"/>
                    <a:pt x="31" y="6"/>
                    <a:pt x="32" y="6"/>
                  </a:cubicBezTo>
                  <a:close/>
                  <a:moveTo>
                    <a:pt x="39" y="3"/>
                  </a:moveTo>
                  <a:lnTo>
                    <a:pt x="39" y="0"/>
                  </a:lnTo>
                  <a:lnTo>
                    <a:pt x="37" y="0"/>
                  </a:lnTo>
                  <a:cubicBezTo>
                    <a:pt x="33" y="0"/>
                    <a:pt x="33" y="2"/>
                    <a:pt x="32" y="6"/>
                  </a:cubicBezTo>
                  <a:cubicBezTo>
                    <a:pt x="33" y="4"/>
                    <a:pt x="36" y="3"/>
                    <a:pt x="39" y="3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7" name="Freeform 602"/>
            <p:cNvSpPr>
              <a:spLocks noChangeArrowheads="1"/>
            </p:cNvSpPr>
            <p:nvPr/>
          </p:nvSpPr>
          <p:spPr bwMode="auto">
            <a:xfrm>
              <a:off x="4292600" y="2579688"/>
              <a:ext cx="7938" cy="6350"/>
            </a:xfrm>
            <a:custGeom>
              <a:avLst/>
              <a:gdLst>
                <a:gd name="T0" fmla="*/ 20 w 21"/>
                <a:gd name="T1" fmla="*/ 9 h 16"/>
                <a:gd name="T2" fmla="*/ 3 w 21"/>
                <a:gd name="T3" fmla="*/ 6 h 16"/>
                <a:gd name="T4" fmla="*/ 20 w 21"/>
                <a:gd name="T5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6">
                  <a:moveTo>
                    <a:pt x="20" y="9"/>
                  </a:moveTo>
                  <a:cubicBezTo>
                    <a:pt x="11" y="9"/>
                    <a:pt x="9" y="0"/>
                    <a:pt x="3" y="6"/>
                  </a:cubicBezTo>
                  <a:cubicBezTo>
                    <a:pt x="0" y="15"/>
                    <a:pt x="20" y="15"/>
                    <a:pt x="2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8" name="Freeform 603"/>
            <p:cNvSpPr>
              <a:spLocks noChangeArrowheads="1"/>
            </p:cNvSpPr>
            <p:nvPr/>
          </p:nvSpPr>
          <p:spPr bwMode="auto">
            <a:xfrm>
              <a:off x="4322763" y="2574925"/>
              <a:ext cx="4762" cy="3175"/>
            </a:xfrm>
            <a:custGeom>
              <a:avLst/>
              <a:gdLst>
                <a:gd name="T0" fmla="*/ 0 w 12"/>
                <a:gd name="T1" fmla="*/ 8 h 9"/>
                <a:gd name="T2" fmla="*/ 11 w 12"/>
                <a:gd name="T3" fmla="*/ 8 h 9"/>
                <a:gd name="T4" fmla="*/ 11 w 12"/>
                <a:gd name="T5" fmla="*/ 5 h 9"/>
                <a:gd name="T6" fmla="*/ 0 w 12"/>
                <a:gd name="T7" fmla="*/ 0 h 9"/>
                <a:gd name="T8" fmla="*/ 0 w 12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lnTo>
                    <a:pt x="11" y="8"/>
                  </a:lnTo>
                  <a:lnTo>
                    <a:pt x="11" y="5"/>
                  </a:lnTo>
                  <a:cubicBezTo>
                    <a:pt x="8" y="2"/>
                    <a:pt x="3" y="0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9" name="Freeform 604"/>
            <p:cNvSpPr>
              <a:spLocks noChangeArrowheads="1"/>
            </p:cNvSpPr>
            <p:nvPr/>
          </p:nvSpPr>
          <p:spPr bwMode="auto">
            <a:xfrm>
              <a:off x="4319588" y="2265363"/>
              <a:ext cx="4762" cy="3175"/>
            </a:xfrm>
            <a:custGeom>
              <a:avLst/>
              <a:gdLst>
                <a:gd name="T0" fmla="*/ 0 w 13"/>
                <a:gd name="T1" fmla="*/ 3 h 10"/>
                <a:gd name="T2" fmla="*/ 3 w 13"/>
                <a:gd name="T3" fmla="*/ 9 h 10"/>
                <a:gd name="T4" fmla="*/ 6 w 13"/>
                <a:gd name="T5" fmla="*/ 9 h 10"/>
                <a:gd name="T6" fmla="*/ 12 w 13"/>
                <a:gd name="T7" fmla="*/ 0 h 10"/>
                <a:gd name="T8" fmla="*/ 0 w 13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0">
                  <a:moveTo>
                    <a:pt x="0" y="3"/>
                  </a:moveTo>
                  <a:cubicBezTo>
                    <a:pt x="0" y="6"/>
                    <a:pt x="0" y="9"/>
                    <a:pt x="3" y="9"/>
                  </a:cubicBezTo>
                  <a:lnTo>
                    <a:pt x="6" y="9"/>
                  </a:lnTo>
                  <a:cubicBezTo>
                    <a:pt x="9" y="9"/>
                    <a:pt x="9" y="3"/>
                    <a:pt x="12" y="0"/>
                  </a:cubicBezTo>
                  <a:cubicBezTo>
                    <a:pt x="6" y="0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0" name="Freeform 605"/>
            <p:cNvSpPr>
              <a:spLocks noChangeArrowheads="1"/>
            </p:cNvSpPr>
            <p:nvPr/>
          </p:nvSpPr>
          <p:spPr bwMode="auto">
            <a:xfrm>
              <a:off x="4302125" y="2689225"/>
              <a:ext cx="4763" cy="6350"/>
            </a:xfrm>
            <a:custGeom>
              <a:avLst/>
              <a:gdLst>
                <a:gd name="T0" fmla="*/ 6 w 13"/>
                <a:gd name="T1" fmla="*/ 14 h 18"/>
                <a:gd name="T2" fmla="*/ 0 w 13"/>
                <a:gd name="T3" fmla="*/ 17 h 18"/>
                <a:gd name="T4" fmla="*/ 9 w 13"/>
                <a:gd name="T5" fmla="*/ 17 h 18"/>
                <a:gd name="T6" fmla="*/ 12 w 13"/>
                <a:gd name="T7" fmla="*/ 9 h 18"/>
                <a:gd name="T8" fmla="*/ 0 w 13"/>
                <a:gd name="T9" fmla="*/ 0 h 18"/>
                <a:gd name="T10" fmla="*/ 6 w 13"/>
                <a:gd name="T11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8">
                  <a:moveTo>
                    <a:pt x="6" y="14"/>
                  </a:moveTo>
                  <a:cubicBezTo>
                    <a:pt x="3" y="14"/>
                    <a:pt x="0" y="14"/>
                    <a:pt x="0" y="17"/>
                  </a:cubicBezTo>
                  <a:cubicBezTo>
                    <a:pt x="3" y="17"/>
                    <a:pt x="6" y="17"/>
                    <a:pt x="9" y="17"/>
                  </a:cubicBezTo>
                  <a:cubicBezTo>
                    <a:pt x="9" y="14"/>
                    <a:pt x="12" y="14"/>
                    <a:pt x="12" y="9"/>
                  </a:cubicBezTo>
                  <a:cubicBezTo>
                    <a:pt x="9" y="6"/>
                    <a:pt x="3" y="3"/>
                    <a:pt x="0" y="0"/>
                  </a:cubicBezTo>
                  <a:cubicBezTo>
                    <a:pt x="3" y="6"/>
                    <a:pt x="6" y="12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1" name="Freeform 606"/>
            <p:cNvSpPr>
              <a:spLocks noChangeArrowheads="1"/>
            </p:cNvSpPr>
            <p:nvPr/>
          </p:nvSpPr>
          <p:spPr bwMode="auto">
            <a:xfrm>
              <a:off x="4319588" y="2711450"/>
              <a:ext cx="3175" cy="1588"/>
            </a:xfrm>
            <a:custGeom>
              <a:avLst/>
              <a:gdLst>
                <a:gd name="T0" fmla="*/ 8 w 9"/>
                <a:gd name="T1" fmla="*/ 0 h 4"/>
                <a:gd name="T2" fmla="*/ 0 w 9"/>
                <a:gd name="T3" fmla="*/ 3 h 4"/>
                <a:gd name="T4" fmla="*/ 8 w 9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4">
                  <a:moveTo>
                    <a:pt x="8" y="0"/>
                  </a:moveTo>
                  <a:cubicBezTo>
                    <a:pt x="5" y="0"/>
                    <a:pt x="2" y="0"/>
                    <a:pt x="0" y="3"/>
                  </a:cubicBezTo>
                  <a:lnTo>
                    <a:pt x="8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2" name="Freeform 607"/>
            <p:cNvSpPr>
              <a:spLocks noChangeArrowheads="1"/>
            </p:cNvSpPr>
            <p:nvPr/>
          </p:nvSpPr>
          <p:spPr bwMode="auto">
            <a:xfrm>
              <a:off x="4306888" y="2665413"/>
              <a:ext cx="11112" cy="11112"/>
            </a:xfrm>
            <a:custGeom>
              <a:avLst/>
              <a:gdLst>
                <a:gd name="T0" fmla="*/ 8 w 29"/>
                <a:gd name="T1" fmla="*/ 23 h 30"/>
                <a:gd name="T2" fmla="*/ 22 w 29"/>
                <a:gd name="T3" fmla="*/ 12 h 30"/>
                <a:gd name="T4" fmla="*/ 19 w 29"/>
                <a:gd name="T5" fmla="*/ 23 h 30"/>
                <a:gd name="T6" fmla="*/ 19 w 29"/>
                <a:gd name="T7" fmla="*/ 29 h 30"/>
                <a:gd name="T8" fmla="*/ 19 w 29"/>
                <a:gd name="T9" fmla="*/ 0 h 30"/>
                <a:gd name="T10" fmla="*/ 19 w 29"/>
                <a:gd name="T11" fmla="*/ 0 h 30"/>
                <a:gd name="T12" fmla="*/ 0 w 29"/>
                <a:gd name="T13" fmla="*/ 9 h 30"/>
                <a:gd name="T14" fmla="*/ 8 w 29"/>
                <a:gd name="T15" fmla="*/ 2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30">
                  <a:moveTo>
                    <a:pt x="8" y="23"/>
                  </a:moveTo>
                  <a:cubicBezTo>
                    <a:pt x="11" y="17"/>
                    <a:pt x="17" y="14"/>
                    <a:pt x="22" y="12"/>
                  </a:cubicBezTo>
                  <a:cubicBezTo>
                    <a:pt x="28" y="14"/>
                    <a:pt x="22" y="17"/>
                    <a:pt x="19" y="23"/>
                  </a:cubicBezTo>
                  <a:cubicBezTo>
                    <a:pt x="19" y="26"/>
                    <a:pt x="19" y="29"/>
                    <a:pt x="19" y="29"/>
                  </a:cubicBezTo>
                  <a:cubicBezTo>
                    <a:pt x="28" y="20"/>
                    <a:pt x="28" y="9"/>
                    <a:pt x="19" y="0"/>
                  </a:cubicBezTo>
                  <a:lnTo>
                    <a:pt x="19" y="0"/>
                  </a:lnTo>
                  <a:cubicBezTo>
                    <a:pt x="11" y="0"/>
                    <a:pt x="2" y="0"/>
                    <a:pt x="0" y="9"/>
                  </a:cubicBezTo>
                  <a:cubicBezTo>
                    <a:pt x="5" y="14"/>
                    <a:pt x="8" y="17"/>
                    <a:pt x="8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3" name="Freeform 608"/>
            <p:cNvSpPr>
              <a:spLocks noChangeArrowheads="1"/>
            </p:cNvSpPr>
            <p:nvPr/>
          </p:nvSpPr>
          <p:spPr bwMode="auto">
            <a:xfrm>
              <a:off x="4303713" y="2447925"/>
              <a:ext cx="1587" cy="1588"/>
            </a:xfrm>
            <a:custGeom>
              <a:avLst/>
              <a:gdLst>
                <a:gd name="T0" fmla="*/ 0 w 4"/>
                <a:gd name="T1" fmla="*/ 3 h 4"/>
                <a:gd name="T2" fmla="*/ 3 w 4"/>
                <a:gd name="T3" fmla="*/ 0 h 4"/>
                <a:gd name="T4" fmla="*/ 3 w 4"/>
                <a:gd name="T5" fmla="*/ 0 h 4"/>
                <a:gd name="T6" fmla="*/ 0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3" y="3"/>
                    <a:pt x="3" y="0"/>
                  </a:cubicBezTo>
                  <a:lnTo>
                    <a:pt x="3" y="0"/>
                  </a:lnTo>
                  <a:cubicBezTo>
                    <a:pt x="3" y="3"/>
                    <a:pt x="0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4" name="Freeform 609"/>
            <p:cNvSpPr>
              <a:spLocks noChangeArrowheads="1"/>
            </p:cNvSpPr>
            <p:nvPr/>
          </p:nvSpPr>
          <p:spPr bwMode="auto">
            <a:xfrm>
              <a:off x="4278313" y="2819400"/>
              <a:ext cx="4762" cy="3175"/>
            </a:xfrm>
            <a:custGeom>
              <a:avLst/>
              <a:gdLst>
                <a:gd name="T0" fmla="*/ 0 w 12"/>
                <a:gd name="T1" fmla="*/ 0 h 10"/>
                <a:gd name="T2" fmla="*/ 8 w 12"/>
                <a:gd name="T3" fmla="*/ 9 h 10"/>
                <a:gd name="T4" fmla="*/ 11 w 12"/>
                <a:gd name="T5" fmla="*/ 0 h 10"/>
                <a:gd name="T6" fmla="*/ 0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cubicBezTo>
                    <a:pt x="0" y="6"/>
                    <a:pt x="3" y="9"/>
                    <a:pt x="8" y="9"/>
                  </a:cubicBezTo>
                  <a:cubicBezTo>
                    <a:pt x="8" y="3"/>
                    <a:pt x="11" y="3"/>
                    <a:pt x="11" y="0"/>
                  </a:cubicBezTo>
                  <a:cubicBezTo>
                    <a:pt x="8" y="3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5" name="Freeform 610"/>
            <p:cNvSpPr>
              <a:spLocks noChangeArrowheads="1"/>
            </p:cNvSpPr>
            <p:nvPr/>
          </p:nvSpPr>
          <p:spPr bwMode="auto">
            <a:xfrm>
              <a:off x="4276725" y="2690813"/>
              <a:ext cx="3175" cy="3175"/>
            </a:xfrm>
            <a:custGeom>
              <a:avLst/>
              <a:gdLst>
                <a:gd name="T0" fmla="*/ 6 w 9"/>
                <a:gd name="T1" fmla="*/ 0 h 7"/>
                <a:gd name="T2" fmla="*/ 0 w 9"/>
                <a:gd name="T3" fmla="*/ 6 h 7"/>
                <a:gd name="T4" fmla="*/ 8 w 9"/>
                <a:gd name="T5" fmla="*/ 3 h 7"/>
                <a:gd name="T6" fmla="*/ 6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6" y="0"/>
                  </a:moveTo>
                  <a:cubicBezTo>
                    <a:pt x="3" y="0"/>
                    <a:pt x="3" y="3"/>
                    <a:pt x="0" y="6"/>
                  </a:cubicBezTo>
                  <a:cubicBezTo>
                    <a:pt x="3" y="6"/>
                    <a:pt x="6" y="6"/>
                    <a:pt x="8" y="3"/>
                  </a:cubicBezTo>
                  <a:cubicBezTo>
                    <a:pt x="8" y="0"/>
                    <a:pt x="6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6" name="Freeform 611"/>
            <p:cNvSpPr>
              <a:spLocks noChangeArrowheads="1"/>
            </p:cNvSpPr>
            <p:nvPr/>
          </p:nvSpPr>
          <p:spPr bwMode="auto">
            <a:xfrm>
              <a:off x="4279900" y="3052763"/>
              <a:ext cx="4763" cy="6350"/>
            </a:xfrm>
            <a:custGeom>
              <a:avLst/>
              <a:gdLst>
                <a:gd name="T0" fmla="*/ 6 w 15"/>
                <a:gd name="T1" fmla="*/ 17 h 18"/>
                <a:gd name="T2" fmla="*/ 14 w 15"/>
                <a:gd name="T3" fmla="*/ 3 h 18"/>
                <a:gd name="T4" fmla="*/ 6 w 15"/>
                <a:gd name="T5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8">
                  <a:moveTo>
                    <a:pt x="6" y="17"/>
                  </a:moveTo>
                  <a:cubicBezTo>
                    <a:pt x="14" y="17"/>
                    <a:pt x="14" y="11"/>
                    <a:pt x="14" y="3"/>
                  </a:cubicBezTo>
                  <a:cubicBezTo>
                    <a:pt x="3" y="0"/>
                    <a:pt x="0" y="11"/>
                    <a:pt x="6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7" name="Freeform 612"/>
            <p:cNvSpPr>
              <a:spLocks noChangeArrowheads="1"/>
            </p:cNvSpPr>
            <p:nvPr/>
          </p:nvSpPr>
          <p:spPr bwMode="auto">
            <a:xfrm>
              <a:off x="4283075" y="2581275"/>
              <a:ext cx="4763" cy="3175"/>
            </a:xfrm>
            <a:custGeom>
              <a:avLst/>
              <a:gdLst>
                <a:gd name="T0" fmla="*/ 0 w 12"/>
                <a:gd name="T1" fmla="*/ 0 h 10"/>
                <a:gd name="T2" fmla="*/ 11 w 12"/>
                <a:gd name="T3" fmla="*/ 9 h 10"/>
                <a:gd name="T4" fmla="*/ 11 w 12"/>
                <a:gd name="T5" fmla="*/ 0 h 10"/>
                <a:gd name="T6" fmla="*/ 0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cubicBezTo>
                    <a:pt x="3" y="3"/>
                    <a:pt x="8" y="6"/>
                    <a:pt x="11" y="9"/>
                  </a:cubicBezTo>
                  <a:cubicBezTo>
                    <a:pt x="11" y="6"/>
                    <a:pt x="11" y="3"/>
                    <a:pt x="11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8" name="Freeform 613"/>
            <p:cNvSpPr>
              <a:spLocks noChangeArrowheads="1"/>
            </p:cNvSpPr>
            <p:nvPr/>
          </p:nvSpPr>
          <p:spPr bwMode="auto">
            <a:xfrm>
              <a:off x="4279900" y="2674938"/>
              <a:ext cx="3175" cy="1587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5 h 6"/>
                <a:gd name="T4" fmla="*/ 6 w 7"/>
                <a:gd name="T5" fmla="*/ 5 h 6"/>
                <a:gd name="T6" fmla="*/ 6 w 7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3" y="5"/>
                    <a:pt x="6" y="5"/>
                  </a:cubicBez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9" name="Freeform 614"/>
            <p:cNvSpPr>
              <a:spLocks noChangeArrowheads="1"/>
            </p:cNvSpPr>
            <p:nvPr/>
          </p:nvSpPr>
          <p:spPr bwMode="auto">
            <a:xfrm>
              <a:off x="4283075" y="2779713"/>
              <a:ext cx="4763" cy="3175"/>
            </a:xfrm>
            <a:custGeom>
              <a:avLst/>
              <a:gdLst>
                <a:gd name="T0" fmla="*/ 0 w 12"/>
                <a:gd name="T1" fmla="*/ 3 h 7"/>
                <a:gd name="T2" fmla="*/ 5 w 12"/>
                <a:gd name="T3" fmla="*/ 6 h 7"/>
                <a:gd name="T4" fmla="*/ 11 w 12"/>
                <a:gd name="T5" fmla="*/ 0 h 7"/>
                <a:gd name="T6" fmla="*/ 0 w 12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7">
                  <a:moveTo>
                    <a:pt x="0" y="3"/>
                  </a:moveTo>
                  <a:cubicBezTo>
                    <a:pt x="3" y="3"/>
                    <a:pt x="3" y="6"/>
                    <a:pt x="5" y="6"/>
                  </a:cubicBezTo>
                  <a:cubicBezTo>
                    <a:pt x="8" y="3"/>
                    <a:pt x="8" y="0"/>
                    <a:pt x="11" y="0"/>
                  </a:cubicBezTo>
                  <a:cubicBezTo>
                    <a:pt x="5" y="0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0" name="Freeform 615"/>
            <p:cNvSpPr>
              <a:spLocks noChangeArrowheads="1"/>
            </p:cNvSpPr>
            <p:nvPr/>
          </p:nvSpPr>
          <p:spPr bwMode="auto">
            <a:xfrm>
              <a:off x="4291013" y="2393950"/>
              <a:ext cx="4762" cy="4763"/>
            </a:xfrm>
            <a:custGeom>
              <a:avLst/>
              <a:gdLst>
                <a:gd name="T0" fmla="*/ 0 w 15"/>
                <a:gd name="T1" fmla="*/ 11 h 15"/>
                <a:gd name="T2" fmla="*/ 0 w 15"/>
                <a:gd name="T3" fmla="*/ 11 h 15"/>
                <a:gd name="T4" fmla="*/ 9 w 15"/>
                <a:gd name="T5" fmla="*/ 14 h 15"/>
                <a:gd name="T6" fmla="*/ 9 w 15"/>
                <a:gd name="T7" fmla="*/ 14 h 15"/>
                <a:gd name="T8" fmla="*/ 14 w 15"/>
                <a:gd name="T9" fmla="*/ 0 h 15"/>
                <a:gd name="T10" fmla="*/ 0 w 15"/>
                <a:gd name="T11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5">
                  <a:moveTo>
                    <a:pt x="0" y="11"/>
                  </a:moveTo>
                  <a:lnTo>
                    <a:pt x="0" y="11"/>
                  </a:lnTo>
                  <a:cubicBezTo>
                    <a:pt x="0" y="14"/>
                    <a:pt x="6" y="14"/>
                    <a:pt x="9" y="14"/>
                  </a:cubicBezTo>
                  <a:lnTo>
                    <a:pt x="9" y="14"/>
                  </a:lnTo>
                  <a:cubicBezTo>
                    <a:pt x="12" y="11"/>
                    <a:pt x="12" y="3"/>
                    <a:pt x="14" y="0"/>
                  </a:cubicBezTo>
                  <a:cubicBezTo>
                    <a:pt x="9" y="3"/>
                    <a:pt x="3" y="6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1" name="Freeform 616"/>
            <p:cNvSpPr>
              <a:spLocks noChangeArrowheads="1"/>
            </p:cNvSpPr>
            <p:nvPr/>
          </p:nvSpPr>
          <p:spPr bwMode="auto">
            <a:xfrm>
              <a:off x="4289425" y="2344738"/>
              <a:ext cx="4763" cy="4762"/>
            </a:xfrm>
            <a:custGeom>
              <a:avLst/>
              <a:gdLst>
                <a:gd name="T0" fmla="*/ 0 w 15"/>
                <a:gd name="T1" fmla="*/ 11 h 15"/>
                <a:gd name="T2" fmla="*/ 11 w 15"/>
                <a:gd name="T3" fmla="*/ 14 h 15"/>
                <a:gd name="T4" fmla="*/ 14 w 15"/>
                <a:gd name="T5" fmla="*/ 9 h 15"/>
                <a:gd name="T6" fmla="*/ 11 w 15"/>
                <a:gd name="T7" fmla="*/ 0 h 15"/>
                <a:gd name="T8" fmla="*/ 0 w 15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0" y="11"/>
                  </a:moveTo>
                  <a:cubicBezTo>
                    <a:pt x="3" y="11"/>
                    <a:pt x="5" y="14"/>
                    <a:pt x="11" y="14"/>
                  </a:cubicBezTo>
                  <a:cubicBezTo>
                    <a:pt x="11" y="11"/>
                    <a:pt x="11" y="11"/>
                    <a:pt x="14" y="9"/>
                  </a:cubicBezTo>
                  <a:cubicBezTo>
                    <a:pt x="14" y="6"/>
                    <a:pt x="11" y="3"/>
                    <a:pt x="11" y="0"/>
                  </a:cubicBezTo>
                  <a:cubicBezTo>
                    <a:pt x="5" y="3"/>
                    <a:pt x="3" y="9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2" name="Freeform 617"/>
            <p:cNvSpPr>
              <a:spLocks noChangeArrowheads="1"/>
            </p:cNvSpPr>
            <p:nvPr/>
          </p:nvSpPr>
          <p:spPr bwMode="auto">
            <a:xfrm>
              <a:off x="4287838" y="2411413"/>
              <a:ext cx="3175" cy="1587"/>
            </a:xfrm>
            <a:custGeom>
              <a:avLst/>
              <a:gdLst>
                <a:gd name="T0" fmla="*/ 0 w 7"/>
                <a:gd name="T1" fmla="*/ 3 h 4"/>
                <a:gd name="T2" fmla="*/ 6 w 7"/>
                <a:gd name="T3" fmla="*/ 3 h 4"/>
                <a:gd name="T4" fmla="*/ 0 w 7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lnTo>
                    <a:pt x="6" y="3"/>
                  </a:lnTo>
                  <a:cubicBezTo>
                    <a:pt x="3" y="3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3" name="Freeform 618"/>
            <p:cNvSpPr>
              <a:spLocks noChangeArrowheads="1"/>
            </p:cNvSpPr>
            <p:nvPr/>
          </p:nvSpPr>
          <p:spPr bwMode="auto">
            <a:xfrm>
              <a:off x="4291013" y="2354263"/>
              <a:ext cx="4762" cy="3175"/>
            </a:xfrm>
            <a:custGeom>
              <a:avLst/>
              <a:gdLst>
                <a:gd name="T0" fmla="*/ 0 w 15"/>
                <a:gd name="T1" fmla="*/ 3 h 10"/>
                <a:gd name="T2" fmla="*/ 4 w 15"/>
                <a:gd name="T3" fmla="*/ 4 h 10"/>
                <a:gd name="T4" fmla="*/ 0 w 15"/>
                <a:gd name="T5" fmla="*/ 3 h 10"/>
                <a:gd name="T6" fmla="*/ 14 w 15"/>
                <a:gd name="T7" fmla="*/ 9 h 10"/>
                <a:gd name="T8" fmla="*/ 14 w 15"/>
                <a:gd name="T9" fmla="*/ 0 h 10"/>
                <a:gd name="T10" fmla="*/ 4 w 15"/>
                <a:gd name="T11" fmla="*/ 4 h 10"/>
                <a:gd name="T12" fmla="*/ 14 w 15"/>
                <a:gd name="T1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0">
                  <a:moveTo>
                    <a:pt x="0" y="3"/>
                  </a:moveTo>
                  <a:cubicBezTo>
                    <a:pt x="2" y="3"/>
                    <a:pt x="3" y="4"/>
                    <a:pt x="4" y="4"/>
                  </a:cubicBezTo>
                  <a:cubicBezTo>
                    <a:pt x="3" y="4"/>
                    <a:pt x="2" y="4"/>
                    <a:pt x="0" y="3"/>
                  </a:cubicBezTo>
                  <a:close/>
                  <a:moveTo>
                    <a:pt x="14" y="9"/>
                  </a:moveTo>
                  <a:lnTo>
                    <a:pt x="14" y="0"/>
                  </a:lnTo>
                  <a:cubicBezTo>
                    <a:pt x="7" y="0"/>
                    <a:pt x="8" y="4"/>
                    <a:pt x="4" y="4"/>
                  </a:cubicBezTo>
                  <a:cubicBezTo>
                    <a:pt x="7" y="6"/>
                    <a:pt x="10" y="9"/>
                    <a:pt x="14" y="9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4" name="Freeform 619"/>
            <p:cNvSpPr>
              <a:spLocks noChangeArrowheads="1"/>
            </p:cNvSpPr>
            <p:nvPr/>
          </p:nvSpPr>
          <p:spPr bwMode="auto">
            <a:xfrm>
              <a:off x="4283075" y="2425700"/>
              <a:ext cx="1588" cy="3175"/>
            </a:xfrm>
            <a:custGeom>
              <a:avLst/>
              <a:gdLst>
                <a:gd name="T0" fmla="*/ 0 w 6"/>
                <a:gd name="T1" fmla="*/ 2 h 9"/>
                <a:gd name="T2" fmla="*/ 5 w 6"/>
                <a:gd name="T3" fmla="*/ 8 h 9"/>
                <a:gd name="T4" fmla="*/ 0 w 6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9">
                  <a:moveTo>
                    <a:pt x="0" y="2"/>
                  </a:moveTo>
                  <a:cubicBezTo>
                    <a:pt x="0" y="5"/>
                    <a:pt x="3" y="8"/>
                    <a:pt x="5" y="8"/>
                  </a:cubicBezTo>
                  <a:cubicBezTo>
                    <a:pt x="5" y="5"/>
                    <a:pt x="5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5" name="Freeform 620"/>
            <p:cNvSpPr>
              <a:spLocks noChangeArrowheads="1"/>
            </p:cNvSpPr>
            <p:nvPr/>
          </p:nvSpPr>
          <p:spPr bwMode="auto">
            <a:xfrm>
              <a:off x="4284663" y="2717800"/>
              <a:ext cx="3175" cy="3175"/>
            </a:xfrm>
            <a:custGeom>
              <a:avLst/>
              <a:gdLst>
                <a:gd name="T0" fmla="*/ 3 w 7"/>
                <a:gd name="T1" fmla="*/ 0 h 10"/>
                <a:gd name="T2" fmla="*/ 0 w 7"/>
                <a:gd name="T3" fmla="*/ 6 h 10"/>
                <a:gd name="T4" fmla="*/ 6 w 7"/>
                <a:gd name="T5" fmla="*/ 9 h 10"/>
                <a:gd name="T6" fmla="*/ 3 w 7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3" y="0"/>
                  </a:moveTo>
                  <a:cubicBezTo>
                    <a:pt x="3" y="3"/>
                    <a:pt x="0" y="3"/>
                    <a:pt x="0" y="6"/>
                  </a:cubicBezTo>
                  <a:cubicBezTo>
                    <a:pt x="3" y="9"/>
                    <a:pt x="6" y="9"/>
                    <a:pt x="6" y="9"/>
                  </a:cubicBezTo>
                  <a:cubicBezTo>
                    <a:pt x="6" y="6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6" name="Freeform 621"/>
            <p:cNvSpPr>
              <a:spLocks noChangeArrowheads="1"/>
            </p:cNvSpPr>
            <p:nvPr/>
          </p:nvSpPr>
          <p:spPr bwMode="auto">
            <a:xfrm>
              <a:off x="4283075" y="2859088"/>
              <a:ext cx="6350" cy="4762"/>
            </a:xfrm>
            <a:custGeom>
              <a:avLst/>
              <a:gdLst>
                <a:gd name="T0" fmla="*/ 6 w 18"/>
                <a:gd name="T1" fmla="*/ 0 h 12"/>
                <a:gd name="T2" fmla="*/ 0 w 18"/>
                <a:gd name="T3" fmla="*/ 6 h 12"/>
                <a:gd name="T4" fmla="*/ 0 w 18"/>
                <a:gd name="T5" fmla="*/ 11 h 12"/>
                <a:gd name="T6" fmla="*/ 3 w 18"/>
                <a:gd name="T7" fmla="*/ 11 h 12"/>
                <a:gd name="T8" fmla="*/ 6 w 18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6" y="0"/>
                  </a:moveTo>
                  <a:cubicBezTo>
                    <a:pt x="6" y="3"/>
                    <a:pt x="3" y="3"/>
                    <a:pt x="0" y="6"/>
                  </a:cubicBezTo>
                  <a:cubicBezTo>
                    <a:pt x="0" y="9"/>
                    <a:pt x="0" y="9"/>
                    <a:pt x="0" y="11"/>
                  </a:cubicBezTo>
                  <a:lnTo>
                    <a:pt x="3" y="11"/>
                  </a:lnTo>
                  <a:cubicBezTo>
                    <a:pt x="0" y="3"/>
                    <a:pt x="17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7" name="Freeform 622"/>
            <p:cNvSpPr>
              <a:spLocks noChangeArrowheads="1"/>
            </p:cNvSpPr>
            <p:nvPr/>
          </p:nvSpPr>
          <p:spPr bwMode="auto">
            <a:xfrm>
              <a:off x="4287838" y="2560638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9 w 10"/>
                <a:gd name="T3" fmla="*/ 3 h 9"/>
                <a:gd name="T4" fmla="*/ 9 w 10"/>
                <a:gd name="T5" fmla="*/ 3 h 9"/>
                <a:gd name="T6" fmla="*/ 6 w 10"/>
                <a:gd name="T7" fmla="*/ 0 h 9"/>
                <a:gd name="T8" fmla="*/ 0 w 10"/>
                <a:gd name="T9" fmla="*/ 0 h 9"/>
                <a:gd name="T10" fmla="*/ 9 w 10"/>
                <a:gd name="T1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lnTo>
                    <a:pt x="9" y="3"/>
                  </a:lnTo>
                  <a:lnTo>
                    <a:pt x="9" y="3"/>
                  </a:lnTo>
                  <a:lnTo>
                    <a:pt x="6" y="0"/>
                  </a:lnTo>
                  <a:lnTo>
                    <a:pt x="0" y="0"/>
                  </a:lnTo>
                  <a:cubicBezTo>
                    <a:pt x="0" y="6"/>
                    <a:pt x="3" y="8"/>
                    <a:pt x="9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8" name="Freeform 623"/>
            <p:cNvSpPr>
              <a:spLocks noChangeArrowheads="1"/>
            </p:cNvSpPr>
            <p:nvPr/>
          </p:nvSpPr>
          <p:spPr bwMode="auto">
            <a:xfrm>
              <a:off x="4329113" y="2640013"/>
              <a:ext cx="4762" cy="3175"/>
            </a:xfrm>
            <a:custGeom>
              <a:avLst/>
              <a:gdLst>
                <a:gd name="T0" fmla="*/ 0 w 12"/>
                <a:gd name="T1" fmla="*/ 5 h 9"/>
                <a:gd name="T2" fmla="*/ 11 w 12"/>
                <a:gd name="T3" fmla="*/ 5 h 9"/>
                <a:gd name="T4" fmla="*/ 3 w 12"/>
                <a:gd name="T5" fmla="*/ 0 h 9"/>
                <a:gd name="T6" fmla="*/ 0 w 12"/>
                <a:gd name="T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3" y="8"/>
                    <a:pt x="8" y="8"/>
                    <a:pt x="11" y="5"/>
                  </a:cubicBezTo>
                  <a:cubicBezTo>
                    <a:pt x="8" y="3"/>
                    <a:pt x="5" y="0"/>
                    <a:pt x="3" y="0"/>
                  </a:cubicBezTo>
                  <a:cubicBezTo>
                    <a:pt x="3" y="3"/>
                    <a:pt x="0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9" name="Freeform 624"/>
            <p:cNvSpPr>
              <a:spLocks noChangeArrowheads="1"/>
            </p:cNvSpPr>
            <p:nvPr/>
          </p:nvSpPr>
          <p:spPr bwMode="auto">
            <a:xfrm>
              <a:off x="4302125" y="2138363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9 w 10"/>
                <a:gd name="T3" fmla="*/ 5 h 9"/>
                <a:gd name="T4" fmla="*/ 0 w 10"/>
                <a:gd name="T5" fmla="*/ 0 h 9"/>
                <a:gd name="T6" fmla="*/ 9 w 10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lnTo>
                    <a:pt x="9" y="5"/>
                  </a:lnTo>
                  <a:cubicBezTo>
                    <a:pt x="6" y="5"/>
                    <a:pt x="3" y="2"/>
                    <a:pt x="0" y="0"/>
                  </a:cubicBezTo>
                  <a:cubicBezTo>
                    <a:pt x="3" y="5"/>
                    <a:pt x="6" y="8"/>
                    <a:pt x="9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0" name="Freeform 625"/>
            <p:cNvSpPr>
              <a:spLocks noChangeArrowheads="1"/>
            </p:cNvSpPr>
            <p:nvPr/>
          </p:nvSpPr>
          <p:spPr bwMode="auto">
            <a:xfrm>
              <a:off x="4302125" y="2149475"/>
              <a:ext cx="23813" cy="17463"/>
            </a:xfrm>
            <a:custGeom>
              <a:avLst/>
              <a:gdLst>
                <a:gd name="T0" fmla="*/ 14 w 66"/>
                <a:gd name="T1" fmla="*/ 34 h 47"/>
                <a:gd name="T2" fmla="*/ 23 w 66"/>
                <a:gd name="T3" fmla="*/ 43 h 47"/>
                <a:gd name="T4" fmla="*/ 26 w 66"/>
                <a:gd name="T5" fmla="*/ 46 h 47"/>
                <a:gd name="T6" fmla="*/ 26 w 66"/>
                <a:gd name="T7" fmla="*/ 37 h 47"/>
                <a:gd name="T8" fmla="*/ 31 w 66"/>
                <a:gd name="T9" fmla="*/ 42 h 47"/>
                <a:gd name="T10" fmla="*/ 29 w 66"/>
                <a:gd name="T11" fmla="*/ 37 h 47"/>
                <a:gd name="T12" fmla="*/ 57 w 66"/>
                <a:gd name="T13" fmla="*/ 6 h 47"/>
                <a:gd name="T14" fmla="*/ 51 w 66"/>
                <a:gd name="T15" fmla="*/ 3 h 47"/>
                <a:gd name="T16" fmla="*/ 37 w 66"/>
                <a:gd name="T17" fmla="*/ 6 h 47"/>
                <a:gd name="T18" fmla="*/ 37 w 66"/>
                <a:gd name="T19" fmla="*/ 12 h 47"/>
                <a:gd name="T20" fmla="*/ 34 w 66"/>
                <a:gd name="T21" fmla="*/ 17 h 47"/>
                <a:gd name="T22" fmla="*/ 14 w 66"/>
                <a:gd name="T23" fmla="*/ 23 h 47"/>
                <a:gd name="T24" fmla="*/ 23 w 66"/>
                <a:gd name="T25" fmla="*/ 12 h 47"/>
                <a:gd name="T26" fmla="*/ 9 w 66"/>
                <a:gd name="T27" fmla="*/ 0 h 47"/>
                <a:gd name="T28" fmla="*/ 3 w 66"/>
                <a:gd name="T29" fmla="*/ 0 h 47"/>
                <a:gd name="T30" fmla="*/ 0 w 66"/>
                <a:gd name="T31" fmla="*/ 23 h 47"/>
                <a:gd name="T32" fmla="*/ 12 w 66"/>
                <a:gd name="T33" fmla="*/ 26 h 47"/>
                <a:gd name="T34" fmla="*/ 14 w 66"/>
                <a:gd name="T35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47">
                  <a:moveTo>
                    <a:pt x="14" y="34"/>
                  </a:moveTo>
                  <a:cubicBezTo>
                    <a:pt x="17" y="40"/>
                    <a:pt x="20" y="43"/>
                    <a:pt x="23" y="43"/>
                  </a:cubicBezTo>
                  <a:lnTo>
                    <a:pt x="26" y="46"/>
                  </a:lnTo>
                  <a:lnTo>
                    <a:pt x="26" y="37"/>
                  </a:lnTo>
                  <a:cubicBezTo>
                    <a:pt x="28" y="40"/>
                    <a:pt x="31" y="40"/>
                    <a:pt x="31" y="42"/>
                  </a:cubicBezTo>
                  <a:cubicBezTo>
                    <a:pt x="31" y="41"/>
                    <a:pt x="30" y="39"/>
                    <a:pt x="29" y="37"/>
                  </a:cubicBezTo>
                  <a:cubicBezTo>
                    <a:pt x="43" y="31"/>
                    <a:pt x="65" y="23"/>
                    <a:pt x="57" y="6"/>
                  </a:cubicBezTo>
                  <a:cubicBezTo>
                    <a:pt x="54" y="6"/>
                    <a:pt x="51" y="6"/>
                    <a:pt x="51" y="3"/>
                  </a:cubicBezTo>
                  <a:cubicBezTo>
                    <a:pt x="48" y="6"/>
                    <a:pt x="46" y="9"/>
                    <a:pt x="37" y="6"/>
                  </a:cubicBezTo>
                  <a:lnTo>
                    <a:pt x="37" y="12"/>
                  </a:lnTo>
                  <a:cubicBezTo>
                    <a:pt x="37" y="14"/>
                    <a:pt x="37" y="17"/>
                    <a:pt x="34" y="17"/>
                  </a:cubicBezTo>
                  <a:cubicBezTo>
                    <a:pt x="29" y="26"/>
                    <a:pt x="20" y="29"/>
                    <a:pt x="14" y="23"/>
                  </a:cubicBezTo>
                  <a:cubicBezTo>
                    <a:pt x="14" y="17"/>
                    <a:pt x="23" y="17"/>
                    <a:pt x="23" y="12"/>
                  </a:cubicBezTo>
                  <a:cubicBezTo>
                    <a:pt x="20" y="6"/>
                    <a:pt x="17" y="0"/>
                    <a:pt x="9" y="0"/>
                  </a:cubicBezTo>
                  <a:lnTo>
                    <a:pt x="3" y="0"/>
                  </a:lnTo>
                  <a:cubicBezTo>
                    <a:pt x="9" y="12"/>
                    <a:pt x="0" y="17"/>
                    <a:pt x="0" y="23"/>
                  </a:cubicBezTo>
                  <a:cubicBezTo>
                    <a:pt x="3" y="23"/>
                    <a:pt x="9" y="23"/>
                    <a:pt x="12" y="26"/>
                  </a:cubicBezTo>
                  <a:cubicBezTo>
                    <a:pt x="12" y="31"/>
                    <a:pt x="14" y="31"/>
                    <a:pt x="14" y="3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1" name="Freeform 626"/>
            <p:cNvSpPr>
              <a:spLocks noChangeArrowheads="1"/>
            </p:cNvSpPr>
            <p:nvPr/>
          </p:nvSpPr>
          <p:spPr bwMode="auto">
            <a:xfrm>
              <a:off x="4324350" y="2301875"/>
              <a:ext cx="3175" cy="4763"/>
            </a:xfrm>
            <a:custGeom>
              <a:avLst/>
              <a:gdLst>
                <a:gd name="T0" fmla="*/ 9 w 10"/>
                <a:gd name="T1" fmla="*/ 2 h 15"/>
                <a:gd name="T2" fmla="*/ 3 w 10"/>
                <a:gd name="T3" fmla="*/ 0 h 15"/>
                <a:gd name="T4" fmla="*/ 0 w 10"/>
                <a:gd name="T5" fmla="*/ 2 h 15"/>
                <a:gd name="T6" fmla="*/ 6 w 10"/>
                <a:gd name="T7" fmla="*/ 14 h 15"/>
                <a:gd name="T8" fmla="*/ 9 w 10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9" y="2"/>
                  </a:moveTo>
                  <a:cubicBezTo>
                    <a:pt x="9" y="2"/>
                    <a:pt x="6" y="0"/>
                    <a:pt x="3" y="0"/>
                  </a:cubicBezTo>
                  <a:lnTo>
                    <a:pt x="0" y="2"/>
                  </a:lnTo>
                  <a:cubicBezTo>
                    <a:pt x="3" y="5"/>
                    <a:pt x="6" y="11"/>
                    <a:pt x="6" y="14"/>
                  </a:cubicBezTo>
                  <a:cubicBezTo>
                    <a:pt x="9" y="8"/>
                    <a:pt x="9" y="5"/>
                    <a:pt x="9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2" name="Freeform 627"/>
            <p:cNvSpPr>
              <a:spLocks noChangeArrowheads="1"/>
            </p:cNvSpPr>
            <p:nvPr/>
          </p:nvSpPr>
          <p:spPr bwMode="auto">
            <a:xfrm>
              <a:off x="4300538" y="2146300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3" name="Freeform 628"/>
            <p:cNvSpPr>
              <a:spLocks noChangeArrowheads="1"/>
            </p:cNvSpPr>
            <p:nvPr/>
          </p:nvSpPr>
          <p:spPr bwMode="auto">
            <a:xfrm>
              <a:off x="4327525" y="2422525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0 w 7"/>
                <a:gd name="T3" fmla="*/ 3 h 7"/>
                <a:gd name="T4" fmla="*/ 6 w 7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cubicBezTo>
                    <a:pt x="6" y="0"/>
                    <a:pt x="0" y="0"/>
                    <a:pt x="0" y="3"/>
                  </a:cubicBezTo>
                  <a:cubicBezTo>
                    <a:pt x="0" y="3"/>
                    <a:pt x="3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4" name="Freeform 629"/>
            <p:cNvSpPr>
              <a:spLocks noChangeArrowheads="1"/>
            </p:cNvSpPr>
            <p:nvPr/>
          </p:nvSpPr>
          <p:spPr bwMode="auto">
            <a:xfrm>
              <a:off x="4262438" y="2324100"/>
              <a:ext cx="6350" cy="6350"/>
            </a:xfrm>
            <a:custGeom>
              <a:avLst/>
              <a:gdLst>
                <a:gd name="T0" fmla="*/ 0 w 17"/>
                <a:gd name="T1" fmla="*/ 5 h 18"/>
                <a:gd name="T2" fmla="*/ 0 w 17"/>
                <a:gd name="T3" fmla="*/ 11 h 18"/>
                <a:gd name="T4" fmla="*/ 11 w 17"/>
                <a:gd name="T5" fmla="*/ 17 h 18"/>
                <a:gd name="T6" fmla="*/ 16 w 17"/>
                <a:gd name="T7" fmla="*/ 11 h 18"/>
                <a:gd name="T8" fmla="*/ 14 w 17"/>
                <a:gd name="T9" fmla="*/ 5 h 18"/>
                <a:gd name="T10" fmla="*/ 0 w 17"/>
                <a:gd name="T11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8">
                  <a:moveTo>
                    <a:pt x="0" y="5"/>
                  </a:moveTo>
                  <a:lnTo>
                    <a:pt x="0" y="11"/>
                  </a:lnTo>
                  <a:cubicBezTo>
                    <a:pt x="5" y="17"/>
                    <a:pt x="8" y="14"/>
                    <a:pt x="11" y="17"/>
                  </a:cubicBezTo>
                  <a:cubicBezTo>
                    <a:pt x="11" y="14"/>
                    <a:pt x="14" y="11"/>
                    <a:pt x="16" y="11"/>
                  </a:cubicBezTo>
                  <a:cubicBezTo>
                    <a:pt x="16" y="8"/>
                    <a:pt x="16" y="5"/>
                    <a:pt x="14" y="5"/>
                  </a:cubicBezTo>
                  <a:cubicBezTo>
                    <a:pt x="8" y="0"/>
                    <a:pt x="5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5" name="Freeform 630"/>
            <p:cNvSpPr>
              <a:spLocks noChangeArrowheads="1"/>
            </p:cNvSpPr>
            <p:nvPr/>
          </p:nvSpPr>
          <p:spPr bwMode="auto">
            <a:xfrm>
              <a:off x="4322763" y="2852738"/>
              <a:ext cx="1587" cy="3175"/>
            </a:xfrm>
            <a:custGeom>
              <a:avLst/>
              <a:gdLst>
                <a:gd name="T0" fmla="*/ 3 w 4"/>
                <a:gd name="T1" fmla="*/ 0 h 7"/>
                <a:gd name="T2" fmla="*/ 3 w 4"/>
                <a:gd name="T3" fmla="*/ 0 h 7"/>
                <a:gd name="T4" fmla="*/ 0 w 4"/>
                <a:gd name="T5" fmla="*/ 6 h 7"/>
                <a:gd name="T6" fmla="*/ 3 w 4"/>
                <a:gd name="T7" fmla="*/ 6 h 7"/>
                <a:gd name="T8" fmla="*/ 3 w 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3" y="0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3" y="6"/>
                  </a:lnTo>
                  <a:cubicBezTo>
                    <a:pt x="3" y="3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6" name="Freeform 631"/>
            <p:cNvSpPr>
              <a:spLocks noChangeArrowheads="1"/>
            </p:cNvSpPr>
            <p:nvPr/>
          </p:nvSpPr>
          <p:spPr bwMode="auto">
            <a:xfrm>
              <a:off x="4292600" y="2146300"/>
              <a:ext cx="3175" cy="3175"/>
            </a:xfrm>
            <a:custGeom>
              <a:avLst/>
              <a:gdLst>
                <a:gd name="T0" fmla="*/ 9 w 10"/>
                <a:gd name="T1" fmla="*/ 0 h 10"/>
                <a:gd name="T2" fmla="*/ 0 w 10"/>
                <a:gd name="T3" fmla="*/ 0 h 10"/>
                <a:gd name="T4" fmla="*/ 0 w 10"/>
                <a:gd name="T5" fmla="*/ 9 h 10"/>
                <a:gd name="T6" fmla="*/ 9 w 10"/>
                <a:gd name="T7" fmla="*/ 9 h 10"/>
                <a:gd name="T8" fmla="*/ 9 w 1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9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9" y="9"/>
                  </a:lnTo>
                  <a:lnTo>
                    <a:pt x="9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7" name="Freeform 632"/>
            <p:cNvSpPr>
              <a:spLocks noChangeArrowheads="1"/>
            </p:cNvSpPr>
            <p:nvPr/>
          </p:nvSpPr>
          <p:spPr bwMode="auto">
            <a:xfrm>
              <a:off x="4294188" y="2155825"/>
              <a:ext cx="1587" cy="3175"/>
            </a:xfrm>
            <a:custGeom>
              <a:avLst/>
              <a:gdLst>
                <a:gd name="T0" fmla="*/ 0 w 4"/>
                <a:gd name="T1" fmla="*/ 0 h 7"/>
                <a:gd name="T2" fmla="*/ 0 w 4"/>
                <a:gd name="T3" fmla="*/ 6 h 7"/>
                <a:gd name="T4" fmla="*/ 0 w 4"/>
                <a:gd name="T5" fmla="*/ 6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cubicBezTo>
                    <a:pt x="0" y="0"/>
                    <a:pt x="0" y="3"/>
                    <a:pt x="0" y="6"/>
                  </a:cubicBezTo>
                  <a:lnTo>
                    <a:pt x="0" y="6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8" name="Freeform 633"/>
            <p:cNvSpPr>
              <a:spLocks noChangeArrowheads="1"/>
            </p:cNvSpPr>
            <p:nvPr/>
          </p:nvSpPr>
          <p:spPr bwMode="auto">
            <a:xfrm>
              <a:off x="4284663" y="2139950"/>
              <a:ext cx="6350" cy="4763"/>
            </a:xfrm>
            <a:custGeom>
              <a:avLst/>
              <a:gdLst>
                <a:gd name="T0" fmla="*/ 17 w 18"/>
                <a:gd name="T1" fmla="*/ 11 h 15"/>
                <a:gd name="T2" fmla="*/ 6 w 18"/>
                <a:gd name="T3" fmla="*/ 0 h 15"/>
                <a:gd name="T4" fmla="*/ 17 w 18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7" y="11"/>
                  </a:moveTo>
                  <a:cubicBezTo>
                    <a:pt x="17" y="3"/>
                    <a:pt x="15" y="0"/>
                    <a:pt x="6" y="0"/>
                  </a:cubicBezTo>
                  <a:cubicBezTo>
                    <a:pt x="0" y="3"/>
                    <a:pt x="6" y="14"/>
                    <a:pt x="17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9" name="Freeform 634"/>
            <p:cNvSpPr>
              <a:spLocks noChangeArrowheads="1"/>
            </p:cNvSpPr>
            <p:nvPr/>
          </p:nvSpPr>
          <p:spPr bwMode="auto">
            <a:xfrm>
              <a:off x="4308475" y="2965450"/>
              <a:ext cx="14288" cy="11113"/>
            </a:xfrm>
            <a:custGeom>
              <a:avLst/>
              <a:gdLst>
                <a:gd name="T0" fmla="*/ 37 w 38"/>
                <a:gd name="T1" fmla="*/ 9 h 30"/>
                <a:gd name="T2" fmla="*/ 0 w 38"/>
                <a:gd name="T3" fmla="*/ 17 h 30"/>
                <a:gd name="T4" fmla="*/ 29 w 38"/>
                <a:gd name="T5" fmla="*/ 14 h 30"/>
                <a:gd name="T6" fmla="*/ 32 w 38"/>
                <a:gd name="T7" fmla="*/ 29 h 30"/>
                <a:gd name="T8" fmla="*/ 34 w 38"/>
                <a:gd name="T9" fmla="*/ 26 h 30"/>
                <a:gd name="T10" fmla="*/ 37 w 38"/>
                <a:gd name="T11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30">
                  <a:moveTo>
                    <a:pt x="37" y="9"/>
                  </a:moveTo>
                  <a:cubicBezTo>
                    <a:pt x="23" y="0"/>
                    <a:pt x="6" y="6"/>
                    <a:pt x="0" y="17"/>
                  </a:cubicBezTo>
                  <a:cubicBezTo>
                    <a:pt x="12" y="17"/>
                    <a:pt x="17" y="12"/>
                    <a:pt x="29" y="14"/>
                  </a:cubicBezTo>
                  <a:cubicBezTo>
                    <a:pt x="29" y="17"/>
                    <a:pt x="26" y="29"/>
                    <a:pt x="32" y="29"/>
                  </a:cubicBezTo>
                  <a:cubicBezTo>
                    <a:pt x="32" y="26"/>
                    <a:pt x="34" y="26"/>
                    <a:pt x="34" y="26"/>
                  </a:cubicBezTo>
                  <a:cubicBezTo>
                    <a:pt x="32" y="20"/>
                    <a:pt x="34" y="14"/>
                    <a:pt x="37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0" name="Freeform 635"/>
            <p:cNvSpPr>
              <a:spLocks noChangeArrowheads="1"/>
            </p:cNvSpPr>
            <p:nvPr/>
          </p:nvSpPr>
          <p:spPr bwMode="auto">
            <a:xfrm>
              <a:off x="4311650" y="2709863"/>
              <a:ext cx="1588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0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0"/>
                    <a:pt x="3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1" name="Freeform 636"/>
            <p:cNvSpPr>
              <a:spLocks noChangeArrowheads="1"/>
            </p:cNvSpPr>
            <p:nvPr/>
          </p:nvSpPr>
          <p:spPr bwMode="auto">
            <a:xfrm>
              <a:off x="4306888" y="2940050"/>
              <a:ext cx="4762" cy="4763"/>
            </a:xfrm>
            <a:custGeom>
              <a:avLst/>
              <a:gdLst>
                <a:gd name="T0" fmla="*/ 11 w 12"/>
                <a:gd name="T1" fmla="*/ 11 h 15"/>
                <a:gd name="T2" fmla="*/ 2 w 12"/>
                <a:gd name="T3" fmla="*/ 3 h 15"/>
                <a:gd name="T4" fmla="*/ 11 w 12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1" y="11"/>
                  </a:moveTo>
                  <a:cubicBezTo>
                    <a:pt x="11" y="5"/>
                    <a:pt x="11" y="0"/>
                    <a:pt x="2" y="3"/>
                  </a:cubicBezTo>
                  <a:cubicBezTo>
                    <a:pt x="0" y="5"/>
                    <a:pt x="2" y="14"/>
                    <a:pt x="11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2" name="Freeform 637"/>
            <p:cNvSpPr>
              <a:spLocks noChangeArrowheads="1"/>
            </p:cNvSpPr>
            <p:nvPr/>
          </p:nvSpPr>
          <p:spPr bwMode="auto">
            <a:xfrm>
              <a:off x="4308475" y="2684463"/>
              <a:ext cx="3175" cy="4762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9 h 15"/>
                <a:gd name="T4" fmla="*/ 9 w 10"/>
                <a:gd name="T5" fmla="*/ 14 h 15"/>
                <a:gd name="T6" fmla="*/ 0 w 10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0" y="6"/>
                    <a:pt x="0" y="6"/>
                    <a:pt x="0" y="9"/>
                  </a:cubicBezTo>
                  <a:cubicBezTo>
                    <a:pt x="6" y="9"/>
                    <a:pt x="6" y="11"/>
                    <a:pt x="9" y="14"/>
                  </a:cubicBezTo>
                  <a:cubicBezTo>
                    <a:pt x="9" y="6"/>
                    <a:pt x="9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3" name="Freeform 638"/>
            <p:cNvSpPr>
              <a:spLocks noChangeArrowheads="1"/>
            </p:cNvSpPr>
            <p:nvPr/>
          </p:nvSpPr>
          <p:spPr bwMode="auto">
            <a:xfrm>
              <a:off x="4313238" y="2171700"/>
              <a:ext cx="6350" cy="4763"/>
            </a:xfrm>
            <a:custGeom>
              <a:avLst/>
              <a:gdLst>
                <a:gd name="T0" fmla="*/ 0 w 18"/>
                <a:gd name="T1" fmla="*/ 14 h 15"/>
                <a:gd name="T2" fmla="*/ 17 w 18"/>
                <a:gd name="T3" fmla="*/ 5 h 15"/>
                <a:gd name="T4" fmla="*/ 0 w 18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0" y="14"/>
                  </a:moveTo>
                  <a:cubicBezTo>
                    <a:pt x="9" y="14"/>
                    <a:pt x="17" y="14"/>
                    <a:pt x="17" y="5"/>
                  </a:cubicBezTo>
                  <a:cubicBezTo>
                    <a:pt x="9" y="0"/>
                    <a:pt x="3" y="8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4" name="Freeform 639"/>
            <p:cNvSpPr>
              <a:spLocks noChangeArrowheads="1"/>
            </p:cNvSpPr>
            <p:nvPr/>
          </p:nvSpPr>
          <p:spPr bwMode="auto">
            <a:xfrm>
              <a:off x="4316413" y="2184400"/>
              <a:ext cx="3175" cy="4763"/>
            </a:xfrm>
            <a:custGeom>
              <a:avLst/>
              <a:gdLst>
                <a:gd name="T0" fmla="*/ 8 w 9"/>
                <a:gd name="T1" fmla="*/ 12 h 13"/>
                <a:gd name="T2" fmla="*/ 0 w 9"/>
                <a:gd name="T3" fmla="*/ 0 h 13"/>
                <a:gd name="T4" fmla="*/ 8 w 9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3">
                  <a:moveTo>
                    <a:pt x="8" y="12"/>
                  </a:moveTo>
                  <a:cubicBezTo>
                    <a:pt x="8" y="3"/>
                    <a:pt x="6" y="3"/>
                    <a:pt x="0" y="0"/>
                  </a:cubicBezTo>
                  <a:cubicBezTo>
                    <a:pt x="0" y="6"/>
                    <a:pt x="3" y="9"/>
                    <a:pt x="8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5" name="Freeform 640"/>
            <p:cNvSpPr>
              <a:spLocks noChangeArrowheads="1"/>
            </p:cNvSpPr>
            <p:nvPr/>
          </p:nvSpPr>
          <p:spPr bwMode="auto">
            <a:xfrm>
              <a:off x="4313238" y="2535238"/>
              <a:ext cx="6350" cy="3175"/>
            </a:xfrm>
            <a:custGeom>
              <a:avLst/>
              <a:gdLst>
                <a:gd name="T0" fmla="*/ 9 w 16"/>
                <a:gd name="T1" fmla="*/ 9 h 10"/>
                <a:gd name="T2" fmla="*/ 15 w 16"/>
                <a:gd name="T3" fmla="*/ 3 h 10"/>
                <a:gd name="T4" fmla="*/ 9 w 16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0">
                  <a:moveTo>
                    <a:pt x="9" y="9"/>
                  </a:moveTo>
                  <a:cubicBezTo>
                    <a:pt x="9" y="6"/>
                    <a:pt x="12" y="6"/>
                    <a:pt x="15" y="3"/>
                  </a:cubicBezTo>
                  <a:cubicBezTo>
                    <a:pt x="9" y="0"/>
                    <a:pt x="0" y="9"/>
                    <a:pt x="9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6" name="Freeform 641"/>
            <p:cNvSpPr>
              <a:spLocks noChangeArrowheads="1"/>
            </p:cNvSpPr>
            <p:nvPr/>
          </p:nvSpPr>
          <p:spPr bwMode="auto">
            <a:xfrm>
              <a:off x="4332288" y="2990850"/>
              <a:ext cx="4762" cy="3175"/>
            </a:xfrm>
            <a:custGeom>
              <a:avLst/>
              <a:gdLst>
                <a:gd name="T0" fmla="*/ 3 w 12"/>
                <a:gd name="T1" fmla="*/ 0 h 10"/>
                <a:gd name="T2" fmla="*/ 11 w 12"/>
                <a:gd name="T3" fmla="*/ 9 h 10"/>
                <a:gd name="T4" fmla="*/ 3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3" y="0"/>
                  </a:moveTo>
                  <a:cubicBezTo>
                    <a:pt x="0" y="3"/>
                    <a:pt x="6" y="6"/>
                    <a:pt x="11" y="9"/>
                  </a:cubicBezTo>
                  <a:cubicBezTo>
                    <a:pt x="11" y="3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7" name="Freeform 642"/>
            <p:cNvSpPr>
              <a:spLocks noChangeArrowheads="1"/>
            </p:cNvSpPr>
            <p:nvPr/>
          </p:nvSpPr>
          <p:spPr bwMode="auto">
            <a:xfrm>
              <a:off x="4333875" y="2974975"/>
              <a:ext cx="1588" cy="317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6 h 7"/>
                <a:gd name="T4" fmla="*/ 3 w 6"/>
                <a:gd name="T5" fmla="*/ 6 h 7"/>
                <a:gd name="T6" fmla="*/ 5 w 6"/>
                <a:gd name="T7" fmla="*/ 0 h 7"/>
                <a:gd name="T8" fmla="*/ 5 w 6"/>
                <a:gd name="T9" fmla="*/ 0 h 7"/>
                <a:gd name="T10" fmla="*/ 0 w 6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cubicBezTo>
                    <a:pt x="5" y="6"/>
                    <a:pt x="5" y="3"/>
                    <a:pt x="5" y="0"/>
                  </a:cubicBez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8" name="Freeform 643"/>
            <p:cNvSpPr>
              <a:spLocks noChangeArrowheads="1"/>
            </p:cNvSpPr>
            <p:nvPr/>
          </p:nvSpPr>
          <p:spPr bwMode="auto">
            <a:xfrm>
              <a:off x="4330700" y="2965450"/>
              <a:ext cx="4763" cy="4763"/>
            </a:xfrm>
            <a:custGeom>
              <a:avLst/>
              <a:gdLst>
                <a:gd name="T0" fmla="*/ 14 w 15"/>
                <a:gd name="T1" fmla="*/ 2 h 12"/>
                <a:gd name="T2" fmla="*/ 3 w 15"/>
                <a:gd name="T3" fmla="*/ 2 h 12"/>
                <a:gd name="T4" fmla="*/ 14 w 15"/>
                <a:gd name="T5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14" y="2"/>
                  </a:moveTo>
                  <a:cubicBezTo>
                    <a:pt x="6" y="2"/>
                    <a:pt x="9" y="0"/>
                    <a:pt x="3" y="2"/>
                  </a:cubicBezTo>
                  <a:cubicBezTo>
                    <a:pt x="0" y="11"/>
                    <a:pt x="14" y="11"/>
                    <a:pt x="14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9" name="Freeform 644"/>
            <p:cNvSpPr>
              <a:spLocks noChangeArrowheads="1"/>
            </p:cNvSpPr>
            <p:nvPr/>
          </p:nvSpPr>
          <p:spPr bwMode="auto">
            <a:xfrm>
              <a:off x="4319588" y="2971800"/>
              <a:ext cx="4762" cy="3175"/>
            </a:xfrm>
            <a:custGeom>
              <a:avLst/>
              <a:gdLst>
                <a:gd name="T0" fmla="*/ 0 w 13"/>
                <a:gd name="T1" fmla="*/ 6 h 10"/>
                <a:gd name="T2" fmla="*/ 0 w 13"/>
                <a:gd name="T3" fmla="*/ 6 h 10"/>
                <a:gd name="T4" fmla="*/ 6 w 13"/>
                <a:gd name="T5" fmla="*/ 6 h 10"/>
                <a:gd name="T6" fmla="*/ 9 w 13"/>
                <a:gd name="T7" fmla="*/ 9 h 10"/>
                <a:gd name="T8" fmla="*/ 12 w 13"/>
                <a:gd name="T9" fmla="*/ 9 h 10"/>
                <a:gd name="T10" fmla="*/ 0 w 13"/>
                <a:gd name="T1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0">
                  <a:moveTo>
                    <a:pt x="0" y="6"/>
                  </a:moveTo>
                  <a:cubicBezTo>
                    <a:pt x="0" y="6"/>
                    <a:pt x="3" y="6"/>
                    <a:pt x="0" y="6"/>
                  </a:cubicBezTo>
                  <a:cubicBezTo>
                    <a:pt x="3" y="6"/>
                    <a:pt x="3" y="6"/>
                    <a:pt x="6" y="6"/>
                  </a:cubicBezTo>
                  <a:cubicBezTo>
                    <a:pt x="6" y="6"/>
                    <a:pt x="6" y="9"/>
                    <a:pt x="9" y="9"/>
                  </a:cubicBezTo>
                  <a:lnTo>
                    <a:pt x="12" y="9"/>
                  </a:lnTo>
                  <a:cubicBezTo>
                    <a:pt x="12" y="3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0" name="Freeform 645"/>
            <p:cNvSpPr>
              <a:spLocks noChangeArrowheads="1"/>
            </p:cNvSpPr>
            <p:nvPr/>
          </p:nvSpPr>
          <p:spPr bwMode="auto">
            <a:xfrm>
              <a:off x="4324350" y="2643188"/>
              <a:ext cx="1588" cy="1587"/>
            </a:xfrm>
            <a:custGeom>
              <a:avLst/>
              <a:gdLst>
                <a:gd name="T0" fmla="*/ 0 w 3"/>
                <a:gd name="T1" fmla="*/ 0 h 4"/>
                <a:gd name="T2" fmla="*/ 2 w 3"/>
                <a:gd name="T3" fmla="*/ 3 h 4"/>
                <a:gd name="T4" fmla="*/ 0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cubicBezTo>
                    <a:pt x="0" y="0"/>
                    <a:pt x="2" y="0"/>
                    <a:pt x="2" y="3"/>
                  </a:cubicBezTo>
                  <a:cubicBezTo>
                    <a:pt x="2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1" name="Freeform 646"/>
            <p:cNvSpPr>
              <a:spLocks noChangeArrowheads="1"/>
            </p:cNvSpPr>
            <p:nvPr/>
          </p:nvSpPr>
          <p:spPr bwMode="auto">
            <a:xfrm>
              <a:off x="4324350" y="2609850"/>
              <a:ext cx="3175" cy="3175"/>
            </a:xfrm>
            <a:custGeom>
              <a:avLst/>
              <a:gdLst>
                <a:gd name="T0" fmla="*/ 5 w 9"/>
                <a:gd name="T1" fmla="*/ 0 h 10"/>
                <a:gd name="T2" fmla="*/ 0 w 9"/>
                <a:gd name="T3" fmla="*/ 3 h 10"/>
                <a:gd name="T4" fmla="*/ 0 w 9"/>
                <a:gd name="T5" fmla="*/ 9 h 10"/>
                <a:gd name="T6" fmla="*/ 5 w 9"/>
                <a:gd name="T7" fmla="*/ 9 h 10"/>
                <a:gd name="T8" fmla="*/ 5 w 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cubicBezTo>
                    <a:pt x="2" y="0"/>
                    <a:pt x="0" y="0"/>
                    <a:pt x="0" y="3"/>
                  </a:cubicBezTo>
                  <a:cubicBezTo>
                    <a:pt x="0" y="6"/>
                    <a:pt x="0" y="6"/>
                    <a:pt x="0" y="9"/>
                  </a:cubicBezTo>
                  <a:lnTo>
                    <a:pt x="5" y="9"/>
                  </a:lnTo>
                  <a:cubicBezTo>
                    <a:pt x="5" y="3"/>
                    <a:pt x="8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2" name="Freeform 647"/>
            <p:cNvSpPr>
              <a:spLocks noChangeArrowheads="1"/>
            </p:cNvSpPr>
            <p:nvPr/>
          </p:nvSpPr>
          <p:spPr bwMode="auto">
            <a:xfrm>
              <a:off x="4327525" y="2720975"/>
              <a:ext cx="3175" cy="1588"/>
            </a:xfrm>
            <a:custGeom>
              <a:avLst/>
              <a:gdLst>
                <a:gd name="T0" fmla="*/ 0 w 10"/>
                <a:gd name="T1" fmla="*/ 0 h 6"/>
                <a:gd name="T2" fmla="*/ 6 w 10"/>
                <a:gd name="T3" fmla="*/ 5 h 6"/>
                <a:gd name="T4" fmla="*/ 9 w 10"/>
                <a:gd name="T5" fmla="*/ 3 h 6"/>
                <a:gd name="T6" fmla="*/ 0 w 1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6">
                  <a:moveTo>
                    <a:pt x="0" y="0"/>
                  </a:moveTo>
                  <a:cubicBezTo>
                    <a:pt x="0" y="3"/>
                    <a:pt x="0" y="5"/>
                    <a:pt x="6" y="5"/>
                  </a:cubicBezTo>
                  <a:cubicBezTo>
                    <a:pt x="6" y="5"/>
                    <a:pt x="9" y="5"/>
                    <a:pt x="9" y="3"/>
                  </a:cubicBezTo>
                  <a:cubicBezTo>
                    <a:pt x="6" y="3"/>
                    <a:pt x="6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3" name="Freeform 648"/>
            <p:cNvSpPr>
              <a:spLocks noChangeArrowheads="1"/>
            </p:cNvSpPr>
            <p:nvPr/>
          </p:nvSpPr>
          <p:spPr bwMode="auto">
            <a:xfrm>
              <a:off x="4065588" y="2649538"/>
              <a:ext cx="3175" cy="1587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0 w 7"/>
                <a:gd name="T5" fmla="*/ 3 h 4"/>
                <a:gd name="T6" fmla="*/ 6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0" y="0"/>
                    <a:pt x="0" y="0"/>
                  </a:cubicBezTo>
                  <a:lnTo>
                    <a:pt x="0" y="3"/>
                  </a:lnTo>
                  <a:cubicBezTo>
                    <a:pt x="0" y="3"/>
                    <a:pt x="3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4" name="Freeform 649"/>
            <p:cNvSpPr>
              <a:spLocks noChangeArrowheads="1"/>
            </p:cNvSpPr>
            <p:nvPr/>
          </p:nvSpPr>
          <p:spPr bwMode="auto">
            <a:xfrm>
              <a:off x="4075113" y="2495550"/>
              <a:ext cx="3175" cy="6350"/>
            </a:xfrm>
            <a:custGeom>
              <a:avLst/>
              <a:gdLst>
                <a:gd name="T0" fmla="*/ 9 w 10"/>
                <a:gd name="T1" fmla="*/ 0 h 16"/>
                <a:gd name="T2" fmla="*/ 0 w 10"/>
                <a:gd name="T3" fmla="*/ 12 h 16"/>
                <a:gd name="T4" fmla="*/ 9 w 10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9" y="0"/>
                  </a:moveTo>
                  <a:cubicBezTo>
                    <a:pt x="3" y="0"/>
                    <a:pt x="3" y="6"/>
                    <a:pt x="0" y="12"/>
                  </a:cubicBezTo>
                  <a:cubicBezTo>
                    <a:pt x="9" y="15"/>
                    <a:pt x="9" y="6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5" name="Freeform 650"/>
            <p:cNvSpPr>
              <a:spLocks noChangeArrowheads="1"/>
            </p:cNvSpPr>
            <p:nvPr/>
          </p:nvSpPr>
          <p:spPr bwMode="auto">
            <a:xfrm>
              <a:off x="4041775" y="2146300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3 w 7"/>
                <a:gd name="T3" fmla="*/ 0 h 7"/>
                <a:gd name="T4" fmla="*/ 3 w 7"/>
                <a:gd name="T5" fmla="*/ 0 h 7"/>
                <a:gd name="T6" fmla="*/ 0 w 7"/>
                <a:gd name="T7" fmla="*/ 3 h 7"/>
                <a:gd name="T8" fmla="*/ 3 w 7"/>
                <a:gd name="T9" fmla="*/ 6 h 7"/>
                <a:gd name="T10" fmla="*/ 6 w 7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cubicBezTo>
                    <a:pt x="6" y="3"/>
                    <a:pt x="6" y="0"/>
                    <a:pt x="3" y="0"/>
                  </a:cubicBezTo>
                  <a:lnTo>
                    <a:pt x="3" y="0"/>
                  </a:lnTo>
                  <a:cubicBezTo>
                    <a:pt x="3" y="3"/>
                    <a:pt x="3" y="3"/>
                    <a:pt x="0" y="3"/>
                  </a:cubicBezTo>
                  <a:cubicBezTo>
                    <a:pt x="0" y="3"/>
                    <a:pt x="0" y="6"/>
                    <a:pt x="3" y="6"/>
                  </a:cubicBezTo>
                  <a:lnTo>
                    <a:pt x="6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6" name="Freeform 651"/>
            <p:cNvSpPr>
              <a:spLocks noChangeArrowheads="1"/>
            </p:cNvSpPr>
            <p:nvPr/>
          </p:nvSpPr>
          <p:spPr bwMode="auto">
            <a:xfrm>
              <a:off x="4064000" y="2890838"/>
              <a:ext cx="3175" cy="1587"/>
            </a:xfrm>
            <a:custGeom>
              <a:avLst/>
              <a:gdLst>
                <a:gd name="T0" fmla="*/ 6 w 7"/>
                <a:gd name="T1" fmla="*/ 2 h 6"/>
                <a:gd name="T2" fmla="*/ 0 w 7"/>
                <a:gd name="T3" fmla="*/ 0 h 6"/>
                <a:gd name="T4" fmla="*/ 6 w 7"/>
                <a:gd name="T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2"/>
                  </a:moveTo>
                  <a:cubicBezTo>
                    <a:pt x="6" y="0"/>
                    <a:pt x="3" y="0"/>
                    <a:pt x="0" y="0"/>
                  </a:cubicBezTo>
                  <a:cubicBezTo>
                    <a:pt x="0" y="0"/>
                    <a:pt x="6" y="5"/>
                    <a:pt x="6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7" name="Freeform 652"/>
            <p:cNvSpPr>
              <a:spLocks noChangeArrowheads="1"/>
            </p:cNvSpPr>
            <p:nvPr/>
          </p:nvSpPr>
          <p:spPr bwMode="auto">
            <a:xfrm>
              <a:off x="4049713" y="2984500"/>
              <a:ext cx="6350" cy="7938"/>
            </a:xfrm>
            <a:custGeom>
              <a:avLst/>
              <a:gdLst>
                <a:gd name="T0" fmla="*/ 0 w 18"/>
                <a:gd name="T1" fmla="*/ 6 h 21"/>
                <a:gd name="T2" fmla="*/ 0 w 18"/>
                <a:gd name="T3" fmla="*/ 20 h 21"/>
                <a:gd name="T4" fmla="*/ 17 w 18"/>
                <a:gd name="T5" fmla="*/ 0 h 21"/>
                <a:gd name="T6" fmla="*/ 0 w 18"/>
                <a:gd name="T7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0" y="6"/>
                  </a:moveTo>
                  <a:lnTo>
                    <a:pt x="0" y="20"/>
                  </a:lnTo>
                  <a:cubicBezTo>
                    <a:pt x="8" y="17"/>
                    <a:pt x="17" y="11"/>
                    <a:pt x="17" y="0"/>
                  </a:cubicBezTo>
                  <a:cubicBezTo>
                    <a:pt x="8" y="0"/>
                    <a:pt x="11" y="9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8" name="Freeform 653"/>
            <p:cNvSpPr>
              <a:spLocks noChangeArrowheads="1"/>
            </p:cNvSpPr>
            <p:nvPr/>
          </p:nvSpPr>
          <p:spPr bwMode="auto">
            <a:xfrm>
              <a:off x="4064000" y="3065463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6 h 7"/>
                <a:gd name="T4" fmla="*/ 9 w 10"/>
                <a:gd name="T5" fmla="*/ 0 h 7"/>
                <a:gd name="T6" fmla="*/ 0 w 10"/>
                <a:gd name="T7" fmla="*/ 0 h 7"/>
                <a:gd name="T8" fmla="*/ 0 w 10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lnTo>
                    <a:pt x="9" y="6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9" name="Freeform 654"/>
            <p:cNvSpPr>
              <a:spLocks noChangeArrowheads="1"/>
            </p:cNvSpPr>
            <p:nvPr/>
          </p:nvSpPr>
          <p:spPr bwMode="auto">
            <a:xfrm>
              <a:off x="4046538" y="2649538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0 h 7"/>
                <a:gd name="T4" fmla="*/ 0 w 10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cubicBezTo>
                    <a:pt x="3" y="6"/>
                    <a:pt x="6" y="3"/>
                    <a:pt x="9" y="0"/>
                  </a:cubicBezTo>
                  <a:cubicBezTo>
                    <a:pt x="3" y="0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0" name="Freeform 655"/>
            <p:cNvSpPr>
              <a:spLocks noChangeArrowheads="1"/>
            </p:cNvSpPr>
            <p:nvPr/>
          </p:nvSpPr>
          <p:spPr bwMode="auto">
            <a:xfrm>
              <a:off x="4043363" y="2892425"/>
              <a:ext cx="3175" cy="3175"/>
            </a:xfrm>
            <a:custGeom>
              <a:avLst/>
              <a:gdLst>
                <a:gd name="T0" fmla="*/ 8 w 9"/>
                <a:gd name="T1" fmla="*/ 6 h 7"/>
                <a:gd name="T2" fmla="*/ 8 w 9"/>
                <a:gd name="T3" fmla="*/ 0 h 7"/>
                <a:gd name="T4" fmla="*/ 0 w 9"/>
                <a:gd name="T5" fmla="*/ 0 h 7"/>
                <a:gd name="T6" fmla="*/ 8 w 9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8" y="6"/>
                  </a:moveTo>
                  <a:cubicBezTo>
                    <a:pt x="8" y="3"/>
                    <a:pt x="8" y="0"/>
                    <a:pt x="8" y="0"/>
                  </a:cubicBezTo>
                  <a:cubicBezTo>
                    <a:pt x="6" y="0"/>
                    <a:pt x="3" y="0"/>
                    <a:pt x="0" y="0"/>
                  </a:cubicBezTo>
                  <a:cubicBezTo>
                    <a:pt x="0" y="3"/>
                    <a:pt x="3" y="6"/>
                    <a:pt x="8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1" name="Freeform 656"/>
            <p:cNvSpPr>
              <a:spLocks noChangeArrowheads="1"/>
            </p:cNvSpPr>
            <p:nvPr/>
          </p:nvSpPr>
          <p:spPr bwMode="auto">
            <a:xfrm>
              <a:off x="4056063" y="2273300"/>
              <a:ext cx="4762" cy="1588"/>
            </a:xfrm>
            <a:custGeom>
              <a:avLst/>
              <a:gdLst>
                <a:gd name="T0" fmla="*/ 11 w 12"/>
                <a:gd name="T1" fmla="*/ 0 h 6"/>
                <a:gd name="T2" fmla="*/ 11 w 12"/>
                <a:gd name="T3" fmla="*/ 0 h 6"/>
                <a:gd name="T4" fmla="*/ 0 w 12"/>
                <a:gd name="T5" fmla="*/ 3 h 6"/>
                <a:gd name="T6" fmla="*/ 11 w 1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1" y="0"/>
                  </a:moveTo>
                  <a:lnTo>
                    <a:pt x="11" y="0"/>
                  </a:lnTo>
                  <a:cubicBezTo>
                    <a:pt x="3" y="3"/>
                    <a:pt x="3" y="3"/>
                    <a:pt x="0" y="3"/>
                  </a:cubicBezTo>
                  <a:cubicBezTo>
                    <a:pt x="6" y="5"/>
                    <a:pt x="11" y="5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2" name="Freeform 657"/>
            <p:cNvSpPr>
              <a:spLocks noChangeArrowheads="1"/>
            </p:cNvSpPr>
            <p:nvPr/>
          </p:nvSpPr>
          <p:spPr bwMode="auto">
            <a:xfrm>
              <a:off x="4043363" y="2168525"/>
              <a:ext cx="3175" cy="3175"/>
            </a:xfrm>
            <a:custGeom>
              <a:avLst/>
              <a:gdLst>
                <a:gd name="T0" fmla="*/ 6 w 7"/>
                <a:gd name="T1" fmla="*/ 6 h 10"/>
                <a:gd name="T2" fmla="*/ 6 w 7"/>
                <a:gd name="T3" fmla="*/ 0 h 10"/>
                <a:gd name="T4" fmla="*/ 0 w 7"/>
                <a:gd name="T5" fmla="*/ 9 h 10"/>
                <a:gd name="T6" fmla="*/ 6 w 7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6"/>
                  </a:moveTo>
                  <a:cubicBezTo>
                    <a:pt x="6" y="3"/>
                    <a:pt x="6" y="0"/>
                    <a:pt x="6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0" y="6"/>
                    <a:pt x="3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3" name="Freeform 658"/>
            <p:cNvSpPr>
              <a:spLocks noChangeArrowheads="1"/>
            </p:cNvSpPr>
            <p:nvPr/>
          </p:nvSpPr>
          <p:spPr bwMode="auto">
            <a:xfrm>
              <a:off x="4046538" y="2576513"/>
              <a:ext cx="3175" cy="3175"/>
            </a:xfrm>
            <a:custGeom>
              <a:avLst/>
              <a:gdLst>
                <a:gd name="T0" fmla="*/ 6 w 10"/>
                <a:gd name="T1" fmla="*/ 0 h 7"/>
                <a:gd name="T2" fmla="*/ 0 w 10"/>
                <a:gd name="T3" fmla="*/ 6 h 7"/>
                <a:gd name="T4" fmla="*/ 9 w 10"/>
                <a:gd name="T5" fmla="*/ 6 h 7"/>
                <a:gd name="T6" fmla="*/ 6 w 10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6" y="0"/>
                  </a:moveTo>
                  <a:cubicBezTo>
                    <a:pt x="3" y="0"/>
                    <a:pt x="3" y="3"/>
                    <a:pt x="0" y="6"/>
                  </a:cubicBezTo>
                  <a:cubicBezTo>
                    <a:pt x="3" y="6"/>
                    <a:pt x="6" y="6"/>
                    <a:pt x="9" y="6"/>
                  </a:cubicBezTo>
                  <a:cubicBezTo>
                    <a:pt x="9" y="3"/>
                    <a:pt x="9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4" name="Freeform 659"/>
            <p:cNvSpPr>
              <a:spLocks noChangeArrowheads="1"/>
            </p:cNvSpPr>
            <p:nvPr/>
          </p:nvSpPr>
          <p:spPr bwMode="auto">
            <a:xfrm>
              <a:off x="4054475" y="2405063"/>
              <a:ext cx="3175" cy="4762"/>
            </a:xfrm>
            <a:custGeom>
              <a:avLst/>
              <a:gdLst>
                <a:gd name="T0" fmla="*/ 6 w 7"/>
                <a:gd name="T1" fmla="*/ 6 h 13"/>
                <a:gd name="T2" fmla="*/ 0 w 7"/>
                <a:gd name="T3" fmla="*/ 0 h 13"/>
                <a:gd name="T4" fmla="*/ 3 w 7"/>
                <a:gd name="T5" fmla="*/ 12 h 13"/>
                <a:gd name="T6" fmla="*/ 6 w 7"/>
                <a:gd name="T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6" y="6"/>
                  </a:moveTo>
                  <a:cubicBezTo>
                    <a:pt x="3" y="3"/>
                    <a:pt x="0" y="3"/>
                    <a:pt x="0" y="0"/>
                  </a:cubicBezTo>
                  <a:cubicBezTo>
                    <a:pt x="0" y="3"/>
                    <a:pt x="0" y="9"/>
                    <a:pt x="3" y="12"/>
                  </a:cubicBezTo>
                  <a:cubicBezTo>
                    <a:pt x="3" y="9"/>
                    <a:pt x="6" y="9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5" name="Freeform 660"/>
            <p:cNvSpPr>
              <a:spLocks noChangeArrowheads="1"/>
            </p:cNvSpPr>
            <p:nvPr/>
          </p:nvSpPr>
          <p:spPr bwMode="auto">
            <a:xfrm>
              <a:off x="4049713" y="2511425"/>
              <a:ext cx="4762" cy="11113"/>
            </a:xfrm>
            <a:custGeom>
              <a:avLst/>
              <a:gdLst>
                <a:gd name="T0" fmla="*/ 3 w 15"/>
                <a:gd name="T1" fmla="*/ 17 h 29"/>
                <a:gd name="T2" fmla="*/ 8 w 15"/>
                <a:gd name="T3" fmla="*/ 28 h 29"/>
                <a:gd name="T4" fmla="*/ 11 w 15"/>
                <a:gd name="T5" fmla="*/ 8 h 29"/>
                <a:gd name="T6" fmla="*/ 3 w 15"/>
                <a:gd name="T7" fmla="*/ 0 h 29"/>
                <a:gd name="T8" fmla="*/ 0 w 15"/>
                <a:gd name="T9" fmla="*/ 0 h 29"/>
                <a:gd name="T10" fmla="*/ 0 w 15"/>
                <a:gd name="T11" fmla="*/ 2 h 29"/>
                <a:gd name="T12" fmla="*/ 5 w 15"/>
                <a:gd name="T13" fmla="*/ 16 h 29"/>
                <a:gd name="T14" fmla="*/ 3 w 15"/>
                <a:gd name="T15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9">
                  <a:moveTo>
                    <a:pt x="3" y="17"/>
                  </a:moveTo>
                  <a:cubicBezTo>
                    <a:pt x="3" y="19"/>
                    <a:pt x="6" y="25"/>
                    <a:pt x="8" y="28"/>
                  </a:cubicBezTo>
                  <a:cubicBezTo>
                    <a:pt x="11" y="22"/>
                    <a:pt x="14" y="14"/>
                    <a:pt x="11" y="8"/>
                  </a:cubicBez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cubicBezTo>
                    <a:pt x="0" y="8"/>
                    <a:pt x="2" y="13"/>
                    <a:pt x="5" y="16"/>
                  </a:cubicBezTo>
                  <a:cubicBezTo>
                    <a:pt x="5" y="16"/>
                    <a:pt x="4" y="17"/>
                    <a:pt x="3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6" name="Freeform 661"/>
            <p:cNvSpPr>
              <a:spLocks noChangeArrowheads="1"/>
            </p:cNvSpPr>
            <p:nvPr/>
          </p:nvSpPr>
          <p:spPr bwMode="auto">
            <a:xfrm>
              <a:off x="4052888" y="2974975"/>
              <a:ext cx="6350" cy="6350"/>
            </a:xfrm>
            <a:custGeom>
              <a:avLst/>
              <a:gdLst>
                <a:gd name="T0" fmla="*/ 3 w 18"/>
                <a:gd name="T1" fmla="*/ 0 h 18"/>
                <a:gd name="T2" fmla="*/ 0 w 18"/>
                <a:gd name="T3" fmla="*/ 17 h 18"/>
                <a:gd name="T4" fmla="*/ 9 w 18"/>
                <a:gd name="T5" fmla="*/ 17 h 18"/>
                <a:gd name="T6" fmla="*/ 17 w 18"/>
                <a:gd name="T7" fmla="*/ 11 h 18"/>
                <a:gd name="T8" fmla="*/ 6 w 18"/>
                <a:gd name="T9" fmla="*/ 8 h 18"/>
                <a:gd name="T10" fmla="*/ 3 w 18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8">
                  <a:moveTo>
                    <a:pt x="3" y="0"/>
                  </a:moveTo>
                  <a:cubicBezTo>
                    <a:pt x="0" y="5"/>
                    <a:pt x="0" y="11"/>
                    <a:pt x="0" y="17"/>
                  </a:cubicBezTo>
                  <a:cubicBezTo>
                    <a:pt x="3" y="14"/>
                    <a:pt x="6" y="14"/>
                    <a:pt x="9" y="17"/>
                  </a:cubicBezTo>
                  <a:cubicBezTo>
                    <a:pt x="12" y="14"/>
                    <a:pt x="17" y="17"/>
                    <a:pt x="17" y="11"/>
                  </a:cubicBezTo>
                  <a:cubicBezTo>
                    <a:pt x="14" y="8"/>
                    <a:pt x="12" y="11"/>
                    <a:pt x="6" y="8"/>
                  </a:cubicBezTo>
                  <a:cubicBezTo>
                    <a:pt x="6" y="5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7" name="Freeform 662"/>
            <p:cNvSpPr>
              <a:spLocks noChangeArrowheads="1"/>
            </p:cNvSpPr>
            <p:nvPr/>
          </p:nvSpPr>
          <p:spPr bwMode="auto">
            <a:xfrm>
              <a:off x="4019550" y="2979738"/>
              <a:ext cx="12700" cy="9525"/>
            </a:xfrm>
            <a:custGeom>
              <a:avLst/>
              <a:gdLst>
                <a:gd name="T0" fmla="*/ 0 w 35"/>
                <a:gd name="T1" fmla="*/ 11 h 26"/>
                <a:gd name="T2" fmla="*/ 3 w 35"/>
                <a:gd name="T3" fmla="*/ 25 h 26"/>
                <a:gd name="T4" fmla="*/ 20 w 35"/>
                <a:gd name="T5" fmla="*/ 14 h 26"/>
                <a:gd name="T6" fmla="*/ 28 w 35"/>
                <a:gd name="T7" fmla="*/ 17 h 26"/>
                <a:gd name="T8" fmla="*/ 34 w 35"/>
                <a:gd name="T9" fmla="*/ 8 h 26"/>
                <a:gd name="T10" fmla="*/ 31 w 35"/>
                <a:gd name="T11" fmla="*/ 0 h 26"/>
                <a:gd name="T12" fmla="*/ 9 w 35"/>
                <a:gd name="T13" fmla="*/ 0 h 26"/>
                <a:gd name="T14" fmla="*/ 0 w 35"/>
                <a:gd name="T15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6">
                  <a:moveTo>
                    <a:pt x="0" y="11"/>
                  </a:moveTo>
                  <a:cubicBezTo>
                    <a:pt x="0" y="17"/>
                    <a:pt x="0" y="20"/>
                    <a:pt x="3" y="25"/>
                  </a:cubicBezTo>
                  <a:cubicBezTo>
                    <a:pt x="9" y="22"/>
                    <a:pt x="17" y="22"/>
                    <a:pt x="20" y="14"/>
                  </a:cubicBezTo>
                  <a:cubicBezTo>
                    <a:pt x="23" y="17"/>
                    <a:pt x="26" y="17"/>
                    <a:pt x="28" y="17"/>
                  </a:cubicBezTo>
                  <a:cubicBezTo>
                    <a:pt x="28" y="14"/>
                    <a:pt x="31" y="8"/>
                    <a:pt x="34" y="8"/>
                  </a:cubicBezTo>
                  <a:cubicBezTo>
                    <a:pt x="34" y="5"/>
                    <a:pt x="34" y="3"/>
                    <a:pt x="31" y="0"/>
                  </a:cubicBezTo>
                  <a:lnTo>
                    <a:pt x="9" y="0"/>
                  </a:lnTo>
                  <a:cubicBezTo>
                    <a:pt x="6" y="5"/>
                    <a:pt x="3" y="11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8" name="Freeform 663"/>
            <p:cNvSpPr>
              <a:spLocks noChangeArrowheads="1"/>
            </p:cNvSpPr>
            <p:nvPr/>
          </p:nvSpPr>
          <p:spPr bwMode="auto">
            <a:xfrm>
              <a:off x="4073525" y="2200275"/>
              <a:ext cx="3175" cy="3175"/>
            </a:xfrm>
            <a:custGeom>
              <a:avLst/>
              <a:gdLst>
                <a:gd name="T0" fmla="*/ 8 w 9"/>
                <a:gd name="T1" fmla="*/ 0 h 9"/>
                <a:gd name="T2" fmla="*/ 0 w 9"/>
                <a:gd name="T3" fmla="*/ 8 h 9"/>
                <a:gd name="T4" fmla="*/ 8 w 9"/>
                <a:gd name="T5" fmla="*/ 5 h 9"/>
                <a:gd name="T6" fmla="*/ 8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8" y="0"/>
                  </a:moveTo>
                  <a:cubicBezTo>
                    <a:pt x="5" y="2"/>
                    <a:pt x="3" y="5"/>
                    <a:pt x="0" y="8"/>
                  </a:cubicBezTo>
                  <a:cubicBezTo>
                    <a:pt x="3" y="8"/>
                    <a:pt x="5" y="8"/>
                    <a:pt x="8" y="5"/>
                  </a:cubicBezTo>
                  <a:cubicBezTo>
                    <a:pt x="8" y="2"/>
                    <a:pt x="8" y="2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9" name="Freeform 664"/>
            <p:cNvSpPr>
              <a:spLocks noChangeArrowheads="1"/>
            </p:cNvSpPr>
            <p:nvPr/>
          </p:nvSpPr>
          <p:spPr bwMode="auto">
            <a:xfrm>
              <a:off x="4025900" y="2747963"/>
              <a:ext cx="3175" cy="1587"/>
            </a:xfrm>
            <a:custGeom>
              <a:avLst/>
              <a:gdLst>
                <a:gd name="T0" fmla="*/ 0 w 7"/>
                <a:gd name="T1" fmla="*/ 0 h 4"/>
                <a:gd name="T2" fmla="*/ 6 w 7"/>
                <a:gd name="T3" fmla="*/ 3 h 4"/>
                <a:gd name="T4" fmla="*/ 6 w 7"/>
                <a:gd name="T5" fmla="*/ 0 h 4"/>
                <a:gd name="T6" fmla="*/ 0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cubicBezTo>
                    <a:pt x="0" y="3"/>
                    <a:pt x="3" y="3"/>
                    <a:pt x="6" y="3"/>
                  </a:cubicBez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0" name="Freeform 665"/>
            <p:cNvSpPr>
              <a:spLocks noChangeArrowheads="1"/>
            </p:cNvSpPr>
            <p:nvPr/>
          </p:nvSpPr>
          <p:spPr bwMode="auto">
            <a:xfrm>
              <a:off x="4017963" y="3065463"/>
              <a:ext cx="4762" cy="4762"/>
            </a:xfrm>
            <a:custGeom>
              <a:avLst/>
              <a:gdLst>
                <a:gd name="T0" fmla="*/ 0 w 13"/>
                <a:gd name="T1" fmla="*/ 3 h 15"/>
                <a:gd name="T2" fmla="*/ 9 w 13"/>
                <a:gd name="T3" fmla="*/ 14 h 15"/>
                <a:gd name="T4" fmla="*/ 12 w 13"/>
                <a:gd name="T5" fmla="*/ 3 h 15"/>
                <a:gd name="T6" fmla="*/ 0 w 13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5">
                  <a:moveTo>
                    <a:pt x="0" y="3"/>
                  </a:moveTo>
                  <a:cubicBezTo>
                    <a:pt x="0" y="8"/>
                    <a:pt x="0" y="14"/>
                    <a:pt x="9" y="14"/>
                  </a:cubicBezTo>
                  <a:cubicBezTo>
                    <a:pt x="9" y="11"/>
                    <a:pt x="9" y="6"/>
                    <a:pt x="12" y="3"/>
                  </a:cubicBezTo>
                  <a:cubicBezTo>
                    <a:pt x="9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1" name="Freeform 666"/>
            <p:cNvSpPr>
              <a:spLocks noChangeArrowheads="1"/>
            </p:cNvSpPr>
            <p:nvPr/>
          </p:nvSpPr>
          <p:spPr bwMode="auto">
            <a:xfrm>
              <a:off x="4013200" y="2586038"/>
              <a:ext cx="3175" cy="3175"/>
            </a:xfrm>
            <a:custGeom>
              <a:avLst/>
              <a:gdLst>
                <a:gd name="T0" fmla="*/ 3 w 7"/>
                <a:gd name="T1" fmla="*/ 9 h 10"/>
                <a:gd name="T2" fmla="*/ 6 w 7"/>
                <a:gd name="T3" fmla="*/ 3 h 10"/>
                <a:gd name="T4" fmla="*/ 0 w 7"/>
                <a:gd name="T5" fmla="*/ 0 h 10"/>
                <a:gd name="T6" fmla="*/ 3 w 7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3" y="9"/>
                  </a:moveTo>
                  <a:cubicBezTo>
                    <a:pt x="3" y="9"/>
                    <a:pt x="6" y="6"/>
                    <a:pt x="6" y="3"/>
                  </a:cubicBezTo>
                  <a:cubicBezTo>
                    <a:pt x="3" y="3"/>
                    <a:pt x="0" y="3"/>
                    <a:pt x="0" y="0"/>
                  </a:cubicBezTo>
                  <a:cubicBezTo>
                    <a:pt x="0" y="6"/>
                    <a:pt x="0" y="9"/>
                    <a:pt x="3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2" name="Freeform 667"/>
            <p:cNvSpPr>
              <a:spLocks noChangeArrowheads="1"/>
            </p:cNvSpPr>
            <p:nvPr/>
          </p:nvSpPr>
          <p:spPr bwMode="auto">
            <a:xfrm>
              <a:off x="4021138" y="3009900"/>
              <a:ext cx="12700" cy="9525"/>
            </a:xfrm>
            <a:custGeom>
              <a:avLst/>
              <a:gdLst>
                <a:gd name="T0" fmla="*/ 28 w 37"/>
                <a:gd name="T1" fmla="*/ 0 h 26"/>
                <a:gd name="T2" fmla="*/ 11 w 37"/>
                <a:gd name="T3" fmla="*/ 14 h 26"/>
                <a:gd name="T4" fmla="*/ 0 w 37"/>
                <a:gd name="T5" fmla="*/ 17 h 26"/>
                <a:gd name="T6" fmla="*/ 0 w 37"/>
                <a:gd name="T7" fmla="*/ 17 h 26"/>
                <a:gd name="T8" fmla="*/ 3 w 37"/>
                <a:gd name="T9" fmla="*/ 17 h 26"/>
                <a:gd name="T10" fmla="*/ 8 w 37"/>
                <a:gd name="T11" fmla="*/ 25 h 26"/>
                <a:gd name="T12" fmla="*/ 20 w 37"/>
                <a:gd name="T13" fmla="*/ 25 h 26"/>
                <a:gd name="T14" fmla="*/ 20 w 37"/>
                <a:gd name="T15" fmla="*/ 22 h 26"/>
                <a:gd name="T16" fmla="*/ 25 w 37"/>
                <a:gd name="T17" fmla="*/ 14 h 26"/>
                <a:gd name="T18" fmla="*/ 34 w 37"/>
                <a:gd name="T19" fmla="*/ 14 h 26"/>
                <a:gd name="T20" fmla="*/ 34 w 37"/>
                <a:gd name="T21" fmla="*/ 14 h 26"/>
                <a:gd name="T22" fmla="*/ 28 w 37"/>
                <a:gd name="T2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26">
                  <a:moveTo>
                    <a:pt x="28" y="0"/>
                  </a:moveTo>
                  <a:cubicBezTo>
                    <a:pt x="22" y="2"/>
                    <a:pt x="17" y="8"/>
                    <a:pt x="11" y="14"/>
                  </a:cubicBezTo>
                  <a:cubicBezTo>
                    <a:pt x="8" y="14"/>
                    <a:pt x="3" y="14"/>
                    <a:pt x="0" y="17"/>
                  </a:cubicBezTo>
                  <a:lnTo>
                    <a:pt x="0" y="17"/>
                  </a:lnTo>
                  <a:lnTo>
                    <a:pt x="3" y="17"/>
                  </a:lnTo>
                  <a:cubicBezTo>
                    <a:pt x="5" y="17"/>
                    <a:pt x="8" y="19"/>
                    <a:pt x="8" y="25"/>
                  </a:cubicBezTo>
                  <a:cubicBezTo>
                    <a:pt x="11" y="25"/>
                    <a:pt x="17" y="25"/>
                    <a:pt x="20" y="25"/>
                  </a:cubicBezTo>
                  <a:lnTo>
                    <a:pt x="20" y="22"/>
                  </a:lnTo>
                  <a:cubicBezTo>
                    <a:pt x="20" y="19"/>
                    <a:pt x="22" y="17"/>
                    <a:pt x="25" y="14"/>
                  </a:cubicBezTo>
                  <a:lnTo>
                    <a:pt x="34" y="14"/>
                  </a:lnTo>
                  <a:lnTo>
                    <a:pt x="34" y="14"/>
                  </a:lnTo>
                  <a:cubicBezTo>
                    <a:pt x="36" y="5"/>
                    <a:pt x="36" y="2"/>
                    <a:pt x="2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3" name="Freeform 668"/>
            <p:cNvSpPr>
              <a:spLocks noChangeArrowheads="1"/>
            </p:cNvSpPr>
            <p:nvPr/>
          </p:nvSpPr>
          <p:spPr bwMode="auto">
            <a:xfrm>
              <a:off x="4033838" y="2979738"/>
              <a:ext cx="4762" cy="4762"/>
            </a:xfrm>
            <a:custGeom>
              <a:avLst/>
              <a:gdLst>
                <a:gd name="T0" fmla="*/ 8 w 12"/>
                <a:gd name="T1" fmla="*/ 0 h 12"/>
                <a:gd name="T2" fmla="*/ 3 w 12"/>
                <a:gd name="T3" fmla="*/ 0 h 12"/>
                <a:gd name="T4" fmla="*/ 8 w 12"/>
                <a:gd name="T5" fmla="*/ 11 h 12"/>
                <a:gd name="T6" fmla="*/ 11 w 12"/>
                <a:gd name="T7" fmla="*/ 11 h 12"/>
                <a:gd name="T8" fmla="*/ 8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3" y="0"/>
                  </a:lnTo>
                  <a:cubicBezTo>
                    <a:pt x="0" y="8"/>
                    <a:pt x="8" y="5"/>
                    <a:pt x="8" y="11"/>
                  </a:cubicBezTo>
                  <a:cubicBezTo>
                    <a:pt x="8" y="11"/>
                    <a:pt x="8" y="11"/>
                    <a:pt x="11" y="11"/>
                  </a:cubicBezTo>
                  <a:cubicBezTo>
                    <a:pt x="8" y="5"/>
                    <a:pt x="8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4" name="Freeform 669"/>
            <p:cNvSpPr>
              <a:spLocks noChangeArrowheads="1"/>
            </p:cNvSpPr>
            <p:nvPr/>
          </p:nvSpPr>
          <p:spPr bwMode="auto">
            <a:xfrm>
              <a:off x="4037013" y="2886075"/>
              <a:ext cx="3175" cy="3175"/>
            </a:xfrm>
            <a:custGeom>
              <a:avLst/>
              <a:gdLst>
                <a:gd name="T0" fmla="*/ 0 w 7"/>
                <a:gd name="T1" fmla="*/ 0 h 10"/>
                <a:gd name="T2" fmla="*/ 0 w 7"/>
                <a:gd name="T3" fmla="*/ 0 h 10"/>
                <a:gd name="T4" fmla="*/ 0 w 7"/>
                <a:gd name="T5" fmla="*/ 9 h 10"/>
                <a:gd name="T6" fmla="*/ 6 w 7"/>
                <a:gd name="T7" fmla="*/ 9 h 10"/>
                <a:gd name="T8" fmla="*/ 3 w 7"/>
                <a:gd name="T9" fmla="*/ 3 h 10"/>
                <a:gd name="T10" fmla="*/ 0 w 7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0">
                  <a:moveTo>
                    <a:pt x="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6" y="9"/>
                  </a:lnTo>
                  <a:cubicBezTo>
                    <a:pt x="6" y="6"/>
                    <a:pt x="6" y="3"/>
                    <a:pt x="3" y="3"/>
                  </a:cubicBezTo>
                  <a:cubicBezTo>
                    <a:pt x="3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5" name="Freeform 670"/>
            <p:cNvSpPr>
              <a:spLocks noChangeArrowheads="1"/>
            </p:cNvSpPr>
            <p:nvPr/>
          </p:nvSpPr>
          <p:spPr bwMode="auto">
            <a:xfrm>
              <a:off x="4021138" y="2987675"/>
              <a:ext cx="12700" cy="7938"/>
            </a:xfrm>
            <a:custGeom>
              <a:avLst/>
              <a:gdLst>
                <a:gd name="T0" fmla="*/ 34 w 37"/>
                <a:gd name="T1" fmla="*/ 0 h 21"/>
                <a:gd name="T2" fmla="*/ 31 w 37"/>
                <a:gd name="T3" fmla="*/ 0 h 21"/>
                <a:gd name="T4" fmla="*/ 8 w 37"/>
                <a:gd name="T5" fmla="*/ 3 h 21"/>
                <a:gd name="T6" fmla="*/ 0 w 37"/>
                <a:gd name="T7" fmla="*/ 12 h 21"/>
                <a:gd name="T8" fmla="*/ 36 w 37"/>
                <a:gd name="T9" fmla="*/ 12 h 21"/>
                <a:gd name="T10" fmla="*/ 36 w 37"/>
                <a:gd name="T11" fmla="*/ 12 h 21"/>
                <a:gd name="T12" fmla="*/ 36 w 37"/>
                <a:gd name="T13" fmla="*/ 6 h 21"/>
                <a:gd name="T14" fmla="*/ 34 w 37"/>
                <a:gd name="T1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21">
                  <a:moveTo>
                    <a:pt x="34" y="0"/>
                  </a:moveTo>
                  <a:lnTo>
                    <a:pt x="31" y="0"/>
                  </a:lnTo>
                  <a:cubicBezTo>
                    <a:pt x="25" y="3"/>
                    <a:pt x="17" y="3"/>
                    <a:pt x="8" y="3"/>
                  </a:cubicBezTo>
                  <a:cubicBezTo>
                    <a:pt x="5" y="3"/>
                    <a:pt x="3" y="9"/>
                    <a:pt x="0" y="12"/>
                  </a:cubicBezTo>
                  <a:cubicBezTo>
                    <a:pt x="11" y="20"/>
                    <a:pt x="25" y="20"/>
                    <a:pt x="36" y="12"/>
                  </a:cubicBezTo>
                  <a:lnTo>
                    <a:pt x="36" y="12"/>
                  </a:lnTo>
                  <a:cubicBezTo>
                    <a:pt x="36" y="9"/>
                    <a:pt x="36" y="9"/>
                    <a:pt x="36" y="6"/>
                  </a:cubicBezTo>
                  <a:cubicBezTo>
                    <a:pt x="36" y="3"/>
                    <a:pt x="34" y="3"/>
                    <a:pt x="3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6" name="Freeform 671"/>
            <p:cNvSpPr>
              <a:spLocks noChangeArrowheads="1"/>
            </p:cNvSpPr>
            <p:nvPr/>
          </p:nvSpPr>
          <p:spPr bwMode="auto">
            <a:xfrm>
              <a:off x="4029075" y="3000375"/>
              <a:ext cx="4763" cy="3175"/>
            </a:xfrm>
            <a:custGeom>
              <a:avLst/>
              <a:gdLst>
                <a:gd name="T0" fmla="*/ 11 w 12"/>
                <a:gd name="T1" fmla="*/ 6 h 10"/>
                <a:gd name="T2" fmla="*/ 0 w 12"/>
                <a:gd name="T3" fmla="*/ 0 h 10"/>
                <a:gd name="T4" fmla="*/ 0 w 12"/>
                <a:gd name="T5" fmla="*/ 9 h 10"/>
                <a:gd name="T6" fmla="*/ 11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1" y="6"/>
                  </a:moveTo>
                  <a:cubicBezTo>
                    <a:pt x="8" y="3"/>
                    <a:pt x="2" y="3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2" y="9"/>
                    <a:pt x="11" y="9"/>
                    <a:pt x="11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7" name="Freeform 672"/>
            <p:cNvSpPr>
              <a:spLocks noChangeArrowheads="1"/>
            </p:cNvSpPr>
            <p:nvPr/>
          </p:nvSpPr>
          <p:spPr bwMode="auto">
            <a:xfrm>
              <a:off x="4062413" y="2854325"/>
              <a:ext cx="4762" cy="4763"/>
            </a:xfrm>
            <a:custGeom>
              <a:avLst/>
              <a:gdLst>
                <a:gd name="T0" fmla="*/ 5 w 12"/>
                <a:gd name="T1" fmla="*/ 0 h 12"/>
                <a:gd name="T2" fmla="*/ 2 w 12"/>
                <a:gd name="T3" fmla="*/ 11 h 12"/>
                <a:gd name="T4" fmla="*/ 11 w 12"/>
                <a:gd name="T5" fmla="*/ 9 h 12"/>
                <a:gd name="T6" fmla="*/ 5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cubicBezTo>
                    <a:pt x="2" y="3"/>
                    <a:pt x="0" y="6"/>
                    <a:pt x="2" y="11"/>
                  </a:cubicBezTo>
                  <a:cubicBezTo>
                    <a:pt x="5" y="11"/>
                    <a:pt x="8" y="11"/>
                    <a:pt x="11" y="9"/>
                  </a:cubicBezTo>
                  <a:cubicBezTo>
                    <a:pt x="8" y="6"/>
                    <a:pt x="8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8" name="Freeform 673"/>
            <p:cNvSpPr>
              <a:spLocks noChangeArrowheads="1"/>
            </p:cNvSpPr>
            <p:nvPr/>
          </p:nvSpPr>
          <p:spPr bwMode="auto">
            <a:xfrm>
              <a:off x="3778250" y="2749550"/>
              <a:ext cx="4763" cy="3175"/>
            </a:xfrm>
            <a:custGeom>
              <a:avLst/>
              <a:gdLst>
                <a:gd name="T0" fmla="*/ 3 w 13"/>
                <a:gd name="T1" fmla="*/ 8 h 9"/>
                <a:gd name="T2" fmla="*/ 12 w 13"/>
                <a:gd name="T3" fmla="*/ 0 h 9"/>
                <a:gd name="T4" fmla="*/ 3 w 13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9">
                  <a:moveTo>
                    <a:pt x="3" y="8"/>
                  </a:moveTo>
                  <a:cubicBezTo>
                    <a:pt x="9" y="8"/>
                    <a:pt x="12" y="5"/>
                    <a:pt x="12" y="0"/>
                  </a:cubicBezTo>
                  <a:cubicBezTo>
                    <a:pt x="6" y="0"/>
                    <a:pt x="0" y="0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9" name="Freeform 674"/>
            <p:cNvSpPr>
              <a:spLocks noChangeArrowheads="1"/>
            </p:cNvSpPr>
            <p:nvPr/>
          </p:nvSpPr>
          <p:spPr bwMode="auto">
            <a:xfrm>
              <a:off x="3816350" y="2968625"/>
              <a:ext cx="4763" cy="3175"/>
            </a:xfrm>
            <a:custGeom>
              <a:avLst/>
              <a:gdLst>
                <a:gd name="T0" fmla="*/ 3 w 12"/>
                <a:gd name="T1" fmla="*/ 3 h 9"/>
                <a:gd name="T2" fmla="*/ 0 w 12"/>
                <a:gd name="T3" fmla="*/ 6 h 9"/>
                <a:gd name="T4" fmla="*/ 3 w 12"/>
                <a:gd name="T5" fmla="*/ 6 h 9"/>
                <a:gd name="T6" fmla="*/ 5 w 12"/>
                <a:gd name="T7" fmla="*/ 8 h 9"/>
                <a:gd name="T8" fmla="*/ 3 w 12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3" y="3"/>
                  </a:moveTo>
                  <a:cubicBezTo>
                    <a:pt x="3" y="3"/>
                    <a:pt x="3" y="6"/>
                    <a:pt x="0" y="6"/>
                  </a:cubicBezTo>
                  <a:lnTo>
                    <a:pt x="3" y="6"/>
                  </a:lnTo>
                  <a:cubicBezTo>
                    <a:pt x="3" y="6"/>
                    <a:pt x="3" y="8"/>
                    <a:pt x="5" y="8"/>
                  </a:cubicBezTo>
                  <a:cubicBezTo>
                    <a:pt x="5" y="8"/>
                    <a:pt x="11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0" name="Freeform 675"/>
            <p:cNvSpPr>
              <a:spLocks noChangeArrowheads="1"/>
            </p:cNvSpPr>
            <p:nvPr/>
          </p:nvSpPr>
          <p:spPr bwMode="auto">
            <a:xfrm>
              <a:off x="3787775" y="2608263"/>
              <a:ext cx="1588" cy="3175"/>
            </a:xfrm>
            <a:custGeom>
              <a:avLst/>
              <a:gdLst>
                <a:gd name="T0" fmla="*/ 0 w 4"/>
                <a:gd name="T1" fmla="*/ 6 h 7"/>
                <a:gd name="T2" fmla="*/ 3 w 4"/>
                <a:gd name="T3" fmla="*/ 6 h 7"/>
                <a:gd name="T4" fmla="*/ 3 w 4"/>
                <a:gd name="T5" fmla="*/ 0 h 7"/>
                <a:gd name="T6" fmla="*/ 0 w 4"/>
                <a:gd name="T7" fmla="*/ 0 h 7"/>
                <a:gd name="T8" fmla="*/ 0 w 4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0" y="6"/>
                  </a:moveTo>
                  <a:lnTo>
                    <a:pt x="3" y="6"/>
                  </a:lnTo>
                  <a:lnTo>
                    <a:pt x="3" y="0"/>
                  </a:lnTo>
                  <a:cubicBezTo>
                    <a:pt x="3" y="0"/>
                    <a:pt x="3" y="0"/>
                    <a:pt x="0" y="0"/>
                  </a:cubicBezTo>
                  <a:cubicBezTo>
                    <a:pt x="0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1" name="Freeform 676"/>
            <p:cNvSpPr>
              <a:spLocks noChangeArrowheads="1"/>
            </p:cNvSpPr>
            <p:nvPr/>
          </p:nvSpPr>
          <p:spPr bwMode="auto">
            <a:xfrm>
              <a:off x="3786188" y="2555875"/>
              <a:ext cx="3175" cy="3175"/>
            </a:xfrm>
            <a:custGeom>
              <a:avLst/>
              <a:gdLst>
                <a:gd name="T0" fmla="*/ 6 w 7"/>
                <a:gd name="T1" fmla="*/ 3 h 9"/>
                <a:gd name="T2" fmla="*/ 3 w 7"/>
                <a:gd name="T3" fmla="*/ 0 h 9"/>
                <a:gd name="T4" fmla="*/ 3 w 7"/>
                <a:gd name="T5" fmla="*/ 5 h 9"/>
                <a:gd name="T6" fmla="*/ 3 w 7"/>
                <a:gd name="T7" fmla="*/ 5 h 9"/>
                <a:gd name="T8" fmla="*/ 6 w 7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6" y="3"/>
                  </a:moveTo>
                  <a:cubicBezTo>
                    <a:pt x="6" y="3"/>
                    <a:pt x="3" y="3"/>
                    <a:pt x="3" y="0"/>
                  </a:cubicBezTo>
                  <a:cubicBezTo>
                    <a:pt x="3" y="3"/>
                    <a:pt x="0" y="3"/>
                    <a:pt x="3" y="5"/>
                  </a:cubicBezTo>
                  <a:lnTo>
                    <a:pt x="3" y="5"/>
                  </a:lnTo>
                  <a:cubicBezTo>
                    <a:pt x="3" y="8"/>
                    <a:pt x="6" y="5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2" name="Freeform 677"/>
            <p:cNvSpPr>
              <a:spLocks noChangeArrowheads="1"/>
            </p:cNvSpPr>
            <p:nvPr/>
          </p:nvSpPr>
          <p:spPr bwMode="auto">
            <a:xfrm>
              <a:off x="3784600" y="2452688"/>
              <a:ext cx="3175" cy="3175"/>
            </a:xfrm>
            <a:custGeom>
              <a:avLst/>
              <a:gdLst>
                <a:gd name="T0" fmla="*/ 6 w 7"/>
                <a:gd name="T1" fmla="*/ 8 h 9"/>
                <a:gd name="T2" fmla="*/ 6 w 7"/>
                <a:gd name="T3" fmla="*/ 3 h 9"/>
                <a:gd name="T4" fmla="*/ 0 w 7"/>
                <a:gd name="T5" fmla="*/ 0 h 9"/>
                <a:gd name="T6" fmla="*/ 6 w 7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6" y="8"/>
                  </a:moveTo>
                  <a:lnTo>
                    <a:pt x="6" y="3"/>
                  </a:lnTo>
                  <a:cubicBezTo>
                    <a:pt x="3" y="3"/>
                    <a:pt x="3" y="0"/>
                    <a:pt x="0" y="0"/>
                  </a:cubicBezTo>
                  <a:cubicBezTo>
                    <a:pt x="3" y="3"/>
                    <a:pt x="0" y="8"/>
                    <a:pt x="6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3" name="Freeform 678"/>
            <p:cNvSpPr>
              <a:spLocks noChangeArrowheads="1"/>
            </p:cNvSpPr>
            <p:nvPr/>
          </p:nvSpPr>
          <p:spPr bwMode="auto">
            <a:xfrm>
              <a:off x="3816350" y="2971800"/>
              <a:ext cx="6350" cy="6350"/>
            </a:xfrm>
            <a:custGeom>
              <a:avLst/>
              <a:gdLst>
                <a:gd name="T0" fmla="*/ 14 w 18"/>
                <a:gd name="T1" fmla="*/ 15 h 18"/>
                <a:gd name="T2" fmla="*/ 6 w 18"/>
                <a:gd name="T3" fmla="*/ 15 h 18"/>
                <a:gd name="T4" fmla="*/ 0 w 18"/>
                <a:gd name="T5" fmla="*/ 15 h 18"/>
                <a:gd name="T6" fmla="*/ 0 w 18"/>
                <a:gd name="T7" fmla="*/ 15 h 18"/>
                <a:gd name="T8" fmla="*/ 17 w 18"/>
                <a:gd name="T9" fmla="*/ 17 h 18"/>
                <a:gd name="T10" fmla="*/ 8 w 18"/>
                <a:gd name="T11" fmla="*/ 0 h 18"/>
                <a:gd name="T12" fmla="*/ 14 w 18"/>
                <a:gd name="T13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8">
                  <a:moveTo>
                    <a:pt x="14" y="15"/>
                  </a:moveTo>
                  <a:cubicBezTo>
                    <a:pt x="11" y="15"/>
                    <a:pt x="8" y="15"/>
                    <a:pt x="6" y="15"/>
                  </a:cubicBezTo>
                  <a:cubicBezTo>
                    <a:pt x="3" y="15"/>
                    <a:pt x="3" y="15"/>
                    <a:pt x="0" y="15"/>
                  </a:cubicBezTo>
                  <a:lnTo>
                    <a:pt x="0" y="15"/>
                  </a:lnTo>
                  <a:cubicBezTo>
                    <a:pt x="6" y="17"/>
                    <a:pt x="11" y="17"/>
                    <a:pt x="17" y="17"/>
                  </a:cubicBezTo>
                  <a:cubicBezTo>
                    <a:pt x="17" y="9"/>
                    <a:pt x="11" y="6"/>
                    <a:pt x="8" y="0"/>
                  </a:cubicBezTo>
                  <a:cubicBezTo>
                    <a:pt x="11" y="6"/>
                    <a:pt x="14" y="12"/>
                    <a:pt x="14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4" name="Freeform 679"/>
            <p:cNvSpPr>
              <a:spLocks noChangeArrowheads="1"/>
            </p:cNvSpPr>
            <p:nvPr/>
          </p:nvSpPr>
          <p:spPr bwMode="auto">
            <a:xfrm>
              <a:off x="3836988" y="2643188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6 w 7"/>
                <a:gd name="T3" fmla="*/ 3 h 7"/>
                <a:gd name="T4" fmla="*/ 0 w 7"/>
                <a:gd name="T5" fmla="*/ 0 h 7"/>
                <a:gd name="T6" fmla="*/ 6 w 7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lnTo>
                    <a:pt x="6" y="3"/>
                  </a:lnTo>
                  <a:cubicBezTo>
                    <a:pt x="6" y="0"/>
                    <a:pt x="3" y="0"/>
                    <a:pt x="0" y="0"/>
                  </a:cubicBezTo>
                  <a:cubicBezTo>
                    <a:pt x="0" y="3"/>
                    <a:pt x="3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5" name="Freeform 680"/>
            <p:cNvSpPr>
              <a:spLocks noChangeArrowheads="1"/>
            </p:cNvSpPr>
            <p:nvPr/>
          </p:nvSpPr>
          <p:spPr bwMode="auto">
            <a:xfrm>
              <a:off x="3848100" y="2946400"/>
              <a:ext cx="4763" cy="3175"/>
            </a:xfrm>
            <a:custGeom>
              <a:avLst/>
              <a:gdLst>
                <a:gd name="T0" fmla="*/ 0 w 13"/>
                <a:gd name="T1" fmla="*/ 6 h 7"/>
                <a:gd name="T2" fmla="*/ 12 w 13"/>
                <a:gd name="T3" fmla="*/ 6 h 7"/>
                <a:gd name="T4" fmla="*/ 6 w 13"/>
                <a:gd name="T5" fmla="*/ 0 h 7"/>
                <a:gd name="T6" fmla="*/ 0 w 13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7">
                  <a:moveTo>
                    <a:pt x="0" y="6"/>
                  </a:moveTo>
                  <a:cubicBezTo>
                    <a:pt x="3" y="6"/>
                    <a:pt x="6" y="6"/>
                    <a:pt x="12" y="6"/>
                  </a:cubicBezTo>
                  <a:cubicBezTo>
                    <a:pt x="9" y="3"/>
                    <a:pt x="9" y="3"/>
                    <a:pt x="6" y="0"/>
                  </a:cubicBezTo>
                  <a:cubicBezTo>
                    <a:pt x="3" y="0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6" name="Freeform 681"/>
            <p:cNvSpPr>
              <a:spLocks noChangeArrowheads="1"/>
            </p:cNvSpPr>
            <p:nvPr/>
          </p:nvSpPr>
          <p:spPr bwMode="auto">
            <a:xfrm>
              <a:off x="3830638" y="2878138"/>
              <a:ext cx="6350" cy="4762"/>
            </a:xfrm>
            <a:custGeom>
              <a:avLst/>
              <a:gdLst>
                <a:gd name="T0" fmla="*/ 3 w 18"/>
                <a:gd name="T1" fmla="*/ 11 h 15"/>
                <a:gd name="T2" fmla="*/ 14 w 18"/>
                <a:gd name="T3" fmla="*/ 11 h 15"/>
                <a:gd name="T4" fmla="*/ 17 w 18"/>
                <a:gd name="T5" fmla="*/ 3 h 15"/>
                <a:gd name="T6" fmla="*/ 6 w 18"/>
                <a:gd name="T7" fmla="*/ 0 h 15"/>
                <a:gd name="T8" fmla="*/ 3 w 18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3" y="11"/>
                  </a:moveTo>
                  <a:cubicBezTo>
                    <a:pt x="6" y="14"/>
                    <a:pt x="12" y="11"/>
                    <a:pt x="14" y="11"/>
                  </a:cubicBezTo>
                  <a:cubicBezTo>
                    <a:pt x="14" y="8"/>
                    <a:pt x="14" y="6"/>
                    <a:pt x="17" y="3"/>
                  </a:cubicBezTo>
                  <a:cubicBezTo>
                    <a:pt x="17" y="0"/>
                    <a:pt x="12" y="0"/>
                    <a:pt x="6" y="0"/>
                  </a:cubicBezTo>
                  <a:cubicBezTo>
                    <a:pt x="3" y="3"/>
                    <a:pt x="0" y="6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7" name="Freeform 682"/>
            <p:cNvSpPr>
              <a:spLocks noChangeArrowheads="1"/>
            </p:cNvSpPr>
            <p:nvPr/>
          </p:nvSpPr>
          <p:spPr bwMode="auto">
            <a:xfrm>
              <a:off x="3835400" y="2449513"/>
              <a:ext cx="3175" cy="4762"/>
            </a:xfrm>
            <a:custGeom>
              <a:avLst/>
              <a:gdLst>
                <a:gd name="T0" fmla="*/ 6 w 7"/>
                <a:gd name="T1" fmla="*/ 5 h 15"/>
                <a:gd name="T2" fmla="*/ 6 w 7"/>
                <a:gd name="T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6" y="5"/>
                  </a:moveTo>
                  <a:cubicBezTo>
                    <a:pt x="0" y="0"/>
                    <a:pt x="0" y="14"/>
                    <a:pt x="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8" name="Freeform 683"/>
            <p:cNvSpPr>
              <a:spLocks noChangeArrowheads="1"/>
            </p:cNvSpPr>
            <p:nvPr/>
          </p:nvSpPr>
          <p:spPr bwMode="auto">
            <a:xfrm>
              <a:off x="4040188" y="2171700"/>
              <a:ext cx="1587" cy="1588"/>
            </a:xfrm>
            <a:custGeom>
              <a:avLst/>
              <a:gdLst>
                <a:gd name="T0" fmla="*/ 5 w 6"/>
                <a:gd name="T1" fmla="*/ 0 h 4"/>
                <a:gd name="T2" fmla="*/ 0 w 6"/>
                <a:gd name="T3" fmla="*/ 3 h 4"/>
                <a:gd name="T4" fmla="*/ 2 w 6"/>
                <a:gd name="T5" fmla="*/ 3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2" y="0"/>
                    <a:pt x="0" y="0"/>
                    <a:pt x="0" y="3"/>
                  </a:cubicBezTo>
                  <a:lnTo>
                    <a:pt x="2" y="3"/>
                  </a:lnTo>
                  <a:cubicBezTo>
                    <a:pt x="2" y="0"/>
                    <a:pt x="2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9" name="Freeform 684"/>
            <p:cNvSpPr>
              <a:spLocks noChangeArrowheads="1"/>
            </p:cNvSpPr>
            <p:nvPr/>
          </p:nvSpPr>
          <p:spPr bwMode="auto">
            <a:xfrm>
              <a:off x="3819525" y="2965450"/>
              <a:ext cx="4763" cy="3175"/>
            </a:xfrm>
            <a:custGeom>
              <a:avLst/>
              <a:gdLst>
                <a:gd name="T0" fmla="*/ 12 w 13"/>
                <a:gd name="T1" fmla="*/ 6 h 10"/>
                <a:gd name="T2" fmla="*/ 12 w 13"/>
                <a:gd name="T3" fmla="*/ 0 h 10"/>
                <a:gd name="T4" fmla="*/ 0 w 13"/>
                <a:gd name="T5" fmla="*/ 0 h 10"/>
                <a:gd name="T6" fmla="*/ 12 w 13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12" y="6"/>
                  </a:moveTo>
                  <a:cubicBezTo>
                    <a:pt x="12" y="3"/>
                    <a:pt x="12" y="3"/>
                    <a:pt x="12" y="0"/>
                  </a:cubicBezTo>
                  <a:cubicBezTo>
                    <a:pt x="9" y="0"/>
                    <a:pt x="3" y="0"/>
                    <a:pt x="0" y="0"/>
                  </a:cubicBezTo>
                  <a:cubicBezTo>
                    <a:pt x="3" y="3"/>
                    <a:pt x="3" y="9"/>
                    <a:pt x="12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0" name="Freeform 685"/>
            <p:cNvSpPr>
              <a:spLocks noChangeArrowheads="1"/>
            </p:cNvSpPr>
            <p:nvPr/>
          </p:nvSpPr>
          <p:spPr bwMode="auto">
            <a:xfrm>
              <a:off x="4029075" y="2760663"/>
              <a:ext cx="7938" cy="9525"/>
            </a:xfrm>
            <a:custGeom>
              <a:avLst/>
              <a:gdLst>
                <a:gd name="T0" fmla="*/ 11 w 23"/>
                <a:gd name="T1" fmla="*/ 22 h 26"/>
                <a:gd name="T2" fmla="*/ 22 w 23"/>
                <a:gd name="T3" fmla="*/ 14 h 26"/>
                <a:gd name="T4" fmla="*/ 22 w 23"/>
                <a:gd name="T5" fmla="*/ 5 h 26"/>
                <a:gd name="T6" fmla="*/ 8 w 23"/>
                <a:gd name="T7" fmla="*/ 0 h 26"/>
                <a:gd name="T8" fmla="*/ 5 w 23"/>
                <a:gd name="T9" fmla="*/ 5 h 26"/>
                <a:gd name="T10" fmla="*/ 8 w 23"/>
                <a:gd name="T11" fmla="*/ 14 h 26"/>
                <a:gd name="T12" fmla="*/ 2 w 23"/>
                <a:gd name="T13" fmla="*/ 14 h 26"/>
                <a:gd name="T14" fmla="*/ 0 w 23"/>
                <a:gd name="T15" fmla="*/ 19 h 26"/>
                <a:gd name="T16" fmla="*/ 11 w 23"/>
                <a:gd name="T17" fmla="*/ 2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6">
                  <a:moveTo>
                    <a:pt x="11" y="22"/>
                  </a:moveTo>
                  <a:cubicBezTo>
                    <a:pt x="16" y="19"/>
                    <a:pt x="19" y="17"/>
                    <a:pt x="22" y="14"/>
                  </a:cubicBezTo>
                  <a:cubicBezTo>
                    <a:pt x="22" y="11"/>
                    <a:pt x="22" y="8"/>
                    <a:pt x="22" y="5"/>
                  </a:cubicBezTo>
                  <a:cubicBezTo>
                    <a:pt x="19" y="3"/>
                    <a:pt x="14" y="0"/>
                    <a:pt x="8" y="0"/>
                  </a:cubicBezTo>
                  <a:cubicBezTo>
                    <a:pt x="5" y="0"/>
                    <a:pt x="5" y="3"/>
                    <a:pt x="5" y="5"/>
                  </a:cubicBezTo>
                  <a:cubicBezTo>
                    <a:pt x="8" y="8"/>
                    <a:pt x="8" y="11"/>
                    <a:pt x="8" y="14"/>
                  </a:cubicBezTo>
                  <a:cubicBezTo>
                    <a:pt x="5" y="17"/>
                    <a:pt x="5" y="17"/>
                    <a:pt x="2" y="14"/>
                  </a:cubicBezTo>
                  <a:cubicBezTo>
                    <a:pt x="2" y="17"/>
                    <a:pt x="2" y="17"/>
                    <a:pt x="0" y="19"/>
                  </a:cubicBezTo>
                  <a:cubicBezTo>
                    <a:pt x="2" y="25"/>
                    <a:pt x="8" y="25"/>
                    <a:pt x="11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1" name="Freeform 686"/>
            <p:cNvSpPr>
              <a:spLocks noChangeArrowheads="1"/>
            </p:cNvSpPr>
            <p:nvPr/>
          </p:nvSpPr>
          <p:spPr bwMode="auto">
            <a:xfrm>
              <a:off x="3776663" y="2936875"/>
              <a:ext cx="4762" cy="3175"/>
            </a:xfrm>
            <a:custGeom>
              <a:avLst/>
              <a:gdLst>
                <a:gd name="T0" fmla="*/ 0 w 12"/>
                <a:gd name="T1" fmla="*/ 0 h 7"/>
                <a:gd name="T2" fmla="*/ 11 w 12"/>
                <a:gd name="T3" fmla="*/ 6 h 7"/>
                <a:gd name="T4" fmla="*/ 3 w 12"/>
                <a:gd name="T5" fmla="*/ 0 h 7"/>
                <a:gd name="T6" fmla="*/ 0 w 12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7">
                  <a:moveTo>
                    <a:pt x="0" y="0"/>
                  </a:moveTo>
                  <a:cubicBezTo>
                    <a:pt x="0" y="0"/>
                    <a:pt x="6" y="3"/>
                    <a:pt x="11" y="6"/>
                  </a:cubicBezTo>
                  <a:cubicBezTo>
                    <a:pt x="11" y="3"/>
                    <a:pt x="8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2" name="Freeform 687"/>
            <p:cNvSpPr>
              <a:spLocks noChangeArrowheads="1"/>
            </p:cNvSpPr>
            <p:nvPr/>
          </p:nvSpPr>
          <p:spPr bwMode="auto">
            <a:xfrm>
              <a:off x="4017963" y="2247900"/>
              <a:ext cx="3175" cy="4763"/>
            </a:xfrm>
            <a:custGeom>
              <a:avLst/>
              <a:gdLst>
                <a:gd name="T0" fmla="*/ 3 w 10"/>
                <a:gd name="T1" fmla="*/ 11 h 12"/>
                <a:gd name="T2" fmla="*/ 3 w 10"/>
                <a:gd name="T3" fmla="*/ 11 h 12"/>
                <a:gd name="T4" fmla="*/ 9 w 10"/>
                <a:gd name="T5" fmla="*/ 11 h 12"/>
                <a:gd name="T6" fmla="*/ 0 w 10"/>
                <a:gd name="T7" fmla="*/ 6 h 12"/>
                <a:gd name="T8" fmla="*/ 3 w 10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3" y="11"/>
                  </a:moveTo>
                  <a:lnTo>
                    <a:pt x="3" y="11"/>
                  </a:lnTo>
                  <a:cubicBezTo>
                    <a:pt x="6" y="11"/>
                    <a:pt x="6" y="11"/>
                    <a:pt x="9" y="11"/>
                  </a:cubicBezTo>
                  <a:cubicBezTo>
                    <a:pt x="6" y="11"/>
                    <a:pt x="0" y="0"/>
                    <a:pt x="0" y="6"/>
                  </a:cubicBezTo>
                  <a:cubicBezTo>
                    <a:pt x="0" y="6"/>
                    <a:pt x="3" y="9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3" name="Freeform 688"/>
            <p:cNvSpPr>
              <a:spLocks noChangeArrowheads="1"/>
            </p:cNvSpPr>
            <p:nvPr/>
          </p:nvSpPr>
          <p:spPr bwMode="auto">
            <a:xfrm>
              <a:off x="4019550" y="2241550"/>
              <a:ext cx="4763" cy="6350"/>
            </a:xfrm>
            <a:custGeom>
              <a:avLst/>
              <a:gdLst>
                <a:gd name="T0" fmla="*/ 11 w 12"/>
                <a:gd name="T1" fmla="*/ 0 h 18"/>
                <a:gd name="T2" fmla="*/ 11 w 12"/>
                <a:gd name="T3" fmla="*/ 0 h 18"/>
                <a:gd name="T4" fmla="*/ 0 w 12"/>
                <a:gd name="T5" fmla="*/ 17 h 18"/>
                <a:gd name="T6" fmla="*/ 11 w 12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8">
                  <a:moveTo>
                    <a:pt x="11" y="0"/>
                  </a:moveTo>
                  <a:lnTo>
                    <a:pt x="11" y="0"/>
                  </a:lnTo>
                  <a:cubicBezTo>
                    <a:pt x="3" y="3"/>
                    <a:pt x="0" y="9"/>
                    <a:pt x="0" y="17"/>
                  </a:cubicBezTo>
                  <a:cubicBezTo>
                    <a:pt x="9" y="14"/>
                    <a:pt x="9" y="6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4" name="Freeform 689"/>
            <p:cNvSpPr>
              <a:spLocks noChangeArrowheads="1"/>
            </p:cNvSpPr>
            <p:nvPr/>
          </p:nvSpPr>
          <p:spPr bwMode="auto">
            <a:xfrm>
              <a:off x="4035425" y="2211388"/>
              <a:ext cx="3175" cy="3175"/>
            </a:xfrm>
            <a:custGeom>
              <a:avLst/>
              <a:gdLst>
                <a:gd name="T0" fmla="*/ 9 w 10"/>
                <a:gd name="T1" fmla="*/ 6 h 10"/>
                <a:gd name="T2" fmla="*/ 9 w 10"/>
                <a:gd name="T3" fmla="*/ 0 h 10"/>
                <a:gd name="T4" fmla="*/ 0 w 10"/>
                <a:gd name="T5" fmla="*/ 6 h 10"/>
                <a:gd name="T6" fmla="*/ 9 w 10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9" y="6"/>
                  </a:moveTo>
                  <a:cubicBezTo>
                    <a:pt x="9" y="3"/>
                    <a:pt x="9" y="3"/>
                    <a:pt x="9" y="0"/>
                  </a:cubicBezTo>
                  <a:cubicBezTo>
                    <a:pt x="6" y="3"/>
                    <a:pt x="3" y="3"/>
                    <a:pt x="0" y="6"/>
                  </a:cubicBezTo>
                  <a:cubicBezTo>
                    <a:pt x="3" y="9"/>
                    <a:pt x="6" y="9"/>
                    <a:pt x="9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5" name="Freeform 690"/>
            <p:cNvSpPr>
              <a:spLocks noChangeArrowheads="1"/>
            </p:cNvSpPr>
            <p:nvPr/>
          </p:nvSpPr>
          <p:spPr bwMode="auto">
            <a:xfrm>
              <a:off x="4032250" y="2438400"/>
              <a:ext cx="1588" cy="1588"/>
            </a:xfrm>
            <a:custGeom>
              <a:avLst/>
              <a:gdLst>
                <a:gd name="T0" fmla="*/ 0 w 4"/>
                <a:gd name="T1" fmla="*/ 2 h 3"/>
                <a:gd name="T2" fmla="*/ 3 w 4"/>
                <a:gd name="T3" fmla="*/ 0 h 3"/>
                <a:gd name="T4" fmla="*/ 0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cubicBezTo>
                    <a:pt x="3" y="2"/>
                    <a:pt x="3" y="0"/>
                    <a:pt x="3" y="0"/>
                  </a:cubicBez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6" name="Freeform 691"/>
            <p:cNvSpPr>
              <a:spLocks noChangeArrowheads="1"/>
            </p:cNvSpPr>
            <p:nvPr/>
          </p:nvSpPr>
          <p:spPr bwMode="auto">
            <a:xfrm>
              <a:off x="4024313" y="2398713"/>
              <a:ext cx="6350" cy="7937"/>
            </a:xfrm>
            <a:custGeom>
              <a:avLst/>
              <a:gdLst>
                <a:gd name="T0" fmla="*/ 9 w 16"/>
                <a:gd name="T1" fmla="*/ 22 h 23"/>
                <a:gd name="T2" fmla="*/ 9 w 16"/>
                <a:gd name="T3" fmla="*/ 0 h 23"/>
                <a:gd name="T4" fmla="*/ 6 w 16"/>
                <a:gd name="T5" fmla="*/ 0 h 23"/>
                <a:gd name="T6" fmla="*/ 6 w 16"/>
                <a:gd name="T7" fmla="*/ 5 h 23"/>
                <a:gd name="T8" fmla="*/ 0 w 16"/>
                <a:gd name="T9" fmla="*/ 8 h 23"/>
                <a:gd name="T10" fmla="*/ 0 w 16"/>
                <a:gd name="T11" fmla="*/ 14 h 23"/>
                <a:gd name="T12" fmla="*/ 9 w 16"/>
                <a:gd name="T13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3">
                  <a:moveTo>
                    <a:pt x="9" y="22"/>
                  </a:moveTo>
                  <a:cubicBezTo>
                    <a:pt x="9" y="17"/>
                    <a:pt x="15" y="8"/>
                    <a:pt x="9" y="0"/>
                  </a:cubicBezTo>
                  <a:lnTo>
                    <a:pt x="6" y="0"/>
                  </a:lnTo>
                  <a:lnTo>
                    <a:pt x="6" y="5"/>
                  </a:lnTo>
                  <a:cubicBezTo>
                    <a:pt x="6" y="5"/>
                    <a:pt x="3" y="8"/>
                    <a:pt x="0" y="8"/>
                  </a:cubicBezTo>
                  <a:cubicBezTo>
                    <a:pt x="0" y="11"/>
                    <a:pt x="0" y="11"/>
                    <a:pt x="0" y="14"/>
                  </a:cubicBezTo>
                  <a:cubicBezTo>
                    <a:pt x="3" y="19"/>
                    <a:pt x="6" y="22"/>
                    <a:pt x="9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7" name="Freeform 692"/>
            <p:cNvSpPr>
              <a:spLocks noChangeArrowheads="1"/>
            </p:cNvSpPr>
            <p:nvPr/>
          </p:nvSpPr>
          <p:spPr bwMode="auto">
            <a:xfrm>
              <a:off x="3773488" y="2705100"/>
              <a:ext cx="11112" cy="7938"/>
            </a:xfrm>
            <a:custGeom>
              <a:avLst/>
              <a:gdLst>
                <a:gd name="T0" fmla="*/ 17 w 30"/>
                <a:gd name="T1" fmla="*/ 14 h 23"/>
                <a:gd name="T2" fmla="*/ 26 w 30"/>
                <a:gd name="T3" fmla="*/ 5 h 23"/>
                <a:gd name="T4" fmla="*/ 3 w 30"/>
                <a:gd name="T5" fmla="*/ 19 h 23"/>
                <a:gd name="T6" fmla="*/ 3 w 30"/>
                <a:gd name="T7" fmla="*/ 19 h 23"/>
                <a:gd name="T8" fmla="*/ 17 w 30"/>
                <a:gd name="T9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3">
                  <a:moveTo>
                    <a:pt x="17" y="14"/>
                  </a:moveTo>
                  <a:cubicBezTo>
                    <a:pt x="20" y="11"/>
                    <a:pt x="29" y="14"/>
                    <a:pt x="26" y="5"/>
                  </a:cubicBezTo>
                  <a:cubicBezTo>
                    <a:pt x="12" y="0"/>
                    <a:pt x="0" y="5"/>
                    <a:pt x="3" y="19"/>
                  </a:cubicBezTo>
                  <a:lnTo>
                    <a:pt x="3" y="19"/>
                  </a:lnTo>
                  <a:cubicBezTo>
                    <a:pt x="12" y="22"/>
                    <a:pt x="15" y="16"/>
                    <a:pt x="17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8" name="Freeform 693"/>
            <p:cNvSpPr>
              <a:spLocks noChangeArrowheads="1"/>
            </p:cNvSpPr>
            <p:nvPr/>
          </p:nvSpPr>
          <p:spPr bwMode="auto">
            <a:xfrm>
              <a:off x="3776663" y="2940050"/>
              <a:ext cx="3175" cy="1588"/>
            </a:xfrm>
            <a:custGeom>
              <a:avLst/>
              <a:gdLst>
                <a:gd name="T0" fmla="*/ 8 w 9"/>
                <a:gd name="T1" fmla="*/ 3 h 4"/>
                <a:gd name="T2" fmla="*/ 8 w 9"/>
                <a:gd name="T3" fmla="*/ 3 h 4"/>
                <a:gd name="T4" fmla="*/ 0 w 9"/>
                <a:gd name="T5" fmla="*/ 0 h 4"/>
                <a:gd name="T6" fmla="*/ 8 w 9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4">
                  <a:moveTo>
                    <a:pt x="8" y="3"/>
                  </a:moveTo>
                  <a:lnTo>
                    <a:pt x="8" y="3"/>
                  </a:lnTo>
                  <a:cubicBezTo>
                    <a:pt x="6" y="0"/>
                    <a:pt x="3" y="0"/>
                    <a:pt x="0" y="0"/>
                  </a:cubicBezTo>
                  <a:cubicBezTo>
                    <a:pt x="3" y="3"/>
                    <a:pt x="6" y="3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9" name="Freeform 694"/>
            <p:cNvSpPr>
              <a:spLocks noChangeArrowheads="1"/>
            </p:cNvSpPr>
            <p:nvPr/>
          </p:nvSpPr>
          <p:spPr bwMode="auto">
            <a:xfrm>
              <a:off x="4016375" y="2771775"/>
              <a:ext cx="4763" cy="4763"/>
            </a:xfrm>
            <a:custGeom>
              <a:avLst/>
              <a:gdLst>
                <a:gd name="T0" fmla="*/ 11 w 15"/>
                <a:gd name="T1" fmla="*/ 0 h 12"/>
                <a:gd name="T2" fmla="*/ 0 w 15"/>
                <a:gd name="T3" fmla="*/ 3 h 12"/>
                <a:gd name="T4" fmla="*/ 2 w 15"/>
                <a:gd name="T5" fmla="*/ 11 h 12"/>
                <a:gd name="T6" fmla="*/ 11 w 15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2">
                  <a:moveTo>
                    <a:pt x="11" y="0"/>
                  </a:moveTo>
                  <a:cubicBezTo>
                    <a:pt x="8" y="0"/>
                    <a:pt x="2" y="0"/>
                    <a:pt x="0" y="3"/>
                  </a:cubicBezTo>
                  <a:cubicBezTo>
                    <a:pt x="0" y="5"/>
                    <a:pt x="0" y="8"/>
                    <a:pt x="2" y="11"/>
                  </a:cubicBezTo>
                  <a:cubicBezTo>
                    <a:pt x="11" y="11"/>
                    <a:pt x="14" y="5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0" name="Freeform 695"/>
            <p:cNvSpPr>
              <a:spLocks noChangeArrowheads="1"/>
            </p:cNvSpPr>
            <p:nvPr/>
          </p:nvSpPr>
          <p:spPr bwMode="auto">
            <a:xfrm>
              <a:off x="4013200" y="2546350"/>
              <a:ext cx="3175" cy="3175"/>
            </a:xfrm>
            <a:custGeom>
              <a:avLst/>
              <a:gdLst>
                <a:gd name="T0" fmla="*/ 9 w 10"/>
                <a:gd name="T1" fmla="*/ 0 h 10"/>
                <a:gd name="T2" fmla="*/ 9 w 10"/>
                <a:gd name="T3" fmla="*/ 0 h 10"/>
                <a:gd name="T4" fmla="*/ 9 w 10"/>
                <a:gd name="T5" fmla="*/ 0 h 10"/>
                <a:gd name="T6" fmla="*/ 0 w 10"/>
                <a:gd name="T7" fmla="*/ 6 h 10"/>
                <a:gd name="T8" fmla="*/ 9 w 1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9" y="0"/>
                  </a:moveTo>
                  <a:lnTo>
                    <a:pt x="9" y="0"/>
                  </a:lnTo>
                  <a:lnTo>
                    <a:pt x="9" y="0"/>
                  </a:lnTo>
                  <a:cubicBezTo>
                    <a:pt x="3" y="0"/>
                    <a:pt x="0" y="0"/>
                    <a:pt x="0" y="6"/>
                  </a:cubicBezTo>
                  <a:cubicBezTo>
                    <a:pt x="3" y="9"/>
                    <a:pt x="9" y="9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1" name="Freeform 696"/>
            <p:cNvSpPr>
              <a:spLocks noChangeArrowheads="1"/>
            </p:cNvSpPr>
            <p:nvPr/>
          </p:nvSpPr>
          <p:spPr bwMode="auto">
            <a:xfrm>
              <a:off x="4121150" y="2987675"/>
              <a:ext cx="6350" cy="7938"/>
            </a:xfrm>
            <a:custGeom>
              <a:avLst/>
              <a:gdLst>
                <a:gd name="T0" fmla="*/ 6 w 17"/>
                <a:gd name="T1" fmla="*/ 2 h 23"/>
                <a:gd name="T2" fmla="*/ 3 w 17"/>
                <a:gd name="T3" fmla="*/ 22 h 23"/>
                <a:gd name="T4" fmla="*/ 6 w 17"/>
                <a:gd name="T5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6" y="2"/>
                  </a:moveTo>
                  <a:cubicBezTo>
                    <a:pt x="9" y="11"/>
                    <a:pt x="0" y="14"/>
                    <a:pt x="3" y="22"/>
                  </a:cubicBezTo>
                  <a:cubicBezTo>
                    <a:pt x="12" y="19"/>
                    <a:pt x="16" y="0"/>
                    <a:pt x="6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2" name="Freeform 697"/>
            <p:cNvSpPr>
              <a:spLocks noChangeArrowheads="1"/>
            </p:cNvSpPr>
            <p:nvPr/>
          </p:nvSpPr>
          <p:spPr bwMode="auto">
            <a:xfrm>
              <a:off x="4122738" y="2406650"/>
              <a:ext cx="3175" cy="3175"/>
            </a:xfrm>
            <a:custGeom>
              <a:avLst/>
              <a:gdLst>
                <a:gd name="T0" fmla="*/ 3 w 7"/>
                <a:gd name="T1" fmla="*/ 6 h 7"/>
                <a:gd name="T2" fmla="*/ 6 w 7"/>
                <a:gd name="T3" fmla="*/ 6 h 7"/>
                <a:gd name="T4" fmla="*/ 6 w 7"/>
                <a:gd name="T5" fmla="*/ 0 h 7"/>
                <a:gd name="T6" fmla="*/ 0 w 7"/>
                <a:gd name="T7" fmla="*/ 0 h 7"/>
                <a:gd name="T8" fmla="*/ 0 w 7"/>
                <a:gd name="T9" fmla="*/ 6 h 7"/>
                <a:gd name="T10" fmla="*/ 3 w 7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3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3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3" name="Freeform 698"/>
            <p:cNvSpPr>
              <a:spLocks noChangeArrowheads="1"/>
            </p:cNvSpPr>
            <p:nvPr/>
          </p:nvSpPr>
          <p:spPr bwMode="auto">
            <a:xfrm>
              <a:off x="4086225" y="2384425"/>
              <a:ext cx="3175" cy="3175"/>
            </a:xfrm>
            <a:custGeom>
              <a:avLst/>
              <a:gdLst>
                <a:gd name="T0" fmla="*/ 2 w 9"/>
                <a:gd name="T1" fmla="*/ 0 h 9"/>
                <a:gd name="T2" fmla="*/ 8 w 9"/>
                <a:gd name="T3" fmla="*/ 6 h 9"/>
                <a:gd name="T4" fmla="*/ 5 w 9"/>
                <a:gd name="T5" fmla="*/ 3 h 9"/>
                <a:gd name="T6" fmla="*/ 2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2" y="0"/>
                  </a:moveTo>
                  <a:cubicBezTo>
                    <a:pt x="0" y="6"/>
                    <a:pt x="5" y="8"/>
                    <a:pt x="8" y="6"/>
                  </a:cubicBezTo>
                  <a:lnTo>
                    <a:pt x="5" y="3"/>
                  </a:lnTo>
                  <a:cubicBezTo>
                    <a:pt x="2" y="3"/>
                    <a:pt x="2" y="0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4" name="Freeform 699"/>
            <p:cNvSpPr>
              <a:spLocks noChangeArrowheads="1"/>
            </p:cNvSpPr>
            <p:nvPr/>
          </p:nvSpPr>
          <p:spPr bwMode="auto">
            <a:xfrm>
              <a:off x="4090988" y="3052763"/>
              <a:ext cx="1587" cy="3175"/>
            </a:xfrm>
            <a:custGeom>
              <a:avLst/>
              <a:gdLst>
                <a:gd name="T0" fmla="*/ 0 w 3"/>
                <a:gd name="T1" fmla="*/ 0 h 7"/>
                <a:gd name="T2" fmla="*/ 2 w 3"/>
                <a:gd name="T3" fmla="*/ 6 h 7"/>
                <a:gd name="T4" fmla="*/ 2 w 3"/>
                <a:gd name="T5" fmla="*/ 6 h 7"/>
                <a:gd name="T6" fmla="*/ 0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cubicBezTo>
                    <a:pt x="0" y="3"/>
                    <a:pt x="0" y="6"/>
                    <a:pt x="2" y="6"/>
                  </a:cubicBezTo>
                  <a:lnTo>
                    <a:pt x="2" y="6"/>
                  </a:lnTo>
                  <a:cubicBezTo>
                    <a:pt x="2" y="3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5" name="Freeform 700"/>
            <p:cNvSpPr>
              <a:spLocks noChangeArrowheads="1"/>
            </p:cNvSpPr>
            <p:nvPr/>
          </p:nvSpPr>
          <p:spPr bwMode="auto">
            <a:xfrm>
              <a:off x="4129088" y="2232025"/>
              <a:ext cx="3175" cy="3175"/>
            </a:xfrm>
            <a:custGeom>
              <a:avLst/>
              <a:gdLst>
                <a:gd name="T0" fmla="*/ 0 w 7"/>
                <a:gd name="T1" fmla="*/ 0 h 7"/>
                <a:gd name="T2" fmla="*/ 0 w 7"/>
                <a:gd name="T3" fmla="*/ 6 h 7"/>
                <a:gd name="T4" fmla="*/ 6 w 7"/>
                <a:gd name="T5" fmla="*/ 6 h 7"/>
                <a:gd name="T6" fmla="*/ 0 w 7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lnTo>
                    <a:pt x="6" y="6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6" name="Freeform 701"/>
            <p:cNvSpPr>
              <a:spLocks noChangeArrowheads="1"/>
            </p:cNvSpPr>
            <p:nvPr/>
          </p:nvSpPr>
          <p:spPr bwMode="auto">
            <a:xfrm>
              <a:off x="4121150" y="2444750"/>
              <a:ext cx="9525" cy="14288"/>
            </a:xfrm>
            <a:custGeom>
              <a:avLst/>
              <a:gdLst>
                <a:gd name="T0" fmla="*/ 3 w 26"/>
                <a:gd name="T1" fmla="*/ 6 h 38"/>
                <a:gd name="T2" fmla="*/ 9 w 26"/>
                <a:gd name="T3" fmla="*/ 20 h 38"/>
                <a:gd name="T4" fmla="*/ 0 w 26"/>
                <a:gd name="T5" fmla="*/ 31 h 38"/>
                <a:gd name="T6" fmla="*/ 13 w 26"/>
                <a:gd name="T7" fmla="*/ 37 h 38"/>
                <a:gd name="T8" fmla="*/ 3 w 26"/>
                <a:gd name="T9" fmla="*/ 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8">
                  <a:moveTo>
                    <a:pt x="3" y="6"/>
                  </a:moveTo>
                  <a:cubicBezTo>
                    <a:pt x="3" y="15"/>
                    <a:pt x="6" y="15"/>
                    <a:pt x="9" y="20"/>
                  </a:cubicBezTo>
                  <a:cubicBezTo>
                    <a:pt x="9" y="26"/>
                    <a:pt x="0" y="26"/>
                    <a:pt x="0" y="31"/>
                  </a:cubicBezTo>
                  <a:cubicBezTo>
                    <a:pt x="6" y="31"/>
                    <a:pt x="6" y="37"/>
                    <a:pt x="13" y="37"/>
                  </a:cubicBezTo>
                  <a:cubicBezTo>
                    <a:pt x="19" y="29"/>
                    <a:pt x="25" y="0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7" name="Freeform 702"/>
            <p:cNvSpPr>
              <a:spLocks noChangeArrowheads="1"/>
            </p:cNvSpPr>
            <p:nvPr/>
          </p:nvSpPr>
          <p:spPr bwMode="auto">
            <a:xfrm>
              <a:off x="4125913" y="2536825"/>
              <a:ext cx="4762" cy="4763"/>
            </a:xfrm>
            <a:custGeom>
              <a:avLst/>
              <a:gdLst>
                <a:gd name="T0" fmla="*/ 1 w 14"/>
                <a:gd name="T1" fmla="*/ 6 h 15"/>
                <a:gd name="T2" fmla="*/ 4 w 14"/>
                <a:gd name="T3" fmla="*/ 11 h 15"/>
                <a:gd name="T4" fmla="*/ 13 w 14"/>
                <a:gd name="T5" fmla="*/ 14 h 15"/>
                <a:gd name="T6" fmla="*/ 13 w 14"/>
                <a:gd name="T7" fmla="*/ 11 h 15"/>
                <a:gd name="T8" fmla="*/ 7 w 14"/>
                <a:gd name="T9" fmla="*/ 6 h 15"/>
                <a:gd name="T10" fmla="*/ 4 w 14"/>
                <a:gd name="T11" fmla="*/ 0 h 15"/>
                <a:gd name="T12" fmla="*/ 0 w 14"/>
                <a:gd name="T13" fmla="*/ 3 h 15"/>
                <a:gd name="T14" fmla="*/ 1 w 14"/>
                <a:gd name="T1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5">
                  <a:moveTo>
                    <a:pt x="1" y="6"/>
                  </a:moveTo>
                  <a:cubicBezTo>
                    <a:pt x="1" y="9"/>
                    <a:pt x="4" y="9"/>
                    <a:pt x="4" y="11"/>
                  </a:cubicBezTo>
                  <a:cubicBezTo>
                    <a:pt x="7" y="14"/>
                    <a:pt x="10" y="14"/>
                    <a:pt x="13" y="14"/>
                  </a:cubicBezTo>
                  <a:lnTo>
                    <a:pt x="13" y="11"/>
                  </a:lnTo>
                  <a:cubicBezTo>
                    <a:pt x="10" y="11"/>
                    <a:pt x="10" y="9"/>
                    <a:pt x="7" y="6"/>
                  </a:cubicBezTo>
                  <a:cubicBezTo>
                    <a:pt x="7" y="3"/>
                    <a:pt x="7" y="3"/>
                    <a:pt x="4" y="0"/>
                  </a:cubicBezTo>
                  <a:cubicBezTo>
                    <a:pt x="1" y="0"/>
                    <a:pt x="1" y="0"/>
                    <a:pt x="0" y="3"/>
                  </a:cubicBezTo>
                  <a:lnTo>
                    <a:pt x="1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8" name="Freeform 703"/>
            <p:cNvSpPr>
              <a:spLocks noChangeArrowheads="1"/>
            </p:cNvSpPr>
            <p:nvPr/>
          </p:nvSpPr>
          <p:spPr bwMode="auto">
            <a:xfrm>
              <a:off x="4119563" y="2500313"/>
              <a:ext cx="1587" cy="1587"/>
            </a:xfrm>
            <a:custGeom>
              <a:avLst/>
              <a:gdLst>
                <a:gd name="T0" fmla="*/ 5 w 6"/>
                <a:gd name="T1" fmla="*/ 0 h 3"/>
                <a:gd name="T2" fmla="*/ 0 w 6"/>
                <a:gd name="T3" fmla="*/ 0 h 3"/>
                <a:gd name="T4" fmla="*/ 0 w 6"/>
                <a:gd name="T5" fmla="*/ 2 h 3"/>
                <a:gd name="T6" fmla="*/ 5 w 6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5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2"/>
                  </a:cubicBezTo>
                  <a:cubicBezTo>
                    <a:pt x="0" y="0"/>
                    <a:pt x="2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9" name="Freeform 704"/>
            <p:cNvSpPr>
              <a:spLocks noChangeArrowheads="1"/>
            </p:cNvSpPr>
            <p:nvPr/>
          </p:nvSpPr>
          <p:spPr bwMode="auto">
            <a:xfrm>
              <a:off x="4117975" y="2527300"/>
              <a:ext cx="6350" cy="6350"/>
            </a:xfrm>
            <a:custGeom>
              <a:avLst/>
              <a:gdLst>
                <a:gd name="T0" fmla="*/ 6 w 18"/>
                <a:gd name="T1" fmla="*/ 17 h 18"/>
                <a:gd name="T2" fmla="*/ 11 w 18"/>
                <a:gd name="T3" fmla="*/ 5 h 18"/>
                <a:gd name="T4" fmla="*/ 17 w 18"/>
                <a:gd name="T5" fmla="*/ 11 h 18"/>
                <a:gd name="T6" fmla="*/ 8 w 18"/>
                <a:gd name="T7" fmla="*/ 0 h 18"/>
                <a:gd name="T8" fmla="*/ 6 w 18"/>
                <a:gd name="T9" fmla="*/ 0 h 18"/>
                <a:gd name="T10" fmla="*/ 6 w 18"/>
                <a:gd name="T11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8">
                  <a:moveTo>
                    <a:pt x="6" y="17"/>
                  </a:moveTo>
                  <a:cubicBezTo>
                    <a:pt x="8" y="14"/>
                    <a:pt x="6" y="5"/>
                    <a:pt x="11" y="5"/>
                  </a:cubicBezTo>
                  <a:cubicBezTo>
                    <a:pt x="11" y="11"/>
                    <a:pt x="14" y="11"/>
                    <a:pt x="17" y="11"/>
                  </a:cubicBezTo>
                  <a:cubicBezTo>
                    <a:pt x="17" y="8"/>
                    <a:pt x="14" y="3"/>
                    <a:pt x="8" y="0"/>
                  </a:cubicBezTo>
                  <a:lnTo>
                    <a:pt x="6" y="0"/>
                  </a:lnTo>
                  <a:cubicBezTo>
                    <a:pt x="8" y="5"/>
                    <a:pt x="0" y="11"/>
                    <a:pt x="6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0" name="Freeform 705"/>
            <p:cNvSpPr>
              <a:spLocks noChangeArrowheads="1"/>
            </p:cNvSpPr>
            <p:nvPr/>
          </p:nvSpPr>
          <p:spPr bwMode="auto">
            <a:xfrm>
              <a:off x="4114800" y="3000375"/>
              <a:ext cx="6350" cy="4763"/>
            </a:xfrm>
            <a:custGeom>
              <a:avLst/>
              <a:gdLst>
                <a:gd name="T0" fmla="*/ 6 w 18"/>
                <a:gd name="T1" fmla="*/ 0 h 15"/>
                <a:gd name="T2" fmla="*/ 6 w 18"/>
                <a:gd name="T3" fmla="*/ 0 h 15"/>
                <a:gd name="T4" fmla="*/ 12 w 18"/>
                <a:gd name="T5" fmla="*/ 12 h 15"/>
                <a:gd name="T6" fmla="*/ 6 w 18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6" y="0"/>
                  </a:moveTo>
                  <a:lnTo>
                    <a:pt x="6" y="0"/>
                  </a:lnTo>
                  <a:cubicBezTo>
                    <a:pt x="0" y="6"/>
                    <a:pt x="0" y="14"/>
                    <a:pt x="12" y="12"/>
                  </a:cubicBezTo>
                  <a:cubicBezTo>
                    <a:pt x="17" y="9"/>
                    <a:pt x="12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1" name="Freeform 706"/>
            <p:cNvSpPr>
              <a:spLocks noChangeArrowheads="1"/>
            </p:cNvSpPr>
            <p:nvPr/>
          </p:nvSpPr>
          <p:spPr bwMode="auto">
            <a:xfrm>
              <a:off x="4086225" y="2708275"/>
              <a:ext cx="3175" cy="1588"/>
            </a:xfrm>
            <a:custGeom>
              <a:avLst/>
              <a:gdLst>
                <a:gd name="T0" fmla="*/ 1 w 7"/>
                <a:gd name="T1" fmla="*/ 3 h 6"/>
                <a:gd name="T2" fmla="*/ 3 w 7"/>
                <a:gd name="T3" fmla="*/ 5 h 6"/>
                <a:gd name="T4" fmla="*/ 6 w 7"/>
                <a:gd name="T5" fmla="*/ 0 h 6"/>
                <a:gd name="T6" fmla="*/ 1 w 7"/>
                <a:gd name="T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1" y="3"/>
                  </a:moveTo>
                  <a:cubicBezTo>
                    <a:pt x="1" y="3"/>
                    <a:pt x="0" y="5"/>
                    <a:pt x="3" y="5"/>
                  </a:cubicBezTo>
                  <a:cubicBezTo>
                    <a:pt x="5" y="5"/>
                    <a:pt x="6" y="3"/>
                    <a:pt x="6" y="0"/>
                  </a:cubicBezTo>
                  <a:cubicBezTo>
                    <a:pt x="3" y="0"/>
                    <a:pt x="1" y="0"/>
                    <a:pt x="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2" name="Freeform 707"/>
            <p:cNvSpPr>
              <a:spLocks noChangeArrowheads="1"/>
            </p:cNvSpPr>
            <p:nvPr/>
          </p:nvSpPr>
          <p:spPr bwMode="auto">
            <a:xfrm>
              <a:off x="4098925" y="2887663"/>
              <a:ext cx="3175" cy="4762"/>
            </a:xfrm>
            <a:custGeom>
              <a:avLst/>
              <a:gdLst>
                <a:gd name="T0" fmla="*/ 0 w 10"/>
                <a:gd name="T1" fmla="*/ 3 h 12"/>
                <a:gd name="T2" fmla="*/ 9 w 10"/>
                <a:gd name="T3" fmla="*/ 11 h 12"/>
                <a:gd name="T4" fmla="*/ 0 w 10"/>
                <a:gd name="T5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0" y="3"/>
                  </a:moveTo>
                  <a:cubicBezTo>
                    <a:pt x="0" y="9"/>
                    <a:pt x="6" y="11"/>
                    <a:pt x="9" y="11"/>
                  </a:cubicBezTo>
                  <a:cubicBezTo>
                    <a:pt x="9" y="6"/>
                    <a:pt x="9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3" name="Freeform 708"/>
            <p:cNvSpPr>
              <a:spLocks noChangeArrowheads="1"/>
            </p:cNvSpPr>
            <p:nvPr/>
          </p:nvSpPr>
          <p:spPr bwMode="auto">
            <a:xfrm>
              <a:off x="4108450" y="2405063"/>
              <a:ext cx="4763" cy="6350"/>
            </a:xfrm>
            <a:custGeom>
              <a:avLst/>
              <a:gdLst>
                <a:gd name="T0" fmla="*/ 11 w 15"/>
                <a:gd name="T1" fmla="*/ 0 h 18"/>
                <a:gd name="T2" fmla="*/ 0 w 15"/>
                <a:gd name="T3" fmla="*/ 6 h 18"/>
                <a:gd name="T4" fmla="*/ 2 w 15"/>
                <a:gd name="T5" fmla="*/ 15 h 18"/>
                <a:gd name="T6" fmla="*/ 14 w 15"/>
                <a:gd name="T7" fmla="*/ 9 h 18"/>
                <a:gd name="T8" fmla="*/ 11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11" y="0"/>
                  </a:moveTo>
                  <a:cubicBezTo>
                    <a:pt x="8" y="0"/>
                    <a:pt x="2" y="0"/>
                    <a:pt x="0" y="6"/>
                  </a:cubicBezTo>
                  <a:cubicBezTo>
                    <a:pt x="0" y="9"/>
                    <a:pt x="0" y="12"/>
                    <a:pt x="2" y="15"/>
                  </a:cubicBezTo>
                  <a:cubicBezTo>
                    <a:pt x="5" y="17"/>
                    <a:pt x="8" y="12"/>
                    <a:pt x="14" y="9"/>
                  </a:cubicBezTo>
                  <a:cubicBezTo>
                    <a:pt x="14" y="3"/>
                    <a:pt x="11" y="0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4" name="Freeform 709"/>
            <p:cNvSpPr>
              <a:spLocks noChangeArrowheads="1"/>
            </p:cNvSpPr>
            <p:nvPr/>
          </p:nvSpPr>
          <p:spPr bwMode="auto">
            <a:xfrm>
              <a:off x="4111625" y="2409825"/>
              <a:ext cx="4763" cy="4763"/>
            </a:xfrm>
            <a:custGeom>
              <a:avLst/>
              <a:gdLst>
                <a:gd name="T0" fmla="*/ 3 w 15"/>
                <a:gd name="T1" fmla="*/ 14 h 15"/>
                <a:gd name="T2" fmla="*/ 8 w 15"/>
                <a:gd name="T3" fmla="*/ 14 h 15"/>
                <a:gd name="T4" fmla="*/ 3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3" y="14"/>
                  </a:moveTo>
                  <a:lnTo>
                    <a:pt x="8" y="14"/>
                  </a:lnTo>
                  <a:cubicBezTo>
                    <a:pt x="14" y="8"/>
                    <a:pt x="0" y="0"/>
                    <a:pt x="3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5" name="Freeform 710"/>
            <p:cNvSpPr>
              <a:spLocks noChangeArrowheads="1"/>
            </p:cNvSpPr>
            <p:nvPr/>
          </p:nvSpPr>
          <p:spPr bwMode="auto">
            <a:xfrm>
              <a:off x="4106863" y="2876550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0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0"/>
                    <a:pt x="3" y="0"/>
                  </a:cubicBezTo>
                  <a:lnTo>
                    <a:pt x="0" y="0"/>
                  </a:lnTo>
                  <a:cubicBezTo>
                    <a:pt x="0" y="3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6" name="Freeform 711"/>
            <p:cNvSpPr>
              <a:spLocks noChangeArrowheads="1"/>
            </p:cNvSpPr>
            <p:nvPr/>
          </p:nvSpPr>
          <p:spPr bwMode="auto">
            <a:xfrm>
              <a:off x="4127500" y="2976563"/>
              <a:ext cx="6350" cy="7937"/>
            </a:xfrm>
            <a:custGeom>
              <a:avLst/>
              <a:gdLst>
                <a:gd name="T0" fmla="*/ 6 w 18"/>
                <a:gd name="T1" fmla="*/ 0 h 21"/>
                <a:gd name="T2" fmla="*/ 0 w 18"/>
                <a:gd name="T3" fmla="*/ 6 h 21"/>
                <a:gd name="T4" fmla="*/ 3 w 18"/>
                <a:gd name="T5" fmla="*/ 20 h 21"/>
                <a:gd name="T6" fmla="*/ 14 w 18"/>
                <a:gd name="T7" fmla="*/ 14 h 21"/>
                <a:gd name="T8" fmla="*/ 6 w 18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1">
                  <a:moveTo>
                    <a:pt x="6" y="0"/>
                  </a:moveTo>
                  <a:cubicBezTo>
                    <a:pt x="3" y="0"/>
                    <a:pt x="3" y="3"/>
                    <a:pt x="0" y="6"/>
                  </a:cubicBezTo>
                  <a:cubicBezTo>
                    <a:pt x="0" y="12"/>
                    <a:pt x="0" y="14"/>
                    <a:pt x="3" y="20"/>
                  </a:cubicBezTo>
                  <a:cubicBezTo>
                    <a:pt x="6" y="17"/>
                    <a:pt x="12" y="17"/>
                    <a:pt x="14" y="14"/>
                  </a:cubicBezTo>
                  <a:cubicBezTo>
                    <a:pt x="17" y="3"/>
                    <a:pt x="6" y="9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7" name="Freeform 712"/>
            <p:cNvSpPr>
              <a:spLocks noChangeArrowheads="1"/>
            </p:cNvSpPr>
            <p:nvPr/>
          </p:nvSpPr>
          <p:spPr bwMode="auto">
            <a:xfrm>
              <a:off x="4111625" y="2981325"/>
              <a:ext cx="3175" cy="4763"/>
            </a:xfrm>
            <a:custGeom>
              <a:avLst/>
              <a:gdLst>
                <a:gd name="T0" fmla="*/ 0 w 10"/>
                <a:gd name="T1" fmla="*/ 5 h 12"/>
                <a:gd name="T2" fmla="*/ 9 w 10"/>
                <a:gd name="T3" fmla="*/ 8 h 12"/>
                <a:gd name="T4" fmla="*/ 9 w 10"/>
                <a:gd name="T5" fmla="*/ 8 h 12"/>
                <a:gd name="T6" fmla="*/ 0 w 10"/>
                <a:gd name="T7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0" y="5"/>
                  </a:moveTo>
                  <a:cubicBezTo>
                    <a:pt x="0" y="8"/>
                    <a:pt x="3" y="11"/>
                    <a:pt x="9" y="8"/>
                  </a:cubicBezTo>
                  <a:lnTo>
                    <a:pt x="9" y="8"/>
                  </a:lnTo>
                  <a:cubicBezTo>
                    <a:pt x="3" y="8"/>
                    <a:pt x="6" y="0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8" name="Freeform 713"/>
            <p:cNvSpPr>
              <a:spLocks noChangeArrowheads="1"/>
            </p:cNvSpPr>
            <p:nvPr/>
          </p:nvSpPr>
          <p:spPr bwMode="auto">
            <a:xfrm>
              <a:off x="4111625" y="3067050"/>
              <a:ext cx="4763" cy="3175"/>
            </a:xfrm>
            <a:custGeom>
              <a:avLst/>
              <a:gdLst>
                <a:gd name="T0" fmla="*/ 0 w 12"/>
                <a:gd name="T1" fmla="*/ 0 h 10"/>
                <a:gd name="T2" fmla="*/ 9 w 12"/>
                <a:gd name="T3" fmla="*/ 9 h 10"/>
                <a:gd name="T4" fmla="*/ 0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cubicBezTo>
                    <a:pt x="0" y="6"/>
                    <a:pt x="3" y="9"/>
                    <a:pt x="9" y="9"/>
                  </a:cubicBezTo>
                  <a:cubicBezTo>
                    <a:pt x="11" y="0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9" name="Freeform 714"/>
            <p:cNvSpPr>
              <a:spLocks noChangeArrowheads="1"/>
            </p:cNvSpPr>
            <p:nvPr/>
          </p:nvSpPr>
          <p:spPr bwMode="auto">
            <a:xfrm>
              <a:off x="4119563" y="2800350"/>
              <a:ext cx="1587" cy="1588"/>
            </a:xfrm>
            <a:custGeom>
              <a:avLst/>
              <a:gdLst>
                <a:gd name="T0" fmla="*/ 0 w 6"/>
                <a:gd name="T1" fmla="*/ 0 h 4"/>
                <a:gd name="T2" fmla="*/ 5 w 6"/>
                <a:gd name="T3" fmla="*/ 3 h 4"/>
                <a:gd name="T4" fmla="*/ 0 w 6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cubicBezTo>
                    <a:pt x="2" y="0"/>
                    <a:pt x="2" y="0"/>
                    <a:pt x="5" y="3"/>
                  </a:cubicBezTo>
                  <a:cubicBezTo>
                    <a:pt x="2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0" name="Freeform 715"/>
            <p:cNvSpPr>
              <a:spLocks noChangeArrowheads="1"/>
            </p:cNvSpPr>
            <p:nvPr/>
          </p:nvSpPr>
          <p:spPr bwMode="auto">
            <a:xfrm>
              <a:off x="4114800" y="2297113"/>
              <a:ext cx="3175" cy="1587"/>
            </a:xfrm>
            <a:custGeom>
              <a:avLst/>
              <a:gdLst>
                <a:gd name="T0" fmla="*/ 0 w 9"/>
                <a:gd name="T1" fmla="*/ 2 h 6"/>
                <a:gd name="T2" fmla="*/ 8 w 9"/>
                <a:gd name="T3" fmla="*/ 0 h 6"/>
                <a:gd name="T4" fmla="*/ 8 w 9"/>
                <a:gd name="T5" fmla="*/ 0 h 6"/>
                <a:gd name="T6" fmla="*/ 0 w 9"/>
                <a:gd name="T7" fmla="*/ 0 h 6"/>
                <a:gd name="T8" fmla="*/ 0 w 9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0" y="2"/>
                  </a:moveTo>
                  <a:cubicBezTo>
                    <a:pt x="2" y="5"/>
                    <a:pt x="5" y="2"/>
                    <a:pt x="8" y="0"/>
                  </a:cubicBezTo>
                  <a:lnTo>
                    <a:pt x="8" y="0"/>
                  </a:lnTo>
                  <a:cubicBezTo>
                    <a:pt x="5" y="0"/>
                    <a:pt x="2" y="0"/>
                    <a:pt x="0" y="0"/>
                  </a:cubicBezTo>
                  <a:lnTo>
                    <a:pt x="0" y="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1" name="Freeform 716"/>
            <p:cNvSpPr>
              <a:spLocks noChangeArrowheads="1"/>
            </p:cNvSpPr>
            <p:nvPr/>
          </p:nvSpPr>
          <p:spPr bwMode="auto">
            <a:xfrm>
              <a:off x="4122738" y="2900363"/>
              <a:ext cx="3175" cy="3175"/>
            </a:xfrm>
            <a:custGeom>
              <a:avLst/>
              <a:gdLst>
                <a:gd name="T0" fmla="*/ 0 w 11"/>
                <a:gd name="T1" fmla="*/ 6 h 7"/>
                <a:gd name="T2" fmla="*/ 10 w 11"/>
                <a:gd name="T3" fmla="*/ 3 h 7"/>
                <a:gd name="T4" fmla="*/ 10 w 11"/>
                <a:gd name="T5" fmla="*/ 0 h 7"/>
                <a:gd name="T6" fmla="*/ 0 w 11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7">
                  <a:moveTo>
                    <a:pt x="0" y="6"/>
                  </a:moveTo>
                  <a:cubicBezTo>
                    <a:pt x="3" y="6"/>
                    <a:pt x="6" y="3"/>
                    <a:pt x="10" y="3"/>
                  </a:cubicBezTo>
                  <a:lnTo>
                    <a:pt x="10" y="0"/>
                  </a:lnTo>
                  <a:cubicBezTo>
                    <a:pt x="6" y="0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2" name="Freeform 717"/>
            <p:cNvSpPr>
              <a:spLocks noChangeArrowheads="1"/>
            </p:cNvSpPr>
            <p:nvPr/>
          </p:nvSpPr>
          <p:spPr bwMode="auto">
            <a:xfrm>
              <a:off x="4119563" y="2795588"/>
              <a:ext cx="1587" cy="1587"/>
            </a:xfrm>
            <a:custGeom>
              <a:avLst/>
              <a:gdLst>
                <a:gd name="T0" fmla="*/ 3 w 4"/>
                <a:gd name="T1" fmla="*/ 3 h 4"/>
                <a:gd name="T2" fmla="*/ 3 w 4"/>
                <a:gd name="T3" fmla="*/ 0 h 4"/>
                <a:gd name="T4" fmla="*/ 0 w 4"/>
                <a:gd name="T5" fmla="*/ 3 h 4"/>
                <a:gd name="T6" fmla="*/ 3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lnTo>
                    <a:pt x="3" y="0"/>
                  </a:lnTo>
                  <a:lnTo>
                    <a:pt x="0" y="3"/>
                  </a:lnTo>
                  <a:cubicBezTo>
                    <a:pt x="0" y="3"/>
                    <a:pt x="0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3" name="Freeform 718"/>
            <p:cNvSpPr>
              <a:spLocks noChangeArrowheads="1"/>
            </p:cNvSpPr>
            <p:nvPr/>
          </p:nvSpPr>
          <p:spPr bwMode="auto">
            <a:xfrm>
              <a:off x="4090988" y="2986088"/>
              <a:ext cx="3175" cy="4762"/>
            </a:xfrm>
            <a:custGeom>
              <a:avLst/>
              <a:gdLst>
                <a:gd name="T0" fmla="*/ 5 w 9"/>
                <a:gd name="T1" fmla="*/ 0 h 12"/>
                <a:gd name="T2" fmla="*/ 0 w 9"/>
                <a:gd name="T3" fmla="*/ 8 h 12"/>
                <a:gd name="T4" fmla="*/ 2 w 9"/>
                <a:gd name="T5" fmla="*/ 11 h 12"/>
                <a:gd name="T6" fmla="*/ 5 w 9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5" y="0"/>
                  </a:moveTo>
                  <a:cubicBezTo>
                    <a:pt x="5" y="6"/>
                    <a:pt x="2" y="6"/>
                    <a:pt x="0" y="8"/>
                  </a:cubicBezTo>
                  <a:lnTo>
                    <a:pt x="2" y="11"/>
                  </a:lnTo>
                  <a:cubicBezTo>
                    <a:pt x="5" y="8"/>
                    <a:pt x="8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4" name="Freeform 719"/>
            <p:cNvSpPr>
              <a:spLocks noChangeArrowheads="1"/>
            </p:cNvSpPr>
            <p:nvPr/>
          </p:nvSpPr>
          <p:spPr bwMode="auto">
            <a:xfrm>
              <a:off x="4141788" y="2990850"/>
              <a:ext cx="4762" cy="7938"/>
            </a:xfrm>
            <a:custGeom>
              <a:avLst/>
              <a:gdLst>
                <a:gd name="T0" fmla="*/ 5 w 15"/>
                <a:gd name="T1" fmla="*/ 22 h 23"/>
                <a:gd name="T2" fmla="*/ 11 w 15"/>
                <a:gd name="T3" fmla="*/ 17 h 23"/>
                <a:gd name="T4" fmla="*/ 8 w 15"/>
                <a:gd name="T5" fmla="*/ 8 h 23"/>
                <a:gd name="T6" fmla="*/ 14 w 15"/>
                <a:gd name="T7" fmla="*/ 8 h 23"/>
                <a:gd name="T8" fmla="*/ 14 w 15"/>
                <a:gd name="T9" fmla="*/ 0 h 23"/>
                <a:gd name="T10" fmla="*/ 8 w 15"/>
                <a:gd name="T11" fmla="*/ 3 h 23"/>
                <a:gd name="T12" fmla="*/ 8 w 15"/>
                <a:gd name="T13" fmla="*/ 3 h 23"/>
                <a:gd name="T14" fmla="*/ 5 w 15"/>
                <a:gd name="T15" fmla="*/ 3 h 23"/>
                <a:gd name="T16" fmla="*/ 0 w 15"/>
                <a:gd name="T17" fmla="*/ 11 h 23"/>
                <a:gd name="T18" fmla="*/ 0 w 15"/>
                <a:gd name="T19" fmla="*/ 17 h 23"/>
                <a:gd name="T20" fmla="*/ 5 w 15"/>
                <a:gd name="T21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3">
                  <a:moveTo>
                    <a:pt x="5" y="22"/>
                  </a:moveTo>
                  <a:cubicBezTo>
                    <a:pt x="5" y="20"/>
                    <a:pt x="8" y="20"/>
                    <a:pt x="11" y="17"/>
                  </a:cubicBezTo>
                  <a:cubicBezTo>
                    <a:pt x="11" y="14"/>
                    <a:pt x="8" y="11"/>
                    <a:pt x="8" y="8"/>
                  </a:cubicBezTo>
                  <a:lnTo>
                    <a:pt x="14" y="8"/>
                  </a:lnTo>
                  <a:cubicBezTo>
                    <a:pt x="14" y="6"/>
                    <a:pt x="14" y="3"/>
                    <a:pt x="14" y="0"/>
                  </a:cubicBezTo>
                  <a:cubicBezTo>
                    <a:pt x="11" y="3"/>
                    <a:pt x="11" y="3"/>
                    <a:pt x="8" y="3"/>
                  </a:cubicBezTo>
                  <a:lnTo>
                    <a:pt x="8" y="3"/>
                  </a:lnTo>
                  <a:lnTo>
                    <a:pt x="5" y="3"/>
                  </a:lnTo>
                  <a:cubicBezTo>
                    <a:pt x="2" y="6"/>
                    <a:pt x="2" y="8"/>
                    <a:pt x="0" y="11"/>
                  </a:cubicBezTo>
                  <a:cubicBezTo>
                    <a:pt x="0" y="14"/>
                    <a:pt x="0" y="14"/>
                    <a:pt x="0" y="17"/>
                  </a:cubicBezTo>
                  <a:cubicBezTo>
                    <a:pt x="2" y="20"/>
                    <a:pt x="5" y="22"/>
                    <a:pt x="5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5" name="Freeform 720"/>
            <p:cNvSpPr>
              <a:spLocks noChangeArrowheads="1"/>
            </p:cNvSpPr>
            <p:nvPr/>
          </p:nvSpPr>
          <p:spPr bwMode="auto">
            <a:xfrm>
              <a:off x="4089400" y="2574925"/>
              <a:ext cx="1588" cy="1588"/>
            </a:xfrm>
            <a:custGeom>
              <a:avLst/>
              <a:gdLst>
                <a:gd name="T0" fmla="*/ 3 w 4"/>
                <a:gd name="T1" fmla="*/ 0 h 6"/>
                <a:gd name="T2" fmla="*/ 0 w 4"/>
                <a:gd name="T3" fmla="*/ 5 h 6"/>
                <a:gd name="T4" fmla="*/ 3 w 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3" y="0"/>
                  </a:moveTo>
                  <a:cubicBezTo>
                    <a:pt x="0" y="0"/>
                    <a:pt x="0" y="2"/>
                    <a:pt x="0" y="5"/>
                  </a:cubicBezTo>
                  <a:cubicBezTo>
                    <a:pt x="0" y="2"/>
                    <a:pt x="3" y="2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6" name="Freeform 721"/>
            <p:cNvSpPr>
              <a:spLocks noChangeArrowheads="1"/>
            </p:cNvSpPr>
            <p:nvPr/>
          </p:nvSpPr>
          <p:spPr bwMode="auto">
            <a:xfrm>
              <a:off x="4138613" y="2738438"/>
              <a:ext cx="3175" cy="3175"/>
            </a:xfrm>
            <a:custGeom>
              <a:avLst/>
              <a:gdLst>
                <a:gd name="T0" fmla="*/ 0 w 10"/>
                <a:gd name="T1" fmla="*/ 8 h 9"/>
                <a:gd name="T2" fmla="*/ 9 w 10"/>
                <a:gd name="T3" fmla="*/ 8 h 9"/>
                <a:gd name="T4" fmla="*/ 9 w 10"/>
                <a:gd name="T5" fmla="*/ 0 h 9"/>
                <a:gd name="T6" fmla="*/ 0 w 10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0" y="8"/>
                  </a:moveTo>
                  <a:lnTo>
                    <a:pt x="9" y="8"/>
                  </a:lnTo>
                  <a:lnTo>
                    <a:pt x="9" y="0"/>
                  </a:lnTo>
                  <a:cubicBezTo>
                    <a:pt x="0" y="0"/>
                    <a:pt x="0" y="2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7" name="Freeform 722"/>
            <p:cNvSpPr>
              <a:spLocks noChangeArrowheads="1"/>
            </p:cNvSpPr>
            <p:nvPr/>
          </p:nvSpPr>
          <p:spPr bwMode="auto">
            <a:xfrm>
              <a:off x="4138613" y="2533650"/>
              <a:ext cx="3175" cy="1588"/>
            </a:xfrm>
            <a:custGeom>
              <a:avLst/>
              <a:gdLst>
                <a:gd name="T0" fmla="*/ 0 w 10"/>
                <a:gd name="T1" fmla="*/ 0 h 3"/>
                <a:gd name="T2" fmla="*/ 0 w 10"/>
                <a:gd name="T3" fmla="*/ 2 h 3"/>
                <a:gd name="T4" fmla="*/ 9 w 10"/>
                <a:gd name="T5" fmla="*/ 0 h 3"/>
                <a:gd name="T6" fmla="*/ 0 w 10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">
                  <a:moveTo>
                    <a:pt x="0" y="0"/>
                  </a:moveTo>
                  <a:lnTo>
                    <a:pt x="0" y="2"/>
                  </a:lnTo>
                  <a:cubicBezTo>
                    <a:pt x="3" y="2"/>
                    <a:pt x="9" y="2"/>
                    <a:pt x="9" y="0"/>
                  </a:cubicBezTo>
                  <a:cubicBezTo>
                    <a:pt x="6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8" name="Freeform 723"/>
            <p:cNvSpPr>
              <a:spLocks noChangeArrowheads="1"/>
            </p:cNvSpPr>
            <p:nvPr/>
          </p:nvSpPr>
          <p:spPr bwMode="auto">
            <a:xfrm>
              <a:off x="4144963" y="2490788"/>
              <a:ext cx="11112" cy="9525"/>
            </a:xfrm>
            <a:custGeom>
              <a:avLst/>
              <a:gdLst>
                <a:gd name="T0" fmla="*/ 17 w 29"/>
                <a:gd name="T1" fmla="*/ 11 h 27"/>
                <a:gd name="T2" fmla="*/ 28 w 29"/>
                <a:gd name="T3" fmla="*/ 17 h 27"/>
                <a:gd name="T4" fmla="*/ 6 w 29"/>
                <a:gd name="T5" fmla="*/ 0 h 27"/>
                <a:gd name="T6" fmla="*/ 17 w 29"/>
                <a:gd name="T7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27">
                  <a:moveTo>
                    <a:pt x="17" y="11"/>
                  </a:moveTo>
                  <a:cubicBezTo>
                    <a:pt x="20" y="17"/>
                    <a:pt x="26" y="26"/>
                    <a:pt x="28" y="17"/>
                  </a:cubicBezTo>
                  <a:cubicBezTo>
                    <a:pt x="17" y="14"/>
                    <a:pt x="17" y="3"/>
                    <a:pt x="6" y="0"/>
                  </a:cubicBezTo>
                  <a:cubicBezTo>
                    <a:pt x="0" y="3"/>
                    <a:pt x="9" y="9"/>
                    <a:pt x="17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9" name="Freeform 724"/>
            <p:cNvSpPr>
              <a:spLocks noChangeArrowheads="1"/>
            </p:cNvSpPr>
            <p:nvPr/>
          </p:nvSpPr>
          <p:spPr bwMode="auto">
            <a:xfrm>
              <a:off x="4083050" y="2195513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8 w 9"/>
                <a:gd name="T3" fmla="*/ 8 h 9"/>
                <a:gd name="T4" fmla="*/ 8 w 9"/>
                <a:gd name="T5" fmla="*/ 0 h 9"/>
                <a:gd name="T6" fmla="*/ 0 w 9"/>
                <a:gd name="T7" fmla="*/ 0 h 9"/>
                <a:gd name="T8" fmla="*/ 8 w 9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lnTo>
                    <a:pt x="8" y="8"/>
                  </a:lnTo>
                  <a:cubicBezTo>
                    <a:pt x="8" y="5"/>
                    <a:pt x="8" y="2"/>
                    <a:pt x="8" y="0"/>
                  </a:cubicBezTo>
                  <a:cubicBezTo>
                    <a:pt x="6" y="0"/>
                    <a:pt x="3" y="2"/>
                    <a:pt x="0" y="0"/>
                  </a:cubicBezTo>
                  <a:cubicBezTo>
                    <a:pt x="0" y="5"/>
                    <a:pt x="3" y="8"/>
                    <a:pt x="8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0" name="Freeform 725"/>
            <p:cNvSpPr>
              <a:spLocks noChangeArrowheads="1"/>
            </p:cNvSpPr>
            <p:nvPr/>
          </p:nvSpPr>
          <p:spPr bwMode="auto">
            <a:xfrm>
              <a:off x="4086225" y="2284413"/>
              <a:ext cx="3175" cy="4762"/>
            </a:xfrm>
            <a:custGeom>
              <a:avLst/>
              <a:gdLst>
                <a:gd name="T0" fmla="*/ 0 w 9"/>
                <a:gd name="T1" fmla="*/ 0 h 15"/>
                <a:gd name="T2" fmla="*/ 0 w 9"/>
                <a:gd name="T3" fmla="*/ 14 h 15"/>
                <a:gd name="T4" fmla="*/ 8 w 9"/>
                <a:gd name="T5" fmla="*/ 11 h 15"/>
                <a:gd name="T6" fmla="*/ 0 w 9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5">
                  <a:moveTo>
                    <a:pt x="0" y="0"/>
                  </a:moveTo>
                  <a:cubicBezTo>
                    <a:pt x="0" y="5"/>
                    <a:pt x="0" y="8"/>
                    <a:pt x="0" y="14"/>
                  </a:cubicBezTo>
                  <a:cubicBezTo>
                    <a:pt x="2" y="14"/>
                    <a:pt x="5" y="11"/>
                    <a:pt x="8" y="11"/>
                  </a:cubicBezTo>
                  <a:cubicBezTo>
                    <a:pt x="2" y="8"/>
                    <a:pt x="5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1" name="Freeform 726"/>
            <p:cNvSpPr>
              <a:spLocks noChangeArrowheads="1"/>
            </p:cNvSpPr>
            <p:nvPr/>
          </p:nvSpPr>
          <p:spPr bwMode="auto">
            <a:xfrm>
              <a:off x="4149725" y="2462213"/>
              <a:ext cx="9525" cy="9525"/>
            </a:xfrm>
            <a:custGeom>
              <a:avLst/>
              <a:gdLst>
                <a:gd name="T0" fmla="*/ 11 w 27"/>
                <a:gd name="T1" fmla="*/ 26 h 27"/>
                <a:gd name="T2" fmla="*/ 14 w 27"/>
                <a:gd name="T3" fmla="*/ 26 h 27"/>
                <a:gd name="T4" fmla="*/ 14 w 27"/>
                <a:gd name="T5" fmla="*/ 26 h 27"/>
                <a:gd name="T6" fmla="*/ 14 w 27"/>
                <a:gd name="T7" fmla="*/ 11 h 27"/>
                <a:gd name="T8" fmla="*/ 26 w 27"/>
                <a:gd name="T9" fmla="*/ 6 h 27"/>
                <a:gd name="T10" fmla="*/ 14 w 27"/>
                <a:gd name="T11" fmla="*/ 0 h 27"/>
                <a:gd name="T12" fmla="*/ 11 w 27"/>
                <a:gd name="T13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7">
                  <a:moveTo>
                    <a:pt x="11" y="26"/>
                  </a:moveTo>
                  <a:lnTo>
                    <a:pt x="14" y="26"/>
                  </a:lnTo>
                  <a:lnTo>
                    <a:pt x="14" y="26"/>
                  </a:lnTo>
                  <a:lnTo>
                    <a:pt x="14" y="11"/>
                  </a:lnTo>
                  <a:cubicBezTo>
                    <a:pt x="17" y="9"/>
                    <a:pt x="23" y="9"/>
                    <a:pt x="26" y="6"/>
                  </a:cubicBezTo>
                  <a:cubicBezTo>
                    <a:pt x="23" y="3"/>
                    <a:pt x="17" y="3"/>
                    <a:pt x="14" y="0"/>
                  </a:cubicBezTo>
                  <a:cubicBezTo>
                    <a:pt x="6" y="3"/>
                    <a:pt x="0" y="20"/>
                    <a:pt x="11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2" name="Freeform 727"/>
            <p:cNvSpPr>
              <a:spLocks noChangeArrowheads="1"/>
            </p:cNvSpPr>
            <p:nvPr/>
          </p:nvSpPr>
          <p:spPr bwMode="auto">
            <a:xfrm>
              <a:off x="4138613" y="2460625"/>
              <a:ext cx="1587" cy="4763"/>
            </a:xfrm>
            <a:custGeom>
              <a:avLst/>
              <a:gdLst>
                <a:gd name="T0" fmla="*/ 3 w 4"/>
                <a:gd name="T1" fmla="*/ 0 h 15"/>
                <a:gd name="T2" fmla="*/ 3 w 4"/>
                <a:gd name="T3" fmla="*/ 14 h 15"/>
                <a:gd name="T4" fmla="*/ 3 w 4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5">
                  <a:moveTo>
                    <a:pt x="3" y="0"/>
                  </a:moveTo>
                  <a:cubicBezTo>
                    <a:pt x="0" y="3"/>
                    <a:pt x="0" y="8"/>
                    <a:pt x="3" y="14"/>
                  </a:cubicBezTo>
                  <a:cubicBezTo>
                    <a:pt x="3" y="8"/>
                    <a:pt x="3" y="5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3" name="Freeform 728"/>
            <p:cNvSpPr>
              <a:spLocks noChangeArrowheads="1"/>
            </p:cNvSpPr>
            <p:nvPr/>
          </p:nvSpPr>
          <p:spPr bwMode="auto">
            <a:xfrm>
              <a:off x="4086225" y="2276475"/>
              <a:ext cx="3175" cy="1588"/>
            </a:xfrm>
            <a:custGeom>
              <a:avLst/>
              <a:gdLst>
                <a:gd name="T0" fmla="*/ 6 w 7"/>
                <a:gd name="T1" fmla="*/ 3 h 4"/>
                <a:gd name="T2" fmla="*/ 0 w 7"/>
                <a:gd name="T3" fmla="*/ 0 h 4"/>
                <a:gd name="T4" fmla="*/ 6 w 7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3"/>
                  </a:moveTo>
                  <a:cubicBezTo>
                    <a:pt x="3" y="0"/>
                    <a:pt x="3" y="0"/>
                    <a:pt x="0" y="0"/>
                  </a:cubicBezTo>
                  <a:cubicBezTo>
                    <a:pt x="0" y="3"/>
                    <a:pt x="3" y="3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4" name="Freeform 729"/>
            <p:cNvSpPr>
              <a:spLocks noChangeArrowheads="1"/>
            </p:cNvSpPr>
            <p:nvPr/>
          </p:nvSpPr>
          <p:spPr bwMode="auto">
            <a:xfrm>
              <a:off x="4079875" y="2255838"/>
              <a:ext cx="6350" cy="7937"/>
            </a:xfrm>
            <a:custGeom>
              <a:avLst/>
              <a:gdLst>
                <a:gd name="T0" fmla="*/ 12 w 18"/>
                <a:gd name="T1" fmla="*/ 0 h 23"/>
                <a:gd name="T2" fmla="*/ 12 w 18"/>
                <a:gd name="T3" fmla="*/ 0 h 23"/>
                <a:gd name="T4" fmla="*/ 15 w 18"/>
                <a:gd name="T5" fmla="*/ 22 h 23"/>
                <a:gd name="T6" fmla="*/ 17 w 18"/>
                <a:gd name="T7" fmla="*/ 17 h 23"/>
                <a:gd name="T8" fmla="*/ 12 w 18"/>
                <a:gd name="T9" fmla="*/ 17 h 23"/>
                <a:gd name="T10" fmla="*/ 12 w 18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3">
                  <a:moveTo>
                    <a:pt x="12" y="0"/>
                  </a:moveTo>
                  <a:lnTo>
                    <a:pt x="12" y="0"/>
                  </a:lnTo>
                  <a:cubicBezTo>
                    <a:pt x="15" y="11"/>
                    <a:pt x="0" y="22"/>
                    <a:pt x="15" y="22"/>
                  </a:cubicBezTo>
                  <a:cubicBezTo>
                    <a:pt x="15" y="20"/>
                    <a:pt x="17" y="20"/>
                    <a:pt x="17" y="17"/>
                  </a:cubicBezTo>
                  <a:cubicBezTo>
                    <a:pt x="15" y="17"/>
                    <a:pt x="12" y="17"/>
                    <a:pt x="12" y="17"/>
                  </a:cubicBezTo>
                  <a:cubicBezTo>
                    <a:pt x="17" y="8"/>
                    <a:pt x="15" y="3"/>
                    <a:pt x="1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5" name="Freeform 730"/>
            <p:cNvSpPr>
              <a:spLocks noChangeArrowheads="1"/>
            </p:cNvSpPr>
            <p:nvPr/>
          </p:nvSpPr>
          <p:spPr bwMode="auto">
            <a:xfrm>
              <a:off x="4137025" y="2170113"/>
              <a:ext cx="4763" cy="4762"/>
            </a:xfrm>
            <a:custGeom>
              <a:avLst/>
              <a:gdLst>
                <a:gd name="T0" fmla="*/ 2 w 15"/>
                <a:gd name="T1" fmla="*/ 0 h 15"/>
                <a:gd name="T2" fmla="*/ 2 w 15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2" y="0"/>
                  </a:moveTo>
                  <a:cubicBezTo>
                    <a:pt x="0" y="14"/>
                    <a:pt x="14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6" name="Freeform 731"/>
            <p:cNvSpPr>
              <a:spLocks noChangeArrowheads="1"/>
            </p:cNvSpPr>
            <p:nvPr/>
          </p:nvSpPr>
          <p:spPr bwMode="auto">
            <a:xfrm>
              <a:off x="4098925" y="2270125"/>
              <a:ext cx="4763" cy="4763"/>
            </a:xfrm>
            <a:custGeom>
              <a:avLst/>
              <a:gdLst>
                <a:gd name="T0" fmla="*/ 12 w 13"/>
                <a:gd name="T1" fmla="*/ 9 h 15"/>
                <a:gd name="T2" fmla="*/ 12 w 13"/>
                <a:gd name="T3" fmla="*/ 0 h 15"/>
                <a:gd name="T4" fmla="*/ 6 w 13"/>
                <a:gd name="T5" fmla="*/ 3 h 15"/>
                <a:gd name="T6" fmla="*/ 0 w 13"/>
                <a:gd name="T7" fmla="*/ 9 h 15"/>
                <a:gd name="T8" fmla="*/ 12 w 13"/>
                <a:gd name="T9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12" y="9"/>
                  </a:moveTo>
                  <a:cubicBezTo>
                    <a:pt x="12" y="6"/>
                    <a:pt x="12" y="3"/>
                    <a:pt x="12" y="0"/>
                  </a:cubicBezTo>
                  <a:cubicBezTo>
                    <a:pt x="9" y="0"/>
                    <a:pt x="6" y="3"/>
                    <a:pt x="6" y="3"/>
                  </a:cubicBezTo>
                  <a:cubicBezTo>
                    <a:pt x="3" y="6"/>
                    <a:pt x="3" y="6"/>
                    <a:pt x="0" y="9"/>
                  </a:cubicBezTo>
                  <a:cubicBezTo>
                    <a:pt x="6" y="14"/>
                    <a:pt x="9" y="12"/>
                    <a:pt x="12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7" name="Freeform 732"/>
            <p:cNvSpPr>
              <a:spLocks noChangeArrowheads="1"/>
            </p:cNvSpPr>
            <p:nvPr/>
          </p:nvSpPr>
          <p:spPr bwMode="auto">
            <a:xfrm>
              <a:off x="4110038" y="2174875"/>
              <a:ext cx="1587" cy="1588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cubicBezTo>
                    <a:pt x="0" y="0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8" name="Freeform 733"/>
            <p:cNvSpPr>
              <a:spLocks noChangeArrowheads="1"/>
            </p:cNvSpPr>
            <p:nvPr/>
          </p:nvSpPr>
          <p:spPr bwMode="auto">
            <a:xfrm>
              <a:off x="4083050" y="2755900"/>
              <a:ext cx="4763" cy="3175"/>
            </a:xfrm>
            <a:custGeom>
              <a:avLst/>
              <a:gdLst>
                <a:gd name="T0" fmla="*/ 0 w 12"/>
                <a:gd name="T1" fmla="*/ 6 h 10"/>
                <a:gd name="T2" fmla="*/ 0 w 12"/>
                <a:gd name="T3" fmla="*/ 6 h 10"/>
                <a:gd name="T4" fmla="*/ 11 w 12"/>
                <a:gd name="T5" fmla="*/ 0 h 10"/>
                <a:gd name="T6" fmla="*/ 9 w 12"/>
                <a:gd name="T7" fmla="*/ 0 h 10"/>
                <a:gd name="T8" fmla="*/ 0 w 12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lnTo>
                    <a:pt x="0" y="6"/>
                  </a:lnTo>
                  <a:cubicBezTo>
                    <a:pt x="6" y="9"/>
                    <a:pt x="9" y="6"/>
                    <a:pt x="11" y="0"/>
                  </a:cubicBezTo>
                  <a:lnTo>
                    <a:pt x="9" y="0"/>
                  </a:lnTo>
                  <a:cubicBezTo>
                    <a:pt x="6" y="3"/>
                    <a:pt x="3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9" name="Freeform 734"/>
            <p:cNvSpPr>
              <a:spLocks noChangeArrowheads="1"/>
            </p:cNvSpPr>
            <p:nvPr/>
          </p:nvSpPr>
          <p:spPr bwMode="auto">
            <a:xfrm>
              <a:off x="4111625" y="2495550"/>
              <a:ext cx="3175" cy="1588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0 w 7"/>
                <a:gd name="T5" fmla="*/ 3 h 4"/>
                <a:gd name="T6" fmla="*/ 6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3" y="0"/>
                    <a:pt x="0" y="0"/>
                  </a:cubicBezTo>
                  <a:lnTo>
                    <a:pt x="0" y="3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0" name="Freeform 735"/>
            <p:cNvSpPr>
              <a:spLocks noChangeArrowheads="1"/>
            </p:cNvSpPr>
            <p:nvPr/>
          </p:nvSpPr>
          <p:spPr bwMode="auto">
            <a:xfrm>
              <a:off x="4137025" y="2524125"/>
              <a:ext cx="4763" cy="3175"/>
            </a:xfrm>
            <a:custGeom>
              <a:avLst/>
              <a:gdLst>
                <a:gd name="T0" fmla="*/ 11 w 12"/>
                <a:gd name="T1" fmla="*/ 0 h 10"/>
                <a:gd name="T2" fmla="*/ 2 w 12"/>
                <a:gd name="T3" fmla="*/ 9 h 10"/>
                <a:gd name="T4" fmla="*/ 11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0"/>
                  </a:moveTo>
                  <a:cubicBezTo>
                    <a:pt x="5" y="0"/>
                    <a:pt x="0" y="0"/>
                    <a:pt x="2" y="9"/>
                  </a:cubicBezTo>
                  <a:cubicBezTo>
                    <a:pt x="5" y="9"/>
                    <a:pt x="11" y="6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1" name="Freeform 736"/>
            <p:cNvSpPr>
              <a:spLocks noChangeArrowheads="1"/>
            </p:cNvSpPr>
            <p:nvPr/>
          </p:nvSpPr>
          <p:spPr bwMode="auto">
            <a:xfrm>
              <a:off x="4092575" y="2239963"/>
              <a:ext cx="3175" cy="3175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0 w 7"/>
                <a:gd name="T5" fmla="*/ 0 h 9"/>
                <a:gd name="T6" fmla="*/ 3 w 7"/>
                <a:gd name="T7" fmla="*/ 8 h 9"/>
                <a:gd name="T8" fmla="*/ 3 w 7"/>
                <a:gd name="T9" fmla="*/ 8 h 9"/>
                <a:gd name="T10" fmla="*/ 4 w 7"/>
                <a:gd name="T11" fmla="*/ 6 h 9"/>
                <a:gd name="T12" fmla="*/ 3 w 7"/>
                <a:gd name="T1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3" y="7"/>
                    <a:pt x="4" y="6"/>
                    <a:pt x="4" y="6"/>
                  </a:cubicBezTo>
                  <a:cubicBezTo>
                    <a:pt x="6" y="2"/>
                    <a:pt x="5" y="0"/>
                    <a:pt x="0" y="0"/>
                  </a:cubicBezTo>
                  <a:cubicBezTo>
                    <a:pt x="3" y="2"/>
                    <a:pt x="0" y="8"/>
                    <a:pt x="3" y="8"/>
                  </a:cubicBezTo>
                  <a:close/>
                  <a:moveTo>
                    <a:pt x="3" y="8"/>
                  </a:moveTo>
                  <a:cubicBezTo>
                    <a:pt x="3" y="7"/>
                    <a:pt x="4" y="7"/>
                    <a:pt x="4" y="6"/>
                  </a:cubicBezTo>
                  <a:cubicBezTo>
                    <a:pt x="5" y="6"/>
                    <a:pt x="5" y="7"/>
                    <a:pt x="3" y="8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2" name="Freeform 737"/>
            <p:cNvSpPr>
              <a:spLocks noChangeArrowheads="1"/>
            </p:cNvSpPr>
            <p:nvPr/>
          </p:nvSpPr>
          <p:spPr bwMode="auto">
            <a:xfrm>
              <a:off x="3978275" y="2103438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0 h 7"/>
                <a:gd name="T4" fmla="*/ 0 w 10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cubicBezTo>
                    <a:pt x="3" y="3"/>
                    <a:pt x="6" y="3"/>
                    <a:pt x="9" y="0"/>
                  </a:cubicBezTo>
                  <a:cubicBezTo>
                    <a:pt x="6" y="0"/>
                    <a:pt x="3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3" name="Freeform 738"/>
            <p:cNvSpPr>
              <a:spLocks noChangeArrowheads="1"/>
            </p:cNvSpPr>
            <p:nvPr/>
          </p:nvSpPr>
          <p:spPr bwMode="auto">
            <a:xfrm>
              <a:off x="4391025" y="2801938"/>
              <a:ext cx="3175" cy="3175"/>
            </a:xfrm>
            <a:custGeom>
              <a:avLst/>
              <a:gdLst>
                <a:gd name="T0" fmla="*/ 0 w 9"/>
                <a:gd name="T1" fmla="*/ 9 h 10"/>
                <a:gd name="T2" fmla="*/ 8 w 9"/>
                <a:gd name="T3" fmla="*/ 0 h 10"/>
                <a:gd name="T4" fmla="*/ 0 w 9"/>
                <a:gd name="T5" fmla="*/ 0 h 10"/>
                <a:gd name="T6" fmla="*/ 0 w 9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9"/>
                  </a:moveTo>
                  <a:cubicBezTo>
                    <a:pt x="6" y="9"/>
                    <a:pt x="8" y="6"/>
                    <a:pt x="8" y="0"/>
                  </a:cubicBez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4" name="Freeform 739"/>
            <p:cNvSpPr>
              <a:spLocks noChangeArrowheads="1"/>
            </p:cNvSpPr>
            <p:nvPr/>
          </p:nvSpPr>
          <p:spPr bwMode="auto">
            <a:xfrm>
              <a:off x="3725863" y="2413000"/>
              <a:ext cx="61912" cy="31750"/>
            </a:xfrm>
            <a:custGeom>
              <a:avLst/>
              <a:gdLst>
                <a:gd name="T0" fmla="*/ 0 w 173"/>
                <a:gd name="T1" fmla="*/ 20 h 88"/>
                <a:gd name="T2" fmla="*/ 8 w 173"/>
                <a:gd name="T3" fmla="*/ 0 h 88"/>
                <a:gd name="T4" fmla="*/ 172 w 173"/>
                <a:gd name="T5" fmla="*/ 68 h 88"/>
                <a:gd name="T6" fmla="*/ 163 w 173"/>
                <a:gd name="T7" fmla="*/ 87 h 88"/>
                <a:gd name="T8" fmla="*/ 0 w 173"/>
                <a:gd name="T9" fmla="*/ 2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88">
                  <a:moveTo>
                    <a:pt x="0" y="20"/>
                  </a:moveTo>
                  <a:lnTo>
                    <a:pt x="8" y="0"/>
                  </a:lnTo>
                  <a:lnTo>
                    <a:pt x="172" y="68"/>
                  </a:lnTo>
                  <a:lnTo>
                    <a:pt x="163" y="87"/>
                  </a:lnTo>
                  <a:lnTo>
                    <a:pt x="0" y="2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5" name="Freeform 740"/>
            <p:cNvSpPr>
              <a:spLocks noChangeArrowheads="1"/>
            </p:cNvSpPr>
            <p:nvPr/>
          </p:nvSpPr>
          <p:spPr bwMode="auto">
            <a:xfrm>
              <a:off x="3743325" y="2362200"/>
              <a:ext cx="69850" cy="53975"/>
            </a:xfrm>
            <a:custGeom>
              <a:avLst/>
              <a:gdLst>
                <a:gd name="T0" fmla="*/ 14 w 193"/>
                <a:gd name="T1" fmla="*/ 39 h 148"/>
                <a:gd name="T2" fmla="*/ 101 w 193"/>
                <a:gd name="T3" fmla="*/ 62 h 148"/>
                <a:gd name="T4" fmla="*/ 25 w 193"/>
                <a:gd name="T5" fmla="*/ 20 h 148"/>
                <a:gd name="T6" fmla="*/ 37 w 193"/>
                <a:gd name="T7" fmla="*/ 0 h 148"/>
                <a:gd name="T8" fmla="*/ 192 w 193"/>
                <a:gd name="T9" fmla="*/ 85 h 148"/>
                <a:gd name="T10" fmla="*/ 178 w 193"/>
                <a:gd name="T11" fmla="*/ 107 h 148"/>
                <a:gd name="T12" fmla="*/ 84 w 193"/>
                <a:gd name="T13" fmla="*/ 82 h 148"/>
                <a:gd name="T14" fmla="*/ 166 w 193"/>
                <a:gd name="T15" fmla="*/ 127 h 148"/>
                <a:gd name="T16" fmla="*/ 155 w 193"/>
                <a:gd name="T17" fmla="*/ 147 h 148"/>
                <a:gd name="T18" fmla="*/ 0 w 193"/>
                <a:gd name="T19" fmla="*/ 62 h 148"/>
                <a:gd name="T20" fmla="*/ 14 w 193"/>
                <a:gd name="T21" fmla="*/ 3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" h="148">
                  <a:moveTo>
                    <a:pt x="14" y="39"/>
                  </a:moveTo>
                  <a:lnTo>
                    <a:pt x="101" y="62"/>
                  </a:lnTo>
                  <a:lnTo>
                    <a:pt x="25" y="20"/>
                  </a:lnTo>
                  <a:lnTo>
                    <a:pt x="37" y="0"/>
                  </a:lnTo>
                  <a:lnTo>
                    <a:pt x="192" y="85"/>
                  </a:lnTo>
                  <a:lnTo>
                    <a:pt x="178" y="107"/>
                  </a:lnTo>
                  <a:lnTo>
                    <a:pt x="84" y="82"/>
                  </a:lnTo>
                  <a:lnTo>
                    <a:pt x="166" y="127"/>
                  </a:lnTo>
                  <a:lnTo>
                    <a:pt x="155" y="147"/>
                  </a:lnTo>
                  <a:lnTo>
                    <a:pt x="0" y="62"/>
                  </a:lnTo>
                  <a:lnTo>
                    <a:pt x="14" y="39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6" name="Freeform 741"/>
            <p:cNvSpPr>
              <a:spLocks noChangeArrowheads="1"/>
            </p:cNvSpPr>
            <p:nvPr/>
          </p:nvSpPr>
          <p:spPr bwMode="auto">
            <a:xfrm>
              <a:off x="3773488" y="2319338"/>
              <a:ext cx="65087" cy="52387"/>
            </a:xfrm>
            <a:custGeom>
              <a:avLst/>
              <a:gdLst>
                <a:gd name="T0" fmla="*/ 108 w 179"/>
                <a:gd name="T1" fmla="*/ 101 h 147"/>
                <a:gd name="T2" fmla="*/ 133 w 179"/>
                <a:gd name="T3" fmla="*/ 118 h 147"/>
                <a:gd name="T4" fmla="*/ 144 w 179"/>
                <a:gd name="T5" fmla="*/ 104 h 147"/>
                <a:gd name="T6" fmla="*/ 99 w 179"/>
                <a:gd name="T7" fmla="*/ 70 h 147"/>
                <a:gd name="T8" fmla="*/ 82 w 179"/>
                <a:gd name="T9" fmla="*/ 93 h 147"/>
                <a:gd name="T10" fmla="*/ 62 w 179"/>
                <a:gd name="T11" fmla="*/ 96 h 147"/>
                <a:gd name="T12" fmla="*/ 9 w 179"/>
                <a:gd name="T13" fmla="*/ 56 h 147"/>
                <a:gd name="T14" fmla="*/ 6 w 179"/>
                <a:gd name="T15" fmla="*/ 36 h 147"/>
                <a:gd name="T16" fmla="*/ 6 w 179"/>
                <a:gd name="T17" fmla="*/ 36 h 147"/>
                <a:gd name="T18" fmla="*/ 26 w 179"/>
                <a:gd name="T19" fmla="*/ 8 h 147"/>
                <a:gd name="T20" fmla="*/ 45 w 179"/>
                <a:gd name="T21" fmla="*/ 5 h 147"/>
                <a:gd name="T22" fmla="*/ 45 w 179"/>
                <a:gd name="T23" fmla="*/ 5 h 147"/>
                <a:gd name="T24" fmla="*/ 76 w 179"/>
                <a:gd name="T25" fmla="*/ 28 h 147"/>
                <a:gd name="T26" fmla="*/ 62 w 179"/>
                <a:gd name="T27" fmla="*/ 45 h 147"/>
                <a:gd name="T28" fmla="*/ 40 w 179"/>
                <a:gd name="T29" fmla="*/ 28 h 147"/>
                <a:gd name="T30" fmla="*/ 29 w 179"/>
                <a:gd name="T31" fmla="*/ 42 h 147"/>
                <a:gd name="T32" fmla="*/ 71 w 179"/>
                <a:gd name="T33" fmla="*/ 73 h 147"/>
                <a:gd name="T34" fmla="*/ 88 w 179"/>
                <a:gd name="T35" fmla="*/ 50 h 147"/>
                <a:gd name="T36" fmla="*/ 110 w 179"/>
                <a:gd name="T37" fmla="*/ 48 h 147"/>
                <a:gd name="T38" fmla="*/ 170 w 179"/>
                <a:gd name="T39" fmla="*/ 90 h 147"/>
                <a:gd name="T40" fmla="*/ 172 w 179"/>
                <a:gd name="T41" fmla="*/ 110 h 147"/>
                <a:gd name="T42" fmla="*/ 153 w 179"/>
                <a:gd name="T43" fmla="*/ 138 h 147"/>
                <a:gd name="T44" fmla="*/ 133 w 179"/>
                <a:gd name="T45" fmla="*/ 141 h 147"/>
                <a:gd name="T46" fmla="*/ 102 w 179"/>
                <a:gd name="T47" fmla="*/ 118 h 147"/>
                <a:gd name="T48" fmla="*/ 108 w 179"/>
                <a:gd name="T49" fmla="*/ 101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9" h="147">
                  <a:moveTo>
                    <a:pt x="108" y="101"/>
                  </a:moveTo>
                  <a:lnTo>
                    <a:pt x="133" y="118"/>
                  </a:lnTo>
                  <a:lnTo>
                    <a:pt x="144" y="104"/>
                  </a:lnTo>
                  <a:lnTo>
                    <a:pt x="99" y="70"/>
                  </a:lnTo>
                  <a:lnTo>
                    <a:pt x="82" y="93"/>
                  </a:lnTo>
                  <a:cubicBezTo>
                    <a:pt x="76" y="98"/>
                    <a:pt x="68" y="101"/>
                    <a:pt x="62" y="96"/>
                  </a:cubicBezTo>
                  <a:lnTo>
                    <a:pt x="9" y="56"/>
                  </a:lnTo>
                  <a:cubicBezTo>
                    <a:pt x="3" y="50"/>
                    <a:pt x="0" y="42"/>
                    <a:pt x="6" y="36"/>
                  </a:cubicBezTo>
                  <a:lnTo>
                    <a:pt x="6" y="36"/>
                  </a:lnTo>
                  <a:lnTo>
                    <a:pt x="26" y="8"/>
                  </a:lnTo>
                  <a:cubicBezTo>
                    <a:pt x="31" y="2"/>
                    <a:pt x="40" y="0"/>
                    <a:pt x="45" y="5"/>
                  </a:cubicBezTo>
                  <a:lnTo>
                    <a:pt x="45" y="5"/>
                  </a:lnTo>
                  <a:lnTo>
                    <a:pt x="76" y="28"/>
                  </a:lnTo>
                  <a:lnTo>
                    <a:pt x="62" y="45"/>
                  </a:lnTo>
                  <a:lnTo>
                    <a:pt x="40" y="28"/>
                  </a:lnTo>
                  <a:lnTo>
                    <a:pt x="29" y="42"/>
                  </a:lnTo>
                  <a:lnTo>
                    <a:pt x="71" y="73"/>
                  </a:lnTo>
                  <a:lnTo>
                    <a:pt x="88" y="50"/>
                  </a:lnTo>
                  <a:cubicBezTo>
                    <a:pt x="93" y="45"/>
                    <a:pt x="102" y="42"/>
                    <a:pt x="110" y="48"/>
                  </a:cubicBezTo>
                  <a:lnTo>
                    <a:pt x="170" y="90"/>
                  </a:lnTo>
                  <a:cubicBezTo>
                    <a:pt x="175" y="96"/>
                    <a:pt x="178" y="104"/>
                    <a:pt x="172" y="110"/>
                  </a:cubicBezTo>
                  <a:lnTo>
                    <a:pt x="153" y="138"/>
                  </a:lnTo>
                  <a:cubicBezTo>
                    <a:pt x="147" y="144"/>
                    <a:pt x="139" y="146"/>
                    <a:pt x="133" y="141"/>
                  </a:cubicBezTo>
                  <a:lnTo>
                    <a:pt x="102" y="118"/>
                  </a:lnTo>
                  <a:lnTo>
                    <a:pt x="108" y="101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7" name="Freeform 742"/>
            <p:cNvSpPr>
              <a:spLocks noChangeArrowheads="1"/>
            </p:cNvSpPr>
            <p:nvPr/>
          </p:nvSpPr>
          <p:spPr bwMode="auto">
            <a:xfrm>
              <a:off x="3806825" y="2276475"/>
              <a:ext cx="60325" cy="58738"/>
            </a:xfrm>
            <a:custGeom>
              <a:avLst/>
              <a:gdLst>
                <a:gd name="T0" fmla="*/ 14 w 167"/>
                <a:gd name="T1" fmla="*/ 31 h 165"/>
                <a:gd name="T2" fmla="*/ 124 w 167"/>
                <a:gd name="T3" fmla="*/ 138 h 165"/>
                <a:gd name="T4" fmla="*/ 138 w 167"/>
                <a:gd name="T5" fmla="*/ 124 h 165"/>
                <a:gd name="T6" fmla="*/ 28 w 167"/>
                <a:gd name="T7" fmla="*/ 17 h 165"/>
                <a:gd name="T8" fmla="*/ 45 w 167"/>
                <a:gd name="T9" fmla="*/ 0 h 165"/>
                <a:gd name="T10" fmla="*/ 160 w 167"/>
                <a:gd name="T11" fmla="*/ 113 h 165"/>
                <a:gd name="T12" fmla="*/ 160 w 167"/>
                <a:gd name="T13" fmla="*/ 136 h 165"/>
                <a:gd name="T14" fmla="*/ 138 w 167"/>
                <a:gd name="T15" fmla="*/ 158 h 165"/>
                <a:gd name="T16" fmla="*/ 115 w 167"/>
                <a:gd name="T17" fmla="*/ 158 h 165"/>
                <a:gd name="T18" fmla="*/ 0 w 167"/>
                <a:gd name="T19" fmla="*/ 45 h 165"/>
                <a:gd name="T20" fmla="*/ 14 w 167"/>
                <a:gd name="T21" fmla="*/ 3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7" h="165">
                  <a:moveTo>
                    <a:pt x="14" y="31"/>
                  </a:moveTo>
                  <a:lnTo>
                    <a:pt x="124" y="138"/>
                  </a:lnTo>
                  <a:lnTo>
                    <a:pt x="138" y="124"/>
                  </a:lnTo>
                  <a:lnTo>
                    <a:pt x="28" y="17"/>
                  </a:lnTo>
                  <a:lnTo>
                    <a:pt x="45" y="0"/>
                  </a:lnTo>
                  <a:lnTo>
                    <a:pt x="160" y="113"/>
                  </a:lnTo>
                  <a:cubicBezTo>
                    <a:pt x="166" y="119"/>
                    <a:pt x="166" y="127"/>
                    <a:pt x="160" y="136"/>
                  </a:cubicBezTo>
                  <a:lnTo>
                    <a:pt x="138" y="158"/>
                  </a:lnTo>
                  <a:cubicBezTo>
                    <a:pt x="132" y="164"/>
                    <a:pt x="124" y="164"/>
                    <a:pt x="115" y="158"/>
                  </a:cubicBezTo>
                  <a:lnTo>
                    <a:pt x="0" y="45"/>
                  </a:lnTo>
                  <a:lnTo>
                    <a:pt x="14" y="31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8" name="Freeform 743"/>
            <p:cNvSpPr>
              <a:spLocks noChangeArrowheads="1"/>
            </p:cNvSpPr>
            <p:nvPr/>
          </p:nvSpPr>
          <p:spPr bwMode="auto">
            <a:xfrm>
              <a:off x="3846513" y="2243138"/>
              <a:ext cx="58737" cy="61912"/>
            </a:xfrm>
            <a:custGeom>
              <a:avLst/>
              <a:gdLst>
                <a:gd name="T0" fmla="*/ 96 w 164"/>
                <a:gd name="T1" fmla="*/ 85 h 170"/>
                <a:gd name="T2" fmla="*/ 81 w 164"/>
                <a:gd name="T3" fmla="*/ 96 h 170"/>
                <a:gd name="T4" fmla="*/ 129 w 164"/>
                <a:gd name="T5" fmla="*/ 155 h 170"/>
                <a:gd name="T6" fmla="*/ 112 w 164"/>
                <a:gd name="T7" fmla="*/ 169 h 170"/>
                <a:gd name="T8" fmla="*/ 0 w 164"/>
                <a:gd name="T9" fmla="*/ 34 h 170"/>
                <a:gd name="T10" fmla="*/ 36 w 164"/>
                <a:gd name="T11" fmla="*/ 6 h 170"/>
                <a:gd name="T12" fmla="*/ 59 w 164"/>
                <a:gd name="T13" fmla="*/ 8 h 170"/>
                <a:gd name="T14" fmla="*/ 98 w 164"/>
                <a:gd name="T15" fmla="*/ 56 h 170"/>
                <a:gd name="T16" fmla="*/ 101 w 164"/>
                <a:gd name="T17" fmla="*/ 70 h 170"/>
                <a:gd name="T18" fmla="*/ 118 w 164"/>
                <a:gd name="T19" fmla="*/ 76 h 170"/>
                <a:gd name="T20" fmla="*/ 163 w 164"/>
                <a:gd name="T21" fmla="*/ 132 h 170"/>
                <a:gd name="T22" fmla="*/ 146 w 164"/>
                <a:gd name="T23" fmla="*/ 147 h 170"/>
                <a:gd name="T24" fmla="*/ 96 w 164"/>
                <a:gd name="T25" fmla="*/ 85 h 170"/>
                <a:gd name="T26" fmla="*/ 65 w 164"/>
                <a:gd name="T27" fmla="*/ 79 h 170"/>
                <a:gd name="T28" fmla="*/ 79 w 164"/>
                <a:gd name="T29" fmla="*/ 68 h 170"/>
                <a:gd name="T30" fmla="*/ 42 w 164"/>
                <a:gd name="T31" fmla="*/ 25 h 170"/>
                <a:gd name="T32" fmla="*/ 28 w 164"/>
                <a:gd name="T33" fmla="*/ 37 h 170"/>
                <a:gd name="T34" fmla="*/ 65 w 164"/>
                <a:gd name="T35" fmla="*/ 7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4" h="170">
                  <a:moveTo>
                    <a:pt x="96" y="85"/>
                  </a:moveTo>
                  <a:lnTo>
                    <a:pt x="81" y="96"/>
                  </a:lnTo>
                  <a:lnTo>
                    <a:pt x="129" y="155"/>
                  </a:lnTo>
                  <a:lnTo>
                    <a:pt x="112" y="169"/>
                  </a:lnTo>
                  <a:lnTo>
                    <a:pt x="0" y="34"/>
                  </a:lnTo>
                  <a:lnTo>
                    <a:pt x="36" y="6"/>
                  </a:lnTo>
                  <a:cubicBezTo>
                    <a:pt x="42" y="0"/>
                    <a:pt x="53" y="0"/>
                    <a:pt x="59" y="8"/>
                  </a:cubicBezTo>
                  <a:lnTo>
                    <a:pt x="98" y="56"/>
                  </a:lnTo>
                  <a:cubicBezTo>
                    <a:pt x="101" y="59"/>
                    <a:pt x="104" y="65"/>
                    <a:pt x="101" y="70"/>
                  </a:cubicBezTo>
                  <a:cubicBezTo>
                    <a:pt x="107" y="68"/>
                    <a:pt x="115" y="70"/>
                    <a:pt x="118" y="76"/>
                  </a:cubicBezTo>
                  <a:lnTo>
                    <a:pt x="163" y="132"/>
                  </a:lnTo>
                  <a:lnTo>
                    <a:pt x="146" y="147"/>
                  </a:lnTo>
                  <a:lnTo>
                    <a:pt x="96" y="85"/>
                  </a:lnTo>
                  <a:close/>
                  <a:moveTo>
                    <a:pt x="65" y="79"/>
                  </a:moveTo>
                  <a:lnTo>
                    <a:pt x="79" y="68"/>
                  </a:lnTo>
                  <a:lnTo>
                    <a:pt x="42" y="25"/>
                  </a:lnTo>
                  <a:lnTo>
                    <a:pt x="28" y="37"/>
                  </a:lnTo>
                  <a:lnTo>
                    <a:pt x="65" y="79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9" name="Freeform 744"/>
            <p:cNvSpPr>
              <a:spLocks noChangeArrowheads="1"/>
            </p:cNvSpPr>
            <p:nvPr/>
          </p:nvSpPr>
          <p:spPr bwMode="auto">
            <a:xfrm>
              <a:off x="3886200" y="2211388"/>
              <a:ext cx="47625" cy="61912"/>
            </a:xfrm>
            <a:custGeom>
              <a:avLst/>
              <a:gdLst>
                <a:gd name="T0" fmla="*/ 29 w 131"/>
                <a:gd name="T1" fmla="*/ 43 h 174"/>
                <a:gd name="T2" fmla="*/ 12 w 131"/>
                <a:gd name="T3" fmla="*/ 54 h 174"/>
                <a:gd name="T4" fmla="*/ 0 w 131"/>
                <a:gd name="T5" fmla="*/ 34 h 174"/>
                <a:gd name="T6" fmla="*/ 54 w 131"/>
                <a:gd name="T7" fmla="*/ 0 h 174"/>
                <a:gd name="T8" fmla="*/ 65 w 131"/>
                <a:gd name="T9" fmla="*/ 20 h 174"/>
                <a:gd name="T10" fmla="*/ 48 w 131"/>
                <a:gd name="T11" fmla="*/ 31 h 174"/>
                <a:gd name="T12" fmla="*/ 130 w 131"/>
                <a:gd name="T13" fmla="*/ 161 h 174"/>
                <a:gd name="T14" fmla="*/ 111 w 131"/>
                <a:gd name="T15" fmla="*/ 173 h 174"/>
                <a:gd name="T16" fmla="*/ 29 w 131"/>
                <a:gd name="T17" fmla="*/ 43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174">
                  <a:moveTo>
                    <a:pt x="29" y="43"/>
                  </a:moveTo>
                  <a:lnTo>
                    <a:pt x="12" y="54"/>
                  </a:lnTo>
                  <a:lnTo>
                    <a:pt x="0" y="34"/>
                  </a:lnTo>
                  <a:lnTo>
                    <a:pt x="54" y="0"/>
                  </a:lnTo>
                  <a:lnTo>
                    <a:pt x="65" y="20"/>
                  </a:lnTo>
                  <a:lnTo>
                    <a:pt x="48" y="31"/>
                  </a:lnTo>
                  <a:lnTo>
                    <a:pt x="130" y="161"/>
                  </a:lnTo>
                  <a:lnTo>
                    <a:pt x="111" y="173"/>
                  </a:lnTo>
                  <a:lnTo>
                    <a:pt x="29" y="4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0" name="Freeform 745"/>
            <p:cNvSpPr>
              <a:spLocks noChangeArrowheads="1"/>
            </p:cNvSpPr>
            <p:nvPr/>
          </p:nvSpPr>
          <p:spPr bwMode="auto">
            <a:xfrm>
              <a:off x="3930650" y="2189163"/>
              <a:ext cx="47625" cy="66675"/>
            </a:xfrm>
            <a:custGeom>
              <a:avLst/>
              <a:gdLst>
                <a:gd name="T0" fmla="*/ 130 w 131"/>
                <a:gd name="T1" fmla="*/ 158 h 185"/>
                <a:gd name="T2" fmla="*/ 76 w 131"/>
                <a:gd name="T3" fmla="*/ 184 h 185"/>
                <a:gd name="T4" fmla="*/ 0 w 131"/>
                <a:gd name="T5" fmla="*/ 26 h 185"/>
                <a:gd name="T6" fmla="*/ 51 w 131"/>
                <a:gd name="T7" fmla="*/ 0 h 185"/>
                <a:gd name="T8" fmla="*/ 59 w 131"/>
                <a:gd name="T9" fmla="*/ 20 h 185"/>
                <a:gd name="T10" fmla="*/ 28 w 131"/>
                <a:gd name="T11" fmla="*/ 34 h 185"/>
                <a:gd name="T12" fmla="*/ 51 w 131"/>
                <a:gd name="T13" fmla="*/ 79 h 185"/>
                <a:gd name="T14" fmla="*/ 73 w 131"/>
                <a:gd name="T15" fmla="*/ 68 h 185"/>
                <a:gd name="T16" fmla="*/ 82 w 131"/>
                <a:gd name="T17" fmla="*/ 88 h 185"/>
                <a:gd name="T18" fmla="*/ 59 w 131"/>
                <a:gd name="T19" fmla="*/ 99 h 185"/>
                <a:gd name="T20" fmla="*/ 84 w 131"/>
                <a:gd name="T21" fmla="*/ 153 h 185"/>
                <a:gd name="T22" fmla="*/ 116 w 131"/>
                <a:gd name="T23" fmla="*/ 136 h 185"/>
                <a:gd name="T24" fmla="*/ 130 w 131"/>
                <a:gd name="T25" fmla="*/ 158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1" h="185">
                  <a:moveTo>
                    <a:pt x="130" y="158"/>
                  </a:moveTo>
                  <a:lnTo>
                    <a:pt x="76" y="184"/>
                  </a:lnTo>
                  <a:lnTo>
                    <a:pt x="0" y="26"/>
                  </a:lnTo>
                  <a:lnTo>
                    <a:pt x="51" y="0"/>
                  </a:lnTo>
                  <a:lnTo>
                    <a:pt x="59" y="20"/>
                  </a:lnTo>
                  <a:lnTo>
                    <a:pt x="28" y="34"/>
                  </a:lnTo>
                  <a:lnTo>
                    <a:pt x="51" y="79"/>
                  </a:lnTo>
                  <a:lnTo>
                    <a:pt x="73" y="68"/>
                  </a:lnTo>
                  <a:lnTo>
                    <a:pt x="82" y="88"/>
                  </a:lnTo>
                  <a:lnTo>
                    <a:pt x="59" y="99"/>
                  </a:lnTo>
                  <a:lnTo>
                    <a:pt x="84" y="153"/>
                  </a:lnTo>
                  <a:lnTo>
                    <a:pt x="116" y="136"/>
                  </a:lnTo>
                  <a:lnTo>
                    <a:pt x="130" y="15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1" name="Freeform 746"/>
            <p:cNvSpPr>
              <a:spLocks noChangeArrowheads="1"/>
            </p:cNvSpPr>
            <p:nvPr/>
          </p:nvSpPr>
          <p:spPr bwMode="auto">
            <a:xfrm>
              <a:off x="3979863" y="2171700"/>
              <a:ext cx="41275" cy="66675"/>
            </a:xfrm>
            <a:custGeom>
              <a:avLst/>
              <a:gdLst>
                <a:gd name="T0" fmla="*/ 51 w 114"/>
                <a:gd name="T1" fmla="*/ 54 h 185"/>
                <a:gd name="T2" fmla="*/ 43 w 114"/>
                <a:gd name="T3" fmla="*/ 26 h 185"/>
                <a:gd name="T4" fmla="*/ 26 w 114"/>
                <a:gd name="T5" fmla="*/ 31 h 185"/>
                <a:gd name="T6" fmla="*/ 68 w 114"/>
                <a:gd name="T7" fmla="*/ 156 h 185"/>
                <a:gd name="T8" fmla="*/ 85 w 114"/>
                <a:gd name="T9" fmla="*/ 150 h 185"/>
                <a:gd name="T10" fmla="*/ 76 w 114"/>
                <a:gd name="T11" fmla="*/ 122 h 185"/>
                <a:gd name="T12" fmla="*/ 99 w 114"/>
                <a:gd name="T13" fmla="*/ 113 h 185"/>
                <a:gd name="T14" fmla="*/ 110 w 114"/>
                <a:gd name="T15" fmla="*/ 150 h 185"/>
                <a:gd name="T16" fmla="*/ 102 w 114"/>
                <a:gd name="T17" fmla="*/ 170 h 185"/>
                <a:gd name="T18" fmla="*/ 68 w 114"/>
                <a:gd name="T19" fmla="*/ 181 h 185"/>
                <a:gd name="T20" fmla="*/ 48 w 114"/>
                <a:gd name="T21" fmla="*/ 173 h 185"/>
                <a:gd name="T22" fmla="*/ 3 w 114"/>
                <a:gd name="T23" fmla="*/ 34 h 185"/>
                <a:gd name="T24" fmla="*/ 12 w 114"/>
                <a:gd name="T25" fmla="*/ 15 h 185"/>
                <a:gd name="T26" fmla="*/ 45 w 114"/>
                <a:gd name="T27" fmla="*/ 3 h 185"/>
                <a:gd name="T28" fmla="*/ 65 w 114"/>
                <a:gd name="T29" fmla="*/ 12 h 185"/>
                <a:gd name="T30" fmla="*/ 76 w 114"/>
                <a:gd name="T31" fmla="*/ 48 h 185"/>
                <a:gd name="T32" fmla="*/ 51 w 114"/>
                <a:gd name="T33" fmla="*/ 54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" h="185">
                  <a:moveTo>
                    <a:pt x="51" y="54"/>
                  </a:moveTo>
                  <a:lnTo>
                    <a:pt x="43" y="26"/>
                  </a:lnTo>
                  <a:lnTo>
                    <a:pt x="26" y="31"/>
                  </a:lnTo>
                  <a:lnTo>
                    <a:pt x="68" y="156"/>
                  </a:lnTo>
                  <a:lnTo>
                    <a:pt x="85" y="150"/>
                  </a:lnTo>
                  <a:lnTo>
                    <a:pt x="76" y="122"/>
                  </a:lnTo>
                  <a:lnTo>
                    <a:pt x="99" y="113"/>
                  </a:lnTo>
                  <a:lnTo>
                    <a:pt x="110" y="150"/>
                  </a:lnTo>
                  <a:cubicBezTo>
                    <a:pt x="113" y="158"/>
                    <a:pt x="107" y="167"/>
                    <a:pt x="102" y="170"/>
                  </a:cubicBezTo>
                  <a:lnTo>
                    <a:pt x="68" y="181"/>
                  </a:lnTo>
                  <a:cubicBezTo>
                    <a:pt x="60" y="184"/>
                    <a:pt x="51" y="178"/>
                    <a:pt x="48" y="173"/>
                  </a:cubicBezTo>
                  <a:lnTo>
                    <a:pt x="3" y="34"/>
                  </a:lnTo>
                  <a:cubicBezTo>
                    <a:pt x="0" y="26"/>
                    <a:pt x="6" y="17"/>
                    <a:pt x="12" y="15"/>
                  </a:cubicBezTo>
                  <a:lnTo>
                    <a:pt x="45" y="3"/>
                  </a:lnTo>
                  <a:cubicBezTo>
                    <a:pt x="54" y="0"/>
                    <a:pt x="62" y="6"/>
                    <a:pt x="65" y="12"/>
                  </a:cubicBezTo>
                  <a:lnTo>
                    <a:pt x="76" y="48"/>
                  </a:lnTo>
                  <a:lnTo>
                    <a:pt x="51" y="54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2" name="Freeform 747"/>
            <p:cNvSpPr>
              <a:spLocks noChangeArrowheads="1"/>
            </p:cNvSpPr>
            <p:nvPr/>
          </p:nvSpPr>
          <p:spPr bwMode="auto">
            <a:xfrm>
              <a:off x="4029075" y="2157413"/>
              <a:ext cx="34925" cy="66675"/>
            </a:xfrm>
            <a:custGeom>
              <a:avLst/>
              <a:gdLst>
                <a:gd name="T0" fmla="*/ 0 w 99"/>
                <a:gd name="T1" fmla="*/ 14 h 187"/>
                <a:gd name="T2" fmla="*/ 22 w 99"/>
                <a:gd name="T3" fmla="*/ 8 h 187"/>
                <a:gd name="T4" fmla="*/ 36 w 99"/>
                <a:gd name="T5" fmla="*/ 87 h 187"/>
                <a:gd name="T6" fmla="*/ 56 w 99"/>
                <a:gd name="T7" fmla="*/ 85 h 187"/>
                <a:gd name="T8" fmla="*/ 42 w 99"/>
                <a:gd name="T9" fmla="*/ 6 h 187"/>
                <a:gd name="T10" fmla="*/ 64 w 99"/>
                <a:gd name="T11" fmla="*/ 0 h 187"/>
                <a:gd name="T12" fmla="*/ 98 w 99"/>
                <a:gd name="T13" fmla="*/ 175 h 187"/>
                <a:gd name="T14" fmla="*/ 76 w 99"/>
                <a:gd name="T15" fmla="*/ 180 h 187"/>
                <a:gd name="T16" fmla="*/ 62 w 99"/>
                <a:gd name="T17" fmla="*/ 110 h 187"/>
                <a:gd name="T18" fmla="*/ 42 w 99"/>
                <a:gd name="T19" fmla="*/ 110 h 187"/>
                <a:gd name="T20" fmla="*/ 56 w 99"/>
                <a:gd name="T21" fmla="*/ 180 h 187"/>
                <a:gd name="T22" fmla="*/ 33 w 99"/>
                <a:gd name="T23" fmla="*/ 186 h 187"/>
                <a:gd name="T24" fmla="*/ 0 w 99"/>
                <a:gd name="T25" fmla="*/ 14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" h="187">
                  <a:moveTo>
                    <a:pt x="0" y="14"/>
                  </a:moveTo>
                  <a:lnTo>
                    <a:pt x="22" y="8"/>
                  </a:lnTo>
                  <a:lnTo>
                    <a:pt x="36" y="87"/>
                  </a:lnTo>
                  <a:lnTo>
                    <a:pt x="56" y="85"/>
                  </a:lnTo>
                  <a:lnTo>
                    <a:pt x="42" y="6"/>
                  </a:lnTo>
                  <a:lnTo>
                    <a:pt x="64" y="0"/>
                  </a:lnTo>
                  <a:lnTo>
                    <a:pt x="98" y="175"/>
                  </a:lnTo>
                  <a:lnTo>
                    <a:pt x="76" y="180"/>
                  </a:lnTo>
                  <a:lnTo>
                    <a:pt x="62" y="110"/>
                  </a:lnTo>
                  <a:lnTo>
                    <a:pt x="42" y="110"/>
                  </a:lnTo>
                  <a:lnTo>
                    <a:pt x="56" y="180"/>
                  </a:lnTo>
                  <a:lnTo>
                    <a:pt x="33" y="186"/>
                  </a:lnTo>
                  <a:lnTo>
                    <a:pt x="0" y="14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3" name="Freeform 748"/>
            <p:cNvSpPr>
              <a:spLocks noChangeArrowheads="1"/>
            </p:cNvSpPr>
            <p:nvPr/>
          </p:nvSpPr>
          <p:spPr bwMode="auto">
            <a:xfrm>
              <a:off x="4138613" y="2152650"/>
              <a:ext cx="23812" cy="65088"/>
            </a:xfrm>
            <a:custGeom>
              <a:avLst/>
              <a:gdLst>
                <a:gd name="T0" fmla="*/ 20 w 66"/>
                <a:gd name="T1" fmla="*/ 25 h 179"/>
                <a:gd name="T2" fmla="*/ 0 w 66"/>
                <a:gd name="T3" fmla="*/ 22 h 179"/>
                <a:gd name="T4" fmla="*/ 3 w 66"/>
                <a:gd name="T5" fmla="*/ 0 h 179"/>
                <a:gd name="T6" fmla="*/ 65 w 66"/>
                <a:gd name="T7" fmla="*/ 5 h 179"/>
                <a:gd name="T8" fmla="*/ 62 w 66"/>
                <a:gd name="T9" fmla="*/ 28 h 179"/>
                <a:gd name="T10" fmla="*/ 42 w 66"/>
                <a:gd name="T11" fmla="*/ 25 h 179"/>
                <a:gd name="T12" fmla="*/ 31 w 66"/>
                <a:gd name="T13" fmla="*/ 178 h 179"/>
                <a:gd name="T14" fmla="*/ 9 w 66"/>
                <a:gd name="T15" fmla="*/ 175 h 179"/>
                <a:gd name="T16" fmla="*/ 20 w 66"/>
                <a:gd name="T17" fmla="*/ 2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79">
                  <a:moveTo>
                    <a:pt x="20" y="25"/>
                  </a:moveTo>
                  <a:lnTo>
                    <a:pt x="0" y="22"/>
                  </a:lnTo>
                  <a:lnTo>
                    <a:pt x="3" y="0"/>
                  </a:lnTo>
                  <a:lnTo>
                    <a:pt x="65" y="5"/>
                  </a:lnTo>
                  <a:lnTo>
                    <a:pt x="62" y="28"/>
                  </a:lnTo>
                  <a:lnTo>
                    <a:pt x="42" y="25"/>
                  </a:lnTo>
                  <a:lnTo>
                    <a:pt x="31" y="178"/>
                  </a:lnTo>
                  <a:lnTo>
                    <a:pt x="9" y="175"/>
                  </a:lnTo>
                  <a:lnTo>
                    <a:pt x="20" y="2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4" name="Freeform 749"/>
            <p:cNvSpPr>
              <a:spLocks noChangeArrowheads="1"/>
            </p:cNvSpPr>
            <p:nvPr/>
          </p:nvSpPr>
          <p:spPr bwMode="auto">
            <a:xfrm>
              <a:off x="4178300" y="2159000"/>
              <a:ext cx="34925" cy="66675"/>
            </a:xfrm>
            <a:custGeom>
              <a:avLst/>
              <a:gdLst>
                <a:gd name="T0" fmla="*/ 31 w 97"/>
                <a:gd name="T1" fmla="*/ 14 h 184"/>
                <a:gd name="T2" fmla="*/ 48 w 97"/>
                <a:gd name="T3" fmla="*/ 3 h 184"/>
                <a:gd name="T4" fmla="*/ 82 w 97"/>
                <a:gd name="T5" fmla="*/ 8 h 184"/>
                <a:gd name="T6" fmla="*/ 93 w 97"/>
                <a:gd name="T7" fmla="*/ 25 h 184"/>
                <a:gd name="T8" fmla="*/ 65 w 97"/>
                <a:gd name="T9" fmla="*/ 169 h 184"/>
                <a:gd name="T10" fmla="*/ 48 w 97"/>
                <a:gd name="T11" fmla="*/ 180 h 184"/>
                <a:gd name="T12" fmla="*/ 14 w 97"/>
                <a:gd name="T13" fmla="*/ 175 h 184"/>
                <a:gd name="T14" fmla="*/ 3 w 97"/>
                <a:gd name="T15" fmla="*/ 158 h 184"/>
                <a:gd name="T16" fmla="*/ 31 w 97"/>
                <a:gd name="T17" fmla="*/ 14 h 184"/>
                <a:gd name="T18" fmla="*/ 71 w 97"/>
                <a:gd name="T19" fmla="*/ 28 h 184"/>
                <a:gd name="T20" fmla="*/ 51 w 97"/>
                <a:gd name="T21" fmla="*/ 25 h 184"/>
                <a:gd name="T22" fmla="*/ 26 w 97"/>
                <a:gd name="T23" fmla="*/ 155 h 184"/>
                <a:gd name="T24" fmla="*/ 45 w 97"/>
                <a:gd name="T25" fmla="*/ 158 h 184"/>
                <a:gd name="T26" fmla="*/ 71 w 97"/>
                <a:gd name="T27" fmla="*/ 2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" h="184">
                  <a:moveTo>
                    <a:pt x="31" y="14"/>
                  </a:moveTo>
                  <a:cubicBezTo>
                    <a:pt x="34" y="5"/>
                    <a:pt x="40" y="0"/>
                    <a:pt x="48" y="3"/>
                  </a:cubicBezTo>
                  <a:lnTo>
                    <a:pt x="82" y="8"/>
                  </a:lnTo>
                  <a:cubicBezTo>
                    <a:pt x="90" y="11"/>
                    <a:pt x="96" y="17"/>
                    <a:pt x="93" y="25"/>
                  </a:cubicBezTo>
                  <a:lnTo>
                    <a:pt x="65" y="169"/>
                  </a:lnTo>
                  <a:cubicBezTo>
                    <a:pt x="62" y="177"/>
                    <a:pt x="57" y="183"/>
                    <a:pt x="48" y="180"/>
                  </a:cubicBezTo>
                  <a:lnTo>
                    <a:pt x="14" y="175"/>
                  </a:lnTo>
                  <a:cubicBezTo>
                    <a:pt x="6" y="172"/>
                    <a:pt x="0" y="166"/>
                    <a:pt x="3" y="158"/>
                  </a:cubicBezTo>
                  <a:lnTo>
                    <a:pt x="31" y="14"/>
                  </a:lnTo>
                  <a:close/>
                  <a:moveTo>
                    <a:pt x="71" y="28"/>
                  </a:moveTo>
                  <a:lnTo>
                    <a:pt x="51" y="25"/>
                  </a:lnTo>
                  <a:lnTo>
                    <a:pt x="26" y="155"/>
                  </a:lnTo>
                  <a:lnTo>
                    <a:pt x="45" y="158"/>
                  </a:lnTo>
                  <a:lnTo>
                    <a:pt x="71" y="28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5" name="Freeform 750"/>
            <p:cNvSpPr>
              <a:spLocks noChangeArrowheads="1"/>
            </p:cNvSpPr>
            <p:nvPr/>
          </p:nvSpPr>
          <p:spPr bwMode="auto">
            <a:xfrm>
              <a:off x="4224338" y="2171700"/>
              <a:ext cx="41275" cy="66675"/>
            </a:xfrm>
            <a:custGeom>
              <a:avLst/>
              <a:gdLst>
                <a:gd name="T0" fmla="*/ 62 w 114"/>
                <a:gd name="T1" fmla="*/ 107 h 184"/>
                <a:gd name="T2" fmla="*/ 45 w 114"/>
                <a:gd name="T3" fmla="*/ 101 h 184"/>
                <a:gd name="T4" fmla="*/ 23 w 114"/>
                <a:gd name="T5" fmla="*/ 172 h 184"/>
                <a:gd name="T6" fmla="*/ 0 w 114"/>
                <a:gd name="T7" fmla="*/ 166 h 184"/>
                <a:gd name="T8" fmla="*/ 57 w 114"/>
                <a:gd name="T9" fmla="*/ 0 h 184"/>
                <a:gd name="T10" fmla="*/ 102 w 114"/>
                <a:gd name="T11" fmla="*/ 14 h 184"/>
                <a:gd name="T12" fmla="*/ 110 w 114"/>
                <a:gd name="T13" fmla="*/ 33 h 184"/>
                <a:gd name="T14" fmla="*/ 90 w 114"/>
                <a:gd name="T15" fmla="*/ 90 h 184"/>
                <a:gd name="T16" fmla="*/ 79 w 114"/>
                <a:gd name="T17" fmla="*/ 98 h 184"/>
                <a:gd name="T18" fmla="*/ 85 w 114"/>
                <a:gd name="T19" fmla="*/ 115 h 184"/>
                <a:gd name="T20" fmla="*/ 62 w 114"/>
                <a:gd name="T21" fmla="*/ 183 h 184"/>
                <a:gd name="T22" fmla="*/ 40 w 114"/>
                <a:gd name="T23" fmla="*/ 175 h 184"/>
                <a:gd name="T24" fmla="*/ 62 w 114"/>
                <a:gd name="T25" fmla="*/ 107 h 184"/>
                <a:gd name="T26" fmla="*/ 51 w 114"/>
                <a:gd name="T27" fmla="*/ 81 h 184"/>
                <a:gd name="T28" fmla="*/ 68 w 114"/>
                <a:gd name="T29" fmla="*/ 87 h 184"/>
                <a:gd name="T30" fmla="*/ 85 w 114"/>
                <a:gd name="T31" fmla="*/ 33 h 184"/>
                <a:gd name="T32" fmla="*/ 68 w 114"/>
                <a:gd name="T33" fmla="*/ 28 h 184"/>
                <a:gd name="T34" fmla="*/ 51 w 114"/>
                <a:gd name="T35" fmla="*/ 8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184">
                  <a:moveTo>
                    <a:pt x="62" y="107"/>
                  </a:moveTo>
                  <a:lnTo>
                    <a:pt x="45" y="101"/>
                  </a:lnTo>
                  <a:lnTo>
                    <a:pt x="23" y="172"/>
                  </a:lnTo>
                  <a:lnTo>
                    <a:pt x="0" y="166"/>
                  </a:lnTo>
                  <a:lnTo>
                    <a:pt x="57" y="0"/>
                  </a:lnTo>
                  <a:lnTo>
                    <a:pt x="102" y="14"/>
                  </a:lnTo>
                  <a:cubicBezTo>
                    <a:pt x="110" y="17"/>
                    <a:pt x="113" y="25"/>
                    <a:pt x="110" y="33"/>
                  </a:cubicBezTo>
                  <a:lnTo>
                    <a:pt x="90" y="90"/>
                  </a:lnTo>
                  <a:cubicBezTo>
                    <a:pt x="90" y="96"/>
                    <a:pt x="85" y="98"/>
                    <a:pt x="79" y="98"/>
                  </a:cubicBezTo>
                  <a:cubicBezTo>
                    <a:pt x="85" y="101"/>
                    <a:pt x="88" y="110"/>
                    <a:pt x="85" y="115"/>
                  </a:cubicBezTo>
                  <a:lnTo>
                    <a:pt x="62" y="183"/>
                  </a:lnTo>
                  <a:lnTo>
                    <a:pt x="40" y="175"/>
                  </a:lnTo>
                  <a:lnTo>
                    <a:pt x="62" y="107"/>
                  </a:lnTo>
                  <a:close/>
                  <a:moveTo>
                    <a:pt x="51" y="81"/>
                  </a:moveTo>
                  <a:lnTo>
                    <a:pt x="68" y="87"/>
                  </a:lnTo>
                  <a:lnTo>
                    <a:pt x="85" y="33"/>
                  </a:lnTo>
                  <a:lnTo>
                    <a:pt x="68" y="28"/>
                  </a:lnTo>
                  <a:lnTo>
                    <a:pt x="51" y="81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6" name="Freeform 751"/>
            <p:cNvSpPr>
              <a:spLocks noChangeArrowheads="1"/>
            </p:cNvSpPr>
            <p:nvPr/>
          </p:nvSpPr>
          <p:spPr bwMode="auto">
            <a:xfrm>
              <a:off x="4267200" y="2190750"/>
              <a:ext cx="47625" cy="66675"/>
            </a:xfrm>
            <a:custGeom>
              <a:avLst/>
              <a:gdLst>
                <a:gd name="T0" fmla="*/ 70 w 133"/>
                <a:gd name="T1" fmla="*/ 12 h 185"/>
                <a:gd name="T2" fmla="*/ 90 w 133"/>
                <a:gd name="T3" fmla="*/ 6 h 185"/>
                <a:gd name="T4" fmla="*/ 121 w 133"/>
                <a:gd name="T5" fmla="*/ 20 h 185"/>
                <a:gd name="T6" fmla="*/ 127 w 133"/>
                <a:gd name="T7" fmla="*/ 40 h 185"/>
                <a:gd name="T8" fmla="*/ 62 w 133"/>
                <a:gd name="T9" fmla="*/ 172 h 185"/>
                <a:gd name="T10" fmla="*/ 42 w 133"/>
                <a:gd name="T11" fmla="*/ 178 h 185"/>
                <a:gd name="T12" fmla="*/ 11 w 133"/>
                <a:gd name="T13" fmla="*/ 164 h 185"/>
                <a:gd name="T14" fmla="*/ 2 w 133"/>
                <a:gd name="T15" fmla="*/ 144 h 185"/>
                <a:gd name="T16" fmla="*/ 70 w 133"/>
                <a:gd name="T17" fmla="*/ 12 h 185"/>
                <a:gd name="T18" fmla="*/ 104 w 133"/>
                <a:gd name="T19" fmla="*/ 37 h 185"/>
                <a:gd name="T20" fmla="*/ 87 w 133"/>
                <a:gd name="T21" fmla="*/ 28 h 185"/>
                <a:gd name="T22" fmla="*/ 31 w 133"/>
                <a:gd name="T23" fmla="*/ 147 h 185"/>
                <a:gd name="T24" fmla="*/ 48 w 133"/>
                <a:gd name="T25" fmla="*/ 155 h 185"/>
                <a:gd name="T26" fmla="*/ 104 w 133"/>
                <a:gd name="T27" fmla="*/ 3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3" h="185">
                  <a:moveTo>
                    <a:pt x="70" y="12"/>
                  </a:moveTo>
                  <a:cubicBezTo>
                    <a:pt x="73" y="3"/>
                    <a:pt x="81" y="0"/>
                    <a:pt x="90" y="6"/>
                  </a:cubicBezTo>
                  <a:lnTo>
                    <a:pt x="121" y="20"/>
                  </a:lnTo>
                  <a:cubicBezTo>
                    <a:pt x="129" y="23"/>
                    <a:pt x="132" y="34"/>
                    <a:pt x="127" y="40"/>
                  </a:cubicBezTo>
                  <a:lnTo>
                    <a:pt x="62" y="172"/>
                  </a:lnTo>
                  <a:cubicBezTo>
                    <a:pt x="59" y="181"/>
                    <a:pt x="50" y="184"/>
                    <a:pt x="42" y="178"/>
                  </a:cubicBezTo>
                  <a:lnTo>
                    <a:pt x="11" y="164"/>
                  </a:lnTo>
                  <a:cubicBezTo>
                    <a:pt x="2" y="161"/>
                    <a:pt x="0" y="153"/>
                    <a:pt x="2" y="144"/>
                  </a:cubicBezTo>
                  <a:lnTo>
                    <a:pt x="70" y="12"/>
                  </a:lnTo>
                  <a:close/>
                  <a:moveTo>
                    <a:pt x="104" y="37"/>
                  </a:moveTo>
                  <a:lnTo>
                    <a:pt x="87" y="28"/>
                  </a:lnTo>
                  <a:lnTo>
                    <a:pt x="31" y="147"/>
                  </a:lnTo>
                  <a:lnTo>
                    <a:pt x="48" y="155"/>
                  </a:lnTo>
                  <a:lnTo>
                    <a:pt x="104" y="37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7" name="Freeform 752"/>
            <p:cNvSpPr>
              <a:spLocks noChangeArrowheads="1"/>
            </p:cNvSpPr>
            <p:nvPr/>
          </p:nvSpPr>
          <p:spPr bwMode="auto">
            <a:xfrm>
              <a:off x="4308475" y="2214563"/>
              <a:ext cx="57150" cy="66675"/>
            </a:xfrm>
            <a:custGeom>
              <a:avLst/>
              <a:gdLst>
                <a:gd name="T0" fmla="*/ 122 w 159"/>
                <a:gd name="T1" fmla="*/ 17 h 187"/>
                <a:gd name="T2" fmla="*/ 91 w 159"/>
                <a:gd name="T3" fmla="*/ 101 h 187"/>
                <a:gd name="T4" fmla="*/ 139 w 159"/>
                <a:gd name="T5" fmla="*/ 28 h 187"/>
                <a:gd name="T6" fmla="*/ 158 w 159"/>
                <a:gd name="T7" fmla="*/ 39 h 187"/>
                <a:gd name="T8" fmla="*/ 62 w 159"/>
                <a:gd name="T9" fmla="*/ 186 h 187"/>
                <a:gd name="T10" fmla="*/ 40 w 159"/>
                <a:gd name="T11" fmla="*/ 172 h 187"/>
                <a:gd name="T12" fmla="*/ 74 w 159"/>
                <a:gd name="T13" fmla="*/ 79 h 187"/>
                <a:gd name="T14" fmla="*/ 20 w 159"/>
                <a:gd name="T15" fmla="*/ 158 h 187"/>
                <a:gd name="T16" fmla="*/ 0 w 159"/>
                <a:gd name="T17" fmla="*/ 147 h 187"/>
                <a:gd name="T18" fmla="*/ 96 w 159"/>
                <a:gd name="T19" fmla="*/ 0 h 187"/>
                <a:gd name="T20" fmla="*/ 122 w 159"/>
                <a:gd name="T21" fmla="*/ 1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9" h="187">
                  <a:moveTo>
                    <a:pt x="122" y="17"/>
                  </a:moveTo>
                  <a:lnTo>
                    <a:pt x="91" y="101"/>
                  </a:lnTo>
                  <a:lnTo>
                    <a:pt x="139" y="28"/>
                  </a:lnTo>
                  <a:lnTo>
                    <a:pt x="158" y="39"/>
                  </a:lnTo>
                  <a:lnTo>
                    <a:pt x="62" y="186"/>
                  </a:lnTo>
                  <a:lnTo>
                    <a:pt x="40" y="172"/>
                  </a:lnTo>
                  <a:lnTo>
                    <a:pt x="74" y="79"/>
                  </a:lnTo>
                  <a:lnTo>
                    <a:pt x="20" y="158"/>
                  </a:lnTo>
                  <a:lnTo>
                    <a:pt x="0" y="147"/>
                  </a:lnTo>
                  <a:lnTo>
                    <a:pt x="96" y="0"/>
                  </a:lnTo>
                  <a:lnTo>
                    <a:pt x="122" y="17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8" name="Freeform 753"/>
            <p:cNvSpPr>
              <a:spLocks noChangeArrowheads="1"/>
            </p:cNvSpPr>
            <p:nvPr/>
          </p:nvSpPr>
          <p:spPr bwMode="auto">
            <a:xfrm>
              <a:off x="4352925" y="2246313"/>
              <a:ext cx="52388" cy="58737"/>
            </a:xfrm>
            <a:custGeom>
              <a:avLst/>
              <a:gdLst>
                <a:gd name="T0" fmla="*/ 98 w 147"/>
                <a:gd name="T1" fmla="*/ 31 h 165"/>
                <a:gd name="T2" fmla="*/ 84 w 147"/>
                <a:gd name="T3" fmla="*/ 17 h 165"/>
                <a:gd name="T4" fmla="*/ 98 w 147"/>
                <a:gd name="T5" fmla="*/ 0 h 165"/>
                <a:gd name="T6" fmla="*/ 146 w 147"/>
                <a:gd name="T7" fmla="*/ 43 h 165"/>
                <a:gd name="T8" fmla="*/ 132 w 147"/>
                <a:gd name="T9" fmla="*/ 60 h 165"/>
                <a:gd name="T10" fmla="*/ 118 w 147"/>
                <a:gd name="T11" fmla="*/ 46 h 165"/>
                <a:gd name="T12" fmla="*/ 17 w 147"/>
                <a:gd name="T13" fmla="*/ 164 h 165"/>
                <a:gd name="T14" fmla="*/ 0 w 147"/>
                <a:gd name="T15" fmla="*/ 150 h 165"/>
                <a:gd name="T16" fmla="*/ 98 w 147"/>
                <a:gd name="T17" fmla="*/ 3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165">
                  <a:moveTo>
                    <a:pt x="98" y="31"/>
                  </a:moveTo>
                  <a:lnTo>
                    <a:pt x="84" y="17"/>
                  </a:lnTo>
                  <a:lnTo>
                    <a:pt x="98" y="0"/>
                  </a:lnTo>
                  <a:lnTo>
                    <a:pt x="146" y="43"/>
                  </a:lnTo>
                  <a:lnTo>
                    <a:pt x="132" y="60"/>
                  </a:lnTo>
                  <a:lnTo>
                    <a:pt x="118" y="46"/>
                  </a:lnTo>
                  <a:lnTo>
                    <a:pt x="17" y="164"/>
                  </a:lnTo>
                  <a:lnTo>
                    <a:pt x="0" y="150"/>
                  </a:lnTo>
                  <a:lnTo>
                    <a:pt x="98" y="31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9" name="Freeform 754"/>
            <p:cNvSpPr>
              <a:spLocks noChangeArrowheads="1"/>
            </p:cNvSpPr>
            <p:nvPr/>
          </p:nvSpPr>
          <p:spPr bwMode="auto">
            <a:xfrm>
              <a:off x="4381500" y="2282825"/>
              <a:ext cx="58738" cy="57150"/>
            </a:xfrm>
            <a:custGeom>
              <a:avLst/>
              <a:gdLst>
                <a:gd name="T0" fmla="*/ 113 w 164"/>
                <a:gd name="T1" fmla="*/ 6 h 159"/>
                <a:gd name="T2" fmla="*/ 135 w 164"/>
                <a:gd name="T3" fmla="*/ 6 h 159"/>
                <a:gd name="T4" fmla="*/ 158 w 164"/>
                <a:gd name="T5" fmla="*/ 31 h 159"/>
                <a:gd name="T6" fmla="*/ 158 w 164"/>
                <a:gd name="T7" fmla="*/ 54 h 159"/>
                <a:gd name="T8" fmla="*/ 50 w 164"/>
                <a:gd name="T9" fmla="*/ 152 h 159"/>
                <a:gd name="T10" fmla="*/ 28 w 164"/>
                <a:gd name="T11" fmla="*/ 152 h 159"/>
                <a:gd name="T12" fmla="*/ 5 w 164"/>
                <a:gd name="T13" fmla="*/ 127 h 159"/>
                <a:gd name="T14" fmla="*/ 5 w 164"/>
                <a:gd name="T15" fmla="*/ 104 h 159"/>
                <a:gd name="T16" fmla="*/ 113 w 164"/>
                <a:gd name="T17" fmla="*/ 6 h 159"/>
                <a:gd name="T18" fmla="*/ 135 w 164"/>
                <a:gd name="T19" fmla="*/ 42 h 159"/>
                <a:gd name="T20" fmla="*/ 121 w 164"/>
                <a:gd name="T21" fmla="*/ 28 h 159"/>
                <a:gd name="T22" fmla="*/ 25 w 164"/>
                <a:gd name="T23" fmla="*/ 118 h 159"/>
                <a:gd name="T24" fmla="*/ 39 w 164"/>
                <a:gd name="T25" fmla="*/ 133 h 159"/>
                <a:gd name="T26" fmla="*/ 135 w 164"/>
                <a:gd name="T27" fmla="*/ 4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4" h="159">
                  <a:moveTo>
                    <a:pt x="113" y="6"/>
                  </a:moveTo>
                  <a:cubicBezTo>
                    <a:pt x="118" y="0"/>
                    <a:pt x="129" y="0"/>
                    <a:pt x="135" y="6"/>
                  </a:cubicBezTo>
                  <a:lnTo>
                    <a:pt x="158" y="31"/>
                  </a:lnTo>
                  <a:cubicBezTo>
                    <a:pt x="163" y="37"/>
                    <a:pt x="163" y="48"/>
                    <a:pt x="158" y="54"/>
                  </a:cubicBezTo>
                  <a:lnTo>
                    <a:pt x="50" y="152"/>
                  </a:lnTo>
                  <a:cubicBezTo>
                    <a:pt x="45" y="158"/>
                    <a:pt x="34" y="158"/>
                    <a:pt x="28" y="152"/>
                  </a:cubicBezTo>
                  <a:lnTo>
                    <a:pt x="5" y="127"/>
                  </a:lnTo>
                  <a:cubicBezTo>
                    <a:pt x="0" y="121"/>
                    <a:pt x="0" y="113"/>
                    <a:pt x="5" y="104"/>
                  </a:cubicBezTo>
                  <a:lnTo>
                    <a:pt x="113" y="6"/>
                  </a:lnTo>
                  <a:close/>
                  <a:moveTo>
                    <a:pt x="135" y="42"/>
                  </a:moveTo>
                  <a:lnTo>
                    <a:pt x="121" y="28"/>
                  </a:lnTo>
                  <a:lnTo>
                    <a:pt x="25" y="118"/>
                  </a:lnTo>
                  <a:lnTo>
                    <a:pt x="39" y="133"/>
                  </a:lnTo>
                  <a:lnTo>
                    <a:pt x="135" y="42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0" name="Freeform 755"/>
            <p:cNvSpPr>
              <a:spLocks noChangeArrowheads="1"/>
            </p:cNvSpPr>
            <p:nvPr/>
          </p:nvSpPr>
          <p:spPr bwMode="auto">
            <a:xfrm>
              <a:off x="3722688" y="2463800"/>
              <a:ext cx="19050" cy="19050"/>
            </a:xfrm>
            <a:custGeom>
              <a:avLst/>
              <a:gdLst>
                <a:gd name="T0" fmla="*/ 51 w 52"/>
                <a:gd name="T1" fmla="*/ 25 h 52"/>
                <a:gd name="T2" fmla="*/ 48 w 52"/>
                <a:gd name="T3" fmla="*/ 38 h 52"/>
                <a:gd name="T4" fmla="*/ 38 w 52"/>
                <a:gd name="T5" fmla="*/ 47 h 52"/>
                <a:gd name="T6" fmla="*/ 26 w 52"/>
                <a:gd name="T7" fmla="*/ 51 h 52"/>
                <a:gd name="T8" fmla="*/ 13 w 52"/>
                <a:gd name="T9" fmla="*/ 47 h 52"/>
                <a:gd name="T10" fmla="*/ 4 w 52"/>
                <a:gd name="T11" fmla="*/ 38 h 52"/>
                <a:gd name="T12" fmla="*/ 0 w 52"/>
                <a:gd name="T13" fmla="*/ 25 h 52"/>
                <a:gd name="T14" fmla="*/ 4 w 52"/>
                <a:gd name="T15" fmla="*/ 13 h 52"/>
                <a:gd name="T16" fmla="*/ 13 w 52"/>
                <a:gd name="T17" fmla="*/ 3 h 52"/>
                <a:gd name="T18" fmla="*/ 26 w 52"/>
                <a:gd name="T19" fmla="*/ 0 h 52"/>
                <a:gd name="T20" fmla="*/ 38 w 52"/>
                <a:gd name="T21" fmla="*/ 3 h 52"/>
                <a:gd name="T22" fmla="*/ 48 w 52"/>
                <a:gd name="T23" fmla="*/ 13 h 52"/>
                <a:gd name="T24" fmla="*/ 51 w 52"/>
                <a:gd name="T25" fmla="*/ 2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52">
                  <a:moveTo>
                    <a:pt x="51" y="25"/>
                  </a:moveTo>
                  <a:cubicBezTo>
                    <a:pt x="51" y="30"/>
                    <a:pt x="50" y="34"/>
                    <a:pt x="48" y="38"/>
                  </a:cubicBezTo>
                  <a:cubicBezTo>
                    <a:pt x="45" y="42"/>
                    <a:pt x="42" y="44"/>
                    <a:pt x="38" y="47"/>
                  </a:cubicBezTo>
                  <a:cubicBezTo>
                    <a:pt x="34" y="49"/>
                    <a:pt x="30" y="51"/>
                    <a:pt x="26" y="51"/>
                  </a:cubicBezTo>
                  <a:cubicBezTo>
                    <a:pt x="21" y="51"/>
                    <a:pt x="17" y="49"/>
                    <a:pt x="13" y="47"/>
                  </a:cubicBezTo>
                  <a:cubicBezTo>
                    <a:pt x="9" y="44"/>
                    <a:pt x="6" y="42"/>
                    <a:pt x="4" y="38"/>
                  </a:cubicBezTo>
                  <a:cubicBezTo>
                    <a:pt x="1" y="34"/>
                    <a:pt x="0" y="29"/>
                    <a:pt x="0" y="25"/>
                  </a:cubicBezTo>
                  <a:cubicBezTo>
                    <a:pt x="0" y="20"/>
                    <a:pt x="1" y="17"/>
                    <a:pt x="4" y="13"/>
                  </a:cubicBezTo>
                  <a:cubicBezTo>
                    <a:pt x="6" y="9"/>
                    <a:pt x="9" y="5"/>
                    <a:pt x="13" y="3"/>
                  </a:cubicBezTo>
                  <a:cubicBezTo>
                    <a:pt x="17" y="0"/>
                    <a:pt x="21" y="0"/>
                    <a:pt x="26" y="0"/>
                  </a:cubicBezTo>
                  <a:cubicBezTo>
                    <a:pt x="30" y="0"/>
                    <a:pt x="34" y="0"/>
                    <a:pt x="38" y="3"/>
                  </a:cubicBezTo>
                  <a:cubicBezTo>
                    <a:pt x="42" y="5"/>
                    <a:pt x="45" y="9"/>
                    <a:pt x="48" y="13"/>
                  </a:cubicBezTo>
                  <a:cubicBezTo>
                    <a:pt x="50" y="17"/>
                    <a:pt x="51" y="21"/>
                    <a:pt x="51" y="2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1" name="Freeform 756"/>
            <p:cNvSpPr>
              <a:spLocks noChangeArrowheads="1"/>
            </p:cNvSpPr>
            <p:nvPr/>
          </p:nvSpPr>
          <p:spPr bwMode="auto">
            <a:xfrm>
              <a:off x="4445000" y="2336800"/>
              <a:ext cx="19050" cy="19050"/>
            </a:xfrm>
            <a:custGeom>
              <a:avLst/>
              <a:gdLst>
                <a:gd name="T0" fmla="*/ 51 w 52"/>
                <a:gd name="T1" fmla="*/ 26 h 52"/>
                <a:gd name="T2" fmla="*/ 48 w 52"/>
                <a:gd name="T3" fmla="*/ 39 h 52"/>
                <a:gd name="T4" fmla="*/ 39 w 52"/>
                <a:gd name="T5" fmla="*/ 48 h 52"/>
                <a:gd name="T6" fmla="*/ 26 w 52"/>
                <a:gd name="T7" fmla="*/ 51 h 52"/>
                <a:gd name="T8" fmla="*/ 13 w 52"/>
                <a:gd name="T9" fmla="*/ 48 h 52"/>
                <a:gd name="T10" fmla="*/ 4 w 52"/>
                <a:gd name="T11" fmla="*/ 39 h 52"/>
                <a:gd name="T12" fmla="*/ 0 w 52"/>
                <a:gd name="T13" fmla="*/ 26 h 52"/>
                <a:gd name="T14" fmla="*/ 4 w 52"/>
                <a:gd name="T15" fmla="*/ 13 h 52"/>
                <a:gd name="T16" fmla="*/ 13 w 52"/>
                <a:gd name="T17" fmla="*/ 4 h 52"/>
                <a:gd name="T18" fmla="*/ 26 w 52"/>
                <a:gd name="T19" fmla="*/ 0 h 52"/>
                <a:gd name="T20" fmla="*/ 39 w 52"/>
                <a:gd name="T21" fmla="*/ 4 h 52"/>
                <a:gd name="T22" fmla="*/ 48 w 52"/>
                <a:gd name="T23" fmla="*/ 13 h 52"/>
                <a:gd name="T24" fmla="*/ 51 w 52"/>
                <a:gd name="T25" fmla="*/ 2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52">
                  <a:moveTo>
                    <a:pt x="51" y="26"/>
                  </a:moveTo>
                  <a:cubicBezTo>
                    <a:pt x="51" y="30"/>
                    <a:pt x="51" y="34"/>
                    <a:pt x="48" y="39"/>
                  </a:cubicBezTo>
                  <a:cubicBezTo>
                    <a:pt x="46" y="43"/>
                    <a:pt x="44" y="45"/>
                    <a:pt x="39" y="48"/>
                  </a:cubicBezTo>
                  <a:cubicBezTo>
                    <a:pt x="35" y="50"/>
                    <a:pt x="31" y="51"/>
                    <a:pt x="26" y="51"/>
                  </a:cubicBezTo>
                  <a:cubicBezTo>
                    <a:pt x="22" y="51"/>
                    <a:pt x="17" y="50"/>
                    <a:pt x="13" y="48"/>
                  </a:cubicBezTo>
                  <a:cubicBezTo>
                    <a:pt x="9" y="45"/>
                    <a:pt x="7" y="43"/>
                    <a:pt x="4" y="39"/>
                  </a:cubicBezTo>
                  <a:cubicBezTo>
                    <a:pt x="2" y="34"/>
                    <a:pt x="0" y="30"/>
                    <a:pt x="0" y="26"/>
                  </a:cubicBezTo>
                  <a:cubicBezTo>
                    <a:pt x="0" y="21"/>
                    <a:pt x="2" y="17"/>
                    <a:pt x="4" y="13"/>
                  </a:cubicBezTo>
                  <a:cubicBezTo>
                    <a:pt x="7" y="9"/>
                    <a:pt x="9" y="6"/>
                    <a:pt x="13" y="4"/>
                  </a:cubicBezTo>
                  <a:cubicBezTo>
                    <a:pt x="17" y="1"/>
                    <a:pt x="21" y="0"/>
                    <a:pt x="26" y="0"/>
                  </a:cubicBezTo>
                  <a:cubicBezTo>
                    <a:pt x="30" y="0"/>
                    <a:pt x="35" y="1"/>
                    <a:pt x="39" y="4"/>
                  </a:cubicBezTo>
                  <a:cubicBezTo>
                    <a:pt x="44" y="6"/>
                    <a:pt x="46" y="9"/>
                    <a:pt x="48" y="13"/>
                  </a:cubicBezTo>
                  <a:cubicBezTo>
                    <a:pt x="51" y="17"/>
                    <a:pt x="51" y="21"/>
                    <a:pt x="51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2" name="Freeform 757"/>
            <p:cNvSpPr>
              <a:spLocks noChangeArrowheads="1"/>
            </p:cNvSpPr>
            <p:nvPr/>
          </p:nvSpPr>
          <p:spPr bwMode="auto">
            <a:xfrm>
              <a:off x="3681413" y="2378075"/>
              <a:ext cx="917575" cy="657225"/>
            </a:xfrm>
            <a:custGeom>
              <a:avLst/>
              <a:gdLst>
                <a:gd name="T0" fmla="*/ 1237 w 2550"/>
                <a:gd name="T1" fmla="*/ 1734 h 1825"/>
                <a:gd name="T2" fmla="*/ 90 w 2550"/>
                <a:gd name="T3" fmla="*/ 583 h 1825"/>
                <a:gd name="T4" fmla="*/ 113 w 2550"/>
                <a:gd name="T5" fmla="*/ 361 h 1825"/>
                <a:gd name="T6" fmla="*/ 124 w 2550"/>
                <a:gd name="T7" fmla="*/ 364 h 1825"/>
                <a:gd name="T8" fmla="*/ 1015 w 2550"/>
                <a:gd name="T9" fmla="*/ 1700 h 1825"/>
                <a:gd name="T10" fmla="*/ 2352 w 2550"/>
                <a:gd name="T11" fmla="*/ 809 h 1825"/>
                <a:gd name="T12" fmla="*/ 2214 w 2550"/>
                <a:gd name="T13" fmla="*/ 6 h 1825"/>
                <a:gd name="T14" fmla="*/ 2225 w 2550"/>
                <a:gd name="T15" fmla="*/ 0 h 1825"/>
                <a:gd name="T16" fmla="*/ 1827 w 2550"/>
                <a:gd name="T17" fmla="*/ 1576 h 1825"/>
                <a:gd name="T18" fmla="*/ 1237 w 2550"/>
                <a:gd name="T19" fmla="*/ 173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50" h="1825">
                  <a:moveTo>
                    <a:pt x="1237" y="1734"/>
                  </a:moveTo>
                  <a:cubicBezTo>
                    <a:pt x="604" y="1734"/>
                    <a:pt x="87" y="1218"/>
                    <a:pt x="90" y="583"/>
                  </a:cubicBezTo>
                  <a:cubicBezTo>
                    <a:pt x="90" y="508"/>
                    <a:pt x="98" y="435"/>
                    <a:pt x="113" y="361"/>
                  </a:cubicBezTo>
                  <a:lnTo>
                    <a:pt x="124" y="364"/>
                  </a:lnTo>
                  <a:cubicBezTo>
                    <a:pt x="0" y="978"/>
                    <a:pt x="399" y="1576"/>
                    <a:pt x="1015" y="1700"/>
                  </a:cubicBezTo>
                  <a:cubicBezTo>
                    <a:pt x="1630" y="1824"/>
                    <a:pt x="2228" y="1424"/>
                    <a:pt x="2352" y="809"/>
                  </a:cubicBezTo>
                  <a:cubicBezTo>
                    <a:pt x="2408" y="533"/>
                    <a:pt x="2358" y="246"/>
                    <a:pt x="2214" y="6"/>
                  </a:cubicBezTo>
                  <a:lnTo>
                    <a:pt x="2225" y="0"/>
                  </a:lnTo>
                  <a:cubicBezTo>
                    <a:pt x="2549" y="545"/>
                    <a:pt x="2372" y="1249"/>
                    <a:pt x="1827" y="1576"/>
                  </a:cubicBezTo>
                  <a:cubicBezTo>
                    <a:pt x="1647" y="1678"/>
                    <a:pt x="1443" y="1734"/>
                    <a:pt x="1237" y="173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3" name="Freeform 758"/>
            <p:cNvSpPr>
              <a:spLocks noChangeArrowheads="1"/>
            </p:cNvSpPr>
            <p:nvPr/>
          </p:nvSpPr>
          <p:spPr bwMode="auto">
            <a:xfrm>
              <a:off x="4046538" y="2782888"/>
              <a:ext cx="55562" cy="120650"/>
            </a:xfrm>
            <a:custGeom>
              <a:avLst/>
              <a:gdLst>
                <a:gd name="T0" fmla="*/ 0 w 154"/>
                <a:gd name="T1" fmla="*/ 8 h 336"/>
                <a:gd name="T2" fmla="*/ 43 w 154"/>
                <a:gd name="T3" fmla="*/ 0 h 336"/>
                <a:gd name="T4" fmla="*/ 93 w 154"/>
                <a:gd name="T5" fmla="*/ 285 h 336"/>
                <a:gd name="T6" fmla="*/ 144 w 154"/>
                <a:gd name="T7" fmla="*/ 276 h 336"/>
                <a:gd name="T8" fmla="*/ 153 w 154"/>
                <a:gd name="T9" fmla="*/ 319 h 336"/>
                <a:gd name="T10" fmla="*/ 60 w 154"/>
                <a:gd name="T11" fmla="*/ 335 h 336"/>
                <a:gd name="T12" fmla="*/ 0 w 154"/>
                <a:gd name="T13" fmla="*/ 8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" h="336">
                  <a:moveTo>
                    <a:pt x="0" y="8"/>
                  </a:moveTo>
                  <a:lnTo>
                    <a:pt x="43" y="0"/>
                  </a:lnTo>
                  <a:lnTo>
                    <a:pt x="93" y="285"/>
                  </a:lnTo>
                  <a:lnTo>
                    <a:pt x="144" y="276"/>
                  </a:lnTo>
                  <a:lnTo>
                    <a:pt x="153" y="319"/>
                  </a:lnTo>
                  <a:lnTo>
                    <a:pt x="60" y="335"/>
                  </a:lnTo>
                  <a:lnTo>
                    <a:pt x="0" y="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4" name="Freeform 759"/>
            <p:cNvSpPr>
              <a:spLocks noChangeArrowheads="1"/>
            </p:cNvSpPr>
            <p:nvPr/>
          </p:nvSpPr>
          <p:spPr bwMode="auto">
            <a:xfrm>
              <a:off x="4111625" y="2768600"/>
              <a:ext cx="60325" cy="125413"/>
            </a:xfrm>
            <a:custGeom>
              <a:avLst/>
              <a:gdLst>
                <a:gd name="T0" fmla="*/ 106 w 169"/>
                <a:gd name="T1" fmla="*/ 265 h 348"/>
                <a:gd name="T2" fmla="*/ 58 w 169"/>
                <a:gd name="T3" fmla="*/ 274 h 348"/>
                <a:gd name="T4" fmla="*/ 64 w 169"/>
                <a:gd name="T5" fmla="*/ 339 h 348"/>
                <a:gd name="T6" fmla="*/ 23 w 169"/>
                <a:gd name="T7" fmla="*/ 347 h 348"/>
                <a:gd name="T8" fmla="*/ 0 w 169"/>
                <a:gd name="T9" fmla="*/ 14 h 348"/>
                <a:gd name="T10" fmla="*/ 75 w 169"/>
                <a:gd name="T11" fmla="*/ 0 h 348"/>
                <a:gd name="T12" fmla="*/ 168 w 169"/>
                <a:gd name="T13" fmla="*/ 322 h 348"/>
                <a:gd name="T14" fmla="*/ 123 w 169"/>
                <a:gd name="T15" fmla="*/ 327 h 348"/>
                <a:gd name="T16" fmla="*/ 106 w 169"/>
                <a:gd name="T17" fmla="*/ 265 h 348"/>
                <a:gd name="T18" fmla="*/ 56 w 169"/>
                <a:gd name="T19" fmla="*/ 231 h 348"/>
                <a:gd name="T20" fmla="*/ 92 w 169"/>
                <a:gd name="T21" fmla="*/ 226 h 348"/>
                <a:gd name="T22" fmla="*/ 41 w 169"/>
                <a:gd name="T23" fmla="*/ 51 h 348"/>
                <a:gd name="T24" fmla="*/ 56 w 169"/>
                <a:gd name="T25" fmla="*/ 231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" h="348">
                  <a:moveTo>
                    <a:pt x="106" y="265"/>
                  </a:moveTo>
                  <a:lnTo>
                    <a:pt x="58" y="274"/>
                  </a:lnTo>
                  <a:lnTo>
                    <a:pt x="64" y="339"/>
                  </a:lnTo>
                  <a:lnTo>
                    <a:pt x="23" y="347"/>
                  </a:lnTo>
                  <a:lnTo>
                    <a:pt x="0" y="14"/>
                  </a:lnTo>
                  <a:lnTo>
                    <a:pt x="75" y="0"/>
                  </a:lnTo>
                  <a:lnTo>
                    <a:pt x="168" y="322"/>
                  </a:lnTo>
                  <a:lnTo>
                    <a:pt x="123" y="327"/>
                  </a:lnTo>
                  <a:lnTo>
                    <a:pt x="106" y="265"/>
                  </a:lnTo>
                  <a:close/>
                  <a:moveTo>
                    <a:pt x="56" y="231"/>
                  </a:moveTo>
                  <a:lnTo>
                    <a:pt x="92" y="226"/>
                  </a:lnTo>
                  <a:lnTo>
                    <a:pt x="41" y="51"/>
                  </a:lnTo>
                  <a:lnTo>
                    <a:pt x="56" y="231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5" name="Freeform 760"/>
            <p:cNvSpPr>
              <a:spLocks noChangeArrowheads="1"/>
            </p:cNvSpPr>
            <p:nvPr/>
          </p:nvSpPr>
          <p:spPr bwMode="auto">
            <a:xfrm>
              <a:off x="4171950" y="2757488"/>
              <a:ext cx="65088" cy="123825"/>
            </a:xfrm>
            <a:custGeom>
              <a:avLst/>
              <a:gdLst>
                <a:gd name="T0" fmla="*/ 0 w 179"/>
                <a:gd name="T1" fmla="*/ 17 h 345"/>
                <a:gd name="T2" fmla="*/ 88 w 179"/>
                <a:gd name="T3" fmla="*/ 3 h 345"/>
                <a:gd name="T4" fmla="*/ 122 w 179"/>
                <a:gd name="T5" fmla="*/ 26 h 345"/>
                <a:gd name="T6" fmla="*/ 141 w 179"/>
                <a:gd name="T7" fmla="*/ 130 h 345"/>
                <a:gd name="T8" fmla="*/ 130 w 179"/>
                <a:gd name="T9" fmla="*/ 155 h 345"/>
                <a:gd name="T10" fmla="*/ 156 w 179"/>
                <a:gd name="T11" fmla="*/ 181 h 345"/>
                <a:gd name="T12" fmla="*/ 175 w 179"/>
                <a:gd name="T13" fmla="*/ 296 h 345"/>
                <a:gd name="T14" fmla="*/ 153 w 179"/>
                <a:gd name="T15" fmla="*/ 330 h 345"/>
                <a:gd name="T16" fmla="*/ 57 w 179"/>
                <a:gd name="T17" fmla="*/ 344 h 345"/>
                <a:gd name="T18" fmla="*/ 0 w 179"/>
                <a:gd name="T19" fmla="*/ 17 h 345"/>
                <a:gd name="T20" fmla="*/ 65 w 179"/>
                <a:gd name="T21" fmla="*/ 147 h 345"/>
                <a:gd name="T22" fmla="*/ 96 w 179"/>
                <a:gd name="T23" fmla="*/ 141 h 345"/>
                <a:gd name="T24" fmla="*/ 79 w 179"/>
                <a:gd name="T25" fmla="*/ 45 h 345"/>
                <a:gd name="T26" fmla="*/ 48 w 179"/>
                <a:gd name="T27" fmla="*/ 51 h 345"/>
                <a:gd name="T28" fmla="*/ 65 w 179"/>
                <a:gd name="T29" fmla="*/ 147 h 345"/>
                <a:gd name="T30" fmla="*/ 127 w 179"/>
                <a:gd name="T31" fmla="*/ 288 h 345"/>
                <a:gd name="T32" fmla="*/ 108 w 179"/>
                <a:gd name="T33" fmla="*/ 184 h 345"/>
                <a:gd name="T34" fmla="*/ 71 w 179"/>
                <a:gd name="T35" fmla="*/ 189 h 345"/>
                <a:gd name="T36" fmla="*/ 91 w 179"/>
                <a:gd name="T37" fmla="*/ 294 h 345"/>
                <a:gd name="T38" fmla="*/ 127 w 179"/>
                <a:gd name="T39" fmla="*/ 288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9" h="345">
                  <a:moveTo>
                    <a:pt x="0" y="17"/>
                  </a:moveTo>
                  <a:lnTo>
                    <a:pt x="88" y="3"/>
                  </a:lnTo>
                  <a:cubicBezTo>
                    <a:pt x="102" y="0"/>
                    <a:pt x="119" y="12"/>
                    <a:pt x="122" y="26"/>
                  </a:cubicBezTo>
                  <a:lnTo>
                    <a:pt x="141" y="130"/>
                  </a:lnTo>
                  <a:cubicBezTo>
                    <a:pt x="144" y="141"/>
                    <a:pt x="139" y="150"/>
                    <a:pt x="130" y="155"/>
                  </a:cubicBezTo>
                  <a:cubicBezTo>
                    <a:pt x="144" y="158"/>
                    <a:pt x="153" y="167"/>
                    <a:pt x="156" y="181"/>
                  </a:cubicBezTo>
                  <a:cubicBezTo>
                    <a:pt x="158" y="192"/>
                    <a:pt x="175" y="288"/>
                    <a:pt x="175" y="296"/>
                  </a:cubicBezTo>
                  <a:cubicBezTo>
                    <a:pt x="178" y="311"/>
                    <a:pt x="167" y="327"/>
                    <a:pt x="153" y="330"/>
                  </a:cubicBezTo>
                  <a:lnTo>
                    <a:pt x="57" y="344"/>
                  </a:lnTo>
                  <a:lnTo>
                    <a:pt x="0" y="17"/>
                  </a:lnTo>
                  <a:close/>
                  <a:moveTo>
                    <a:pt x="65" y="147"/>
                  </a:moveTo>
                  <a:lnTo>
                    <a:pt x="96" y="141"/>
                  </a:lnTo>
                  <a:lnTo>
                    <a:pt x="79" y="45"/>
                  </a:lnTo>
                  <a:lnTo>
                    <a:pt x="48" y="51"/>
                  </a:lnTo>
                  <a:lnTo>
                    <a:pt x="65" y="147"/>
                  </a:lnTo>
                  <a:close/>
                  <a:moveTo>
                    <a:pt x="127" y="288"/>
                  </a:moveTo>
                  <a:lnTo>
                    <a:pt x="108" y="184"/>
                  </a:lnTo>
                  <a:lnTo>
                    <a:pt x="71" y="189"/>
                  </a:lnTo>
                  <a:lnTo>
                    <a:pt x="91" y="294"/>
                  </a:lnTo>
                  <a:lnTo>
                    <a:pt x="127" y="288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6" name="Freeform 761"/>
            <p:cNvSpPr>
              <a:spLocks noChangeArrowheads="1"/>
            </p:cNvSpPr>
            <p:nvPr/>
          </p:nvSpPr>
          <p:spPr bwMode="auto">
            <a:xfrm>
              <a:off x="4240213" y="2743200"/>
              <a:ext cx="63500" cy="125413"/>
            </a:xfrm>
            <a:custGeom>
              <a:avLst/>
              <a:gdLst>
                <a:gd name="T0" fmla="*/ 82 w 176"/>
                <a:gd name="T1" fmla="*/ 242 h 348"/>
                <a:gd name="T2" fmla="*/ 93 w 176"/>
                <a:gd name="T3" fmla="*/ 299 h 348"/>
                <a:gd name="T4" fmla="*/ 130 w 176"/>
                <a:gd name="T5" fmla="*/ 293 h 348"/>
                <a:gd name="T6" fmla="*/ 110 w 176"/>
                <a:gd name="T7" fmla="*/ 186 h 348"/>
                <a:gd name="T8" fmla="*/ 60 w 176"/>
                <a:gd name="T9" fmla="*/ 194 h 348"/>
                <a:gd name="T10" fmla="*/ 26 w 176"/>
                <a:gd name="T11" fmla="*/ 172 h 348"/>
                <a:gd name="T12" fmla="*/ 3 w 176"/>
                <a:gd name="T13" fmla="*/ 48 h 348"/>
                <a:gd name="T14" fmla="*/ 23 w 176"/>
                <a:gd name="T15" fmla="*/ 14 h 348"/>
                <a:gd name="T16" fmla="*/ 26 w 176"/>
                <a:gd name="T17" fmla="*/ 14 h 348"/>
                <a:gd name="T18" fmla="*/ 91 w 176"/>
                <a:gd name="T19" fmla="*/ 3 h 348"/>
                <a:gd name="T20" fmla="*/ 124 w 176"/>
                <a:gd name="T21" fmla="*/ 25 h 348"/>
                <a:gd name="T22" fmla="*/ 124 w 176"/>
                <a:gd name="T23" fmla="*/ 25 h 348"/>
                <a:gd name="T24" fmla="*/ 136 w 176"/>
                <a:gd name="T25" fmla="*/ 93 h 348"/>
                <a:gd name="T26" fmla="*/ 93 w 176"/>
                <a:gd name="T27" fmla="*/ 101 h 348"/>
                <a:gd name="T28" fmla="*/ 85 w 176"/>
                <a:gd name="T29" fmla="*/ 48 h 348"/>
                <a:gd name="T30" fmla="*/ 48 w 176"/>
                <a:gd name="T31" fmla="*/ 53 h 348"/>
                <a:gd name="T32" fmla="*/ 65 w 176"/>
                <a:gd name="T33" fmla="*/ 149 h 348"/>
                <a:gd name="T34" fmla="*/ 116 w 176"/>
                <a:gd name="T35" fmla="*/ 141 h 348"/>
                <a:gd name="T36" fmla="*/ 150 w 176"/>
                <a:gd name="T37" fmla="*/ 163 h 348"/>
                <a:gd name="T38" fmla="*/ 172 w 176"/>
                <a:gd name="T39" fmla="*/ 299 h 348"/>
                <a:gd name="T40" fmla="*/ 150 w 176"/>
                <a:gd name="T41" fmla="*/ 333 h 348"/>
                <a:gd name="T42" fmla="*/ 85 w 176"/>
                <a:gd name="T43" fmla="*/ 344 h 348"/>
                <a:gd name="T44" fmla="*/ 51 w 176"/>
                <a:gd name="T45" fmla="*/ 321 h 348"/>
                <a:gd name="T46" fmla="*/ 40 w 176"/>
                <a:gd name="T47" fmla="*/ 251 h 348"/>
                <a:gd name="T48" fmla="*/ 82 w 176"/>
                <a:gd name="T49" fmla="*/ 242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6" h="348">
                  <a:moveTo>
                    <a:pt x="82" y="242"/>
                  </a:moveTo>
                  <a:lnTo>
                    <a:pt x="93" y="299"/>
                  </a:lnTo>
                  <a:lnTo>
                    <a:pt x="130" y="293"/>
                  </a:lnTo>
                  <a:lnTo>
                    <a:pt x="110" y="186"/>
                  </a:lnTo>
                  <a:lnTo>
                    <a:pt x="60" y="194"/>
                  </a:lnTo>
                  <a:cubicBezTo>
                    <a:pt x="45" y="197"/>
                    <a:pt x="28" y="186"/>
                    <a:pt x="26" y="172"/>
                  </a:cubicBezTo>
                  <a:lnTo>
                    <a:pt x="3" y="48"/>
                  </a:lnTo>
                  <a:cubicBezTo>
                    <a:pt x="0" y="34"/>
                    <a:pt x="9" y="20"/>
                    <a:pt x="23" y="14"/>
                  </a:cubicBezTo>
                  <a:lnTo>
                    <a:pt x="26" y="14"/>
                  </a:lnTo>
                  <a:lnTo>
                    <a:pt x="91" y="3"/>
                  </a:lnTo>
                  <a:cubicBezTo>
                    <a:pt x="105" y="0"/>
                    <a:pt x="122" y="8"/>
                    <a:pt x="124" y="25"/>
                  </a:cubicBezTo>
                  <a:lnTo>
                    <a:pt x="124" y="25"/>
                  </a:lnTo>
                  <a:lnTo>
                    <a:pt x="136" y="93"/>
                  </a:lnTo>
                  <a:lnTo>
                    <a:pt x="93" y="101"/>
                  </a:lnTo>
                  <a:lnTo>
                    <a:pt x="85" y="48"/>
                  </a:lnTo>
                  <a:lnTo>
                    <a:pt x="48" y="53"/>
                  </a:lnTo>
                  <a:lnTo>
                    <a:pt x="65" y="149"/>
                  </a:lnTo>
                  <a:lnTo>
                    <a:pt x="116" y="141"/>
                  </a:lnTo>
                  <a:cubicBezTo>
                    <a:pt x="133" y="138"/>
                    <a:pt x="147" y="149"/>
                    <a:pt x="150" y="163"/>
                  </a:cubicBezTo>
                  <a:lnTo>
                    <a:pt x="172" y="299"/>
                  </a:lnTo>
                  <a:cubicBezTo>
                    <a:pt x="175" y="313"/>
                    <a:pt x="164" y="330"/>
                    <a:pt x="150" y="333"/>
                  </a:cubicBezTo>
                  <a:lnTo>
                    <a:pt x="85" y="344"/>
                  </a:lnTo>
                  <a:cubicBezTo>
                    <a:pt x="71" y="347"/>
                    <a:pt x="54" y="335"/>
                    <a:pt x="51" y="321"/>
                  </a:cubicBezTo>
                  <a:lnTo>
                    <a:pt x="40" y="251"/>
                  </a:lnTo>
                  <a:lnTo>
                    <a:pt x="82" y="24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7" name="Freeform 762"/>
            <p:cNvSpPr>
              <a:spLocks noChangeArrowheads="1"/>
            </p:cNvSpPr>
            <p:nvPr/>
          </p:nvSpPr>
          <p:spPr bwMode="auto">
            <a:xfrm>
              <a:off x="4175125" y="2817813"/>
              <a:ext cx="1588" cy="3175"/>
            </a:xfrm>
            <a:custGeom>
              <a:avLst/>
              <a:gdLst>
                <a:gd name="T0" fmla="*/ 3 w 6"/>
                <a:gd name="T1" fmla="*/ 6 h 7"/>
                <a:gd name="T2" fmla="*/ 5 w 6"/>
                <a:gd name="T3" fmla="*/ 0 h 7"/>
                <a:gd name="T4" fmla="*/ 3 w 6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5" y="6"/>
                    <a:pt x="5" y="3"/>
                    <a:pt x="5" y="0"/>
                  </a:cubicBezTo>
                  <a:cubicBezTo>
                    <a:pt x="5" y="0"/>
                    <a:pt x="0" y="3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8" name="Freeform 763"/>
            <p:cNvSpPr>
              <a:spLocks noChangeArrowheads="1"/>
            </p:cNvSpPr>
            <p:nvPr/>
          </p:nvSpPr>
          <p:spPr bwMode="auto">
            <a:xfrm>
              <a:off x="4189413" y="2830513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6 h 7"/>
                <a:gd name="T4" fmla="*/ 6 w 7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3" y="6"/>
                    <a:pt x="6" y="3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9" name="Freeform 764"/>
            <p:cNvSpPr>
              <a:spLocks noChangeArrowheads="1"/>
            </p:cNvSpPr>
            <p:nvPr/>
          </p:nvSpPr>
          <p:spPr bwMode="auto">
            <a:xfrm>
              <a:off x="4195763" y="2828925"/>
              <a:ext cx="3175" cy="3175"/>
            </a:xfrm>
            <a:custGeom>
              <a:avLst/>
              <a:gdLst>
                <a:gd name="T0" fmla="*/ 3 w 10"/>
                <a:gd name="T1" fmla="*/ 8 h 9"/>
                <a:gd name="T2" fmla="*/ 9 w 10"/>
                <a:gd name="T3" fmla="*/ 5 h 9"/>
                <a:gd name="T4" fmla="*/ 3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3" y="8"/>
                  </a:moveTo>
                  <a:cubicBezTo>
                    <a:pt x="6" y="8"/>
                    <a:pt x="6" y="8"/>
                    <a:pt x="9" y="5"/>
                  </a:cubicBezTo>
                  <a:cubicBezTo>
                    <a:pt x="6" y="0"/>
                    <a:pt x="0" y="5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0" name="Freeform 765"/>
            <p:cNvSpPr>
              <a:spLocks noChangeArrowheads="1"/>
            </p:cNvSpPr>
            <p:nvPr/>
          </p:nvSpPr>
          <p:spPr bwMode="auto">
            <a:xfrm>
              <a:off x="4187825" y="2820988"/>
              <a:ext cx="1588" cy="3175"/>
            </a:xfrm>
            <a:custGeom>
              <a:avLst/>
              <a:gdLst>
                <a:gd name="T0" fmla="*/ 3 w 6"/>
                <a:gd name="T1" fmla="*/ 6 h 7"/>
                <a:gd name="T2" fmla="*/ 3 w 6"/>
                <a:gd name="T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5" y="3"/>
                    <a:pt x="0" y="0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1" name="Freeform 766"/>
            <p:cNvSpPr>
              <a:spLocks noChangeArrowheads="1"/>
            </p:cNvSpPr>
            <p:nvPr/>
          </p:nvSpPr>
          <p:spPr bwMode="auto">
            <a:xfrm>
              <a:off x="4178300" y="2808288"/>
              <a:ext cx="3175" cy="1587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cubicBezTo>
                    <a:pt x="6" y="0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2" name="Freeform 767"/>
            <p:cNvSpPr>
              <a:spLocks noChangeArrowheads="1"/>
            </p:cNvSpPr>
            <p:nvPr/>
          </p:nvSpPr>
          <p:spPr bwMode="auto">
            <a:xfrm>
              <a:off x="4159250" y="2778125"/>
              <a:ext cx="3175" cy="1588"/>
            </a:xfrm>
            <a:custGeom>
              <a:avLst/>
              <a:gdLst>
                <a:gd name="T0" fmla="*/ 2 w 9"/>
                <a:gd name="T1" fmla="*/ 5 h 6"/>
                <a:gd name="T2" fmla="*/ 2 w 9"/>
                <a:gd name="T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6">
                  <a:moveTo>
                    <a:pt x="2" y="5"/>
                  </a:moveTo>
                  <a:cubicBezTo>
                    <a:pt x="8" y="2"/>
                    <a:pt x="0" y="0"/>
                    <a:pt x="2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3" name="Freeform 768"/>
            <p:cNvSpPr>
              <a:spLocks noChangeArrowheads="1"/>
            </p:cNvSpPr>
            <p:nvPr/>
          </p:nvSpPr>
          <p:spPr bwMode="auto">
            <a:xfrm>
              <a:off x="4186238" y="2811463"/>
              <a:ext cx="3175" cy="1587"/>
            </a:xfrm>
            <a:custGeom>
              <a:avLst/>
              <a:gdLst>
                <a:gd name="T0" fmla="*/ 3 w 9"/>
                <a:gd name="T1" fmla="*/ 3 h 4"/>
                <a:gd name="T2" fmla="*/ 3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cubicBezTo>
                    <a:pt x="8" y="0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4" name="Freeform 769"/>
            <p:cNvSpPr>
              <a:spLocks noChangeArrowheads="1"/>
            </p:cNvSpPr>
            <p:nvPr/>
          </p:nvSpPr>
          <p:spPr bwMode="auto">
            <a:xfrm>
              <a:off x="4187825" y="2808288"/>
              <a:ext cx="1588" cy="3175"/>
            </a:xfrm>
            <a:custGeom>
              <a:avLst/>
              <a:gdLst>
                <a:gd name="T0" fmla="*/ 3 w 6"/>
                <a:gd name="T1" fmla="*/ 0 h 7"/>
                <a:gd name="T2" fmla="*/ 0 w 6"/>
                <a:gd name="T3" fmla="*/ 6 h 7"/>
                <a:gd name="T4" fmla="*/ 3 w 6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3" y="3"/>
                    <a:pt x="5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5" name="Freeform 770"/>
            <p:cNvSpPr>
              <a:spLocks noChangeArrowheads="1"/>
            </p:cNvSpPr>
            <p:nvPr/>
          </p:nvSpPr>
          <p:spPr bwMode="auto">
            <a:xfrm>
              <a:off x="4187825" y="2754313"/>
              <a:ext cx="3175" cy="4762"/>
            </a:xfrm>
            <a:custGeom>
              <a:avLst/>
              <a:gdLst>
                <a:gd name="T0" fmla="*/ 3 w 9"/>
                <a:gd name="T1" fmla="*/ 11 h 12"/>
                <a:gd name="T2" fmla="*/ 3 w 9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3" y="11"/>
                  </a:moveTo>
                  <a:cubicBezTo>
                    <a:pt x="8" y="8"/>
                    <a:pt x="0" y="0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6" name="Freeform 771"/>
            <p:cNvSpPr>
              <a:spLocks noChangeArrowheads="1"/>
            </p:cNvSpPr>
            <p:nvPr/>
          </p:nvSpPr>
          <p:spPr bwMode="auto">
            <a:xfrm>
              <a:off x="4200525" y="2776538"/>
              <a:ext cx="1588" cy="3175"/>
            </a:xfrm>
            <a:custGeom>
              <a:avLst/>
              <a:gdLst>
                <a:gd name="T0" fmla="*/ 0 w 4"/>
                <a:gd name="T1" fmla="*/ 5 h 9"/>
                <a:gd name="T2" fmla="*/ 3 w 4"/>
                <a:gd name="T3" fmla="*/ 8 h 9"/>
                <a:gd name="T4" fmla="*/ 0 w 4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9">
                  <a:moveTo>
                    <a:pt x="0" y="5"/>
                  </a:moveTo>
                  <a:lnTo>
                    <a:pt x="3" y="8"/>
                  </a:lnTo>
                  <a:cubicBezTo>
                    <a:pt x="3" y="5"/>
                    <a:pt x="3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7" name="Freeform 772"/>
            <p:cNvSpPr>
              <a:spLocks noChangeArrowheads="1"/>
            </p:cNvSpPr>
            <p:nvPr/>
          </p:nvSpPr>
          <p:spPr bwMode="auto">
            <a:xfrm>
              <a:off x="4198938" y="2770188"/>
              <a:ext cx="1587" cy="4762"/>
            </a:xfrm>
            <a:custGeom>
              <a:avLst/>
              <a:gdLst>
                <a:gd name="T0" fmla="*/ 0 w 6"/>
                <a:gd name="T1" fmla="*/ 3 h 15"/>
                <a:gd name="T2" fmla="*/ 0 w 6"/>
                <a:gd name="T3" fmla="*/ 14 h 15"/>
                <a:gd name="T4" fmla="*/ 0 w 6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5">
                  <a:moveTo>
                    <a:pt x="0" y="3"/>
                  </a:moveTo>
                  <a:cubicBezTo>
                    <a:pt x="0" y="6"/>
                    <a:pt x="0" y="8"/>
                    <a:pt x="0" y="14"/>
                  </a:cubicBezTo>
                  <a:cubicBezTo>
                    <a:pt x="5" y="8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8" name="Freeform 773"/>
            <p:cNvSpPr>
              <a:spLocks noChangeArrowheads="1"/>
            </p:cNvSpPr>
            <p:nvPr/>
          </p:nvSpPr>
          <p:spPr bwMode="auto">
            <a:xfrm>
              <a:off x="4187825" y="2762250"/>
              <a:ext cx="3175" cy="3175"/>
            </a:xfrm>
            <a:custGeom>
              <a:avLst/>
              <a:gdLst>
                <a:gd name="T0" fmla="*/ 5 w 9"/>
                <a:gd name="T1" fmla="*/ 0 h 10"/>
                <a:gd name="T2" fmla="*/ 8 w 9"/>
                <a:gd name="T3" fmla="*/ 6 h 10"/>
                <a:gd name="T4" fmla="*/ 5 w 9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cubicBezTo>
                    <a:pt x="0" y="0"/>
                    <a:pt x="5" y="9"/>
                    <a:pt x="8" y="6"/>
                  </a:cubicBezTo>
                  <a:cubicBezTo>
                    <a:pt x="5" y="6"/>
                    <a:pt x="8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9" name="Freeform 774"/>
            <p:cNvSpPr>
              <a:spLocks noChangeArrowheads="1"/>
            </p:cNvSpPr>
            <p:nvPr/>
          </p:nvSpPr>
          <p:spPr bwMode="auto">
            <a:xfrm>
              <a:off x="4237038" y="2808288"/>
              <a:ext cx="3175" cy="3175"/>
            </a:xfrm>
            <a:custGeom>
              <a:avLst/>
              <a:gdLst>
                <a:gd name="T0" fmla="*/ 3 w 7"/>
                <a:gd name="T1" fmla="*/ 6 h 7"/>
                <a:gd name="T2" fmla="*/ 3 w 7"/>
                <a:gd name="T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7">
                  <a:moveTo>
                    <a:pt x="3" y="6"/>
                  </a:moveTo>
                  <a:cubicBezTo>
                    <a:pt x="6" y="3"/>
                    <a:pt x="0" y="0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0" name="Freeform 775"/>
            <p:cNvSpPr>
              <a:spLocks noChangeArrowheads="1"/>
            </p:cNvSpPr>
            <p:nvPr/>
          </p:nvSpPr>
          <p:spPr bwMode="auto">
            <a:xfrm>
              <a:off x="4210050" y="2779713"/>
              <a:ext cx="3175" cy="1587"/>
            </a:xfrm>
            <a:custGeom>
              <a:avLst/>
              <a:gdLst>
                <a:gd name="T0" fmla="*/ 2 w 9"/>
                <a:gd name="T1" fmla="*/ 3 h 4"/>
                <a:gd name="T2" fmla="*/ 2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2" y="3"/>
                  </a:moveTo>
                  <a:cubicBezTo>
                    <a:pt x="8" y="0"/>
                    <a:pt x="0" y="0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1" name="Freeform 776"/>
            <p:cNvSpPr>
              <a:spLocks noChangeArrowheads="1"/>
            </p:cNvSpPr>
            <p:nvPr/>
          </p:nvSpPr>
          <p:spPr bwMode="auto">
            <a:xfrm>
              <a:off x="4198938" y="2765425"/>
              <a:ext cx="1587" cy="1588"/>
            </a:xfrm>
            <a:custGeom>
              <a:avLst/>
              <a:gdLst>
                <a:gd name="T0" fmla="*/ 2 w 6"/>
                <a:gd name="T1" fmla="*/ 0 h 6"/>
                <a:gd name="T2" fmla="*/ 0 w 6"/>
                <a:gd name="T3" fmla="*/ 3 h 6"/>
                <a:gd name="T4" fmla="*/ 2 w 6"/>
                <a:gd name="T5" fmla="*/ 5 h 6"/>
                <a:gd name="T6" fmla="*/ 2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0" y="3"/>
                  </a:lnTo>
                  <a:lnTo>
                    <a:pt x="2" y="5"/>
                  </a:lnTo>
                  <a:cubicBezTo>
                    <a:pt x="2" y="3"/>
                    <a:pt x="5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2" name="Freeform 777"/>
            <p:cNvSpPr>
              <a:spLocks noChangeArrowheads="1"/>
            </p:cNvSpPr>
            <p:nvPr/>
          </p:nvSpPr>
          <p:spPr bwMode="auto">
            <a:xfrm>
              <a:off x="4205288" y="2795588"/>
              <a:ext cx="1587" cy="3175"/>
            </a:xfrm>
            <a:custGeom>
              <a:avLst/>
              <a:gdLst>
                <a:gd name="T0" fmla="*/ 2 w 6"/>
                <a:gd name="T1" fmla="*/ 6 h 7"/>
                <a:gd name="T2" fmla="*/ 2 w 6"/>
                <a:gd name="T3" fmla="*/ 0 h 7"/>
                <a:gd name="T4" fmla="*/ 2 w 6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2" y="6"/>
                  </a:moveTo>
                  <a:cubicBezTo>
                    <a:pt x="5" y="3"/>
                    <a:pt x="5" y="3"/>
                    <a:pt x="2" y="0"/>
                  </a:cubicBezTo>
                  <a:cubicBezTo>
                    <a:pt x="2" y="0"/>
                    <a:pt x="0" y="3"/>
                    <a:pt x="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3" name="Freeform 778"/>
            <p:cNvSpPr>
              <a:spLocks noChangeArrowheads="1"/>
            </p:cNvSpPr>
            <p:nvPr/>
          </p:nvSpPr>
          <p:spPr bwMode="auto">
            <a:xfrm>
              <a:off x="4160838" y="2816225"/>
              <a:ext cx="3175" cy="3175"/>
            </a:xfrm>
            <a:custGeom>
              <a:avLst/>
              <a:gdLst>
                <a:gd name="T0" fmla="*/ 0 w 7"/>
                <a:gd name="T1" fmla="*/ 5 h 9"/>
                <a:gd name="T2" fmla="*/ 0 w 7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9">
                  <a:moveTo>
                    <a:pt x="0" y="5"/>
                  </a:moveTo>
                  <a:cubicBezTo>
                    <a:pt x="6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4" name="Freeform 779"/>
            <p:cNvSpPr>
              <a:spLocks noChangeArrowheads="1"/>
            </p:cNvSpPr>
            <p:nvPr/>
          </p:nvSpPr>
          <p:spPr bwMode="auto">
            <a:xfrm>
              <a:off x="4173538" y="2835275"/>
              <a:ext cx="3175" cy="1588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cubicBezTo>
                    <a:pt x="6" y="0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5" name="Freeform 780"/>
            <p:cNvSpPr>
              <a:spLocks noChangeArrowheads="1"/>
            </p:cNvSpPr>
            <p:nvPr/>
          </p:nvSpPr>
          <p:spPr bwMode="auto">
            <a:xfrm>
              <a:off x="4170363" y="2822575"/>
              <a:ext cx="1587" cy="4763"/>
            </a:xfrm>
            <a:custGeom>
              <a:avLst/>
              <a:gdLst>
                <a:gd name="T0" fmla="*/ 0 w 4"/>
                <a:gd name="T1" fmla="*/ 5 h 12"/>
                <a:gd name="T2" fmla="*/ 0 w 4"/>
                <a:gd name="T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2">
                  <a:moveTo>
                    <a:pt x="0" y="5"/>
                  </a:moveTo>
                  <a:cubicBezTo>
                    <a:pt x="0" y="11"/>
                    <a:pt x="3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6" name="Freeform 781"/>
            <p:cNvSpPr>
              <a:spLocks noChangeArrowheads="1"/>
            </p:cNvSpPr>
            <p:nvPr/>
          </p:nvSpPr>
          <p:spPr bwMode="auto">
            <a:xfrm>
              <a:off x="4152900" y="2801938"/>
              <a:ext cx="1588" cy="3175"/>
            </a:xfrm>
            <a:custGeom>
              <a:avLst/>
              <a:gdLst>
                <a:gd name="T0" fmla="*/ 0 w 6"/>
                <a:gd name="T1" fmla="*/ 0 h 10"/>
                <a:gd name="T2" fmla="*/ 3 w 6"/>
                <a:gd name="T3" fmla="*/ 9 h 10"/>
                <a:gd name="T4" fmla="*/ 5 w 6"/>
                <a:gd name="T5" fmla="*/ 3 h 10"/>
                <a:gd name="T6" fmla="*/ 0 w 6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0" y="0"/>
                  </a:moveTo>
                  <a:cubicBezTo>
                    <a:pt x="0" y="3"/>
                    <a:pt x="0" y="6"/>
                    <a:pt x="3" y="9"/>
                  </a:cubicBezTo>
                  <a:cubicBezTo>
                    <a:pt x="5" y="9"/>
                    <a:pt x="5" y="6"/>
                    <a:pt x="5" y="3"/>
                  </a:cubicBez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7" name="Freeform 782"/>
            <p:cNvSpPr>
              <a:spLocks noChangeArrowheads="1"/>
            </p:cNvSpPr>
            <p:nvPr/>
          </p:nvSpPr>
          <p:spPr bwMode="auto">
            <a:xfrm>
              <a:off x="4179888" y="2841625"/>
              <a:ext cx="3175" cy="1588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cubicBezTo>
                    <a:pt x="6" y="0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8" name="Freeform 783"/>
            <p:cNvSpPr>
              <a:spLocks noChangeArrowheads="1"/>
            </p:cNvSpPr>
            <p:nvPr/>
          </p:nvSpPr>
          <p:spPr bwMode="auto">
            <a:xfrm>
              <a:off x="4210050" y="2816225"/>
              <a:ext cx="3175" cy="1588"/>
            </a:xfrm>
            <a:custGeom>
              <a:avLst/>
              <a:gdLst>
                <a:gd name="T0" fmla="*/ 2 w 9"/>
                <a:gd name="T1" fmla="*/ 2 h 3"/>
                <a:gd name="T2" fmla="*/ 2 w 9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3">
                  <a:moveTo>
                    <a:pt x="2" y="2"/>
                  </a:moveTo>
                  <a:cubicBezTo>
                    <a:pt x="8" y="0"/>
                    <a:pt x="0" y="0"/>
                    <a:pt x="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9" name="Freeform 784"/>
            <p:cNvSpPr>
              <a:spLocks noChangeArrowheads="1"/>
            </p:cNvSpPr>
            <p:nvPr/>
          </p:nvSpPr>
          <p:spPr bwMode="auto">
            <a:xfrm>
              <a:off x="4217988" y="2830513"/>
              <a:ext cx="3175" cy="1587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3 h 4"/>
                <a:gd name="T4" fmla="*/ 6 w 7"/>
                <a:gd name="T5" fmla="*/ 3 h 4"/>
                <a:gd name="T6" fmla="*/ 0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lnTo>
                    <a:pt x="0" y="3"/>
                  </a:lnTo>
                  <a:lnTo>
                    <a:pt x="6" y="3"/>
                  </a:lnTo>
                  <a:cubicBezTo>
                    <a:pt x="3" y="0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0" name="Freeform 785"/>
            <p:cNvSpPr>
              <a:spLocks noChangeArrowheads="1"/>
            </p:cNvSpPr>
            <p:nvPr/>
          </p:nvSpPr>
          <p:spPr bwMode="auto">
            <a:xfrm>
              <a:off x="4206875" y="2816225"/>
              <a:ext cx="3175" cy="1588"/>
            </a:xfrm>
            <a:custGeom>
              <a:avLst/>
              <a:gdLst>
                <a:gd name="T0" fmla="*/ 3 w 7"/>
                <a:gd name="T1" fmla="*/ 0 h 6"/>
                <a:gd name="T2" fmla="*/ 0 w 7"/>
                <a:gd name="T3" fmla="*/ 5 h 6"/>
                <a:gd name="T4" fmla="*/ 3 w 7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cubicBezTo>
                    <a:pt x="0" y="0"/>
                    <a:pt x="0" y="2"/>
                    <a:pt x="0" y="5"/>
                  </a:cubicBezTo>
                  <a:cubicBezTo>
                    <a:pt x="3" y="5"/>
                    <a:pt x="6" y="2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1" name="Freeform 786"/>
            <p:cNvSpPr>
              <a:spLocks noChangeArrowheads="1"/>
            </p:cNvSpPr>
            <p:nvPr/>
          </p:nvSpPr>
          <p:spPr bwMode="auto">
            <a:xfrm>
              <a:off x="4213225" y="2825750"/>
              <a:ext cx="3175" cy="3175"/>
            </a:xfrm>
            <a:custGeom>
              <a:avLst/>
              <a:gdLst>
                <a:gd name="T0" fmla="*/ 3 w 10"/>
                <a:gd name="T1" fmla="*/ 6 h 7"/>
                <a:gd name="T2" fmla="*/ 3 w 10"/>
                <a:gd name="T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7">
                  <a:moveTo>
                    <a:pt x="3" y="6"/>
                  </a:moveTo>
                  <a:cubicBezTo>
                    <a:pt x="9" y="3"/>
                    <a:pt x="0" y="0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2" name="Freeform 787"/>
            <p:cNvSpPr>
              <a:spLocks noChangeArrowheads="1"/>
            </p:cNvSpPr>
            <p:nvPr/>
          </p:nvSpPr>
          <p:spPr bwMode="auto">
            <a:xfrm>
              <a:off x="4156075" y="2805113"/>
              <a:ext cx="3175" cy="1587"/>
            </a:xfrm>
            <a:custGeom>
              <a:avLst/>
              <a:gdLst>
                <a:gd name="T0" fmla="*/ 3 w 7"/>
                <a:gd name="T1" fmla="*/ 5 h 6"/>
                <a:gd name="T2" fmla="*/ 3 w 7"/>
                <a:gd name="T3" fmla="*/ 0 h 6"/>
                <a:gd name="T4" fmla="*/ 3 w 7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3" y="5"/>
                  </a:moveTo>
                  <a:cubicBezTo>
                    <a:pt x="6" y="5"/>
                    <a:pt x="6" y="3"/>
                    <a:pt x="3" y="0"/>
                  </a:cubicBezTo>
                  <a:cubicBezTo>
                    <a:pt x="3" y="3"/>
                    <a:pt x="0" y="5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3" name="Freeform 788"/>
            <p:cNvSpPr>
              <a:spLocks noChangeArrowheads="1"/>
            </p:cNvSpPr>
            <p:nvPr/>
          </p:nvSpPr>
          <p:spPr bwMode="auto">
            <a:xfrm>
              <a:off x="4206875" y="2813050"/>
              <a:ext cx="3175" cy="3175"/>
            </a:xfrm>
            <a:custGeom>
              <a:avLst/>
              <a:gdLst>
                <a:gd name="T0" fmla="*/ 3 w 7"/>
                <a:gd name="T1" fmla="*/ 0 h 7"/>
                <a:gd name="T2" fmla="*/ 3 w 7"/>
                <a:gd name="T3" fmla="*/ 6 h 7"/>
                <a:gd name="T4" fmla="*/ 3 w 7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3" y="0"/>
                  </a:moveTo>
                  <a:cubicBezTo>
                    <a:pt x="0" y="0"/>
                    <a:pt x="0" y="3"/>
                    <a:pt x="3" y="6"/>
                  </a:cubicBezTo>
                  <a:cubicBezTo>
                    <a:pt x="3" y="3"/>
                    <a:pt x="6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4" name="Freeform 789"/>
            <p:cNvSpPr>
              <a:spLocks noChangeArrowheads="1"/>
            </p:cNvSpPr>
            <p:nvPr/>
          </p:nvSpPr>
          <p:spPr bwMode="auto">
            <a:xfrm>
              <a:off x="4137025" y="2832100"/>
              <a:ext cx="3175" cy="3175"/>
            </a:xfrm>
            <a:custGeom>
              <a:avLst/>
              <a:gdLst>
                <a:gd name="T0" fmla="*/ 5 w 9"/>
                <a:gd name="T1" fmla="*/ 6 h 7"/>
                <a:gd name="T2" fmla="*/ 5 w 9"/>
                <a:gd name="T3" fmla="*/ 0 h 7"/>
                <a:gd name="T4" fmla="*/ 5 w 9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5" y="6"/>
                  </a:moveTo>
                  <a:cubicBezTo>
                    <a:pt x="5" y="3"/>
                    <a:pt x="8" y="3"/>
                    <a:pt x="5" y="0"/>
                  </a:cubicBezTo>
                  <a:cubicBezTo>
                    <a:pt x="0" y="0"/>
                    <a:pt x="0" y="6"/>
                    <a:pt x="5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5" name="Freeform 790"/>
            <p:cNvSpPr>
              <a:spLocks noChangeArrowheads="1"/>
            </p:cNvSpPr>
            <p:nvPr/>
          </p:nvSpPr>
          <p:spPr bwMode="auto">
            <a:xfrm>
              <a:off x="4230688" y="2794000"/>
              <a:ext cx="3175" cy="1588"/>
            </a:xfrm>
            <a:custGeom>
              <a:avLst/>
              <a:gdLst>
                <a:gd name="T0" fmla="*/ 3 w 10"/>
                <a:gd name="T1" fmla="*/ 5 h 6"/>
                <a:gd name="T2" fmla="*/ 3 w 10"/>
                <a:gd name="T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6">
                  <a:moveTo>
                    <a:pt x="3" y="5"/>
                  </a:moveTo>
                  <a:cubicBezTo>
                    <a:pt x="9" y="2"/>
                    <a:pt x="0" y="0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6" name="Freeform 791"/>
            <p:cNvSpPr>
              <a:spLocks noChangeArrowheads="1"/>
            </p:cNvSpPr>
            <p:nvPr/>
          </p:nvSpPr>
          <p:spPr bwMode="auto">
            <a:xfrm>
              <a:off x="4214813" y="2776538"/>
              <a:ext cx="1587" cy="4762"/>
            </a:xfrm>
            <a:custGeom>
              <a:avLst/>
              <a:gdLst>
                <a:gd name="T0" fmla="*/ 3 w 6"/>
                <a:gd name="T1" fmla="*/ 3 h 12"/>
                <a:gd name="T2" fmla="*/ 3 w 6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2">
                  <a:moveTo>
                    <a:pt x="3" y="3"/>
                  </a:moveTo>
                  <a:cubicBezTo>
                    <a:pt x="0" y="0"/>
                    <a:pt x="5" y="11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7" name="Freeform 792"/>
            <p:cNvSpPr>
              <a:spLocks noChangeArrowheads="1"/>
            </p:cNvSpPr>
            <p:nvPr/>
          </p:nvSpPr>
          <p:spPr bwMode="auto">
            <a:xfrm>
              <a:off x="4203700" y="2754313"/>
              <a:ext cx="3175" cy="1587"/>
            </a:xfrm>
            <a:custGeom>
              <a:avLst/>
              <a:gdLst>
                <a:gd name="T0" fmla="*/ 3 w 9"/>
                <a:gd name="T1" fmla="*/ 3 h 4"/>
                <a:gd name="T2" fmla="*/ 3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cubicBezTo>
                    <a:pt x="8" y="0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8" name="Freeform 793"/>
            <p:cNvSpPr>
              <a:spLocks noChangeArrowheads="1"/>
            </p:cNvSpPr>
            <p:nvPr/>
          </p:nvSpPr>
          <p:spPr bwMode="auto">
            <a:xfrm>
              <a:off x="4203700" y="2757488"/>
              <a:ext cx="1588" cy="3175"/>
            </a:xfrm>
            <a:custGeom>
              <a:avLst/>
              <a:gdLst>
                <a:gd name="T0" fmla="*/ 5 w 6"/>
                <a:gd name="T1" fmla="*/ 0 h 10"/>
                <a:gd name="T2" fmla="*/ 0 w 6"/>
                <a:gd name="T3" fmla="*/ 3 h 10"/>
                <a:gd name="T4" fmla="*/ 5 w 6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0">
                  <a:moveTo>
                    <a:pt x="5" y="0"/>
                  </a:moveTo>
                  <a:cubicBezTo>
                    <a:pt x="3" y="0"/>
                    <a:pt x="0" y="3"/>
                    <a:pt x="0" y="3"/>
                  </a:cubicBezTo>
                  <a:cubicBezTo>
                    <a:pt x="0" y="9"/>
                    <a:pt x="5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9" name="Freeform 794"/>
            <p:cNvSpPr>
              <a:spLocks noChangeArrowheads="1"/>
            </p:cNvSpPr>
            <p:nvPr/>
          </p:nvSpPr>
          <p:spPr bwMode="auto">
            <a:xfrm>
              <a:off x="4189413" y="2767013"/>
              <a:ext cx="3175" cy="4762"/>
            </a:xfrm>
            <a:custGeom>
              <a:avLst/>
              <a:gdLst>
                <a:gd name="T0" fmla="*/ 3 w 7"/>
                <a:gd name="T1" fmla="*/ 3 h 13"/>
                <a:gd name="T2" fmla="*/ 3 w 7"/>
                <a:gd name="T3" fmla="*/ 9 h 13"/>
                <a:gd name="T4" fmla="*/ 3 w 7"/>
                <a:gd name="T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3" y="3"/>
                  </a:moveTo>
                  <a:cubicBezTo>
                    <a:pt x="6" y="6"/>
                    <a:pt x="0" y="6"/>
                    <a:pt x="3" y="9"/>
                  </a:cubicBezTo>
                  <a:cubicBezTo>
                    <a:pt x="6" y="12"/>
                    <a:pt x="6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0" name="Freeform 795"/>
            <p:cNvSpPr>
              <a:spLocks noChangeArrowheads="1"/>
            </p:cNvSpPr>
            <p:nvPr/>
          </p:nvSpPr>
          <p:spPr bwMode="auto">
            <a:xfrm>
              <a:off x="4198938" y="2779713"/>
              <a:ext cx="3175" cy="1587"/>
            </a:xfrm>
            <a:custGeom>
              <a:avLst/>
              <a:gdLst>
                <a:gd name="T0" fmla="*/ 3 w 9"/>
                <a:gd name="T1" fmla="*/ 3 h 4"/>
                <a:gd name="T2" fmla="*/ 3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cubicBezTo>
                    <a:pt x="8" y="0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1" name="Freeform 796"/>
            <p:cNvSpPr>
              <a:spLocks noChangeArrowheads="1"/>
            </p:cNvSpPr>
            <p:nvPr/>
          </p:nvSpPr>
          <p:spPr bwMode="auto">
            <a:xfrm>
              <a:off x="4198938" y="2743200"/>
              <a:ext cx="3175" cy="1588"/>
            </a:xfrm>
            <a:custGeom>
              <a:avLst/>
              <a:gdLst>
                <a:gd name="T0" fmla="*/ 3 w 9"/>
                <a:gd name="T1" fmla="*/ 2 h 3"/>
                <a:gd name="T2" fmla="*/ 3 w 9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3">
                  <a:moveTo>
                    <a:pt x="3" y="2"/>
                  </a:moveTo>
                  <a:cubicBezTo>
                    <a:pt x="8" y="0"/>
                    <a:pt x="0" y="0"/>
                    <a:pt x="3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2" name="Freeform 797"/>
            <p:cNvSpPr>
              <a:spLocks noChangeArrowheads="1"/>
            </p:cNvSpPr>
            <p:nvPr/>
          </p:nvSpPr>
          <p:spPr bwMode="auto">
            <a:xfrm>
              <a:off x="4249738" y="2797175"/>
              <a:ext cx="3175" cy="3175"/>
            </a:xfrm>
            <a:custGeom>
              <a:avLst/>
              <a:gdLst>
                <a:gd name="T0" fmla="*/ 5 w 9"/>
                <a:gd name="T1" fmla="*/ 0 h 10"/>
                <a:gd name="T2" fmla="*/ 0 w 9"/>
                <a:gd name="T3" fmla="*/ 6 h 10"/>
                <a:gd name="T4" fmla="*/ 2 w 9"/>
                <a:gd name="T5" fmla="*/ 9 h 10"/>
                <a:gd name="T6" fmla="*/ 5 w 9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lnTo>
                    <a:pt x="0" y="6"/>
                  </a:lnTo>
                  <a:lnTo>
                    <a:pt x="2" y="9"/>
                  </a:lnTo>
                  <a:cubicBezTo>
                    <a:pt x="2" y="3"/>
                    <a:pt x="8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3" name="Freeform 798"/>
            <p:cNvSpPr>
              <a:spLocks noChangeArrowheads="1"/>
            </p:cNvSpPr>
            <p:nvPr/>
          </p:nvSpPr>
          <p:spPr bwMode="auto">
            <a:xfrm>
              <a:off x="4233863" y="2806700"/>
              <a:ext cx="1587" cy="3175"/>
            </a:xfrm>
            <a:custGeom>
              <a:avLst/>
              <a:gdLst>
                <a:gd name="T0" fmla="*/ 5 w 6"/>
                <a:gd name="T1" fmla="*/ 9 h 10"/>
                <a:gd name="T2" fmla="*/ 2 w 6"/>
                <a:gd name="T3" fmla="*/ 6 h 10"/>
                <a:gd name="T4" fmla="*/ 2 w 6"/>
                <a:gd name="T5" fmla="*/ 3 h 10"/>
                <a:gd name="T6" fmla="*/ 0 w 6"/>
                <a:gd name="T7" fmla="*/ 6 h 10"/>
                <a:gd name="T8" fmla="*/ 5 w 6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5" y="9"/>
                  </a:moveTo>
                  <a:lnTo>
                    <a:pt x="2" y="6"/>
                  </a:lnTo>
                  <a:cubicBezTo>
                    <a:pt x="5" y="6"/>
                    <a:pt x="5" y="0"/>
                    <a:pt x="2" y="3"/>
                  </a:cubicBezTo>
                  <a:cubicBezTo>
                    <a:pt x="2" y="3"/>
                    <a:pt x="2" y="6"/>
                    <a:pt x="0" y="6"/>
                  </a:cubicBezTo>
                  <a:cubicBezTo>
                    <a:pt x="2" y="6"/>
                    <a:pt x="2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4" name="Freeform 799"/>
            <p:cNvSpPr>
              <a:spLocks noChangeArrowheads="1"/>
            </p:cNvSpPr>
            <p:nvPr/>
          </p:nvSpPr>
          <p:spPr bwMode="auto">
            <a:xfrm>
              <a:off x="4144963" y="2825750"/>
              <a:ext cx="3175" cy="1588"/>
            </a:xfrm>
            <a:custGeom>
              <a:avLst/>
              <a:gdLst>
                <a:gd name="T0" fmla="*/ 3 w 9"/>
                <a:gd name="T1" fmla="*/ 3 h 4"/>
                <a:gd name="T2" fmla="*/ 3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cubicBezTo>
                    <a:pt x="8" y="0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5" name="Freeform 800"/>
            <p:cNvSpPr>
              <a:spLocks noChangeArrowheads="1"/>
            </p:cNvSpPr>
            <p:nvPr/>
          </p:nvSpPr>
          <p:spPr bwMode="auto">
            <a:xfrm>
              <a:off x="4137025" y="2840038"/>
              <a:ext cx="3175" cy="1587"/>
            </a:xfrm>
            <a:custGeom>
              <a:avLst/>
              <a:gdLst>
                <a:gd name="T0" fmla="*/ 2 w 9"/>
                <a:gd name="T1" fmla="*/ 2 h 3"/>
                <a:gd name="T2" fmla="*/ 2 w 9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3">
                  <a:moveTo>
                    <a:pt x="2" y="2"/>
                  </a:moveTo>
                  <a:cubicBezTo>
                    <a:pt x="8" y="0"/>
                    <a:pt x="0" y="0"/>
                    <a:pt x="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6" name="Freeform 801"/>
            <p:cNvSpPr>
              <a:spLocks noChangeArrowheads="1"/>
            </p:cNvSpPr>
            <p:nvPr/>
          </p:nvSpPr>
          <p:spPr bwMode="auto">
            <a:xfrm>
              <a:off x="4157663" y="2841625"/>
              <a:ext cx="1587" cy="3175"/>
            </a:xfrm>
            <a:custGeom>
              <a:avLst/>
              <a:gdLst>
                <a:gd name="T0" fmla="*/ 0 w 4"/>
                <a:gd name="T1" fmla="*/ 3 h 7"/>
                <a:gd name="T2" fmla="*/ 3 w 4"/>
                <a:gd name="T3" fmla="*/ 6 h 7"/>
                <a:gd name="T4" fmla="*/ 0 w 4"/>
                <a:gd name="T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0" y="3"/>
                  </a:moveTo>
                  <a:lnTo>
                    <a:pt x="3" y="6"/>
                  </a:lnTo>
                  <a:cubicBezTo>
                    <a:pt x="3" y="3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7" name="Freeform 802"/>
            <p:cNvSpPr>
              <a:spLocks noChangeArrowheads="1"/>
            </p:cNvSpPr>
            <p:nvPr/>
          </p:nvSpPr>
          <p:spPr bwMode="auto">
            <a:xfrm>
              <a:off x="4214813" y="2760663"/>
              <a:ext cx="4762" cy="4762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5 h 12"/>
                <a:gd name="T4" fmla="*/ 6 w 12"/>
                <a:gd name="T5" fmla="*/ 11 h 12"/>
                <a:gd name="T6" fmla="*/ 11 w 12"/>
                <a:gd name="T7" fmla="*/ 5 h 12"/>
                <a:gd name="T8" fmla="*/ 6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0" y="5"/>
                  </a:lnTo>
                  <a:lnTo>
                    <a:pt x="6" y="11"/>
                  </a:lnTo>
                  <a:lnTo>
                    <a:pt x="11" y="5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8" name="Freeform 803"/>
            <p:cNvSpPr>
              <a:spLocks noChangeArrowheads="1"/>
            </p:cNvSpPr>
            <p:nvPr/>
          </p:nvSpPr>
          <p:spPr bwMode="auto">
            <a:xfrm>
              <a:off x="4198938" y="2751138"/>
              <a:ext cx="4762" cy="4762"/>
            </a:xfrm>
            <a:custGeom>
              <a:avLst/>
              <a:gdLst>
                <a:gd name="T0" fmla="*/ 0 w 15"/>
                <a:gd name="T1" fmla="*/ 3 h 13"/>
                <a:gd name="T2" fmla="*/ 14 w 15"/>
                <a:gd name="T3" fmla="*/ 9 h 13"/>
                <a:gd name="T4" fmla="*/ 0 w 15"/>
                <a:gd name="T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0" y="3"/>
                  </a:moveTo>
                  <a:cubicBezTo>
                    <a:pt x="5" y="6"/>
                    <a:pt x="11" y="12"/>
                    <a:pt x="14" y="9"/>
                  </a:cubicBezTo>
                  <a:cubicBezTo>
                    <a:pt x="8" y="6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9" name="Freeform 804"/>
            <p:cNvSpPr>
              <a:spLocks noChangeArrowheads="1"/>
            </p:cNvSpPr>
            <p:nvPr/>
          </p:nvSpPr>
          <p:spPr bwMode="auto">
            <a:xfrm>
              <a:off x="4203700" y="2752725"/>
              <a:ext cx="3175" cy="7938"/>
            </a:xfrm>
            <a:custGeom>
              <a:avLst/>
              <a:gdLst>
                <a:gd name="T0" fmla="*/ 0 w 9"/>
                <a:gd name="T1" fmla="*/ 8 h 21"/>
                <a:gd name="T2" fmla="*/ 0 w 9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8"/>
                  </a:moveTo>
                  <a:cubicBezTo>
                    <a:pt x="8" y="20"/>
                    <a:pt x="8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0" name="Freeform 805"/>
            <p:cNvSpPr>
              <a:spLocks noChangeArrowheads="1"/>
            </p:cNvSpPr>
            <p:nvPr/>
          </p:nvSpPr>
          <p:spPr bwMode="auto">
            <a:xfrm>
              <a:off x="4240213" y="2794000"/>
              <a:ext cx="3175" cy="7938"/>
            </a:xfrm>
            <a:custGeom>
              <a:avLst/>
              <a:gdLst>
                <a:gd name="T0" fmla="*/ 0 w 10"/>
                <a:gd name="T1" fmla="*/ 8 h 20"/>
                <a:gd name="T2" fmla="*/ 0 w 10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0">
                  <a:moveTo>
                    <a:pt x="0" y="8"/>
                  </a:moveTo>
                  <a:cubicBezTo>
                    <a:pt x="9" y="19"/>
                    <a:pt x="9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1" name="Freeform 806"/>
            <p:cNvSpPr>
              <a:spLocks noChangeArrowheads="1"/>
            </p:cNvSpPr>
            <p:nvPr/>
          </p:nvSpPr>
          <p:spPr bwMode="auto">
            <a:xfrm>
              <a:off x="4235450" y="2800350"/>
              <a:ext cx="4763" cy="4763"/>
            </a:xfrm>
            <a:custGeom>
              <a:avLst/>
              <a:gdLst>
                <a:gd name="T0" fmla="*/ 0 w 12"/>
                <a:gd name="T1" fmla="*/ 11 h 12"/>
                <a:gd name="T2" fmla="*/ 6 w 12"/>
                <a:gd name="T3" fmla="*/ 8 h 12"/>
                <a:gd name="T4" fmla="*/ 0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0" y="11"/>
                  </a:moveTo>
                  <a:cubicBezTo>
                    <a:pt x="0" y="11"/>
                    <a:pt x="3" y="8"/>
                    <a:pt x="6" y="8"/>
                  </a:cubicBezTo>
                  <a:cubicBezTo>
                    <a:pt x="11" y="0"/>
                    <a:pt x="3" y="8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2" name="Freeform 807"/>
            <p:cNvSpPr>
              <a:spLocks noChangeArrowheads="1"/>
            </p:cNvSpPr>
            <p:nvPr/>
          </p:nvSpPr>
          <p:spPr bwMode="auto">
            <a:xfrm>
              <a:off x="4216400" y="2789238"/>
              <a:ext cx="6350" cy="7937"/>
            </a:xfrm>
            <a:custGeom>
              <a:avLst/>
              <a:gdLst>
                <a:gd name="T0" fmla="*/ 0 w 17"/>
                <a:gd name="T1" fmla="*/ 3 h 20"/>
                <a:gd name="T2" fmla="*/ 0 w 17"/>
                <a:gd name="T3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20">
                  <a:moveTo>
                    <a:pt x="0" y="3"/>
                  </a:moveTo>
                  <a:cubicBezTo>
                    <a:pt x="2" y="19"/>
                    <a:pt x="1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3" name="Freeform 808"/>
            <p:cNvSpPr>
              <a:spLocks noChangeArrowheads="1"/>
            </p:cNvSpPr>
            <p:nvPr/>
          </p:nvSpPr>
          <p:spPr bwMode="auto">
            <a:xfrm>
              <a:off x="4225925" y="2794000"/>
              <a:ext cx="4763" cy="6350"/>
            </a:xfrm>
            <a:custGeom>
              <a:avLst/>
              <a:gdLst>
                <a:gd name="T0" fmla="*/ 0 w 15"/>
                <a:gd name="T1" fmla="*/ 5 h 18"/>
                <a:gd name="T2" fmla="*/ 0 w 15"/>
                <a:gd name="T3" fmla="*/ 11 h 18"/>
                <a:gd name="T4" fmla="*/ 6 w 15"/>
                <a:gd name="T5" fmla="*/ 17 h 18"/>
                <a:gd name="T6" fmla="*/ 0 w 15"/>
                <a:gd name="T7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8">
                  <a:moveTo>
                    <a:pt x="0" y="5"/>
                  </a:moveTo>
                  <a:cubicBezTo>
                    <a:pt x="3" y="8"/>
                    <a:pt x="3" y="8"/>
                    <a:pt x="0" y="11"/>
                  </a:cubicBezTo>
                  <a:lnTo>
                    <a:pt x="6" y="17"/>
                  </a:lnTo>
                  <a:cubicBezTo>
                    <a:pt x="14" y="14"/>
                    <a:pt x="3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4" name="Freeform 809"/>
            <p:cNvSpPr>
              <a:spLocks noChangeArrowheads="1"/>
            </p:cNvSpPr>
            <p:nvPr/>
          </p:nvSpPr>
          <p:spPr bwMode="auto">
            <a:xfrm>
              <a:off x="4237038" y="2808288"/>
              <a:ext cx="4762" cy="7937"/>
            </a:xfrm>
            <a:custGeom>
              <a:avLst/>
              <a:gdLst>
                <a:gd name="T0" fmla="*/ 0 w 12"/>
                <a:gd name="T1" fmla="*/ 9 h 21"/>
                <a:gd name="T2" fmla="*/ 0 w 12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1">
                  <a:moveTo>
                    <a:pt x="0" y="9"/>
                  </a:moveTo>
                  <a:cubicBezTo>
                    <a:pt x="11" y="20"/>
                    <a:pt x="8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5" name="Freeform 810"/>
            <p:cNvSpPr>
              <a:spLocks noChangeArrowheads="1"/>
            </p:cNvSpPr>
            <p:nvPr/>
          </p:nvSpPr>
          <p:spPr bwMode="auto">
            <a:xfrm>
              <a:off x="4211638" y="2789238"/>
              <a:ext cx="7937" cy="3175"/>
            </a:xfrm>
            <a:custGeom>
              <a:avLst/>
              <a:gdLst>
                <a:gd name="T0" fmla="*/ 3 w 21"/>
                <a:gd name="T1" fmla="*/ 5 h 9"/>
                <a:gd name="T2" fmla="*/ 3 w 21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9">
                  <a:moveTo>
                    <a:pt x="3" y="5"/>
                  </a:moveTo>
                  <a:cubicBezTo>
                    <a:pt x="0" y="8"/>
                    <a:pt x="20" y="0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6" name="Freeform 811"/>
            <p:cNvSpPr>
              <a:spLocks noChangeArrowheads="1"/>
            </p:cNvSpPr>
            <p:nvPr/>
          </p:nvSpPr>
          <p:spPr bwMode="auto">
            <a:xfrm>
              <a:off x="4159250" y="2746375"/>
              <a:ext cx="4763" cy="7938"/>
            </a:xfrm>
            <a:custGeom>
              <a:avLst/>
              <a:gdLst>
                <a:gd name="T0" fmla="*/ 0 w 15"/>
                <a:gd name="T1" fmla="*/ 6 h 24"/>
                <a:gd name="T2" fmla="*/ 0 w 15"/>
                <a:gd name="T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0" y="6"/>
                  </a:moveTo>
                  <a:cubicBezTo>
                    <a:pt x="0" y="23"/>
                    <a:pt x="14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7" name="Freeform 812"/>
            <p:cNvSpPr>
              <a:spLocks noChangeArrowheads="1"/>
            </p:cNvSpPr>
            <p:nvPr/>
          </p:nvSpPr>
          <p:spPr bwMode="auto">
            <a:xfrm>
              <a:off x="4198938" y="2779713"/>
              <a:ext cx="6350" cy="7937"/>
            </a:xfrm>
            <a:custGeom>
              <a:avLst/>
              <a:gdLst>
                <a:gd name="T0" fmla="*/ 5 w 18"/>
                <a:gd name="T1" fmla="*/ 0 h 21"/>
                <a:gd name="T2" fmla="*/ 0 w 18"/>
                <a:gd name="T3" fmla="*/ 9 h 21"/>
                <a:gd name="T4" fmla="*/ 5 w 18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5" y="0"/>
                  </a:moveTo>
                  <a:lnTo>
                    <a:pt x="0" y="9"/>
                  </a:lnTo>
                  <a:cubicBezTo>
                    <a:pt x="3" y="20"/>
                    <a:pt x="17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8" name="Freeform 813"/>
            <p:cNvSpPr>
              <a:spLocks noChangeArrowheads="1"/>
            </p:cNvSpPr>
            <p:nvPr/>
          </p:nvSpPr>
          <p:spPr bwMode="auto">
            <a:xfrm>
              <a:off x="4211638" y="2797175"/>
              <a:ext cx="7937" cy="11113"/>
            </a:xfrm>
            <a:custGeom>
              <a:avLst/>
              <a:gdLst>
                <a:gd name="T0" fmla="*/ 20 w 21"/>
                <a:gd name="T1" fmla="*/ 12 h 29"/>
                <a:gd name="T2" fmla="*/ 20 w 21"/>
                <a:gd name="T3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29">
                  <a:moveTo>
                    <a:pt x="20" y="12"/>
                  </a:moveTo>
                  <a:cubicBezTo>
                    <a:pt x="0" y="0"/>
                    <a:pt x="3" y="28"/>
                    <a:pt x="2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9" name="Freeform 814"/>
            <p:cNvSpPr>
              <a:spLocks noChangeArrowheads="1"/>
            </p:cNvSpPr>
            <p:nvPr/>
          </p:nvSpPr>
          <p:spPr bwMode="auto">
            <a:xfrm>
              <a:off x="4237038" y="2813050"/>
              <a:ext cx="3175" cy="7938"/>
            </a:xfrm>
            <a:custGeom>
              <a:avLst/>
              <a:gdLst>
                <a:gd name="T0" fmla="*/ 0 w 9"/>
                <a:gd name="T1" fmla="*/ 9 h 21"/>
                <a:gd name="T2" fmla="*/ 0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9"/>
                  </a:moveTo>
                  <a:cubicBezTo>
                    <a:pt x="8" y="20"/>
                    <a:pt x="8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0" name="Freeform 815"/>
            <p:cNvSpPr>
              <a:spLocks noChangeArrowheads="1"/>
            </p:cNvSpPr>
            <p:nvPr/>
          </p:nvSpPr>
          <p:spPr bwMode="auto">
            <a:xfrm>
              <a:off x="4165600" y="2757488"/>
              <a:ext cx="3175" cy="7937"/>
            </a:xfrm>
            <a:custGeom>
              <a:avLst/>
              <a:gdLst>
                <a:gd name="T0" fmla="*/ 0 w 9"/>
                <a:gd name="T1" fmla="*/ 9 h 21"/>
                <a:gd name="T2" fmla="*/ 0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9"/>
                  </a:moveTo>
                  <a:cubicBezTo>
                    <a:pt x="8" y="20"/>
                    <a:pt x="8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1" name="Freeform 816"/>
            <p:cNvSpPr>
              <a:spLocks noChangeArrowheads="1"/>
            </p:cNvSpPr>
            <p:nvPr/>
          </p:nvSpPr>
          <p:spPr bwMode="auto">
            <a:xfrm>
              <a:off x="4227513" y="2811463"/>
              <a:ext cx="3175" cy="7937"/>
            </a:xfrm>
            <a:custGeom>
              <a:avLst/>
              <a:gdLst>
                <a:gd name="T0" fmla="*/ 0 w 9"/>
                <a:gd name="T1" fmla="*/ 8 h 23"/>
                <a:gd name="T2" fmla="*/ 0 w 9"/>
                <a:gd name="T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3">
                  <a:moveTo>
                    <a:pt x="0" y="8"/>
                  </a:moveTo>
                  <a:cubicBezTo>
                    <a:pt x="8" y="22"/>
                    <a:pt x="8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2" name="Freeform 817"/>
            <p:cNvSpPr>
              <a:spLocks noChangeArrowheads="1"/>
            </p:cNvSpPr>
            <p:nvPr/>
          </p:nvSpPr>
          <p:spPr bwMode="auto">
            <a:xfrm>
              <a:off x="4151313" y="2749550"/>
              <a:ext cx="3175" cy="7938"/>
            </a:xfrm>
            <a:custGeom>
              <a:avLst/>
              <a:gdLst>
                <a:gd name="T0" fmla="*/ 0 w 9"/>
                <a:gd name="T1" fmla="*/ 8 h 20"/>
                <a:gd name="T2" fmla="*/ 0 w 9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8"/>
                  </a:moveTo>
                  <a:cubicBezTo>
                    <a:pt x="8" y="19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3" name="Freeform 818"/>
            <p:cNvSpPr>
              <a:spLocks noChangeArrowheads="1"/>
            </p:cNvSpPr>
            <p:nvPr/>
          </p:nvSpPr>
          <p:spPr bwMode="auto">
            <a:xfrm>
              <a:off x="4210050" y="2800350"/>
              <a:ext cx="3175" cy="7938"/>
            </a:xfrm>
            <a:custGeom>
              <a:avLst/>
              <a:gdLst>
                <a:gd name="T0" fmla="*/ 0 w 9"/>
                <a:gd name="T1" fmla="*/ 5 h 20"/>
                <a:gd name="T2" fmla="*/ 0 w 9"/>
                <a:gd name="T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5"/>
                  </a:moveTo>
                  <a:cubicBezTo>
                    <a:pt x="8" y="19"/>
                    <a:pt x="5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4" name="Freeform 819"/>
            <p:cNvSpPr>
              <a:spLocks noChangeArrowheads="1"/>
            </p:cNvSpPr>
            <p:nvPr/>
          </p:nvSpPr>
          <p:spPr bwMode="auto">
            <a:xfrm>
              <a:off x="4159250" y="2760663"/>
              <a:ext cx="3175" cy="7937"/>
            </a:xfrm>
            <a:custGeom>
              <a:avLst/>
              <a:gdLst>
                <a:gd name="T0" fmla="*/ 0 w 9"/>
                <a:gd name="T1" fmla="*/ 8 h 20"/>
                <a:gd name="T2" fmla="*/ 0 w 9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8"/>
                  </a:moveTo>
                  <a:cubicBezTo>
                    <a:pt x="8" y="19"/>
                    <a:pt x="5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5" name="Freeform 820"/>
            <p:cNvSpPr>
              <a:spLocks noChangeArrowheads="1"/>
            </p:cNvSpPr>
            <p:nvPr/>
          </p:nvSpPr>
          <p:spPr bwMode="auto">
            <a:xfrm>
              <a:off x="4206875" y="2805113"/>
              <a:ext cx="4763" cy="7937"/>
            </a:xfrm>
            <a:custGeom>
              <a:avLst/>
              <a:gdLst>
                <a:gd name="T0" fmla="*/ 11 w 15"/>
                <a:gd name="T1" fmla="*/ 0 h 20"/>
                <a:gd name="T2" fmla="*/ 14 w 15"/>
                <a:gd name="T3" fmla="*/ 11 h 20"/>
                <a:gd name="T4" fmla="*/ 11 w 15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0">
                  <a:moveTo>
                    <a:pt x="11" y="0"/>
                  </a:moveTo>
                  <a:cubicBezTo>
                    <a:pt x="0" y="8"/>
                    <a:pt x="6" y="19"/>
                    <a:pt x="14" y="11"/>
                  </a:cubicBezTo>
                  <a:cubicBezTo>
                    <a:pt x="9" y="8"/>
                    <a:pt x="11" y="2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6" name="Freeform 821"/>
            <p:cNvSpPr>
              <a:spLocks noChangeArrowheads="1"/>
            </p:cNvSpPr>
            <p:nvPr/>
          </p:nvSpPr>
          <p:spPr bwMode="auto">
            <a:xfrm>
              <a:off x="4144963" y="2754313"/>
              <a:ext cx="7937" cy="6350"/>
            </a:xfrm>
            <a:custGeom>
              <a:avLst/>
              <a:gdLst>
                <a:gd name="T0" fmla="*/ 20 w 21"/>
                <a:gd name="T1" fmla="*/ 11 h 18"/>
                <a:gd name="T2" fmla="*/ 11 w 21"/>
                <a:gd name="T3" fmla="*/ 0 h 18"/>
                <a:gd name="T4" fmla="*/ 20 w 21"/>
                <a:gd name="T5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20" y="11"/>
                  </a:moveTo>
                  <a:cubicBezTo>
                    <a:pt x="14" y="8"/>
                    <a:pt x="11" y="5"/>
                    <a:pt x="11" y="0"/>
                  </a:cubicBezTo>
                  <a:cubicBezTo>
                    <a:pt x="0" y="2"/>
                    <a:pt x="17" y="17"/>
                    <a:pt x="2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7" name="Freeform 822"/>
            <p:cNvSpPr>
              <a:spLocks noChangeArrowheads="1"/>
            </p:cNvSpPr>
            <p:nvPr/>
          </p:nvSpPr>
          <p:spPr bwMode="auto">
            <a:xfrm>
              <a:off x="4171950" y="2774950"/>
              <a:ext cx="3175" cy="7938"/>
            </a:xfrm>
            <a:custGeom>
              <a:avLst/>
              <a:gdLst>
                <a:gd name="T0" fmla="*/ 0 w 10"/>
                <a:gd name="T1" fmla="*/ 9 h 21"/>
                <a:gd name="T2" fmla="*/ 0 w 10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9"/>
                  </a:moveTo>
                  <a:cubicBezTo>
                    <a:pt x="9" y="20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8" name="Freeform 823"/>
            <p:cNvSpPr>
              <a:spLocks noChangeArrowheads="1"/>
            </p:cNvSpPr>
            <p:nvPr/>
          </p:nvSpPr>
          <p:spPr bwMode="auto">
            <a:xfrm>
              <a:off x="4176713" y="2781300"/>
              <a:ext cx="3175" cy="7938"/>
            </a:xfrm>
            <a:custGeom>
              <a:avLst/>
              <a:gdLst>
                <a:gd name="T0" fmla="*/ 0 w 9"/>
                <a:gd name="T1" fmla="*/ 6 h 21"/>
                <a:gd name="T2" fmla="*/ 0 w 9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6"/>
                  </a:moveTo>
                  <a:cubicBezTo>
                    <a:pt x="8" y="20"/>
                    <a:pt x="8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9" name="Freeform 824"/>
            <p:cNvSpPr>
              <a:spLocks noChangeArrowheads="1"/>
            </p:cNvSpPr>
            <p:nvPr/>
          </p:nvSpPr>
          <p:spPr bwMode="auto">
            <a:xfrm>
              <a:off x="4187825" y="2792413"/>
              <a:ext cx="4763" cy="7937"/>
            </a:xfrm>
            <a:custGeom>
              <a:avLst/>
              <a:gdLst>
                <a:gd name="T0" fmla="*/ 0 w 12"/>
                <a:gd name="T1" fmla="*/ 6 h 24"/>
                <a:gd name="T2" fmla="*/ 0 w 12"/>
                <a:gd name="T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4">
                  <a:moveTo>
                    <a:pt x="0" y="6"/>
                  </a:moveTo>
                  <a:cubicBezTo>
                    <a:pt x="11" y="23"/>
                    <a:pt x="8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0" name="Freeform 825"/>
            <p:cNvSpPr>
              <a:spLocks noChangeArrowheads="1"/>
            </p:cNvSpPr>
            <p:nvPr/>
          </p:nvSpPr>
          <p:spPr bwMode="auto">
            <a:xfrm>
              <a:off x="4197350" y="2808288"/>
              <a:ext cx="9525" cy="9525"/>
            </a:xfrm>
            <a:custGeom>
              <a:avLst/>
              <a:gdLst>
                <a:gd name="T0" fmla="*/ 17 w 26"/>
                <a:gd name="T1" fmla="*/ 14 h 26"/>
                <a:gd name="T2" fmla="*/ 0 w 26"/>
                <a:gd name="T3" fmla="*/ 14 h 26"/>
                <a:gd name="T4" fmla="*/ 17 w 26"/>
                <a:gd name="T5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6">
                  <a:moveTo>
                    <a:pt x="17" y="14"/>
                  </a:moveTo>
                  <a:cubicBezTo>
                    <a:pt x="11" y="23"/>
                    <a:pt x="3" y="0"/>
                    <a:pt x="0" y="14"/>
                  </a:cubicBezTo>
                  <a:cubicBezTo>
                    <a:pt x="6" y="23"/>
                    <a:pt x="25" y="25"/>
                    <a:pt x="17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1" name="Freeform 826"/>
            <p:cNvSpPr>
              <a:spLocks noChangeArrowheads="1"/>
            </p:cNvSpPr>
            <p:nvPr/>
          </p:nvSpPr>
          <p:spPr bwMode="auto">
            <a:xfrm>
              <a:off x="4183063" y="2800350"/>
              <a:ext cx="4762" cy="7938"/>
            </a:xfrm>
            <a:custGeom>
              <a:avLst/>
              <a:gdLst>
                <a:gd name="T0" fmla="*/ 0 w 13"/>
                <a:gd name="T1" fmla="*/ 5 h 20"/>
                <a:gd name="T2" fmla="*/ 0 w 13"/>
                <a:gd name="T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0">
                  <a:moveTo>
                    <a:pt x="0" y="5"/>
                  </a:moveTo>
                  <a:cubicBezTo>
                    <a:pt x="12" y="19"/>
                    <a:pt x="9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2" name="Freeform 827"/>
            <p:cNvSpPr>
              <a:spLocks noChangeArrowheads="1"/>
            </p:cNvSpPr>
            <p:nvPr/>
          </p:nvSpPr>
          <p:spPr bwMode="auto">
            <a:xfrm>
              <a:off x="4149725" y="2779713"/>
              <a:ext cx="6350" cy="4762"/>
            </a:xfrm>
            <a:custGeom>
              <a:avLst/>
              <a:gdLst>
                <a:gd name="T0" fmla="*/ 12 w 18"/>
                <a:gd name="T1" fmla="*/ 0 h 15"/>
                <a:gd name="T2" fmla="*/ 6 w 18"/>
                <a:gd name="T3" fmla="*/ 14 h 15"/>
                <a:gd name="T4" fmla="*/ 12 w 18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2" y="0"/>
                  </a:moveTo>
                  <a:cubicBezTo>
                    <a:pt x="6" y="0"/>
                    <a:pt x="0" y="9"/>
                    <a:pt x="6" y="14"/>
                  </a:cubicBezTo>
                  <a:cubicBezTo>
                    <a:pt x="12" y="11"/>
                    <a:pt x="17" y="6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3" name="Freeform 828"/>
            <p:cNvSpPr>
              <a:spLocks noChangeArrowheads="1"/>
            </p:cNvSpPr>
            <p:nvPr/>
          </p:nvSpPr>
          <p:spPr bwMode="auto">
            <a:xfrm>
              <a:off x="4198938" y="2819400"/>
              <a:ext cx="4762" cy="7938"/>
            </a:xfrm>
            <a:custGeom>
              <a:avLst/>
              <a:gdLst>
                <a:gd name="T0" fmla="*/ 0 w 12"/>
                <a:gd name="T1" fmla="*/ 6 h 21"/>
                <a:gd name="T2" fmla="*/ 0 w 12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1">
                  <a:moveTo>
                    <a:pt x="0" y="6"/>
                  </a:moveTo>
                  <a:cubicBezTo>
                    <a:pt x="11" y="20"/>
                    <a:pt x="8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4" name="Freeform 829"/>
            <p:cNvSpPr>
              <a:spLocks noChangeArrowheads="1"/>
            </p:cNvSpPr>
            <p:nvPr/>
          </p:nvSpPr>
          <p:spPr bwMode="auto">
            <a:xfrm>
              <a:off x="4175125" y="2811463"/>
              <a:ext cx="11113" cy="1587"/>
            </a:xfrm>
            <a:custGeom>
              <a:avLst/>
              <a:gdLst>
                <a:gd name="T0" fmla="*/ 14 w 29"/>
                <a:gd name="T1" fmla="*/ 0 h 4"/>
                <a:gd name="T2" fmla="*/ 14 w 29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9" h="4">
                  <a:moveTo>
                    <a:pt x="14" y="0"/>
                  </a:moveTo>
                  <a:cubicBezTo>
                    <a:pt x="0" y="3"/>
                    <a:pt x="28" y="0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5" name="Freeform 830"/>
            <p:cNvSpPr>
              <a:spLocks noChangeArrowheads="1"/>
            </p:cNvSpPr>
            <p:nvPr/>
          </p:nvSpPr>
          <p:spPr bwMode="auto">
            <a:xfrm>
              <a:off x="4183063" y="2830513"/>
              <a:ext cx="6350" cy="3175"/>
            </a:xfrm>
            <a:custGeom>
              <a:avLst/>
              <a:gdLst>
                <a:gd name="T0" fmla="*/ 15 w 16"/>
                <a:gd name="T1" fmla="*/ 3 h 7"/>
                <a:gd name="T2" fmla="*/ 0 w 16"/>
                <a:gd name="T3" fmla="*/ 0 h 7"/>
                <a:gd name="T4" fmla="*/ 15 w 16"/>
                <a:gd name="T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7">
                  <a:moveTo>
                    <a:pt x="15" y="3"/>
                  </a:moveTo>
                  <a:cubicBezTo>
                    <a:pt x="12" y="0"/>
                    <a:pt x="6" y="0"/>
                    <a:pt x="0" y="0"/>
                  </a:cubicBezTo>
                  <a:cubicBezTo>
                    <a:pt x="3" y="6"/>
                    <a:pt x="9" y="6"/>
                    <a:pt x="15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6" name="Freeform 831"/>
            <p:cNvSpPr>
              <a:spLocks noChangeArrowheads="1"/>
            </p:cNvSpPr>
            <p:nvPr/>
          </p:nvSpPr>
          <p:spPr bwMode="auto">
            <a:xfrm>
              <a:off x="4156075" y="2822575"/>
              <a:ext cx="4763" cy="7938"/>
            </a:xfrm>
            <a:custGeom>
              <a:avLst/>
              <a:gdLst>
                <a:gd name="T0" fmla="*/ 0 w 13"/>
                <a:gd name="T1" fmla="*/ 8 h 23"/>
                <a:gd name="T2" fmla="*/ 0 w 13"/>
                <a:gd name="T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3">
                  <a:moveTo>
                    <a:pt x="0" y="8"/>
                  </a:moveTo>
                  <a:cubicBezTo>
                    <a:pt x="0" y="22"/>
                    <a:pt x="12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7" name="Freeform 832"/>
            <p:cNvSpPr>
              <a:spLocks noChangeArrowheads="1"/>
            </p:cNvSpPr>
            <p:nvPr/>
          </p:nvSpPr>
          <p:spPr bwMode="auto">
            <a:xfrm>
              <a:off x="4151313" y="2820988"/>
              <a:ext cx="3175" cy="7937"/>
            </a:xfrm>
            <a:custGeom>
              <a:avLst/>
              <a:gdLst>
                <a:gd name="T0" fmla="*/ 0 w 9"/>
                <a:gd name="T1" fmla="*/ 8 h 21"/>
                <a:gd name="T2" fmla="*/ 0 w 9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8"/>
                  </a:moveTo>
                  <a:cubicBezTo>
                    <a:pt x="8" y="20"/>
                    <a:pt x="8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8" name="Freeform 833"/>
            <p:cNvSpPr>
              <a:spLocks noChangeArrowheads="1"/>
            </p:cNvSpPr>
            <p:nvPr/>
          </p:nvSpPr>
          <p:spPr bwMode="auto">
            <a:xfrm>
              <a:off x="4144963" y="2822575"/>
              <a:ext cx="3175" cy="7938"/>
            </a:xfrm>
            <a:custGeom>
              <a:avLst/>
              <a:gdLst>
                <a:gd name="T0" fmla="*/ 0 w 9"/>
                <a:gd name="T1" fmla="*/ 5 h 20"/>
                <a:gd name="T2" fmla="*/ 0 w 9"/>
                <a:gd name="T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5"/>
                  </a:moveTo>
                  <a:cubicBezTo>
                    <a:pt x="8" y="19"/>
                    <a:pt x="8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9" name="Freeform 834"/>
            <p:cNvSpPr>
              <a:spLocks noChangeArrowheads="1"/>
            </p:cNvSpPr>
            <p:nvPr/>
          </p:nvSpPr>
          <p:spPr bwMode="auto">
            <a:xfrm>
              <a:off x="4151313" y="2836863"/>
              <a:ext cx="4762" cy="4762"/>
            </a:xfrm>
            <a:custGeom>
              <a:avLst/>
              <a:gdLst>
                <a:gd name="T0" fmla="*/ 0 w 12"/>
                <a:gd name="T1" fmla="*/ 9 h 15"/>
                <a:gd name="T2" fmla="*/ 11 w 12"/>
                <a:gd name="T3" fmla="*/ 11 h 15"/>
                <a:gd name="T4" fmla="*/ 8 w 12"/>
                <a:gd name="T5" fmla="*/ 0 h 15"/>
                <a:gd name="T6" fmla="*/ 0 w 12"/>
                <a:gd name="T7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0" y="9"/>
                  </a:moveTo>
                  <a:cubicBezTo>
                    <a:pt x="3" y="11"/>
                    <a:pt x="8" y="14"/>
                    <a:pt x="11" y="11"/>
                  </a:cubicBezTo>
                  <a:cubicBezTo>
                    <a:pt x="6" y="9"/>
                    <a:pt x="8" y="3"/>
                    <a:pt x="8" y="0"/>
                  </a:cubicBezTo>
                  <a:lnTo>
                    <a:pt x="0" y="9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0" name="Freeform 835"/>
            <p:cNvSpPr>
              <a:spLocks noChangeArrowheads="1"/>
            </p:cNvSpPr>
            <p:nvPr/>
          </p:nvSpPr>
          <p:spPr bwMode="auto">
            <a:xfrm>
              <a:off x="4102100" y="2795588"/>
              <a:ext cx="3175" cy="7937"/>
            </a:xfrm>
            <a:custGeom>
              <a:avLst/>
              <a:gdLst>
                <a:gd name="T0" fmla="*/ 0 w 9"/>
                <a:gd name="T1" fmla="*/ 9 h 21"/>
                <a:gd name="T2" fmla="*/ 0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9"/>
                  </a:moveTo>
                  <a:cubicBezTo>
                    <a:pt x="8" y="20"/>
                    <a:pt x="5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1" name="Freeform 836"/>
            <p:cNvSpPr>
              <a:spLocks noChangeArrowheads="1"/>
            </p:cNvSpPr>
            <p:nvPr/>
          </p:nvSpPr>
          <p:spPr bwMode="auto">
            <a:xfrm>
              <a:off x="4110038" y="2809875"/>
              <a:ext cx="3175" cy="7938"/>
            </a:xfrm>
            <a:custGeom>
              <a:avLst/>
              <a:gdLst>
                <a:gd name="T0" fmla="*/ 0 w 10"/>
                <a:gd name="T1" fmla="*/ 6 h 21"/>
                <a:gd name="T2" fmla="*/ 0 w 10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6"/>
                  </a:moveTo>
                  <a:cubicBezTo>
                    <a:pt x="9" y="20"/>
                    <a:pt x="9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2" name="Freeform 837"/>
            <p:cNvSpPr>
              <a:spLocks noChangeArrowheads="1"/>
            </p:cNvSpPr>
            <p:nvPr/>
          </p:nvSpPr>
          <p:spPr bwMode="auto">
            <a:xfrm>
              <a:off x="4108450" y="2816225"/>
              <a:ext cx="6350" cy="7938"/>
            </a:xfrm>
            <a:custGeom>
              <a:avLst/>
              <a:gdLst>
                <a:gd name="T0" fmla="*/ 0 w 16"/>
                <a:gd name="T1" fmla="*/ 5 h 20"/>
                <a:gd name="T2" fmla="*/ 0 w 16"/>
                <a:gd name="T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20">
                  <a:moveTo>
                    <a:pt x="0" y="5"/>
                  </a:moveTo>
                  <a:cubicBezTo>
                    <a:pt x="3" y="19"/>
                    <a:pt x="15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3" name="Freeform 838"/>
            <p:cNvSpPr>
              <a:spLocks noChangeArrowheads="1"/>
            </p:cNvSpPr>
            <p:nvPr/>
          </p:nvSpPr>
          <p:spPr bwMode="auto">
            <a:xfrm>
              <a:off x="4137025" y="2840038"/>
              <a:ext cx="3175" cy="7937"/>
            </a:xfrm>
            <a:custGeom>
              <a:avLst/>
              <a:gdLst>
                <a:gd name="T0" fmla="*/ 0 w 10"/>
                <a:gd name="T1" fmla="*/ 8 h 23"/>
                <a:gd name="T2" fmla="*/ 0 w 10"/>
                <a:gd name="T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3">
                  <a:moveTo>
                    <a:pt x="0" y="8"/>
                  </a:moveTo>
                  <a:cubicBezTo>
                    <a:pt x="9" y="22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4" name="Freeform 839"/>
            <p:cNvSpPr>
              <a:spLocks noChangeArrowheads="1"/>
            </p:cNvSpPr>
            <p:nvPr/>
          </p:nvSpPr>
          <p:spPr bwMode="auto">
            <a:xfrm>
              <a:off x="4122738" y="2832100"/>
              <a:ext cx="4762" cy="7938"/>
            </a:xfrm>
            <a:custGeom>
              <a:avLst/>
              <a:gdLst>
                <a:gd name="T0" fmla="*/ 0 w 14"/>
                <a:gd name="T1" fmla="*/ 6 h 21"/>
                <a:gd name="T2" fmla="*/ 0 w 14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1">
                  <a:moveTo>
                    <a:pt x="0" y="6"/>
                  </a:moveTo>
                  <a:cubicBezTo>
                    <a:pt x="3" y="20"/>
                    <a:pt x="13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5" name="Freeform 840"/>
            <p:cNvSpPr>
              <a:spLocks noChangeArrowheads="1"/>
            </p:cNvSpPr>
            <p:nvPr/>
          </p:nvSpPr>
          <p:spPr bwMode="auto">
            <a:xfrm>
              <a:off x="4102100" y="2816225"/>
              <a:ext cx="3175" cy="7938"/>
            </a:xfrm>
            <a:custGeom>
              <a:avLst/>
              <a:gdLst>
                <a:gd name="T0" fmla="*/ 0 w 9"/>
                <a:gd name="T1" fmla="*/ 8 h 20"/>
                <a:gd name="T2" fmla="*/ 0 w 9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8"/>
                  </a:moveTo>
                  <a:cubicBezTo>
                    <a:pt x="8" y="19"/>
                    <a:pt x="5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6" name="Freeform 841"/>
            <p:cNvSpPr>
              <a:spLocks noChangeArrowheads="1"/>
            </p:cNvSpPr>
            <p:nvPr/>
          </p:nvSpPr>
          <p:spPr bwMode="auto">
            <a:xfrm>
              <a:off x="4095750" y="2814638"/>
              <a:ext cx="3175" cy="7937"/>
            </a:xfrm>
            <a:custGeom>
              <a:avLst/>
              <a:gdLst>
                <a:gd name="T0" fmla="*/ 0 w 9"/>
                <a:gd name="T1" fmla="*/ 8 h 21"/>
                <a:gd name="T2" fmla="*/ 0 w 9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8"/>
                  </a:moveTo>
                  <a:cubicBezTo>
                    <a:pt x="8" y="20"/>
                    <a:pt x="8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7" name="Freeform 842"/>
            <p:cNvSpPr>
              <a:spLocks noChangeArrowheads="1"/>
            </p:cNvSpPr>
            <p:nvPr/>
          </p:nvSpPr>
          <p:spPr bwMode="auto">
            <a:xfrm>
              <a:off x="4098925" y="2819400"/>
              <a:ext cx="3175" cy="7938"/>
            </a:xfrm>
            <a:custGeom>
              <a:avLst/>
              <a:gdLst>
                <a:gd name="T0" fmla="*/ 0 w 10"/>
                <a:gd name="T1" fmla="*/ 9 h 21"/>
                <a:gd name="T2" fmla="*/ 0 w 10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9"/>
                  </a:moveTo>
                  <a:cubicBezTo>
                    <a:pt x="9" y="20"/>
                    <a:pt x="9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8" name="Freeform 843"/>
            <p:cNvSpPr>
              <a:spLocks noChangeArrowheads="1"/>
            </p:cNvSpPr>
            <p:nvPr/>
          </p:nvSpPr>
          <p:spPr bwMode="auto">
            <a:xfrm>
              <a:off x="4095750" y="2822575"/>
              <a:ext cx="3175" cy="7938"/>
            </a:xfrm>
            <a:custGeom>
              <a:avLst/>
              <a:gdLst>
                <a:gd name="T0" fmla="*/ 0 w 9"/>
                <a:gd name="T1" fmla="*/ 8 h 21"/>
                <a:gd name="T2" fmla="*/ 0 w 9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8"/>
                  </a:moveTo>
                  <a:cubicBezTo>
                    <a:pt x="8" y="20"/>
                    <a:pt x="5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9" name="Freeform 844"/>
            <p:cNvSpPr>
              <a:spLocks noChangeArrowheads="1"/>
            </p:cNvSpPr>
            <p:nvPr/>
          </p:nvSpPr>
          <p:spPr bwMode="auto">
            <a:xfrm>
              <a:off x="4102100" y="2833688"/>
              <a:ext cx="4763" cy="7937"/>
            </a:xfrm>
            <a:custGeom>
              <a:avLst/>
              <a:gdLst>
                <a:gd name="T0" fmla="*/ 0 w 12"/>
                <a:gd name="T1" fmla="*/ 5 h 23"/>
                <a:gd name="T2" fmla="*/ 0 w 12"/>
                <a:gd name="T3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3">
                  <a:moveTo>
                    <a:pt x="0" y="5"/>
                  </a:moveTo>
                  <a:cubicBezTo>
                    <a:pt x="0" y="22"/>
                    <a:pt x="11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0" name="Freeform 845"/>
            <p:cNvSpPr>
              <a:spLocks noChangeArrowheads="1"/>
            </p:cNvSpPr>
            <p:nvPr/>
          </p:nvSpPr>
          <p:spPr bwMode="auto">
            <a:xfrm>
              <a:off x="4194175" y="2820988"/>
              <a:ext cx="4763" cy="6350"/>
            </a:xfrm>
            <a:custGeom>
              <a:avLst/>
              <a:gdLst>
                <a:gd name="T0" fmla="*/ 12 w 13"/>
                <a:gd name="T1" fmla="*/ 11 h 18"/>
                <a:gd name="T2" fmla="*/ 9 w 13"/>
                <a:gd name="T3" fmla="*/ 0 h 18"/>
                <a:gd name="T4" fmla="*/ 12 w 13"/>
                <a:gd name="T5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12" y="11"/>
                  </a:moveTo>
                  <a:cubicBezTo>
                    <a:pt x="6" y="8"/>
                    <a:pt x="9" y="3"/>
                    <a:pt x="9" y="0"/>
                  </a:cubicBezTo>
                  <a:cubicBezTo>
                    <a:pt x="0" y="3"/>
                    <a:pt x="6" y="17"/>
                    <a:pt x="12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1" name="Freeform 846"/>
            <p:cNvSpPr>
              <a:spLocks noChangeArrowheads="1"/>
            </p:cNvSpPr>
            <p:nvPr/>
          </p:nvSpPr>
          <p:spPr bwMode="auto">
            <a:xfrm>
              <a:off x="4159250" y="2803525"/>
              <a:ext cx="11113" cy="11113"/>
            </a:xfrm>
            <a:custGeom>
              <a:avLst/>
              <a:gdLst>
                <a:gd name="T0" fmla="*/ 22 w 29"/>
                <a:gd name="T1" fmla="*/ 6 h 29"/>
                <a:gd name="T2" fmla="*/ 8 w 29"/>
                <a:gd name="T3" fmla="*/ 3 h 29"/>
                <a:gd name="T4" fmla="*/ 14 w 29"/>
                <a:gd name="T5" fmla="*/ 25 h 29"/>
                <a:gd name="T6" fmla="*/ 22 w 29"/>
                <a:gd name="T7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29">
                  <a:moveTo>
                    <a:pt x="22" y="6"/>
                  </a:moveTo>
                  <a:cubicBezTo>
                    <a:pt x="16" y="11"/>
                    <a:pt x="11" y="0"/>
                    <a:pt x="8" y="3"/>
                  </a:cubicBezTo>
                  <a:cubicBezTo>
                    <a:pt x="2" y="8"/>
                    <a:pt x="0" y="28"/>
                    <a:pt x="14" y="25"/>
                  </a:cubicBezTo>
                  <a:cubicBezTo>
                    <a:pt x="0" y="11"/>
                    <a:pt x="28" y="11"/>
                    <a:pt x="2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2" name="Freeform 847"/>
            <p:cNvSpPr>
              <a:spLocks noChangeArrowheads="1"/>
            </p:cNvSpPr>
            <p:nvPr/>
          </p:nvSpPr>
          <p:spPr bwMode="auto">
            <a:xfrm>
              <a:off x="4103688" y="2827338"/>
              <a:ext cx="6350" cy="6350"/>
            </a:xfrm>
            <a:custGeom>
              <a:avLst/>
              <a:gdLst>
                <a:gd name="T0" fmla="*/ 12 w 18"/>
                <a:gd name="T1" fmla="*/ 6 h 18"/>
                <a:gd name="T2" fmla="*/ 12 w 18"/>
                <a:gd name="T3" fmla="*/ 11 h 18"/>
                <a:gd name="T4" fmla="*/ 0 w 18"/>
                <a:gd name="T5" fmla="*/ 11 h 18"/>
                <a:gd name="T6" fmla="*/ 9 w 18"/>
                <a:gd name="T7" fmla="*/ 17 h 18"/>
                <a:gd name="T8" fmla="*/ 12 w 18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2" y="6"/>
                  </a:moveTo>
                  <a:cubicBezTo>
                    <a:pt x="14" y="8"/>
                    <a:pt x="14" y="8"/>
                    <a:pt x="12" y="11"/>
                  </a:cubicBezTo>
                  <a:cubicBezTo>
                    <a:pt x="9" y="8"/>
                    <a:pt x="3" y="6"/>
                    <a:pt x="0" y="11"/>
                  </a:cubicBezTo>
                  <a:lnTo>
                    <a:pt x="9" y="17"/>
                  </a:lnTo>
                  <a:cubicBezTo>
                    <a:pt x="17" y="14"/>
                    <a:pt x="17" y="0"/>
                    <a:pt x="1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3" name="Freeform 848"/>
            <p:cNvSpPr>
              <a:spLocks noChangeArrowheads="1"/>
            </p:cNvSpPr>
            <p:nvPr/>
          </p:nvSpPr>
          <p:spPr bwMode="auto">
            <a:xfrm>
              <a:off x="3857625" y="2622550"/>
              <a:ext cx="577850" cy="98425"/>
            </a:xfrm>
            <a:custGeom>
              <a:avLst/>
              <a:gdLst>
                <a:gd name="T0" fmla="*/ 3 w 1603"/>
                <a:gd name="T1" fmla="*/ 265 h 272"/>
                <a:gd name="T2" fmla="*/ 801 w 1603"/>
                <a:gd name="T3" fmla="*/ 130 h 272"/>
                <a:gd name="T4" fmla="*/ 1599 w 1603"/>
                <a:gd name="T5" fmla="*/ 0 h 272"/>
                <a:gd name="T6" fmla="*/ 1602 w 1603"/>
                <a:gd name="T7" fmla="*/ 3 h 272"/>
                <a:gd name="T8" fmla="*/ 1599 w 1603"/>
                <a:gd name="T9" fmla="*/ 6 h 272"/>
                <a:gd name="T10" fmla="*/ 1599 w 1603"/>
                <a:gd name="T11" fmla="*/ 6 h 272"/>
                <a:gd name="T12" fmla="*/ 1207 w 1603"/>
                <a:gd name="T13" fmla="*/ 107 h 272"/>
                <a:gd name="T14" fmla="*/ 1010 w 1603"/>
                <a:gd name="T15" fmla="*/ 147 h 272"/>
                <a:gd name="T16" fmla="*/ 809 w 1603"/>
                <a:gd name="T17" fmla="*/ 183 h 272"/>
                <a:gd name="T18" fmla="*/ 610 w 1603"/>
                <a:gd name="T19" fmla="*/ 212 h 272"/>
                <a:gd name="T20" fmla="*/ 410 w 1603"/>
                <a:gd name="T21" fmla="*/ 237 h 272"/>
                <a:gd name="T22" fmla="*/ 209 w 1603"/>
                <a:gd name="T23" fmla="*/ 257 h 272"/>
                <a:gd name="T24" fmla="*/ 6 w 1603"/>
                <a:gd name="T25" fmla="*/ 268 h 272"/>
                <a:gd name="T26" fmla="*/ 6 w 1603"/>
                <a:gd name="T27" fmla="*/ 268 h 272"/>
                <a:gd name="T28" fmla="*/ 3 w 1603"/>
                <a:gd name="T29" fmla="*/ 265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03" h="272">
                  <a:moveTo>
                    <a:pt x="3" y="265"/>
                  </a:moveTo>
                  <a:lnTo>
                    <a:pt x="801" y="130"/>
                  </a:lnTo>
                  <a:lnTo>
                    <a:pt x="1599" y="0"/>
                  </a:lnTo>
                  <a:cubicBezTo>
                    <a:pt x="1599" y="0"/>
                    <a:pt x="1602" y="0"/>
                    <a:pt x="1602" y="3"/>
                  </a:cubicBezTo>
                  <a:cubicBezTo>
                    <a:pt x="1602" y="3"/>
                    <a:pt x="1602" y="6"/>
                    <a:pt x="1599" y="6"/>
                  </a:cubicBezTo>
                  <a:lnTo>
                    <a:pt x="1599" y="6"/>
                  </a:lnTo>
                  <a:cubicBezTo>
                    <a:pt x="1470" y="45"/>
                    <a:pt x="1337" y="79"/>
                    <a:pt x="1207" y="107"/>
                  </a:cubicBezTo>
                  <a:cubicBezTo>
                    <a:pt x="1142" y="121"/>
                    <a:pt x="1075" y="135"/>
                    <a:pt x="1010" y="147"/>
                  </a:cubicBezTo>
                  <a:lnTo>
                    <a:pt x="809" y="183"/>
                  </a:lnTo>
                  <a:lnTo>
                    <a:pt x="610" y="212"/>
                  </a:lnTo>
                  <a:cubicBezTo>
                    <a:pt x="542" y="220"/>
                    <a:pt x="477" y="231"/>
                    <a:pt x="410" y="237"/>
                  </a:cubicBezTo>
                  <a:cubicBezTo>
                    <a:pt x="342" y="245"/>
                    <a:pt x="274" y="251"/>
                    <a:pt x="209" y="257"/>
                  </a:cubicBezTo>
                  <a:cubicBezTo>
                    <a:pt x="142" y="260"/>
                    <a:pt x="74" y="268"/>
                    <a:pt x="6" y="268"/>
                  </a:cubicBezTo>
                  <a:lnTo>
                    <a:pt x="6" y="268"/>
                  </a:lnTo>
                  <a:cubicBezTo>
                    <a:pt x="3" y="271"/>
                    <a:pt x="0" y="271"/>
                    <a:pt x="3" y="26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4" name="Freeform 849"/>
            <p:cNvSpPr>
              <a:spLocks noChangeArrowheads="1"/>
            </p:cNvSpPr>
            <p:nvPr/>
          </p:nvSpPr>
          <p:spPr bwMode="auto">
            <a:xfrm>
              <a:off x="4284663" y="2673350"/>
              <a:ext cx="7937" cy="4763"/>
            </a:xfrm>
            <a:custGeom>
              <a:avLst/>
              <a:gdLst>
                <a:gd name="T0" fmla="*/ 0 w 20"/>
                <a:gd name="T1" fmla="*/ 9 h 15"/>
                <a:gd name="T2" fmla="*/ 14 w 20"/>
                <a:gd name="T3" fmla="*/ 0 h 15"/>
                <a:gd name="T4" fmla="*/ 0 w 20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5">
                  <a:moveTo>
                    <a:pt x="0" y="9"/>
                  </a:moveTo>
                  <a:cubicBezTo>
                    <a:pt x="8" y="14"/>
                    <a:pt x="19" y="6"/>
                    <a:pt x="14" y="0"/>
                  </a:cubicBezTo>
                  <a:cubicBezTo>
                    <a:pt x="11" y="3"/>
                    <a:pt x="2" y="3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5" name="Freeform 850"/>
            <p:cNvSpPr>
              <a:spLocks noChangeArrowheads="1"/>
            </p:cNvSpPr>
            <p:nvPr/>
          </p:nvSpPr>
          <p:spPr bwMode="auto">
            <a:xfrm>
              <a:off x="4260850" y="2668588"/>
              <a:ext cx="4763" cy="3175"/>
            </a:xfrm>
            <a:custGeom>
              <a:avLst/>
              <a:gdLst>
                <a:gd name="T0" fmla="*/ 6 w 15"/>
                <a:gd name="T1" fmla="*/ 8 h 9"/>
                <a:gd name="T2" fmla="*/ 11 w 15"/>
                <a:gd name="T3" fmla="*/ 8 h 9"/>
                <a:gd name="T4" fmla="*/ 14 w 15"/>
                <a:gd name="T5" fmla="*/ 3 h 9"/>
                <a:gd name="T6" fmla="*/ 6 w 15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9">
                  <a:moveTo>
                    <a:pt x="6" y="8"/>
                  </a:moveTo>
                  <a:lnTo>
                    <a:pt x="11" y="8"/>
                  </a:lnTo>
                  <a:cubicBezTo>
                    <a:pt x="8" y="8"/>
                    <a:pt x="11" y="5"/>
                    <a:pt x="14" y="3"/>
                  </a:cubicBezTo>
                  <a:cubicBezTo>
                    <a:pt x="6" y="0"/>
                    <a:pt x="0" y="3"/>
                    <a:pt x="6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6" name="Freeform 851"/>
            <p:cNvSpPr>
              <a:spLocks noChangeArrowheads="1"/>
            </p:cNvSpPr>
            <p:nvPr/>
          </p:nvSpPr>
          <p:spPr bwMode="auto">
            <a:xfrm>
              <a:off x="4251325" y="2670175"/>
              <a:ext cx="3175" cy="1588"/>
            </a:xfrm>
            <a:custGeom>
              <a:avLst/>
              <a:gdLst>
                <a:gd name="T0" fmla="*/ 9 w 10"/>
                <a:gd name="T1" fmla="*/ 0 h 3"/>
                <a:gd name="T2" fmla="*/ 0 w 10"/>
                <a:gd name="T3" fmla="*/ 2 h 3"/>
                <a:gd name="T4" fmla="*/ 9 w 10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">
                  <a:moveTo>
                    <a:pt x="9" y="0"/>
                  </a:moveTo>
                  <a:cubicBezTo>
                    <a:pt x="6" y="0"/>
                    <a:pt x="3" y="0"/>
                    <a:pt x="0" y="2"/>
                  </a:cubicBezTo>
                  <a:cubicBezTo>
                    <a:pt x="3" y="2"/>
                    <a:pt x="9" y="2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7" name="Freeform 852"/>
            <p:cNvSpPr>
              <a:spLocks noChangeArrowheads="1"/>
            </p:cNvSpPr>
            <p:nvPr/>
          </p:nvSpPr>
          <p:spPr bwMode="auto">
            <a:xfrm>
              <a:off x="4278313" y="2673350"/>
              <a:ext cx="1587" cy="3175"/>
            </a:xfrm>
            <a:custGeom>
              <a:avLst/>
              <a:gdLst>
                <a:gd name="T0" fmla="*/ 3 w 4"/>
                <a:gd name="T1" fmla="*/ 3 h 7"/>
                <a:gd name="T2" fmla="*/ 3 w 4"/>
                <a:gd name="T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7">
                  <a:moveTo>
                    <a:pt x="3" y="3"/>
                  </a:moveTo>
                  <a:cubicBezTo>
                    <a:pt x="3" y="6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8" name="Freeform 853"/>
            <p:cNvSpPr>
              <a:spLocks noChangeArrowheads="1"/>
            </p:cNvSpPr>
            <p:nvPr/>
          </p:nvSpPr>
          <p:spPr bwMode="auto">
            <a:xfrm>
              <a:off x="4278313" y="2678113"/>
              <a:ext cx="1587" cy="3175"/>
            </a:xfrm>
            <a:custGeom>
              <a:avLst/>
              <a:gdLst>
                <a:gd name="T0" fmla="*/ 5 w 6"/>
                <a:gd name="T1" fmla="*/ 6 h 7"/>
                <a:gd name="T2" fmla="*/ 5 w 6"/>
                <a:gd name="T3" fmla="*/ 0 h 7"/>
                <a:gd name="T4" fmla="*/ 0 w 6"/>
                <a:gd name="T5" fmla="*/ 0 h 7"/>
                <a:gd name="T6" fmla="*/ 0 w 6"/>
                <a:gd name="T7" fmla="*/ 6 h 7"/>
                <a:gd name="T8" fmla="*/ 5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6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9" name="Freeform 854"/>
            <p:cNvSpPr>
              <a:spLocks noChangeArrowheads="1"/>
            </p:cNvSpPr>
            <p:nvPr/>
          </p:nvSpPr>
          <p:spPr bwMode="auto">
            <a:xfrm>
              <a:off x="4284663" y="2681288"/>
              <a:ext cx="3175" cy="1587"/>
            </a:xfrm>
            <a:custGeom>
              <a:avLst/>
              <a:gdLst>
                <a:gd name="T0" fmla="*/ 9 w 10"/>
                <a:gd name="T1" fmla="*/ 0 h 6"/>
                <a:gd name="T2" fmla="*/ 0 w 10"/>
                <a:gd name="T3" fmla="*/ 3 h 6"/>
                <a:gd name="T4" fmla="*/ 9 w 10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6">
                  <a:moveTo>
                    <a:pt x="9" y="0"/>
                  </a:moveTo>
                  <a:cubicBezTo>
                    <a:pt x="6" y="0"/>
                    <a:pt x="3" y="0"/>
                    <a:pt x="0" y="3"/>
                  </a:cubicBezTo>
                  <a:cubicBezTo>
                    <a:pt x="3" y="3"/>
                    <a:pt x="9" y="5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0" name="Freeform 855"/>
            <p:cNvSpPr>
              <a:spLocks noChangeArrowheads="1"/>
            </p:cNvSpPr>
            <p:nvPr/>
          </p:nvSpPr>
          <p:spPr bwMode="auto">
            <a:xfrm>
              <a:off x="4291013" y="2681288"/>
              <a:ext cx="3175" cy="4762"/>
            </a:xfrm>
            <a:custGeom>
              <a:avLst/>
              <a:gdLst>
                <a:gd name="T0" fmla="*/ 3 w 10"/>
                <a:gd name="T1" fmla="*/ 0 h 15"/>
                <a:gd name="T2" fmla="*/ 0 w 10"/>
                <a:gd name="T3" fmla="*/ 8 h 15"/>
                <a:gd name="T4" fmla="*/ 3 w 10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3" y="0"/>
                  </a:moveTo>
                  <a:cubicBezTo>
                    <a:pt x="3" y="2"/>
                    <a:pt x="0" y="2"/>
                    <a:pt x="0" y="8"/>
                  </a:cubicBezTo>
                  <a:cubicBezTo>
                    <a:pt x="6" y="14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1" name="Freeform 856"/>
            <p:cNvSpPr>
              <a:spLocks noChangeArrowheads="1"/>
            </p:cNvSpPr>
            <p:nvPr/>
          </p:nvSpPr>
          <p:spPr bwMode="auto">
            <a:xfrm>
              <a:off x="4229100" y="2673350"/>
              <a:ext cx="4763" cy="3175"/>
            </a:xfrm>
            <a:custGeom>
              <a:avLst/>
              <a:gdLst>
                <a:gd name="T0" fmla="*/ 0 w 13"/>
                <a:gd name="T1" fmla="*/ 6 h 7"/>
                <a:gd name="T2" fmla="*/ 12 w 13"/>
                <a:gd name="T3" fmla="*/ 3 h 7"/>
                <a:gd name="T4" fmla="*/ 0 w 13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0" y="6"/>
                  </a:moveTo>
                  <a:cubicBezTo>
                    <a:pt x="3" y="6"/>
                    <a:pt x="9" y="6"/>
                    <a:pt x="12" y="3"/>
                  </a:cubicBezTo>
                  <a:cubicBezTo>
                    <a:pt x="6" y="0"/>
                    <a:pt x="3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2" name="Freeform 857"/>
            <p:cNvSpPr>
              <a:spLocks noChangeArrowheads="1"/>
            </p:cNvSpPr>
            <p:nvPr/>
          </p:nvSpPr>
          <p:spPr bwMode="auto">
            <a:xfrm>
              <a:off x="4278313" y="2681288"/>
              <a:ext cx="3175" cy="4762"/>
            </a:xfrm>
            <a:custGeom>
              <a:avLst/>
              <a:gdLst>
                <a:gd name="T0" fmla="*/ 5 w 9"/>
                <a:gd name="T1" fmla="*/ 11 h 12"/>
                <a:gd name="T2" fmla="*/ 0 w 9"/>
                <a:gd name="T3" fmla="*/ 0 h 12"/>
                <a:gd name="T4" fmla="*/ 5 w 9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5" y="11"/>
                  </a:moveTo>
                  <a:cubicBezTo>
                    <a:pt x="8" y="5"/>
                    <a:pt x="3" y="2"/>
                    <a:pt x="0" y="0"/>
                  </a:cubicBezTo>
                  <a:cubicBezTo>
                    <a:pt x="0" y="5"/>
                    <a:pt x="3" y="8"/>
                    <a:pt x="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3" name="Freeform 858"/>
            <p:cNvSpPr>
              <a:spLocks noChangeArrowheads="1"/>
            </p:cNvSpPr>
            <p:nvPr/>
          </p:nvSpPr>
          <p:spPr bwMode="auto">
            <a:xfrm>
              <a:off x="4222750" y="2673350"/>
              <a:ext cx="3175" cy="3175"/>
            </a:xfrm>
            <a:custGeom>
              <a:avLst/>
              <a:gdLst>
                <a:gd name="T0" fmla="*/ 0 w 7"/>
                <a:gd name="T1" fmla="*/ 0 h 7"/>
                <a:gd name="T2" fmla="*/ 0 w 7"/>
                <a:gd name="T3" fmla="*/ 6 h 7"/>
                <a:gd name="T4" fmla="*/ 6 w 7"/>
                <a:gd name="T5" fmla="*/ 6 h 7"/>
                <a:gd name="T6" fmla="*/ 6 w 7"/>
                <a:gd name="T7" fmla="*/ 0 h 7"/>
                <a:gd name="T8" fmla="*/ 0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4" name="Freeform 859"/>
            <p:cNvSpPr>
              <a:spLocks noChangeArrowheads="1"/>
            </p:cNvSpPr>
            <p:nvPr/>
          </p:nvSpPr>
          <p:spPr bwMode="auto">
            <a:xfrm>
              <a:off x="4298950" y="269398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5" name="Freeform 860"/>
            <p:cNvSpPr>
              <a:spLocks noChangeArrowheads="1"/>
            </p:cNvSpPr>
            <p:nvPr/>
          </p:nvSpPr>
          <p:spPr bwMode="auto">
            <a:xfrm>
              <a:off x="4300538" y="2693988"/>
              <a:ext cx="4762" cy="4762"/>
            </a:xfrm>
            <a:custGeom>
              <a:avLst/>
              <a:gdLst>
                <a:gd name="T0" fmla="*/ 14 w 15"/>
                <a:gd name="T1" fmla="*/ 6 h 15"/>
                <a:gd name="T2" fmla="*/ 14 w 15"/>
                <a:gd name="T3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14" y="6"/>
                  </a:moveTo>
                  <a:cubicBezTo>
                    <a:pt x="0" y="0"/>
                    <a:pt x="8" y="14"/>
                    <a:pt x="14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6" name="Freeform 861"/>
            <p:cNvSpPr>
              <a:spLocks noChangeArrowheads="1"/>
            </p:cNvSpPr>
            <p:nvPr/>
          </p:nvSpPr>
          <p:spPr bwMode="auto">
            <a:xfrm>
              <a:off x="4305300" y="2695575"/>
              <a:ext cx="6350" cy="4763"/>
            </a:xfrm>
            <a:custGeom>
              <a:avLst/>
              <a:gdLst>
                <a:gd name="T0" fmla="*/ 17 w 18"/>
                <a:gd name="T1" fmla="*/ 9 h 15"/>
                <a:gd name="T2" fmla="*/ 0 w 18"/>
                <a:gd name="T3" fmla="*/ 9 h 15"/>
                <a:gd name="T4" fmla="*/ 17 w 18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7" y="9"/>
                  </a:moveTo>
                  <a:cubicBezTo>
                    <a:pt x="11" y="6"/>
                    <a:pt x="6" y="0"/>
                    <a:pt x="0" y="9"/>
                  </a:cubicBezTo>
                  <a:cubicBezTo>
                    <a:pt x="8" y="9"/>
                    <a:pt x="17" y="14"/>
                    <a:pt x="17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7" name="Freeform 862"/>
            <p:cNvSpPr>
              <a:spLocks noChangeArrowheads="1"/>
            </p:cNvSpPr>
            <p:nvPr/>
          </p:nvSpPr>
          <p:spPr bwMode="auto">
            <a:xfrm>
              <a:off x="4292600" y="2692400"/>
              <a:ext cx="3175" cy="6350"/>
            </a:xfrm>
            <a:custGeom>
              <a:avLst/>
              <a:gdLst>
                <a:gd name="T0" fmla="*/ 9 w 10"/>
                <a:gd name="T1" fmla="*/ 11 h 18"/>
                <a:gd name="T2" fmla="*/ 9 w 10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11"/>
                  </a:moveTo>
                  <a:cubicBezTo>
                    <a:pt x="0" y="0"/>
                    <a:pt x="0" y="17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8" name="Freeform 863"/>
            <p:cNvSpPr>
              <a:spLocks noChangeArrowheads="1"/>
            </p:cNvSpPr>
            <p:nvPr/>
          </p:nvSpPr>
          <p:spPr bwMode="auto">
            <a:xfrm>
              <a:off x="4297363" y="2697163"/>
              <a:ext cx="4762" cy="4762"/>
            </a:xfrm>
            <a:custGeom>
              <a:avLst/>
              <a:gdLst>
                <a:gd name="T0" fmla="*/ 0 w 13"/>
                <a:gd name="T1" fmla="*/ 8 h 12"/>
                <a:gd name="T2" fmla="*/ 0 w 13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2">
                  <a:moveTo>
                    <a:pt x="0" y="8"/>
                  </a:moveTo>
                  <a:cubicBezTo>
                    <a:pt x="12" y="11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9" name="Freeform 864"/>
            <p:cNvSpPr>
              <a:spLocks noChangeArrowheads="1"/>
            </p:cNvSpPr>
            <p:nvPr/>
          </p:nvSpPr>
          <p:spPr bwMode="auto">
            <a:xfrm>
              <a:off x="4292600" y="2698750"/>
              <a:ext cx="4763" cy="4763"/>
            </a:xfrm>
            <a:custGeom>
              <a:avLst/>
              <a:gdLst>
                <a:gd name="T0" fmla="*/ 0 w 12"/>
                <a:gd name="T1" fmla="*/ 8 h 12"/>
                <a:gd name="T2" fmla="*/ 0 w 12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0" y="8"/>
                  </a:moveTo>
                  <a:cubicBezTo>
                    <a:pt x="11" y="11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0" name="Freeform 865"/>
            <p:cNvSpPr>
              <a:spLocks noChangeArrowheads="1"/>
            </p:cNvSpPr>
            <p:nvPr/>
          </p:nvSpPr>
          <p:spPr bwMode="auto">
            <a:xfrm>
              <a:off x="4210050" y="2686050"/>
              <a:ext cx="1588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3" y="3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1" name="Freeform 866"/>
            <p:cNvSpPr>
              <a:spLocks noChangeArrowheads="1"/>
            </p:cNvSpPr>
            <p:nvPr/>
          </p:nvSpPr>
          <p:spPr bwMode="auto">
            <a:xfrm>
              <a:off x="4275138" y="2697163"/>
              <a:ext cx="3175" cy="6350"/>
            </a:xfrm>
            <a:custGeom>
              <a:avLst/>
              <a:gdLst>
                <a:gd name="T0" fmla="*/ 0 w 7"/>
                <a:gd name="T1" fmla="*/ 5 h 18"/>
                <a:gd name="T2" fmla="*/ 0 w 7"/>
                <a:gd name="T3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5"/>
                  </a:moveTo>
                  <a:cubicBezTo>
                    <a:pt x="3" y="17"/>
                    <a:pt x="6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2" name="Freeform 867"/>
            <p:cNvSpPr>
              <a:spLocks noChangeArrowheads="1"/>
            </p:cNvSpPr>
            <p:nvPr/>
          </p:nvSpPr>
          <p:spPr bwMode="auto">
            <a:xfrm>
              <a:off x="4210050" y="2689225"/>
              <a:ext cx="1588" cy="6350"/>
            </a:xfrm>
            <a:custGeom>
              <a:avLst/>
              <a:gdLst>
                <a:gd name="T0" fmla="*/ 0 w 4"/>
                <a:gd name="T1" fmla="*/ 6 h 18"/>
                <a:gd name="T2" fmla="*/ 0 w 4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8">
                  <a:moveTo>
                    <a:pt x="0" y="6"/>
                  </a:moveTo>
                  <a:cubicBezTo>
                    <a:pt x="3" y="17"/>
                    <a:pt x="3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3" name="Freeform 868"/>
            <p:cNvSpPr>
              <a:spLocks noChangeArrowheads="1"/>
            </p:cNvSpPr>
            <p:nvPr/>
          </p:nvSpPr>
          <p:spPr bwMode="auto">
            <a:xfrm>
              <a:off x="4298950" y="2686050"/>
              <a:ext cx="7938" cy="3175"/>
            </a:xfrm>
            <a:custGeom>
              <a:avLst/>
              <a:gdLst>
                <a:gd name="T0" fmla="*/ 0 w 21"/>
                <a:gd name="T1" fmla="*/ 8 h 9"/>
                <a:gd name="T2" fmla="*/ 11 w 21"/>
                <a:gd name="T3" fmla="*/ 0 h 9"/>
                <a:gd name="T4" fmla="*/ 0 w 21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9">
                  <a:moveTo>
                    <a:pt x="0" y="8"/>
                  </a:moveTo>
                  <a:cubicBezTo>
                    <a:pt x="6" y="8"/>
                    <a:pt x="20" y="5"/>
                    <a:pt x="11" y="0"/>
                  </a:cubicBezTo>
                  <a:cubicBezTo>
                    <a:pt x="9" y="5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4" name="Freeform 869"/>
            <p:cNvSpPr>
              <a:spLocks noChangeArrowheads="1"/>
            </p:cNvSpPr>
            <p:nvPr/>
          </p:nvSpPr>
          <p:spPr bwMode="auto">
            <a:xfrm>
              <a:off x="4283075" y="2689225"/>
              <a:ext cx="6350" cy="4763"/>
            </a:xfrm>
            <a:custGeom>
              <a:avLst/>
              <a:gdLst>
                <a:gd name="T0" fmla="*/ 0 w 18"/>
                <a:gd name="T1" fmla="*/ 6 h 13"/>
                <a:gd name="T2" fmla="*/ 11 w 18"/>
                <a:gd name="T3" fmla="*/ 0 h 13"/>
                <a:gd name="T4" fmla="*/ 0 w 18"/>
                <a:gd name="T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0" y="6"/>
                  </a:moveTo>
                  <a:cubicBezTo>
                    <a:pt x="8" y="12"/>
                    <a:pt x="17" y="3"/>
                    <a:pt x="11" y="0"/>
                  </a:cubicBezTo>
                  <a:cubicBezTo>
                    <a:pt x="11" y="6"/>
                    <a:pt x="3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5" name="Freeform 870"/>
            <p:cNvSpPr>
              <a:spLocks noChangeArrowheads="1"/>
            </p:cNvSpPr>
            <p:nvPr/>
          </p:nvSpPr>
          <p:spPr bwMode="auto">
            <a:xfrm>
              <a:off x="4302125" y="2698750"/>
              <a:ext cx="3175" cy="3175"/>
            </a:xfrm>
            <a:custGeom>
              <a:avLst/>
              <a:gdLst>
                <a:gd name="T0" fmla="*/ 6 w 10"/>
                <a:gd name="T1" fmla="*/ 0 h 10"/>
                <a:gd name="T2" fmla="*/ 0 w 10"/>
                <a:gd name="T3" fmla="*/ 0 h 10"/>
                <a:gd name="T4" fmla="*/ 0 w 10"/>
                <a:gd name="T5" fmla="*/ 9 h 10"/>
                <a:gd name="T6" fmla="*/ 6 w 1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6" y="0"/>
                  </a:moveTo>
                  <a:lnTo>
                    <a:pt x="0" y="0"/>
                  </a:lnTo>
                  <a:lnTo>
                    <a:pt x="0" y="9"/>
                  </a:lnTo>
                  <a:cubicBezTo>
                    <a:pt x="6" y="9"/>
                    <a:pt x="9" y="6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6" name="Freeform 871"/>
            <p:cNvSpPr>
              <a:spLocks noChangeArrowheads="1"/>
            </p:cNvSpPr>
            <p:nvPr/>
          </p:nvSpPr>
          <p:spPr bwMode="auto">
            <a:xfrm>
              <a:off x="4300538" y="2684463"/>
              <a:ext cx="3175" cy="7937"/>
            </a:xfrm>
            <a:custGeom>
              <a:avLst/>
              <a:gdLst>
                <a:gd name="T0" fmla="*/ 6 w 7"/>
                <a:gd name="T1" fmla="*/ 14 h 24"/>
                <a:gd name="T2" fmla="*/ 6 w 7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4">
                  <a:moveTo>
                    <a:pt x="6" y="14"/>
                  </a:moveTo>
                  <a:cubicBezTo>
                    <a:pt x="0" y="0"/>
                    <a:pt x="3" y="23"/>
                    <a:pt x="6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7" name="Freeform 872"/>
            <p:cNvSpPr>
              <a:spLocks noChangeArrowheads="1"/>
            </p:cNvSpPr>
            <p:nvPr/>
          </p:nvSpPr>
          <p:spPr bwMode="auto">
            <a:xfrm>
              <a:off x="4297363" y="2695575"/>
              <a:ext cx="3175" cy="6350"/>
            </a:xfrm>
            <a:custGeom>
              <a:avLst/>
              <a:gdLst>
                <a:gd name="T0" fmla="*/ 0 w 7"/>
                <a:gd name="T1" fmla="*/ 3 h 18"/>
                <a:gd name="T2" fmla="*/ 0 w 7"/>
                <a:gd name="T3" fmla="*/ 11 h 18"/>
                <a:gd name="T4" fmla="*/ 0 w 7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8">
                  <a:moveTo>
                    <a:pt x="0" y="3"/>
                  </a:moveTo>
                  <a:lnTo>
                    <a:pt x="0" y="11"/>
                  </a:lnTo>
                  <a:cubicBezTo>
                    <a:pt x="6" y="17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8" name="Freeform 873"/>
            <p:cNvSpPr>
              <a:spLocks noChangeArrowheads="1"/>
            </p:cNvSpPr>
            <p:nvPr/>
          </p:nvSpPr>
          <p:spPr bwMode="auto">
            <a:xfrm>
              <a:off x="4283075" y="2690813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0" y="11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9" name="Freeform 874"/>
            <p:cNvSpPr>
              <a:spLocks noChangeArrowheads="1"/>
            </p:cNvSpPr>
            <p:nvPr/>
          </p:nvSpPr>
          <p:spPr bwMode="auto">
            <a:xfrm>
              <a:off x="4278313" y="2681288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8 w 9"/>
                <a:gd name="T3" fmla="*/ 0 h 9"/>
                <a:gd name="T4" fmla="*/ 2 w 9"/>
                <a:gd name="T5" fmla="*/ 8 h 9"/>
                <a:gd name="T6" fmla="*/ 8 w 9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lnTo>
                    <a:pt x="8" y="0"/>
                  </a:lnTo>
                  <a:cubicBezTo>
                    <a:pt x="2" y="0"/>
                    <a:pt x="0" y="3"/>
                    <a:pt x="2" y="8"/>
                  </a:cubicBezTo>
                  <a:lnTo>
                    <a:pt x="8" y="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0" name="Freeform 875"/>
            <p:cNvSpPr>
              <a:spLocks noChangeArrowheads="1"/>
            </p:cNvSpPr>
            <p:nvPr/>
          </p:nvSpPr>
          <p:spPr bwMode="auto">
            <a:xfrm>
              <a:off x="4264025" y="2670175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1" name="Freeform 876"/>
            <p:cNvSpPr>
              <a:spLocks noChangeArrowheads="1"/>
            </p:cNvSpPr>
            <p:nvPr/>
          </p:nvSpPr>
          <p:spPr bwMode="auto">
            <a:xfrm>
              <a:off x="4246563" y="2667000"/>
              <a:ext cx="4762" cy="4763"/>
            </a:xfrm>
            <a:custGeom>
              <a:avLst/>
              <a:gdLst>
                <a:gd name="T0" fmla="*/ 9 w 15"/>
                <a:gd name="T1" fmla="*/ 14 h 15"/>
                <a:gd name="T2" fmla="*/ 9 w 15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9" y="14"/>
                  </a:moveTo>
                  <a:cubicBezTo>
                    <a:pt x="14" y="0"/>
                    <a:pt x="0" y="9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2" name="Freeform 877"/>
            <p:cNvSpPr>
              <a:spLocks noChangeArrowheads="1"/>
            </p:cNvSpPr>
            <p:nvPr/>
          </p:nvSpPr>
          <p:spPr bwMode="auto">
            <a:xfrm>
              <a:off x="4229100" y="2670175"/>
              <a:ext cx="4763" cy="4763"/>
            </a:xfrm>
            <a:custGeom>
              <a:avLst/>
              <a:gdLst>
                <a:gd name="T0" fmla="*/ 3 w 13"/>
                <a:gd name="T1" fmla="*/ 12 h 13"/>
                <a:gd name="T2" fmla="*/ 9 w 13"/>
                <a:gd name="T3" fmla="*/ 0 h 13"/>
                <a:gd name="T4" fmla="*/ 3 w 13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3" y="12"/>
                  </a:moveTo>
                  <a:cubicBezTo>
                    <a:pt x="9" y="12"/>
                    <a:pt x="12" y="6"/>
                    <a:pt x="9" y="0"/>
                  </a:cubicBezTo>
                  <a:cubicBezTo>
                    <a:pt x="3" y="0"/>
                    <a:pt x="0" y="3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3" name="Freeform 878"/>
            <p:cNvSpPr>
              <a:spLocks noChangeArrowheads="1"/>
            </p:cNvSpPr>
            <p:nvPr/>
          </p:nvSpPr>
          <p:spPr bwMode="auto">
            <a:xfrm>
              <a:off x="4195763" y="2689225"/>
              <a:ext cx="3175" cy="4763"/>
            </a:xfrm>
            <a:custGeom>
              <a:avLst/>
              <a:gdLst>
                <a:gd name="T0" fmla="*/ 0 w 10"/>
                <a:gd name="T1" fmla="*/ 0 h 13"/>
                <a:gd name="T2" fmla="*/ 0 w 10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3">
                  <a:moveTo>
                    <a:pt x="0" y="0"/>
                  </a:moveTo>
                  <a:cubicBezTo>
                    <a:pt x="0" y="12"/>
                    <a:pt x="9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4" name="Freeform 879"/>
            <p:cNvSpPr>
              <a:spLocks noChangeArrowheads="1"/>
            </p:cNvSpPr>
            <p:nvPr/>
          </p:nvSpPr>
          <p:spPr bwMode="auto">
            <a:xfrm>
              <a:off x="4291013" y="2695575"/>
              <a:ext cx="4762" cy="4763"/>
            </a:xfrm>
            <a:custGeom>
              <a:avLst/>
              <a:gdLst>
                <a:gd name="T0" fmla="*/ 6 w 15"/>
                <a:gd name="T1" fmla="*/ 8 h 12"/>
                <a:gd name="T2" fmla="*/ 3 w 15"/>
                <a:gd name="T3" fmla="*/ 3 h 12"/>
                <a:gd name="T4" fmla="*/ 6 w 15"/>
                <a:gd name="T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6" y="8"/>
                  </a:moveTo>
                  <a:cubicBezTo>
                    <a:pt x="6" y="6"/>
                    <a:pt x="3" y="0"/>
                    <a:pt x="3" y="3"/>
                  </a:cubicBezTo>
                  <a:cubicBezTo>
                    <a:pt x="0" y="11"/>
                    <a:pt x="14" y="11"/>
                    <a:pt x="6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5" name="Freeform 880"/>
            <p:cNvSpPr>
              <a:spLocks noChangeArrowheads="1"/>
            </p:cNvSpPr>
            <p:nvPr/>
          </p:nvSpPr>
          <p:spPr bwMode="auto">
            <a:xfrm>
              <a:off x="4203700" y="2676525"/>
              <a:ext cx="6350" cy="4763"/>
            </a:xfrm>
            <a:custGeom>
              <a:avLst/>
              <a:gdLst>
                <a:gd name="T0" fmla="*/ 0 w 18"/>
                <a:gd name="T1" fmla="*/ 9 h 13"/>
                <a:gd name="T2" fmla="*/ 0 w 18"/>
                <a:gd name="T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0" y="9"/>
                  </a:moveTo>
                  <a:cubicBezTo>
                    <a:pt x="17" y="12"/>
                    <a:pt x="5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6" name="Freeform 881"/>
            <p:cNvSpPr>
              <a:spLocks noChangeArrowheads="1"/>
            </p:cNvSpPr>
            <p:nvPr/>
          </p:nvSpPr>
          <p:spPr bwMode="auto">
            <a:xfrm>
              <a:off x="3863975" y="2722563"/>
              <a:ext cx="4763" cy="3175"/>
            </a:xfrm>
            <a:custGeom>
              <a:avLst/>
              <a:gdLst>
                <a:gd name="T0" fmla="*/ 0 w 13"/>
                <a:gd name="T1" fmla="*/ 6 h 10"/>
                <a:gd name="T2" fmla="*/ 0 w 13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6"/>
                  </a:moveTo>
                  <a:cubicBezTo>
                    <a:pt x="12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7" name="Freeform 882"/>
            <p:cNvSpPr>
              <a:spLocks noChangeArrowheads="1"/>
            </p:cNvSpPr>
            <p:nvPr/>
          </p:nvSpPr>
          <p:spPr bwMode="auto">
            <a:xfrm>
              <a:off x="3889375" y="2725738"/>
              <a:ext cx="3175" cy="3175"/>
            </a:xfrm>
            <a:custGeom>
              <a:avLst/>
              <a:gdLst>
                <a:gd name="T0" fmla="*/ 9 w 10"/>
                <a:gd name="T1" fmla="*/ 5 h 9"/>
                <a:gd name="T2" fmla="*/ 3 w 10"/>
                <a:gd name="T3" fmla="*/ 0 h 9"/>
                <a:gd name="T4" fmla="*/ 9 w 10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9" y="5"/>
                  </a:moveTo>
                  <a:cubicBezTo>
                    <a:pt x="9" y="3"/>
                    <a:pt x="6" y="0"/>
                    <a:pt x="3" y="0"/>
                  </a:cubicBezTo>
                  <a:cubicBezTo>
                    <a:pt x="0" y="3"/>
                    <a:pt x="0" y="8"/>
                    <a:pt x="9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8" name="Freeform 883"/>
            <p:cNvSpPr>
              <a:spLocks noChangeArrowheads="1"/>
            </p:cNvSpPr>
            <p:nvPr/>
          </p:nvSpPr>
          <p:spPr bwMode="auto">
            <a:xfrm>
              <a:off x="3900488" y="2722563"/>
              <a:ext cx="4762" cy="3175"/>
            </a:xfrm>
            <a:custGeom>
              <a:avLst/>
              <a:gdLst>
                <a:gd name="T0" fmla="*/ 0 w 15"/>
                <a:gd name="T1" fmla="*/ 9 h 10"/>
                <a:gd name="T2" fmla="*/ 0 w 15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0">
                  <a:moveTo>
                    <a:pt x="0" y="9"/>
                  </a:moveTo>
                  <a:cubicBezTo>
                    <a:pt x="14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9" name="Freeform 884"/>
            <p:cNvSpPr>
              <a:spLocks noChangeArrowheads="1"/>
            </p:cNvSpPr>
            <p:nvPr/>
          </p:nvSpPr>
          <p:spPr bwMode="auto">
            <a:xfrm>
              <a:off x="3951288" y="2716213"/>
              <a:ext cx="4762" cy="3175"/>
            </a:xfrm>
            <a:custGeom>
              <a:avLst/>
              <a:gdLst>
                <a:gd name="T0" fmla="*/ 0 w 13"/>
                <a:gd name="T1" fmla="*/ 9 h 10"/>
                <a:gd name="T2" fmla="*/ 0 w 13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9"/>
                  </a:moveTo>
                  <a:cubicBezTo>
                    <a:pt x="12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0" name="Freeform 885"/>
            <p:cNvSpPr>
              <a:spLocks noChangeArrowheads="1"/>
            </p:cNvSpPr>
            <p:nvPr/>
          </p:nvSpPr>
          <p:spPr bwMode="auto">
            <a:xfrm>
              <a:off x="3905250" y="2722563"/>
              <a:ext cx="3175" cy="7937"/>
            </a:xfrm>
            <a:custGeom>
              <a:avLst/>
              <a:gdLst>
                <a:gd name="T0" fmla="*/ 0 w 10"/>
                <a:gd name="T1" fmla="*/ 12 h 21"/>
                <a:gd name="T2" fmla="*/ 0 w 10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12"/>
                  </a:moveTo>
                  <a:cubicBezTo>
                    <a:pt x="9" y="20"/>
                    <a:pt x="3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1" name="Freeform 886"/>
            <p:cNvSpPr>
              <a:spLocks noChangeArrowheads="1"/>
            </p:cNvSpPr>
            <p:nvPr/>
          </p:nvSpPr>
          <p:spPr bwMode="auto">
            <a:xfrm>
              <a:off x="3922713" y="2722563"/>
              <a:ext cx="4762" cy="4762"/>
            </a:xfrm>
            <a:custGeom>
              <a:avLst/>
              <a:gdLst>
                <a:gd name="T0" fmla="*/ 9 w 15"/>
                <a:gd name="T1" fmla="*/ 14 h 15"/>
                <a:gd name="T2" fmla="*/ 0 w 15"/>
                <a:gd name="T3" fmla="*/ 3 h 15"/>
                <a:gd name="T4" fmla="*/ 9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14"/>
                  </a:moveTo>
                  <a:cubicBezTo>
                    <a:pt x="14" y="9"/>
                    <a:pt x="6" y="0"/>
                    <a:pt x="0" y="3"/>
                  </a:cubicBezTo>
                  <a:cubicBezTo>
                    <a:pt x="0" y="9"/>
                    <a:pt x="3" y="12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2" name="Freeform 887"/>
            <p:cNvSpPr>
              <a:spLocks noChangeArrowheads="1"/>
            </p:cNvSpPr>
            <p:nvPr/>
          </p:nvSpPr>
          <p:spPr bwMode="auto">
            <a:xfrm>
              <a:off x="3878263" y="2727325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3" name="Freeform 888"/>
            <p:cNvSpPr>
              <a:spLocks noChangeArrowheads="1"/>
            </p:cNvSpPr>
            <p:nvPr/>
          </p:nvSpPr>
          <p:spPr bwMode="auto">
            <a:xfrm>
              <a:off x="3946525" y="2719388"/>
              <a:ext cx="4763" cy="3175"/>
            </a:xfrm>
            <a:custGeom>
              <a:avLst/>
              <a:gdLst>
                <a:gd name="T0" fmla="*/ 0 w 12"/>
                <a:gd name="T1" fmla="*/ 6 h 9"/>
                <a:gd name="T2" fmla="*/ 0 w 12"/>
                <a:gd name="T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6"/>
                  </a:moveTo>
                  <a:cubicBezTo>
                    <a:pt x="11" y="8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4" name="Freeform 889"/>
            <p:cNvSpPr>
              <a:spLocks noChangeArrowheads="1"/>
            </p:cNvSpPr>
            <p:nvPr/>
          </p:nvSpPr>
          <p:spPr bwMode="auto">
            <a:xfrm>
              <a:off x="3863975" y="2732088"/>
              <a:ext cx="1588" cy="1587"/>
            </a:xfrm>
            <a:custGeom>
              <a:avLst/>
              <a:gdLst>
                <a:gd name="T0" fmla="*/ 0 w 3"/>
                <a:gd name="T1" fmla="*/ 2 h 3"/>
                <a:gd name="T2" fmla="*/ 0 w 3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2" y="2"/>
                    <a:pt x="0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5" name="Freeform 890"/>
            <p:cNvSpPr>
              <a:spLocks noChangeArrowheads="1"/>
            </p:cNvSpPr>
            <p:nvPr/>
          </p:nvSpPr>
          <p:spPr bwMode="auto">
            <a:xfrm>
              <a:off x="3897313" y="2727325"/>
              <a:ext cx="4762" cy="3175"/>
            </a:xfrm>
            <a:custGeom>
              <a:avLst/>
              <a:gdLst>
                <a:gd name="T0" fmla="*/ 0 w 12"/>
                <a:gd name="T1" fmla="*/ 5 h 9"/>
                <a:gd name="T2" fmla="*/ 0 w 12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11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6" name="Freeform 891"/>
            <p:cNvSpPr>
              <a:spLocks noChangeArrowheads="1"/>
            </p:cNvSpPr>
            <p:nvPr/>
          </p:nvSpPr>
          <p:spPr bwMode="auto">
            <a:xfrm>
              <a:off x="3951288" y="2720975"/>
              <a:ext cx="7937" cy="4763"/>
            </a:xfrm>
            <a:custGeom>
              <a:avLst/>
              <a:gdLst>
                <a:gd name="T0" fmla="*/ 9 w 21"/>
                <a:gd name="T1" fmla="*/ 14 h 15"/>
                <a:gd name="T2" fmla="*/ 9 w 21"/>
                <a:gd name="T3" fmla="*/ 0 h 15"/>
                <a:gd name="T4" fmla="*/ 9 w 21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5">
                  <a:moveTo>
                    <a:pt x="9" y="14"/>
                  </a:moveTo>
                  <a:cubicBezTo>
                    <a:pt x="9" y="8"/>
                    <a:pt x="20" y="3"/>
                    <a:pt x="9" y="0"/>
                  </a:cubicBezTo>
                  <a:cubicBezTo>
                    <a:pt x="14" y="8"/>
                    <a:pt x="0" y="11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7" name="Freeform 892"/>
            <p:cNvSpPr>
              <a:spLocks noChangeArrowheads="1"/>
            </p:cNvSpPr>
            <p:nvPr/>
          </p:nvSpPr>
          <p:spPr bwMode="auto">
            <a:xfrm>
              <a:off x="3881438" y="2728913"/>
              <a:ext cx="4762" cy="3175"/>
            </a:xfrm>
            <a:custGeom>
              <a:avLst/>
              <a:gdLst>
                <a:gd name="T0" fmla="*/ 0 w 13"/>
                <a:gd name="T1" fmla="*/ 6 h 10"/>
                <a:gd name="T2" fmla="*/ 0 w 13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6"/>
                  </a:moveTo>
                  <a:cubicBezTo>
                    <a:pt x="12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8" name="Freeform 893"/>
            <p:cNvSpPr>
              <a:spLocks noChangeArrowheads="1"/>
            </p:cNvSpPr>
            <p:nvPr/>
          </p:nvSpPr>
          <p:spPr bwMode="auto">
            <a:xfrm>
              <a:off x="3894138" y="2728913"/>
              <a:ext cx="4762" cy="3175"/>
            </a:xfrm>
            <a:custGeom>
              <a:avLst/>
              <a:gdLst>
                <a:gd name="T0" fmla="*/ 9 w 13"/>
                <a:gd name="T1" fmla="*/ 0 h 10"/>
                <a:gd name="T2" fmla="*/ 0 w 13"/>
                <a:gd name="T3" fmla="*/ 9 h 10"/>
                <a:gd name="T4" fmla="*/ 9 w 13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9" y="0"/>
                  </a:moveTo>
                  <a:cubicBezTo>
                    <a:pt x="0" y="0"/>
                    <a:pt x="0" y="6"/>
                    <a:pt x="0" y="9"/>
                  </a:cubicBezTo>
                  <a:cubicBezTo>
                    <a:pt x="9" y="9"/>
                    <a:pt x="12" y="6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9" name="Freeform 894"/>
            <p:cNvSpPr>
              <a:spLocks noChangeArrowheads="1"/>
            </p:cNvSpPr>
            <p:nvPr/>
          </p:nvSpPr>
          <p:spPr bwMode="auto">
            <a:xfrm>
              <a:off x="3929063" y="2722563"/>
              <a:ext cx="3175" cy="7937"/>
            </a:xfrm>
            <a:custGeom>
              <a:avLst/>
              <a:gdLst>
                <a:gd name="T0" fmla="*/ 0 w 9"/>
                <a:gd name="T1" fmla="*/ 9 h 21"/>
                <a:gd name="T2" fmla="*/ 0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9"/>
                  </a:moveTo>
                  <a:cubicBezTo>
                    <a:pt x="8" y="20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0" name="Freeform 895"/>
            <p:cNvSpPr>
              <a:spLocks noChangeArrowheads="1"/>
            </p:cNvSpPr>
            <p:nvPr/>
          </p:nvSpPr>
          <p:spPr bwMode="auto">
            <a:xfrm>
              <a:off x="3917950" y="2725738"/>
              <a:ext cx="4763" cy="6350"/>
            </a:xfrm>
            <a:custGeom>
              <a:avLst/>
              <a:gdLst>
                <a:gd name="T0" fmla="*/ 0 w 12"/>
                <a:gd name="T1" fmla="*/ 5 h 18"/>
                <a:gd name="T2" fmla="*/ 0 w 12"/>
                <a:gd name="T3" fmla="*/ 14 h 18"/>
                <a:gd name="T4" fmla="*/ 0 w 12"/>
                <a:gd name="T5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8">
                  <a:moveTo>
                    <a:pt x="0" y="5"/>
                  </a:moveTo>
                  <a:lnTo>
                    <a:pt x="0" y="14"/>
                  </a:lnTo>
                  <a:cubicBezTo>
                    <a:pt x="11" y="17"/>
                    <a:pt x="9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1" name="Freeform 896"/>
            <p:cNvSpPr>
              <a:spLocks noChangeArrowheads="1"/>
            </p:cNvSpPr>
            <p:nvPr/>
          </p:nvSpPr>
          <p:spPr bwMode="auto">
            <a:xfrm>
              <a:off x="3963988" y="2719388"/>
              <a:ext cx="3175" cy="6350"/>
            </a:xfrm>
            <a:custGeom>
              <a:avLst/>
              <a:gdLst>
                <a:gd name="T0" fmla="*/ 8 w 9"/>
                <a:gd name="T1" fmla="*/ 8 h 18"/>
                <a:gd name="T2" fmla="*/ 8 w 9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8"/>
                  </a:moveTo>
                  <a:cubicBezTo>
                    <a:pt x="0" y="0"/>
                    <a:pt x="3" y="17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2" name="Freeform 897"/>
            <p:cNvSpPr>
              <a:spLocks noChangeArrowheads="1"/>
            </p:cNvSpPr>
            <p:nvPr/>
          </p:nvSpPr>
          <p:spPr bwMode="auto">
            <a:xfrm>
              <a:off x="3868738" y="2732088"/>
              <a:ext cx="4762" cy="7937"/>
            </a:xfrm>
            <a:custGeom>
              <a:avLst/>
              <a:gdLst>
                <a:gd name="T0" fmla="*/ 14 w 15"/>
                <a:gd name="T1" fmla="*/ 8 h 20"/>
                <a:gd name="T2" fmla="*/ 14 w 15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0">
                  <a:moveTo>
                    <a:pt x="14" y="8"/>
                  </a:moveTo>
                  <a:cubicBezTo>
                    <a:pt x="0" y="0"/>
                    <a:pt x="5" y="19"/>
                    <a:pt x="1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3" name="Freeform 898"/>
            <p:cNvSpPr>
              <a:spLocks noChangeArrowheads="1"/>
            </p:cNvSpPr>
            <p:nvPr/>
          </p:nvSpPr>
          <p:spPr bwMode="auto">
            <a:xfrm>
              <a:off x="3897313" y="2732088"/>
              <a:ext cx="1587" cy="1587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2" y="3"/>
                    <a:pt x="0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4" name="Freeform 899"/>
            <p:cNvSpPr>
              <a:spLocks noChangeArrowheads="1"/>
            </p:cNvSpPr>
            <p:nvPr/>
          </p:nvSpPr>
          <p:spPr bwMode="auto">
            <a:xfrm>
              <a:off x="3905250" y="2728913"/>
              <a:ext cx="4763" cy="3175"/>
            </a:xfrm>
            <a:custGeom>
              <a:avLst/>
              <a:gdLst>
                <a:gd name="T0" fmla="*/ 0 w 13"/>
                <a:gd name="T1" fmla="*/ 0 h 7"/>
                <a:gd name="T2" fmla="*/ 12 w 13"/>
                <a:gd name="T3" fmla="*/ 6 h 7"/>
                <a:gd name="T4" fmla="*/ 0 w 13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0" y="0"/>
                  </a:moveTo>
                  <a:cubicBezTo>
                    <a:pt x="0" y="6"/>
                    <a:pt x="6" y="6"/>
                    <a:pt x="12" y="6"/>
                  </a:cubicBezTo>
                  <a:cubicBezTo>
                    <a:pt x="12" y="0"/>
                    <a:pt x="6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5" name="Freeform 900"/>
            <p:cNvSpPr>
              <a:spLocks noChangeArrowheads="1"/>
            </p:cNvSpPr>
            <p:nvPr/>
          </p:nvSpPr>
          <p:spPr bwMode="auto">
            <a:xfrm>
              <a:off x="3863975" y="2735263"/>
              <a:ext cx="3175" cy="6350"/>
            </a:xfrm>
            <a:custGeom>
              <a:avLst/>
              <a:gdLst>
                <a:gd name="T0" fmla="*/ 0 w 7"/>
                <a:gd name="T1" fmla="*/ 8 h 18"/>
                <a:gd name="T2" fmla="*/ 0 w 7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8"/>
                  </a:moveTo>
                  <a:cubicBezTo>
                    <a:pt x="6" y="17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6" name="Freeform 901"/>
            <p:cNvSpPr>
              <a:spLocks noChangeArrowheads="1"/>
            </p:cNvSpPr>
            <p:nvPr/>
          </p:nvSpPr>
          <p:spPr bwMode="auto">
            <a:xfrm>
              <a:off x="3895725" y="2732088"/>
              <a:ext cx="4763" cy="4762"/>
            </a:xfrm>
            <a:custGeom>
              <a:avLst/>
              <a:gdLst>
                <a:gd name="T0" fmla="*/ 0 w 12"/>
                <a:gd name="T1" fmla="*/ 8 h 12"/>
                <a:gd name="T2" fmla="*/ 0 w 12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0" y="8"/>
                  </a:moveTo>
                  <a:cubicBezTo>
                    <a:pt x="11" y="11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7" name="Freeform 902"/>
            <p:cNvSpPr>
              <a:spLocks noChangeArrowheads="1"/>
            </p:cNvSpPr>
            <p:nvPr/>
          </p:nvSpPr>
          <p:spPr bwMode="auto">
            <a:xfrm>
              <a:off x="3902075" y="2732088"/>
              <a:ext cx="4763" cy="4762"/>
            </a:xfrm>
            <a:custGeom>
              <a:avLst/>
              <a:gdLst>
                <a:gd name="T0" fmla="*/ 0 w 15"/>
                <a:gd name="T1" fmla="*/ 8 h 15"/>
                <a:gd name="T2" fmla="*/ 14 w 15"/>
                <a:gd name="T3" fmla="*/ 14 h 15"/>
                <a:gd name="T4" fmla="*/ 0 w 15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0" y="8"/>
                  </a:moveTo>
                  <a:cubicBezTo>
                    <a:pt x="5" y="11"/>
                    <a:pt x="8" y="14"/>
                    <a:pt x="14" y="14"/>
                  </a:cubicBezTo>
                  <a:cubicBezTo>
                    <a:pt x="11" y="8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8" name="Freeform 903"/>
            <p:cNvSpPr>
              <a:spLocks noChangeArrowheads="1"/>
            </p:cNvSpPr>
            <p:nvPr/>
          </p:nvSpPr>
          <p:spPr bwMode="auto">
            <a:xfrm>
              <a:off x="3948113" y="2728913"/>
              <a:ext cx="1587" cy="1587"/>
            </a:xfrm>
            <a:custGeom>
              <a:avLst/>
              <a:gdLst>
                <a:gd name="T0" fmla="*/ 0 w 3"/>
                <a:gd name="T1" fmla="*/ 3 h 4"/>
                <a:gd name="T2" fmla="*/ 0 w 3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0" y="3"/>
                  </a:moveTo>
                  <a:cubicBezTo>
                    <a:pt x="2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9" name="Freeform 904"/>
            <p:cNvSpPr>
              <a:spLocks noChangeArrowheads="1"/>
            </p:cNvSpPr>
            <p:nvPr/>
          </p:nvSpPr>
          <p:spPr bwMode="auto">
            <a:xfrm>
              <a:off x="3919538" y="2733675"/>
              <a:ext cx="4762" cy="4763"/>
            </a:xfrm>
            <a:custGeom>
              <a:avLst/>
              <a:gdLst>
                <a:gd name="T0" fmla="*/ 14 w 15"/>
                <a:gd name="T1" fmla="*/ 0 h 15"/>
                <a:gd name="T2" fmla="*/ 0 w 15"/>
                <a:gd name="T3" fmla="*/ 6 h 15"/>
                <a:gd name="T4" fmla="*/ 0 w 15"/>
                <a:gd name="T5" fmla="*/ 14 h 15"/>
                <a:gd name="T6" fmla="*/ 14 w 15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14" y="0"/>
                  </a:moveTo>
                  <a:cubicBezTo>
                    <a:pt x="8" y="0"/>
                    <a:pt x="3" y="0"/>
                    <a:pt x="0" y="6"/>
                  </a:cubicBezTo>
                  <a:lnTo>
                    <a:pt x="0" y="14"/>
                  </a:lnTo>
                  <a:cubicBezTo>
                    <a:pt x="5" y="14"/>
                    <a:pt x="14" y="9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0" name="Freeform 905"/>
            <p:cNvSpPr>
              <a:spLocks noChangeArrowheads="1"/>
            </p:cNvSpPr>
            <p:nvPr/>
          </p:nvSpPr>
          <p:spPr bwMode="auto">
            <a:xfrm>
              <a:off x="3956050" y="2727325"/>
              <a:ext cx="4763" cy="3175"/>
            </a:xfrm>
            <a:custGeom>
              <a:avLst/>
              <a:gdLst>
                <a:gd name="T0" fmla="*/ 0 w 12"/>
                <a:gd name="T1" fmla="*/ 6 h 10"/>
                <a:gd name="T2" fmla="*/ 3 w 12"/>
                <a:gd name="T3" fmla="*/ 9 h 10"/>
                <a:gd name="T4" fmla="*/ 9 w 12"/>
                <a:gd name="T5" fmla="*/ 9 h 10"/>
                <a:gd name="T6" fmla="*/ 0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3" y="6"/>
                    <a:pt x="3" y="6"/>
                    <a:pt x="3" y="9"/>
                  </a:cubicBezTo>
                  <a:lnTo>
                    <a:pt x="9" y="9"/>
                  </a:lnTo>
                  <a:cubicBezTo>
                    <a:pt x="11" y="0"/>
                    <a:pt x="0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1" name="Freeform 906"/>
            <p:cNvSpPr>
              <a:spLocks noChangeArrowheads="1"/>
            </p:cNvSpPr>
            <p:nvPr/>
          </p:nvSpPr>
          <p:spPr bwMode="auto">
            <a:xfrm>
              <a:off x="3871913" y="2740025"/>
              <a:ext cx="4762" cy="4763"/>
            </a:xfrm>
            <a:custGeom>
              <a:avLst/>
              <a:gdLst>
                <a:gd name="T0" fmla="*/ 14 w 15"/>
                <a:gd name="T1" fmla="*/ 9 h 15"/>
                <a:gd name="T2" fmla="*/ 0 w 15"/>
                <a:gd name="T3" fmla="*/ 0 h 15"/>
                <a:gd name="T4" fmla="*/ 14 w 15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9"/>
                  </a:moveTo>
                  <a:cubicBezTo>
                    <a:pt x="11" y="6"/>
                    <a:pt x="6" y="0"/>
                    <a:pt x="0" y="0"/>
                  </a:cubicBezTo>
                  <a:cubicBezTo>
                    <a:pt x="0" y="6"/>
                    <a:pt x="11" y="14"/>
                    <a:pt x="1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2" name="Freeform 907"/>
            <p:cNvSpPr>
              <a:spLocks noChangeArrowheads="1"/>
            </p:cNvSpPr>
            <p:nvPr/>
          </p:nvSpPr>
          <p:spPr bwMode="auto">
            <a:xfrm>
              <a:off x="3865563" y="2741613"/>
              <a:ext cx="4762" cy="3175"/>
            </a:xfrm>
            <a:custGeom>
              <a:avLst/>
              <a:gdLst>
                <a:gd name="T0" fmla="*/ 14 w 15"/>
                <a:gd name="T1" fmla="*/ 3 h 9"/>
                <a:gd name="T2" fmla="*/ 0 w 15"/>
                <a:gd name="T3" fmla="*/ 8 h 9"/>
                <a:gd name="T4" fmla="*/ 14 w 15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3"/>
                  </a:moveTo>
                  <a:cubicBezTo>
                    <a:pt x="9" y="0"/>
                    <a:pt x="3" y="3"/>
                    <a:pt x="0" y="8"/>
                  </a:cubicBezTo>
                  <a:cubicBezTo>
                    <a:pt x="3" y="6"/>
                    <a:pt x="14" y="8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3" name="Freeform 908"/>
            <p:cNvSpPr>
              <a:spLocks noChangeArrowheads="1"/>
            </p:cNvSpPr>
            <p:nvPr/>
          </p:nvSpPr>
          <p:spPr bwMode="auto">
            <a:xfrm>
              <a:off x="3879850" y="2740025"/>
              <a:ext cx="3175" cy="6350"/>
            </a:xfrm>
            <a:custGeom>
              <a:avLst/>
              <a:gdLst>
                <a:gd name="T0" fmla="*/ 3 w 9"/>
                <a:gd name="T1" fmla="*/ 0 h 18"/>
                <a:gd name="T2" fmla="*/ 0 w 9"/>
                <a:gd name="T3" fmla="*/ 17 h 18"/>
                <a:gd name="T4" fmla="*/ 3 w 9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8">
                  <a:moveTo>
                    <a:pt x="3" y="0"/>
                  </a:moveTo>
                  <a:cubicBezTo>
                    <a:pt x="0" y="3"/>
                    <a:pt x="3" y="11"/>
                    <a:pt x="0" y="17"/>
                  </a:cubicBezTo>
                  <a:cubicBezTo>
                    <a:pt x="5" y="17"/>
                    <a:pt x="8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4" name="Freeform 909"/>
            <p:cNvSpPr>
              <a:spLocks noChangeArrowheads="1"/>
            </p:cNvSpPr>
            <p:nvPr/>
          </p:nvSpPr>
          <p:spPr bwMode="auto">
            <a:xfrm>
              <a:off x="3894138" y="2738438"/>
              <a:ext cx="4762" cy="3175"/>
            </a:xfrm>
            <a:custGeom>
              <a:avLst/>
              <a:gdLst>
                <a:gd name="T0" fmla="*/ 14 w 15"/>
                <a:gd name="T1" fmla="*/ 0 h 9"/>
                <a:gd name="T2" fmla="*/ 14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4" y="0"/>
                  </a:moveTo>
                  <a:cubicBezTo>
                    <a:pt x="0" y="0"/>
                    <a:pt x="11" y="8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5" name="Freeform 910"/>
            <p:cNvSpPr>
              <a:spLocks noChangeArrowheads="1"/>
            </p:cNvSpPr>
            <p:nvPr/>
          </p:nvSpPr>
          <p:spPr bwMode="auto">
            <a:xfrm>
              <a:off x="3937000" y="2733675"/>
              <a:ext cx="3175" cy="3175"/>
            </a:xfrm>
            <a:custGeom>
              <a:avLst/>
              <a:gdLst>
                <a:gd name="T0" fmla="*/ 0 w 9"/>
                <a:gd name="T1" fmla="*/ 3 h 10"/>
                <a:gd name="T2" fmla="*/ 0 w 9"/>
                <a:gd name="T3" fmla="*/ 9 h 10"/>
                <a:gd name="T4" fmla="*/ 8 w 9"/>
                <a:gd name="T5" fmla="*/ 9 h 10"/>
                <a:gd name="T6" fmla="*/ 0 w 9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3"/>
                  </a:moveTo>
                  <a:lnTo>
                    <a:pt x="0" y="9"/>
                  </a:lnTo>
                  <a:lnTo>
                    <a:pt x="8" y="9"/>
                  </a:lnTo>
                  <a:cubicBezTo>
                    <a:pt x="8" y="3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6" name="Freeform 911"/>
            <p:cNvSpPr>
              <a:spLocks noChangeArrowheads="1"/>
            </p:cNvSpPr>
            <p:nvPr/>
          </p:nvSpPr>
          <p:spPr bwMode="auto">
            <a:xfrm>
              <a:off x="3856038" y="2743200"/>
              <a:ext cx="4762" cy="6350"/>
            </a:xfrm>
            <a:custGeom>
              <a:avLst/>
              <a:gdLst>
                <a:gd name="T0" fmla="*/ 0 w 12"/>
                <a:gd name="T1" fmla="*/ 11 h 18"/>
                <a:gd name="T2" fmla="*/ 0 w 12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0" y="11"/>
                  </a:moveTo>
                  <a:cubicBezTo>
                    <a:pt x="11" y="17"/>
                    <a:pt x="8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7" name="Freeform 912"/>
            <p:cNvSpPr>
              <a:spLocks noChangeArrowheads="1"/>
            </p:cNvSpPr>
            <p:nvPr/>
          </p:nvSpPr>
          <p:spPr bwMode="auto">
            <a:xfrm>
              <a:off x="3902075" y="2738438"/>
              <a:ext cx="4763" cy="3175"/>
            </a:xfrm>
            <a:custGeom>
              <a:avLst/>
              <a:gdLst>
                <a:gd name="T0" fmla="*/ 3 w 12"/>
                <a:gd name="T1" fmla="*/ 8 h 9"/>
                <a:gd name="T2" fmla="*/ 3 w 12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3" y="8"/>
                  </a:moveTo>
                  <a:cubicBezTo>
                    <a:pt x="11" y="8"/>
                    <a:pt x="0" y="0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8" name="Freeform 913"/>
            <p:cNvSpPr>
              <a:spLocks noChangeArrowheads="1"/>
            </p:cNvSpPr>
            <p:nvPr/>
          </p:nvSpPr>
          <p:spPr bwMode="auto">
            <a:xfrm>
              <a:off x="3913188" y="2738438"/>
              <a:ext cx="3175" cy="4762"/>
            </a:xfrm>
            <a:custGeom>
              <a:avLst/>
              <a:gdLst>
                <a:gd name="T0" fmla="*/ 0 w 9"/>
                <a:gd name="T1" fmla="*/ 2 h 12"/>
                <a:gd name="T2" fmla="*/ 8 w 9"/>
                <a:gd name="T3" fmla="*/ 8 h 12"/>
                <a:gd name="T4" fmla="*/ 0 w 9"/>
                <a:gd name="T5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0" y="2"/>
                  </a:moveTo>
                  <a:cubicBezTo>
                    <a:pt x="0" y="8"/>
                    <a:pt x="3" y="11"/>
                    <a:pt x="8" y="8"/>
                  </a:cubicBezTo>
                  <a:cubicBezTo>
                    <a:pt x="8" y="2"/>
                    <a:pt x="6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9" name="Freeform 914"/>
            <p:cNvSpPr>
              <a:spLocks noChangeArrowheads="1"/>
            </p:cNvSpPr>
            <p:nvPr/>
          </p:nvSpPr>
          <p:spPr bwMode="auto">
            <a:xfrm>
              <a:off x="3925888" y="2735263"/>
              <a:ext cx="4762" cy="3175"/>
            </a:xfrm>
            <a:custGeom>
              <a:avLst/>
              <a:gdLst>
                <a:gd name="T0" fmla="*/ 0 w 15"/>
                <a:gd name="T1" fmla="*/ 6 h 9"/>
                <a:gd name="T2" fmla="*/ 8 w 15"/>
                <a:gd name="T3" fmla="*/ 8 h 9"/>
                <a:gd name="T4" fmla="*/ 0 w 15"/>
                <a:gd name="T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6"/>
                  </a:moveTo>
                  <a:cubicBezTo>
                    <a:pt x="0" y="6"/>
                    <a:pt x="8" y="6"/>
                    <a:pt x="8" y="8"/>
                  </a:cubicBezTo>
                  <a:cubicBezTo>
                    <a:pt x="14" y="0"/>
                    <a:pt x="0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0" name="Freeform 915"/>
            <p:cNvSpPr>
              <a:spLocks noChangeArrowheads="1"/>
            </p:cNvSpPr>
            <p:nvPr/>
          </p:nvSpPr>
          <p:spPr bwMode="auto">
            <a:xfrm>
              <a:off x="3962400" y="2732088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6 w 7"/>
                <a:gd name="T3" fmla="*/ 0 h 6"/>
                <a:gd name="T4" fmla="*/ 0 w 7"/>
                <a:gd name="T5" fmla="*/ 0 h 6"/>
                <a:gd name="T6" fmla="*/ 0 w 7"/>
                <a:gd name="T7" fmla="*/ 5 h 6"/>
                <a:gd name="T8" fmla="*/ 6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1" name="Freeform 916"/>
            <p:cNvSpPr>
              <a:spLocks noChangeArrowheads="1"/>
            </p:cNvSpPr>
            <p:nvPr/>
          </p:nvSpPr>
          <p:spPr bwMode="auto">
            <a:xfrm>
              <a:off x="3892550" y="2744788"/>
              <a:ext cx="1588" cy="3175"/>
            </a:xfrm>
            <a:custGeom>
              <a:avLst/>
              <a:gdLst>
                <a:gd name="T0" fmla="*/ 5 w 6"/>
                <a:gd name="T1" fmla="*/ 6 h 7"/>
                <a:gd name="T2" fmla="*/ 5 w 6"/>
                <a:gd name="T3" fmla="*/ 0 h 7"/>
                <a:gd name="T4" fmla="*/ 0 w 6"/>
                <a:gd name="T5" fmla="*/ 0 h 7"/>
                <a:gd name="T6" fmla="*/ 0 w 6"/>
                <a:gd name="T7" fmla="*/ 6 h 7"/>
                <a:gd name="T8" fmla="*/ 5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6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2" name="Freeform 917"/>
            <p:cNvSpPr>
              <a:spLocks noChangeArrowheads="1"/>
            </p:cNvSpPr>
            <p:nvPr/>
          </p:nvSpPr>
          <p:spPr bwMode="auto">
            <a:xfrm>
              <a:off x="3933825" y="2740025"/>
              <a:ext cx="4763" cy="4763"/>
            </a:xfrm>
            <a:custGeom>
              <a:avLst/>
              <a:gdLst>
                <a:gd name="T0" fmla="*/ 0 w 13"/>
                <a:gd name="T1" fmla="*/ 0 h 15"/>
                <a:gd name="T2" fmla="*/ 0 w 13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0"/>
                  </a:moveTo>
                  <a:cubicBezTo>
                    <a:pt x="3" y="14"/>
                    <a:pt x="12" y="3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3" name="Freeform 918"/>
            <p:cNvSpPr>
              <a:spLocks noChangeArrowheads="1"/>
            </p:cNvSpPr>
            <p:nvPr/>
          </p:nvSpPr>
          <p:spPr bwMode="auto">
            <a:xfrm>
              <a:off x="3919538" y="2740025"/>
              <a:ext cx="4762" cy="6350"/>
            </a:xfrm>
            <a:custGeom>
              <a:avLst/>
              <a:gdLst>
                <a:gd name="T0" fmla="*/ 5 w 15"/>
                <a:gd name="T1" fmla="*/ 9 h 18"/>
                <a:gd name="T2" fmla="*/ 5 w 15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5" y="9"/>
                  </a:moveTo>
                  <a:cubicBezTo>
                    <a:pt x="0" y="17"/>
                    <a:pt x="14" y="0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4" name="Freeform 919"/>
            <p:cNvSpPr>
              <a:spLocks noChangeArrowheads="1"/>
            </p:cNvSpPr>
            <p:nvPr/>
          </p:nvSpPr>
          <p:spPr bwMode="auto">
            <a:xfrm>
              <a:off x="3925888" y="2740025"/>
              <a:ext cx="3175" cy="4763"/>
            </a:xfrm>
            <a:custGeom>
              <a:avLst/>
              <a:gdLst>
                <a:gd name="T0" fmla="*/ 8 w 9"/>
                <a:gd name="T1" fmla="*/ 6 h 15"/>
                <a:gd name="T2" fmla="*/ 3 w 9"/>
                <a:gd name="T3" fmla="*/ 0 h 15"/>
                <a:gd name="T4" fmla="*/ 8 w 9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8" y="6"/>
                  </a:moveTo>
                  <a:cubicBezTo>
                    <a:pt x="5" y="6"/>
                    <a:pt x="5" y="3"/>
                    <a:pt x="3" y="0"/>
                  </a:cubicBezTo>
                  <a:cubicBezTo>
                    <a:pt x="0" y="9"/>
                    <a:pt x="8" y="14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5" name="Freeform 920"/>
            <p:cNvSpPr>
              <a:spLocks noChangeArrowheads="1"/>
            </p:cNvSpPr>
            <p:nvPr/>
          </p:nvSpPr>
          <p:spPr bwMode="auto">
            <a:xfrm>
              <a:off x="3886200" y="2747963"/>
              <a:ext cx="3175" cy="1587"/>
            </a:xfrm>
            <a:custGeom>
              <a:avLst/>
              <a:gdLst>
                <a:gd name="T0" fmla="*/ 3 w 7"/>
                <a:gd name="T1" fmla="*/ 0 h 4"/>
                <a:gd name="T2" fmla="*/ 3 w 7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3" y="0"/>
                  </a:moveTo>
                  <a:cubicBezTo>
                    <a:pt x="6" y="3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6" name="Freeform 921"/>
            <p:cNvSpPr>
              <a:spLocks noChangeArrowheads="1"/>
            </p:cNvSpPr>
            <p:nvPr/>
          </p:nvSpPr>
          <p:spPr bwMode="auto">
            <a:xfrm>
              <a:off x="3956050" y="2738438"/>
              <a:ext cx="4763" cy="4762"/>
            </a:xfrm>
            <a:custGeom>
              <a:avLst/>
              <a:gdLst>
                <a:gd name="T0" fmla="*/ 0 w 15"/>
                <a:gd name="T1" fmla="*/ 5 h 12"/>
                <a:gd name="T2" fmla="*/ 14 w 15"/>
                <a:gd name="T3" fmla="*/ 2 h 12"/>
                <a:gd name="T4" fmla="*/ 0 w 15"/>
                <a:gd name="T5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0" y="5"/>
                  </a:moveTo>
                  <a:cubicBezTo>
                    <a:pt x="3" y="5"/>
                    <a:pt x="14" y="11"/>
                    <a:pt x="14" y="2"/>
                  </a:cubicBezTo>
                  <a:cubicBezTo>
                    <a:pt x="12" y="2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7" name="Freeform 922"/>
            <p:cNvSpPr>
              <a:spLocks noChangeArrowheads="1"/>
            </p:cNvSpPr>
            <p:nvPr/>
          </p:nvSpPr>
          <p:spPr bwMode="auto">
            <a:xfrm>
              <a:off x="3881438" y="2749550"/>
              <a:ext cx="6350" cy="3175"/>
            </a:xfrm>
            <a:custGeom>
              <a:avLst/>
              <a:gdLst>
                <a:gd name="T0" fmla="*/ 16 w 17"/>
                <a:gd name="T1" fmla="*/ 3 h 9"/>
                <a:gd name="T2" fmla="*/ 2 w 17"/>
                <a:gd name="T3" fmla="*/ 0 h 9"/>
                <a:gd name="T4" fmla="*/ 16 w 17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9">
                  <a:moveTo>
                    <a:pt x="16" y="3"/>
                  </a:moveTo>
                  <a:cubicBezTo>
                    <a:pt x="11" y="3"/>
                    <a:pt x="8" y="0"/>
                    <a:pt x="2" y="0"/>
                  </a:cubicBezTo>
                  <a:cubicBezTo>
                    <a:pt x="0" y="5"/>
                    <a:pt x="16" y="8"/>
                    <a:pt x="16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8" name="Freeform 923"/>
            <p:cNvSpPr>
              <a:spLocks noChangeArrowheads="1"/>
            </p:cNvSpPr>
            <p:nvPr/>
          </p:nvSpPr>
          <p:spPr bwMode="auto">
            <a:xfrm>
              <a:off x="3960813" y="2740025"/>
              <a:ext cx="1587" cy="1588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9" name="Freeform 924"/>
            <p:cNvSpPr>
              <a:spLocks noChangeArrowheads="1"/>
            </p:cNvSpPr>
            <p:nvPr/>
          </p:nvSpPr>
          <p:spPr bwMode="auto">
            <a:xfrm>
              <a:off x="3967163" y="2738438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6 h 7"/>
                <a:gd name="T4" fmla="*/ 9 w 10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6" y="6"/>
                    <a:pt x="9" y="3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0" name="Freeform 925"/>
            <p:cNvSpPr>
              <a:spLocks noChangeArrowheads="1"/>
            </p:cNvSpPr>
            <p:nvPr/>
          </p:nvSpPr>
          <p:spPr bwMode="auto">
            <a:xfrm>
              <a:off x="3897313" y="2749550"/>
              <a:ext cx="4762" cy="3175"/>
            </a:xfrm>
            <a:custGeom>
              <a:avLst/>
              <a:gdLst>
                <a:gd name="T0" fmla="*/ 8 w 12"/>
                <a:gd name="T1" fmla="*/ 0 h 9"/>
                <a:gd name="T2" fmla="*/ 0 w 12"/>
                <a:gd name="T3" fmla="*/ 0 h 9"/>
                <a:gd name="T4" fmla="*/ 0 w 12"/>
                <a:gd name="T5" fmla="*/ 8 h 9"/>
                <a:gd name="T6" fmla="*/ 8 w 12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8" y="0"/>
                  </a:moveTo>
                  <a:lnTo>
                    <a:pt x="0" y="0"/>
                  </a:lnTo>
                  <a:lnTo>
                    <a:pt x="0" y="8"/>
                  </a:lnTo>
                  <a:cubicBezTo>
                    <a:pt x="8" y="8"/>
                    <a:pt x="11" y="5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1" name="Freeform 926"/>
            <p:cNvSpPr>
              <a:spLocks noChangeArrowheads="1"/>
            </p:cNvSpPr>
            <p:nvPr/>
          </p:nvSpPr>
          <p:spPr bwMode="auto">
            <a:xfrm>
              <a:off x="3956050" y="2716213"/>
              <a:ext cx="3175" cy="3175"/>
            </a:xfrm>
            <a:custGeom>
              <a:avLst/>
              <a:gdLst>
                <a:gd name="T0" fmla="*/ 6 w 10"/>
                <a:gd name="T1" fmla="*/ 0 h 10"/>
                <a:gd name="T2" fmla="*/ 0 w 10"/>
                <a:gd name="T3" fmla="*/ 3 h 10"/>
                <a:gd name="T4" fmla="*/ 3 w 10"/>
                <a:gd name="T5" fmla="*/ 9 h 10"/>
                <a:gd name="T6" fmla="*/ 6 w 1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6" y="0"/>
                  </a:moveTo>
                  <a:lnTo>
                    <a:pt x="0" y="3"/>
                  </a:lnTo>
                  <a:lnTo>
                    <a:pt x="3" y="9"/>
                  </a:lnTo>
                  <a:cubicBezTo>
                    <a:pt x="9" y="9"/>
                    <a:pt x="9" y="6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2" name="Freeform 927"/>
            <p:cNvSpPr>
              <a:spLocks noChangeArrowheads="1"/>
            </p:cNvSpPr>
            <p:nvPr/>
          </p:nvSpPr>
          <p:spPr bwMode="auto">
            <a:xfrm>
              <a:off x="3949700" y="2727325"/>
              <a:ext cx="6350" cy="4763"/>
            </a:xfrm>
            <a:custGeom>
              <a:avLst/>
              <a:gdLst>
                <a:gd name="T0" fmla="*/ 6 w 18"/>
                <a:gd name="T1" fmla="*/ 0 h 13"/>
                <a:gd name="T2" fmla="*/ 6 w 18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6" y="0"/>
                  </a:moveTo>
                  <a:cubicBezTo>
                    <a:pt x="0" y="12"/>
                    <a:pt x="17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3" name="Freeform 928"/>
            <p:cNvSpPr>
              <a:spLocks noChangeArrowheads="1"/>
            </p:cNvSpPr>
            <p:nvPr/>
          </p:nvSpPr>
          <p:spPr bwMode="auto">
            <a:xfrm>
              <a:off x="3956050" y="2738438"/>
              <a:ext cx="3175" cy="4762"/>
            </a:xfrm>
            <a:custGeom>
              <a:avLst/>
              <a:gdLst>
                <a:gd name="T0" fmla="*/ 0 w 10"/>
                <a:gd name="T1" fmla="*/ 2 h 12"/>
                <a:gd name="T2" fmla="*/ 0 w 10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2">
                  <a:moveTo>
                    <a:pt x="0" y="2"/>
                  </a:moveTo>
                  <a:cubicBezTo>
                    <a:pt x="3" y="11"/>
                    <a:pt x="9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4" name="Freeform 929"/>
            <p:cNvSpPr>
              <a:spLocks noChangeArrowheads="1"/>
            </p:cNvSpPr>
            <p:nvPr/>
          </p:nvSpPr>
          <p:spPr bwMode="auto">
            <a:xfrm>
              <a:off x="3937000" y="2727325"/>
              <a:ext cx="7938" cy="3175"/>
            </a:xfrm>
            <a:custGeom>
              <a:avLst/>
              <a:gdLst>
                <a:gd name="T0" fmla="*/ 11 w 20"/>
                <a:gd name="T1" fmla="*/ 0 h 7"/>
                <a:gd name="T2" fmla="*/ 11 w 20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0" h="7">
                  <a:moveTo>
                    <a:pt x="11" y="0"/>
                  </a:moveTo>
                  <a:cubicBezTo>
                    <a:pt x="0" y="0"/>
                    <a:pt x="19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5" name="Freeform 930"/>
            <p:cNvSpPr>
              <a:spLocks noChangeArrowheads="1"/>
            </p:cNvSpPr>
            <p:nvPr/>
          </p:nvSpPr>
          <p:spPr bwMode="auto">
            <a:xfrm>
              <a:off x="3930650" y="2722563"/>
              <a:ext cx="4763" cy="4762"/>
            </a:xfrm>
            <a:custGeom>
              <a:avLst/>
              <a:gdLst>
                <a:gd name="T0" fmla="*/ 11 w 12"/>
                <a:gd name="T1" fmla="*/ 12 h 15"/>
                <a:gd name="T2" fmla="*/ 8 w 12"/>
                <a:gd name="T3" fmla="*/ 0 h 15"/>
                <a:gd name="T4" fmla="*/ 11 w 12"/>
                <a:gd name="T5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1" y="12"/>
                  </a:moveTo>
                  <a:cubicBezTo>
                    <a:pt x="8" y="9"/>
                    <a:pt x="11" y="6"/>
                    <a:pt x="8" y="0"/>
                  </a:cubicBezTo>
                  <a:cubicBezTo>
                    <a:pt x="0" y="0"/>
                    <a:pt x="8" y="14"/>
                    <a:pt x="11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6" name="Freeform 931"/>
            <p:cNvSpPr>
              <a:spLocks noChangeArrowheads="1"/>
            </p:cNvSpPr>
            <p:nvPr/>
          </p:nvSpPr>
          <p:spPr bwMode="auto">
            <a:xfrm>
              <a:off x="3932238" y="2730500"/>
              <a:ext cx="4762" cy="4763"/>
            </a:xfrm>
            <a:custGeom>
              <a:avLst/>
              <a:gdLst>
                <a:gd name="T0" fmla="*/ 9 w 13"/>
                <a:gd name="T1" fmla="*/ 0 h 12"/>
                <a:gd name="T2" fmla="*/ 9 w 13"/>
                <a:gd name="T3" fmla="*/ 8 h 12"/>
                <a:gd name="T4" fmla="*/ 9 w 13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9" y="0"/>
                  </a:moveTo>
                  <a:cubicBezTo>
                    <a:pt x="0" y="0"/>
                    <a:pt x="6" y="11"/>
                    <a:pt x="9" y="8"/>
                  </a:cubicBezTo>
                  <a:cubicBezTo>
                    <a:pt x="9" y="6"/>
                    <a:pt x="12" y="6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7" name="Freeform 932"/>
            <p:cNvSpPr>
              <a:spLocks noChangeArrowheads="1"/>
            </p:cNvSpPr>
            <p:nvPr/>
          </p:nvSpPr>
          <p:spPr bwMode="auto">
            <a:xfrm>
              <a:off x="3932238" y="2736850"/>
              <a:ext cx="4762" cy="3175"/>
            </a:xfrm>
            <a:custGeom>
              <a:avLst/>
              <a:gdLst>
                <a:gd name="T0" fmla="*/ 11 w 12"/>
                <a:gd name="T1" fmla="*/ 5 h 9"/>
                <a:gd name="T2" fmla="*/ 0 w 12"/>
                <a:gd name="T3" fmla="*/ 0 h 9"/>
                <a:gd name="T4" fmla="*/ 11 w 12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11" y="5"/>
                  </a:moveTo>
                  <a:cubicBezTo>
                    <a:pt x="8" y="0"/>
                    <a:pt x="2" y="0"/>
                    <a:pt x="0" y="0"/>
                  </a:cubicBezTo>
                  <a:cubicBezTo>
                    <a:pt x="2" y="5"/>
                    <a:pt x="5" y="8"/>
                    <a:pt x="11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8" name="Freeform 933"/>
            <p:cNvSpPr>
              <a:spLocks noChangeArrowheads="1"/>
            </p:cNvSpPr>
            <p:nvPr/>
          </p:nvSpPr>
          <p:spPr bwMode="auto">
            <a:xfrm>
              <a:off x="3922713" y="2733675"/>
              <a:ext cx="3175" cy="4763"/>
            </a:xfrm>
            <a:custGeom>
              <a:avLst/>
              <a:gdLst>
                <a:gd name="T0" fmla="*/ 0 w 10"/>
                <a:gd name="T1" fmla="*/ 6 h 15"/>
                <a:gd name="T2" fmla="*/ 0 w 10"/>
                <a:gd name="T3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0" y="6"/>
                  </a:moveTo>
                  <a:cubicBezTo>
                    <a:pt x="3" y="14"/>
                    <a:pt x="9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9" name="Freeform 934"/>
            <p:cNvSpPr>
              <a:spLocks noChangeArrowheads="1"/>
            </p:cNvSpPr>
            <p:nvPr/>
          </p:nvSpPr>
          <p:spPr bwMode="auto">
            <a:xfrm>
              <a:off x="3910013" y="2732088"/>
              <a:ext cx="3175" cy="3175"/>
            </a:xfrm>
            <a:custGeom>
              <a:avLst/>
              <a:gdLst>
                <a:gd name="T0" fmla="*/ 5 w 9"/>
                <a:gd name="T1" fmla="*/ 0 h 9"/>
                <a:gd name="T2" fmla="*/ 0 w 9"/>
                <a:gd name="T3" fmla="*/ 3 h 9"/>
                <a:gd name="T4" fmla="*/ 2 w 9"/>
                <a:gd name="T5" fmla="*/ 8 h 9"/>
                <a:gd name="T6" fmla="*/ 8 w 9"/>
                <a:gd name="T7" fmla="*/ 5 h 9"/>
                <a:gd name="T8" fmla="*/ 5 w 9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lnTo>
                    <a:pt x="0" y="3"/>
                  </a:lnTo>
                  <a:lnTo>
                    <a:pt x="2" y="8"/>
                  </a:lnTo>
                  <a:lnTo>
                    <a:pt x="8" y="5"/>
                  </a:lnTo>
                  <a:lnTo>
                    <a:pt x="5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0" name="Freeform 935"/>
            <p:cNvSpPr>
              <a:spLocks noChangeArrowheads="1"/>
            </p:cNvSpPr>
            <p:nvPr/>
          </p:nvSpPr>
          <p:spPr bwMode="auto">
            <a:xfrm>
              <a:off x="3905250" y="2724150"/>
              <a:ext cx="3175" cy="4763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6 h 15"/>
                <a:gd name="T4" fmla="*/ 3 w 10"/>
                <a:gd name="T5" fmla="*/ 11 h 15"/>
                <a:gd name="T6" fmla="*/ 0 w 10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0" y="6"/>
                    <a:pt x="0" y="6"/>
                    <a:pt x="0" y="6"/>
                  </a:cubicBezTo>
                  <a:lnTo>
                    <a:pt x="3" y="11"/>
                  </a:lnTo>
                  <a:cubicBezTo>
                    <a:pt x="9" y="14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1" name="Freeform 936"/>
            <p:cNvSpPr>
              <a:spLocks noChangeArrowheads="1"/>
            </p:cNvSpPr>
            <p:nvPr/>
          </p:nvSpPr>
          <p:spPr bwMode="auto">
            <a:xfrm>
              <a:off x="3898900" y="2733675"/>
              <a:ext cx="4763" cy="4763"/>
            </a:xfrm>
            <a:custGeom>
              <a:avLst/>
              <a:gdLst>
                <a:gd name="T0" fmla="*/ 12 w 15"/>
                <a:gd name="T1" fmla="*/ 0 h 13"/>
                <a:gd name="T2" fmla="*/ 12 w 15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12" y="0"/>
                  </a:moveTo>
                  <a:cubicBezTo>
                    <a:pt x="0" y="9"/>
                    <a:pt x="14" y="12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2" name="Freeform 937"/>
            <p:cNvSpPr>
              <a:spLocks noChangeArrowheads="1"/>
            </p:cNvSpPr>
            <p:nvPr/>
          </p:nvSpPr>
          <p:spPr bwMode="auto">
            <a:xfrm>
              <a:off x="3900488" y="2732088"/>
              <a:ext cx="3175" cy="4762"/>
            </a:xfrm>
            <a:custGeom>
              <a:avLst/>
              <a:gdLst>
                <a:gd name="T0" fmla="*/ 0 w 7"/>
                <a:gd name="T1" fmla="*/ 3 h 15"/>
                <a:gd name="T2" fmla="*/ 0 w 7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cubicBezTo>
                    <a:pt x="0" y="14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3" name="Freeform 938"/>
            <p:cNvSpPr>
              <a:spLocks noChangeArrowheads="1"/>
            </p:cNvSpPr>
            <p:nvPr/>
          </p:nvSpPr>
          <p:spPr bwMode="auto">
            <a:xfrm>
              <a:off x="3895725" y="2741613"/>
              <a:ext cx="4763" cy="3175"/>
            </a:xfrm>
            <a:custGeom>
              <a:avLst/>
              <a:gdLst>
                <a:gd name="T0" fmla="*/ 0 w 12"/>
                <a:gd name="T1" fmla="*/ 8 h 9"/>
                <a:gd name="T2" fmla="*/ 11 w 12"/>
                <a:gd name="T3" fmla="*/ 6 h 9"/>
                <a:gd name="T4" fmla="*/ 8 w 12"/>
                <a:gd name="T5" fmla="*/ 0 h 9"/>
                <a:gd name="T6" fmla="*/ 0 w 12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cubicBezTo>
                    <a:pt x="3" y="8"/>
                    <a:pt x="6" y="8"/>
                    <a:pt x="11" y="6"/>
                  </a:cubicBezTo>
                  <a:lnTo>
                    <a:pt x="8" y="0"/>
                  </a:lnTo>
                  <a:cubicBezTo>
                    <a:pt x="3" y="3"/>
                    <a:pt x="0" y="6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4" name="Freeform 939"/>
            <p:cNvSpPr>
              <a:spLocks noChangeArrowheads="1"/>
            </p:cNvSpPr>
            <p:nvPr/>
          </p:nvSpPr>
          <p:spPr bwMode="auto">
            <a:xfrm>
              <a:off x="3884613" y="2743200"/>
              <a:ext cx="4762" cy="4763"/>
            </a:xfrm>
            <a:custGeom>
              <a:avLst/>
              <a:gdLst>
                <a:gd name="T0" fmla="*/ 11 w 15"/>
                <a:gd name="T1" fmla="*/ 14 h 15"/>
                <a:gd name="T2" fmla="*/ 11 w 15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11" y="14"/>
                  </a:moveTo>
                  <a:cubicBezTo>
                    <a:pt x="14" y="0"/>
                    <a:pt x="0" y="11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5" name="Freeform 940"/>
            <p:cNvSpPr>
              <a:spLocks noChangeArrowheads="1"/>
            </p:cNvSpPr>
            <p:nvPr/>
          </p:nvSpPr>
          <p:spPr bwMode="auto">
            <a:xfrm>
              <a:off x="3854450" y="2730500"/>
              <a:ext cx="4763" cy="1588"/>
            </a:xfrm>
            <a:custGeom>
              <a:avLst/>
              <a:gdLst>
                <a:gd name="T0" fmla="*/ 0 w 15"/>
                <a:gd name="T1" fmla="*/ 3 h 4"/>
                <a:gd name="T2" fmla="*/ 6 w 15"/>
                <a:gd name="T3" fmla="*/ 0 h 4"/>
                <a:gd name="T4" fmla="*/ 0 w 15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4">
                  <a:moveTo>
                    <a:pt x="0" y="3"/>
                  </a:moveTo>
                  <a:cubicBezTo>
                    <a:pt x="0" y="3"/>
                    <a:pt x="3" y="3"/>
                    <a:pt x="6" y="0"/>
                  </a:cubicBezTo>
                  <a:cubicBezTo>
                    <a:pt x="14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6" name="Freeform 941"/>
            <p:cNvSpPr>
              <a:spLocks noChangeArrowheads="1"/>
            </p:cNvSpPr>
            <p:nvPr/>
          </p:nvSpPr>
          <p:spPr bwMode="auto">
            <a:xfrm>
              <a:off x="3851275" y="2740025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3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7" name="Freeform 942"/>
            <p:cNvSpPr>
              <a:spLocks noChangeArrowheads="1"/>
            </p:cNvSpPr>
            <p:nvPr/>
          </p:nvSpPr>
          <p:spPr bwMode="auto">
            <a:xfrm>
              <a:off x="3944938" y="2717800"/>
              <a:ext cx="4762" cy="4763"/>
            </a:xfrm>
            <a:custGeom>
              <a:avLst/>
              <a:gdLst>
                <a:gd name="T0" fmla="*/ 6 w 15"/>
                <a:gd name="T1" fmla="*/ 9 h 13"/>
                <a:gd name="T2" fmla="*/ 0 w 15"/>
                <a:gd name="T3" fmla="*/ 6 h 13"/>
                <a:gd name="T4" fmla="*/ 6 w 15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6" y="9"/>
                  </a:moveTo>
                  <a:cubicBezTo>
                    <a:pt x="3" y="6"/>
                    <a:pt x="0" y="0"/>
                    <a:pt x="0" y="6"/>
                  </a:cubicBezTo>
                  <a:cubicBezTo>
                    <a:pt x="3" y="12"/>
                    <a:pt x="14" y="9"/>
                    <a:pt x="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8" name="Freeform 943"/>
            <p:cNvSpPr>
              <a:spLocks noChangeArrowheads="1"/>
            </p:cNvSpPr>
            <p:nvPr/>
          </p:nvSpPr>
          <p:spPr bwMode="auto">
            <a:xfrm>
              <a:off x="3894138" y="2724150"/>
              <a:ext cx="4762" cy="6350"/>
            </a:xfrm>
            <a:custGeom>
              <a:avLst/>
              <a:gdLst>
                <a:gd name="T0" fmla="*/ 9 w 15"/>
                <a:gd name="T1" fmla="*/ 17 h 18"/>
                <a:gd name="T2" fmla="*/ 9 w 15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9" y="17"/>
                  </a:moveTo>
                  <a:cubicBezTo>
                    <a:pt x="14" y="0"/>
                    <a:pt x="0" y="14"/>
                    <a:pt x="9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9" name="Freeform 944"/>
            <p:cNvSpPr>
              <a:spLocks noChangeArrowheads="1"/>
            </p:cNvSpPr>
            <p:nvPr/>
          </p:nvSpPr>
          <p:spPr bwMode="auto">
            <a:xfrm>
              <a:off x="3889375" y="2732088"/>
              <a:ext cx="7938" cy="6350"/>
            </a:xfrm>
            <a:custGeom>
              <a:avLst/>
              <a:gdLst>
                <a:gd name="T0" fmla="*/ 20 w 21"/>
                <a:gd name="T1" fmla="*/ 16 h 17"/>
                <a:gd name="T2" fmla="*/ 0 w 21"/>
                <a:gd name="T3" fmla="*/ 2 h 17"/>
                <a:gd name="T4" fmla="*/ 20 w 21"/>
                <a:gd name="T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7">
                  <a:moveTo>
                    <a:pt x="20" y="16"/>
                  </a:moveTo>
                  <a:cubicBezTo>
                    <a:pt x="14" y="5"/>
                    <a:pt x="9" y="0"/>
                    <a:pt x="0" y="2"/>
                  </a:cubicBezTo>
                  <a:cubicBezTo>
                    <a:pt x="0" y="11"/>
                    <a:pt x="14" y="14"/>
                    <a:pt x="20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0" name="Freeform 945"/>
            <p:cNvSpPr>
              <a:spLocks noChangeArrowheads="1"/>
            </p:cNvSpPr>
            <p:nvPr/>
          </p:nvSpPr>
          <p:spPr bwMode="auto">
            <a:xfrm>
              <a:off x="3856038" y="2725738"/>
              <a:ext cx="6350" cy="3175"/>
            </a:xfrm>
            <a:custGeom>
              <a:avLst/>
              <a:gdLst>
                <a:gd name="T0" fmla="*/ 0 w 18"/>
                <a:gd name="T1" fmla="*/ 8 h 9"/>
                <a:gd name="T2" fmla="*/ 0 w 18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0" y="8"/>
                  </a:moveTo>
                  <a:cubicBezTo>
                    <a:pt x="17" y="8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1" name="Freeform 946"/>
            <p:cNvSpPr>
              <a:spLocks noChangeArrowheads="1"/>
            </p:cNvSpPr>
            <p:nvPr/>
          </p:nvSpPr>
          <p:spPr bwMode="auto">
            <a:xfrm>
              <a:off x="4371975" y="2655888"/>
              <a:ext cx="7938" cy="4762"/>
            </a:xfrm>
            <a:custGeom>
              <a:avLst/>
              <a:gdLst>
                <a:gd name="T0" fmla="*/ 0 w 21"/>
                <a:gd name="T1" fmla="*/ 11 h 15"/>
                <a:gd name="T2" fmla="*/ 12 w 21"/>
                <a:gd name="T3" fmla="*/ 0 h 15"/>
                <a:gd name="T4" fmla="*/ 0 w 21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5">
                  <a:moveTo>
                    <a:pt x="0" y="11"/>
                  </a:moveTo>
                  <a:cubicBezTo>
                    <a:pt x="9" y="14"/>
                    <a:pt x="20" y="3"/>
                    <a:pt x="12" y="0"/>
                  </a:cubicBezTo>
                  <a:cubicBezTo>
                    <a:pt x="9" y="6"/>
                    <a:pt x="3" y="6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2" name="Freeform 947"/>
            <p:cNvSpPr>
              <a:spLocks noChangeArrowheads="1"/>
            </p:cNvSpPr>
            <p:nvPr/>
          </p:nvSpPr>
          <p:spPr bwMode="auto">
            <a:xfrm>
              <a:off x="4348163" y="2662238"/>
              <a:ext cx="4762" cy="3175"/>
            </a:xfrm>
            <a:custGeom>
              <a:avLst/>
              <a:gdLst>
                <a:gd name="T0" fmla="*/ 5 w 12"/>
                <a:gd name="T1" fmla="*/ 9 h 10"/>
                <a:gd name="T2" fmla="*/ 11 w 12"/>
                <a:gd name="T3" fmla="*/ 9 h 10"/>
                <a:gd name="T4" fmla="*/ 11 w 12"/>
                <a:gd name="T5" fmla="*/ 0 h 10"/>
                <a:gd name="T6" fmla="*/ 5 w 12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5" y="9"/>
                  </a:moveTo>
                  <a:lnTo>
                    <a:pt x="11" y="9"/>
                  </a:lnTo>
                  <a:cubicBezTo>
                    <a:pt x="8" y="6"/>
                    <a:pt x="11" y="3"/>
                    <a:pt x="11" y="0"/>
                  </a:cubicBezTo>
                  <a:cubicBezTo>
                    <a:pt x="2" y="0"/>
                    <a:pt x="0" y="6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3" name="Freeform 948"/>
            <p:cNvSpPr>
              <a:spLocks noChangeArrowheads="1"/>
            </p:cNvSpPr>
            <p:nvPr/>
          </p:nvSpPr>
          <p:spPr bwMode="auto">
            <a:xfrm>
              <a:off x="4340225" y="2663825"/>
              <a:ext cx="3175" cy="1588"/>
            </a:xfrm>
            <a:custGeom>
              <a:avLst/>
              <a:gdLst>
                <a:gd name="T0" fmla="*/ 6 w 9"/>
                <a:gd name="T1" fmla="*/ 0 h 6"/>
                <a:gd name="T2" fmla="*/ 0 w 9"/>
                <a:gd name="T3" fmla="*/ 5 h 6"/>
                <a:gd name="T4" fmla="*/ 6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6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8" y="5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4" name="Freeform 949"/>
            <p:cNvSpPr>
              <a:spLocks noChangeArrowheads="1"/>
            </p:cNvSpPr>
            <p:nvPr/>
          </p:nvSpPr>
          <p:spPr bwMode="auto">
            <a:xfrm>
              <a:off x="4365625" y="2660650"/>
              <a:ext cx="1588" cy="1588"/>
            </a:xfrm>
            <a:custGeom>
              <a:avLst/>
              <a:gdLst>
                <a:gd name="T0" fmla="*/ 2 w 6"/>
                <a:gd name="T1" fmla="*/ 3 h 4"/>
                <a:gd name="T2" fmla="*/ 2 w 6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4">
                  <a:moveTo>
                    <a:pt x="2" y="3"/>
                  </a:moveTo>
                  <a:cubicBezTo>
                    <a:pt x="5" y="3"/>
                    <a:pt x="0" y="0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5" name="Freeform 950"/>
            <p:cNvSpPr>
              <a:spLocks noChangeArrowheads="1"/>
            </p:cNvSpPr>
            <p:nvPr/>
          </p:nvSpPr>
          <p:spPr bwMode="auto">
            <a:xfrm>
              <a:off x="4359275" y="2663825"/>
              <a:ext cx="4763" cy="3175"/>
            </a:xfrm>
            <a:custGeom>
              <a:avLst/>
              <a:gdLst>
                <a:gd name="T0" fmla="*/ 0 w 12"/>
                <a:gd name="T1" fmla="*/ 5 h 9"/>
                <a:gd name="T2" fmla="*/ 0 w 12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11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6" name="Freeform 951"/>
            <p:cNvSpPr>
              <a:spLocks noChangeArrowheads="1"/>
            </p:cNvSpPr>
            <p:nvPr/>
          </p:nvSpPr>
          <p:spPr bwMode="auto">
            <a:xfrm>
              <a:off x="4367213" y="2665413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6 w 7"/>
                <a:gd name="T3" fmla="*/ 0 h 6"/>
                <a:gd name="T4" fmla="*/ 0 w 7"/>
                <a:gd name="T5" fmla="*/ 0 h 6"/>
                <a:gd name="T6" fmla="*/ 0 w 7"/>
                <a:gd name="T7" fmla="*/ 5 h 6"/>
                <a:gd name="T8" fmla="*/ 6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7" name="Freeform 952"/>
            <p:cNvSpPr>
              <a:spLocks noChangeArrowheads="1"/>
            </p:cNvSpPr>
            <p:nvPr/>
          </p:nvSpPr>
          <p:spPr bwMode="auto">
            <a:xfrm>
              <a:off x="4375150" y="2663825"/>
              <a:ext cx="3175" cy="1588"/>
            </a:xfrm>
            <a:custGeom>
              <a:avLst/>
              <a:gdLst>
                <a:gd name="T0" fmla="*/ 5 w 9"/>
                <a:gd name="T1" fmla="*/ 0 h 6"/>
                <a:gd name="T2" fmla="*/ 0 w 9"/>
                <a:gd name="T3" fmla="*/ 5 h 6"/>
                <a:gd name="T4" fmla="*/ 5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5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8" y="5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8" name="Freeform 953"/>
            <p:cNvSpPr>
              <a:spLocks noChangeArrowheads="1"/>
            </p:cNvSpPr>
            <p:nvPr/>
          </p:nvSpPr>
          <p:spPr bwMode="auto">
            <a:xfrm>
              <a:off x="4381500" y="2663825"/>
              <a:ext cx="3175" cy="4763"/>
            </a:xfrm>
            <a:custGeom>
              <a:avLst/>
              <a:gdLst>
                <a:gd name="T0" fmla="*/ 2 w 9"/>
                <a:gd name="T1" fmla="*/ 0 h 12"/>
                <a:gd name="T2" fmla="*/ 0 w 9"/>
                <a:gd name="T3" fmla="*/ 8 h 12"/>
                <a:gd name="T4" fmla="*/ 2 w 9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2" y="0"/>
                  </a:moveTo>
                  <a:cubicBezTo>
                    <a:pt x="2" y="3"/>
                    <a:pt x="0" y="3"/>
                    <a:pt x="0" y="8"/>
                  </a:cubicBezTo>
                  <a:cubicBezTo>
                    <a:pt x="8" y="11"/>
                    <a:pt x="5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9" name="Freeform 954"/>
            <p:cNvSpPr>
              <a:spLocks noChangeArrowheads="1"/>
            </p:cNvSpPr>
            <p:nvPr/>
          </p:nvSpPr>
          <p:spPr bwMode="auto">
            <a:xfrm>
              <a:off x="4319588" y="2673350"/>
              <a:ext cx="3175" cy="3175"/>
            </a:xfrm>
            <a:custGeom>
              <a:avLst/>
              <a:gdLst>
                <a:gd name="T0" fmla="*/ 0 w 10"/>
                <a:gd name="T1" fmla="*/ 8 h 9"/>
                <a:gd name="T2" fmla="*/ 9 w 10"/>
                <a:gd name="T3" fmla="*/ 3 h 9"/>
                <a:gd name="T4" fmla="*/ 0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8"/>
                  </a:moveTo>
                  <a:cubicBezTo>
                    <a:pt x="6" y="8"/>
                    <a:pt x="9" y="6"/>
                    <a:pt x="9" y="3"/>
                  </a:cubicBezTo>
                  <a:cubicBezTo>
                    <a:pt x="3" y="0"/>
                    <a:pt x="0" y="3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0" name="Freeform 955"/>
            <p:cNvSpPr>
              <a:spLocks noChangeArrowheads="1"/>
            </p:cNvSpPr>
            <p:nvPr/>
          </p:nvSpPr>
          <p:spPr bwMode="auto">
            <a:xfrm>
              <a:off x="4367213" y="2668588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0 w 9"/>
                <a:gd name="T3" fmla="*/ 0 h 9"/>
                <a:gd name="T4" fmla="*/ 8 w 9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cubicBezTo>
                    <a:pt x="8" y="3"/>
                    <a:pt x="3" y="0"/>
                    <a:pt x="0" y="0"/>
                  </a:cubicBezTo>
                  <a:cubicBezTo>
                    <a:pt x="0" y="5"/>
                    <a:pt x="3" y="8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1" name="Freeform 956"/>
            <p:cNvSpPr>
              <a:spLocks noChangeArrowheads="1"/>
            </p:cNvSpPr>
            <p:nvPr/>
          </p:nvSpPr>
          <p:spPr bwMode="auto">
            <a:xfrm>
              <a:off x="4313238" y="2676525"/>
              <a:ext cx="1587" cy="317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6 h 7"/>
                <a:gd name="T4" fmla="*/ 5 w 6"/>
                <a:gd name="T5" fmla="*/ 6 h 7"/>
                <a:gd name="T6" fmla="*/ 5 w 6"/>
                <a:gd name="T7" fmla="*/ 0 h 7"/>
                <a:gd name="T8" fmla="*/ 0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2" name="Freeform 957"/>
            <p:cNvSpPr>
              <a:spLocks noChangeArrowheads="1"/>
            </p:cNvSpPr>
            <p:nvPr/>
          </p:nvSpPr>
          <p:spPr bwMode="auto">
            <a:xfrm>
              <a:off x="4344988" y="2673350"/>
              <a:ext cx="4762" cy="3175"/>
            </a:xfrm>
            <a:custGeom>
              <a:avLst/>
              <a:gdLst>
                <a:gd name="T0" fmla="*/ 0 w 12"/>
                <a:gd name="T1" fmla="*/ 6 h 10"/>
                <a:gd name="T2" fmla="*/ 3 w 12"/>
                <a:gd name="T3" fmla="*/ 9 h 10"/>
                <a:gd name="T4" fmla="*/ 9 w 12"/>
                <a:gd name="T5" fmla="*/ 9 h 10"/>
                <a:gd name="T6" fmla="*/ 0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3" y="6"/>
                    <a:pt x="3" y="6"/>
                    <a:pt x="3" y="9"/>
                  </a:cubicBezTo>
                  <a:lnTo>
                    <a:pt x="9" y="9"/>
                  </a:lnTo>
                  <a:cubicBezTo>
                    <a:pt x="11" y="0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3" name="Freeform 958"/>
            <p:cNvSpPr>
              <a:spLocks noChangeArrowheads="1"/>
            </p:cNvSpPr>
            <p:nvPr/>
          </p:nvSpPr>
          <p:spPr bwMode="auto">
            <a:xfrm>
              <a:off x="4362450" y="2670175"/>
              <a:ext cx="4763" cy="4763"/>
            </a:xfrm>
            <a:custGeom>
              <a:avLst/>
              <a:gdLst>
                <a:gd name="T0" fmla="*/ 0 w 12"/>
                <a:gd name="T1" fmla="*/ 9 h 13"/>
                <a:gd name="T2" fmla="*/ 0 w 12"/>
                <a:gd name="T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3">
                  <a:moveTo>
                    <a:pt x="0" y="9"/>
                  </a:moveTo>
                  <a:cubicBezTo>
                    <a:pt x="11" y="12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4" name="Freeform 959"/>
            <p:cNvSpPr>
              <a:spLocks noChangeArrowheads="1"/>
            </p:cNvSpPr>
            <p:nvPr/>
          </p:nvSpPr>
          <p:spPr bwMode="auto">
            <a:xfrm>
              <a:off x="4324350" y="2676525"/>
              <a:ext cx="3175" cy="6350"/>
            </a:xfrm>
            <a:custGeom>
              <a:avLst/>
              <a:gdLst>
                <a:gd name="T0" fmla="*/ 0 w 10"/>
                <a:gd name="T1" fmla="*/ 12 h 18"/>
                <a:gd name="T2" fmla="*/ 0 w 10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0" y="12"/>
                  </a:moveTo>
                  <a:cubicBezTo>
                    <a:pt x="9" y="17"/>
                    <a:pt x="3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5" name="Freeform 960"/>
            <p:cNvSpPr>
              <a:spLocks noChangeArrowheads="1"/>
            </p:cNvSpPr>
            <p:nvPr/>
          </p:nvSpPr>
          <p:spPr bwMode="auto">
            <a:xfrm>
              <a:off x="4343400" y="2676525"/>
              <a:ext cx="4763" cy="3175"/>
            </a:xfrm>
            <a:custGeom>
              <a:avLst/>
              <a:gdLst>
                <a:gd name="T0" fmla="*/ 3 w 15"/>
                <a:gd name="T1" fmla="*/ 0 h 10"/>
                <a:gd name="T2" fmla="*/ 14 w 15"/>
                <a:gd name="T3" fmla="*/ 6 h 10"/>
                <a:gd name="T4" fmla="*/ 3 w 15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3" y="0"/>
                  </a:moveTo>
                  <a:cubicBezTo>
                    <a:pt x="0" y="9"/>
                    <a:pt x="9" y="9"/>
                    <a:pt x="14" y="6"/>
                  </a:cubicBezTo>
                  <a:cubicBezTo>
                    <a:pt x="14" y="0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6" name="Freeform 961"/>
            <p:cNvSpPr>
              <a:spLocks noChangeArrowheads="1"/>
            </p:cNvSpPr>
            <p:nvPr/>
          </p:nvSpPr>
          <p:spPr bwMode="auto">
            <a:xfrm>
              <a:off x="4356100" y="2676525"/>
              <a:ext cx="3175" cy="3175"/>
            </a:xfrm>
            <a:custGeom>
              <a:avLst/>
              <a:gdLst>
                <a:gd name="T0" fmla="*/ 0 w 10"/>
                <a:gd name="T1" fmla="*/ 0 h 9"/>
                <a:gd name="T2" fmla="*/ 6 w 10"/>
                <a:gd name="T3" fmla="*/ 8 h 9"/>
                <a:gd name="T4" fmla="*/ 0 w 10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cubicBezTo>
                    <a:pt x="0" y="5"/>
                    <a:pt x="3" y="8"/>
                    <a:pt x="6" y="8"/>
                  </a:cubicBezTo>
                  <a:cubicBezTo>
                    <a:pt x="0" y="2"/>
                    <a:pt x="9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7" name="Freeform 962"/>
            <p:cNvSpPr>
              <a:spLocks noChangeArrowheads="1"/>
            </p:cNvSpPr>
            <p:nvPr/>
          </p:nvSpPr>
          <p:spPr bwMode="auto">
            <a:xfrm>
              <a:off x="4362450" y="2674938"/>
              <a:ext cx="4763" cy="1587"/>
            </a:xfrm>
            <a:custGeom>
              <a:avLst/>
              <a:gdLst>
                <a:gd name="T0" fmla="*/ 0 w 15"/>
                <a:gd name="T1" fmla="*/ 5 h 6"/>
                <a:gd name="T2" fmla="*/ 11 w 15"/>
                <a:gd name="T3" fmla="*/ 3 h 6"/>
                <a:gd name="T4" fmla="*/ 0 w 15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6">
                  <a:moveTo>
                    <a:pt x="0" y="5"/>
                  </a:moveTo>
                  <a:cubicBezTo>
                    <a:pt x="3" y="3"/>
                    <a:pt x="14" y="5"/>
                    <a:pt x="11" y="3"/>
                  </a:cubicBezTo>
                  <a:cubicBezTo>
                    <a:pt x="9" y="3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8" name="Freeform 963"/>
            <p:cNvSpPr>
              <a:spLocks noChangeArrowheads="1"/>
            </p:cNvSpPr>
            <p:nvPr/>
          </p:nvSpPr>
          <p:spPr bwMode="auto">
            <a:xfrm>
              <a:off x="4305300" y="2681288"/>
              <a:ext cx="4763" cy="3175"/>
            </a:xfrm>
            <a:custGeom>
              <a:avLst/>
              <a:gdLst>
                <a:gd name="T0" fmla="*/ 0 w 12"/>
                <a:gd name="T1" fmla="*/ 8 h 9"/>
                <a:gd name="T2" fmla="*/ 0 w 12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cubicBezTo>
                    <a:pt x="11" y="8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9" name="Freeform 964"/>
            <p:cNvSpPr>
              <a:spLocks noChangeArrowheads="1"/>
            </p:cNvSpPr>
            <p:nvPr/>
          </p:nvSpPr>
          <p:spPr bwMode="auto">
            <a:xfrm>
              <a:off x="4327525" y="2681288"/>
              <a:ext cx="3175" cy="1587"/>
            </a:xfrm>
            <a:custGeom>
              <a:avLst/>
              <a:gdLst>
                <a:gd name="T0" fmla="*/ 3 w 9"/>
                <a:gd name="T1" fmla="*/ 5 h 6"/>
                <a:gd name="T2" fmla="*/ 8 w 9"/>
                <a:gd name="T3" fmla="*/ 0 h 6"/>
                <a:gd name="T4" fmla="*/ 3 w 9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3" y="5"/>
                  </a:moveTo>
                  <a:cubicBezTo>
                    <a:pt x="6" y="5"/>
                    <a:pt x="8" y="3"/>
                    <a:pt x="8" y="0"/>
                  </a:cubicBezTo>
                  <a:cubicBezTo>
                    <a:pt x="6" y="0"/>
                    <a:pt x="0" y="0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0" name="Freeform 965"/>
            <p:cNvSpPr>
              <a:spLocks noChangeArrowheads="1"/>
            </p:cNvSpPr>
            <p:nvPr/>
          </p:nvSpPr>
          <p:spPr bwMode="auto">
            <a:xfrm>
              <a:off x="4316413" y="2681288"/>
              <a:ext cx="3175" cy="6350"/>
            </a:xfrm>
            <a:custGeom>
              <a:avLst/>
              <a:gdLst>
                <a:gd name="T0" fmla="*/ 0 w 7"/>
                <a:gd name="T1" fmla="*/ 11 h 18"/>
                <a:gd name="T2" fmla="*/ 0 w 7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11"/>
                  </a:moveTo>
                  <a:cubicBezTo>
                    <a:pt x="6" y="17"/>
                    <a:pt x="6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1" name="Freeform 966"/>
            <p:cNvSpPr>
              <a:spLocks noChangeArrowheads="1"/>
            </p:cNvSpPr>
            <p:nvPr/>
          </p:nvSpPr>
          <p:spPr bwMode="auto">
            <a:xfrm>
              <a:off x="4341813" y="2679700"/>
              <a:ext cx="1587" cy="3175"/>
            </a:xfrm>
            <a:custGeom>
              <a:avLst/>
              <a:gdLst>
                <a:gd name="T0" fmla="*/ 5 w 6"/>
                <a:gd name="T1" fmla="*/ 6 h 7"/>
                <a:gd name="T2" fmla="*/ 5 w 6"/>
                <a:gd name="T3" fmla="*/ 0 h 7"/>
                <a:gd name="T4" fmla="*/ 0 w 6"/>
                <a:gd name="T5" fmla="*/ 0 h 7"/>
                <a:gd name="T6" fmla="*/ 0 w 6"/>
                <a:gd name="T7" fmla="*/ 6 h 7"/>
                <a:gd name="T8" fmla="*/ 5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6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2" name="Freeform 967"/>
            <p:cNvSpPr>
              <a:spLocks noChangeArrowheads="1"/>
            </p:cNvSpPr>
            <p:nvPr/>
          </p:nvSpPr>
          <p:spPr bwMode="auto">
            <a:xfrm>
              <a:off x="4351338" y="2679700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0 w 9"/>
                <a:gd name="T3" fmla="*/ 0 h 9"/>
                <a:gd name="T4" fmla="*/ 8 w 9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cubicBezTo>
                    <a:pt x="8" y="0"/>
                    <a:pt x="3" y="0"/>
                    <a:pt x="0" y="0"/>
                  </a:cubicBezTo>
                  <a:cubicBezTo>
                    <a:pt x="0" y="6"/>
                    <a:pt x="3" y="6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3" name="Freeform 968"/>
            <p:cNvSpPr>
              <a:spLocks noChangeArrowheads="1"/>
            </p:cNvSpPr>
            <p:nvPr/>
          </p:nvSpPr>
          <p:spPr bwMode="auto">
            <a:xfrm>
              <a:off x="4392613" y="2673350"/>
              <a:ext cx="6350" cy="4763"/>
            </a:xfrm>
            <a:custGeom>
              <a:avLst/>
              <a:gdLst>
                <a:gd name="T0" fmla="*/ 17 w 18"/>
                <a:gd name="T1" fmla="*/ 0 h 12"/>
                <a:gd name="T2" fmla="*/ 17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17" y="0"/>
                  </a:moveTo>
                  <a:cubicBezTo>
                    <a:pt x="0" y="3"/>
                    <a:pt x="14" y="11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4" name="Freeform 969"/>
            <p:cNvSpPr>
              <a:spLocks noChangeArrowheads="1"/>
            </p:cNvSpPr>
            <p:nvPr/>
          </p:nvSpPr>
          <p:spPr bwMode="auto">
            <a:xfrm>
              <a:off x="4384675" y="2673350"/>
              <a:ext cx="4763" cy="6350"/>
            </a:xfrm>
            <a:custGeom>
              <a:avLst/>
              <a:gdLst>
                <a:gd name="T0" fmla="*/ 11 w 12"/>
                <a:gd name="T1" fmla="*/ 6 h 18"/>
                <a:gd name="T2" fmla="*/ 11 w 12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11" y="6"/>
                  </a:moveTo>
                  <a:cubicBezTo>
                    <a:pt x="0" y="0"/>
                    <a:pt x="6" y="17"/>
                    <a:pt x="1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5" name="Freeform 970"/>
            <p:cNvSpPr>
              <a:spLocks noChangeArrowheads="1"/>
            </p:cNvSpPr>
            <p:nvPr/>
          </p:nvSpPr>
          <p:spPr bwMode="auto">
            <a:xfrm>
              <a:off x="4329113" y="2686050"/>
              <a:ext cx="3175" cy="3175"/>
            </a:xfrm>
            <a:custGeom>
              <a:avLst/>
              <a:gdLst>
                <a:gd name="T0" fmla="*/ 8 w 9"/>
                <a:gd name="T1" fmla="*/ 5 h 9"/>
                <a:gd name="T2" fmla="*/ 3 w 9"/>
                <a:gd name="T3" fmla="*/ 0 h 9"/>
                <a:gd name="T4" fmla="*/ 8 w 9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5"/>
                  </a:moveTo>
                  <a:cubicBezTo>
                    <a:pt x="8" y="3"/>
                    <a:pt x="5" y="0"/>
                    <a:pt x="3" y="0"/>
                  </a:cubicBezTo>
                  <a:cubicBezTo>
                    <a:pt x="0" y="3"/>
                    <a:pt x="3" y="8"/>
                    <a:pt x="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6" name="Freeform 971"/>
            <p:cNvSpPr>
              <a:spLocks noChangeArrowheads="1"/>
            </p:cNvSpPr>
            <p:nvPr/>
          </p:nvSpPr>
          <p:spPr bwMode="auto">
            <a:xfrm>
              <a:off x="4340225" y="2681288"/>
              <a:ext cx="4763" cy="4762"/>
            </a:xfrm>
            <a:custGeom>
              <a:avLst/>
              <a:gdLst>
                <a:gd name="T0" fmla="*/ 0 w 15"/>
                <a:gd name="T1" fmla="*/ 8 h 12"/>
                <a:gd name="T2" fmla="*/ 0 w 15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2">
                  <a:moveTo>
                    <a:pt x="0" y="8"/>
                  </a:moveTo>
                  <a:cubicBezTo>
                    <a:pt x="14" y="11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7" name="Freeform 972"/>
            <p:cNvSpPr>
              <a:spLocks noChangeArrowheads="1"/>
            </p:cNvSpPr>
            <p:nvPr/>
          </p:nvSpPr>
          <p:spPr bwMode="auto">
            <a:xfrm>
              <a:off x="4348163" y="2682875"/>
              <a:ext cx="3175" cy="6350"/>
            </a:xfrm>
            <a:custGeom>
              <a:avLst/>
              <a:gdLst>
                <a:gd name="T0" fmla="*/ 0 w 9"/>
                <a:gd name="T1" fmla="*/ 9 h 18"/>
                <a:gd name="T2" fmla="*/ 0 w 9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9"/>
                  </a:moveTo>
                  <a:cubicBezTo>
                    <a:pt x="8" y="17"/>
                    <a:pt x="2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8" name="Freeform 973"/>
            <p:cNvSpPr>
              <a:spLocks noChangeArrowheads="1"/>
            </p:cNvSpPr>
            <p:nvPr/>
          </p:nvSpPr>
          <p:spPr bwMode="auto">
            <a:xfrm>
              <a:off x="4362450" y="2681288"/>
              <a:ext cx="4763" cy="4762"/>
            </a:xfrm>
            <a:custGeom>
              <a:avLst/>
              <a:gdLst>
                <a:gd name="T0" fmla="*/ 8 w 15"/>
                <a:gd name="T1" fmla="*/ 14 h 15"/>
                <a:gd name="T2" fmla="*/ 0 w 15"/>
                <a:gd name="T3" fmla="*/ 2 h 15"/>
                <a:gd name="T4" fmla="*/ 8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8" y="14"/>
                  </a:moveTo>
                  <a:cubicBezTo>
                    <a:pt x="14" y="8"/>
                    <a:pt x="6" y="0"/>
                    <a:pt x="0" y="2"/>
                  </a:cubicBezTo>
                  <a:cubicBezTo>
                    <a:pt x="3" y="8"/>
                    <a:pt x="6" y="14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9" name="Freeform 974"/>
            <p:cNvSpPr>
              <a:spLocks noChangeArrowheads="1"/>
            </p:cNvSpPr>
            <p:nvPr/>
          </p:nvSpPr>
          <p:spPr bwMode="auto">
            <a:xfrm>
              <a:off x="4319588" y="2687638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0" name="Freeform 975"/>
            <p:cNvSpPr>
              <a:spLocks noChangeArrowheads="1"/>
            </p:cNvSpPr>
            <p:nvPr/>
          </p:nvSpPr>
          <p:spPr bwMode="auto">
            <a:xfrm>
              <a:off x="4303713" y="2692400"/>
              <a:ext cx="1587" cy="1588"/>
            </a:xfrm>
            <a:custGeom>
              <a:avLst/>
              <a:gdLst>
                <a:gd name="T0" fmla="*/ 3 w 4"/>
                <a:gd name="T1" fmla="*/ 0 h 3"/>
                <a:gd name="T2" fmla="*/ 3 w 4"/>
                <a:gd name="T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cubicBezTo>
                    <a:pt x="3" y="2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1" name="Freeform 976"/>
            <p:cNvSpPr>
              <a:spLocks noChangeArrowheads="1"/>
            </p:cNvSpPr>
            <p:nvPr/>
          </p:nvSpPr>
          <p:spPr bwMode="auto">
            <a:xfrm>
              <a:off x="4340225" y="2686050"/>
              <a:ext cx="4763" cy="3175"/>
            </a:xfrm>
            <a:custGeom>
              <a:avLst/>
              <a:gdLst>
                <a:gd name="T0" fmla="*/ 0 w 12"/>
                <a:gd name="T1" fmla="*/ 8 h 9"/>
                <a:gd name="T2" fmla="*/ 0 w 12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cubicBezTo>
                    <a:pt x="11" y="8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2" name="Freeform 977"/>
            <p:cNvSpPr>
              <a:spLocks noChangeArrowheads="1"/>
            </p:cNvSpPr>
            <p:nvPr/>
          </p:nvSpPr>
          <p:spPr bwMode="auto">
            <a:xfrm>
              <a:off x="4322763" y="2689225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3" name="Freeform 978"/>
            <p:cNvSpPr>
              <a:spLocks noChangeArrowheads="1"/>
            </p:cNvSpPr>
            <p:nvPr/>
          </p:nvSpPr>
          <p:spPr bwMode="auto">
            <a:xfrm>
              <a:off x="4335463" y="2689225"/>
              <a:ext cx="4762" cy="3175"/>
            </a:xfrm>
            <a:custGeom>
              <a:avLst/>
              <a:gdLst>
                <a:gd name="T0" fmla="*/ 8 w 12"/>
                <a:gd name="T1" fmla="*/ 0 h 10"/>
                <a:gd name="T2" fmla="*/ 0 w 12"/>
                <a:gd name="T3" fmla="*/ 9 h 10"/>
                <a:gd name="T4" fmla="*/ 8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0" y="0"/>
                    <a:pt x="0" y="6"/>
                    <a:pt x="0" y="9"/>
                  </a:cubicBezTo>
                  <a:cubicBezTo>
                    <a:pt x="5" y="9"/>
                    <a:pt x="11" y="6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4" name="Freeform 979"/>
            <p:cNvSpPr>
              <a:spLocks noChangeArrowheads="1"/>
            </p:cNvSpPr>
            <p:nvPr/>
          </p:nvSpPr>
          <p:spPr bwMode="auto">
            <a:xfrm>
              <a:off x="4370388" y="2682875"/>
              <a:ext cx="3175" cy="6350"/>
            </a:xfrm>
            <a:custGeom>
              <a:avLst/>
              <a:gdLst>
                <a:gd name="T0" fmla="*/ 0 w 7"/>
                <a:gd name="T1" fmla="*/ 9 h 18"/>
                <a:gd name="T2" fmla="*/ 0 w 7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9"/>
                  </a:moveTo>
                  <a:cubicBezTo>
                    <a:pt x="6" y="17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5" name="Freeform 980"/>
            <p:cNvSpPr>
              <a:spLocks noChangeArrowheads="1"/>
            </p:cNvSpPr>
            <p:nvPr/>
          </p:nvSpPr>
          <p:spPr bwMode="auto">
            <a:xfrm>
              <a:off x="4359275" y="2686050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11 h 15"/>
                <a:gd name="T4" fmla="*/ 0 w 9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lnTo>
                    <a:pt x="0" y="11"/>
                  </a:lnTo>
                  <a:cubicBezTo>
                    <a:pt x="8" y="14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6" name="Freeform 981"/>
            <p:cNvSpPr>
              <a:spLocks noChangeArrowheads="1"/>
            </p:cNvSpPr>
            <p:nvPr/>
          </p:nvSpPr>
          <p:spPr bwMode="auto">
            <a:xfrm>
              <a:off x="4310063" y="2692400"/>
              <a:ext cx="4762" cy="6350"/>
            </a:xfrm>
            <a:custGeom>
              <a:avLst/>
              <a:gdLst>
                <a:gd name="T0" fmla="*/ 14 w 15"/>
                <a:gd name="T1" fmla="*/ 8 h 18"/>
                <a:gd name="T2" fmla="*/ 14 w 15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14" y="8"/>
                  </a:moveTo>
                  <a:cubicBezTo>
                    <a:pt x="0" y="0"/>
                    <a:pt x="6" y="17"/>
                    <a:pt x="1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7" name="Freeform 982"/>
            <p:cNvSpPr>
              <a:spLocks noChangeArrowheads="1"/>
            </p:cNvSpPr>
            <p:nvPr/>
          </p:nvSpPr>
          <p:spPr bwMode="auto">
            <a:xfrm>
              <a:off x="4340225" y="2690813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8" name="Freeform 983"/>
            <p:cNvSpPr>
              <a:spLocks noChangeArrowheads="1"/>
            </p:cNvSpPr>
            <p:nvPr/>
          </p:nvSpPr>
          <p:spPr bwMode="auto">
            <a:xfrm>
              <a:off x="4344988" y="2689225"/>
              <a:ext cx="4762" cy="3175"/>
            </a:xfrm>
            <a:custGeom>
              <a:avLst/>
              <a:gdLst>
                <a:gd name="T0" fmla="*/ 0 w 12"/>
                <a:gd name="T1" fmla="*/ 3 h 10"/>
                <a:gd name="T2" fmla="*/ 11 w 12"/>
                <a:gd name="T3" fmla="*/ 9 h 10"/>
                <a:gd name="T4" fmla="*/ 0 w 12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0" y="3"/>
                  </a:moveTo>
                  <a:cubicBezTo>
                    <a:pt x="0" y="9"/>
                    <a:pt x="6" y="9"/>
                    <a:pt x="11" y="9"/>
                  </a:cubicBezTo>
                  <a:cubicBezTo>
                    <a:pt x="11" y="3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9" name="Freeform 984"/>
            <p:cNvSpPr>
              <a:spLocks noChangeArrowheads="1"/>
            </p:cNvSpPr>
            <p:nvPr/>
          </p:nvSpPr>
          <p:spPr bwMode="auto">
            <a:xfrm>
              <a:off x="4305300" y="2695575"/>
              <a:ext cx="3175" cy="6350"/>
            </a:xfrm>
            <a:custGeom>
              <a:avLst/>
              <a:gdLst>
                <a:gd name="T0" fmla="*/ 0 w 9"/>
                <a:gd name="T1" fmla="*/ 8 h 18"/>
                <a:gd name="T2" fmla="*/ 0 w 9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8"/>
                  </a:moveTo>
                  <a:cubicBezTo>
                    <a:pt x="8" y="17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0" name="Freeform 985"/>
            <p:cNvSpPr>
              <a:spLocks noChangeArrowheads="1"/>
            </p:cNvSpPr>
            <p:nvPr/>
          </p:nvSpPr>
          <p:spPr bwMode="auto">
            <a:xfrm>
              <a:off x="4337050" y="2692400"/>
              <a:ext cx="4763" cy="3175"/>
            </a:xfrm>
            <a:custGeom>
              <a:avLst/>
              <a:gdLst>
                <a:gd name="T0" fmla="*/ 0 w 13"/>
                <a:gd name="T1" fmla="*/ 8 h 9"/>
                <a:gd name="T2" fmla="*/ 0 w 13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9">
                  <a:moveTo>
                    <a:pt x="0" y="8"/>
                  </a:moveTo>
                  <a:cubicBezTo>
                    <a:pt x="12" y="8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1" name="Freeform 986"/>
            <p:cNvSpPr>
              <a:spLocks noChangeArrowheads="1"/>
            </p:cNvSpPr>
            <p:nvPr/>
          </p:nvSpPr>
          <p:spPr bwMode="auto">
            <a:xfrm>
              <a:off x="4341813" y="2692400"/>
              <a:ext cx="6350" cy="4763"/>
            </a:xfrm>
            <a:custGeom>
              <a:avLst/>
              <a:gdLst>
                <a:gd name="T0" fmla="*/ 0 w 16"/>
                <a:gd name="T1" fmla="*/ 5 h 12"/>
                <a:gd name="T2" fmla="*/ 15 w 16"/>
                <a:gd name="T3" fmla="*/ 11 h 12"/>
                <a:gd name="T4" fmla="*/ 0 w 16"/>
                <a:gd name="T5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0" y="5"/>
                  </a:moveTo>
                  <a:cubicBezTo>
                    <a:pt x="6" y="8"/>
                    <a:pt x="9" y="11"/>
                    <a:pt x="15" y="11"/>
                  </a:cubicBezTo>
                  <a:cubicBezTo>
                    <a:pt x="15" y="5"/>
                    <a:pt x="3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2" name="Freeform 987"/>
            <p:cNvSpPr>
              <a:spLocks noChangeArrowheads="1"/>
            </p:cNvSpPr>
            <p:nvPr/>
          </p:nvSpPr>
          <p:spPr bwMode="auto">
            <a:xfrm>
              <a:off x="4310063" y="2698750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3" y="3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3" name="Freeform 988"/>
            <p:cNvSpPr>
              <a:spLocks noChangeArrowheads="1"/>
            </p:cNvSpPr>
            <p:nvPr/>
          </p:nvSpPr>
          <p:spPr bwMode="auto">
            <a:xfrm>
              <a:off x="4305300" y="2701925"/>
              <a:ext cx="4763" cy="3175"/>
            </a:xfrm>
            <a:custGeom>
              <a:avLst/>
              <a:gdLst>
                <a:gd name="T0" fmla="*/ 14 w 15"/>
                <a:gd name="T1" fmla="*/ 3 h 9"/>
                <a:gd name="T2" fmla="*/ 0 w 15"/>
                <a:gd name="T3" fmla="*/ 8 h 9"/>
                <a:gd name="T4" fmla="*/ 14 w 15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3"/>
                  </a:moveTo>
                  <a:cubicBezTo>
                    <a:pt x="8" y="0"/>
                    <a:pt x="3" y="3"/>
                    <a:pt x="0" y="8"/>
                  </a:cubicBezTo>
                  <a:cubicBezTo>
                    <a:pt x="3" y="6"/>
                    <a:pt x="14" y="8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4" name="Freeform 989"/>
            <p:cNvSpPr>
              <a:spLocks noChangeArrowheads="1"/>
            </p:cNvSpPr>
            <p:nvPr/>
          </p:nvSpPr>
          <p:spPr bwMode="auto">
            <a:xfrm>
              <a:off x="4335463" y="2698750"/>
              <a:ext cx="6350" cy="3175"/>
            </a:xfrm>
            <a:custGeom>
              <a:avLst/>
              <a:gdLst>
                <a:gd name="T0" fmla="*/ 17 w 18"/>
                <a:gd name="T1" fmla="*/ 0 h 9"/>
                <a:gd name="T2" fmla="*/ 17 w 18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17" y="0"/>
                  </a:moveTo>
                  <a:cubicBezTo>
                    <a:pt x="0" y="0"/>
                    <a:pt x="11" y="8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5" name="Freeform 990"/>
            <p:cNvSpPr>
              <a:spLocks noChangeArrowheads="1"/>
            </p:cNvSpPr>
            <p:nvPr/>
          </p:nvSpPr>
          <p:spPr bwMode="auto">
            <a:xfrm>
              <a:off x="4389438" y="2665413"/>
              <a:ext cx="7937" cy="4762"/>
            </a:xfrm>
            <a:custGeom>
              <a:avLst/>
              <a:gdLst>
                <a:gd name="T0" fmla="*/ 3 w 21"/>
                <a:gd name="T1" fmla="*/ 11 h 12"/>
                <a:gd name="T2" fmla="*/ 12 w 21"/>
                <a:gd name="T3" fmla="*/ 0 h 12"/>
                <a:gd name="T4" fmla="*/ 3 w 21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3" y="11"/>
                  </a:moveTo>
                  <a:cubicBezTo>
                    <a:pt x="6" y="8"/>
                    <a:pt x="20" y="2"/>
                    <a:pt x="12" y="0"/>
                  </a:cubicBezTo>
                  <a:cubicBezTo>
                    <a:pt x="12" y="5"/>
                    <a:pt x="0" y="2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6" name="Freeform 991"/>
            <p:cNvSpPr>
              <a:spLocks noChangeArrowheads="1"/>
            </p:cNvSpPr>
            <p:nvPr/>
          </p:nvSpPr>
          <p:spPr bwMode="auto">
            <a:xfrm>
              <a:off x="4376738" y="2671763"/>
              <a:ext cx="4762" cy="4762"/>
            </a:xfrm>
            <a:custGeom>
              <a:avLst/>
              <a:gdLst>
                <a:gd name="T0" fmla="*/ 0 w 15"/>
                <a:gd name="T1" fmla="*/ 9 h 13"/>
                <a:gd name="T2" fmla="*/ 8 w 15"/>
                <a:gd name="T3" fmla="*/ 0 h 13"/>
                <a:gd name="T4" fmla="*/ 0 w 15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0" y="9"/>
                  </a:moveTo>
                  <a:cubicBezTo>
                    <a:pt x="8" y="12"/>
                    <a:pt x="14" y="0"/>
                    <a:pt x="8" y="0"/>
                  </a:cubicBezTo>
                  <a:cubicBezTo>
                    <a:pt x="11" y="9"/>
                    <a:pt x="0" y="3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7" name="Freeform 992"/>
            <p:cNvSpPr>
              <a:spLocks noChangeArrowheads="1"/>
            </p:cNvSpPr>
            <p:nvPr/>
          </p:nvSpPr>
          <p:spPr bwMode="auto">
            <a:xfrm>
              <a:off x="4389438" y="2665413"/>
              <a:ext cx="4762" cy="7937"/>
            </a:xfrm>
            <a:custGeom>
              <a:avLst/>
              <a:gdLst>
                <a:gd name="T0" fmla="*/ 12 w 13"/>
                <a:gd name="T1" fmla="*/ 8 h 20"/>
                <a:gd name="T2" fmla="*/ 12 w 13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0">
                  <a:moveTo>
                    <a:pt x="12" y="8"/>
                  </a:moveTo>
                  <a:cubicBezTo>
                    <a:pt x="0" y="0"/>
                    <a:pt x="9" y="19"/>
                    <a:pt x="12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8" name="Freeform 993"/>
            <p:cNvSpPr>
              <a:spLocks noChangeArrowheads="1"/>
            </p:cNvSpPr>
            <p:nvPr/>
          </p:nvSpPr>
          <p:spPr bwMode="auto">
            <a:xfrm>
              <a:off x="4376738" y="2674938"/>
              <a:ext cx="3175" cy="4762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2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9" name="Freeform 994"/>
            <p:cNvSpPr>
              <a:spLocks noChangeArrowheads="1"/>
            </p:cNvSpPr>
            <p:nvPr/>
          </p:nvSpPr>
          <p:spPr bwMode="auto">
            <a:xfrm>
              <a:off x="4368800" y="2667000"/>
              <a:ext cx="3175" cy="3175"/>
            </a:xfrm>
            <a:custGeom>
              <a:avLst/>
              <a:gdLst>
                <a:gd name="T0" fmla="*/ 8 w 9"/>
                <a:gd name="T1" fmla="*/ 6 h 10"/>
                <a:gd name="T2" fmla="*/ 5 w 9"/>
                <a:gd name="T3" fmla="*/ 0 h 10"/>
                <a:gd name="T4" fmla="*/ 0 w 9"/>
                <a:gd name="T5" fmla="*/ 6 h 10"/>
                <a:gd name="T6" fmla="*/ 3 w 9"/>
                <a:gd name="T7" fmla="*/ 9 h 10"/>
                <a:gd name="T8" fmla="*/ 8 w 9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8" y="6"/>
                  </a:moveTo>
                  <a:lnTo>
                    <a:pt x="5" y="0"/>
                  </a:lnTo>
                  <a:cubicBezTo>
                    <a:pt x="0" y="0"/>
                    <a:pt x="0" y="3"/>
                    <a:pt x="0" y="6"/>
                  </a:cubicBezTo>
                  <a:cubicBezTo>
                    <a:pt x="0" y="6"/>
                    <a:pt x="0" y="9"/>
                    <a:pt x="3" y="9"/>
                  </a:cubicBezTo>
                  <a:lnTo>
                    <a:pt x="8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0" name="Freeform 995"/>
            <p:cNvSpPr>
              <a:spLocks noChangeArrowheads="1"/>
            </p:cNvSpPr>
            <p:nvPr/>
          </p:nvSpPr>
          <p:spPr bwMode="auto">
            <a:xfrm>
              <a:off x="4351338" y="2662238"/>
              <a:ext cx="3175" cy="3175"/>
            </a:xfrm>
            <a:custGeom>
              <a:avLst/>
              <a:gdLst>
                <a:gd name="T0" fmla="*/ 5 w 9"/>
                <a:gd name="T1" fmla="*/ 0 h 10"/>
                <a:gd name="T2" fmla="*/ 0 w 9"/>
                <a:gd name="T3" fmla="*/ 3 h 10"/>
                <a:gd name="T4" fmla="*/ 3 w 9"/>
                <a:gd name="T5" fmla="*/ 9 h 10"/>
                <a:gd name="T6" fmla="*/ 8 w 9"/>
                <a:gd name="T7" fmla="*/ 6 h 10"/>
                <a:gd name="T8" fmla="*/ 5 w 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lnTo>
                    <a:pt x="0" y="3"/>
                  </a:lnTo>
                  <a:lnTo>
                    <a:pt x="3" y="9"/>
                  </a:lnTo>
                  <a:lnTo>
                    <a:pt x="8" y="6"/>
                  </a:lnTo>
                  <a:lnTo>
                    <a:pt x="5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1" name="Freeform 996"/>
            <p:cNvSpPr>
              <a:spLocks noChangeArrowheads="1"/>
            </p:cNvSpPr>
            <p:nvPr/>
          </p:nvSpPr>
          <p:spPr bwMode="auto">
            <a:xfrm>
              <a:off x="4348163" y="2667000"/>
              <a:ext cx="3175" cy="4763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3" y="14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2" name="Freeform 997"/>
            <p:cNvSpPr>
              <a:spLocks noChangeArrowheads="1"/>
            </p:cNvSpPr>
            <p:nvPr/>
          </p:nvSpPr>
          <p:spPr bwMode="auto">
            <a:xfrm>
              <a:off x="4348163" y="2670175"/>
              <a:ext cx="1587" cy="6350"/>
            </a:xfrm>
            <a:custGeom>
              <a:avLst/>
              <a:gdLst>
                <a:gd name="T0" fmla="*/ 0 w 6"/>
                <a:gd name="T1" fmla="*/ 3 h 16"/>
                <a:gd name="T2" fmla="*/ 0 w 6"/>
                <a:gd name="T3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6">
                  <a:moveTo>
                    <a:pt x="0" y="3"/>
                  </a:moveTo>
                  <a:cubicBezTo>
                    <a:pt x="2" y="15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3" name="Freeform 998"/>
            <p:cNvSpPr>
              <a:spLocks noChangeArrowheads="1"/>
            </p:cNvSpPr>
            <p:nvPr/>
          </p:nvSpPr>
          <p:spPr bwMode="auto">
            <a:xfrm>
              <a:off x="4349750" y="2690813"/>
              <a:ext cx="3175" cy="3175"/>
            </a:xfrm>
            <a:custGeom>
              <a:avLst/>
              <a:gdLst>
                <a:gd name="T0" fmla="*/ 6 w 10"/>
                <a:gd name="T1" fmla="*/ 0 h 9"/>
                <a:gd name="T2" fmla="*/ 0 w 10"/>
                <a:gd name="T3" fmla="*/ 3 h 9"/>
                <a:gd name="T4" fmla="*/ 3 w 10"/>
                <a:gd name="T5" fmla="*/ 8 h 9"/>
                <a:gd name="T6" fmla="*/ 9 w 10"/>
                <a:gd name="T7" fmla="*/ 6 h 9"/>
                <a:gd name="T8" fmla="*/ 6 w 10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6" y="0"/>
                  </a:moveTo>
                  <a:lnTo>
                    <a:pt x="0" y="3"/>
                  </a:lnTo>
                  <a:lnTo>
                    <a:pt x="3" y="8"/>
                  </a:lnTo>
                  <a:lnTo>
                    <a:pt x="9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4" name="Freeform 999"/>
            <p:cNvSpPr>
              <a:spLocks noChangeArrowheads="1"/>
            </p:cNvSpPr>
            <p:nvPr/>
          </p:nvSpPr>
          <p:spPr bwMode="auto">
            <a:xfrm>
              <a:off x="4333875" y="2662238"/>
              <a:ext cx="4763" cy="4762"/>
            </a:xfrm>
            <a:custGeom>
              <a:avLst/>
              <a:gdLst>
                <a:gd name="T0" fmla="*/ 8 w 12"/>
                <a:gd name="T1" fmla="*/ 14 h 15"/>
                <a:gd name="T2" fmla="*/ 8 w 12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8" y="14"/>
                  </a:moveTo>
                  <a:cubicBezTo>
                    <a:pt x="11" y="0"/>
                    <a:pt x="0" y="11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5" name="Freeform 1000"/>
            <p:cNvSpPr>
              <a:spLocks noChangeArrowheads="1"/>
            </p:cNvSpPr>
            <p:nvPr/>
          </p:nvSpPr>
          <p:spPr bwMode="auto">
            <a:xfrm>
              <a:off x="4344988" y="2684463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6 h 12"/>
                <a:gd name="T4" fmla="*/ 3 w 9"/>
                <a:gd name="T5" fmla="*/ 11 h 12"/>
                <a:gd name="T6" fmla="*/ 0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0" y="6"/>
                    <a:pt x="0" y="6"/>
                    <a:pt x="0" y="6"/>
                  </a:cubicBezTo>
                  <a:lnTo>
                    <a:pt x="3" y="11"/>
                  </a:lnTo>
                  <a:cubicBezTo>
                    <a:pt x="8" y="11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6" name="Freeform 1001"/>
            <p:cNvSpPr>
              <a:spLocks noChangeArrowheads="1"/>
            </p:cNvSpPr>
            <p:nvPr/>
          </p:nvSpPr>
          <p:spPr bwMode="auto">
            <a:xfrm>
              <a:off x="4333875" y="2671763"/>
              <a:ext cx="3175" cy="3175"/>
            </a:xfrm>
            <a:custGeom>
              <a:avLst/>
              <a:gdLst>
                <a:gd name="T0" fmla="*/ 0 w 9"/>
                <a:gd name="T1" fmla="*/ 0 h 7"/>
                <a:gd name="T2" fmla="*/ 8 w 9"/>
                <a:gd name="T3" fmla="*/ 6 h 7"/>
                <a:gd name="T4" fmla="*/ 0 w 9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0" y="0"/>
                  </a:moveTo>
                  <a:cubicBezTo>
                    <a:pt x="0" y="3"/>
                    <a:pt x="6" y="6"/>
                    <a:pt x="8" y="6"/>
                  </a:cubicBezTo>
                  <a:cubicBezTo>
                    <a:pt x="6" y="3"/>
                    <a:pt x="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7" name="Freeform 1002"/>
            <p:cNvSpPr>
              <a:spLocks noChangeArrowheads="1"/>
            </p:cNvSpPr>
            <p:nvPr/>
          </p:nvSpPr>
          <p:spPr bwMode="auto">
            <a:xfrm>
              <a:off x="4340225" y="2693988"/>
              <a:ext cx="6350" cy="4762"/>
            </a:xfrm>
            <a:custGeom>
              <a:avLst/>
              <a:gdLst>
                <a:gd name="T0" fmla="*/ 14 w 18"/>
                <a:gd name="T1" fmla="*/ 0 h 13"/>
                <a:gd name="T2" fmla="*/ 14 w 18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14" y="0"/>
                  </a:moveTo>
                  <a:cubicBezTo>
                    <a:pt x="0" y="6"/>
                    <a:pt x="17" y="12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8" name="Freeform 1003"/>
            <p:cNvSpPr>
              <a:spLocks noChangeArrowheads="1"/>
            </p:cNvSpPr>
            <p:nvPr/>
          </p:nvSpPr>
          <p:spPr bwMode="auto">
            <a:xfrm>
              <a:off x="4340225" y="2692400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3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9" name="Freeform 1004"/>
            <p:cNvSpPr>
              <a:spLocks noChangeArrowheads="1"/>
            </p:cNvSpPr>
            <p:nvPr/>
          </p:nvSpPr>
          <p:spPr bwMode="auto">
            <a:xfrm>
              <a:off x="4329113" y="2674938"/>
              <a:ext cx="1587" cy="4762"/>
            </a:xfrm>
            <a:custGeom>
              <a:avLst/>
              <a:gdLst>
                <a:gd name="T0" fmla="*/ 0 w 6"/>
                <a:gd name="T1" fmla="*/ 3 h 15"/>
                <a:gd name="T2" fmla="*/ 0 w 6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5">
                  <a:moveTo>
                    <a:pt x="0" y="3"/>
                  </a:moveTo>
                  <a:cubicBezTo>
                    <a:pt x="0" y="14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0" name="Freeform 1005"/>
            <p:cNvSpPr>
              <a:spLocks noChangeArrowheads="1"/>
            </p:cNvSpPr>
            <p:nvPr/>
          </p:nvSpPr>
          <p:spPr bwMode="auto">
            <a:xfrm>
              <a:off x="4325938" y="2676525"/>
              <a:ext cx="3175" cy="4763"/>
            </a:xfrm>
            <a:custGeom>
              <a:avLst/>
              <a:gdLst>
                <a:gd name="T0" fmla="*/ 0 w 7"/>
                <a:gd name="T1" fmla="*/ 2 h 12"/>
                <a:gd name="T2" fmla="*/ 0 w 7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2">
                  <a:moveTo>
                    <a:pt x="0" y="2"/>
                  </a:moveTo>
                  <a:cubicBezTo>
                    <a:pt x="3" y="11"/>
                    <a:pt x="6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1" name="Freeform 1006"/>
            <p:cNvSpPr>
              <a:spLocks noChangeArrowheads="1"/>
            </p:cNvSpPr>
            <p:nvPr/>
          </p:nvSpPr>
          <p:spPr bwMode="auto">
            <a:xfrm>
              <a:off x="4319588" y="2671763"/>
              <a:ext cx="3175" cy="4762"/>
            </a:xfrm>
            <a:custGeom>
              <a:avLst/>
              <a:gdLst>
                <a:gd name="T0" fmla="*/ 2 w 9"/>
                <a:gd name="T1" fmla="*/ 12 h 13"/>
                <a:gd name="T2" fmla="*/ 5 w 9"/>
                <a:gd name="T3" fmla="*/ 0 h 13"/>
                <a:gd name="T4" fmla="*/ 2 w 9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3">
                  <a:moveTo>
                    <a:pt x="2" y="12"/>
                  </a:moveTo>
                  <a:cubicBezTo>
                    <a:pt x="8" y="9"/>
                    <a:pt x="8" y="6"/>
                    <a:pt x="5" y="0"/>
                  </a:cubicBezTo>
                  <a:cubicBezTo>
                    <a:pt x="0" y="3"/>
                    <a:pt x="0" y="6"/>
                    <a:pt x="2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2" name="Freeform 1007"/>
            <p:cNvSpPr>
              <a:spLocks noChangeArrowheads="1"/>
            </p:cNvSpPr>
            <p:nvPr/>
          </p:nvSpPr>
          <p:spPr bwMode="auto">
            <a:xfrm>
              <a:off x="4300538" y="2679700"/>
              <a:ext cx="9525" cy="4763"/>
            </a:xfrm>
            <a:custGeom>
              <a:avLst/>
              <a:gdLst>
                <a:gd name="T0" fmla="*/ 19 w 26"/>
                <a:gd name="T1" fmla="*/ 0 h 12"/>
                <a:gd name="T2" fmla="*/ 8 w 26"/>
                <a:gd name="T3" fmla="*/ 8 h 12"/>
                <a:gd name="T4" fmla="*/ 19 w 2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12">
                  <a:moveTo>
                    <a:pt x="19" y="0"/>
                  </a:moveTo>
                  <a:cubicBezTo>
                    <a:pt x="17" y="0"/>
                    <a:pt x="0" y="3"/>
                    <a:pt x="8" y="8"/>
                  </a:cubicBezTo>
                  <a:cubicBezTo>
                    <a:pt x="8" y="11"/>
                    <a:pt x="25" y="6"/>
                    <a:pt x="1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3" name="Freeform 1008"/>
            <p:cNvSpPr>
              <a:spLocks noChangeArrowheads="1"/>
            </p:cNvSpPr>
            <p:nvPr/>
          </p:nvSpPr>
          <p:spPr bwMode="auto">
            <a:xfrm>
              <a:off x="4297363" y="2690813"/>
              <a:ext cx="3175" cy="1587"/>
            </a:xfrm>
            <a:custGeom>
              <a:avLst/>
              <a:gdLst>
                <a:gd name="T0" fmla="*/ 3 w 10"/>
                <a:gd name="T1" fmla="*/ 4 h 6"/>
                <a:gd name="T2" fmla="*/ 0 w 10"/>
                <a:gd name="T3" fmla="*/ 5 h 6"/>
                <a:gd name="T4" fmla="*/ 3 w 10"/>
                <a:gd name="T5" fmla="*/ 4 h 6"/>
                <a:gd name="T6" fmla="*/ 5 w 10"/>
                <a:gd name="T7" fmla="*/ 2 h 6"/>
                <a:gd name="T8" fmla="*/ 3 w 10"/>
                <a:gd name="T9" fmla="*/ 4 h 6"/>
                <a:gd name="T10" fmla="*/ 5 w 10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6">
                  <a:moveTo>
                    <a:pt x="3" y="4"/>
                  </a:moveTo>
                  <a:cubicBezTo>
                    <a:pt x="2" y="4"/>
                    <a:pt x="1" y="5"/>
                    <a:pt x="0" y="5"/>
                  </a:cubicBezTo>
                  <a:cubicBezTo>
                    <a:pt x="0" y="5"/>
                    <a:pt x="2" y="4"/>
                    <a:pt x="3" y="4"/>
                  </a:cubicBezTo>
                  <a:close/>
                  <a:moveTo>
                    <a:pt x="5" y="2"/>
                  </a:moveTo>
                  <a:cubicBezTo>
                    <a:pt x="9" y="0"/>
                    <a:pt x="6" y="2"/>
                    <a:pt x="3" y="4"/>
                  </a:cubicBezTo>
                  <a:cubicBezTo>
                    <a:pt x="3" y="3"/>
                    <a:pt x="4" y="3"/>
                    <a:pt x="5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4" name="Freeform 1009"/>
            <p:cNvSpPr>
              <a:spLocks noChangeArrowheads="1"/>
            </p:cNvSpPr>
            <p:nvPr/>
          </p:nvSpPr>
          <p:spPr bwMode="auto">
            <a:xfrm>
              <a:off x="4292600" y="2698750"/>
              <a:ext cx="3175" cy="6350"/>
            </a:xfrm>
            <a:custGeom>
              <a:avLst/>
              <a:gdLst>
                <a:gd name="T0" fmla="*/ 0 w 7"/>
                <a:gd name="T1" fmla="*/ 3 h 16"/>
                <a:gd name="T2" fmla="*/ 0 w 7"/>
                <a:gd name="T3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6">
                  <a:moveTo>
                    <a:pt x="0" y="3"/>
                  </a:moveTo>
                  <a:cubicBezTo>
                    <a:pt x="3" y="15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5" name="Freeform 1010"/>
            <p:cNvSpPr>
              <a:spLocks noChangeArrowheads="1"/>
            </p:cNvSpPr>
            <p:nvPr/>
          </p:nvSpPr>
          <p:spPr bwMode="auto">
            <a:xfrm>
              <a:off x="4335463" y="2684463"/>
              <a:ext cx="4762" cy="6350"/>
            </a:xfrm>
            <a:custGeom>
              <a:avLst/>
              <a:gdLst>
                <a:gd name="T0" fmla="*/ 8 w 15"/>
                <a:gd name="T1" fmla="*/ 17 h 18"/>
                <a:gd name="T2" fmla="*/ 8 w 15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8" y="17"/>
                  </a:moveTo>
                  <a:cubicBezTo>
                    <a:pt x="14" y="0"/>
                    <a:pt x="0" y="11"/>
                    <a:pt x="8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6" name="Freeform 1011"/>
            <p:cNvSpPr>
              <a:spLocks noChangeArrowheads="1"/>
            </p:cNvSpPr>
            <p:nvPr/>
          </p:nvSpPr>
          <p:spPr bwMode="auto">
            <a:xfrm>
              <a:off x="4330700" y="2692400"/>
              <a:ext cx="7938" cy="6350"/>
            </a:xfrm>
            <a:custGeom>
              <a:avLst/>
              <a:gdLst>
                <a:gd name="T0" fmla="*/ 19 w 20"/>
                <a:gd name="T1" fmla="*/ 16 h 17"/>
                <a:gd name="T2" fmla="*/ 0 w 20"/>
                <a:gd name="T3" fmla="*/ 2 h 17"/>
                <a:gd name="T4" fmla="*/ 19 w 20"/>
                <a:gd name="T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7">
                  <a:moveTo>
                    <a:pt x="19" y="16"/>
                  </a:moveTo>
                  <a:cubicBezTo>
                    <a:pt x="14" y="5"/>
                    <a:pt x="8" y="0"/>
                    <a:pt x="0" y="2"/>
                  </a:cubicBezTo>
                  <a:cubicBezTo>
                    <a:pt x="0" y="8"/>
                    <a:pt x="14" y="11"/>
                    <a:pt x="19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7" name="Freeform 1012"/>
            <p:cNvSpPr>
              <a:spLocks noChangeArrowheads="1"/>
            </p:cNvSpPr>
            <p:nvPr/>
          </p:nvSpPr>
          <p:spPr bwMode="auto">
            <a:xfrm>
              <a:off x="4297363" y="2686050"/>
              <a:ext cx="6350" cy="3175"/>
            </a:xfrm>
            <a:custGeom>
              <a:avLst/>
              <a:gdLst>
                <a:gd name="T0" fmla="*/ 0 w 18"/>
                <a:gd name="T1" fmla="*/ 8 h 9"/>
                <a:gd name="T2" fmla="*/ 0 w 18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0" y="8"/>
                  </a:moveTo>
                  <a:cubicBezTo>
                    <a:pt x="17" y="8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8" name="Freeform 1013"/>
            <p:cNvSpPr>
              <a:spLocks noChangeArrowheads="1"/>
            </p:cNvSpPr>
            <p:nvPr/>
          </p:nvSpPr>
          <p:spPr bwMode="auto">
            <a:xfrm>
              <a:off x="4035425" y="2697163"/>
              <a:ext cx="3175" cy="1587"/>
            </a:xfrm>
            <a:custGeom>
              <a:avLst/>
              <a:gdLst>
                <a:gd name="T0" fmla="*/ 6 w 10"/>
                <a:gd name="T1" fmla="*/ 0 h 6"/>
                <a:gd name="T2" fmla="*/ 0 w 10"/>
                <a:gd name="T3" fmla="*/ 5 h 6"/>
                <a:gd name="T4" fmla="*/ 6 w 10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6">
                  <a:moveTo>
                    <a:pt x="6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9" y="5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9" name="Freeform 1014"/>
            <p:cNvSpPr>
              <a:spLocks noChangeArrowheads="1"/>
            </p:cNvSpPr>
            <p:nvPr/>
          </p:nvSpPr>
          <p:spPr bwMode="auto">
            <a:xfrm>
              <a:off x="4054475" y="2697163"/>
              <a:ext cx="4763" cy="3175"/>
            </a:xfrm>
            <a:custGeom>
              <a:avLst/>
              <a:gdLst>
                <a:gd name="T0" fmla="*/ 0 w 12"/>
                <a:gd name="T1" fmla="*/ 5 h 9"/>
                <a:gd name="T2" fmla="*/ 0 w 12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11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0" name="Freeform 1015"/>
            <p:cNvSpPr>
              <a:spLocks noChangeArrowheads="1"/>
            </p:cNvSpPr>
            <p:nvPr/>
          </p:nvSpPr>
          <p:spPr bwMode="auto">
            <a:xfrm>
              <a:off x="4064000" y="2698750"/>
              <a:ext cx="3175" cy="1588"/>
            </a:xfrm>
            <a:custGeom>
              <a:avLst/>
              <a:gdLst>
                <a:gd name="T0" fmla="*/ 6 w 7"/>
                <a:gd name="T1" fmla="*/ 5 h 6"/>
                <a:gd name="T2" fmla="*/ 6 w 7"/>
                <a:gd name="T3" fmla="*/ 0 h 6"/>
                <a:gd name="T4" fmla="*/ 0 w 7"/>
                <a:gd name="T5" fmla="*/ 0 h 6"/>
                <a:gd name="T6" fmla="*/ 0 w 7"/>
                <a:gd name="T7" fmla="*/ 5 h 6"/>
                <a:gd name="T8" fmla="*/ 6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1" name="Freeform 1016"/>
            <p:cNvSpPr>
              <a:spLocks noChangeArrowheads="1"/>
            </p:cNvSpPr>
            <p:nvPr/>
          </p:nvSpPr>
          <p:spPr bwMode="auto">
            <a:xfrm>
              <a:off x="4070350" y="2697163"/>
              <a:ext cx="3175" cy="1587"/>
            </a:xfrm>
            <a:custGeom>
              <a:avLst/>
              <a:gdLst>
                <a:gd name="T0" fmla="*/ 6 w 10"/>
                <a:gd name="T1" fmla="*/ 0 h 6"/>
                <a:gd name="T2" fmla="*/ 0 w 10"/>
                <a:gd name="T3" fmla="*/ 5 h 6"/>
                <a:gd name="T4" fmla="*/ 6 w 10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6">
                  <a:moveTo>
                    <a:pt x="6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9" y="5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2" name="Freeform 1017"/>
            <p:cNvSpPr>
              <a:spLocks noChangeArrowheads="1"/>
            </p:cNvSpPr>
            <p:nvPr/>
          </p:nvSpPr>
          <p:spPr bwMode="auto">
            <a:xfrm>
              <a:off x="4076700" y="2697163"/>
              <a:ext cx="3175" cy="4762"/>
            </a:xfrm>
            <a:custGeom>
              <a:avLst/>
              <a:gdLst>
                <a:gd name="T0" fmla="*/ 3 w 10"/>
                <a:gd name="T1" fmla="*/ 0 h 12"/>
                <a:gd name="T2" fmla="*/ 0 w 10"/>
                <a:gd name="T3" fmla="*/ 8 h 12"/>
                <a:gd name="T4" fmla="*/ 3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3" y="0"/>
                  </a:moveTo>
                  <a:cubicBezTo>
                    <a:pt x="3" y="3"/>
                    <a:pt x="0" y="3"/>
                    <a:pt x="0" y="8"/>
                  </a:cubicBezTo>
                  <a:cubicBezTo>
                    <a:pt x="9" y="11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3" name="Freeform 1018"/>
            <p:cNvSpPr>
              <a:spLocks noChangeArrowheads="1"/>
            </p:cNvSpPr>
            <p:nvPr/>
          </p:nvSpPr>
          <p:spPr bwMode="auto">
            <a:xfrm>
              <a:off x="4016375" y="2708275"/>
              <a:ext cx="3175" cy="1588"/>
            </a:xfrm>
            <a:custGeom>
              <a:avLst/>
              <a:gdLst>
                <a:gd name="T0" fmla="*/ 0 w 9"/>
                <a:gd name="T1" fmla="*/ 5 h 6"/>
                <a:gd name="T2" fmla="*/ 8 w 9"/>
                <a:gd name="T3" fmla="*/ 0 h 6"/>
                <a:gd name="T4" fmla="*/ 0 w 9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0" y="5"/>
                  </a:moveTo>
                  <a:cubicBezTo>
                    <a:pt x="5" y="5"/>
                    <a:pt x="8" y="3"/>
                    <a:pt x="8" y="0"/>
                  </a:cubicBezTo>
                  <a:cubicBezTo>
                    <a:pt x="3" y="0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4" name="Freeform 1019"/>
            <p:cNvSpPr>
              <a:spLocks noChangeArrowheads="1"/>
            </p:cNvSpPr>
            <p:nvPr/>
          </p:nvSpPr>
          <p:spPr bwMode="auto">
            <a:xfrm>
              <a:off x="4064000" y="2701925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0 w 10"/>
                <a:gd name="T3" fmla="*/ 0 h 9"/>
                <a:gd name="T4" fmla="*/ 9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cubicBezTo>
                    <a:pt x="9" y="3"/>
                    <a:pt x="3" y="0"/>
                    <a:pt x="0" y="0"/>
                  </a:cubicBezTo>
                  <a:cubicBezTo>
                    <a:pt x="0" y="6"/>
                    <a:pt x="3" y="8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5" name="Freeform 1020"/>
            <p:cNvSpPr>
              <a:spLocks noChangeArrowheads="1"/>
            </p:cNvSpPr>
            <p:nvPr/>
          </p:nvSpPr>
          <p:spPr bwMode="auto">
            <a:xfrm>
              <a:off x="4008438" y="2709863"/>
              <a:ext cx="3175" cy="3175"/>
            </a:xfrm>
            <a:custGeom>
              <a:avLst/>
              <a:gdLst>
                <a:gd name="T0" fmla="*/ 0 w 7"/>
                <a:gd name="T1" fmla="*/ 0 h 7"/>
                <a:gd name="T2" fmla="*/ 0 w 7"/>
                <a:gd name="T3" fmla="*/ 6 h 7"/>
                <a:gd name="T4" fmla="*/ 6 w 7"/>
                <a:gd name="T5" fmla="*/ 6 h 7"/>
                <a:gd name="T6" fmla="*/ 6 w 7"/>
                <a:gd name="T7" fmla="*/ 0 h 7"/>
                <a:gd name="T8" fmla="*/ 0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6" name="Freeform 1021"/>
            <p:cNvSpPr>
              <a:spLocks noChangeArrowheads="1"/>
            </p:cNvSpPr>
            <p:nvPr/>
          </p:nvSpPr>
          <p:spPr bwMode="auto">
            <a:xfrm>
              <a:off x="4040188" y="2706688"/>
              <a:ext cx="4762" cy="3175"/>
            </a:xfrm>
            <a:custGeom>
              <a:avLst/>
              <a:gdLst>
                <a:gd name="T0" fmla="*/ 0 w 12"/>
                <a:gd name="T1" fmla="*/ 6 h 10"/>
                <a:gd name="T2" fmla="*/ 2 w 12"/>
                <a:gd name="T3" fmla="*/ 9 h 10"/>
                <a:gd name="T4" fmla="*/ 8 w 12"/>
                <a:gd name="T5" fmla="*/ 9 h 10"/>
                <a:gd name="T6" fmla="*/ 0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2" y="6"/>
                    <a:pt x="2" y="6"/>
                    <a:pt x="2" y="9"/>
                  </a:cubicBezTo>
                  <a:lnTo>
                    <a:pt x="8" y="9"/>
                  </a:lnTo>
                  <a:cubicBezTo>
                    <a:pt x="11" y="0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7" name="Freeform 1022"/>
            <p:cNvSpPr>
              <a:spLocks noChangeArrowheads="1"/>
            </p:cNvSpPr>
            <p:nvPr/>
          </p:nvSpPr>
          <p:spPr bwMode="auto">
            <a:xfrm>
              <a:off x="4057650" y="2705100"/>
              <a:ext cx="4763" cy="3175"/>
            </a:xfrm>
            <a:custGeom>
              <a:avLst/>
              <a:gdLst>
                <a:gd name="T0" fmla="*/ 0 w 13"/>
                <a:gd name="T1" fmla="*/ 6 h 10"/>
                <a:gd name="T2" fmla="*/ 0 w 13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6"/>
                  </a:moveTo>
                  <a:cubicBezTo>
                    <a:pt x="12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8" name="Freeform 1023"/>
            <p:cNvSpPr>
              <a:spLocks noChangeArrowheads="1"/>
            </p:cNvSpPr>
            <p:nvPr/>
          </p:nvSpPr>
          <p:spPr bwMode="auto">
            <a:xfrm>
              <a:off x="4021138" y="2709863"/>
              <a:ext cx="3175" cy="6350"/>
            </a:xfrm>
            <a:custGeom>
              <a:avLst/>
              <a:gdLst>
                <a:gd name="T0" fmla="*/ 0 w 9"/>
                <a:gd name="T1" fmla="*/ 12 h 18"/>
                <a:gd name="T2" fmla="*/ 0 w 9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12"/>
                  </a:moveTo>
                  <a:cubicBezTo>
                    <a:pt x="8" y="17"/>
                    <a:pt x="3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9" name="Freeform 1024"/>
            <p:cNvSpPr>
              <a:spLocks noChangeArrowheads="1"/>
            </p:cNvSpPr>
            <p:nvPr/>
          </p:nvSpPr>
          <p:spPr bwMode="auto">
            <a:xfrm>
              <a:off x="4038600" y="2709863"/>
              <a:ext cx="4763" cy="3175"/>
            </a:xfrm>
            <a:custGeom>
              <a:avLst/>
              <a:gdLst>
                <a:gd name="T0" fmla="*/ 3 w 15"/>
                <a:gd name="T1" fmla="*/ 0 h 10"/>
                <a:gd name="T2" fmla="*/ 14 w 15"/>
                <a:gd name="T3" fmla="*/ 6 h 10"/>
                <a:gd name="T4" fmla="*/ 3 w 15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3" y="0"/>
                  </a:moveTo>
                  <a:cubicBezTo>
                    <a:pt x="0" y="9"/>
                    <a:pt x="8" y="9"/>
                    <a:pt x="14" y="6"/>
                  </a:cubicBezTo>
                  <a:cubicBezTo>
                    <a:pt x="14" y="0"/>
                    <a:pt x="8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0" name="Freeform 1025"/>
            <p:cNvSpPr>
              <a:spLocks noChangeArrowheads="1"/>
            </p:cNvSpPr>
            <p:nvPr/>
          </p:nvSpPr>
          <p:spPr bwMode="auto">
            <a:xfrm>
              <a:off x="4051300" y="2709863"/>
              <a:ext cx="3175" cy="3175"/>
            </a:xfrm>
            <a:custGeom>
              <a:avLst/>
              <a:gdLst>
                <a:gd name="T0" fmla="*/ 0 w 9"/>
                <a:gd name="T1" fmla="*/ 0 h 9"/>
                <a:gd name="T2" fmla="*/ 5 w 9"/>
                <a:gd name="T3" fmla="*/ 8 h 9"/>
                <a:gd name="T4" fmla="*/ 0 w 9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cubicBezTo>
                    <a:pt x="0" y="5"/>
                    <a:pt x="2" y="8"/>
                    <a:pt x="5" y="8"/>
                  </a:cubicBezTo>
                  <a:cubicBezTo>
                    <a:pt x="0" y="2"/>
                    <a:pt x="8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1" name="Freeform 1026"/>
            <p:cNvSpPr>
              <a:spLocks noChangeArrowheads="1"/>
            </p:cNvSpPr>
            <p:nvPr/>
          </p:nvSpPr>
          <p:spPr bwMode="auto">
            <a:xfrm>
              <a:off x="4057650" y="2708275"/>
              <a:ext cx="4763" cy="1588"/>
            </a:xfrm>
            <a:custGeom>
              <a:avLst/>
              <a:gdLst>
                <a:gd name="T0" fmla="*/ 0 w 15"/>
                <a:gd name="T1" fmla="*/ 5 h 6"/>
                <a:gd name="T2" fmla="*/ 11 w 15"/>
                <a:gd name="T3" fmla="*/ 3 h 6"/>
                <a:gd name="T4" fmla="*/ 0 w 15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6">
                  <a:moveTo>
                    <a:pt x="0" y="5"/>
                  </a:moveTo>
                  <a:cubicBezTo>
                    <a:pt x="2" y="3"/>
                    <a:pt x="14" y="5"/>
                    <a:pt x="11" y="3"/>
                  </a:cubicBezTo>
                  <a:cubicBezTo>
                    <a:pt x="8" y="3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2" name="Freeform 1027"/>
            <p:cNvSpPr>
              <a:spLocks noChangeArrowheads="1"/>
            </p:cNvSpPr>
            <p:nvPr/>
          </p:nvSpPr>
          <p:spPr bwMode="auto">
            <a:xfrm>
              <a:off x="3962400" y="2695575"/>
              <a:ext cx="4763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3" name="Freeform 1028"/>
            <p:cNvSpPr>
              <a:spLocks noChangeArrowheads="1"/>
            </p:cNvSpPr>
            <p:nvPr/>
          </p:nvSpPr>
          <p:spPr bwMode="auto">
            <a:xfrm>
              <a:off x="4024313" y="2714625"/>
              <a:ext cx="3175" cy="1588"/>
            </a:xfrm>
            <a:custGeom>
              <a:avLst/>
              <a:gdLst>
                <a:gd name="T0" fmla="*/ 3 w 10"/>
                <a:gd name="T1" fmla="*/ 5 h 6"/>
                <a:gd name="T2" fmla="*/ 9 w 10"/>
                <a:gd name="T3" fmla="*/ 0 h 6"/>
                <a:gd name="T4" fmla="*/ 3 w 10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6">
                  <a:moveTo>
                    <a:pt x="3" y="5"/>
                  </a:moveTo>
                  <a:cubicBezTo>
                    <a:pt x="6" y="5"/>
                    <a:pt x="9" y="3"/>
                    <a:pt x="9" y="0"/>
                  </a:cubicBezTo>
                  <a:cubicBezTo>
                    <a:pt x="6" y="0"/>
                    <a:pt x="0" y="0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4" name="Freeform 1029"/>
            <p:cNvSpPr>
              <a:spLocks noChangeArrowheads="1"/>
            </p:cNvSpPr>
            <p:nvPr/>
          </p:nvSpPr>
          <p:spPr bwMode="auto">
            <a:xfrm>
              <a:off x="3973513" y="2693988"/>
              <a:ext cx="3175" cy="6350"/>
            </a:xfrm>
            <a:custGeom>
              <a:avLst/>
              <a:gdLst>
                <a:gd name="T0" fmla="*/ 0 w 7"/>
                <a:gd name="T1" fmla="*/ 9 h 18"/>
                <a:gd name="T2" fmla="*/ 0 w 7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9"/>
                  </a:moveTo>
                  <a:cubicBezTo>
                    <a:pt x="6" y="17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5" name="Freeform 1030"/>
            <p:cNvSpPr>
              <a:spLocks noChangeArrowheads="1"/>
            </p:cNvSpPr>
            <p:nvPr/>
          </p:nvSpPr>
          <p:spPr bwMode="auto">
            <a:xfrm>
              <a:off x="4037013" y="2713038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6 w 7"/>
                <a:gd name="T3" fmla="*/ 0 h 7"/>
                <a:gd name="T4" fmla="*/ 0 w 7"/>
                <a:gd name="T5" fmla="*/ 0 h 7"/>
                <a:gd name="T6" fmla="*/ 0 w 7"/>
                <a:gd name="T7" fmla="*/ 6 h 7"/>
                <a:gd name="T8" fmla="*/ 6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6" name="Freeform 1031"/>
            <p:cNvSpPr>
              <a:spLocks noChangeArrowheads="1"/>
            </p:cNvSpPr>
            <p:nvPr/>
          </p:nvSpPr>
          <p:spPr bwMode="auto">
            <a:xfrm>
              <a:off x="4046538" y="2713038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0 w 10"/>
                <a:gd name="T3" fmla="*/ 0 h 9"/>
                <a:gd name="T4" fmla="*/ 9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cubicBezTo>
                    <a:pt x="9" y="0"/>
                    <a:pt x="3" y="0"/>
                    <a:pt x="0" y="0"/>
                  </a:cubicBezTo>
                  <a:cubicBezTo>
                    <a:pt x="0" y="6"/>
                    <a:pt x="3" y="6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7" name="Freeform 1032"/>
            <p:cNvSpPr>
              <a:spLocks noChangeArrowheads="1"/>
            </p:cNvSpPr>
            <p:nvPr/>
          </p:nvSpPr>
          <p:spPr bwMode="auto">
            <a:xfrm>
              <a:off x="4087813" y="2706688"/>
              <a:ext cx="6350" cy="4762"/>
            </a:xfrm>
            <a:custGeom>
              <a:avLst/>
              <a:gdLst>
                <a:gd name="T0" fmla="*/ 17 w 18"/>
                <a:gd name="T1" fmla="*/ 0 h 12"/>
                <a:gd name="T2" fmla="*/ 17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17" y="0"/>
                  </a:moveTo>
                  <a:cubicBezTo>
                    <a:pt x="0" y="3"/>
                    <a:pt x="14" y="11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8" name="Freeform 1033"/>
            <p:cNvSpPr>
              <a:spLocks noChangeArrowheads="1"/>
            </p:cNvSpPr>
            <p:nvPr/>
          </p:nvSpPr>
          <p:spPr bwMode="auto">
            <a:xfrm>
              <a:off x="4095750" y="2706688"/>
              <a:ext cx="4763" cy="3175"/>
            </a:xfrm>
            <a:custGeom>
              <a:avLst/>
              <a:gdLst>
                <a:gd name="T0" fmla="*/ 14 w 15"/>
                <a:gd name="T1" fmla="*/ 3 h 10"/>
                <a:gd name="T2" fmla="*/ 0 w 15"/>
                <a:gd name="T3" fmla="*/ 9 h 10"/>
                <a:gd name="T4" fmla="*/ 14 w 15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14" y="3"/>
                  </a:moveTo>
                  <a:cubicBezTo>
                    <a:pt x="8" y="3"/>
                    <a:pt x="0" y="0"/>
                    <a:pt x="0" y="9"/>
                  </a:cubicBezTo>
                  <a:cubicBezTo>
                    <a:pt x="3" y="3"/>
                    <a:pt x="14" y="9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9" name="Freeform 1034"/>
            <p:cNvSpPr>
              <a:spLocks noChangeArrowheads="1"/>
            </p:cNvSpPr>
            <p:nvPr/>
          </p:nvSpPr>
          <p:spPr bwMode="auto">
            <a:xfrm>
              <a:off x="4079875" y="2706688"/>
              <a:ext cx="4763" cy="6350"/>
            </a:xfrm>
            <a:custGeom>
              <a:avLst/>
              <a:gdLst>
                <a:gd name="T0" fmla="*/ 12 w 13"/>
                <a:gd name="T1" fmla="*/ 6 h 18"/>
                <a:gd name="T2" fmla="*/ 12 w 13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12" y="6"/>
                  </a:moveTo>
                  <a:cubicBezTo>
                    <a:pt x="0" y="0"/>
                    <a:pt x="6" y="17"/>
                    <a:pt x="1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0" name="Freeform 1035"/>
            <p:cNvSpPr>
              <a:spLocks noChangeArrowheads="1"/>
            </p:cNvSpPr>
            <p:nvPr/>
          </p:nvSpPr>
          <p:spPr bwMode="auto">
            <a:xfrm>
              <a:off x="3987800" y="2698750"/>
              <a:ext cx="3175" cy="3175"/>
            </a:xfrm>
            <a:custGeom>
              <a:avLst/>
              <a:gdLst>
                <a:gd name="T0" fmla="*/ 8 w 9"/>
                <a:gd name="T1" fmla="*/ 6 h 7"/>
                <a:gd name="T2" fmla="*/ 3 w 9"/>
                <a:gd name="T3" fmla="*/ 0 h 7"/>
                <a:gd name="T4" fmla="*/ 8 w 9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8" y="6"/>
                  </a:moveTo>
                  <a:cubicBezTo>
                    <a:pt x="8" y="3"/>
                    <a:pt x="5" y="0"/>
                    <a:pt x="3" y="0"/>
                  </a:cubicBezTo>
                  <a:cubicBezTo>
                    <a:pt x="0" y="3"/>
                    <a:pt x="3" y="6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1" name="Freeform 1036"/>
            <p:cNvSpPr>
              <a:spLocks noChangeArrowheads="1"/>
            </p:cNvSpPr>
            <p:nvPr/>
          </p:nvSpPr>
          <p:spPr bwMode="auto">
            <a:xfrm>
              <a:off x="3998913" y="2695575"/>
              <a:ext cx="4762" cy="3175"/>
            </a:xfrm>
            <a:custGeom>
              <a:avLst/>
              <a:gdLst>
                <a:gd name="T0" fmla="*/ 0 w 15"/>
                <a:gd name="T1" fmla="*/ 9 h 10"/>
                <a:gd name="T2" fmla="*/ 0 w 15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0">
                  <a:moveTo>
                    <a:pt x="0" y="9"/>
                  </a:moveTo>
                  <a:cubicBezTo>
                    <a:pt x="14" y="9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2" name="Freeform 1037"/>
            <p:cNvSpPr>
              <a:spLocks noChangeArrowheads="1"/>
            </p:cNvSpPr>
            <p:nvPr/>
          </p:nvSpPr>
          <p:spPr bwMode="auto">
            <a:xfrm>
              <a:off x="4087813" y="2709863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3" name="Freeform 1038"/>
            <p:cNvSpPr>
              <a:spLocks noChangeArrowheads="1"/>
            </p:cNvSpPr>
            <p:nvPr/>
          </p:nvSpPr>
          <p:spPr bwMode="auto">
            <a:xfrm>
              <a:off x="4005263" y="2695575"/>
              <a:ext cx="1587" cy="6350"/>
            </a:xfrm>
            <a:custGeom>
              <a:avLst/>
              <a:gdLst>
                <a:gd name="T0" fmla="*/ 0 w 6"/>
                <a:gd name="T1" fmla="*/ 8 h 18"/>
                <a:gd name="T2" fmla="*/ 0 w 6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8">
                  <a:moveTo>
                    <a:pt x="0" y="8"/>
                  </a:moveTo>
                  <a:cubicBezTo>
                    <a:pt x="5" y="17"/>
                    <a:pt x="2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4" name="Freeform 1039"/>
            <p:cNvSpPr>
              <a:spLocks noChangeArrowheads="1"/>
            </p:cNvSpPr>
            <p:nvPr/>
          </p:nvSpPr>
          <p:spPr bwMode="auto">
            <a:xfrm>
              <a:off x="4021138" y="2695575"/>
              <a:ext cx="4762" cy="4763"/>
            </a:xfrm>
            <a:custGeom>
              <a:avLst/>
              <a:gdLst>
                <a:gd name="T0" fmla="*/ 8 w 15"/>
                <a:gd name="T1" fmla="*/ 14 h 15"/>
                <a:gd name="T2" fmla="*/ 0 w 15"/>
                <a:gd name="T3" fmla="*/ 3 h 15"/>
                <a:gd name="T4" fmla="*/ 8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8" y="14"/>
                  </a:moveTo>
                  <a:cubicBezTo>
                    <a:pt x="14" y="9"/>
                    <a:pt x="6" y="0"/>
                    <a:pt x="0" y="3"/>
                  </a:cubicBezTo>
                  <a:cubicBezTo>
                    <a:pt x="3" y="9"/>
                    <a:pt x="3" y="14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5" name="Freeform 1040"/>
            <p:cNvSpPr>
              <a:spLocks noChangeArrowheads="1"/>
            </p:cNvSpPr>
            <p:nvPr/>
          </p:nvSpPr>
          <p:spPr bwMode="auto">
            <a:xfrm>
              <a:off x="3976688" y="2700338"/>
              <a:ext cx="4762" cy="3175"/>
            </a:xfrm>
            <a:custGeom>
              <a:avLst/>
              <a:gdLst>
                <a:gd name="T0" fmla="*/ 0 w 12"/>
                <a:gd name="T1" fmla="*/ 6 h 10"/>
                <a:gd name="T2" fmla="*/ 0 w 12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11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6" name="Freeform 1041"/>
            <p:cNvSpPr>
              <a:spLocks noChangeArrowheads="1"/>
            </p:cNvSpPr>
            <p:nvPr/>
          </p:nvSpPr>
          <p:spPr bwMode="auto">
            <a:xfrm>
              <a:off x="4083050" y="2711450"/>
              <a:ext cx="4763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7" name="Freeform 1042"/>
            <p:cNvSpPr>
              <a:spLocks noChangeArrowheads="1"/>
            </p:cNvSpPr>
            <p:nvPr/>
          </p:nvSpPr>
          <p:spPr bwMode="auto">
            <a:xfrm>
              <a:off x="3997325" y="2698750"/>
              <a:ext cx="4763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8" name="Freeform 1043"/>
            <p:cNvSpPr>
              <a:spLocks noChangeArrowheads="1"/>
            </p:cNvSpPr>
            <p:nvPr/>
          </p:nvSpPr>
          <p:spPr bwMode="auto">
            <a:xfrm>
              <a:off x="3979863" y="2701925"/>
              <a:ext cx="4762" cy="3175"/>
            </a:xfrm>
            <a:custGeom>
              <a:avLst/>
              <a:gdLst>
                <a:gd name="T0" fmla="*/ 3 w 12"/>
                <a:gd name="T1" fmla="*/ 8 h 9"/>
                <a:gd name="T2" fmla="*/ 3 w 12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3" y="8"/>
                  </a:moveTo>
                  <a:cubicBezTo>
                    <a:pt x="11" y="8"/>
                    <a:pt x="0" y="0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9" name="Freeform 1044"/>
            <p:cNvSpPr>
              <a:spLocks noChangeArrowheads="1"/>
            </p:cNvSpPr>
            <p:nvPr/>
          </p:nvSpPr>
          <p:spPr bwMode="auto">
            <a:xfrm>
              <a:off x="3994150" y="2701925"/>
              <a:ext cx="3175" cy="3175"/>
            </a:xfrm>
            <a:custGeom>
              <a:avLst/>
              <a:gdLst>
                <a:gd name="T0" fmla="*/ 8 w 9"/>
                <a:gd name="T1" fmla="*/ 0 h 9"/>
                <a:gd name="T2" fmla="*/ 0 w 9"/>
                <a:gd name="T3" fmla="*/ 8 h 9"/>
                <a:gd name="T4" fmla="*/ 8 w 9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0"/>
                  </a:moveTo>
                  <a:cubicBezTo>
                    <a:pt x="0" y="0"/>
                    <a:pt x="0" y="6"/>
                    <a:pt x="0" y="8"/>
                  </a:cubicBezTo>
                  <a:cubicBezTo>
                    <a:pt x="5" y="8"/>
                    <a:pt x="8" y="6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0" name="Freeform 1045"/>
            <p:cNvSpPr>
              <a:spLocks noChangeArrowheads="1"/>
            </p:cNvSpPr>
            <p:nvPr/>
          </p:nvSpPr>
          <p:spPr bwMode="auto">
            <a:xfrm>
              <a:off x="4029075" y="2695575"/>
              <a:ext cx="1588" cy="6350"/>
            </a:xfrm>
            <a:custGeom>
              <a:avLst/>
              <a:gdLst>
                <a:gd name="T0" fmla="*/ 0 w 6"/>
                <a:gd name="T1" fmla="*/ 8 h 18"/>
                <a:gd name="T2" fmla="*/ 0 w 6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8">
                  <a:moveTo>
                    <a:pt x="0" y="8"/>
                  </a:moveTo>
                  <a:cubicBezTo>
                    <a:pt x="5" y="17"/>
                    <a:pt x="2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1" name="Freeform 1046"/>
            <p:cNvSpPr>
              <a:spLocks noChangeArrowheads="1"/>
            </p:cNvSpPr>
            <p:nvPr/>
          </p:nvSpPr>
          <p:spPr bwMode="auto">
            <a:xfrm>
              <a:off x="3967163" y="2705100"/>
              <a:ext cx="4762" cy="6350"/>
            </a:xfrm>
            <a:custGeom>
              <a:avLst/>
              <a:gdLst>
                <a:gd name="T0" fmla="*/ 14 w 15"/>
                <a:gd name="T1" fmla="*/ 9 h 18"/>
                <a:gd name="T2" fmla="*/ 14 w 15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14" y="9"/>
                  </a:moveTo>
                  <a:cubicBezTo>
                    <a:pt x="0" y="0"/>
                    <a:pt x="6" y="17"/>
                    <a:pt x="1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2" name="Freeform 1047"/>
            <p:cNvSpPr>
              <a:spLocks noChangeArrowheads="1"/>
            </p:cNvSpPr>
            <p:nvPr/>
          </p:nvSpPr>
          <p:spPr bwMode="auto">
            <a:xfrm>
              <a:off x="4003675" y="2701925"/>
              <a:ext cx="4763" cy="3175"/>
            </a:xfrm>
            <a:custGeom>
              <a:avLst/>
              <a:gdLst>
                <a:gd name="T0" fmla="*/ 0 w 12"/>
                <a:gd name="T1" fmla="*/ 3 h 9"/>
                <a:gd name="T2" fmla="*/ 11 w 12"/>
                <a:gd name="T3" fmla="*/ 8 h 9"/>
                <a:gd name="T4" fmla="*/ 0 w 12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0" y="3"/>
                  </a:moveTo>
                  <a:cubicBezTo>
                    <a:pt x="0" y="8"/>
                    <a:pt x="6" y="8"/>
                    <a:pt x="11" y="8"/>
                  </a:cubicBezTo>
                  <a:cubicBezTo>
                    <a:pt x="11" y="3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3" name="Freeform 1048"/>
            <p:cNvSpPr>
              <a:spLocks noChangeArrowheads="1"/>
            </p:cNvSpPr>
            <p:nvPr/>
          </p:nvSpPr>
          <p:spPr bwMode="auto">
            <a:xfrm>
              <a:off x="3962400" y="2708275"/>
              <a:ext cx="3175" cy="7938"/>
            </a:xfrm>
            <a:custGeom>
              <a:avLst/>
              <a:gdLst>
                <a:gd name="T0" fmla="*/ 0 w 10"/>
                <a:gd name="T1" fmla="*/ 11 h 21"/>
                <a:gd name="T2" fmla="*/ 0 w 10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11"/>
                  </a:moveTo>
                  <a:cubicBezTo>
                    <a:pt x="9" y="20"/>
                    <a:pt x="3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4" name="Freeform 1049"/>
            <p:cNvSpPr>
              <a:spLocks noChangeArrowheads="1"/>
            </p:cNvSpPr>
            <p:nvPr/>
          </p:nvSpPr>
          <p:spPr bwMode="auto">
            <a:xfrm>
              <a:off x="3995738" y="2705100"/>
              <a:ext cx="4762" cy="3175"/>
            </a:xfrm>
            <a:custGeom>
              <a:avLst/>
              <a:gdLst>
                <a:gd name="T0" fmla="*/ 0 w 13"/>
                <a:gd name="T1" fmla="*/ 9 h 10"/>
                <a:gd name="T2" fmla="*/ 0 w 13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9"/>
                  </a:moveTo>
                  <a:cubicBezTo>
                    <a:pt x="12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5" name="Freeform 1050"/>
            <p:cNvSpPr>
              <a:spLocks noChangeArrowheads="1"/>
            </p:cNvSpPr>
            <p:nvPr/>
          </p:nvSpPr>
          <p:spPr bwMode="auto">
            <a:xfrm>
              <a:off x="3963988" y="2714625"/>
              <a:ext cx="4762" cy="3175"/>
            </a:xfrm>
            <a:custGeom>
              <a:avLst/>
              <a:gdLst>
                <a:gd name="T0" fmla="*/ 14 w 15"/>
                <a:gd name="T1" fmla="*/ 3 h 9"/>
                <a:gd name="T2" fmla="*/ 0 w 15"/>
                <a:gd name="T3" fmla="*/ 8 h 9"/>
                <a:gd name="T4" fmla="*/ 14 w 15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3"/>
                  </a:moveTo>
                  <a:cubicBezTo>
                    <a:pt x="8" y="0"/>
                    <a:pt x="3" y="3"/>
                    <a:pt x="0" y="8"/>
                  </a:cubicBezTo>
                  <a:cubicBezTo>
                    <a:pt x="3" y="5"/>
                    <a:pt x="14" y="8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6" name="Freeform 1051"/>
            <p:cNvSpPr>
              <a:spLocks noChangeArrowheads="1"/>
            </p:cNvSpPr>
            <p:nvPr/>
          </p:nvSpPr>
          <p:spPr bwMode="auto">
            <a:xfrm>
              <a:off x="4084638" y="2698750"/>
              <a:ext cx="7937" cy="4763"/>
            </a:xfrm>
            <a:custGeom>
              <a:avLst/>
              <a:gdLst>
                <a:gd name="T0" fmla="*/ 3 w 20"/>
                <a:gd name="T1" fmla="*/ 11 h 12"/>
                <a:gd name="T2" fmla="*/ 11 w 20"/>
                <a:gd name="T3" fmla="*/ 0 h 12"/>
                <a:gd name="T4" fmla="*/ 3 w 20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2">
                  <a:moveTo>
                    <a:pt x="3" y="11"/>
                  </a:moveTo>
                  <a:cubicBezTo>
                    <a:pt x="5" y="8"/>
                    <a:pt x="19" y="2"/>
                    <a:pt x="11" y="0"/>
                  </a:cubicBezTo>
                  <a:cubicBezTo>
                    <a:pt x="11" y="5"/>
                    <a:pt x="0" y="2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7" name="Freeform 1052"/>
            <p:cNvSpPr>
              <a:spLocks noChangeArrowheads="1"/>
            </p:cNvSpPr>
            <p:nvPr/>
          </p:nvSpPr>
          <p:spPr bwMode="auto">
            <a:xfrm>
              <a:off x="4071938" y="2705100"/>
              <a:ext cx="4762" cy="4763"/>
            </a:xfrm>
            <a:custGeom>
              <a:avLst/>
              <a:gdLst>
                <a:gd name="T0" fmla="*/ 0 w 15"/>
                <a:gd name="T1" fmla="*/ 9 h 13"/>
                <a:gd name="T2" fmla="*/ 9 w 15"/>
                <a:gd name="T3" fmla="*/ 0 h 13"/>
                <a:gd name="T4" fmla="*/ 0 w 15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0" y="9"/>
                  </a:moveTo>
                  <a:cubicBezTo>
                    <a:pt x="9" y="12"/>
                    <a:pt x="14" y="0"/>
                    <a:pt x="9" y="0"/>
                  </a:cubicBezTo>
                  <a:cubicBezTo>
                    <a:pt x="11" y="9"/>
                    <a:pt x="0" y="3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8" name="Freeform 1053"/>
            <p:cNvSpPr>
              <a:spLocks noChangeArrowheads="1"/>
            </p:cNvSpPr>
            <p:nvPr/>
          </p:nvSpPr>
          <p:spPr bwMode="auto">
            <a:xfrm>
              <a:off x="4084638" y="2698750"/>
              <a:ext cx="4762" cy="7938"/>
            </a:xfrm>
            <a:custGeom>
              <a:avLst/>
              <a:gdLst>
                <a:gd name="T0" fmla="*/ 11 w 12"/>
                <a:gd name="T1" fmla="*/ 11 h 20"/>
                <a:gd name="T2" fmla="*/ 11 w 12"/>
                <a:gd name="T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0">
                  <a:moveTo>
                    <a:pt x="11" y="11"/>
                  </a:moveTo>
                  <a:cubicBezTo>
                    <a:pt x="0" y="0"/>
                    <a:pt x="8" y="19"/>
                    <a:pt x="1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9" name="Freeform 1054"/>
            <p:cNvSpPr>
              <a:spLocks noChangeArrowheads="1"/>
            </p:cNvSpPr>
            <p:nvPr/>
          </p:nvSpPr>
          <p:spPr bwMode="auto">
            <a:xfrm>
              <a:off x="4086225" y="2708275"/>
              <a:ext cx="3175" cy="4763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11 h 15"/>
                <a:gd name="T4" fmla="*/ 0 w 10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0" y="3"/>
                    <a:pt x="3" y="11"/>
                    <a:pt x="0" y="11"/>
                  </a:cubicBezTo>
                  <a:cubicBezTo>
                    <a:pt x="9" y="14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0" name="Freeform 1055"/>
            <p:cNvSpPr>
              <a:spLocks noChangeArrowheads="1"/>
            </p:cNvSpPr>
            <p:nvPr/>
          </p:nvSpPr>
          <p:spPr bwMode="auto">
            <a:xfrm>
              <a:off x="4071938" y="2708275"/>
              <a:ext cx="3175" cy="4763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3" y="14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1" name="Freeform 1056"/>
            <p:cNvSpPr>
              <a:spLocks noChangeArrowheads="1"/>
            </p:cNvSpPr>
            <p:nvPr/>
          </p:nvSpPr>
          <p:spPr bwMode="auto">
            <a:xfrm>
              <a:off x="4064000" y="2700338"/>
              <a:ext cx="3175" cy="4762"/>
            </a:xfrm>
            <a:custGeom>
              <a:avLst/>
              <a:gdLst>
                <a:gd name="T0" fmla="*/ 9 w 10"/>
                <a:gd name="T1" fmla="*/ 6 h 13"/>
                <a:gd name="T2" fmla="*/ 6 w 10"/>
                <a:gd name="T3" fmla="*/ 0 h 13"/>
                <a:gd name="T4" fmla="*/ 0 w 10"/>
                <a:gd name="T5" fmla="*/ 9 h 13"/>
                <a:gd name="T6" fmla="*/ 3 w 10"/>
                <a:gd name="T7" fmla="*/ 12 h 13"/>
                <a:gd name="T8" fmla="*/ 9 w 10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3">
                  <a:moveTo>
                    <a:pt x="9" y="6"/>
                  </a:moveTo>
                  <a:lnTo>
                    <a:pt x="6" y="0"/>
                  </a:lnTo>
                  <a:cubicBezTo>
                    <a:pt x="3" y="0"/>
                    <a:pt x="0" y="3"/>
                    <a:pt x="0" y="9"/>
                  </a:cubicBezTo>
                  <a:cubicBezTo>
                    <a:pt x="0" y="9"/>
                    <a:pt x="0" y="12"/>
                    <a:pt x="3" y="12"/>
                  </a:cubicBezTo>
                  <a:lnTo>
                    <a:pt x="9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2" name="Freeform 1057"/>
            <p:cNvSpPr>
              <a:spLocks noChangeArrowheads="1"/>
            </p:cNvSpPr>
            <p:nvPr/>
          </p:nvSpPr>
          <p:spPr bwMode="auto">
            <a:xfrm>
              <a:off x="4044950" y="2700338"/>
              <a:ext cx="3175" cy="4762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3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3" name="Freeform 1058"/>
            <p:cNvSpPr>
              <a:spLocks noChangeArrowheads="1"/>
            </p:cNvSpPr>
            <p:nvPr/>
          </p:nvSpPr>
          <p:spPr bwMode="auto">
            <a:xfrm>
              <a:off x="4043363" y="2705100"/>
              <a:ext cx="3175" cy="4763"/>
            </a:xfrm>
            <a:custGeom>
              <a:avLst/>
              <a:gdLst>
                <a:gd name="T0" fmla="*/ 0 w 7"/>
                <a:gd name="T1" fmla="*/ 2 h 15"/>
                <a:gd name="T2" fmla="*/ 0 w 7"/>
                <a:gd name="T3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0" y="2"/>
                  </a:moveTo>
                  <a:cubicBezTo>
                    <a:pt x="3" y="14"/>
                    <a:pt x="6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4" name="Freeform 1059"/>
            <p:cNvSpPr>
              <a:spLocks noChangeArrowheads="1"/>
            </p:cNvSpPr>
            <p:nvPr/>
          </p:nvSpPr>
          <p:spPr bwMode="auto">
            <a:xfrm>
              <a:off x="4029075" y="2695575"/>
              <a:ext cx="4763" cy="4763"/>
            </a:xfrm>
            <a:custGeom>
              <a:avLst/>
              <a:gdLst>
                <a:gd name="T0" fmla="*/ 9 w 13"/>
                <a:gd name="T1" fmla="*/ 14 h 15"/>
                <a:gd name="T2" fmla="*/ 9 w 13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9" y="14"/>
                  </a:moveTo>
                  <a:cubicBezTo>
                    <a:pt x="12" y="0"/>
                    <a:pt x="0" y="11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5" name="Freeform 1060"/>
            <p:cNvSpPr>
              <a:spLocks noChangeArrowheads="1"/>
            </p:cNvSpPr>
            <p:nvPr/>
          </p:nvSpPr>
          <p:spPr bwMode="auto">
            <a:xfrm>
              <a:off x="4003675" y="2697163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5 h 12"/>
                <a:gd name="T4" fmla="*/ 3 w 9"/>
                <a:gd name="T5" fmla="*/ 11 h 12"/>
                <a:gd name="T6" fmla="*/ 0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0" y="5"/>
                    <a:pt x="0" y="5"/>
                    <a:pt x="0" y="5"/>
                  </a:cubicBezTo>
                  <a:lnTo>
                    <a:pt x="3" y="11"/>
                  </a:lnTo>
                  <a:cubicBezTo>
                    <a:pt x="8" y="11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6" name="Freeform 1061"/>
            <p:cNvSpPr>
              <a:spLocks noChangeArrowheads="1"/>
            </p:cNvSpPr>
            <p:nvPr/>
          </p:nvSpPr>
          <p:spPr bwMode="auto">
            <a:xfrm>
              <a:off x="4029075" y="2705100"/>
              <a:ext cx="3175" cy="3175"/>
            </a:xfrm>
            <a:custGeom>
              <a:avLst/>
              <a:gdLst>
                <a:gd name="T0" fmla="*/ 0 w 9"/>
                <a:gd name="T1" fmla="*/ 0 h 7"/>
                <a:gd name="T2" fmla="*/ 8 w 9"/>
                <a:gd name="T3" fmla="*/ 6 h 7"/>
                <a:gd name="T4" fmla="*/ 0 w 9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0" y="0"/>
                  </a:moveTo>
                  <a:cubicBezTo>
                    <a:pt x="0" y="3"/>
                    <a:pt x="5" y="6"/>
                    <a:pt x="8" y="6"/>
                  </a:cubicBezTo>
                  <a:cubicBezTo>
                    <a:pt x="5" y="3"/>
                    <a:pt x="2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7" name="Freeform 1062"/>
            <p:cNvSpPr>
              <a:spLocks noChangeArrowheads="1"/>
            </p:cNvSpPr>
            <p:nvPr/>
          </p:nvSpPr>
          <p:spPr bwMode="auto">
            <a:xfrm>
              <a:off x="3997325" y="2706688"/>
              <a:ext cx="4763" cy="4762"/>
            </a:xfrm>
            <a:custGeom>
              <a:avLst/>
              <a:gdLst>
                <a:gd name="T0" fmla="*/ 14 w 15"/>
                <a:gd name="T1" fmla="*/ 0 h 12"/>
                <a:gd name="T2" fmla="*/ 14 w 15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2">
                  <a:moveTo>
                    <a:pt x="14" y="0"/>
                  </a:moveTo>
                  <a:cubicBezTo>
                    <a:pt x="0" y="6"/>
                    <a:pt x="14" y="11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8" name="Freeform 1063"/>
            <p:cNvSpPr>
              <a:spLocks noChangeArrowheads="1"/>
            </p:cNvSpPr>
            <p:nvPr/>
          </p:nvSpPr>
          <p:spPr bwMode="auto">
            <a:xfrm>
              <a:off x="3998913" y="2705100"/>
              <a:ext cx="3175" cy="4763"/>
            </a:xfrm>
            <a:custGeom>
              <a:avLst/>
              <a:gdLst>
                <a:gd name="T0" fmla="*/ 0 w 7"/>
                <a:gd name="T1" fmla="*/ 3 h 13"/>
                <a:gd name="T2" fmla="*/ 0 w 7"/>
                <a:gd name="T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3">
                  <a:moveTo>
                    <a:pt x="0" y="3"/>
                  </a:moveTo>
                  <a:cubicBezTo>
                    <a:pt x="3" y="12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9" name="Freeform 1064"/>
            <p:cNvSpPr>
              <a:spLocks noChangeArrowheads="1"/>
            </p:cNvSpPr>
            <p:nvPr/>
          </p:nvSpPr>
          <p:spPr bwMode="auto">
            <a:xfrm>
              <a:off x="4024313" y="2708275"/>
              <a:ext cx="3175" cy="4763"/>
            </a:xfrm>
            <a:custGeom>
              <a:avLst/>
              <a:gdLst>
                <a:gd name="T0" fmla="*/ 0 w 7"/>
                <a:gd name="T1" fmla="*/ 3 h 15"/>
                <a:gd name="T2" fmla="*/ 0 w 7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cubicBezTo>
                    <a:pt x="0" y="14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0" name="Freeform 1065"/>
            <p:cNvSpPr>
              <a:spLocks noChangeArrowheads="1"/>
            </p:cNvSpPr>
            <p:nvPr/>
          </p:nvSpPr>
          <p:spPr bwMode="auto">
            <a:xfrm>
              <a:off x="4021138" y="2709863"/>
              <a:ext cx="1587" cy="4762"/>
            </a:xfrm>
            <a:custGeom>
              <a:avLst/>
              <a:gdLst>
                <a:gd name="T0" fmla="*/ 0 w 6"/>
                <a:gd name="T1" fmla="*/ 2 h 15"/>
                <a:gd name="T2" fmla="*/ 0 w 6"/>
                <a:gd name="T3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5">
                  <a:moveTo>
                    <a:pt x="0" y="2"/>
                  </a:moveTo>
                  <a:cubicBezTo>
                    <a:pt x="3" y="14"/>
                    <a:pt x="5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1" name="Freeform 1066"/>
            <p:cNvSpPr>
              <a:spLocks noChangeArrowheads="1"/>
            </p:cNvSpPr>
            <p:nvPr/>
          </p:nvSpPr>
          <p:spPr bwMode="auto">
            <a:xfrm>
              <a:off x="4014788" y="2705100"/>
              <a:ext cx="3175" cy="4763"/>
            </a:xfrm>
            <a:custGeom>
              <a:avLst/>
              <a:gdLst>
                <a:gd name="T0" fmla="*/ 3 w 9"/>
                <a:gd name="T1" fmla="*/ 12 h 13"/>
                <a:gd name="T2" fmla="*/ 6 w 9"/>
                <a:gd name="T3" fmla="*/ 0 h 13"/>
                <a:gd name="T4" fmla="*/ 3 w 9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3">
                  <a:moveTo>
                    <a:pt x="3" y="12"/>
                  </a:moveTo>
                  <a:cubicBezTo>
                    <a:pt x="8" y="9"/>
                    <a:pt x="8" y="6"/>
                    <a:pt x="6" y="0"/>
                  </a:cubicBezTo>
                  <a:cubicBezTo>
                    <a:pt x="0" y="3"/>
                    <a:pt x="0" y="6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2" name="Freeform 1067"/>
            <p:cNvSpPr>
              <a:spLocks noChangeArrowheads="1"/>
            </p:cNvSpPr>
            <p:nvPr/>
          </p:nvSpPr>
          <p:spPr bwMode="auto">
            <a:xfrm>
              <a:off x="3995738" y="2713038"/>
              <a:ext cx="9525" cy="4762"/>
            </a:xfrm>
            <a:custGeom>
              <a:avLst/>
              <a:gdLst>
                <a:gd name="T0" fmla="*/ 20 w 27"/>
                <a:gd name="T1" fmla="*/ 0 h 12"/>
                <a:gd name="T2" fmla="*/ 9 w 27"/>
                <a:gd name="T3" fmla="*/ 8 h 12"/>
                <a:gd name="T4" fmla="*/ 20 w 2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12">
                  <a:moveTo>
                    <a:pt x="20" y="0"/>
                  </a:moveTo>
                  <a:cubicBezTo>
                    <a:pt x="17" y="0"/>
                    <a:pt x="0" y="3"/>
                    <a:pt x="9" y="8"/>
                  </a:cubicBezTo>
                  <a:cubicBezTo>
                    <a:pt x="9" y="11"/>
                    <a:pt x="26" y="6"/>
                    <a:pt x="2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3" name="Freeform 1068"/>
            <p:cNvSpPr>
              <a:spLocks noChangeArrowheads="1"/>
            </p:cNvSpPr>
            <p:nvPr/>
          </p:nvSpPr>
          <p:spPr bwMode="auto">
            <a:xfrm>
              <a:off x="3992563" y="2724150"/>
              <a:ext cx="4762" cy="1588"/>
            </a:xfrm>
            <a:custGeom>
              <a:avLst/>
              <a:gdLst>
                <a:gd name="T0" fmla="*/ 6 w 12"/>
                <a:gd name="T1" fmla="*/ 0 h 4"/>
                <a:gd name="T2" fmla="*/ 0 w 12"/>
                <a:gd name="T3" fmla="*/ 3 h 4"/>
                <a:gd name="T4" fmla="*/ 6 w 12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4">
                  <a:moveTo>
                    <a:pt x="6" y="0"/>
                  </a:moveTo>
                  <a:cubicBezTo>
                    <a:pt x="11" y="0"/>
                    <a:pt x="3" y="3"/>
                    <a:pt x="0" y="3"/>
                  </a:cubicBezTo>
                  <a:cubicBezTo>
                    <a:pt x="0" y="3"/>
                    <a:pt x="3" y="3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4" name="Freeform 1069"/>
            <p:cNvSpPr>
              <a:spLocks noChangeArrowheads="1"/>
            </p:cNvSpPr>
            <p:nvPr/>
          </p:nvSpPr>
          <p:spPr bwMode="auto">
            <a:xfrm>
              <a:off x="3987800" y="2733675"/>
              <a:ext cx="1588" cy="4763"/>
            </a:xfrm>
            <a:custGeom>
              <a:avLst/>
              <a:gdLst>
                <a:gd name="T0" fmla="*/ 0 w 6"/>
                <a:gd name="T1" fmla="*/ 3 h 13"/>
                <a:gd name="T2" fmla="*/ 0 w 6"/>
                <a:gd name="T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3">
                  <a:moveTo>
                    <a:pt x="0" y="3"/>
                  </a:moveTo>
                  <a:cubicBezTo>
                    <a:pt x="2" y="12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5" name="Freeform 1070"/>
            <p:cNvSpPr>
              <a:spLocks noChangeArrowheads="1"/>
            </p:cNvSpPr>
            <p:nvPr/>
          </p:nvSpPr>
          <p:spPr bwMode="auto">
            <a:xfrm>
              <a:off x="4081463" y="2709863"/>
              <a:ext cx="4762" cy="6350"/>
            </a:xfrm>
            <a:custGeom>
              <a:avLst/>
              <a:gdLst>
                <a:gd name="T0" fmla="*/ 6 w 15"/>
                <a:gd name="T1" fmla="*/ 9 h 16"/>
                <a:gd name="T2" fmla="*/ 0 w 15"/>
                <a:gd name="T3" fmla="*/ 6 h 16"/>
                <a:gd name="T4" fmla="*/ 6 w 15"/>
                <a:gd name="T5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6" y="9"/>
                  </a:moveTo>
                  <a:cubicBezTo>
                    <a:pt x="3" y="6"/>
                    <a:pt x="0" y="0"/>
                    <a:pt x="0" y="6"/>
                  </a:cubicBezTo>
                  <a:cubicBezTo>
                    <a:pt x="0" y="15"/>
                    <a:pt x="14" y="9"/>
                    <a:pt x="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6" name="Freeform 1071"/>
            <p:cNvSpPr>
              <a:spLocks noChangeArrowheads="1"/>
            </p:cNvSpPr>
            <p:nvPr/>
          </p:nvSpPr>
          <p:spPr bwMode="auto">
            <a:xfrm>
              <a:off x="3992563" y="2697163"/>
              <a:ext cx="4762" cy="6350"/>
            </a:xfrm>
            <a:custGeom>
              <a:avLst/>
              <a:gdLst>
                <a:gd name="T0" fmla="*/ 8 w 15"/>
                <a:gd name="T1" fmla="*/ 17 h 18"/>
                <a:gd name="T2" fmla="*/ 8 w 15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8" y="17"/>
                  </a:moveTo>
                  <a:cubicBezTo>
                    <a:pt x="14" y="0"/>
                    <a:pt x="0" y="11"/>
                    <a:pt x="8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7" name="Freeform 1072"/>
            <p:cNvSpPr>
              <a:spLocks noChangeArrowheads="1"/>
            </p:cNvSpPr>
            <p:nvPr/>
          </p:nvSpPr>
          <p:spPr bwMode="auto">
            <a:xfrm>
              <a:off x="4300538" y="2638425"/>
              <a:ext cx="4762" cy="3175"/>
            </a:xfrm>
            <a:custGeom>
              <a:avLst/>
              <a:gdLst>
                <a:gd name="T0" fmla="*/ 0 w 12"/>
                <a:gd name="T1" fmla="*/ 6 h 9"/>
                <a:gd name="T2" fmla="*/ 0 w 12"/>
                <a:gd name="T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6"/>
                  </a:moveTo>
                  <a:cubicBezTo>
                    <a:pt x="11" y="8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8" name="Freeform 1073"/>
            <p:cNvSpPr>
              <a:spLocks noChangeArrowheads="1"/>
            </p:cNvSpPr>
            <p:nvPr/>
          </p:nvSpPr>
          <p:spPr bwMode="auto">
            <a:xfrm>
              <a:off x="4311650" y="2636838"/>
              <a:ext cx="3175" cy="7937"/>
            </a:xfrm>
            <a:custGeom>
              <a:avLst/>
              <a:gdLst>
                <a:gd name="T0" fmla="*/ 0 w 7"/>
                <a:gd name="T1" fmla="*/ 12 h 21"/>
                <a:gd name="T2" fmla="*/ 0 w 7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1">
                  <a:moveTo>
                    <a:pt x="0" y="12"/>
                  </a:moveTo>
                  <a:cubicBezTo>
                    <a:pt x="6" y="20"/>
                    <a:pt x="6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9" name="Freeform 1074"/>
            <p:cNvSpPr>
              <a:spLocks noChangeArrowheads="1"/>
            </p:cNvSpPr>
            <p:nvPr/>
          </p:nvSpPr>
          <p:spPr bwMode="auto">
            <a:xfrm>
              <a:off x="4324350" y="2641600"/>
              <a:ext cx="3175" cy="3175"/>
            </a:xfrm>
            <a:custGeom>
              <a:avLst/>
              <a:gdLst>
                <a:gd name="T0" fmla="*/ 8 w 9"/>
                <a:gd name="T1" fmla="*/ 6 h 10"/>
                <a:gd name="T2" fmla="*/ 2 w 9"/>
                <a:gd name="T3" fmla="*/ 0 h 10"/>
                <a:gd name="T4" fmla="*/ 8 w 9"/>
                <a:gd name="T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8" y="6"/>
                  </a:moveTo>
                  <a:cubicBezTo>
                    <a:pt x="8" y="3"/>
                    <a:pt x="5" y="0"/>
                    <a:pt x="2" y="0"/>
                  </a:cubicBezTo>
                  <a:cubicBezTo>
                    <a:pt x="0" y="3"/>
                    <a:pt x="2" y="9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0" name="Freeform 1075"/>
            <p:cNvSpPr>
              <a:spLocks noChangeArrowheads="1"/>
            </p:cNvSpPr>
            <p:nvPr/>
          </p:nvSpPr>
          <p:spPr bwMode="auto">
            <a:xfrm>
              <a:off x="4335463" y="2638425"/>
              <a:ext cx="4762" cy="3175"/>
            </a:xfrm>
            <a:custGeom>
              <a:avLst/>
              <a:gdLst>
                <a:gd name="T0" fmla="*/ 0 w 15"/>
                <a:gd name="T1" fmla="*/ 6 h 9"/>
                <a:gd name="T2" fmla="*/ 0 w 15"/>
                <a:gd name="T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0" y="6"/>
                  </a:moveTo>
                  <a:cubicBezTo>
                    <a:pt x="14" y="8"/>
                    <a:pt x="2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1" name="Freeform 1076"/>
            <p:cNvSpPr>
              <a:spLocks noChangeArrowheads="1"/>
            </p:cNvSpPr>
            <p:nvPr/>
          </p:nvSpPr>
          <p:spPr bwMode="auto">
            <a:xfrm>
              <a:off x="4341813" y="2638425"/>
              <a:ext cx="3175" cy="7938"/>
            </a:xfrm>
            <a:custGeom>
              <a:avLst/>
              <a:gdLst>
                <a:gd name="T0" fmla="*/ 0 w 7"/>
                <a:gd name="T1" fmla="*/ 8 h 21"/>
                <a:gd name="T2" fmla="*/ 0 w 7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1">
                  <a:moveTo>
                    <a:pt x="0" y="8"/>
                  </a:moveTo>
                  <a:cubicBezTo>
                    <a:pt x="6" y="20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2" name="Freeform 1077"/>
            <p:cNvSpPr>
              <a:spLocks noChangeArrowheads="1"/>
            </p:cNvSpPr>
            <p:nvPr/>
          </p:nvSpPr>
          <p:spPr bwMode="auto">
            <a:xfrm>
              <a:off x="4357688" y="2638425"/>
              <a:ext cx="4762" cy="4763"/>
            </a:xfrm>
            <a:custGeom>
              <a:avLst/>
              <a:gdLst>
                <a:gd name="T0" fmla="*/ 8 w 15"/>
                <a:gd name="T1" fmla="*/ 14 h 15"/>
                <a:gd name="T2" fmla="*/ 0 w 15"/>
                <a:gd name="T3" fmla="*/ 3 h 15"/>
                <a:gd name="T4" fmla="*/ 8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8" y="14"/>
                  </a:moveTo>
                  <a:cubicBezTo>
                    <a:pt x="14" y="8"/>
                    <a:pt x="5" y="0"/>
                    <a:pt x="0" y="3"/>
                  </a:cubicBezTo>
                  <a:cubicBezTo>
                    <a:pt x="3" y="8"/>
                    <a:pt x="3" y="11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3" name="Freeform 1078"/>
            <p:cNvSpPr>
              <a:spLocks noChangeArrowheads="1"/>
            </p:cNvSpPr>
            <p:nvPr/>
          </p:nvSpPr>
          <p:spPr bwMode="auto">
            <a:xfrm>
              <a:off x="4313238" y="2644775"/>
              <a:ext cx="4762" cy="3175"/>
            </a:xfrm>
            <a:custGeom>
              <a:avLst/>
              <a:gdLst>
                <a:gd name="T0" fmla="*/ 0 w 13"/>
                <a:gd name="T1" fmla="*/ 9 h 10"/>
                <a:gd name="T2" fmla="*/ 0 w 13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9"/>
                  </a:moveTo>
                  <a:cubicBezTo>
                    <a:pt x="12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4" name="Freeform 1079"/>
            <p:cNvSpPr>
              <a:spLocks noChangeArrowheads="1"/>
            </p:cNvSpPr>
            <p:nvPr/>
          </p:nvSpPr>
          <p:spPr bwMode="auto">
            <a:xfrm>
              <a:off x="4298950" y="264953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5" name="Freeform 1080"/>
            <p:cNvSpPr>
              <a:spLocks noChangeArrowheads="1"/>
            </p:cNvSpPr>
            <p:nvPr/>
          </p:nvSpPr>
          <p:spPr bwMode="auto">
            <a:xfrm>
              <a:off x="4333875" y="2643188"/>
              <a:ext cx="4763" cy="3175"/>
            </a:xfrm>
            <a:custGeom>
              <a:avLst/>
              <a:gdLst>
                <a:gd name="T0" fmla="*/ 0 w 12"/>
                <a:gd name="T1" fmla="*/ 6 h 10"/>
                <a:gd name="T2" fmla="*/ 0 w 12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11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6" name="Freeform 1081"/>
            <p:cNvSpPr>
              <a:spLocks noChangeArrowheads="1"/>
            </p:cNvSpPr>
            <p:nvPr/>
          </p:nvSpPr>
          <p:spPr bwMode="auto">
            <a:xfrm>
              <a:off x="4318000" y="2646363"/>
              <a:ext cx="4763" cy="3175"/>
            </a:xfrm>
            <a:custGeom>
              <a:avLst/>
              <a:gdLst>
                <a:gd name="T0" fmla="*/ 0 w 12"/>
                <a:gd name="T1" fmla="*/ 5 h 9"/>
                <a:gd name="T2" fmla="*/ 0 w 12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11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7" name="Freeform 1082"/>
            <p:cNvSpPr>
              <a:spLocks noChangeArrowheads="1"/>
            </p:cNvSpPr>
            <p:nvPr/>
          </p:nvSpPr>
          <p:spPr bwMode="auto">
            <a:xfrm>
              <a:off x="4330700" y="2644775"/>
              <a:ext cx="4763" cy="4763"/>
            </a:xfrm>
            <a:custGeom>
              <a:avLst/>
              <a:gdLst>
                <a:gd name="T0" fmla="*/ 8 w 12"/>
                <a:gd name="T1" fmla="*/ 0 h 12"/>
                <a:gd name="T2" fmla="*/ 0 w 12"/>
                <a:gd name="T3" fmla="*/ 8 h 12"/>
                <a:gd name="T4" fmla="*/ 8 w 12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cubicBezTo>
                    <a:pt x="0" y="0"/>
                    <a:pt x="0" y="6"/>
                    <a:pt x="0" y="8"/>
                  </a:cubicBezTo>
                  <a:cubicBezTo>
                    <a:pt x="5" y="11"/>
                    <a:pt x="11" y="8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8" name="Freeform 1083"/>
            <p:cNvSpPr>
              <a:spLocks noChangeArrowheads="1"/>
            </p:cNvSpPr>
            <p:nvPr/>
          </p:nvSpPr>
          <p:spPr bwMode="auto">
            <a:xfrm>
              <a:off x="4365625" y="2638425"/>
              <a:ext cx="3175" cy="6350"/>
            </a:xfrm>
            <a:custGeom>
              <a:avLst/>
              <a:gdLst>
                <a:gd name="T0" fmla="*/ 0 w 7"/>
                <a:gd name="T1" fmla="*/ 8 h 18"/>
                <a:gd name="T2" fmla="*/ 0 w 7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8"/>
                  </a:moveTo>
                  <a:cubicBezTo>
                    <a:pt x="6" y="17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9" name="Freeform 1084"/>
            <p:cNvSpPr>
              <a:spLocks noChangeArrowheads="1"/>
            </p:cNvSpPr>
            <p:nvPr/>
          </p:nvSpPr>
          <p:spPr bwMode="auto">
            <a:xfrm>
              <a:off x="4297363" y="2652713"/>
              <a:ext cx="1587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0" name="Freeform 1085"/>
            <p:cNvSpPr>
              <a:spLocks noChangeArrowheads="1"/>
            </p:cNvSpPr>
            <p:nvPr/>
          </p:nvSpPr>
          <p:spPr bwMode="auto">
            <a:xfrm>
              <a:off x="4305300" y="2647950"/>
              <a:ext cx="4763" cy="7938"/>
            </a:xfrm>
            <a:custGeom>
              <a:avLst/>
              <a:gdLst>
                <a:gd name="T0" fmla="*/ 14 w 15"/>
                <a:gd name="T1" fmla="*/ 9 h 21"/>
                <a:gd name="T2" fmla="*/ 14 w 15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14" y="9"/>
                  </a:moveTo>
                  <a:cubicBezTo>
                    <a:pt x="0" y="0"/>
                    <a:pt x="6" y="20"/>
                    <a:pt x="1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1" name="Freeform 1086"/>
            <p:cNvSpPr>
              <a:spLocks noChangeArrowheads="1"/>
            </p:cNvSpPr>
            <p:nvPr/>
          </p:nvSpPr>
          <p:spPr bwMode="auto">
            <a:xfrm>
              <a:off x="4340225" y="2646363"/>
              <a:ext cx="4763" cy="1587"/>
            </a:xfrm>
            <a:custGeom>
              <a:avLst/>
              <a:gdLst>
                <a:gd name="T0" fmla="*/ 0 w 12"/>
                <a:gd name="T1" fmla="*/ 0 h 6"/>
                <a:gd name="T2" fmla="*/ 11 w 12"/>
                <a:gd name="T3" fmla="*/ 5 h 6"/>
                <a:gd name="T4" fmla="*/ 0 w 12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6">
                  <a:moveTo>
                    <a:pt x="0" y="0"/>
                  </a:moveTo>
                  <a:cubicBezTo>
                    <a:pt x="0" y="5"/>
                    <a:pt x="5" y="5"/>
                    <a:pt x="11" y="5"/>
                  </a:cubicBezTo>
                  <a:cubicBezTo>
                    <a:pt x="11" y="0"/>
                    <a:pt x="8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2" name="Freeform 1087"/>
            <p:cNvSpPr>
              <a:spLocks noChangeArrowheads="1"/>
            </p:cNvSpPr>
            <p:nvPr/>
          </p:nvSpPr>
          <p:spPr bwMode="auto">
            <a:xfrm>
              <a:off x="4300538" y="2652713"/>
              <a:ext cx="3175" cy="6350"/>
            </a:xfrm>
            <a:custGeom>
              <a:avLst/>
              <a:gdLst>
                <a:gd name="T0" fmla="*/ 0 w 9"/>
                <a:gd name="T1" fmla="*/ 8 h 18"/>
                <a:gd name="T2" fmla="*/ 0 w 9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8"/>
                  </a:moveTo>
                  <a:cubicBezTo>
                    <a:pt x="8" y="17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3" name="Freeform 1088"/>
            <p:cNvSpPr>
              <a:spLocks noChangeArrowheads="1"/>
            </p:cNvSpPr>
            <p:nvPr/>
          </p:nvSpPr>
          <p:spPr bwMode="auto">
            <a:xfrm>
              <a:off x="4332288" y="2647950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4" name="Freeform 1089"/>
            <p:cNvSpPr>
              <a:spLocks noChangeArrowheads="1"/>
            </p:cNvSpPr>
            <p:nvPr/>
          </p:nvSpPr>
          <p:spPr bwMode="auto">
            <a:xfrm>
              <a:off x="4305300" y="2655888"/>
              <a:ext cx="1588" cy="1587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3" y="3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5" name="Freeform 1090"/>
            <p:cNvSpPr>
              <a:spLocks noChangeArrowheads="1"/>
            </p:cNvSpPr>
            <p:nvPr/>
          </p:nvSpPr>
          <p:spPr bwMode="auto">
            <a:xfrm>
              <a:off x="4300538" y="2659063"/>
              <a:ext cx="4762" cy="3175"/>
            </a:xfrm>
            <a:custGeom>
              <a:avLst/>
              <a:gdLst>
                <a:gd name="T0" fmla="*/ 14 w 15"/>
                <a:gd name="T1" fmla="*/ 2 h 9"/>
                <a:gd name="T2" fmla="*/ 0 w 15"/>
                <a:gd name="T3" fmla="*/ 8 h 9"/>
                <a:gd name="T4" fmla="*/ 14 w 15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2"/>
                  </a:moveTo>
                  <a:cubicBezTo>
                    <a:pt x="8" y="0"/>
                    <a:pt x="3" y="2"/>
                    <a:pt x="0" y="8"/>
                  </a:cubicBezTo>
                  <a:cubicBezTo>
                    <a:pt x="3" y="5"/>
                    <a:pt x="14" y="8"/>
                    <a:pt x="14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6" name="Freeform 1091"/>
            <p:cNvSpPr>
              <a:spLocks noChangeArrowheads="1"/>
            </p:cNvSpPr>
            <p:nvPr/>
          </p:nvSpPr>
          <p:spPr bwMode="auto">
            <a:xfrm>
              <a:off x="4340225" y="2640013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5 h 12"/>
                <a:gd name="T4" fmla="*/ 3 w 9"/>
                <a:gd name="T5" fmla="*/ 11 h 12"/>
                <a:gd name="T6" fmla="*/ 0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0" y="5"/>
                    <a:pt x="0" y="5"/>
                    <a:pt x="0" y="5"/>
                  </a:cubicBezTo>
                  <a:lnTo>
                    <a:pt x="3" y="11"/>
                  </a:lnTo>
                  <a:cubicBezTo>
                    <a:pt x="8" y="11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7" name="Freeform 1092"/>
            <p:cNvSpPr>
              <a:spLocks noChangeArrowheads="1"/>
            </p:cNvSpPr>
            <p:nvPr/>
          </p:nvSpPr>
          <p:spPr bwMode="auto">
            <a:xfrm>
              <a:off x="4333875" y="2649538"/>
              <a:ext cx="6350" cy="4762"/>
            </a:xfrm>
            <a:custGeom>
              <a:avLst/>
              <a:gdLst>
                <a:gd name="T0" fmla="*/ 14 w 18"/>
                <a:gd name="T1" fmla="*/ 0 h 12"/>
                <a:gd name="T2" fmla="*/ 14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14" y="0"/>
                  </a:moveTo>
                  <a:cubicBezTo>
                    <a:pt x="0" y="6"/>
                    <a:pt x="17" y="11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8" name="Freeform 1093"/>
            <p:cNvSpPr>
              <a:spLocks noChangeArrowheads="1"/>
            </p:cNvSpPr>
            <p:nvPr/>
          </p:nvSpPr>
          <p:spPr bwMode="auto">
            <a:xfrm>
              <a:off x="4335463" y="2647950"/>
              <a:ext cx="1587" cy="6350"/>
            </a:xfrm>
            <a:custGeom>
              <a:avLst/>
              <a:gdLst>
                <a:gd name="T0" fmla="*/ 0 w 6"/>
                <a:gd name="T1" fmla="*/ 3 h 16"/>
                <a:gd name="T2" fmla="*/ 0 w 6"/>
                <a:gd name="T3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6">
                  <a:moveTo>
                    <a:pt x="0" y="3"/>
                  </a:moveTo>
                  <a:cubicBezTo>
                    <a:pt x="2" y="15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9" name="Freeform 1094"/>
            <p:cNvSpPr>
              <a:spLocks noChangeArrowheads="1"/>
            </p:cNvSpPr>
            <p:nvPr/>
          </p:nvSpPr>
          <p:spPr bwMode="auto">
            <a:xfrm>
              <a:off x="4329113" y="2640013"/>
              <a:ext cx="6350" cy="6350"/>
            </a:xfrm>
            <a:custGeom>
              <a:avLst/>
              <a:gdLst>
                <a:gd name="T0" fmla="*/ 8 w 18"/>
                <a:gd name="T1" fmla="*/ 17 h 18"/>
                <a:gd name="T2" fmla="*/ 8 w 18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8">
                  <a:moveTo>
                    <a:pt x="8" y="17"/>
                  </a:moveTo>
                  <a:cubicBezTo>
                    <a:pt x="17" y="0"/>
                    <a:pt x="0" y="11"/>
                    <a:pt x="8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0" name="Freeform 1095"/>
            <p:cNvSpPr>
              <a:spLocks noChangeArrowheads="1"/>
            </p:cNvSpPr>
            <p:nvPr/>
          </p:nvSpPr>
          <p:spPr bwMode="auto">
            <a:xfrm>
              <a:off x="4098925" y="2684463"/>
              <a:ext cx="4763" cy="3175"/>
            </a:xfrm>
            <a:custGeom>
              <a:avLst/>
              <a:gdLst>
                <a:gd name="T0" fmla="*/ 12 w 15"/>
                <a:gd name="T1" fmla="*/ 0 h 10"/>
                <a:gd name="T2" fmla="*/ 12 w 15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0">
                  <a:moveTo>
                    <a:pt x="12" y="0"/>
                  </a:moveTo>
                  <a:cubicBezTo>
                    <a:pt x="0" y="0"/>
                    <a:pt x="14" y="9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1" name="Freeform 1096"/>
            <p:cNvSpPr>
              <a:spLocks noChangeArrowheads="1"/>
            </p:cNvSpPr>
            <p:nvPr/>
          </p:nvSpPr>
          <p:spPr bwMode="auto">
            <a:xfrm>
              <a:off x="4089400" y="2684463"/>
              <a:ext cx="1588" cy="7937"/>
            </a:xfrm>
            <a:custGeom>
              <a:avLst/>
              <a:gdLst>
                <a:gd name="T0" fmla="*/ 5 w 6"/>
                <a:gd name="T1" fmla="*/ 6 h 21"/>
                <a:gd name="T2" fmla="*/ 5 w 6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21">
                  <a:moveTo>
                    <a:pt x="5" y="6"/>
                  </a:moveTo>
                  <a:cubicBezTo>
                    <a:pt x="0" y="0"/>
                    <a:pt x="3" y="20"/>
                    <a:pt x="5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2" name="Freeform 1097"/>
            <p:cNvSpPr>
              <a:spLocks noChangeArrowheads="1"/>
            </p:cNvSpPr>
            <p:nvPr/>
          </p:nvSpPr>
          <p:spPr bwMode="auto">
            <a:xfrm>
              <a:off x="4075113" y="2684463"/>
              <a:ext cx="3175" cy="3175"/>
            </a:xfrm>
            <a:custGeom>
              <a:avLst/>
              <a:gdLst>
                <a:gd name="T0" fmla="*/ 0 w 10"/>
                <a:gd name="T1" fmla="*/ 3 h 9"/>
                <a:gd name="T2" fmla="*/ 9 w 10"/>
                <a:gd name="T3" fmla="*/ 8 h 9"/>
                <a:gd name="T4" fmla="*/ 0 w 10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3"/>
                  </a:moveTo>
                  <a:cubicBezTo>
                    <a:pt x="0" y="6"/>
                    <a:pt x="3" y="8"/>
                    <a:pt x="9" y="8"/>
                  </a:cubicBezTo>
                  <a:cubicBezTo>
                    <a:pt x="9" y="3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3" name="Freeform 1098"/>
            <p:cNvSpPr>
              <a:spLocks noChangeArrowheads="1"/>
            </p:cNvSpPr>
            <p:nvPr/>
          </p:nvSpPr>
          <p:spPr bwMode="auto">
            <a:xfrm>
              <a:off x="4064000" y="2689225"/>
              <a:ext cx="4763" cy="3175"/>
            </a:xfrm>
            <a:custGeom>
              <a:avLst/>
              <a:gdLst>
                <a:gd name="T0" fmla="*/ 12 w 13"/>
                <a:gd name="T1" fmla="*/ 0 h 10"/>
                <a:gd name="T2" fmla="*/ 12 w 13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12" y="0"/>
                  </a:moveTo>
                  <a:cubicBezTo>
                    <a:pt x="0" y="3"/>
                    <a:pt x="12" y="9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4" name="Freeform 1099"/>
            <p:cNvSpPr>
              <a:spLocks noChangeArrowheads="1"/>
            </p:cNvSpPr>
            <p:nvPr/>
          </p:nvSpPr>
          <p:spPr bwMode="auto">
            <a:xfrm>
              <a:off x="4057650" y="2687638"/>
              <a:ext cx="3175" cy="6350"/>
            </a:xfrm>
            <a:custGeom>
              <a:avLst/>
              <a:gdLst>
                <a:gd name="T0" fmla="*/ 9 w 10"/>
                <a:gd name="T1" fmla="*/ 6 h 18"/>
                <a:gd name="T2" fmla="*/ 9 w 10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6"/>
                  </a:moveTo>
                  <a:cubicBezTo>
                    <a:pt x="0" y="0"/>
                    <a:pt x="6" y="17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5" name="Freeform 1100"/>
            <p:cNvSpPr>
              <a:spLocks noChangeArrowheads="1"/>
            </p:cNvSpPr>
            <p:nvPr/>
          </p:nvSpPr>
          <p:spPr bwMode="auto">
            <a:xfrm>
              <a:off x="4041775" y="2692400"/>
              <a:ext cx="4763" cy="4763"/>
            </a:xfrm>
            <a:custGeom>
              <a:avLst/>
              <a:gdLst>
                <a:gd name="T0" fmla="*/ 3 w 15"/>
                <a:gd name="T1" fmla="*/ 0 h 12"/>
                <a:gd name="T2" fmla="*/ 14 w 15"/>
                <a:gd name="T3" fmla="*/ 11 h 12"/>
                <a:gd name="T4" fmla="*/ 3 w 15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3" y="0"/>
                  </a:moveTo>
                  <a:cubicBezTo>
                    <a:pt x="0" y="5"/>
                    <a:pt x="6" y="11"/>
                    <a:pt x="14" y="11"/>
                  </a:cubicBezTo>
                  <a:cubicBezTo>
                    <a:pt x="12" y="5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6" name="Freeform 1101"/>
            <p:cNvSpPr>
              <a:spLocks noChangeArrowheads="1"/>
            </p:cNvSpPr>
            <p:nvPr/>
          </p:nvSpPr>
          <p:spPr bwMode="auto">
            <a:xfrm>
              <a:off x="4084638" y="2681288"/>
              <a:ext cx="4762" cy="3175"/>
            </a:xfrm>
            <a:custGeom>
              <a:avLst/>
              <a:gdLst>
                <a:gd name="T0" fmla="*/ 8 w 12"/>
                <a:gd name="T1" fmla="*/ 0 h 9"/>
                <a:gd name="T2" fmla="*/ 8 w 12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8" y="0"/>
                  </a:moveTo>
                  <a:cubicBezTo>
                    <a:pt x="0" y="0"/>
                    <a:pt x="11" y="8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7" name="Freeform 1102"/>
            <p:cNvSpPr>
              <a:spLocks noChangeArrowheads="1"/>
            </p:cNvSpPr>
            <p:nvPr/>
          </p:nvSpPr>
          <p:spPr bwMode="auto">
            <a:xfrm>
              <a:off x="4100513" y="2674938"/>
              <a:ext cx="3175" cy="1587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0" y="0"/>
                    <a:pt x="6" y="3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8" name="Freeform 1103"/>
            <p:cNvSpPr>
              <a:spLocks noChangeArrowheads="1"/>
            </p:cNvSpPr>
            <p:nvPr/>
          </p:nvSpPr>
          <p:spPr bwMode="auto">
            <a:xfrm>
              <a:off x="4064000" y="2686050"/>
              <a:ext cx="4763" cy="3175"/>
            </a:xfrm>
            <a:custGeom>
              <a:avLst/>
              <a:gdLst>
                <a:gd name="T0" fmla="*/ 12 w 15"/>
                <a:gd name="T1" fmla="*/ 0 h 9"/>
                <a:gd name="T2" fmla="*/ 12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2" y="0"/>
                  </a:moveTo>
                  <a:cubicBezTo>
                    <a:pt x="0" y="0"/>
                    <a:pt x="14" y="8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9" name="Freeform 1104"/>
            <p:cNvSpPr>
              <a:spLocks noChangeArrowheads="1"/>
            </p:cNvSpPr>
            <p:nvPr/>
          </p:nvSpPr>
          <p:spPr bwMode="auto">
            <a:xfrm>
              <a:off x="4079875" y="2679700"/>
              <a:ext cx="4763" cy="3175"/>
            </a:xfrm>
            <a:custGeom>
              <a:avLst/>
              <a:gdLst>
                <a:gd name="T0" fmla="*/ 9 w 13"/>
                <a:gd name="T1" fmla="*/ 0 h 9"/>
                <a:gd name="T2" fmla="*/ 9 w 13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9">
                  <a:moveTo>
                    <a:pt x="9" y="0"/>
                  </a:moveTo>
                  <a:cubicBezTo>
                    <a:pt x="0" y="3"/>
                    <a:pt x="12" y="8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0" name="Freeform 1105"/>
            <p:cNvSpPr>
              <a:spLocks noChangeArrowheads="1"/>
            </p:cNvSpPr>
            <p:nvPr/>
          </p:nvSpPr>
          <p:spPr bwMode="auto">
            <a:xfrm>
              <a:off x="4068763" y="2681288"/>
              <a:ext cx="4762" cy="4762"/>
            </a:xfrm>
            <a:custGeom>
              <a:avLst/>
              <a:gdLst>
                <a:gd name="T0" fmla="*/ 2 w 12"/>
                <a:gd name="T1" fmla="*/ 11 h 12"/>
                <a:gd name="T2" fmla="*/ 11 w 12"/>
                <a:gd name="T3" fmla="*/ 0 h 12"/>
                <a:gd name="T4" fmla="*/ 2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2" y="11"/>
                  </a:moveTo>
                  <a:cubicBezTo>
                    <a:pt x="11" y="11"/>
                    <a:pt x="8" y="5"/>
                    <a:pt x="11" y="0"/>
                  </a:cubicBezTo>
                  <a:cubicBezTo>
                    <a:pt x="2" y="2"/>
                    <a:pt x="0" y="5"/>
                    <a:pt x="2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1" name="Freeform 1106"/>
            <p:cNvSpPr>
              <a:spLocks noChangeArrowheads="1"/>
            </p:cNvSpPr>
            <p:nvPr/>
          </p:nvSpPr>
          <p:spPr bwMode="auto">
            <a:xfrm>
              <a:off x="4035425" y="2692400"/>
              <a:ext cx="3175" cy="6350"/>
            </a:xfrm>
            <a:custGeom>
              <a:avLst/>
              <a:gdLst>
                <a:gd name="T0" fmla="*/ 9 w 10"/>
                <a:gd name="T1" fmla="*/ 8 h 18"/>
                <a:gd name="T2" fmla="*/ 9 w 10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8"/>
                  </a:moveTo>
                  <a:cubicBezTo>
                    <a:pt x="0" y="0"/>
                    <a:pt x="9" y="17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2" name="Freeform 1107"/>
            <p:cNvSpPr>
              <a:spLocks noChangeArrowheads="1"/>
            </p:cNvSpPr>
            <p:nvPr/>
          </p:nvSpPr>
          <p:spPr bwMode="auto">
            <a:xfrm>
              <a:off x="4102100" y="2671763"/>
              <a:ext cx="1588" cy="1587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0"/>
                    <a:pt x="5" y="3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3" name="Freeform 1108"/>
            <p:cNvSpPr>
              <a:spLocks noChangeArrowheads="1"/>
            </p:cNvSpPr>
            <p:nvPr/>
          </p:nvSpPr>
          <p:spPr bwMode="auto">
            <a:xfrm>
              <a:off x="4090988" y="2671763"/>
              <a:ext cx="6350" cy="6350"/>
            </a:xfrm>
            <a:custGeom>
              <a:avLst/>
              <a:gdLst>
                <a:gd name="T0" fmla="*/ 0 w 16"/>
                <a:gd name="T1" fmla="*/ 12 h 18"/>
                <a:gd name="T2" fmla="*/ 0 w 16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8">
                  <a:moveTo>
                    <a:pt x="0" y="12"/>
                  </a:moveTo>
                  <a:cubicBezTo>
                    <a:pt x="15" y="17"/>
                    <a:pt x="6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4" name="Freeform 1109"/>
            <p:cNvSpPr>
              <a:spLocks noChangeArrowheads="1"/>
            </p:cNvSpPr>
            <p:nvPr/>
          </p:nvSpPr>
          <p:spPr bwMode="auto">
            <a:xfrm>
              <a:off x="4067175" y="2682875"/>
              <a:ext cx="1588" cy="1588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5" name="Freeform 1110"/>
            <p:cNvSpPr>
              <a:spLocks noChangeArrowheads="1"/>
            </p:cNvSpPr>
            <p:nvPr/>
          </p:nvSpPr>
          <p:spPr bwMode="auto">
            <a:xfrm>
              <a:off x="4057650" y="2684463"/>
              <a:ext cx="4763" cy="3175"/>
            </a:xfrm>
            <a:custGeom>
              <a:avLst/>
              <a:gdLst>
                <a:gd name="T0" fmla="*/ 11 w 12"/>
                <a:gd name="T1" fmla="*/ 6 h 10"/>
                <a:gd name="T2" fmla="*/ 0 w 12"/>
                <a:gd name="T3" fmla="*/ 0 h 10"/>
                <a:gd name="T4" fmla="*/ 11 w 12"/>
                <a:gd name="T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6"/>
                  </a:moveTo>
                  <a:cubicBezTo>
                    <a:pt x="11" y="0"/>
                    <a:pt x="2" y="0"/>
                    <a:pt x="0" y="0"/>
                  </a:cubicBezTo>
                  <a:cubicBezTo>
                    <a:pt x="2" y="9"/>
                    <a:pt x="5" y="9"/>
                    <a:pt x="1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6" name="Freeform 1111"/>
            <p:cNvSpPr>
              <a:spLocks noChangeArrowheads="1"/>
            </p:cNvSpPr>
            <p:nvPr/>
          </p:nvSpPr>
          <p:spPr bwMode="auto">
            <a:xfrm>
              <a:off x="4097338" y="2667000"/>
              <a:ext cx="3175" cy="6350"/>
            </a:xfrm>
            <a:custGeom>
              <a:avLst/>
              <a:gdLst>
                <a:gd name="T0" fmla="*/ 8 w 9"/>
                <a:gd name="T1" fmla="*/ 6 h 18"/>
                <a:gd name="T2" fmla="*/ 8 w 9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6"/>
                  </a:moveTo>
                  <a:cubicBezTo>
                    <a:pt x="0" y="0"/>
                    <a:pt x="8" y="17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7" name="Freeform 1112"/>
            <p:cNvSpPr>
              <a:spLocks noChangeArrowheads="1"/>
            </p:cNvSpPr>
            <p:nvPr/>
          </p:nvSpPr>
          <p:spPr bwMode="auto">
            <a:xfrm>
              <a:off x="4065588" y="2679700"/>
              <a:ext cx="4762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8" name="Freeform 1113"/>
            <p:cNvSpPr>
              <a:spLocks noChangeArrowheads="1"/>
            </p:cNvSpPr>
            <p:nvPr/>
          </p:nvSpPr>
          <p:spPr bwMode="auto">
            <a:xfrm>
              <a:off x="4094163" y="2670175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9" name="Freeform 1114"/>
            <p:cNvSpPr>
              <a:spLocks noChangeArrowheads="1"/>
            </p:cNvSpPr>
            <p:nvPr/>
          </p:nvSpPr>
          <p:spPr bwMode="auto">
            <a:xfrm>
              <a:off x="4087813" y="2671763"/>
              <a:ext cx="1587" cy="1587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0" name="Freeform 1115"/>
            <p:cNvSpPr>
              <a:spLocks noChangeArrowheads="1"/>
            </p:cNvSpPr>
            <p:nvPr/>
          </p:nvSpPr>
          <p:spPr bwMode="auto">
            <a:xfrm>
              <a:off x="4092575" y="2665413"/>
              <a:ext cx="6350" cy="4762"/>
            </a:xfrm>
            <a:custGeom>
              <a:avLst/>
              <a:gdLst>
                <a:gd name="T0" fmla="*/ 3 w 18"/>
                <a:gd name="T1" fmla="*/ 8 h 12"/>
                <a:gd name="T2" fmla="*/ 17 w 18"/>
                <a:gd name="T3" fmla="*/ 0 h 12"/>
                <a:gd name="T4" fmla="*/ 3 w 18"/>
                <a:gd name="T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3" y="8"/>
                  </a:moveTo>
                  <a:cubicBezTo>
                    <a:pt x="9" y="11"/>
                    <a:pt x="14" y="5"/>
                    <a:pt x="17" y="0"/>
                  </a:cubicBezTo>
                  <a:cubicBezTo>
                    <a:pt x="12" y="2"/>
                    <a:pt x="0" y="2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1" name="Freeform 1116"/>
            <p:cNvSpPr>
              <a:spLocks noChangeArrowheads="1"/>
            </p:cNvSpPr>
            <p:nvPr/>
          </p:nvSpPr>
          <p:spPr bwMode="auto">
            <a:xfrm>
              <a:off x="4059238" y="2687638"/>
              <a:ext cx="4762" cy="6350"/>
            </a:xfrm>
            <a:custGeom>
              <a:avLst/>
              <a:gdLst>
                <a:gd name="T0" fmla="*/ 11 w 12"/>
                <a:gd name="T1" fmla="*/ 9 h 16"/>
                <a:gd name="T2" fmla="*/ 11 w 12"/>
                <a:gd name="T3" fmla="*/ 6 h 16"/>
                <a:gd name="T4" fmla="*/ 9 w 12"/>
                <a:gd name="T5" fmla="*/ 0 h 16"/>
                <a:gd name="T6" fmla="*/ 11 w 12"/>
                <a:gd name="T7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6">
                  <a:moveTo>
                    <a:pt x="11" y="9"/>
                  </a:moveTo>
                  <a:cubicBezTo>
                    <a:pt x="11" y="9"/>
                    <a:pt x="9" y="6"/>
                    <a:pt x="11" y="6"/>
                  </a:cubicBezTo>
                  <a:lnTo>
                    <a:pt x="9" y="0"/>
                  </a:lnTo>
                  <a:cubicBezTo>
                    <a:pt x="0" y="3"/>
                    <a:pt x="6" y="15"/>
                    <a:pt x="11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2" name="Freeform 1117"/>
            <p:cNvSpPr>
              <a:spLocks noChangeArrowheads="1"/>
            </p:cNvSpPr>
            <p:nvPr/>
          </p:nvSpPr>
          <p:spPr bwMode="auto">
            <a:xfrm>
              <a:off x="4060825" y="2678113"/>
              <a:ext cx="4763" cy="4762"/>
            </a:xfrm>
            <a:custGeom>
              <a:avLst/>
              <a:gdLst>
                <a:gd name="T0" fmla="*/ 3 w 15"/>
                <a:gd name="T1" fmla="*/ 12 h 13"/>
                <a:gd name="T2" fmla="*/ 3 w 15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3" y="12"/>
                  </a:moveTo>
                  <a:cubicBezTo>
                    <a:pt x="14" y="3"/>
                    <a:pt x="0" y="0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3" name="Freeform 1118"/>
            <p:cNvSpPr>
              <a:spLocks noChangeArrowheads="1"/>
            </p:cNvSpPr>
            <p:nvPr/>
          </p:nvSpPr>
          <p:spPr bwMode="auto">
            <a:xfrm>
              <a:off x="4064000" y="2678113"/>
              <a:ext cx="3175" cy="4762"/>
            </a:xfrm>
            <a:custGeom>
              <a:avLst/>
              <a:gdLst>
                <a:gd name="T0" fmla="*/ 6 w 7"/>
                <a:gd name="T1" fmla="*/ 11 h 15"/>
                <a:gd name="T2" fmla="*/ 6 w 7"/>
                <a:gd name="T3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6" y="11"/>
                  </a:moveTo>
                  <a:cubicBezTo>
                    <a:pt x="3" y="0"/>
                    <a:pt x="0" y="14"/>
                    <a:pt x="6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4" name="Freeform 1119"/>
            <p:cNvSpPr>
              <a:spLocks noChangeArrowheads="1"/>
            </p:cNvSpPr>
            <p:nvPr/>
          </p:nvSpPr>
          <p:spPr bwMode="auto">
            <a:xfrm>
              <a:off x="4068763" y="2684463"/>
              <a:ext cx="4762" cy="6350"/>
            </a:xfrm>
            <a:custGeom>
              <a:avLst/>
              <a:gdLst>
                <a:gd name="T0" fmla="*/ 2 w 15"/>
                <a:gd name="T1" fmla="*/ 0 h 18"/>
                <a:gd name="T2" fmla="*/ 2 w 15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2" y="0"/>
                  </a:moveTo>
                  <a:cubicBezTo>
                    <a:pt x="0" y="17"/>
                    <a:pt x="14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5" name="Freeform 1120"/>
            <p:cNvSpPr>
              <a:spLocks noChangeArrowheads="1"/>
            </p:cNvSpPr>
            <p:nvPr/>
          </p:nvSpPr>
          <p:spPr bwMode="auto">
            <a:xfrm>
              <a:off x="4210050" y="2689225"/>
              <a:ext cx="4763" cy="3175"/>
            </a:xfrm>
            <a:custGeom>
              <a:avLst/>
              <a:gdLst>
                <a:gd name="T0" fmla="*/ 11 w 12"/>
                <a:gd name="T1" fmla="*/ 0 h 7"/>
                <a:gd name="T2" fmla="*/ 11 w 12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0" y="0"/>
                    <a:pt x="11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6" name="Freeform 1121"/>
            <p:cNvSpPr>
              <a:spLocks noChangeArrowheads="1"/>
            </p:cNvSpPr>
            <p:nvPr/>
          </p:nvSpPr>
          <p:spPr bwMode="auto">
            <a:xfrm>
              <a:off x="4200525" y="2689225"/>
              <a:ext cx="3175" cy="6350"/>
            </a:xfrm>
            <a:custGeom>
              <a:avLst/>
              <a:gdLst>
                <a:gd name="T0" fmla="*/ 6 w 7"/>
                <a:gd name="T1" fmla="*/ 6 h 18"/>
                <a:gd name="T2" fmla="*/ 6 w 7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6" y="6"/>
                  </a:moveTo>
                  <a:cubicBezTo>
                    <a:pt x="0" y="0"/>
                    <a:pt x="3" y="17"/>
                    <a:pt x="6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7" name="Freeform 1122"/>
            <p:cNvSpPr>
              <a:spLocks noChangeArrowheads="1"/>
            </p:cNvSpPr>
            <p:nvPr/>
          </p:nvSpPr>
          <p:spPr bwMode="auto">
            <a:xfrm>
              <a:off x="4184650" y="2689225"/>
              <a:ext cx="4763" cy="3175"/>
            </a:xfrm>
            <a:custGeom>
              <a:avLst/>
              <a:gdLst>
                <a:gd name="T0" fmla="*/ 0 w 12"/>
                <a:gd name="T1" fmla="*/ 3 h 10"/>
                <a:gd name="T2" fmla="*/ 9 w 12"/>
                <a:gd name="T3" fmla="*/ 9 h 10"/>
                <a:gd name="T4" fmla="*/ 0 w 12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0" y="3"/>
                  </a:moveTo>
                  <a:cubicBezTo>
                    <a:pt x="0" y="6"/>
                    <a:pt x="3" y="9"/>
                    <a:pt x="9" y="9"/>
                  </a:cubicBezTo>
                  <a:cubicBezTo>
                    <a:pt x="11" y="3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8" name="Freeform 1123"/>
            <p:cNvSpPr>
              <a:spLocks noChangeArrowheads="1"/>
            </p:cNvSpPr>
            <p:nvPr/>
          </p:nvSpPr>
          <p:spPr bwMode="auto">
            <a:xfrm>
              <a:off x="4173538" y="2695575"/>
              <a:ext cx="4762" cy="3175"/>
            </a:xfrm>
            <a:custGeom>
              <a:avLst/>
              <a:gdLst>
                <a:gd name="T0" fmla="*/ 14 w 15"/>
                <a:gd name="T1" fmla="*/ 0 h 10"/>
                <a:gd name="T2" fmla="*/ 14 w 15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0">
                  <a:moveTo>
                    <a:pt x="14" y="0"/>
                  </a:moveTo>
                  <a:cubicBezTo>
                    <a:pt x="0" y="0"/>
                    <a:pt x="14" y="9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9" name="Freeform 1124"/>
            <p:cNvSpPr>
              <a:spLocks noChangeArrowheads="1"/>
            </p:cNvSpPr>
            <p:nvPr/>
          </p:nvSpPr>
          <p:spPr bwMode="auto">
            <a:xfrm>
              <a:off x="4167188" y="2692400"/>
              <a:ext cx="3175" cy="6350"/>
            </a:xfrm>
            <a:custGeom>
              <a:avLst/>
              <a:gdLst>
                <a:gd name="T0" fmla="*/ 9 w 10"/>
                <a:gd name="T1" fmla="*/ 8 h 18"/>
                <a:gd name="T2" fmla="*/ 9 w 10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8"/>
                  </a:moveTo>
                  <a:cubicBezTo>
                    <a:pt x="0" y="0"/>
                    <a:pt x="9" y="17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0" name="Freeform 1125"/>
            <p:cNvSpPr>
              <a:spLocks noChangeArrowheads="1"/>
            </p:cNvSpPr>
            <p:nvPr/>
          </p:nvSpPr>
          <p:spPr bwMode="auto">
            <a:xfrm>
              <a:off x="4151313" y="2697163"/>
              <a:ext cx="4762" cy="4762"/>
            </a:xfrm>
            <a:custGeom>
              <a:avLst/>
              <a:gdLst>
                <a:gd name="T0" fmla="*/ 3 w 15"/>
                <a:gd name="T1" fmla="*/ 0 h 12"/>
                <a:gd name="T2" fmla="*/ 14 w 15"/>
                <a:gd name="T3" fmla="*/ 11 h 12"/>
                <a:gd name="T4" fmla="*/ 3 w 15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3" y="0"/>
                  </a:moveTo>
                  <a:cubicBezTo>
                    <a:pt x="0" y="5"/>
                    <a:pt x="6" y="11"/>
                    <a:pt x="14" y="11"/>
                  </a:cubicBezTo>
                  <a:cubicBezTo>
                    <a:pt x="11" y="5"/>
                    <a:pt x="8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1" name="Freeform 1126"/>
            <p:cNvSpPr>
              <a:spLocks noChangeArrowheads="1"/>
            </p:cNvSpPr>
            <p:nvPr/>
          </p:nvSpPr>
          <p:spPr bwMode="auto">
            <a:xfrm>
              <a:off x="4194175" y="2686050"/>
              <a:ext cx="6350" cy="1588"/>
            </a:xfrm>
            <a:custGeom>
              <a:avLst/>
              <a:gdLst>
                <a:gd name="T0" fmla="*/ 12 w 16"/>
                <a:gd name="T1" fmla="*/ 0 h 6"/>
                <a:gd name="T2" fmla="*/ 12 w 16"/>
                <a:gd name="T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6">
                  <a:moveTo>
                    <a:pt x="12" y="0"/>
                  </a:moveTo>
                  <a:cubicBezTo>
                    <a:pt x="0" y="0"/>
                    <a:pt x="15" y="5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2" name="Freeform 1127"/>
            <p:cNvSpPr>
              <a:spLocks noChangeArrowheads="1"/>
            </p:cNvSpPr>
            <p:nvPr/>
          </p:nvSpPr>
          <p:spPr bwMode="auto">
            <a:xfrm>
              <a:off x="4211638" y="2679700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3" name="Freeform 1128"/>
            <p:cNvSpPr>
              <a:spLocks noChangeArrowheads="1"/>
            </p:cNvSpPr>
            <p:nvPr/>
          </p:nvSpPr>
          <p:spPr bwMode="auto">
            <a:xfrm>
              <a:off x="4175125" y="2690813"/>
              <a:ext cx="4763" cy="3175"/>
            </a:xfrm>
            <a:custGeom>
              <a:avLst/>
              <a:gdLst>
                <a:gd name="T0" fmla="*/ 11 w 12"/>
                <a:gd name="T1" fmla="*/ 0 h 9"/>
                <a:gd name="T2" fmla="*/ 11 w 12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11" y="0"/>
                  </a:moveTo>
                  <a:cubicBezTo>
                    <a:pt x="0" y="0"/>
                    <a:pt x="11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4" name="Freeform 1129"/>
            <p:cNvSpPr>
              <a:spLocks noChangeArrowheads="1"/>
            </p:cNvSpPr>
            <p:nvPr/>
          </p:nvSpPr>
          <p:spPr bwMode="auto">
            <a:xfrm>
              <a:off x="4189413" y="2684463"/>
              <a:ext cx="4762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5" name="Freeform 1130"/>
            <p:cNvSpPr>
              <a:spLocks noChangeArrowheads="1"/>
            </p:cNvSpPr>
            <p:nvPr/>
          </p:nvSpPr>
          <p:spPr bwMode="auto">
            <a:xfrm>
              <a:off x="4178300" y="2687638"/>
              <a:ext cx="4763" cy="4762"/>
            </a:xfrm>
            <a:custGeom>
              <a:avLst/>
              <a:gdLst>
                <a:gd name="T0" fmla="*/ 3 w 12"/>
                <a:gd name="T1" fmla="*/ 11 h 12"/>
                <a:gd name="T2" fmla="*/ 11 w 12"/>
                <a:gd name="T3" fmla="*/ 0 h 12"/>
                <a:gd name="T4" fmla="*/ 3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3" y="11"/>
                  </a:moveTo>
                  <a:cubicBezTo>
                    <a:pt x="11" y="11"/>
                    <a:pt x="9" y="5"/>
                    <a:pt x="11" y="0"/>
                  </a:cubicBezTo>
                  <a:cubicBezTo>
                    <a:pt x="3" y="0"/>
                    <a:pt x="0" y="2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6" name="Freeform 1131"/>
            <p:cNvSpPr>
              <a:spLocks noChangeArrowheads="1"/>
            </p:cNvSpPr>
            <p:nvPr/>
          </p:nvSpPr>
          <p:spPr bwMode="auto">
            <a:xfrm>
              <a:off x="4144963" y="2697163"/>
              <a:ext cx="3175" cy="6350"/>
            </a:xfrm>
            <a:custGeom>
              <a:avLst/>
              <a:gdLst>
                <a:gd name="T0" fmla="*/ 8 w 9"/>
                <a:gd name="T1" fmla="*/ 5 h 18"/>
                <a:gd name="T2" fmla="*/ 8 w 9"/>
                <a:gd name="T3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5"/>
                  </a:moveTo>
                  <a:cubicBezTo>
                    <a:pt x="0" y="0"/>
                    <a:pt x="8" y="17"/>
                    <a:pt x="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7" name="Freeform 1132"/>
            <p:cNvSpPr>
              <a:spLocks noChangeArrowheads="1"/>
            </p:cNvSpPr>
            <p:nvPr/>
          </p:nvSpPr>
          <p:spPr bwMode="auto">
            <a:xfrm>
              <a:off x="4211638" y="2676525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8" name="Freeform 1133"/>
            <p:cNvSpPr>
              <a:spLocks noChangeArrowheads="1"/>
            </p:cNvSpPr>
            <p:nvPr/>
          </p:nvSpPr>
          <p:spPr bwMode="auto">
            <a:xfrm>
              <a:off x="4200525" y="2676525"/>
              <a:ext cx="6350" cy="6350"/>
            </a:xfrm>
            <a:custGeom>
              <a:avLst/>
              <a:gdLst>
                <a:gd name="T0" fmla="*/ 0 w 18"/>
                <a:gd name="T1" fmla="*/ 12 h 18"/>
                <a:gd name="T2" fmla="*/ 0 w 18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8">
                  <a:moveTo>
                    <a:pt x="0" y="12"/>
                  </a:moveTo>
                  <a:cubicBezTo>
                    <a:pt x="17" y="17"/>
                    <a:pt x="9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9" name="Freeform 1134"/>
            <p:cNvSpPr>
              <a:spLocks noChangeArrowheads="1"/>
            </p:cNvSpPr>
            <p:nvPr/>
          </p:nvSpPr>
          <p:spPr bwMode="auto">
            <a:xfrm>
              <a:off x="4176713" y="2687638"/>
              <a:ext cx="1587" cy="1587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0" name="Freeform 1135"/>
            <p:cNvSpPr>
              <a:spLocks noChangeArrowheads="1"/>
            </p:cNvSpPr>
            <p:nvPr/>
          </p:nvSpPr>
          <p:spPr bwMode="auto">
            <a:xfrm>
              <a:off x="4167188" y="2689225"/>
              <a:ext cx="4762" cy="3175"/>
            </a:xfrm>
            <a:custGeom>
              <a:avLst/>
              <a:gdLst>
                <a:gd name="T0" fmla="*/ 11 w 12"/>
                <a:gd name="T1" fmla="*/ 6 h 10"/>
                <a:gd name="T2" fmla="*/ 0 w 12"/>
                <a:gd name="T3" fmla="*/ 0 h 10"/>
                <a:gd name="T4" fmla="*/ 11 w 12"/>
                <a:gd name="T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6"/>
                  </a:moveTo>
                  <a:cubicBezTo>
                    <a:pt x="11" y="0"/>
                    <a:pt x="3" y="0"/>
                    <a:pt x="0" y="0"/>
                  </a:cubicBezTo>
                  <a:cubicBezTo>
                    <a:pt x="0" y="9"/>
                    <a:pt x="6" y="9"/>
                    <a:pt x="1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1" name="Freeform 1136"/>
            <p:cNvSpPr>
              <a:spLocks noChangeArrowheads="1"/>
            </p:cNvSpPr>
            <p:nvPr/>
          </p:nvSpPr>
          <p:spPr bwMode="auto">
            <a:xfrm>
              <a:off x="4206875" y="2673350"/>
              <a:ext cx="3175" cy="6350"/>
            </a:xfrm>
            <a:custGeom>
              <a:avLst/>
              <a:gdLst>
                <a:gd name="T0" fmla="*/ 9 w 10"/>
                <a:gd name="T1" fmla="*/ 6 h 18"/>
                <a:gd name="T2" fmla="*/ 9 w 10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6"/>
                  </a:moveTo>
                  <a:cubicBezTo>
                    <a:pt x="0" y="0"/>
                    <a:pt x="9" y="17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2" name="Freeform 1137"/>
            <p:cNvSpPr>
              <a:spLocks noChangeArrowheads="1"/>
            </p:cNvSpPr>
            <p:nvPr/>
          </p:nvSpPr>
          <p:spPr bwMode="auto">
            <a:xfrm>
              <a:off x="4176713" y="2684463"/>
              <a:ext cx="4762" cy="3175"/>
            </a:xfrm>
            <a:custGeom>
              <a:avLst/>
              <a:gdLst>
                <a:gd name="T0" fmla="*/ 11 w 12"/>
                <a:gd name="T1" fmla="*/ 0 h 9"/>
                <a:gd name="T2" fmla="*/ 11 w 12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11" y="0"/>
                  </a:moveTo>
                  <a:cubicBezTo>
                    <a:pt x="0" y="0"/>
                    <a:pt x="11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3" name="Freeform 1138"/>
            <p:cNvSpPr>
              <a:spLocks noChangeArrowheads="1"/>
            </p:cNvSpPr>
            <p:nvPr/>
          </p:nvSpPr>
          <p:spPr bwMode="auto">
            <a:xfrm>
              <a:off x="4203700" y="2670175"/>
              <a:ext cx="6350" cy="4763"/>
            </a:xfrm>
            <a:custGeom>
              <a:avLst/>
              <a:gdLst>
                <a:gd name="T0" fmla="*/ 3 w 18"/>
                <a:gd name="T1" fmla="*/ 8 h 12"/>
                <a:gd name="T2" fmla="*/ 17 w 18"/>
                <a:gd name="T3" fmla="*/ 0 h 12"/>
                <a:gd name="T4" fmla="*/ 3 w 18"/>
                <a:gd name="T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3" y="8"/>
                  </a:moveTo>
                  <a:cubicBezTo>
                    <a:pt x="8" y="11"/>
                    <a:pt x="14" y="5"/>
                    <a:pt x="17" y="0"/>
                  </a:cubicBezTo>
                  <a:cubicBezTo>
                    <a:pt x="11" y="2"/>
                    <a:pt x="0" y="2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4" name="Freeform 1139"/>
            <p:cNvSpPr>
              <a:spLocks noChangeArrowheads="1"/>
            </p:cNvSpPr>
            <p:nvPr/>
          </p:nvSpPr>
          <p:spPr bwMode="auto">
            <a:xfrm>
              <a:off x="4170363" y="2692400"/>
              <a:ext cx="3175" cy="4763"/>
            </a:xfrm>
            <a:custGeom>
              <a:avLst/>
              <a:gdLst>
                <a:gd name="T0" fmla="*/ 8 w 9"/>
                <a:gd name="T1" fmla="*/ 8 h 12"/>
                <a:gd name="T2" fmla="*/ 8 w 9"/>
                <a:gd name="T3" fmla="*/ 5 h 12"/>
                <a:gd name="T4" fmla="*/ 5 w 9"/>
                <a:gd name="T5" fmla="*/ 2 h 12"/>
                <a:gd name="T6" fmla="*/ 8 w 9"/>
                <a:gd name="T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8"/>
                  </a:moveTo>
                  <a:cubicBezTo>
                    <a:pt x="8" y="8"/>
                    <a:pt x="5" y="5"/>
                    <a:pt x="8" y="5"/>
                  </a:cubicBezTo>
                  <a:lnTo>
                    <a:pt x="5" y="2"/>
                  </a:lnTo>
                  <a:cubicBezTo>
                    <a:pt x="0" y="0"/>
                    <a:pt x="5" y="11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5" name="Freeform 1140"/>
            <p:cNvSpPr>
              <a:spLocks noChangeArrowheads="1"/>
            </p:cNvSpPr>
            <p:nvPr/>
          </p:nvSpPr>
          <p:spPr bwMode="auto">
            <a:xfrm>
              <a:off x="4171950" y="2682875"/>
              <a:ext cx="4763" cy="4763"/>
            </a:xfrm>
            <a:custGeom>
              <a:avLst/>
              <a:gdLst>
                <a:gd name="T0" fmla="*/ 3 w 15"/>
                <a:gd name="T1" fmla="*/ 12 h 13"/>
                <a:gd name="T2" fmla="*/ 3 w 15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3" y="12"/>
                  </a:moveTo>
                  <a:cubicBezTo>
                    <a:pt x="14" y="3"/>
                    <a:pt x="0" y="0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6" name="Freeform 1141"/>
            <p:cNvSpPr>
              <a:spLocks noChangeArrowheads="1"/>
            </p:cNvSpPr>
            <p:nvPr/>
          </p:nvSpPr>
          <p:spPr bwMode="auto">
            <a:xfrm>
              <a:off x="4175125" y="2684463"/>
              <a:ext cx="1588" cy="4762"/>
            </a:xfrm>
            <a:custGeom>
              <a:avLst/>
              <a:gdLst>
                <a:gd name="T0" fmla="*/ 5 w 6"/>
                <a:gd name="T1" fmla="*/ 9 h 15"/>
                <a:gd name="T2" fmla="*/ 5 w 6"/>
                <a:gd name="T3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5">
                  <a:moveTo>
                    <a:pt x="5" y="9"/>
                  </a:moveTo>
                  <a:cubicBezTo>
                    <a:pt x="0" y="0"/>
                    <a:pt x="0" y="14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7" name="Freeform 1142"/>
            <p:cNvSpPr>
              <a:spLocks noChangeArrowheads="1"/>
            </p:cNvSpPr>
            <p:nvPr/>
          </p:nvSpPr>
          <p:spPr bwMode="auto">
            <a:xfrm>
              <a:off x="4178300" y="2689225"/>
              <a:ext cx="4763" cy="6350"/>
            </a:xfrm>
            <a:custGeom>
              <a:avLst/>
              <a:gdLst>
                <a:gd name="T0" fmla="*/ 3 w 12"/>
                <a:gd name="T1" fmla="*/ 0 h 18"/>
                <a:gd name="T2" fmla="*/ 3 w 12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3" y="0"/>
                  </a:moveTo>
                  <a:cubicBezTo>
                    <a:pt x="0" y="17"/>
                    <a:pt x="11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8" name="Freeform 1143"/>
            <p:cNvSpPr>
              <a:spLocks noChangeArrowheads="1"/>
            </p:cNvSpPr>
            <p:nvPr/>
          </p:nvSpPr>
          <p:spPr bwMode="auto">
            <a:xfrm>
              <a:off x="4276725" y="2654300"/>
              <a:ext cx="4763" cy="1588"/>
            </a:xfrm>
            <a:custGeom>
              <a:avLst/>
              <a:gdLst>
                <a:gd name="T0" fmla="*/ 8 w 12"/>
                <a:gd name="T1" fmla="*/ 0 h 6"/>
                <a:gd name="T2" fmla="*/ 8 w 12"/>
                <a:gd name="T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6">
                  <a:moveTo>
                    <a:pt x="8" y="0"/>
                  </a:moveTo>
                  <a:cubicBezTo>
                    <a:pt x="0" y="0"/>
                    <a:pt x="11" y="5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9" name="Freeform 1144"/>
            <p:cNvSpPr>
              <a:spLocks noChangeArrowheads="1"/>
            </p:cNvSpPr>
            <p:nvPr/>
          </p:nvSpPr>
          <p:spPr bwMode="auto">
            <a:xfrm>
              <a:off x="4267200" y="2654300"/>
              <a:ext cx="1588" cy="6350"/>
            </a:xfrm>
            <a:custGeom>
              <a:avLst/>
              <a:gdLst>
                <a:gd name="T0" fmla="*/ 5 w 6"/>
                <a:gd name="T1" fmla="*/ 5 h 17"/>
                <a:gd name="T2" fmla="*/ 5 w 6"/>
                <a:gd name="T3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7">
                  <a:moveTo>
                    <a:pt x="5" y="5"/>
                  </a:moveTo>
                  <a:cubicBezTo>
                    <a:pt x="0" y="0"/>
                    <a:pt x="2" y="16"/>
                    <a:pt x="5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0" name="Freeform 1145"/>
            <p:cNvSpPr>
              <a:spLocks noChangeArrowheads="1"/>
            </p:cNvSpPr>
            <p:nvPr/>
          </p:nvSpPr>
          <p:spPr bwMode="auto">
            <a:xfrm>
              <a:off x="4251325" y="2654300"/>
              <a:ext cx="4763" cy="3175"/>
            </a:xfrm>
            <a:custGeom>
              <a:avLst/>
              <a:gdLst>
                <a:gd name="T0" fmla="*/ 0 w 13"/>
                <a:gd name="T1" fmla="*/ 3 h 10"/>
                <a:gd name="T2" fmla="*/ 9 w 13"/>
                <a:gd name="T3" fmla="*/ 9 h 10"/>
                <a:gd name="T4" fmla="*/ 0 w 13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0" y="3"/>
                  </a:moveTo>
                  <a:cubicBezTo>
                    <a:pt x="0" y="6"/>
                    <a:pt x="3" y="9"/>
                    <a:pt x="9" y="9"/>
                  </a:cubicBezTo>
                  <a:cubicBezTo>
                    <a:pt x="12" y="3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1" name="Freeform 1146"/>
            <p:cNvSpPr>
              <a:spLocks noChangeArrowheads="1"/>
            </p:cNvSpPr>
            <p:nvPr/>
          </p:nvSpPr>
          <p:spPr bwMode="auto">
            <a:xfrm>
              <a:off x="4240213" y="2659063"/>
              <a:ext cx="6350" cy="3175"/>
            </a:xfrm>
            <a:custGeom>
              <a:avLst/>
              <a:gdLst>
                <a:gd name="T0" fmla="*/ 15 w 16"/>
                <a:gd name="T1" fmla="*/ 0 h 10"/>
                <a:gd name="T2" fmla="*/ 15 w 16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0">
                  <a:moveTo>
                    <a:pt x="15" y="0"/>
                  </a:moveTo>
                  <a:cubicBezTo>
                    <a:pt x="0" y="0"/>
                    <a:pt x="15" y="9"/>
                    <a:pt x="1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2" name="Freeform 1147"/>
            <p:cNvSpPr>
              <a:spLocks noChangeArrowheads="1"/>
            </p:cNvSpPr>
            <p:nvPr/>
          </p:nvSpPr>
          <p:spPr bwMode="auto">
            <a:xfrm>
              <a:off x="4235450" y="2655888"/>
              <a:ext cx="3175" cy="6350"/>
            </a:xfrm>
            <a:custGeom>
              <a:avLst/>
              <a:gdLst>
                <a:gd name="T0" fmla="*/ 9 w 10"/>
                <a:gd name="T1" fmla="*/ 8 h 18"/>
                <a:gd name="T2" fmla="*/ 9 w 10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8"/>
                  </a:moveTo>
                  <a:cubicBezTo>
                    <a:pt x="0" y="0"/>
                    <a:pt x="9" y="17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3" name="Freeform 1148"/>
            <p:cNvSpPr>
              <a:spLocks noChangeArrowheads="1"/>
            </p:cNvSpPr>
            <p:nvPr/>
          </p:nvSpPr>
          <p:spPr bwMode="auto">
            <a:xfrm>
              <a:off x="4217988" y="2662238"/>
              <a:ext cx="4762" cy="4762"/>
            </a:xfrm>
            <a:custGeom>
              <a:avLst/>
              <a:gdLst>
                <a:gd name="T0" fmla="*/ 3 w 15"/>
                <a:gd name="T1" fmla="*/ 0 h 12"/>
                <a:gd name="T2" fmla="*/ 14 w 15"/>
                <a:gd name="T3" fmla="*/ 11 h 12"/>
                <a:gd name="T4" fmla="*/ 3 w 15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3" y="0"/>
                  </a:moveTo>
                  <a:cubicBezTo>
                    <a:pt x="0" y="6"/>
                    <a:pt x="6" y="11"/>
                    <a:pt x="14" y="11"/>
                  </a:cubicBezTo>
                  <a:cubicBezTo>
                    <a:pt x="11" y="6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4" name="Freeform 1149"/>
            <p:cNvSpPr>
              <a:spLocks noChangeArrowheads="1"/>
            </p:cNvSpPr>
            <p:nvPr/>
          </p:nvSpPr>
          <p:spPr bwMode="auto">
            <a:xfrm>
              <a:off x="4260850" y="2649538"/>
              <a:ext cx="4763" cy="3175"/>
            </a:xfrm>
            <a:custGeom>
              <a:avLst/>
              <a:gdLst>
                <a:gd name="T0" fmla="*/ 11 w 15"/>
                <a:gd name="T1" fmla="*/ 0 h 7"/>
                <a:gd name="T2" fmla="*/ 11 w 15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7">
                  <a:moveTo>
                    <a:pt x="11" y="0"/>
                  </a:moveTo>
                  <a:cubicBezTo>
                    <a:pt x="0" y="0"/>
                    <a:pt x="14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5" name="Freeform 1150"/>
            <p:cNvSpPr>
              <a:spLocks noChangeArrowheads="1"/>
            </p:cNvSpPr>
            <p:nvPr/>
          </p:nvSpPr>
          <p:spPr bwMode="auto">
            <a:xfrm>
              <a:off x="4278313" y="2644775"/>
              <a:ext cx="1587" cy="1588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0" y="0"/>
                    <a:pt x="2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6" name="Freeform 1151"/>
            <p:cNvSpPr>
              <a:spLocks noChangeArrowheads="1"/>
            </p:cNvSpPr>
            <p:nvPr/>
          </p:nvSpPr>
          <p:spPr bwMode="auto">
            <a:xfrm>
              <a:off x="4241800" y="2655888"/>
              <a:ext cx="4763" cy="3175"/>
            </a:xfrm>
            <a:custGeom>
              <a:avLst/>
              <a:gdLst>
                <a:gd name="T0" fmla="*/ 11 w 12"/>
                <a:gd name="T1" fmla="*/ 0 h 7"/>
                <a:gd name="T2" fmla="*/ 11 w 12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0" y="0"/>
                    <a:pt x="11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7" name="Freeform 1152"/>
            <p:cNvSpPr>
              <a:spLocks noChangeArrowheads="1"/>
            </p:cNvSpPr>
            <p:nvPr/>
          </p:nvSpPr>
          <p:spPr bwMode="auto">
            <a:xfrm>
              <a:off x="4257675" y="2649538"/>
              <a:ext cx="6350" cy="3175"/>
            </a:xfrm>
            <a:custGeom>
              <a:avLst/>
              <a:gdLst>
                <a:gd name="T0" fmla="*/ 12 w 16"/>
                <a:gd name="T1" fmla="*/ 0 h 10"/>
                <a:gd name="T2" fmla="*/ 12 w 16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0">
                  <a:moveTo>
                    <a:pt x="12" y="0"/>
                  </a:moveTo>
                  <a:cubicBezTo>
                    <a:pt x="0" y="0"/>
                    <a:pt x="15" y="9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8" name="Freeform 1153"/>
            <p:cNvSpPr>
              <a:spLocks noChangeArrowheads="1"/>
            </p:cNvSpPr>
            <p:nvPr/>
          </p:nvSpPr>
          <p:spPr bwMode="auto">
            <a:xfrm>
              <a:off x="4246563" y="2649538"/>
              <a:ext cx="4762" cy="4762"/>
            </a:xfrm>
            <a:custGeom>
              <a:avLst/>
              <a:gdLst>
                <a:gd name="T0" fmla="*/ 3 w 13"/>
                <a:gd name="T1" fmla="*/ 11 h 12"/>
                <a:gd name="T2" fmla="*/ 12 w 13"/>
                <a:gd name="T3" fmla="*/ 0 h 12"/>
                <a:gd name="T4" fmla="*/ 3 w 13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3" y="11"/>
                  </a:moveTo>
                  <a:cubicBezTo>
                    <a:pt x="12" y="11"/>
                    <a:pt x="9" y="6"/>
                    <a:pt x="12" y="0"/>
                  </a:cubicBezTo>
                  <a:cubicBezTo>
                    <a:pt x="3" y="3"/>
                    <a:pt x="0" y="6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9" name="Freeform 1154"/>
            <p:cNvSpPr>
              <a:spLocks noChangeArrowheads="1"/>
            </p:cNvSpPr>
            <p:nvPr/>
          </p:nvSpPr>
          <p:spPr bwMode="auto">
            <a:xfrm>
              <a:off x="4211638" y="2662238"/>
              <a:ext cx="3175" cy="6350"/>
            </a:xfrm>
            <a:custGeom>
              <a:avLst/>
              <a:gdLst>
                <a:gd name="T0" fmla="*/ 9 w 10"/>
                <a:gd name="T1" fmla="*/ 6 h 18"/>
                <a:gd name="T2" fmla="*/ 9 w 10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6"/>
                  </a:moveTo>
                  <a:cubicBezTo>
                    <a:pt x="0" y="0"/>
                    <a:pt x="6" y="17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0" name="Freeform 1155"/>
            <p:cNvSpPr>
              <a:spLocks noChangeArrowheads="1"/>
            </p:cNvSpPr>
            <p:nvPr/>
          </p:nvSpPr>
          <p:spPr bwMode="auto">
            <a:xfrm>
              <a:off x="4268788" y="2641600"/>
              <a:ext cx="6350" cy="6350"/>
            </a:xfrm>
            <a:custGeom>
              <a:avLst/>
              <a:gdLst>
                <a:gd name="T0" fmla="*/ 0 w 18"/>
                <a:gd name="T1" fmla="*/ 11 h 18"/>
                <a:gd name="T2" fmla="*/ 0 w 18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8">
                  <a:moveTo>
                    <a:pt x="0" y="11"/>
                  </a:moveTo>
                  <a:cubicBezTo>
                    <a:pt x="17" y="17"/>
                    <a:pt x="9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1" name="Freeform 1156"/>
            <p:cNvSpPr>
              <a:spLocks noChangeArrowheads="1"/>
            </p:cNvSpPr>
            <p:nvPr/>
          </p:nvSpPr>
          <p:spPr bwMode="auto">
            <a:xfrm>
              <a:off x="4235450" y="2654300"/>
              <a:ext cx="4763" cy="3175"/>
            </a:xfrm>
            <a:custGeom>
              <a:avLst/>
              <a:gdLst>
                <a:gd name="T0" fmla="*/ 12 w 13"/>
                <a:gd name="T1" fmla="*/ 5 h 9"/>
                <a:gd name="T2" fmla="*/ 0 w 13"/>
                <a:gd name="T3" fmla="*/ 0 h 9"/>
                <a:gd name="T4" fmla="*/ 12 w 13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9">
                  <a:moveTo>
                    <a:pt x="12" y="5"/>
                  </a:moveTo>
                  <a:cubicBezTo>
                    <a:pt x="12" y="0"/>
                    <a:pt x="3" y="0"/>
                    <a:pt x="0" y="0"/>
                  </a:cubicBezTo>
                  <a:cubicBezTo>
                    <a:pt x="0" y="8"/>
                    <a:pt x="6" y="8"/>
                    <a:pt x="12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2" name="Freeform 1157"/>
            <p:cNvSpPr>
              <a:spLocks noChangeArrowheads="1"/>
            </p:cNvSpPr>
            <p:nvPr/>
          </p:nvSpPr>
          <p:spPr bwMode="auto">
            <a:xfrm>
              <a:off x="4273550" y="2636838"/>
              <a:ext cx="3175" cy="6350"/>
            </a:xfrm>
            <a:custGeom>
              <a:avLst/>
              <a:gdLst>
                <a:gd name="T0" fmla="*/ 9 w 10"/>
                <a:gd name="T1" fmla="*/ 8 h 17"/>
                <a:gd name="T2" fmla="*/ 9 w 10"/>
                <a:gd name="T3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7">
                  <a:moveTo>
                    <a:pt x="9" y="8"/>
                  </a:moveTo>
                  <a:cubicBezTo>
                    <a:pt x="0" y="0"/>
                    <a:pt x="9" y="16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3" name="Freeform 1158"/>
            <p:cNvSpPr>
              <a:spLocks noChangeArrowheads="1"/>
            </p:cNvSpPr>
            <p:nvPr/>
          </p:nvSpPr>
          <p:spPr bwMode="auto">
            <a:xfrm>
              <a:off x="4243388" y="2649538"/>
              <a:ext cx="4762" cy="3175"/>
            </a:xfrm>
            <a:custGeom>
              <a:avLst/>
              <a:gdLst>
                <a:gd name="T0" fmla="*/ 11 w 12"/>
                <a:gd name="T1" fmla="*/ 0 h 7"/>
                <a:gd name="T2" fmla="*/ 11 w 12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0" y="0"/>
                    <a:pt x="11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4" name="Freeform 1159"/>
            <p:cNvSpPr>
              <a:spLocks noChangeArrowheads="1"/>
            </p:cNvSpPr>
            <p:nvPr/>
          </p:nvSpPr>
          <p:spPr bwMode="auto">
            <a:xfrm>
              <a:off x="4270375" y="2633663"/>
              <a:ext cx="4763" cy="4762"/>
            </a:xfrm>
            <a:custGeom>
              <a:avLst/>
              <a:gdLst>
                <a:gd name="T0" fmla="*/ 0 w 15"/>
                <a:gd name="T1" fmla="*/ 9 h 12"/>
                <a:gd name="T2" fmla="*/ 14 w 15"/>
                <a:gd name="T3" fmla="*/ 0 h 12"/>
                <a:gd name="T4" fmla="*/ 0 w 15"/>
                <a:gd name="T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0" y="9"/>
                  </a:moveTo>
                  <a:cubicBezTo>
                    <a:pt x="6" y="11"/>
                    <a:pt x="11" y="6"/>
                    <a:pt x="14" y="0"/>
                  </a:cubicBezTo>
                  <a:cubicBezTo>
                    <a:pt x="11" y="6"/>
                    <a:pt x="0" y="3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5" name="Freeform 1160"/>
            <p:cNvSpPr>
              <a:spLocks noChangeArrowheads="1"/>
            </p:cNvSpPr>
            <p:nvPr/>
          </p:nvSpPr>
          <p:spPr bwMode="auto">
            <a:xfrm>
              <a:off x="4237038" y="2657475"/>
              <a:ext cx="3175" cy="4763"/>
            </a:xfrm>
            <a:custGeom>
              <a:avLst/>
              <a:gdLst>
                <a:gd name="T0" fmla="*/ 8 w 9"/>
                <a:gd name="T1" fmla="*/ 8 h 12"/>
                <a:gd name="T2" fmla="*/ 8 w 9"/>
                <a:gd name="T3" fmla="*/ 5 h 12"/>
                <a:gd name="T4" fmla="*/ 6 w 9"/>
                <a:gd name="T5" fmla="*/ 0 h 12"/>
                <a:gd name="T6" fmla="*/ 8 w 9"/>
                <a:gd name="T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8"/>
                  </a:moveTo>
                  <a:cubicBezTo>
                    <a:pt x="8" y="8"/>
                    <a:pt x="6" y="5"/>
                    <a:pt x="8" y="5"/>
                  </a:cubicBezTo>
                  <a:lnTo>
                    <a:pt x="6" y="0"/>
                  </a:lnTo>
                  <a:cubicBezTo>
                    <a:pt x="0" y="0"/>
                    <a:pt x="6" y="11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6" name="Freeform 1161"/>
            <p:cNvSpPr>
              <a:spLocks noChangeArrowheads="1"/>
            </p:cNvSpPr>
            <p:nvPr/>
          </p:nvSpPr>
          <p:spPr bwMode="auto">
            <a:xfrm>
              <a:off x="4238625" y="2647950"/>
              <a:ext cx="6350" cy="4763"/>
            </a:xfrm>
            <a:custGeom>
              <a:avLst/>
              <a:gdLst>
                <a:gd name="T0" fmla="*/ 5 w 18"/>
                <a:gd name="T1" fmla="*/ 11 h 12"/>
                <a:gd name="T2" fmla="*/ 5 w 18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5" y="11"/>
                  </a:moveTo>
                  <a:cubicBezTo>
                    <a:pt x="17" y="2"/>
                    <a:pt x="0" y="0"/>
                    <a:pt x="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7" name="Freeform 1162"/>
            <p:cNvSpPr>
              <a:spLocks noChangeArrowheads="1"/>
            </p:cNvSpPr>
            <p:nvPr/>
          </p:nvSpPr>
          <p:spPr bwMode="auto">
            <a:xfrm>
              <a:off x="4241800" y="2647950"/>
              <a:ext cx="3175" cy="6350"/>
            </a:xfrm>
            <a:custGeom>
              <a:avLst/>
              <a:gdLst>
                <a:gd name="T0" fmla="*/ 6 w 7"/>
                <a:gd name="T1" fmla="*/ 9 h 16"/>
                <a:gd name="T2" fmla="*/ 6 w 7"/>
                <a:gd name="T3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6">
                  <a:moveTo>
                    <a:pt x="6" y="9"/>
                  </a:moveTo>
                  <a:cubicBezTo>
                    <a:pt x="0" y="0"/>
                    <a:pt x="0" y="15"/>
                    <a:pt x="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8" name="Freeform 1163"/>
            <p:cNvSpPr>
              <a:spLocks noChangeArrowheads="1"/>
            </p:cNvSpPr>
            <p:nvPr/>
          </p:nvSpPr>
          <p:spPr bwMode="auto">
            <a:xfrm>
              <a:off x="4246563" y="2654300"/>
              <a:ext cx="4762" cy="6350"/>
            </a:xfrm>
            <a:custGeom>
              <a:avLst/>
              <a:gdLst>
                <a:gd name="T0" fmla="*/ 3 w 13"/>
                <a:gd name="T1" fmla="*/ 0 h 18"/>
                <a:gd name="T2" fmla="*/ 3 w 13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3" y="0"/>
                  </a:moveTo>
                  <a:cubicBezTo>
                    <a:pt x="0" y="17"/>
                    <a:pt x="12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9" name="Freeform 1164"/>
            <p:cNvSpPr>
              <a:spLocks noChangeArrowheads="1"/>
            </p:cNvSpPr>
            <p:nvPr/>
          </p:nvSpPr>
          <p:spPr bwMode="auto">
            <a:xfrm>
              <a:off x="4294188" y="2679700"/>
              <a:ext cx="4762" cy="3175"/>
            </a:xfrm>
            <a:custGeom>
              <a:avLst/>
              <a:gdLst>
                <a:gd name="T0" fmla="*/ 11 w 12"/>
                <a:gd name="T1" fmla="*/ 0 h 7"/>
                <a:gd name="T2" fmla="*/ 11 w 12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0" y="0"/>
                    <a:pt x="11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0" name="Freeform 1165"/>
            <p:cNvSpPr>
              <a:spLocks noChangeArrowheads="1"/>
            </p:cNvSpPr>
            <p:nvPr/>
          </p:nvSpPr>
          <p:spPr bwMode="auto">
            <a:xfrm>
              <a:off x="4284663" y="2679700"/>
              <a:ext cx="3175" cy="6350"/>
            </a:xfrm>
            <a:custGeom>
              <a:avLst/>
              <a:gdLst>
                <a:gd name="T0" fmla="*/ 6 w 7"/>
                <a:gd name="T1" fmla="*/ 6 h 18"/>
                <a:gd name="T2" fmla="*/ 6 w 7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6" y="6"/>
                  </a:moveTo>
                  <a:cubicBezTo>
                    <a:pt x="0" y="0"/>
                    <a:pt x="3" y="17"/>
                    <a:pt x="6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1" name="Freeform 1166"/>
            <p:cNvSpPr>
              <a:spLocks noChangeArrowheads="1"/>
            </p:cNvSpPr>
            <p:nvPr/>
          </p:nvSpPr>
          <p:spPr bwMode="auto">
            <a:xfrm>
              <a:off x="4271963" y="2681288"/>
              <a:ext cx="3175" cy="3175"/>
            </a:xfrm>
            <a:custGeom>
              <a:avLst/>
              <a:gdLst>
                <a:gd name="T0" fmla="*/ 0 w 9"/>
                <a:gd name="T1" fmla="*/ 3 h 9"/>
                <a:gd name="T2" fmla="*/ 8 w 9"/>
                <a:gd name="T3" fmla="*/ 8 h 9"/>
                <a:gd name="T4" fmla="*/ 0 w 9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0" y="3"/>
                  </a:moveTo>
                  <a:cubicBezTo>
                    <a:pt x="0" y="5"/>
                    <a:pt x="3" y="8"/>
                    <a:pt x="8" y="8"/>
                  </a:cubicBezTo>
                  <a:cubicBezTo>
                    <a:pt x="8" y="3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2" name="Freeform 1167"/>
            <p:cNvSpPr>
              <a:spLocks noChangeArrowheads="1"/>
            </p:cNvSpPr>
            <p:nvPr/>
          </p:nvSpPr>
          <p:spPr bwMode="auto">
            <a:xfrm>
              <a:off x="4257675" y="2686050"/>
              <a:ext cx="4763" cy="3175"/>
            </a:xfrm>
            <a:custGeom>
              <a:avLst/>
              <a:gdLst>
                <a:gd name="T0" fmla="*/ 14 w 15"/>
                <a:gd name="T1" fmla="*/ 0 h 9"/>
                <a:gd name="T2" fmla="*/ 14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4" y="0"/>
                  </a:moveTo>
                  <a:cubicBezTo>
                    <a:pt x="0" y="0"/>
                    <a:pt x="14" y="8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3" name="Freeform 1168"/>
            <p:cNvSpPr>
              <a:spLocks noChangeArrowheads="1"/>
            </p:cNvSpPr>
            <p:nvPr/>
          </p:nvSpPr>
          <p:spPr bwMode="auto">
            <a:xfrm>
              <a:off x="4252913" y="2682875"/>
              <a:ext cx="4762" cy="6350"/>
            </a:xfrm>
            <a:custGeom>
              <a:avLst/>
              <a:gdLst>
                <a:gd name="T0" fmla="*/ 11 w 12"/>
                <a:gd name="T1" fmla="*/ 9 h 18"/>
                <a:gd name="T2" fmla="*/ 11 w 12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11" y="9"/>
                  </a:moveTo>
                  <a:cubicBezTo>
                    <a:pt x="0" y="0"/>
                    <a:pt x="9" y="17"/>
                    <a:pt x="11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4" name="Freeform 1169"/>
            <p:cNvSpPr>
              <a:spLocks noChangeArrowheads="1"/>
            </p:cNvSpPr>
            <p:nvPr/>
          </p:nvSpPr>
          <p:spPr bwMode="auto">
            <a:xfrm>
              <a:off x="4237038" y="2687638"/>
              <a:ext cx="4762" cy="4762"/>
            </a:xfrm>
            <a:custGeom>
              <a:avLst/>
              <a:gdLst>
                <a:gd name="T0" fmla="*/ 3 w 15"/>
                <a:gd name="T1" fmla="*/ 0 h 13"/>
                <a:gd name="T2" fmla="*/ 14 w 15"/>
                <a:gd name="T3" fmla="*/ 12 h 13"/>
                <a:gd name="T4" fmla="*/ 3 w 15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3" y="0"/>
                  </a:moveTo>
                  <a:cubicBezTo>
                    <a:pt x="0" y="6"/>
                    <a:pt x="6" y="12"/>
                    <a:pt x="14" y="12"/>
                  </a:cubicBezTo>
                  <a:cubicBezTo>
                    <a:pt x="11" y="6"/>
                    <a:pt x="8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5" name="Freeform 1170"/>
            <p:cNvSpPr>
              <a:spLocks noChangeArrowheads="1"/>
            </p:cNvSpPr>
            <p:nvPr/>
          </p:nvSpPr>
          <p:spPr bwMode="auto">
            <a:xfrm>
              <a:off x="4279900" y="2676525"/>
              <a:ext cx="6350" cy="3175"/>
            </a:xfrm>
            <a:custGeom>
              <a:avLst/>
              <a:gdLst>
                <a:gd name="T0" fmla="*/ 12 w 16"/>
                <a:gd name="T1" fmla="*/ 0 h 7"/>
                <a:gd name="T2" fmla="*/ 12 w 16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7">
                  <a:moveTo>
                    <a:pt x="12" y="0"/>
                  </a:moveTo>
                  <a:cubicBezTo>
                    <a:pt x="0" y="0"/>
                    <a:pt x="15" y="6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6" name="Freeform 1171"/>
            <p:cNvSpPr>
              <a:spLocks noChangeArrowheads="1"/>
            </p:cNvSpPr>
            <p:nvPr/>
          </p:nvSpPr>
          <p:spPr bwMode="auto">
            <a:xfrm>
              <a:off x="4297363" y="2670175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7" name="Freeform 1172"/>
            <p:cNvSpPr>
              <a:spLocks noChangeArrowheads="1"/>
            </p:cNvSpPr>
            <p:nvPr/>
          </p:nvSpPr>
          <p:spPr bwMode="auto">
            <a:xfrm>
              <a:off x="4260850" y="2681288"/>
              <a:ext cx="4763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8" name="Freeform 1173"/>
            <p:cNvSpPr>
              <a:spLocks noChangeArrowheads="1"/>
            </p:cNvSpPr>
            <p:nvPr/>
          </p:nvSpPr>
          <p:spPr bwMode="auto">
            <a:xfrm>
              <a:off x="4275138" y="2676525"/>
              <a:ext cx="4762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9" name="Freeform 1174"/>
            <p:cNvSpPr>
              <a:spLocks noChangeArrowheads="1"/>
            </p:cNvSpPr>
            <p:nvPr/>
          </p:nvSpPr>
          <p:spPr bwMode="auto">
            <a:xfrm>
              <a:off x="4264025" y="2678113"/>
              <a:ext cx="4763" cy="4762"/>
            </a:xfrm>
            <a:custGeom>
              <a:avLst/>
              <a:gdLst>
                <a:gd name="T0" fmla="*/ 3 w 12"/>
                <a:gd name="T1" fmla="*/ 12 h 13"/>
                <a:gd name="T2" fmla="*/ 11 w 12"/>
                <a:gd name="T3" fmla="*/ 0 h 13"/>
                <a:gd name="T4" fmla="*/ 3 w 12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3">
                  <a:moveTo>
                    <a:pt x="3" y="12"/>
                  </a:moveTo>
                  <a:cubicBezTo>
                    <a:pt x="11" y="12"/>
                    <a:pt x="9" y="6"/>
                    <a:pt x="11" y="0"/>
                  </a:cubicBezTo>
                  <a:cubicBezTo>
                    <a:pt x="3" y="0"/>
                    <a:pt x="0" y="3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0" name="Freeform 1175"/>
            <p:cNvSpPr>
              <a:spLocks noChangeArrowheads="1"/>
            </p:cNvSpPr>
            <p:nvPr/>
          </p:nvSpPr>
          <p:spPr bwMode="auto">
            <a:xfrm>
              <a:off x="4230688" y="2687638"/>
              <a:ext cx="3175" cy="6350"/>
            </a:xfrm>
            <a:custGeom>
              <a:avLst/>
              <a:gdLst>
                <a:gd name="T0" fmla="*/ 9 w 10"/>
                <a:gd name="T1" fmla="*/ 6 h 18"/>
                <a:gd name="T2" fmla="*/ 9 w 10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6"/>
                  </a:moveTo>
                  <a:cubicBezTo>
                    <a:pt x="0" y="0"/>
                    <a:pt x="9" y="17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1" name="Freeform 1176"/>
            <p:cNvSpPr>
              <a:spLocks noChangeArrowheads="1"/>
            </p:cNvSpPr>
            <p:nvPr/>
          </p:nvSpPr>
          <p:spPr bwMode="auto">
            <a:xfrm>
              <a:off x="4297363" y="2667000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2" name="Freeform 1177"/>
            <p:cNvSpPr>
              <a:spLocks noChangeArrowheads="1"/>
            </p:cNvSpPr>
            <p:nvPr/>
          </p:nvSpPr>
          <p:spPr bwMode="auto">
            <a:xfrm>
              <a:off x="4287838" y="2667000"/>
              <a:ext cx="4762" cy="6350"/>
            </a:xfrm>
            <a:custGeom>
              <a:avLst/>
              <a:gdLst>
                <a:gd name="T0" fmla="*/ 0 w 15"/>
                <a:gd name="T1" fmla="*/ 11 h 18"/>
                <a:gd name="T2" fmla="*/ 0 w 15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0" y="11"/>
                  </a:moveTo>
                  <a:cubicBezTo>
                    <a:pt x="14" y="17"/>
                    <a:pt x="6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3" name="Freeform 1178"/>
            <p:cNvSpPr>
              <a:spLocks noChangeArrowheads="1"/>
            </p:cNvSpPr>
            <p:nvPr/>
          </p:nvSpPr>
          <p:spPr bwMode="auto">
            <a:xfrm>
              <a:off x="4262438" y="2678113"/>
              <a:ext cx="1587" cy="1587"/>
            </a:xfrm>
            <a:custGeom>
              <a:avLst/>
              <a:gdLst>
                <a:gd name="T0" fmla="*/ 2 w 6"/>
                <a:gd name="T1" fmla="*/ 0 h 4"/>
                <a:gd name="T2" fmla="*/ 2 w 6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4">
                  <a:moveTo>
                    <a:pt x="2" y="0"/>
                  </a:moveTo>
                  <a:cubicBezTo>
                    <a:pt x="0" y="0"/>
                    <a:pt x="5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4" name="Freeform 1179"/>
            <p:cNvSpPr>
              <a:spLocks noChangeArrowheads="1"/>
            </p:cNvSpPr>
            <p:nvPr/>
          </p:nvSpPr>
          <p:spPr bwMode="auto">
            <a:xfrm>
              <a:off x="4252913" y="2679700"/>
              <a:ext cx="4762" cy="3175"/>
            </a:xfrm>
            <a:custGeom>
              <a:avLst/>
              <a:gdLst>
                <a:gd name="T0" fmla="*/ 11 w 12"/>
                <a:gd name="T1" fmla="*/ 6 h 9"/>
                <a:gd name="T2" fmla="*/ 0 w 12"/>
                <a:gd name="T3" fmla="*/ 0 h 9"/>
                <a:gd name="T4" fmla="*/ 11 w 12"/>
                <a:gd name="T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11" y="6"/>
                  </a:moveTo>
                  <a:cubicBezTo>
                    <a:pt x="11" y="0"/>
                    <a:pt x="3" y="0"/>
                    <a:pt x="0" y="0"/>
                  </a:cubicBezTo>
                  <a:cubicBezTo>
                    <a:pt x="0" y="8"/>
                    <a:pt x="6" y="8"/>
                    <a:pt x="1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5" name="Freeform 1180"/>
            <p:cNvSpPr>
              <a:spLocks noChangeArrowheads="1"/>
            </p:cNvSpPr>
            <p:nvPr/>
          </p:nvSpPr>
          <p:spPr bwMode="auto">
            <a:xfrm>
              <a:off x="4292600" y="2663825"/>
              <a:ext cx="3175" cy="4763"/>
            </a:xfrm>
            <a:custGeom>
              <a:avLst/>
              <a:gdLst>
                <a:gd name="T0" fmla="*/ 9 w 10"/>
                <a:gd name="T1" fmla="*/ 5 h 15"/>
                <a:gd name="T2" fmla="*/ 9 w 10"/>
                <a:gd name="T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9" y="5"/>
                  </a:moveTo>
                  <a:cubicBezTo>
                    <a:pt x="0" y="0"/>
                    <a:pt x="9" y="14"/>
                    <a:pt x="9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6" name="Freeform 1181"/>
            <p:cNvSpPr>
              <a:spLocks noChangeArrowheads="1"/>
            </p:cNvSpPr>
            <p:nvPr/>
          </p:nvSpPr>
          <p:spPr bwMode="auto">
            <a:xfrm>
              <a:off x="4260850" y="2676525"/>
              <a:ext cx="4763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7" name="Freeform 1182"/>
            <p:cNvSpPr>
              <a:spLocks noChangeArrowheads="1"/>
            </p:cNvSpPr>
            <p:nvPr/>
          </p:nvSpPr>
          <p:spPr bwMode="auto">
            <a:xfrm>
              <a:off x="4289425" y="2660650"/>
              <a:ext cx="6350" cy="4763"/>
            </a:xfrm>
            <a:custGeom>
              <a:avLst/>
              <a:gdLst>
                <a:gd name="T0" fmla="*/ 3 w 18"/>
                <a:gd name="T1" fmla="*/ 9 h 13"/>
                <a:gd name="T2" fmla="*/ 17 w 18"/>
                <a:gd name="T3" fmla="*/ 0 h 13"/>
                <a:gd name="T4" fmla="*/ 3 w 18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3" y="9"/>
                  </a:moveTo>
                  <a:cubicBezTo>
                    <a:pt x="8" y="12"/>
                    <a:pt x="14" y="6"/>
                    <a:pt x="17" y="0"/>
                  </a:cubicBezTo>
                  <a:cubicBezTo>
                    <a:pt x="11" y="3"/>
                    <a:pt x="0" y="3"/>
                    <a:pt x="3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8" name="Freeform 1183"/>
            <p:cNvSpPr>
              <a:spLocks noChangeArrowheads="1"/>
            </p:cNvSpPr>
            <p:nvPr/>
          </p:nvSpPr>
          <p:spPr bwMode="auto">
            <a:xfrm>
              <a:off x="4254500" y="2684463"/>
              <a:ext cx="3175" cy="4762"/>
            </a:xfrm>
            <a:custGeom>
              <a:avLst/>
              <a:gdLst>
                <a:gd name="T0" fmla="*/ 8 w 9"/>
                <a:gd name="T1" fmla="*/ 9 h 12"/>
                <a:gd name="T2" fmla="*/ 8 w 9"/>
                <a:gd name="T3" fmla="*/ 6 h 12"/>
                <a:gd name="T4" fmla="*/ 5 w 9"/>
                <a:gd name="T5" fmla="*/ 0 h 12"/>
                <a:gd name="T6" fmla="*/ 8 w 9"/>
                <a:gd name="T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9"/>
                  </a:moveTo>
                  <a:cubicBezTo>
                    <a:pt x="8" y="9"/>
                    <a:pt x="5" y="6"/>
                    <a:pt x="8" y="6"/>
                  </a:cubicBezTo>
                  <a:lnTo>
                    <a:pt x="5" y="0"/>
                  </a:lnTo>
                  <a:cubicBezTo>
                    <a:pt x="0" y="0"/>
                    <a:pt x="5" y="11"/>
                    <a:pt x="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9" name="Freeform 1184"/>
            <p:cNvSpPr>
              <a:spLocks noChangeArrowheads="1"/>
            </p:cNvSpPr>
            <p:nvPr/>
          </p:nvSpPr>
          <p:spPr bwMode="auto">
            <a:xfrm>
              <a:off x="4257675" y="2673350"/>
              <a:ext cx="6350" cy="4763"/>
            </a:xfrm>
            <a:custGeom>
              <a:avLst/>
              <a:gdLst>
                <a:gd name="T0" fmla="*/ 3 w 16"/>
                <a:gd name="T1" fmla="*/ 11 h 12"/>
                <a:gd name="T2" fmla="*/ 3 w 16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2">
                  <a:moveTo>
                    <a:pt x="3" y="11"/>
                  </a:moveTo>
                  <a:cubicBezTo>
                    <a:pt x="15" y="3"/>
                    <a:pt x="0" y="0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0" name="Freeform 1185"/>
            <p:cNvSpPr>
              <a:spLocks noChangeArrowheads="1"/>
            </p:cNvSpPr>
            <p:nvPr/>
          </p:nvSpPr>
          <p:spPr bwMode="auto">
            <a:xfrm>
              <a:off x="4260850" y="2674938"/>
              <a:ext cx="3175" cy="4762"/>
            </a:xfrm>
            <a:custGeom>
              <a:avLst/>
              <a:gdLst>
                <a:gd name="T0" fmla="*/ 6 w 7"/>
                <a:gd name="T1" fmla="*/ 8 h 15"/>
                <a:gd name="T2" fmla="*/ 6 w 7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6" y="8"/>
                  </a:moveTo>
                  <a:cubicBezTo>
                    <a:pt x="3" y="0"/>
                    <a:pt x="0" y="14"/>
                    <a:pt x="6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1" name="Freeform 1186"/>
            <p:cNvSpPr>
              <a:spLocks noChangeArrowheads="1"/>
            </p:cNvSpPr>
            <p:nvPr/>
          </p:nvSpPr>
          <p:spPr bwMode="auto">
            <a:xfrm>
              <a:off x="4264025" y="2681288"/>
              <a:ext cx="4763" cy="6350"/>
            </a:xfrm>
            <a:custGeom>
              <a:avLst/>
              <a:gdLst>
                <a:gd name="T0" fmla="*/ 3 w 12"/>
                <a:gd name="T1" fmla="*/ 0 h 18"/>
                <a:gd name="T2" fmla="*/ 3 w 12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3" y="0"/>
                  </a:moveTo>
                  <a:cubicBezTo>
                    <a:pt x="0" y="17"/>
                    <a:pt x="11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2" name="Freeform 1187"/>
            <p:cNvSpPr>
              <a:spLocks noChangeArrowheads="1"/>
            </p:cNvSpPr>
            <p:nvPr/>
          </p:nvSpPr>
          <p:spPr bwMode="auto">
            <a:xfrm>
              <a:off x="3992563" y="2719388"/>
              <a:ext cx="6350" cy="3175"/>
            </a:xfrm>
            <a:custGeom>
              <a:avLst/>
              <a:gdLst>
                <a:gd name="T0" fmla="*/ 0 w 18"/>
                <a:gd name="T1" fmla="*/ 8 h 9"/>
                <a:gd name="T2" fmla="*/ 0 w 18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0" y="8"/>
                  </a:moveTo>
                  <a:cubicBezTo>
                    <a:pt x="17" y="8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3" name="Freeform 1188"/>
            <p:cNvSpPr>
              <a:spLocks noChangeArrowheads="1"/>
            </p:cNvSpPr>
            <p:nvPr/>
          </p:nvSpPr>
          <p:spPr bwMode="auto">
            <a:xfrm>
              <a:off x="4187825" y="2687638"/>
              <a:ext cx="4763" cy="6350"/>
            </a:xfrm>
            <a:custGeom>
              <a:avLst/>
              <a:gdLst>
                <a:gd name="T0" fmla="*/ 0 w 12"/>
                <a:gd name="T1" fmla="*/ 9 h 16"/>
                <a:gd name="T2" fmla="*/ 11 w 12"/>
                <a:gd name="T3" fmla="*/ 12 h 16"/>
                <a:gd name="T4" fmla="*/ 0 w 12"/>
                <a:gd name="T5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6">
                  <a:moveTo>
                    <a:pt x="0" y="9"/>
                  </a:moveTo>
                  <a:cubicBezTo>
                    <a:pt x="2" y="12"/>
                    <a:pt x="8" y="15"/>
                    <a:pt x="11" y="12"/>
                  </a:cubicBezTo>
                  <a:cubicBezTo>
                    <a:pt x="8" y="6"/>
                    <a:pt x="2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4" name="Freeform 1189"/>
            <p:cNvSpPr>
              <a:spLocks noChangeArrowheads="1"/>
            </p:cNvSpPr>
            <p:nvPr/>
          </p:nvSpPr>
          <p:spPr bwMode="auto">
            <a:xfrm>
              <a:off x="4181475" y="2679700"/>
              <a:ext cx="4763" cy="6350"/>
            </a:xfrm>
            <a:custGeom>
              <a:avLst/>
              <a:gdLst>
                <a:gd name="T0" fmla="*/ 5 w 15"/>
                <a:gd name="T1" fmla="*/ 17 h 18"/>
                <a:gd name="T2" fmla="*/ 14 w 15"/>
                <a:gd name="T3" fmla="*/ 11 h 18"/>
                <a:gd name="T4" fmla="*/ 5 w 15"/>
                <a:gd name="T5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8">
                  <a:moveTo>
                    <a:pt x="5" y="17"/>
                  </a:moveTo>
                  <a:cubicBezTo>
                    <a:pt x="8" y="14"/>
                    <a:pt x="11" y="17"/>
                    <a:pt x="14" y="11"/>
                  </a:cubicBezTo>
                  <a:cubicBezTo>
                    <a:pt x="11" y="0"/>
                    <a:pt x="0" y="11"/>
                    <a:pt x="5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5" name="Freeform 1190"/>
            <p:cNvSpPr>
              <a:spLocks noChangeArrowheads="1"/>
            </p:cNvSpPr>
            <p:nvPr/>
          </p:nvSpPr>
          <p:spPr bwMode="auto">
            <a:xfrm>
              <a:off x="4189413" y="2667000"/>
              <a:ext cx="4762" cy="7938"/>
            </a:xfrm>
            <a:custGeom>
              <a:avLst/>
              <a:gdLst>
                <a:gd name="T0" fmla="*/ 0 w 15"/>
                <a:gd name="T1" fmla="*/ 3 h 24"/>
                <a:gd name="T2" fmla="*/ 0 w 15"/>
                <a:gd name="T3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0" y="3"/>
                  </a:moveTo>
                  <a:cubicBezTo>
                    <a:pt x="3" y="23"/>
                    <a:pt x="14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6" name="Freeform 1191"/>
            <p:cNvSpPr>
              <a:spLocks noChangeArrowheads="1"/>
            </p:cNvSpPr>
            <p:nvPr/>
          </p:nvSpPr>
          <p:spPr bwMode="auto">
            <a:xfrm>
              <a:off x="4194175" y="2659063"/>
              <a:ext cx="3175" cy="7937"/>
            </a:xfrm>
            <a:custGeom>
              <a:avLst/>
              <a:gdLst>
                <a:gd name="T0" fmla="*/ 9 w 10"/>
                <a:gd name="T1" fmla="*/ 12 h 21"/>
                <a:gd name="T2" fmla="*/ 9 w 10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9" y="12"/>
                  </a:moveTo>
                  <a:cubicBezTo>
                    <a:pt x="0" y="0"/>
                    <a:pt x="0" y="20"/>
                    <a:pt x="9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7" name="Freeform 1192"/>
            <p:cNvSpPr>
              <a:spLocks noChangeArrowheads="1"/>
            </p:cNvSpPr>
            <p:nvPr/>
          </p:nvSpPr>
          <p:spPr bwMode="auto">
            <a:xfrm>
              <a:off x="4225925" y="2668588"/>
              <a:ext cx="6350" cy="4762"/>
            </a:xfrm>
            <a:custGeom>
              <a:avLst/>
              <a:gdLst>
                <a:gd name="T0" fmla="*/ 17 w 18"/>
                <a:gd name="T1" fmla="*/ 8 h 15"/>
                <a:gd name="T2" fmla="*/ 11 w 18"/>
                <a:gd name="T3" fmla="*/ 0 h 15"/>
                <a:gd name="T4" fmla="*/ 17 w 18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7" y="8"/>
                  </a:moveTo>
                  <a:cubicBezTo>
                    <a:pt x="17" y="8"/>
                    <a:pt x="8" y="0"/>
                    <a:pt x="11" y="0"/>
                  </a:cubicBezTo>
                  <a:cubicBezTo>
                    <a:pt x="0" y="0"/>
                    <a:pt x="14" y="14"/>
                    <a:pt x="17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8" name="Freeform 1193"/>
            <p:cNvSpPr>
              <a:spLocks noChangeArrowheads="1"/>
            </p:cNvSpPr>
            <p:nvPr/>
          </p:nvSpPr>
          <p:spPr bwMode="auto">
            <a:xfrm>
              <a:off x="4235450" y="2670175"/>
              <a:ext cx="11113" cy="1588"/>
            </a:xfrm>
            <a:custGeom>
              <a:avLst/>
              <a:gdLst>
                <a:gd name="T0" fmla="*/ 14 w 30"/>
                <a:gd name="T1" fmla="*/ 3 h 4"/>
                <a:gd name="T2" fmla="*/ 14 w 30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0" h="4">
                  <a:moveTo>
                    <a:pt x="14" y="3"/>
                  </a:moveTo>
                  <a:cubicBezTo>
                    <a:pt x="29" y="0"/>
                    <a:pt x="0" y="0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9" name="Freeform 1194"/>
            <p:cNvSpPr>
              <a:spLocks noChangeArrowheads="1"/>
            </p:cNvSpPr>
            <p:nvPr/>
          </p:nvSpPr>
          <p:spPr bwMode="auto">
            <a:xfrm>
              <a:off x="4233863" y="2662238"/>
              <a:ext cx="4762" cy="4762"/>
            </a:xfrm>
            <a:custGeom>
              <a:avLst/>
              <a:gdLst>
                <a:gd name="T0" fmla="*/ 2 w 12"/>
                <a:gd name="T1" fmla="*/ 6 h 15"/>
                <a:gd name="T2" fmla="*/ 2 w 12"/>
                <a:gd name="T3" fmla="*/ 14 h 15"/>
                <a:gd name="T4" fmla="*/ 2 w 12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2" y="6"/>
                  </a:moveTo>
                  <a:cubicBezTo>
                    <a:pt x="5" y="8"/>
                    <a:pt x="0" y="11"/>
                    <a:pt x="2" y="14"/>
                  </a:cubicBezTo>
                  <a:cubicBezTo>
                    <a:pt x="11" y="14"/>
                    <a:pt x="8" y="0"/>
                    <a:pt x="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0" name="Freeform 1195"/>
            <p:cNvSpPr>
              <a:spLocks noChangeArrowheads="1"/>
            </p:cNvSpPr>
            <p:nvPr/>
          </p:nvSpPr>
          <p:spPr bwMode="auto">
            <a:xfrm>
              <a:off x="4238625" y="2663825"/>
              <a:ext cx="11113" cy="7938"/>
            </a:xfrm>
            <a:custGeom>
              <a:avLst/>
              <a:gdLst>
                <a:gd name="T0" fmla="*/ 19 w 32"/>
                <a:gd name="T1" fmla="*/ 17 h 20"/>
                <a:gd name="T2" fmla="*/ 25 w 32"/>
                <a:gd name="T3" fmla="*/ 0 h 20"/>
                <a:gd name="T4" fmla="*/ 0 w 32"/>
                <a:gd name="T5" fmla="*/ 8 h 20"/>
                <a:gd name="T6" fmla="*/ 19 w 32"/>
                <a:gd name="T7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0">
                  <a:moveTo>
                    <a:pt x="19" y="17"/>
                  </a:moveTo>
                  <a:cubicBezTo>
                    <a:pt x="8" y="5"/>
                    <a:pt x="31" y="11"/>
                    <a:pt x="25" y="0"/>
                  </a:cubicBezTo>
                  <a:cubicBezTo>
                    <a:pt x="17" y="11"/>
                    <a:pt x="8" y="0"/>
                    <a:pt x="0" y="8"/>
                  </a:cubicBezTo>
                  <a:cubicBezTo>
                    <a:pt x="5" y="11"/>
                    <a:pt x="14" y="19"/>
                    <a:pt x="19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1" name="Freeform 1196"/>
            <p:cNvSpPr>
              <a:spLocks noChangeArrowheads="1"/>
            </p:cNvSpPr>
            <p:nvPr/>
          </p:nvSpPr>
          <p:spPr bwMode="auto">
            <a:xfrm>
              <a:off x="4278313" y="2692400"/>
              <a:ext cx="3175" cy="7938"/>
            </a:xfrm>
            <a:custGeom>
              <a:avLst/>
              <a:gdLst>
                <a:gd name="T0" fmla="*/ 8 w 9"/>
                <a:gd name="T1" fmla="*/ 11 h 20"/>
                <a:gd name="T2" fmla="*/ 8 w 9"/>
                <a:gd name="T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8" y="11"/>
                  </a:moveTo>
                  <a:cubicBezTo>
                    <a:pt x="0" y="0"/>
                    <a:pt x="0" y="19"/>
                    <a:pt x="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2" name="Freeform 1197"/>
            <p:cNvSpPr>
              <a:spLocks noChangeArrowheads="1"/>
            </p:cNvSpPr>
            <p:nvPr/>
          </p:nvSpPr>
          <p:spPr bwMode="auto">
            <a:xfrm>
              <a:off x="4256088" y="2665413"/>
              <a:ext cx="3175" cy="7937"/>
            </a:xfrm>
            <a:custGeom>
              <a:avLst/>
              <a:gdLst>
                <a:gd name="T0" fmla="*/ 8 w 9"/>
                <a:gd name="T1" fmla="*/ 14 h 21"/>
                <a:gd name="T2" fmla="*/ 8 w 9"/>
                <a:gd name="T3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8" y="14"/>
                  </a:moveTo>
                  <a:cubicBezTo>
                    <a:pt x="0" y="0"/>
                    <a:pt x="0" y="20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3" name="Freeform 1198"/>
            <p:cNvSpPr>
              <a:spLocks noChangeArrowheads="1"/>
            </p:cNvSpPr>
            <p:nvPr/>
          </p:nvSpPr>
          <p:spPr bwMode="auto">
            <a:xfrm>
              <a:off x="4289425" y="2692400"/>
              <a:ext cx="4763" cy="4763"/>
            </a:xfrm>
            <a:custGeom>
              <a:avLst/>
              <a:gdLst>
                <a:gd name="T0" fmla="*/ 6 w 12"/>
                <a:gd name="T1" fmla="*/ 11 h 12"/>
                <a:gd name="T2" fmla="*/ 11 w 12"/>
                <a:gd name="T3" fmla="*/ 5 h 12"/>
                <a:gd name="T4" fmla="*/ 6 w 12"/>
                <a:gd name="T5" fmla="*/ 0 h 12"/>
                <a:gd name="T6" fmla="*/ 0 w 12"/>
                <a:gd name="T7" fmla="*/ 5 h 12"/>
                <a:gd name="T8" fmla="*/ 6 w 12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11"/>
                  </a:moveTo>
                  <a:lnTo>
                    <a:pt x="11" y="5"/>
                  </a:lnTo>
                  <a:lnTo>
                    <a:pt x="6" y="0"/>
                  </a:lnTo>
                  <a:lnTo>
                    <a:pt x="0" y="5"/>
                  </a:lnTo>
                  <a:lnTo>
                    <a:pt x="6" y="11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4" name="Freeform 1199"/>
            <p:cNvSpPr>
              <a:spLocks noChangeArrowheads="1"/>
            </p:cNvSpPr>
            <p:nvPr/>
          </p:nvSpPr>
          <p:spPr bwMode="auto">
            <a:xfrm>
              <a:off x="4265613" y="2667000"/>
              <a:ext cx="4762" cy="4763"/>
            </a:xfrm>
            <a:custGeom>
              <a:avLst/>
              <a:gdLst>
                <a:gd name="T0" fmla="*/ 0 w 15"/>
                <a:gd name="T1" fmla="*/ 6 h 15"/>
                <a:gd name="T2" fmla="*/ 6 w 15"/>
                <a:gd name="T3" fmla="*/ 14 h 15"/>
                <a:gd name="T4" fmla="*/ 0 w 15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0" y="6"/>
                  </a:moveTo>
                  <a:cubicBezTo>
                    <a:pt x="3" y="9"/>
                    <a:pt x="0" y="11"/>
                    <a:pt x="6" y="14"/>
                  </a:cubicBezTo>
                  <a:cubicBezTo>
                    <a:pt x="14" y="14"/>
                    <a:pt x="3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5" name="Freeform 1200"/>
            <p:cNvSpPr>
              <a:spLocks noChangeArrowheads="1"/>
            </p:cNvSpPr>
            <p:nvPr/>
          </p:nvSpPr>
          <p:spPr bwMode="auto">
            <a:xfrm>
              <a:off x="4284663" y="2684463"/>
              <a:ext cx="1587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6" name="Freeform 1201"/>
            <p:cNvSpPr>
              <a:spLocks noChangeArrowheads="1"/>
            </p:cNvSpPr>
            <p:nvPr/>
          </p:nvSpPr>
          <p:spPr bwMode="auto">
            <a:xfrm>
              <a:off x="4265613" y="2659063"/>
              <a:ext cx="3175" cy="7937"/>
            </a:xfrm>
            <a:custGeom>
              <a:avLst/>
              <a:gdLst>
                <a:gd name="T0" fmla="*/ 8 w 9"/>
                <a:gd name="T1" fmla="*/ 12 h 21"/>
                <a:gd name="T2" fmla="*/ 8 w 9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8" y="12"/>
                  </a:moveTo>
                  <a:cubicBezTo>
                    <a:pt x="0" y="0"/>
                    <a:pt x="0" y="20"/>
                    <a:pt x="8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7" name="Freeform 1202"/>
            <p:cNvSpPr>
              <a:spLocks noChangeArrowheads="1"/>
            </p:cNvSpPr>
            <p:nvPr/>
          </p:nvSpPr>
          <p:spPr bwMode="auto">
            <a:xfrm>
              <a:off x="4279900" y="2673350"/>
              <a:ext cx="7938" cy="4763"/>
            </a:xfrm>
            <a:custGeom>
              <a:avLst/>
              <a:gdLst>
                <a:gd name="T0" fmla="*/ 20 w 21"/>
                <a:gd name="T1" fmla="*/ 9 h 15"/>
                <a:gd name="T2" fmla="*/ 6 w 21"/>
                <a:gd name="T3" fmla="*/ 9 h 15"/>
                <a:gd name="T4" fmla="*/ 20 w 21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5">
                  <a:moveTo>
                    <a:pt x="20" y="9"/>
                  </a:moveTo>
                  <a:cubicBezTo>
                    <a:pt x="17" y="0"/>
                    <a:pt x="0" y="0"/>
                    <a:pt x="6" y="9"/>
                  </a:cubicBezTo>
                  <a:cubicBezTo>
                    <a:pt x="9" y="3"/>
                    <a:pt x="14" y="14"/>
                    <a:pt x="2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8" name="Freeform 1203"/>
            <p:cNvSpPr>
              <a:spLocks noChangeArrowheads="1"/>
            </p:cNvSpPr>
            <p:nvPr/>
          </p:nvSpPr>
          <p:spPr bwMode="auto">
            <a:xfrm>
              <a:off x="4314825" y="2698750"/>
              <a:ext cx="7938" cy="3175"/>
            </a:xfrm>
            <a:custGeom>
              <a:avLst/>
              <a:gdLst>
                <a:gd name="T0" fmla="*/ 0 w 21"/>
                <a:gd name="T1" fmla="*/ 3 h 10"/>
                <a:gd name="T2" fmla="*/ 20 w 21"/>
                <a:gd name="T3" fmla="*/ 6 h 10"/>
                <a:gd name="T4" fmla="*/ 0 w 21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0">
                  <a:moveTo>
                    <a:pt x="0" y="3"/>
                  </a:moveTo>
                  <a:cubicBezTo>
                    <a:pt x="6" y="9"/>
                    <a:pt x="14" y="9"/>
                    <a:pt x="20" y="6"/>
                  </a:cubicBezTo>
                  <a:cubicBezTo>
                    <a:pt x="14" y="3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9" name="Freeform 1204"/>
            <p:cNvSpPr>
              <a:spLocks noChangeArrowheads="1"/>
            </p:cNvSpPr>
            <p:nvPr/>
          </p:nvSpPr>
          <p:spPr bwMode="auto">
            <a:xfrm>
              <a:off x="4294188" y="2678113"/>
              <a:ext cx="4762" cy="7937"/>
            </a:xfrm>
            <a:custGeom>
              <a:avLst/>
              <a:gdLst>
                <a:gd name="T0" fmla="*/ 11 w 15"/>
                <a:gd name="T1" fmla="*/ 14 h 21"/>
                <a:gd name="T2" fmla="*/ 11 w 15"/>
                <a:gd name="T3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11" y="14"/>
                  </a:moveTo>
                  <a:cubicBezTo>
                    <a:pt x="14" y="0"/>
                    <a:pt x="0" y="20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0" name="Freeform 1205"/>
            <p:cNvSpPr>
              <a:spLocks noChangeArrowheads="1"/>
            </p:cNvSpPr>
            <p:nvPr/>
          </p:nvSpPr>
          <p:spPr bwMode="auto">
            <a:xfrm>
              <a:off x="4268788" y="2655888"/>
              <a:ext cx="7937" cy="4762"/>
            </a:xfrm>
            <a:custGeom>
              <a:avLst/>
              <a:gdLst>
                <a:gd name="T0" fmla="*/ 9 w 24"/>
                <a:gd name="T1" fmla="*/ 14 h 15"/>
                <a:gd name="T2" fmla="*/ 9 w 24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15">
                  <a:moveTo>
                    <a:pt x="9" y="14"/>
                  </a:moveTo>
                  <a:cubicBezTo>
                    <a:pt x="23" y="0"/>
                    <a:pt x="0" y="3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1" name="Freeform 1206"/>
            <p:cNvSpPr>
              <a:spLocks noChangeArrowheads="1"/>
            </p:cNvSpPr>
            <p:nvPr/>
          </p:nvSpPr>
          <p:spPr bwMode="auto">
            <a:xfrm>
              <a:off x="4284663" y="2667000"/>
              <a:ext cx="3175" cy="7938"/>
            </a:xfrm>
            <a:custGeom>
              <a:avLst/>
              <a:gdLst>
                <a:gd name="T0" fmla="*/ 9 w 10"/>
                <a:gd name="T1" fmla="*/ 11 h 21"/>
                <a:gd name="T2" fmla="*/ 9 w 10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9" y="11"/>
                  </a:moveTo>
                  <a:cubicBezTo>
                    <a:pt x="0" y="0"/>
                    <a:pt x="3" y="20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2" name="Freeform 1207"/>
            <p:cNvSpPr>
              <a:spLocks noChangeArrowheads="1"/>
            </p:cNvSpPr>
            <p:nvPr/>
          </p:nvSpPr>
          <p:spPr bwMode="auto">
            <a:xfrm>
              <a:off x="4291013" y="2667000"/>
              <a:ext cx="3175" cy="7938"/>
            </a:xfrm>
            <a:custGeom>
              <a:avLst/>
              <a:gdLst>
                <a:gd name="T0" fmla="*/ 9 w 10"/>
                <a:gd name="T1" fmla="*/ 11 h 21"/>
                <a:gd name="T2" fmla="*/ 9 w 10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9" y="11"/>
                  </a:moveTo>
                  <a:cubicBezTo>
                    <a:pt x="0" y="0"/>
                    <a:pt x="3" y="20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3" name="Freeform 1208"/>
            <p:cNvSpPr>
              <a:spLocks noChangeArrowheads="1"/>
            </p:cNvSpPr>
            <p:nvPr/>
          </p:nvSpPr>
          <p:spPr bwMode="auto">
            <a:xfrm>
              <a:off x="4310063" y="2673350"/>
              <a:ext cx="3175" cy="7938"/>
            </a:xfrm>
            <a:custGeom>
              <a:avLst/>
              <a:gdLst>
                <a:gd name="T0" fmla="*/ 9 w 10"/>
                <a:gd name="T1" fmla="*/ 11 h 21"/>
                <a:gd name="T2" fmla="*/ 9 w 10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9" y="11"/>
                  </a:moveTo>
                  <a:cubicBezTo>
                    <a:pt x="0" y="0"/>
                    <a:pt x="0" y="20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4" name="Freeform 1209"/>
            <p:cNvSpPr>
              <a:spLocks noChangeArrowheads="1"/>
            </p:cNvSpPr>
            <p:nvPr/>
          </p:nvSpPr>
          <p:spPr bwMode="auto">
            <a:xfrm>
              <a:off x="4321175" y="2679700"/>
              <a:ext cx="4763" cy="7938"/>
            </a:xfrm>
            <a:custGeom>
              <a:avLst/>
              <a:gdLst>
                <a:gd name="T0" fmla="*/ 11 w 12"/>
                <a:gd name="T1" fmla="*/ 14 h 21"/>
                <a:gd name="T2" fmla="*/ 0 w 12"/>
                <a:gd name="T3" fmla="*/ 6 h 21"/>
                <a:gd name="T4" fmla="*/ 11 w 12"/>
                <a:gd name="T5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1">
                  <a:moveTo>
                    <a:pt x="11" y="14"/>
                  </a:moveTo>
                  <a:cubicBezTo>
                    <a:pt x="6" y="11"/>
                    <a:pt x="9" y="0"/>
                    <a:pt x="0" y="6"/>
                  </a:cubicBezTo>
                  <a:cubicBezTo>
                    <a:pt x="3" y="8"/>
                    <a:pt x="6" y="20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5" name="Freeform 1210"/>
            <p:cNvSpPr>
              <a:spLocks noChangeArrowheads="1"/>
            </p:cNvSpPr>
            <p:nvPr/>
          </p:nvSpPr>
          <p:spPr bwMode="auto">
            <a:xfrm>
              <a:off x="4305300" y="2665413"/>
              <a:ext cx="4763" cy="4762"/>
            </a:xfrm>
            <a:custGeom>
              <a:avLst/>
              <a:gdLst>
                <a:gd name="T0" fmla="*/ 14 w 15"/>
                <a:gd name="T1" fmla="*/ 8 h 15"/>
                <a:gd name="T2" fmla="*/ 11 w 15"/>
                <a:gd name="T3" fmla="*/ 0 h 15"/>
                <a:gd name="T4" fmla="*/ 14 w 15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8"/>
                  </a:moveTo>
                  <a:cubicBezTo>
                    <a:pt x="11" y="5"/>
                    <a:pt x="14" y="2"/>
                    <a:pt x="11" y="0"/>
                  </a:cubicBezTo>
                  <a:cubicBezTo>
                    <a:pt x="0" y="0"/>
                    <a:pt x="6" y="14"/>
                    <a:pt x="1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6" name="Freeform 1211"/>
            <p:cNvSpPr>
              <a:spLocks noChangeArrowheads="1"/>
            </p:cNvSpPr>
            <p:nvPr/>
          </p:nvSpPr>
          <p:spPr bwMode="auto">
            <a:xfrm>
              <a:off x="4173538" y="2670175"/>
              <a:ext cx="7937" cy="6350"/>
            </a:xfrm>
            <a:custGeom>
              <a:avLst/>
              <a:gdLst>
                <a:gd name="T0" fmla="*/ 23 w 24"/>
                <a:gd name="T1" fmla="*/ 9 h 18"/>
                <a:gd name="T2" fmla="*/ 3 w 24"/>
                <a:gd name="T3" fmla="*/ 9 h 18"/>
                <a:gd name="T4" fmla="*/ 23 w 24"/>
                <a:gd name="T5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8">
                  <a:moveTo>
                    <a:pt x="23" y="9"/>
                  </a:moveTo>
                  <a:cubicBezTo>
                    <a:pt x="17" y="6"/>
                    <a:pt x="0" y="0"/>
                    <a:pt x="3" y="9"/>
                  </a:cubicBezTo>
                  <a:cubicBezTo>
                    <a:pt x="8" y="3"/>
                    <a:pt x="17" y="17"/>
                    <a:pt x="23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7" name="Freeform 1212"/>
            <p:cNvSpPr>
              <a:spLocks noChangeArrowheads="1"/>
            </p:cNvSpPr>
            <p:nvPr/>
          </p:nvSpPr>
          <p:spPr bwMode="auto">
            <a:xfrm>
              <a:off x="4192588" y="2678113"/>
              <a:ext cx="7937" cy="6350"/>
            </a:xfrm>
            <a:custGeom>
              <a:avLst/>
              <a:gdLst>
                <a:gd name="T0" fmla="*/ 19 w 20"/>
                <a:gd name="T1" fmla="*/ 12 h 18"/>
                <a:gd name="T2" fmla="*/ 2 w 20"/>
                <a:gd name="T3" fmla="*/ 9 h 18"/>
                <a:gd name="T4" fmla="*/ 19 w 20"/>
                <a:gd name="T5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8">
                  <a:moveTo>
                    <a:pt x="19" y="12"/>
                  </a:moveTo>
                  <a:cubicBezTo>
                    <a:pt x="14" y="0"/>
                    <a:pt x="0" y="3"/>
                    <a:pt x="2" y="9"/>
                  </a:cubicBezTo>
                  <a:cubicBezTo>
                    <a:pt x="8" y="3"/>
                    <a:pt x="14" y="17"/>
                    <a:pt x="19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8" name="Freeform 1213"/>
            <p:cNvSpPr>
              <a:spLocks noChangeArrowheads="1"/>
            </p:cNvSpPr>
            <p:nvPr/>
          </p:nvSpPr>
          <p:spPr bwMode="auto">
            <a:xfrm>
              <a:off x="4273550" y="2679700"/>
              <a:ext cx="11113" cy="9525"/>
            </a:xfrm>
            <a:custGeom>
              <a:avLst/>
              <a:gdLst>
                <a:gd name="T0" fmla="*/ 0 w 29"/>
                <a:gd name="T1" fmla="*/ 6 h 26"/>
                <a:gd name="T2" fmla="*/ 5 w 29"/>
                <a:gd name="T3" fmla="*/ 14 h 26"/>
                <a:gd name="T4" fmla="*/ 25 w 29"/>
                <a:gd name="T5" fmla="*/ 17 h 26"/>
                <a:gd name="T6" fmla="*/ 28 w 29"/>
                <a:gd name="T7" fmla="*/ 8 h 26"/>
                <a:gd name="T8" fmla="*/ 0 w 29"/>
                <a:gd name="T9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6">
                  <a:moveTo>
                    <a:pt x="0" y="6"/>
                  </a:moveTo>
                  <a:cubicBezTo>
                    <a:pt x="2" y="8"/>
                    <a:pt x="5" y="11"/>
                    <a:pt x="5" y="14"/>
                  </a:cubicBezTo>
                  <a:cubicBezTo>
                    <a:pt x="11" y="0"/>
                    <a:pt x="19" y="25"/>
                    <a:pt x="25" y="17"/>
                  </a:cubicBezTo>
                  <a:cubicBezTo>
                    <a:pt x="22" y="14"/>
                    <a:pt x="25" y="11"/>
                    <a:pt x="28" y="8"/>
                  </a:cubicBezTo>
                  <a:cubicBezTo>
                    <a:pt x="19" y="3"/>
                    <a:pt x="11" y="11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9" name="Freeform 1214"/>
            <p:cNvSpPr>
              <a:spLocks noChangeArrowheads="1"/>
            </p:cNvSpPr>
            <p:nvPr/>
          </p:nvSpPr>
          <p:spPr bwMode="auto">
            <a:xfrm>
              <a:off x="4297363" y="2698750"/>
              <a:ext cx="11112" cy="7938"/>
            </a:xfrm>
            <a:custGeom>
              <a:avLst/>
              <a:gdLst>
                <a:gd name="T0" fmla="*/ 0 w 32"/>
                <a:gd name="T1" fmla="*/ 6 h 24"/>
                <a:gd name="T2" fmla="*/ 31 w 32"/>
                <a:gd name="T3" fmla="*/ 17 h 24"/>
                <a:gd name="T4" fmla="*/ 0 w 32"/>
                <a:gd name="T5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" h="24">
                  <a:moveTo>
                    <a:pt x="0" y="6"/>
                  </a:moveTo>
                  <a:cubicBezTo>
                    <a:pt x="9" y="15"/>
                    <a:pt x="31" y="23"/>
                    <a:pt x="31" y="17"/>
                  </a:cubicBezTo>
                  <a:cubicBezTo>
                    <a:pt x="20" y="17"/>
                    <a:pt x="9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0" name="Freeform 1215"/>
            <p:cNvSpPr>
              <a:spLocks noChangeArrowheads="1"/>
            </p:cNvSpPr>
            <p:nvPr/>
          </p:nvSpPr>
          <p:spPr bwMode="auto">
            <a:xfrm>
              <a:off x="4303713" y="2687638"/>
              <a:ext cx="7937" cy="7937"/>
            </a:xfrm>
            <a:custGeom>
              <a:avLst/>
              <a:gdLst>
                <a:gd name="T0" fmla="*/ 0 w 24"/>
                <a:gd name="T1" fmla="*/ 11 h 20"/>
                <a:gd name="T2" fmla="*/ 17 w 24"/>
                <a:gd name="T3" fmla="*/ 17 h 20"/>
                <a:gd name="T4" fmla="*/ 23 w 24"/>
                <a:gd name="T5" fmla="*/ 8 h 20"/>
                <a:gd name="T6" fmla="*/ 0 w 24"/>
                <a:gd name="T7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0">
                  <a:moveTo>
                    <a:pt x="0" y="11"/>
                  </a:moveTo>
                  <a:cubicBezTo>
                    <a:pt x="6" y="19"/>
                    <a:pt x="11" y="8"/>
                    <a:pt x="17" y="17"/>
                  </a:cubicBezTo>
                  <a:lnTo>
                    <a:pt x="23" y="8"/>
                  </a:lnTo>
                  <a:cubicBezTo>
                    <a:pt x="11" y="0"/>
                    <a:pt x="14" y="14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1" name="Freeform 1216"/>
            <p:cNvSpPr>
              <a:spLocks noChangeArrowheads="1"/>
            </p:cNvSpPr>
            <p:nvPr/>
          </p:nvSpPr>
          <p:spPr bwMode="auto">
            <a:xfrm>
              <a:off x="4178300" y="2667000"/>
              <a:ext cx="4763" cy="11113"/>
            </a:xfrm>
            <a:custGeom>
              <a:avLst/>
              <a:gdLst>
                <a:gd name="T0" fmla="*/ 0 w 15"/>
                <a:gd name="T1" fmla="*/ 8 h 29"/>
                <a:gd name="T2" fmla="*/ 0 w 15"/>
                <a:gd name="T3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9">
                  <a:moveTo>
                    <a:pt x="0" y="8"/>
                  </a:moveTo>
                  <a:cubicBezTo>
                    <a:pt x="3" y="28"/>
                    <a:pt x="14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2" name="Freeform 1217"/>
            <p:cNvSpPr>
              <a:spLocks noChangeArrowheads="1"/>
            </p:cNvSpPr>
            <p:nvPr/>
          </p:nvSpPr>
          <p:spPr bwMode="auto">
            <a:xfrm>
              <a:off x="4197350" y="2676525"/>
              <a:ext cx="6350" cy="4763"/>
            </a:xfrm>
            <a:custGeom>
              <a:avLst/>
              <a:gdLst>
                <a:gd name="T0" fmla="*/ 8 w 18"/>
                <a:gd name="T1" fmla="*/ 12 h 13"/>
                <a:gd name="T2" fmla="*/ 8 w 18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8" y="12"/>
                  </a:moveTo>
                  <a:cubicBezTo>
                    <a:pt x="17" y="0"/>
                    <a:pt x="0" y="9"/>
                    <a:pt x="8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3" name="Freeform 1218"/>
            <p:cNvSpPr>
              <a:spLocks noChangeArrowheads="1"/>
            </p:cNvSpPr>
            <p:nvPr/>
          </p:nvSpPr>
          <p:spPr bwMode="auto">
            <a:xfrm>
              <a:off x="4241800" y="2667000"/>
              <a:ext cx="6350" cy="4763"/>
            </a:xfrm>
            <a:custGeom>
              <a:avLst/>
              <a:gdLst>
                <a:gd name="T0" fmla="*/ 6 w 18"/>
                <a:gd name="T1" fmla="*/ 14 h 15"/>
                <a:gd name="T2" fmla="*/ 17 w 18"/>
                <a:gd name="T3" fmla="*/ 3 h 15"/>
                <a:gd name="T4" fmla="*/ 0 w 18"/>
                <a:gd name="T5" fmla="*/ 8 h 15"/>
                <a:gd name="T6" fmla="*/ 6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6" y="14"/>
                  </a:moveTo>
                  <a:cubicBezTo>
                    <a:pt x="9" y="8"/>
                    <a:pt x="17" y="14"/>
                    <a:pt x="17" y="3"/>
                  </a:cubicBezTo>
                  <a:cubicBezTo>
                    <a:pt x="9" y="0"/>
                    <a:pt x="6" y="3"/>
                    <a:pt x="0" y="8"/>
                  </a:cubicBezTo>
                  <a:cubicBezTo>
                    <a:pt x="6" y="8"/>
                    <a:pt x="3" y="11"/>
                    <a:pt x="6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4" name="Freeform 1219"/>
            <p:cNvSpPr>
              <a:spLocks noChangeArrowheads="1"/>
            </p:cNvSpPr>
            <p:nvPr/>
          </p:nvSpPr>
          <p:spPr bwMode="auto">
            <a:xfrm>
              <a:off x="4351338" y="2647950"/>
              <a:ext cx="6350" cy="4763"/>
            </a:xfrm>
            <a:custGeom>
              <a:avLst/>
              <a:gdLst>
                <a:gd name="T0" fmla="*/ 6 w 18"/>
                <a:gd name="T1" fmla="*/ 14 h 15"/>
                <a:gd name="T2" fmla="*/ 17 w 18"/>
                <a:gd name="T3" fmla="*/ 2 h 15"/>
                <a:gd name="T4" fmla="*/ 0 w 18"/>
                <a:gd name="T5" fmla="*/ 8 h 15"/>
                <a:gd name="T6" fmla="*/ 6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6" y="14"/>
                  </a:moveTo>
                  <a:cubicBezTo>
                    <a:pt x="8" y="8"/>
                    <a:pt x="17" y="14"/>
                    <a:pt x="17" y="2"/>
                  </a:cubicBezTo>
                  <a:cubicBezTo>
                    <a:pt x="8" y="0"/>
                    <a:pt x="6" y="2"/>
                    <a:pt x="0" y="8"/>
                  </a:cubicBezTo>
                  <a:cubicBezTo>
                    <a:pt x="6" y="11"/>
                    <a:pt x="3" y="14"/>
                    <a:pt x="6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5" name="Freeform 1220"/>
            <p:cNvSpPr>
              <a:spLocks noChangeArrowheads="1"/>
            </p:cNvSpPr>
            <p:nvPr/>
          </p:nvSpPr>
          <p:spPr bwMode="auto">
            <a:xfrm>
              <a:off x="4251325" y="2665413"/>
              <a:ext cx="6350" cy="4762"/>
            </a:xfrm>
            <a:custGeom>
              <a:avLst/>
              <a:gdLst>
                <a:gd name="T0" fmla="*/ 9 w 18"/>
                <a:gd name="T1" fmla="*/ 11 h 12"/>
                <a:gd name="T2" fmla="*/ 9 w 18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9" y="11"/>
                  </a:moveTo>
                  <a:cubicBezTo>
                    <a:pt x="17" y="0"/>
                    <a:pt x="0" y="5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6" name="Freeform 1221"/>
            <p:cNvSpPr>
              <a:spLocks noChangeArrowheads="1"/>
            </p:cNvSpPr>
            <p:nvPr/>
          </p:nvSpPr>
          <p:spPr bwMode="auto">
            <a:xfrm>
              <a:off x="4265613" y="2665413"/>
              <a:ext cx="7937" cy="4762"/>
            </a:xfrm>
            <a:custGeom>
              <a:avLst/>
              <a:gdLst>
                <a:gd name="T0" fmla="*/ 8 w 21"/>
                <a:gd name="T1" fmla="*/ 11 h 12"/>
                <a:gd name="T2" fmla="*/ 8 w 21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2">
                  <a:moveTo>
                    <a:pt x="8" y="11"/>
                  </a:moveTo>
                  <a:cubicBezTo>
                    <a:pt x="20" y="11"/>
                    <a:pt x="0" y="0"/>
                    <a:pt x="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7" name="Freeform 1222"/>
            <p:cNvSpPr>
              <a:spLocks noChangeArrowheads="1"/>
            </p:cNvSpPr>
            <p:nvPr/>
          </p:nvSpPr>
          <p:spPr bwMode="auto">
            <a:xfrm>
              <a:off x="4165600" y="2674938"/>
              <a:ext cx="4763" cy="4762"/>
            </a:xfrm>
            <a:custGeom>
              <a:avLst/>
              <a:gdLst>
                <a:gd name="T0" fmla="*/ 0 w 13"/>
                <a:gd name="T1" fmla="*/ 8 h 15"/>
                <a:gd name="T2" fmla="*/ 0 w 13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8"/>
                  </a:moveTo>
                  <a:cubicBezTo>
                    <a:pt x="12" y="14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8" name="Freeform 1223"/>
            <p:cNvSpPr>
              <a:spLocks noChangeArrowheads="1"/>
            </p:cNvSpPr>
            <p:nvPr/>
          </p:nvSpPr>
          <p:spPr bwMode="auto">
            <a:xfrm>
              <a:off x="4146550" y="2679700"/>
              <a:ext cx="4763" cy="4763"/>
            </a:xfrm>
            <a:custGeom>
              <a:avLst/>
              <a:gdLst>
                <a:gd name="T0" fmla="*/ 0 w 15"/>
                <a:gd name="T1" fmla="*/ 8 h 12"/>
                <a:gd name="T2" fmla="*/ 3 w 15"/>
                <a:gd name="T3" fmla="*/ 11 h 12"/>
                <a:gd name="T4" fmla="*/ 8 w 15"/>
                <a:gd name="T5" fmla="*/ 11 h 12"/>
                <a:gd name="T6" fmla="*/ 0 w 15"/>
                <a:gd name="T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2">
                  <a:moveTo>
                    <a:pt x="0" y="8"/>
                  </a:moveTo>
                  <a:cubicBezTo>
                    <a:pt x="3" y="8"/>
                    <a:pt x="3" y="8"/>
                    <a:pt x="3" y="11"/>
                  </a:cubicBezTo>
                  <a:lnTo>
                    <a:pt x="8" y="11"/>
                  </a:lnTo>
                  <a:cubicBezTo>
                    <a:pt x="14" y="6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9" name="Freeform 1224"/>
            <p:cNvSpPr>
              <a:spLocks noChangeArrowheads="1"/>
            </p:cNvSpPr>
            <p:nvPr/>
          </p:nvSpPr>
          <p:spPr bwMode="auto">
            <a:xfrm>
              <a:off x="4167188" y="2686050"/>
              <a:ext cx="4762" cy="4763"/>
            </a:xfrm>
            <a:custGeom>
              <a:avLst/>
              <a:gdLst>
                <a:gd name="T0" fmla="*/ 0 w 13"/>
                <a:gd name="T1" fmla="*/ 8 h 15"/>
                <a:gd name="T2" fmla="*/ 0 w 13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8"/>
                  </a:moveTo>
                  <a:cubicBezTo>
                    <a:pt x="12" y="14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0" name="Freeform 1225"/>
            <p:cNvSpPr>
              <a:spLocks noChangeArrowheads="1"/>
            </p:cNvSpPr>
            <p:nvPr/>
          </p:nvSpPr>
          <p:spPr bwMode="auto">
            <a:xfrm>
              <a:off x="4121150" y="2678113"/>
              <a:ext cx="3175" cy="7937"/>
            </a:xfrm>
            <a:custGeom>
              <a:avLst/>
              <a:gdLst>
                <a:gd name="T0" fmla="*/ 0 w 7"/>
                <a:gd name="T1" fmla="*/ 9 h 24"/>
                <a:gd name="T2" fmla="*/ 0 w 7"/>
                <a:gd name="T3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4">
                  <a:moveTo>
                    <a:pt x="0" y="9"/>
                  </a:moveTo>
                  <a:cubicBezTo>
                    <a:pt x="6" y="23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1" name="Freeform 1226"/>
            <p:cNvSpPr>
              <a:spLocks noChangeArrowheads="1"/>
            </p:cNvSpPr>
            <p:nvPr/>
          </p:nvSpPr>
          <p:spPr bwMode="auto">
            <a:xfrm>
              <a:off x="4141788" y="2686050"/>
              <a:ext cx="6350" cy="4763"/>
            </a:xfrm>
            <a:custGeom>
              <a:avLst/>
              <a:gdLst>
                <a:gd name="T0" fmla="*/ 5 w 17"/>
                <a:gd name="T1" fmla="*/ 0 h 12"/>
                <a:gd name="T2" fmla="*/ 16 w 17"/>
                <a:gd name="T3" fmla="*/ 11 h 12"/>
                <a:gd name="T4" fmla="*/ 5 w 1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2">
                  <a:moveTo>
                    <a:pt x="5" y="0"/>
                  </a:moveTo>
                  <a:cubicBezTo>
                    <a:pt x="0" y="8"/>
                    <a:pt x="8" y="11"/>
                    <a:pt x="16" y="11"/>
                  </a:cubicBezTo>
                  <a:cubicBezTo>
                    <a:pt x="16" y="3"/>
                    <a:pt x="14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2" name="Freeform 1227"/>
            <p:cNvSpPr>
              <a:spLocks noChangeArrowheads="1"/>
            </p:cNvSpPr>
            <p:nvPr/>
          </p:nvSpPr>
          <p:spPr bwMode="auto">
            <a:xfrm>
              <a:off x="4156075" y="2687638"/>
              <a:ext cx="4763" cy="6350"/>
            </a:xfrm>
            <a:custGeom>
              <a:avLst/>
              <a:gdLst>
                <a:gd name="T0" fmla="*/ 3 w 15"/>
                <a:gd name="T1" fmla="*/ 0 h 16"/>
                <a:gd name="T2" fmla="*/ 6 w 15"/>
                <a:gd name="T3" fmla="*/ 15 h 16"/>
                <a:gd name="T4" fmla="*/ 3 w 15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3" y="0"/>
                  </a:moveTo>
                  <a:cubicBezTo>
                    <a:pt x="0" y="6"/>
                    <a:pt x="0" y="12"/>
                    <a:pt x="6" y="15"/>
                  </a:cubicBezTo>
                  <a:cubicBezTo>
                    <a:pt x="3" y="6"/>
                    <a:pt x="14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3" name="Freeform 1228"/>
            <p:cNvSpPr>
              <a:spLocks noChangeArrowheads="1"/>
            </p:cNvSpPr>
            <p:nvPr/>
          </p:nvSpPr>
          <p:spPr bwMode="auto">
            <a:xfrm>
              <a:off x="4162425" y="2690813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4" name="Freeform 1229"/>
            <p:cNvSpPr>
              <a:spLocks noChangeArrowheads="1"/>
            </p:cNvSpPr>
            <p:nvPr/>
          </p:nvSpPr>
          <p:spPr bwMode="auto">
            <a:xfrm>
              <a:off x="4165600" y="2689225"/>
              <a:ext cx="6350" cy="4763"/>
            </a:xfrm>
            <a:custGeom>
              <a:avLst/>
              <a:gdLst>
                <a:gd name="T0" fmla="*/ 0 w 18"/>
                <a:gd name="T1" fmla="*/ 6 h 12"/>
                <a:gd name="T2" fmla="*/ 17 w 18"/>
                <a:gd name="T3" fmla="*/ 6 h 12"/>
                <a:gd name="T4" fmla="*/ 0 w 18"/>
                <a:gd name="T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0" y="6"/>
                  </a:moveTo>
                  <a:cubicBezTo>
                    <a:pt x="5" y="6"/>
                    <a:pt x="14" y="11"/>
                    <a:pt x="17" y="6"/>
                  </a:cubicBezTo>
                  <a:cubicBezTo>
                    <a:pt x="11" y="6"/>
                    <a:pt x="2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5" name="Freeform 1230"/>
            <p:cNvSpPr>
              <a:spLocks noChangeArrowheads="1"/>
            </p:cNvSpPr>
            <p:nvPr/>
          </p:nvSpPr>
          <p:spPr bwMode="auto">
            <a:xfrm>
              <a:off x="4095750" y="2676525"/>
              <a:ext cx="4763" cy="6350"/>
            </a:xfrm>
            <a:custGeom>
              <a:avLst/>
              <a:gdLst>
                <a:gd name="T0" fmla="*/ 0 w 12"/>
                <a:gd name="T1" fmla="*/ 9 h 16"/>
                <a:gd name="T2" fmla="*/ 0 w 12"/>
                <a:gd name="T3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6">
                  <a:moveTo>
                    <a:pt x="0" y="9"/>
                  </a:moveTo>
                  <a:cubicBezTo>
                    <a:pt x="11" y="15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6" name="Freeform 1231"/>
            <p:cNvSpPr>
              <a:spLocks noChangeArrowheads="1"/>
            </p:cNvSpPr>
            <p:nvPr/>
          </p:nvSpPr>
          <p:spPr bwMode="auto">
            <a:xfrm>
              <a:off x="4124325" y="2684463"/>
              <a:ext cx="3175" cy="3175"/>
            </a:xfrm>
            <a:custGeom>
              <a:avLst/>
              <a:gdLst>
                <a:gd name="T0" fmla="*/ 0 w 11"/>
                <a:gd name="T1" fmla="*/ 9 h 10"/>
                <a:gd name="T2" fmla="*/ 10 w 11"/>
                <a:gd name="T3" fmla="*/ 3 h 10"/>
                <a:gd name="T4" fmla="*/ 0 w 11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0">
                  <a:moveTo>
                    <a:pt x="0" y="9"/>
                  </a:moveTo>
                  <a:cubicBezTo>
                    <a:pt x="3" y="9"/>
                    <a:pt x="7" y="9"/>
                    <a:pt x="10" y="3"/>
                  </a:cubicBezTo>
                  <a:cubicBezTo>
                    <a:pt x="4" y="3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7" name="Freeform 1232"/>
            <p:cNvSpPr>
              <a:spLocks noChangeArrowheads="1"/>
            </p:cNvSpPr>
            <p:nvPr/>
          </p:nvSpPr>
          <p:spPr bwMode="auto">
            <a:xfrm>
              <a:off x="4137025" y="2687638"/>
              <a:ext cx="1588" cy="1587"/>
            </a:xfrm>
            <a:custGeom>
              <a:avLst/>
              <a:gdLst>
                <a:gd name="T0" fmla="*/ 2 w 3"/>
                <a:gd name="T1" fmla="*/ 2 h 6"/>
                <a:gd name="T2" fmla="*/ 2 w 3"/>
                <a:gd name="T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6">
                  <a:moveTo>
                    <a:pt x="2" y="2"/>
                  </a:moveTo>
                  <a:cubicBezTo>
                    <a:pt x="2" y="5"/>
                    <a:pt x="0" y="0"/>
                    <a:pt x="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8" name="Freeform 1233"/>
            <p:cNvSpPr>
              <a:spLocks noChangeArrowheads="1"/>
            </p:cNvSpPr>
            <p:nvPr/>
          </p:nvSpPr>
          <p:spPr bwMode="auto">
            <a:xfrm>
              <a:off x="4108450" y="2679700"/>
              <a:ext cx="4763" cy="7938"/>
            </a:xfrm>
            <a:custGeom>
              <a:avLst/>
              <a:gdLst>
                <a:gd name="T0" fmla="*/ 0 w 13"/>
                <a:gd name="T1" fmla="*/ 11 h 23"/>
                <a:gd name="T2" fmla="*/ 0 w 13"/>
                <a:gd name="T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3">
                  <a:moveTo>
                    <a:pt x="0" y="11"/>
                  </a:moveTo>
                  <a:cubicBezTo>
                    <a:pt x="3" y="22"/>
                    <a:pt x="12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9" name="Freeform 1234"/>
            <p:cNvSpPr>
              <a:spLocks noChangeArrowheads="1"/>
            </p:cNvSpPr>
            <p:nvPr/>
          </p:nvSpPr>
          <p:spPr bwMode="auto">
            <a:xfrm>
              <a:off x="4138613" y="2689225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6 w 7"/>
                <a:gd name="T3" fmla="*/ 0 h 7"/>
                <a:gd name="T4" fmla="*/ 0 w 7"/>
                <a:gd name="T5" fmla="*/ 0 h 7"/>
                <a:gd name="T6" fmla="*/ 0 w 7"/>
                <a:gd name="T7" fmla="*/ 6 h 7"/>
                <a:gd name="T8" fmla="*/ 6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0" name="Freeform 1235"/>
            <p:cNvSpPr>
              <a:spLocks noChangeArrowheads="1"/>
            </p:cNvSpPr>
            <p:nvPr/>
          </p:nvSpPr>
          <p:spPr bwMode="auto">
            <a:xfrm>
              <a:off x="4149725" y="2690813"/>
              <a:ext cx="4763" cy="4762"/>
            </a:xfrm>
            <a:custGeom>
              <a:avLst/>
              <a:gdLst>
                <a:gd name="T0" fmla="*/ 9 w 15"/>
                <a:gd name="T1" fmla="*/ 14 h 15"/>
                <a:gd name="T2" fmla="*/ 3 w 15"/>
                <a:gd name="T3" fmla="*/ 0 h 15"/>
                <a:gd name="T4" fmla="*/ 9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14"/>
                  </a:moveTo>
                  <a:cubicBezTo>
                    <a:pt x="14" y="6"/>
                    <a:pt x="6" y="3"/>
                    <a:pt x="3" y="0"/>
                  </a:cubicBezTo>
                  <a:cubicBezTo>
                    <a:pt x="0" y="6"/>
                    <a:pt x="6" y="8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1" name="Freeform 1236"/>
            <p:cNvSpPr>
              <a:spLocks noChangeArrowheads="1"/>
            </p:cNvSpPr>
            <p:nvPr/>
          </p:nvSpPr>
          <p:spPr bwMode="auto">
            <a:xfrm>
              <a:off x="4122738" y="2689225"/>
              <a:ext cx="3175" cy="4763"/>
            </a:xfrm>
            <a:custGeom>
              <a:avLst/>
              <a:gdLst>
                <a:gd name="T0" fmla="*/ 7 w 8"/>
                <a:gd name="T1" fmla="*/ 11 h 12"/>
                <a:gd name="T2" fmla="*/ 3 w 8"/>
                <a:gd name="T3" fmla="*/ 0 h 12"/>
                <a:gd name="T4" fmla="*/ 7 w 8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2">
                  <a:moveTo>
                    <a:pt x="7" y="11"/>
                  </a:moveTo>
                  <a:cubicBezTo>
                    <a:pt x="7" y="9"/>
                    <a:pt x="7" y="3"/>
                    <a:pt x="3" y="0"/>
                  </a:cubicBezTo>
                  <a:cubicBezTo>
                    <a:pt x="0" y="3"/>
                    <a:pt x="0" y="9"/>
                    <a:pt x="7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2" name="Freeform 1237"/>
            <p:cNvSpPr>
              <a:spLocks noChangeArrowheads="1"/>
            </p:cNvSpPr>
            <p:nvPr/>
          </p:nvSpPr>
          <p:spPr bwMode="auto">
            <a:xfrm>
              <a:off x="4137025" y="2689225"/>
              <a:ext cx="6350" cy="6350"/>
            </a:xfrm>
            <a:custGeom>
              <a:avLst/>
              <a:gdLst>
                <a:gd name="T0" fmla="*/ 0 w 16"/>
                <a:gd name="T1" fmla="*/ 9 h 18"/>
                <a:gd name="T2" fmla="*/ 0 w 16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8">
                  <a:moveTo>
                    <a:pt x="0" y="9"/>
                  </a:moveTo>
                  <a:cubicBezTo>
                    <a:pt x="15" y="17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3" name="Freeform 1238"/>
            <p:cNvSpPr>
              <a:spLocks noChangeArrowheads="1"/>
            </p:cNvSpPr>
            <p:nvPr/>
          </p:nvSpPr>
          <p:spPr bwMode="auto">
            <a:xfrm>
              <a:off x="4144963" y="2693988"/>
              <a:ext cx="3175" cy="7937"/>
            </a:xfrm>
            <a:custGeom>
              <a:avLst/>
              <a:gdLst>
                <a:gd name="T0" fmla="*/ 0 w 7"/>
                <a:gd name="T1" fmla="*/ 9 h 24"/>
                <a:gd name="T2" fmla="*/ 0 w 7"/>
                <a:gd name="T3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4">
                  <a:moveTo>
                    <a:pt x="0" y="9"/>
                  </a:moveTo>
                  <a:cubicBezTo>
                    <a:pt x="6" y="23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4" name="Freeform 1239"/>
            <p:cNvSpPr>
              <a:spLocks noChangeArrowheads="1"/>
            </p:cNvSpPr>
            <p:nvPr/>
          </p:nvSpPr>
          <p:spPr bwMode="auto">
            <a:xfrm>
              <a:off x="4110038" y="2687638"/>
              <a:ext cx="4762" cy="6350"/>
            </a:xfrm>
            <a:custGeom>
              <a:avLst/>
              <a:gdLst>
                <a:gd name="T0" fmla="*/ 0 w 13"/>
                <a:gd name="T1" fmla="*/ 12 h 18"/>
                <a:gd name="T2" fmla="*/ 0 w 13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0" y="12"/>
                  </a:moveTo>
                  <a:cubicBezTo>
                    <a:pt x="12" y="17"/>
                    <a:pt x="3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5" name="Freeform 1240"/>
            <p:cNvSpPr>
              <a:spLocks noChangeArrowheads="1"/>
            </p:cNvSpPr>
            <p:nvPr/>
          </p:nvSpPr>
          <p:spPr bwMode="auto">
            <a:xfrm>
              <a:off x="4098925" y="2689225"/>
              <a:ext cx="4763" cy="7938"/>
            </a:xfrm>
            <a:custGeom>
              <a:avLst/>
              <a:gdLst>
                <a:gd name="T0" fmla="*/ 12 w 13"/>
                <a:gd name="T1" fmla="*/ 14 h 24"/>
                <a:gd name="T2" fmla="*/ 12 w 13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4">
                  <a:moveTo>
                    <a:pt x="12" y="14"/>
                  </a:moveTo>
                  <a:cubicBezTo>
                    <a:pt x="0" y="0"/>
                    <a:pt x="0" y="23"/>
                    <a:pt x="1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6" name="Freeform 1241"/>
            <p:cNvSpPr>
              <a:spLocks noChangeArrowheads="1"/>
            </p:cNvSpPr>
            <p:nvPr/>
          </p:nvSpPr>
          <p:spPr bwMode="auto">
            <a:xfrm>
              <a:off x="4152900" y="2678113"/>
              <a:ext cx="4763" cy="4762"/>
            </a:xfrm>
            <a:custGeom>
              <a:avLst/>
              <a:gdLst>
                <a:gd name="T0" fmla="*/ 0 w 12"/>
                <a:gd name="T1" fmla="*/ 0 h 15"/>
                <a:gd name="T2" fmla="*/ 0 w 12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0" y="0"/>
                  </a:moveTo>
                  <a:cubicBezTo>
                    <a:pt x="0" y="14"/>
                    <a:pt x="11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7" name="Freeform 1242"/>
            <p:cNvSpPr>
              <a:spLocks noChangeArrowheads="1"/>
            </p:cNvSpPr>
            <p:nvPr/>
          </p:nvSpPr>
          <p:spPr bwMode="auto">
            <a:xfrm>
              <a:off x="4149725" y="2679700"/>
              <a:ext cx="4763" cy="4763"/>
            </a:xfrm>
            <a:custGeom>
              <a:avLst/>
              <a:gdLst>
                <a:gd name="T0" fmla="*/ 0 w 13"/>
                <a:gd name="T1" fmla="*/ 3 h 15"/>
                <a:gd name="T2" fmla="*/ 0 w 13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3"/>
                  </a:moveTo>
                  <a:cubicBezTo>
                    <a:pt x="0" y="14"/>
                    <a:pt x="12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8" name="Freeform 1243"/>
            <p:cNvSpPr>
              <a:spLocks noChangeArrowheads="1"/>
            </p:cNvSpPr>
            <p:nvPr/>
          </p:nvSpPr>
          <p:spPr bwMode="auto">
            <a:xfrm>
              <a:off x="4133850" y="2674938"/>
              <a:ext cx="3175" cy="3175"/>
            </a:xfrm>
            <a:custGeom>
              <a:avLst/>
              <a:gdLst>
                <a:gd name="T0" fmla="*/ 0 w 10"/>
                <a:gd name="T1" fmla="*/ 0 h 9"/>
                <a:gd name="T2" fmla="*/ 9 w 10"/>
                <a:gd name="T3" fmla="*/ 8 h 9"/>
                <a:gd name="T4" fmla="*/ 0 w 10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cubicBezTo>
                    <a:pt x="0" y="5"/>
                    <a:pt x="3" y="8"/>
                    <a:pt x="9" y="8"/>
                  </a:cubicBezTo>
                  <a:cubicBezTo>
                    <a:pt x="6" y="5"/>
                    <a:pt x="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9" name="Freeform 1244"/>
            <p:cNvSpPr>
              <a:spLocks noChangeArrowheads="1"/>
            </p:cNvSpPr>
            <p:nvPr/>
          </p:nvSpPr>
          <p:spPr bwMode="auto">
            <a:xfrm>
              <a:off x="4125913" y="2678113"/>
              <a:ext cx="4762" cy="4762"/>
            </a:xfrm>
            <a:custGeom>
              <a:avLst/>
              <a:gdLst>
                <a:gd name="T0" fmla="*/ 0 w 13"/>
                <a:gd name="T1" fmla="*/ 3 h 15"/>
                <a:gd name="T2" fmla="*/ 0 w 13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3"/>
                  </a:moveTo>
                  <a:cubicBezTo>
                    <a:pt x="0" y="14"/>
                    <a:pt x="12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0" name="Freeform 1245"/>
            <p:cNvSpPr>
              <a:spLocks noChangeArrowheads="1"/>
            </p:cNvSpPr>
            <p:nvPr/>
          </p:nvSpPr>
          <p:spPr bwMode="auto">
            <a:xfrm>
              <a:off x="4122738" y="2678113"/>
              <a:ext cx="3175" cy="4762"/>
            </a:xfrm>
            <a:custGeom>
              <a:avLst/>
              <a:gdLst>
                <a:gd name="T0" fmla="*/ 0 w 8"/>
                <a:gd name="T1" fmla="*/ 0 h 15"/>
                <a:gd name="T2" fmla="*/ 0 w 8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" h="15">
                  <a:moveTo>
                    <a:pt x="0" y="0"/>
                  </a:moveTo>
                  <a:cubicBezTo>
                    <a:pt x="0" y="14"/>
                    <a:pt x="7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1" name="Freeform 1246"/>
            <p:cNvSpPr>
              <a:spLocks noChangeArrowheads="1"/>
            </p:cNvSpPr>
            <p:nvPr/>
          </p:nvSpPr>
          <p:spPr bwMode="auto">
            <a:xfrm>
              <a:off x="4092575" y="2673350"/>
              <a:ext cx="11113" cy="4763"/>
            </a:xfrm>
            <a:custGeom>
              <a:avLst/>
              <a:gdLst>
                <a:gd name="T0" fmla="*/ 23 w 30"/>
                <a:gd name="T1" fmla="*/ 6 h 15"/>
                <a:gd name="T2" fmla="*/ 6 w 30"/>
                <a:gd name="T3" fmla="*/ 11 h 15"/>
                <a:gd name="T4" fmla="*/ 23 w 30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15">
                  <a:moveTo>
                    <a:pt x="23" y="6"/>
                  </a:moveTo>
                  <a:cubicBezTo>
                    <a:pt x="20" y="3"/>
                    <a:pt x="0" y="0"/>
                    <a:pt x="6" y="11"/>
                  </a:cubicBezTo>
                  <a:cubicBezTo>
                    <a:pt x="6" y="14"/>
                    <a:pt x="29" y="14"/>
                    <a:pt x="2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2" name="Freeform 1247"/>
            <p:cNvSpPr>
              <a:spLocks noChangeArrowheads="1"/>
            </p:cNvSpPr>
            <p:nvPr/>
          </p:nvSpPr>
          <p:spPr bwMode="auto">
            <a:xfrm>
              <a:off x="4100513" y="2682875"/>
              <a:ext cx="6350" cy="9525"/>
            </a:xfrm>
            <a:custGeom>
              <a:avLst/>
              <a:gdLst>
                <a:gd name="T0" fmla="*/ 14 w 18"/>
                <a:gd name="T1" fmla="*/ 0 h 27"/>
                <a:gd name="T2" fmla="*/ 8 w 18"/>
                <a:gd name="T3" fmla="*/ 26 h 27"/>
                <a:gd name="T4" fmla="*/ 14 w 1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7">
                  <a:moveTo>
                    <a:pt x="14" y="0"/>
                  </a:moveTo>
                  <a:cubicBezTo>
                    <a:pt x="3" y="0"/>
                    <a:pt x="0" y="17"/>
                    <a:pt x="8" y="26"/>
                  </a:cubicBezTo>
                  <a:cubicBezTo>
                    <a:pt x="14" y="20"/>
                    <a:pt x="17" y="9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3" name="Freeform 1248"/>
            <p:cNvSpPr>
              <a:spLocks noChangeArrowheads="1"/>
            </p:cNvSpPr>
            <p:nvPr/>
          </p:nvSpPr>
          <p:spPr bwMode="auto">
            <a:xfrm>
              <a:off x="4094163" y="2673350"/>
              <a:ext cx="6350" cy="9525"/>
            </a:xfrm>
            <a:custGeom>
              <a:avLst/>
              <a:gdLst>
                <a:gd name="T0" fmla="*/ 14 w 18"/>
                <a:gd name="T1" fmla="*/ 20 h 27"/>
                <a:gd name="T2" fmla="*/ 14 w 18"/>
                <a:gd name="T3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27">
                  <a:moveTo>
                    <a:pt x="14" y="20"/>
                  </a:moveTo>
                  <a:cubicBezTo>
                    <a:pt x="17" y="0"/>
                    <a:pt x="0" y="26"/>
                    <a:pt x="14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4" name="Freeform 1249"/>
            <p:cNvSpPr>
              <a:spLocks noChangeArrowheads="1"/>
            </p:cNvSpPr>
            <p:nvPr/>
          </p:nvSpPr>
          <p:spPr bwMode="auto">
            <a:xfrm>
              <a:off x="4108450" y="2684463"/>
              <a:ext cx="7938" cy="7937"/>
            </a:xfrm>
            <a:custGeom>
              <a:avLst/>
              <a:gdLst>
                <a:gd name="T0" fmla="*/ 12 w 21"/>
                <a:gd name="T1" fmla="*/ 20 h 21"/>
                <a:gd name="T2" fmla="*/ 20 w 21"/>
                <a:gd name="T3" fmla="*/ 11 h 21"/>
                <a:gd name="T4" fmla="*/ 12 w 21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21">
                  <a:moveTo>
                    <a:pt x="12" y="20"/>
                  </a:moveTo>
                  <a:lnTo>
                    <a:pt x="20" y="11"/>
                  </a:lnTo>
                  <a:cubicBezTo>
                    <a:pt x="17" y="0"/>
                    <a:pt x="0" y="17"/>
                    <a:pt x="12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5" name="Freeform 1250"/>
            <p:cNvSpPr>
              <a:spLocks noChangeArrowheads="1"/>
            </p:cNvSpPr>
            <p:nvPr/>
          </p:nvSpPr>
          <p:spPr bwMode="auto">
            <a:xfrm>
              <a:off x="4114800" y="2676525"/>
              <a:ext cx="11113" cy="7938"/>
            </a:xfrm>
            <a:custGeom>
              <a:avLst/>
              <a:gdLst>
                <a:gd name="T0" fmla="*/ 0 w 32"/>
                <a:gd name="T1" fmla="*/ 8 h 23"/>
                <a:gd name="T2" fmla="*/ 22 w 32"/>
                <a:gd name="T3" fmla="*/ 22 h 23"/>
                <a:gd name="T4" fmla="*/ 31 w 32"/>
                <a:gd name="T5" fmla="*/ 14 h 23"/>
                <a:gd name="T6" fmla="*/ 8 w 32"/>
                <a:gd name="T7" fmla="*/ 2 h 23"/>
                <a:gd name="T8" fmla="*/ 0 w 32"/>
                <a:gd name="T9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3">
                  <a:moveTo>
                    <a:pt x="0" y="8"/>
                  </a:moveTo>
                  <a:cubicBezTo>
                    <a:pt x="8" y="17"/>
                    <a:pt x="14" y="22"/>
                    <a:pt x="22" y="22"/>
                  </a:cubicBezTo>
                  <a:lnTo>
                    <a:pt x="31" y="14"/>
                  </a:lnTo>
                  <a:cubicBezTo>
                    <a:pt x="28" y="5"/>
                    <a:pt x="16" y="0"/>
                    <a:pt x="8" y="2"/>
                  </a:cubicBezTo>
                  <a:cubicBezTo>
                    <a:pt x="2" y="2"/>
                    <a:pt x="2" y="5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6" name="Freeform 1251"/>
            <p:cNvSpPr>
              <a:spLocks noChangeArrowheads="1"/>
            </p:cNvSpPr>
            <p:nvPr/>
          </p:nvSpPr>
          <p:spPr bwMode="auto">
            <a:xfrm>
              <a:off x="4141788" y="2692400"/>
              <a:ext cx="3175" cy="7938"/>
            </a:xfrm>
            <a:custGeom>
              <a:avLst/>
              <a:gdLst>
                <a:gd name="T0" fmla="*/ 8 w 9"/>
                <a:gd name="T1" fmla="*/ 14 h 23"/>
                <a:gd name="T2" fmla="*/ 8 w 9"/>
                <a:gd name="T3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3">
                  <a:moveTo>
                    <a:pt x="8" y="14"/>
                  </a:moveTo>
                  <a:cubicBezTo>
                    <a:pt x="0" y="0"/>
                    <a:pt x="0" y="22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7" name="Freeform 1252"/>
            <p:cNvSpPr>
              <a:spLocks noChangeArrowheads="1"/>
            </p:cNvSpPr>
            <p:nvPr/>
          </p:nvSpPr>
          <p:spPr bwMode="auto">
            <a:xfrm>
              <a:off x="4129088" y="2679700"/>
              <a:ext cx="4762" cy="6350"/>
            </a:xfrm>
            <a:custGeom>
              <a:avLst/>
              <a:gdLst>
                <a:gd name="T0" fmla="*/ 6 w 12"/>
                <a:gd name="T1" fmla="*/ 17 h 18"/>
                <a:gd name="T2" fmla="*/ 8 w 12"/>
                <a:gd name="T3" fmla="*/ 3 h 18"/>
                <a:gd name="T4" fmla="*/ 6 w 12"/>
                <a:gd name="T5" fmla="*/ 0 h 18"/>
                <a:gd name="T6" fmla="*/ 3 w 12"/>
                <a:gd name="T7" fmla="*/ 14 h 18"/>
                <a:gd name="T8" fmla="*/ 6 w 12"/>
                <a:gd name="T9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8">
                  <a:moveTo>
                    <a:pt x="6" y="17"/>
                  </a:moveTo>
                  <a:cubicBezTo>
                    <a:pt x="11" y="14"/>
                    <a:pt x="11" y="8"/>
                    <a:pt x="8" y="3"/>
                  </a:cubicBezTo>
                  <a:cubicBezTo>
                    <a:pt x="8" y="0"/>
                    <a:pt x="6" y="0"/>
                    <a:pt x="6" y="0"/>
                  </a:cubicBezTo>
                  <a:cubicBezTo>
                    <a:pt x="0" y="3"/>
                    <a:pt x="0" y="8"/>
                    <a:pt x="3" y="14"/>
                  </a:cubicBezTo>
                  <a:cubicBezTo>
                    <a:pt x="3" y="14"/>
                    <a:pt x="3" y="17"/>
                    <a:pt x="6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8" name="Freeform 1253"/>
            <p:cNvSpPr>
              <a:spLocks noChangeArrowheads="1"/>
            </p:cNvSpPr>
            <p:nvPr/>
          </p:nvSpPr>
          <p:spPr bwMode="auto">
            <a:xfrm>
              <a:off x="4146550" y="2689225"/>
              <a:ext cx="3175" cy="7938"/>
            </a:xfrm>
            <a:custGeom>
              <a:avLst/>
              <a:gdLst>
                <a:gd name="T0" fmla="*/ 8 w 9"/>
                <a:gd name="T1" fmla="*/ 14 h 24"/>
                <a:gd name="T2" fmla="*/ 8 w 9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4">
                  <a:moveTo>
                    <a:pt x="8" y="14"/>
                  </a:moveTo>
                  <a:cubicBezTo>
                    <a:pt x="0" y="0"/>
                    <a:pt x="0" y="23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9" name="Freeform 1254"/>
            <p:cNvSpPr>
              <a:spLocks noChangeArrowheads="1"/>
            </p:cNvSpPr>
            <p:nvPr/>
          </p:nvSpPr>
          <p:spPr bwMode="auto">
            <a:xfrm>
              <a:off x="4159250" y="2700338"/>
              <a:ext cx="4763" cy="4762"/>
            </a:xfrm>
            <a:custGeom>
              <a:avLst/>
              <a:gdLst>
                <a:gd name="T0" fmla="*/ 5 w 12"/>
                <a:gd name="T1" fmla="*/ 0 h 12"/>
                <a:gd name="T2" fmla="*/ 0 w 12"/>
                <a:gd name="T3" fmla="*/ 6 h 12"/>
                <a:gd name="T4" fmla="*/ 5 w 12"/>
                <a:gd name="T5" fmla="*/ 11 h 12"/>
                <a:gd name="T6" fmla="*/ 11 w 12"/>
                <a:gd name="T7" fmla="*/ 6 h 12"/>
                <a:gd name="T8" fmla="*/ 5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0" y="6"/>
                  </a:lnTo>
                  <a:lnTo>
                    <a:pt x="5" y="11"/>
                  </a:lnTo>
                  <a:lnTo>
                    <a:pt x="11" y="6"/>
                  </a:lnTo>
                  <a:lnTo>
                    <a:pt x="5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0" name="Freeform 1255"/>
            <p:cNvSpPr>
              <a:spLocks noChangeArrowheads="1"/>
            </p:cNvSpPr>
            <p:nvPr/>
          </p:nvSpPr>
          <p:spPr bwMode="auto">
            <a:xfrm>
              <a:off x="4141788" y="2684463"/>
              <a:ext cx="1587" cy="3175"/>
            </a:xfrm>
            <a:custGeom>
              <a:avLst/>
              <a:gdLst>
                <a:gd name="T0" fmla="*/ 3 w 4"/>
                <a:gd name="T1" fmla="*/ 6 h 10"/>
                <a:gd name="T2" fmla="*/ 3 w 4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0">
                  <a:moveTo>
                    <a:pt x="3" y="6"/>
                  </a:moveTo>
                  <a:cubicBezTo>
                    <a:pt x="0" y="0"/>
                    <a:pt x="3" y="9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1" name="Freeform 1256"/>
            <p:cNvSpPr>
              <a:spLocks noChangeArrowheads="1"/>
            </p:cNvSpPr>
            <p:nvPr/>
          </p:nvSpPr>
          <p:spPr bwMode="auto">
            <a:xfrm>
              <a:off x="4149725" y="2687638"/>
              <a:ext cx="4763" cy="4762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2 h 13"/>
                <a:gd name="T6" fmla="*/ 12 w 13"/>
                <a:gd name="T7" fmla="*/ 6 h 13"/>
                <a:gd name="T8" fmla="*/ 6 w 13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lnTo>
                    <a:pt x="0" y="6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2" name="Freeform 1257"/>
            <p:cNvSpPr>
              <a:spLocks noChangeArrowheads="1"/>
            </p:cNvSpPr>
            <p:nvPr/>
          </p:nvSpPr>
          <p:spPr bwMode="auto">
            <a:xfrm>
              <a:off x="4144963" y="2681288"/>
              <a:ext cx="7937" cy="4762"/>
            </a:xfrm>
            <a:custGeom>
              <a:avLst/>
              <a:gdLst>
                <a:gd name="T0" fmla="*/ 11 w 21"/>
                <a:gd name="T1" fmla="*/ 0 h 15"/>
                <a:gd name="T2" fmla="*/ 3 w 21"/>
                <a:gd name="T3" fmla="*/ 14 h 15"/>
                <a:gd name="T4" fmla="*/ 20 w 21"/>
                <a:gd name="T5" fmla="*/ 8 h 15"/>
                <a:gd name="T6" fmla="*/ 11 w 21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5">
                  <a:moveTo>
                    <a:pt x="11" y="0"/>
                  </a:moveTo>
                  <a:cubicBezTo>
                    <a:pt x="8" y="5"/>
                    <a:pt x="0" y="11"/>
                    <a:pt x="3" y="14"/>
                  </a:cubicBezTo>
                  <a:cubicBezTo>
                    <a:pt x="8" y="0"/>
                    <a:pt x="14" y="11"/>
                    <a:pt x="20" y="8"/>
                  </a:cubicBezTo>
                  <a:lnTo>
                    <a:pt x="11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3" name="Freeform 1258"/>
            <p:cNvSpPr>
              <a:spLocks noChangeArrowheads="1"/>
            </p:cNvSpPr>
            <p:nvPr/>
          </p:nvSpPr>
          <p:spPr bwMode="auto">
            <a:xfrm>
              <a:off x="4141788" y="2671763"/>
              <a:ext cx="6350" cy="9525"/>
            </a:xfrm>
            <a:custGeom>
              <a:avLst/>
              <a:gdLst>
                <a:gd name="T0" fmla="*/ 16 w 17"/>
                <a:gd name="T1" fmla="*/ 20 h 27"/>
                <a:gd name="T2" fmla="*/ 16 w 17"/>
                <a:gd name="T3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27">
                  <a:moveTo>
                    <a:pt x="16" y="20"/>
                  </a:moveTo>
                  <a:cubicBezTo>
                    <a:pt x="14" y="0"/>
                    <a:pt x="0" y="26"/>
                    <a:pt x="16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4" name="Freeform 1259"/>
            <p:cNvSpPr>
              <a:spLocks noChangeArrowheads="1"/>
            </p:cNvSpPr>
            <p:nvPr/>
          </p:nvSpPr>
          <p:spPr bwMode="auto">
            <a:xfrm>
              <a:off x="4160838" y="2687638"/>
              <a:ext cx="6350" cy="6350"/>
            </a:xfrm>
            <a:custGeom>
              <a:avLst/>
              <a:gdLst>
                <a:gd name="T0" fmla="*/ 0 w 18"/>
                <a:gd name="T1" fmla="*/ 8 h 18"/>
                <a:gd name="T2" fmla="*/ 9 w 18"/>
                <a:gd name="T3" fmla="*/ 17 h 18"/>
                <a:gd name="T4" fmla="*/ 17 w 18"/>
                <a:gd name="T5" fmla="*/ 8 h 18"/>
                <a:gd name="T6" fmla="*/ 3 w 18"/>
                <a:gd name="T7" fmla="*/ 2 h 18"/>
                <a:gd name="T8" fmla="*/ 0 w 18"/>
                <a:gd name="T9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0" y="8"/>
                  </a:moveTo>
                  <a:lnTo>
                    <a:pt x="9" y="17"/>
                  </a:lnTo>
                  <a:lnTo>
                    <a:pt x="17" y="8"/>
                  </a:lnTo>
                  <a:cubicBezTo>
                    <a:pt x="14" y="2"/>
                    <a:pt x="9" y="0"/>
                    <a:pt x="3" y="2"/>
                  </a:cubicBezTo>
                  <a:cubicBezTo>
                    <a:pt x="0" y="5"/>
                    <a:pt x="0" y="5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5" name="Freeform 1260"/>
            <p:cNvSpPr>
              <a:spLocks noChangeArrowheads="1"/>
            </p:cNvSpPr>
            <p:nvPr/>
          </p:nvSpPr>
          <p:spPr bwMode="auto">
            <a:xfrm>
              <a:off x="4154488" y="2673350"/>
              <a:ext cx="4762" cy="9525"/>
            </a:xfrm>
            <a:custGeom>
              <a:avLst/>
              <a:gdLst>
                <a:gd name="T0" fmla="*/ 12 w 13"/>
                <a:gd name="T1" fmla="*/ 14 h 27"/>
                <a:gd name="T2" fmla="*/ 12 w 13"/>
                <a:gd name="T3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7">
                  <a:moveTo>
                    <a:pt x="12" y="14"/>
                  </a:moveTo>
                  <a:cubicBezTo>
                    <a:pt x="0" y="0"/>
                    <a:pt x="3" y="26"/>
                    <a:pt x="1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6" name="Freeform 1261"/>
            <p:cNvSpPr>
              <a:spLocks noChangeArrowheads="1"/>
            </p:cNvSpPr>
            <p:nvPr/>
          </p:nvSpPr>
          <p:spPr bwMode="auto">
            <a:xfrm>
              <a:off x="4160838" y="2673350"/>
              <a:ext cx="7937" cy="6350"/>
            </a:xfrm>
            <a:custGeom>
              <a:avLst/>
              <a:gdLst>
                <a:gd name="T0" fmla="*/ 20 w 21"/>
                <a:gd name="T1" fmla="*/ 8 h 18"/>
                <a:gd name="T2" fmla="*/ 0 w 21"/>
                <a:gd name="T3" fmla="*/ 6 h 18"/>
                <a:gd name="T4" fmla="*/ 20 w 21"/>
                <a:gd name="T5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20" y="8"/>
                  </a:moveTo>
                  <a:cubicBezTo>
                    <a:pt x="12" y="0"/>
                    <a:pt x="6" y="6"/>
                    <a:pt x="0" y="6"/>
                  </a:cubicBezTo>
                  <a:cubicBezTo>
                    <a:pt x="9" y="11"/>
                    <a:pt x="14" y="17"/>
                    <a:pt x="2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7" name="Freeform 1262"/>
            <p:cNvSpPr>
              <a:spLocks noChangeArrowheads="1"/>
            </p:cNvSpPr>
            <p:nvPr/>
          </p:nvSpPr>
          <p:spPr bwMode="auto">
            <a:xfrm>
              <a:off x="4117975" y="2686050"/>
              <a:ext cx="1588" cy="4763"/>
            </a:xfrm>
            <a:custGeom>
              <a:avLst/>
              <a:gdLst>
                <a:gd name="T0" fmla="*/ 0 w 4"/>
                <a:gd name="T1" fmla="*/ 11 h 12"/>
                <a:gd name="T2" fmla="*/ 1 w 4"/>
                <a:gd name="T3" fmla="*/ 6 h 12"/>
                <a:gd name="T4" fmla="*/ 0 w 4"/>
                <a:gd name="T5" fmla="*/ 8 h 12"/>
                <a:gd name="T6" fmla="*/ 0 w 4"/>
                <a:gd name="T7" fmla="*/ 11 h 12"/>
                <a:gd name="T8" fmla="*/ 3 w 4"/>
                <a:gd name="T9" fmla="*/ 0 h 12"/>
                <a:gd name="T10" fmla="*/ 1 w 4"/>
                <a:gd name="T11" fmla="*/ 6 h 12"/>
                <a:gd name="T12" fmla="*/ 3 w 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2">
                  <a:moveTo>
                    <a:pt x="0" y="11"/>
                  </a:moveTo>
                  <a:cubicBezTo>
                    <a:pt x="0" y="10"/>
                    <a:pt x="0" y="8"/>
                    <a:pt x="1" y="6"/>
                  </a:cubicBezTo>
                  <a:cubicBezTo>
                    <a:pt x="0" y="7"/>
                    <a:pt x="0" y="8"/>
                    <a:pt x="0" y="8"/>
                  </a:cubicBezTo>
                  <a:lnTo>
                    <a:pt x="0" y="11"/>
                  </a:lnTo>
                  <a:close/>
                  <a:moveTo>
                    <a:pt x="3" y="0"/>
                  </a:moveTo>
                  <a:cubicBezTo>
                    <a:pt x="3" y="0"/>
                    <a:pt x="3" y="2"/>
                    <a:pt x="1" y="6"/>
                  </a:cubicBezTo>
                  <a:cubicBezTo>
                    <a:pt x="2" y="3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8" name="Freeform 1263"/>
            <p:cNvSpPr>
              <a:spLocks noChangeArrowheads="1"/>
            </p:cNvSpPr>
            <p:nvPr/>
          </p:nvSpPr>
          <p:spPr bwMode="auto">
            <a:xfrm>
              <a:off x="4090988" y="2673350"/>
              <a:ext cx="6350" cy="9525"/>
            </a:xfrm>
            <a:custGeom>
              <a:avLst/>
              <a:gdLst>
                <a:gd name="T0" fmla="*/ 11 w 18"/>
                <a:gd name="T1" fmla="*/ 0 h 27"/>
                <a:gd name="T2" fmla="*/ 0 w 18"/>
                <a:gd name="T3" fmla="*/ 14 h 27"/>
                <a:gd name="T4" fmla="*/ 11 w 1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7">
                  <a:moveTo>
                    <a:pt x="11" y="0"/>
                  </a:moveTo>
                  <a:cubicBezTo>
                    <a:pt x="8" y="9"/>
                    <a:pt x="2" y="6"/>
                    <a:pt x="0" y="14"/>
                  </a:cubicBezTo>
                  <a:cubicBezTo>
                    <a:pt x="8" y="26"/>
                    <a:pt x="17" y="3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9" name="Freeform 1264"/>
            <p:cNvSpPr>
              <a:spLocks noChangeArrowheads="1"/>
            </p:cNvSpPr>
            <p:nvPr/>
          </p:nvSpPr>
          <p:spPr bwMode="auto">
            <a:xfrm>
              <a:off x="4113213" y="2671763"/>
              <a:ext cx="7937" cy="4762"/>
            </a:xfrm>
            <a:custGeom>
              <a:avLst/>
              <a:gdLst>
                <a:gd name="T0" fmla="*/ 11 w 23"/>
                <a:gd name="T1" fmla="*/ 14 h 15"/>
                <a:gd name="T2" fmla="*/ 11 w 23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5">
                  <a:moveTo>
                    <a:pt x="11" y="14"/>
                  </a:moveTo>
                  <a:cubicBezTo>
                    <a:pt x="22" y="0"/>
                    <a:pt x="0" y="9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0" name="Freeform 1265"/>
            <p:cNvSpPr>
              <a:spLocks noChangeArrowheads="1"/>
            </p:cNvSpPr>
            <p:nvPr/>
          </p:nvSpPr>
          <p:spPr bwMode="auto">
            <a:xfrm>
              <a:off x="4117975" y="2671763"/>
              <a:ext cx="7938" cy="6350"/>
            </a:xfrm>
            <a:custGeom>
              <a:avLst/>
              <a:gdLst>
                <a:gd name="T0" fmla="*/ 11 w 21"/>
                <a:gd name="T1" fmla="*/ 17 h 18"/>
                <a:gd name="T2" fmla="*/ 11 w 21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8">
                  <a:moveTo>
                    <a:pt x="11" y="17"/>
                  </a:moveTo>
                  <a:cubicBezTo>
                    <a:pt x="20" y="0"/>
                    <a:pt x="0" y="12"/>
                    <a:pt x="11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1" name="Freeform 1266"/>
            <p:cNvSpPr>
              <a:spLocks noChangeArrowheads="1"/>
            </p:cNvSpPr>
            <p:nvPr/>
          </p:nvSpPr>
          <p:spPr bwMode="auto">
            <a:xfrm>
              <a:off x="4137025" y="2689225"/>
              <a:ext cx="7938" cy="4763"/>
            </a:xfrm>
            <a:custGeom>
              <a:avLst/>
              <a:gdLst>
                <a:gd name="T0" fmla="*/ 11 w 23"/>
                <a:gd name="T1" fmla="*/ 14 h 15"/>
                <a:gd name="T2" fmla="*/ 11 w 23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5">
                  <a:moveTo>
                    <a:pt x="11" y="14"/>
                  </a:moveTo>
                  <a:cubicBezTo>
                    <a:pt x="22" y="0"/>
                    <a:pt x="0" y="9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2" name="Freeform 1267"/>
            <p:cNvSpPr>
              <a:spLocks noChangeArrowheads="1"/>
            </p:cNvSpPr>
            <p:nvPr/>
          </p:nvSpPr>
          <p:spPr bwMode="auto">
            <a:xfrm>
              <a:off x="4144963" y="2681288"/>
              <a:ext cx="7937" cy="4762"/>
            </a:xfrm>
            <a:custGeom>
              <a:avLst/>
              <a:gdLst>
                <a:gd name="T0" fmla="*/ 11 w 24"/>
                <a:gd name="T1" fmla="*/ 14 h 15"/>
                <a:gd name="T2" fmla="*/ 11 w 24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15">
                  <a:moveTo>
                    <a:pt x="11" y="14"/>
                  </a:moveTo>
                  <a:cubicBezTo>
                    <a:pt x="23" y="0"/>
                    <a:pt x="0" y="8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3" name="Freeform 1268"/>
            <p:cNvSpPr>
              <a:spLocks noChangeArrowheads="1"/>
            </p:cNvSpPr>
            <p:nvPr/>
          </p:nvSpPr>
          <p:spPr bwMode="auto">
            <a:xfrm>
              <a:off x="4165600" y="2678113"/>
              <a:ext cx="4763" cy="6350"/>
            </a:xfrm>
            <a:custGeom>
              <a:avLst/>
              <a:gdLst>
                <a:gd name="T0" fmla="*/ 2 w 15"/>
                <a:gd name="T1" fmla="*/ 0 h 18"/>
                <a:gd name="T2" fmla="*/ 5 w 15"/>
                <a:gd name="T3" fmla="*/ 14 h 18"/>
                <a:gd name="T4" fmla="*/ 11 w 15"/>
                <a:gd name="T5" fmla="*/ 17 h 18"/>
                <a:gd name="T6" fmla="*/ 8 w 15"/>
                <a:gd name="T7" fmla="*/ 3 h 18"/>
                <a:gd name="T8" fmla="*/ 2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2" y="0"/>
                  </a:moveTo>
                  <a:cubicBezTo>
                    <a:pt x="0" y="6"/>
                    <a:pt x="0" y="12"/>
                    <a:pt x="5" y="14"/>
                  </a:cubicBezTo>
                  <a:cubicBezTo>
                    <a:pt x="8" y="14"/>
                    <a:pt x="8" y="17"/>
                    <a:pt x="11" y="17"/>
                  </a:cubicBezTo>
                  <a:cubicBezTo>
                    <a:pt x="14" y="12"/>
                    <a:pt x="14" y="6"/>
                    <a:pt x="8" y="3"/>
                  </a:cubicBezTo>
                  <a:cubicBezTo>
                    <a:pt x="5" y="0"/>
                    <a:pt x="5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4" name="Freeform 1269"/>
            <p:cNvSpPr>
              <a:spLocks noChangeArrowheads="1"/>
            </p:cNvSpPr>
            <p:nvPr/>
          </p:nvSpPr>
          <p:spPr bwMode="auto">
            <a:xfrm>
              <a:off x="4462463" y="2640013"/>
              <a:ext cx="4762" cy="6350"/>
            </a:xfrm>
            <a:custGeom>
              <a:avLst/>
              <a:gdLst>
                <a:gd name="T0" fmla="*/ 0 w 13"/>
                <a:gd name="T1" fmla="*/ 11 h 18"/>
                <a:gd name="T2" fmla="*/ 0 w 13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0" y="11"/>
                  </a:moveTo>
                  <a:cubicBezTo>
                    <a:pt x="12" y="17"/>
                    <a:pt x="3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5" name="Freeform 1270"/>
            <p:cNvSpPr>
              <a:spLocks noChangeArrowheads="1"/>
            </p:cNvSpPr>
            <p:nvPr/>
          </p:nvSpPr>
          <p:spPr bwMode="auto">
            <a:xfrm>
              <a:off x="4443413" y="2646363"/>
              <a:ext cx="4762" cy="3175"/>
            </a:xfrm>
            <a:custGeom>
              <a:avLst/>
              <a:gdLst>
                <a:gd name="T0" fmla="*/ 0 w 15"/>
                <a:gd name="T1" fmla="*/ 5 h 9"/>
                <a:gd name="T2" fmla="*/ 3 w 15"/>
                <a:gd name="T3" fmla="*/ 8 h 9"/>
                <a:gd name="T4" fmla="*/ 8 w 15"/>
                <a:gd name="T5" fmla="*/ 8 h 9"/>
                <a:gd name="T6" fmla="*/ 0 w 15"/>
                <a:gd name="T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9">
                  <a:moveTo>
                    <a:pt x="0" y="5"/>
                  </a:moveTo>
                  <a:cubicBezTo>
                    <a:pt x="3" y="5"/>
                    <a:pt x="3" y="5"/>
                    <a:pt x="3" y="8"/>
                  </a:cubicBezTo>
                  <a:lnTo>
                    <a:pt x="8" y="8"/>
                  </a:lnTo>
                  <a:cubicBezTo>
                    <a:pt x="14" y="3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6" name="Freeform 1271"/>
            <p:cNvSpPr>
              <a:spLocks noChangeArrowheads="1"/>
            </p:cNvSpPr>
            <p:nvPr/>
          </p:nvSpPr>
          <p:spPr bwMode="auto">
            <a:xfrm>
              <a:off x="4464050" y="2651125"/>
              <a:ext cx="4763" cy="4763"/>
            </a:xfrm>
            <a:custGeom>
              <a:avLst/>
              <a:gdLst>
                <a:gd name="T0" fmla="*/ 0 w 15"/>
                <a:gd name="T1" fmla="*/ 8 h 15"/>
                <a:gd name="T2" fmla="*/ 0 w 15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0" y="8"/>
                  </a:moveTo>
                  <a:cubicBezTo>
                    <a:pt x="14" y="14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7" name="Freeform 1272"/>
            <p:cNvSpPr>
              <a:spLocks noChangeArrowheads="1"/>
            </p:cNvSpPr>
            <p:nvPr/>
          </p:nvSpPr>
          <p:spPr bwMode="auto">
            <a:xfrm>
              <a:off x="4418013" y="2644775"/>
              <a:ext cx="3175" cy="7938"/>
            </a:xfrm>
            <a:custGeom>
              <a:avLst/>
              <a:gdLst>
                <a:gd name="T0" fmla="*/ 0 w 10"/>
                <a:gd name="T1" fmla="*/ 11 h 24"/>
                <a:gd name="T2" fmla="*/ 0 w 10"/>
                <a:gd name="T3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4">
                  <a:moveTo>
                    <a:pt x="0" y="11"/>
                  </a:moveTo>
                  <a:cubicBezTo>
                    <a:pt x="9" y="23"/>
                    <a:pt x="6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8" name="Freeform 1273"/>
            <p:cNvSpPr>
              <a:spLocks noChangeArrowheads="1"/>
            </p:cNvSpPr>
            <p:nvPr/>
          </p:nvSpPr>
          <p:spPr bwMode="auto">
            <a:xfrm>
              <a:off x="4438650" y="2651125"/>
              <a:ext cx="7938" cy="4763"/>
            </a:xfrm>
            <a:custGeom>
              <a:avLst/>
              <a:gdLst>
                <a:gd name="T0" fmla="*/ 6 w 21"/>
                <a:gd name="T1" fmla="*/ 0 h 12"/>
                <a:gd name="T2" fmla="*/ 17 w 21"/>
                <a:gd name="T3" fmla="*/ 11 h 12"/>
                <a:gd name="T4" fmla="*/ 6 w 21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6" y="0"/>
                  </a:moveTo>
                  <a:cubicBezTo>
                    <a:pt x="0" y="8"/>
                    <a:pt x="9" y="11"/>
                    <a:pt x="17" y="11"/>
                  </a:cubicBezTo>
                  <a:cubicBezTo>
                    <a:pt x="20" y="3"/>
                    <a:pt x="15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9" name="Freeform 1274"/>
            <p:cNvSpPr>
              <a:spLocks noChangeArrowheads="1"/>
            </p:cNvSpPr>
            <p:nvPr/>
          </p:nvSpPr>
          <p:spPr bwMode="auto">
            <a:xfrm>
              <a:off x="4452938" y="2654300"/>
              <a:ext cx="4762" cy="4763"/>
            </a:xfrm>
            <a:custGeom>
              <a:avLst/>
              <a:gdLst>
                <a:gd name="T0" fmla="*/ 3 w 15"/>
                <a:gd name="T1" fmla="*/ 0 h 15"/>
                <a:gd name="T2" fmla="*/ 6 w 15"/>
                <a:gd name="T3" fmla="*/ 14 h 15"/>
                <a:gd name="T4" fmla="*/ 3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3" y="0"/>
                  </a:moveTo>
                  <a:cubicBezTo>
                    <a:pt x="0" y="6"/>
                    <a:pt x="0" y="12"/>
                    <a:pt x="6" y="14"/>
                  </a:cubicBezTo>
                  <a:cubicBezTo>
                    <a:pt x="3" y="3"/>
                    <a:pt x="14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0" name="Freeform 1275"/>
            <p:cNvSpPr>
              <a:spLocks noChangeArrowheads="1"/>
            </p:cNvSpPr>
            <p:nvPr/>
          </p:nvSpPr>
          <p:spPr bwMode="auto">
            <a:xfrm>
              <a:off x="4459288" y="2655888"/>
              <a:ext cx="1587" cy="3175"/>
            </a:xfrm>
            <a:custGeom>
              <a:avLst/>
              <a:gdLst>
                <a:gd name="T0" fmla="*/ 0 w 4"/>
                <a:gd name="T1" fmla="*/ 3 h 7"/>
                <a:gd name="T2" fmla="*/ 0 w 4"/>
                <a:gd name="T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7">
                  <a:moveTo>
                    <a:pt x="0" y="3"/>
                  </a:moveTo>
                  <a:cubicBezTo>
                    <a:pt x="3" y="6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1" name="Freeform 1276"/>
            <p:cNvSpPr>
              <a:spLocks noChangeArrowheads="1"/>
            </p:cNvSpPr>
            <p:nvPr/>
          </p:nvSpPr>
          <p:spPr bwMode="auto">
            <a:xfrm>
              <a:off x="4462463" y="2655888"/>
              <a:ext cx="6350" cy="4762"/>
            </a:xfrm>
            <a:custGeom>
              <a:avLst/>
              <a:gdLst>
                <a:gd name="T0" fmla="*/ 0 w 18"/>
                <a:gd name="T1" fmla="*/ 6 h 12"/>
                <a:gd name="T2" fmla="*/ 17 w 18"/>
                <a:gd name="T3" fmla="*/ 6 h 12"/>
                <a:gd name="T4" fmla="*/ 0 w 18"/>
                <a:gd name="T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0" y="6"/>
                  </a:moveTo>
                  <a:cubicBezTo>
                    <a:pt x="6" y="6"/>
                    <a:pt x="14" y="11"/>
                    <a:pt x="17" y="6"/>
                  </a:cubicBezTo>
                  <a:cubicBezTo>
                    <a:pt x="9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2" name="Freeform 1277"/>
            <p:cNvSpPr>
              <a:spLocks noChangeArrowheads="1"/>
            </p:cNvSpPr>
            <p:nvPr/>
          </p:nvSpPr>
          <p:spPr bwMode="auto">
            <a:xfrm>
              <a:off x="4392613" y="2641600"/>
              <a:ext cx="4762" cy="6350"/>
            </a:xfrm>
            <a:custGeom>
              <a:avLst/>
              <a:gdLst>
                <a:gd name="T0" fmla="*/ 0 w 15"/>
                <a:gd name="T1" fmla="*/ 9 h 16"/>
                <a:gd name="T2" fmla="*/ 0 w 15"/>
                <a:gd name="T3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6">
                  <a:moveTo>
                    <a:pt x="0" y="9"/>
                  </a:moveTo>
                  <a:cubicBezTo>
                    <a:pt x="14" y="15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3" name="Freeform 1278"/>
            <p:cNvSpPr>
              <a:spLocks noChangeArrowheads="1"/>
            </p:cNvSpPr>
            <p:nvPr/>
          </p:nvSpPr>
          <p:spPr bwMode="auto">
            <a:xfrm>
              <a:off x="4421188" y="2649538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11 w 12"/>
                <a:gd name="T3" fmla="*/ 3 h 10"/>
                <a:gd name="T4" fmla="*/ 0 w 12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2" y="9"/>
                    <a:pt x="8" y="9"/>
                    <a:pt x="11" y="3"/>
                  </a:cubicBezTo>
                  <a:cubicBezTo>
                    <a:pt x="5" y="3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4" name="Freeform 1279"/>
            <p:cNvSpPr>
              <a:spLocks noChangeArrowheads="1"/>
            </p:cNvSpPr>
            <p:nvPr/>
          </p:nvSpPr>
          <p:spPr bwMode="auto">
            <a:xfrm>
              <a:off x="4432300" y="2654300"/>
              <a:ext cx="1588" cy="1588"/>
            </a:xfrm>
            <a:custGeom>
              <a:avLst/>
              <a:gdLst>
                <a:gd name="T0" fmla="*/ 2 w 3"/>
                <a:gd name="T1" fmla="*/ 0 h 3"/>
                <a:gd name="T2" fmla="*/ 2 w 3"/>
                <a:gd name="T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2"/>
                    <a:pt x="0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5" name="Freeform 1280"/>
            <p:cNvSpPr>
              <a:spLocks noChangeArrowheads="1"/>
            </p:cNvSpPr>
            <p:nvPr/>
          </p:nvSpPr>
          <p:spPr bwMode="auto">
            <a:xfrm>
              <a:off x="4405313" y="2644775"/>
              <a:ext cx="4762" cy="7938"/>
            </a:xfrm>
            <a:custGeom>
              <a:avLst/>
              <a:gdLst>
                <a:gd name="T0" fmla="*/ 0 w 13"/>
                <a:gd name="T1" fmla="*/ 11 h 24"/>
                <a:gd name="T2" fmla="*/ 0 w 13"/>
                <a:gd name="T3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4">
                  <a:moveTo>
                    <a:pt x="0" y="11"/>
                  </a:moveTo>
                  <a:cubicBezTo>
                    <a:pt x="3" y="23"/>
                    <a:pt x="12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6" name="Freeform 1281"/>
            <p:cNvSpPr>
              <a:spLocks noChangeArrowheads="1"/>
            </p:cNvSpPr>
            <p:nvPr/>
          </p:nvSpPr>
          <p:spPr bwMode="auto">
            <a:xfrm>
              <a:off x="4435475" y="2654300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6 w 7"/>
                <a:gd name="T3" fmla="*/ 0 h 7"/>
                <a:gd name="T4" fmla="*/ 0 w 7"/>
                <a:gd name="T5" fmla="*/ 0 h 7"/>
                <a:gd name="T6" fmla="*/ 0 w 7"/>
                <a:gd name="T7" fmla="*/ 6 h 7"/>
                <a:gd name="T8" fmla="*/ 6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7" name="Freeform 1282"/>
            <p:cNvSpPr>
              <a:spLocks noChangeArrowheads="1"/>
            </p:cNvSpPr>
            <p:nvPr/>
          </p:nvSpPr>
          <p:spPr bwMode="auto">
            <a:xfrm>
              <a:off x="4446588" y="2655888"/>
              <a:ext cx="6350" cy="4762"/>
            </a:xfrm>
            <a:custGeom>
              <a:avLst/>
              <a:gdLst>
                <a:gd name="T0" fmla="*/ 11 w 18"/>
                <a:gd name="T1" fmla="*/ 14 h 15"/>
                <a:gd name="T2" fmla="*/ 6 w 18"/>
                <a:gd name="T3" fmla="*/ 0 h 15"/>
                <a:gd name="T4" fmla="*/ 11 w 18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1" y="14"/>
                  </a:moveTo>
                  <a:cubicBezTo>
                    <a:pt x="17" y="6"/>
                    <a:pt x="9" y="3"/>
                    <a:pt x="6" y="0"/>
                  </a:cubicBezTo>
                  <a:cubicBezTo>
                    <a:pt x="0" y="8"/>
                    <a:pt x="6" y="11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8" name="Freeform 1283"/>
            <p:cNvSpPr>
              <a:spLocks noChangeArrowheads="1"/>
            </p:cNvSpPr>
            <p:nvPr/>
          </p:nvSpPr>
          <p:spPr bwMode="auto">
            <a:xfrm>
              <a:off x="4445000" y="2659063"/>
              <a:ext cx="1588" cy="1587"/>
            </a:xfrm>
            <a:custGeom>
              <a:avLst/>
              <a:gdLst>
                <a:gd name="T0" fmla="*/ 0 w 4"/>
                <a:gd name="T1" fmla="*/ 2 h 6"/>
                <a:gd name="T2" fmla="*/ 0 w 4"/>
                <a:gd name="T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6">
                  <a:moveTo>
                    <a:pt x="0" y="2"/>
                  </a:moveTo>
                  <a:cubicBezTo>
                    <a:pt x="3" y="5"/>
                    <a:pt x="0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9" name="Freeform 1284"/>
            <p:cNvSpPr>
              <a:spLocks noChangeArrowheads="1"/>
            </p:cNvSpPr>
            <p:nvPr/>
          </p:nvSpPr>
          <p:spPr bwMode="auto">
            <a:xfrm>
              <a:off x="4419600" y="2655888"/>
              <a:ext cx="4763" cy="4762"/>
            </a:xfrm>
            <a:custGeom>
              <a:avLst/>
              <a:gdLst>
                <a:gd name="T0" fmla="*/ 11 w 12"/>
                <a:gd name="T1" fmla="*/ 11 h 12"/>
                <a:gd name="T2" fmla="*/ 6 w 12"/>
                <a:gd name="T3" fmla="*/ 0 h 12"/>
                <a:gd name="T4" fmla="*/ 11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11" y="11"/>
                  </a:moveTo>
                  <a:cubicBezTo>
                    <a:pt x="11" y="9"/>
                    <a:pt x="11" y="3"/>
                    <a:pt x="6" y="0"/>
                  </a:cubicBezTo>
                  <a:cubicBezTo>
                    <a:pt x="0" y="6"/>
                    <a:pt x="3" y="11"/>
                    <a:pt x="1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0" name="Freeform 1285"/>
            <p:cNvSpPr>
              <a:spLocks noChangeArrowheads="1"/>
            </p:cNvSpPr>
            <p:nvPr/>
          </p:nvSpPr>
          <p:spPr bwMode="auto">
            <a:xfrm>
              <a:off x="4433888" y="2655888"/>
              <a:ext cx="6350" cy="4762"/>
            </a:xfrm>
            <a:custGeom>
              <a:avLst/>
              <a:gdLst>
                <a:gd name="T0" fmla="*/ 0 w 18"/>
                <a:gd name="T1" fmla="*/ 8 h 15"/>
                <a:gd name="T2" fmla="*/ 0 w 18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5">
                  <a:moveTo>
                    <a:pt x="0" y="8"/>
                  </a:moveTo>
                  <a:cubicBezTo>
                    <a:pt x="17" y="14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1" name="Freeform 1286"/>
            <p:cNvSpPr>
              <a:spLocks noChangeArrowheads="1"/>
            </p:cNvSpPr>
            <p:nvPr/>
          </p:nvSpPr>
          <p:spPr bwMode="auto">
            <a:xfrm>
              <a:off x="4440238" y="2659063"/>
              <a:ext cx="3175" cy="7937"/>
            </a:xfrm>
            <a:custGeom>
              <a:avLst/>
              <a:gdLst>
                <a:gd name="T0" fmla="*/ 0 w 7"/>
                <a:gd name="T1" fmla="*/ 12 h 24"/>
                <a:gd name="T2" fmla="*/ 0 w 7"/>
                <a:gd name="T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4">
                  <a:moveTo>
                    <a:pt x="0" y="12"/>
                  </a:moveTo>
                  <a:cubicBezTo>
                    <a:pt x="6" y="23"/>
                    <a:pt x="6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2" name="Freeform 1287"/>
            <p:cNvSpPr>
              <a:spLocks noChangeArrowheads="1"/>
            </p:cNvSpPr>
            <p:nvPr/>
          </p:nvSpPr>
          <p:spPr bwMode="auto">
            <a:xfrm>
              <a:off x="4406900" y="2654300"/>
              <a:ext cx="4763" cy="4763"/>
            </a:xfrm>
            <a:custGeom>
              <a:avLst/>
              <a:gdLst>
                <a:gd name="T0" fmla="*/ 0 w 12"/>
                <a:gd name="T1" fmla="*/ 9 h 15"/>
                <a:gd name="T2" fmla="*/ 0 w 12"/>
                <a:gd name="T3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0" y="9"/>
                  </a:moveTo>
                  <a:cubicBezTo>
                    <a:pt x="11" y="14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3" name="Freeform 1288"/>
            <p:cNvSpPr>
              <a:spLocks noChangeArrowheads="1"/>
            </p:cNvSpPr>
            <p:nvPr/>
          </p:nvSpPr>
          <p:spPr bwMode="auto">
            <a:xfrm>
              <a:off x="4395788" y="2655888"/>
              <a:ext cx="4762" cy="7937"/>
            </a:xfrm>
            <a:custGeom>
              <a:avLst/>
              <a:gdLst>
                <a:gd name="T0" fmla="*/ 14 w 15"/>
                <a:gd name="T1" fmla="*/ 14 h 24"/>
                <a:gd name="T2" fmla="*/ 14 w 15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14" y="14"/>
                  </a:moveTo>
                  <a:cubicBezTo>
                    <a:pt x="0" y="0"/>
                    <a:pt x="0" y="23"/>
                    <a:pt x="14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4" name="Freeform 1289"/>
            <p:cNvSpPr>
              <a:spLocks noChangeArrowheads="1"/>
            </p:cNvSpPr>
            <p:nvPr/>
          </p:nvSpPr>
          <p:spPr bwMode="auto">
            <a:xfrm>
              <a:off x="4449763" y="2643188"/>
              <a:ext cx="4762" cy="4762"/>
            </a:xfrm>
            <a:custGeom>
              <a:avLst/>
              <a:gdLst>
                <a:gd name="T0" fmla="*/ 3 w 12"/>
                <a:gd name="T1" fmla="*/ 0 h 15"/>
                <a:gd name="T2" fmla="*/ 3 w 12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3" y="0"/>
                  </a:moveTo>
                  <a:cubicBezTo>
                    <a:pt x="0" y="14"/>
                    <a:pt x="11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5" name="Freeform 1290"/>
            <p:cNvSpPr>
              <a:spLocks noChangeArrowheads="1"/>
            </p:cNvSpPr>
            <p:nvPr/>
          </p:nvSpPr>
          <p:spPr bwMode="auto">
            <a:xfrm>
              <a:off x="4446588" y="2646363"/>
              <a:ext cx="4762" cy="4762"/>
            </a:xfrm>
            <a:custGeom>
              <a:avLst/>
              <a:gdLst>
                <a:gd name="T0" fmla="*/ 3 w 13"/>
                <a:gd name="T1" fmla="*/ 0 h 15"/>
                <a:gd name="T2" fmla="*/ 3 w 13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3" y="0"/>
                  </a:moveTo>
                  <a:cubicBezTo>
                    <a:pt x="0" y="14"/>
                    <a:pt x="12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6" name="Freeform 1291"/>
            <p:cNvSpPr>
              <a:spLocks noChangeArrowheads="1"/>
            </p:cNvSpPr>
            <p:nvPr/>
          </p:nvSpPr>
          <p:spPr bwMode="auto">
            <a:xfrm>
              <a:off x="4429125" y="2641600"/>
              <a:ext cx="3175" cy="3175"/>
            </a:xfrm>
            <a:custGeom>
              <a:avLst/>
              <a:gdLst>
                <a:gd name="T0" fmla="*/ 0 w 10"/>
                <a:gd name="T1" fmla="*/ 0 h 9"/>
                <a:gd name="T2" fmla="*/ 9 w 10"/>
                <a:gd name="T3" fmla="*/ 8 h 9"/>
                <a:gd name="T4" fmla="*/ 0 w 10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cubicBezTo>
                    <a:pt x="0" y="5"/>
                    <a:pt x="3" y="8"/>
                    <a:pt x="9" y="8"/>
                  </a:cubicBezTo>
                  <a:cubicBezTo>
                    <a:pt x="9" y="2"/>
                    <a:pt x="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7" name="Freeform 1292"/>
            <p:cNvSpPr>
              <a:spLocks noChangeArrowheads="1"/>
            </p:cNvSpPr>
            <p:nvPr/>
          </p:nvSpPr>
          <p:spPr bwMode="auto">
            <a:xfrm>
              <a:off x="4422775" y="2644775"/>
              <a:ext cx="4763" cy="4763"/>
            </a:xfrm>
            <a:custGeom>
              <a:avLst/>
              <a:gdLst>
                <a:gd name="T0" fmla="*/ 3 w 13"/>
                <a:gd name="T1" fmla="*/ 0 h 15"/>
                <a:gd name="T2" fmla="*/ 3 w 13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3" y="0"/>
                  </a:moveTo>
                  <a:cubicBezTo>
                    <a:pt x="0" y="14"/>
                    <a:pt x="12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8" name="Freeform 1293"/>
            <p:cNvSpPr>
              <a:spLocks noChangeArrowheads="1"/>
            </p:cNvSpPr>
            <p:nvPr/>
          </p:nvSpPr>
          <p:spPr bwMode="auto">
            <a:xfrm>
              <a:off x="4419600" y="2643188"/>
              <a:ext cx="4763" cy="4762"/>
            </a:xfrm>
            <a:custGeom>
              <a:avLst/>
              <a:gdLst>
                <a:gd name="T0" fmla="*/ 0 w 12"/>
                <a:gd name="T1" fmla="*/ 0 h 15"/>
                <a:gd name="T2" fmla="*/ 0 w 12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0" y="0"/>
                  </a:moveTo>
                  <a:cubicBezTo>
                    <a:pt x="0" y="14"/>
                    <a:pt x="11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9" name="Freeform 1294"/>
            <p:cNvSpPr>
              <a:spLocks noChangeArrowheads="1"/>
            </p:cNvSpPr>
            <p:nvPr/>
          </p:nvSpPr>
          <p:spPr bwMode="auto">
            <a:xfrm>
              <a:off x="4389438" y="2638425"/>
              <a:ext cx="11112" cy="6350"/>
            </a:xfrm>
            <a:custGeom>
              <a:avLst/>
              <a:gdLst>
                <a:gd name="T0" fmla="*/ 23 w 29"/>
                <a:gd name="T1" fmla="*/ 6 h 18"/>
                <a:gd name="T2" fmla="*/ 6 w 29"/>
                <a:gd name="T3" fmla="*/ 11 h 18"/>
                <a:gd name="T4" fmla="*/ 23 w 29"/>
                <a:gd name="T5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18">
                  <a:moveTo>
                    <a:pt x="23" y="6"/>
                  </a:moveTo>
                  <a:cubicBezTo>
                    <a:pt x="20" y="3"/>
                    <a:pt x="0" y="0"/>
                    <a:pt x="6" y="11"/>
                  </a:cubicBezTo>
                  <a:cubicBezTo>
                    <a:pt x="6" y="17"/>
                    <a:pt x="28" y="14"/>
                    <a:pt x="2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0" name="Freeform 1295"/>
            <p:cNvSpPr>
              <a:spLocks noChangeArrowheads="1"/>
            </p:cNvSpPr>
            <p:nvPr/>
          </p:nvSpPr>
          <p:spPr bwMode="auto">
            <a:xfrm>
              <a:off x="4397375" y="2649538"/>
              <a:ext cx="6350" cy="9525"/>
            </a:xfrm>
            <a:custGeom>
              <a:avLst/>
              <a:gdLst>
                <a:gd name="T0" fmla="*/ 14 w 18"/>
                <a:gd name="T1" fmla="*/ 0 h 27"/>
                <a:gd name="T2" fmla="*/ 8 w 18"/>
                <a:gd name="T3" fmla="*/ 26 h 27"/>
                <a:gd name="T4" fmla="*/ 14 w 1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7">
                  <a:moveTo>
                    <a:pt x="14" y="0"/>
                  </a:moveTo>
                  <a:cubicBezTo>
                    <a:pt x="3" y="0"/>
                    <a:pt x="0" y="17"/>
                    <a:pt x="8" y="26"/>
                  </a:cubicBezTo>
                  <a:cubicBezTo>
                    <a:pt x="14" y="17"/>
                    <a:pt x="17" y="9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1" name="Freeform 1296"/>
            <p:cNvSpPr>
              <a:spLocks noChangeArrowheads="1"/>
            </p:cNvSpPr>
            <p:nvPr/>
          </p:nvSpPr>
          <p:spPr bwMode="auto">
            <a:xfrm>
              <a:off x="4389438" y="2638425"/>
              <a:ext cx="6350" cy="9525"/>
            </a:xfrm>
            <a:custGeom>
              <a:avLst/>
              <a:gdLst>
                <a:gd name="T0" fmla="*/ 14 w 18"/>
                <a:gd name="T1" fmla="*/ 20 h 27"/>
                <a:gd name="T2" fmla="*/ 14 w 18"/>
                <a:gd name="T3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27">
                  <a:moveTo>
                    <a:pt x="14" y="20"/>
                  </a:moveTo>
                  <a:cubicBezTo>
                    <a:pt x="17" y="0"/>
                    <a:pt x="0" y="26"/>
                    <a:pt x="14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2" name="Freeform 1297"/>
            <p:cNvSpPr>
              <a:spLocks noChangeArrowheads="1"/>
            </p:cNvSpPr>
            <p:nvPr/>
          </p:nvSpPr>
          <p:spPr bwMode="auto">
            <a:xfrm>
              <a:off x="4405313" y="2649538"/>
              <a:ext cx="7937" cy="7937"/>
            </a:xfrm>
            <a:custGeom>
              <a:avLst/>
              <a:gdLst>
                <a:gd name="T0" fmla="*/ 14 w 24"/>
                <a:gd name="T1" fmla="*/ 23 h 24"/>
                <a:gd name="T2" fmla="*/ 23 w 24"/>
                <a:gd name="T3" fmla="*/ 14 h 24"/>
                <a:gd name="T4" fmla="*/ 14 w 24"/>
                <a:gd name="T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24">
                  <a:moveTo>
                    <a:pt x="14" y="23"/>
                  </a:moveTo>
                  <a:lnTo>
                    <a:pt x="23" y="14"/>
                  </a:lnTo>
                  <a:cubicBezTo>
                    <a:pt x="17" y="0"/>
                    <a:pt x="0" y="20"/>
                    <a:pt x="14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3" name="Freeform 1298"/>
            <p:cNvSpPr>
              <a:spLocks noChangeArrowheads="1"/>
            </p:cNvSpPr>
            <p:nvPr/>
          </p:nvSpPr>
          <p:spPr bwMode="auto">
            <a:xfrm>
              <a:off x="4410075" y="2641600"/>
              <a:ext cx="11113" cy="7938"/>
            </a:xfrm>
            <a:custGeom>
              <a:avLst/>
              <a:gdLst>
                <a:gd name="T0" fmla="*/ 0 w 33"/>
                <a:gd name="T1" fmla="*/ 8 h 23"/>
                <a:gd name="T2" fmla="*/ 23 w 33"/>
                <a:gd name="T3" fmla="*/ 22 h 23"/>
                <a:gd name="T4" fmla="*/ 32 w 33"/>
                <a:gd name="T5" fmla="*/ 14 h 23"/>
                <a:gd name="T6" fmla="*/ 9 w 33"/>
                <a:gd name="T7" fmla="*/ 2 h 23"/>
                <a:gd name="T8" fmla="*/ 0 w 33"/>
                <a:gd name="T9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0" y="8"/>
                  </a:moveTo>
                  <a:cubicBezTo>
                    <a:pt x="9" y="17"/>
                    <a:pt x="15" y="22"/>
                    <a:pt x="23" y="22"/>
                  </a:cubicBezTo>
                  <a:lnTo>
                    <a:pt x="32" y="14"/>
                  </a:lnTo>
                  <a:cubicBezTo>
                    <a:pt x="29" y="5"/>
                    <a:pt x="17" y="0"/>
                    <a:pt x="9" y="2"/>
                  </a:cubicBezTo>
                  <a:cubicBezTo>
                    <a:pt x="6" y="2"/>
                    <a:pt x="3" y="5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4" name="Freeform 1299"/>
            <p:cNvSpPr>
              <a:spLocks noChangeArrowheads="1"/>
            </p:cNvSpPr>
            <p:nvPr/>
          </p:nvSpPr>
          <p:spPr bwMode="auto">
            <a:xfrm>
              <a:off x="4438650" y="2657475"/>
              <a:ext cx="4763" cy="9525"/>
            </a:xfrm>
            <a:custGeom>
              <a:avLst/>
              <a:gdLst>
                <a:gd name="T0" fmla="*/ 12 w 13"/>
                <a:gd name="T1" fmla="*/ 14 h 26"/>
                <a:gd name="T2" fmla="*/ 12 w 13"/>
                <a:gd name="T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6">
                  <a:moveTo>
                    <a:pt x="12" y="14"/>
                  </a:moveTo>
                  <a:cubicBezTo>
                    <a:pt x="0" y="0"/>
                    <a:pt x="0" y="25"/>
                    <a:pt x="1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5" name="Freeform 1300"/>
            <p:cNvSpPr>
              <a:spLocks noChangeArrowheads="1"/>
            </p:cNvSpPr>
            <p:nvPr/>
          </p:nvSpPr>
          <p:spPr bwMode="auto">
            <a:xfrm>
              <a:off x="4425950" y="2646363"/>
              <a:ext cx="4763" cy="6350"/>
            </a:xfrm>
            <a:custGeom>
              <a:avLst/>
              <a:gdLst>
                <a:gd name="T0" fmla="*/ 5 w 12"/>
                <a:gd name="T1" fmla="*/ 17 h 18"/>
                <a:gd name="T2" fmla="*/ 8 w 12"/>
                <a:gd name="T3" fmla="*/ 3 h 18"/>
                <a:gd name="T4" fmla="*/ 5 w 12"/>
                <a:gd name="T5" fmla="*/ 0 h 18"/>
                <a:gd name="T6" fmla="*/ 3 w 12"/>
                <a:gd name="T7" fmla="*/ 14 h 18"/>
                <a:gd name="T8" fmla="*/ 5 w 12"/>
                <a:gd name="T9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8">
                  <a:moveTo>
                    <a:pt x="5" y="17"/>
                  </a:moveTo>
                  <a:cubicBezTo>
                    <a:pt x="11" y="14"/>
                    <a:pt x="11" y="8"/>
                    <a:pt x="8" y="3"/>
                  </a:cubicBezTo>
                  <a:cubicBezTo>
                    <a:pt x="8" y="0"/>
                    <a:pt x="5" y="0"/>
                    <a:pt x="5" y="0"/>
                  </a:cubicBezTo>
                  <a:cubicBezTo>
                    <a:pt x="0" y="3"/>
                    <a:pt x="0" y="8"/>
                    <a:pt x="3" y="14"/>
                  </a:cubicBezTo>
                  <a:cubicBezTo>
                    <a:pt x="3" y="14"/>
                    <a:pt x="5" y="14"/>
                    <a:pt x="5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6" name="Freeform 1301"/>
            <p:cNvSpPr>
              <a:spLocks noChangeArrowheads="1"/>
            </p:cNvSpPr>
            <p:nvPr/>
          </p:nvSpPr>
          <p:spPr bwMode="auto">
            <a:xfrm>
              <a:off x="4443413" y="2655888"/>
              <a:ext cx="4762" cy="7937"/>
            </a:xfrm>
            <a:custGeom>
              <a:avLst/>
              <a:gdLst>
                <a:gd name="T0" fmla="*/ 11 w 12"/>
                <a:gd name="T1" fmla="*/ 14 h 24"/>
                <a:gd name="T2" fmla="*/ 11 w 12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4">
                  <a:moveTo>
                    <a:pt x="11" y="14"/>
                  </a:moveTo>
                  <a:cubicBezTo>
                    <a:pt x="0" y="0"/>
                    <a:pt x="0" y="23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7" name="Freeform 1302"/>
            <p:cNvSpPr>
              <a:spLocks noChangeArrowheads="1"/>
            </p:cNvSpPr>
            <p:nvPr/>
          </p:nvSpPr>
          <p:spPr bwMode="auto">
            <a:xfrm>
              <a:off x="4457700" y="2667000"/>
              <a:ext cx="4763" cy="4763"/>
            </a:xfrm>
            <a:custGeom>
              <a:avLst/>
              <a:gdLst>
                <a:gd name="T0" fmla="*/ 6 w 13"/>
                <a:gd name="T1" fmla="*/ 0 h 12"/>
                <a:gd name="T2" fmla="*/ 0 w 13"/>
                <a:gd name="T3" fmla="*/ 6 h 12"/>
                <a:gd name="T4" fmla="*/ 6 w 13"/>
                <a:gd name="T5" fmla="*/ 11 h 12"/>
                <a:gd name="T6" fmla="*/ 12 w 13"/>
                <a:gd name="T7" fmla="*/ 6 h 12"/>
                <a:gd name="T8" fmla="*/ 6 w 13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6" y="0"/>
                  </a:moveTo>
                  <a:lnTo>
                    <a:pt x="0" y="6"/>
                  </a:lnTo>
                  <a:lnTo>
                    <a:pt x="6" y="11"/>
                  </a:lnTo>
                  <a:lnTo>
                    <a:pt x="12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8" name="Freeform 1303"/>
            <p:cNvSpPr>
              <a:spLocks noChangeArrowheads="1"/>
            </p:cNvSpPr>
            <p:nvPr/>
          </p:nvSpPr>
          <p:spPr bwMode="auto">
            <a:xfrm>
              <a:off x="4446588" y="2654300"/>
              <a:ext cx="4762" cy="4763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2 h 13"/>
                <a:gd name="T6" fmla="*/ 12 w 13"/>
                <a:gd name="T7" fmla="*/ 6 h 13"/>
                <a:gd name="T8" fmla="*/ 6 w 13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lnTo>
                    <a:pt x="0" y="6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9" name="Freeform 1304"/>
            <p:cNvSpPr>
              <a:spLocks noChangeArrowheads="1"/>
            </p:cNvSpPr>
            <p:nvPr/>
          </p:nvSpPr>
          <p:spPr bwMode="auto">
            <a:xfrm>
              <a:off x="4441825" y="2647950"/>
              <a:ext cx="7938" cy="4763"/>
            </a:xfrm>
            <a:custGeom>
              <a:avLst/>
              <a:gdLst>
                <a:gd name="T0" fmla="*/ 11 w 21"/>
                <a:gd name="T1" fmla="*/ 0 h 15"/>
                <a:gd name="T2" fmla="*/ 3 w 21"/>
                <a:gd name="T3" fmla="*/ 14 h 15"/>
                <a:gd name="T4" fmla="*/ 20 w 21"/>
                <a:gd name="T5" fmla="*/ 8 h 15"/>
                <a:gd name="T6" fmla="*/ 11 w 21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5">
                  <a:moveTo>
                    <a:pt x="11" y="0"/>
                  </a:moveTo>
                  <a:cubicBezTo>
                    <a:pt x="8" y="5"/>
                    <a:pt x="0" y="11"/>
                    <a:pt x="3" y="14"/>
                  </a:cubicBezTo>
                  <a:cubicBezTo>
                    <a:pt x="8" y="0"/>
                    <a:pt x="14" y="11"/>
                    <a:pt x="20" y="8"/>
                  </a:cubicBezTo>
                  <a:lnTo>
                    <a:pt x="11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0" name="Freeform 1305"/>
            <p:cNvSpPr>
              <a:spLocks noChangeArrowheads="1"/>
            </p:cNvSpPr>
            <p:nvPr/>
          </p:nvSpPr>
          <p:spPr bwMode="auto">
            <a:xfrm>
              <a:off x="4438650" y="2638425"/>
              <a:ext cx="6350" cy="9525"/>
            </a:xfrm>
            <a:custGeom>
              <a:avLst/>
              <a:gdLst>
                <a:gd name="T0" fmla="*/ 17 w 18"/>
                <a:gd name="T1" fmla="*/ 17 h 27"/>
                <a:gd name="T2" fmla="*/ 17 w 18"/>
                <a:gd name="T3" fmla="*/ 1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27">
                  <a:moveTo>
                    <a:pt x="17" y="17"/>
                  </a:moveTo>
                  <a:cubicBezTo>
                    <a:pt x="17" y="0"/>
                    <a:pt x="0" y="26"/>
                    <a:pt x="17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1" name="Freeform 1306"/>
            <p:cNvSpPr>
              <a:spLocks noChangeArrowheads="1"/>
            </p:cNvSpPr>
            <p:nvPr/>
          </p:nvSpPr>
          <p:spPr bwMode="auto">
            <a:xfrm>
              <a:off x="4457700" y="2654300"/>
              <a:ext cx="6350" cy="4763"/>
            </a:xfrm>
            <a:custGeom>
              <a:avLst/>
              <a:gdLst>
                <a:gd name="T0" fmla="*/ 0 w 18"/>
                <a:gd name="T1" fmla="*/ 5 h 15"/>
                <a:gd name="T2" fmla="*/ 9 w 18"/>
                <a:gd name="T3" fmla="*/ 14 h 15"/>
                <a:gd name="T4" fmla="*/ 17 w 18"/>
                <a:gd name="T5" fmla="*/ 5 h 15"/>
                <a:gd name="T6" fmla="*/ 3 w 18"/>
                <a:gd name="T7" fmla="*/ 2 h 15"/>
                <a:gd name="T8" fmla="*/ 0 w 18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0" y="5"/>
                  </a:moveTo>
                  <a:lnTo>
                    <a:pt x="9" y="14"/>
                  </a:lnTo>
                  <a:lnTo>
                    <a:pt x="17" y="5"/>
                  </a:lnTo>
                  <a:cubicBezTo>
                    <a:pt x="14" y="0"/>
                    <a:pt x="9" y="0"/>
                    <a:pt x="3" y="2"/>
                  </a:cubicBezTo>
                  <a:lnTo>
                    <a:pt x="0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2" name="Freeform 1307"/>
            <p:cNvSpPr>
              <a:spLocks noChangeArrowheads="1"/>
            </p:cNvSpPr>
            <p:nvPr/>
          </p:nvSpPr>
          <p:spPr bwMode="auto">
            <a:xfrm>
              <a:off x="4451350" y="2638425"/>
              <a:ext cx="3175" cy="7938"/>
            </a:xfrm>
            <a:custGeom>
              <a:avLst/>
              <a:gdLst>
                <a:gd name="T0" fmla="*/ 9 w 10"/>
                <a:gd name="T1" fmla="*/ 14 h 24"/>
                <a:gd name="T2" fmla="*/ 9 w 10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4">
                  <a:moveTo>
                    <a:pt x="9" y="14"/>
                  </a:moveTo>
                  <a:cubicBezTo>
                    <a:pt x="0" y="0"/>
                    <a:pt x="0" y="23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3" name="Freeform 1308"/>
            <p:cNvSpPr>
              <a:spLocks noChangeArrowheads="1"/>
            </p:cNvSpPr>
            <p:nvPr/>
          </p:nvSpPr>
          <p:spPr bwMode="auto">
            <a:xfrm>
              <a:off x="4457700" y="2638425"/>
              <a:ext cx="7938" cy="7938"/>
            </a:xfrm>
            <a:custGeom>
              <a:avLst/>
              <a:gdLst>
                <a:gd name="T0" fmla="*/ 20 w 21"/>
                <a:gd name="T1" fmla="*/ 8 h 21"/>
                <a:gd name="T2" fmla="*/ 0 w 21"/>
                <a:gd name="T3" fmla="*/ 6 h 21"/>
                <a:gd name="T4" fmla="*/ 20 w 21"/>
                <a:gd name="T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21">
                  <a:moveTo>
                    <a:pt x="20" y="8"/>
                  </a:moveTo>
                  <a:cubicBezTo>
                    <a:pt x="11" y="0"/>
                    <a:pt x="6" y="6"/>
                    <a:pt x="0" y="6"/>
                  </a:cubicBezTo>
                  <a:cubicBezTo>
                    <a:pt x="6" y="11"/>
                    <a:pt x="11" y="20"/>
                    <a:pt x="2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4" name="Freeform 1309"/>
            <p:cNvSpPr>
              <a:spLocks noChangeArrowheads="1"/>
            </p:cNvSpPr>
            <p:nvPr/>
          </p:nvSpPr>
          <p:spPr bwMode="auto">
            <a:xfrm>
              <a:off x="4414838" y="2652713"/>
              <a:ext cx="1587" cy="4762"/>
            </a:xfrm>
            <a:custGeom>
              <a:avLst/>
              <a:gdLst>
                <a:gd name="T0" fmla="*/ 0 w 4"/>
                <a:gd name="T1" fmla="*/ 11 h 12"/>
                <a:gd name="T2" fmla="*/ 0 w 4"/>
                <a:gd name="T3" fmla="*/ 8 h 12"/>
                <a:gd name="T4" fmla="*/ 0 w 4"/>
                <a:gd name="T5" fmla="*/ 11 h 12"/>
                <a:gd name="T6" fmla="*/ 1 w 4"/>
                <a:gd name="T7" fmla="*/ 6 h 12"/>
                <a:gd name="T8" fmla="*/ 0 w 4"/>
                <a:gd name="T9" fmla="*/ 8 h 12"/>
                <a:gd name="T10" fmla="*/ 0 w 4"/>
                <a:gd name="T11" fmla="*/ 8 h 12"/>
                <a:gd name="T12" fmla="*/ 1 w 4"/>
                <a:gd name="T13" fmla="*/ 6 h 12"/>
                <a:gd name="T14" fmla="*/ 3 w 4"/>
                <a:gd name="T15" fmla="*/ 0 h 12"/>
                <a:gd name="T16" fmla="*/ 1 w 4"/>
                <a:gd name="T17" fmla="*/ 6 h 12"/>
                <a:gd name="T18" fmla="*/ 3 w 4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2">
                  <a:moveTo>
                    <a:pt x="0" y="11"/>
                  </a:moveTo>
                  <a:cubicBezTo>
                    <a:pt x="0" y="10"/>
                    <a:pt x="0" y="9"/>
                    <a:pt x="0" y="8"/>
                  </a:cubicBezTo>
                  <a:cubicBezTo>
                    <a:pt x="2" y="8"/>
                    <a:pt x="0" y="11"/>
                    <a:pt x="0" y="11"/>
                  </a:cubicBezTo>
                  <a:close/>
                  <a:moveTo>
                    <a:pt x="1" y="6"/>
                  </a:moveTo>
                  <a:cubicBezTo>
                    <a:pt x="0" y="7"/>
                    <a:pt x="0" y="8"/>
                    <a:pt x="0" y="8"/>
                  </a:cubicBezTo>
                  <a:lnTo>
                    <a:pt x="0" y="8"/>
                  </a:lnTo>
                  <a:cubicBezTo>
                    <a:pt x="0" y="8"/>
                    <a:pt x="0" y="7"/>
                    <a:pt x="1" y="6"/>
                  </a:cubicBezTo>
                  <a:close/>
                  <a:moveTo>
                    <a:pt x="3" y="0"/>
                  </a:moveTo>
                  <a:cubicBezTo>
                    <a:pt x="3" y="0"/>
                    <a:pt x="3" y="2"/>
                    <a:pt x="1" y="6"/>
                  </a:cubicBezTo>
                  <a:cubicBezTo>
                    <a:pt x="1" y="3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5" name="Freeform 1310"/>
            <p:cNvSpPr>
              <a:spLocks noChangeArrowheads="1"/>
            </p:cNvSpPr>
            <p:nvPr/>
          </p:nvSpPr>
          <p:spPr bwMode="auto">
            <a:xfrm>
              <a:off x="4387850" y="2638425"/>
              <a:ext cx="6350" cy="9525"/>
            </a:xfrm>
            <a:custGeom>
              <a:avLst/>
              <a:gdLst>
                <a:gd name="T0" fmla="*/ 11 w 18"/>
                <a:gd name="T1" fmla="*/ 0 h 27"/>
                <a:gd name="T2" fmla="*/ 0 w 18"/>
                <a:gd name="T3" fmla="*/ 14 h 27"/>
                <a:gd name="T4" fmla="*/ 11 w 1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7">
                  <a:moveTo>
                    <a:pt x="11" y="0"/>
                  </a:moveTo>
                  <a:cubicBezTo>
                    <a:pt x="8" y="9"/>
                    <a:pt x="2" y="6"/>
                    <a:pt x="0" y="14"/>
                  </a:cubicBezTo>
                  <a:cubicBezTo>
                    <a:pt x="8" y="26"/>
                    <a:pt x="17" y="3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6" name="Freeform 1311"/>
            <p:cNvSpPr>
              <a:spLocks noChangeArrowheads="1"/>
            </p:cNvSpPr>
            <p:nvPr/>
          </p:nvSpPr>
          <p:spPr bwMode="auto">
            <a:xfrm>
              <a:off x="4410075" y="2636838"/>
              <a:ext cx="7938" cy="6350"/>
            </a:xfrm>
            <a:custGeom>
              <a:avLst/>
              <a:gdLst>
                <a:gd name="T0" fmla="*/ 11 w 23"/>
                <a:gd name="T1" fmla="*/ 17 h 18"/>
                <a:gd name="T2" fmla="*/ 11 w 23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8">
                  <a:moveTo>
                    <a:pt x="11" y="17"/>
                  </a:moveTo>
                  <a:cubicBezTo>
                    <a:pt x="22" y="0"/>
                    <a:pt x="0" y="12"/>
                    <a:pt x="11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7" name="Freeform 1312"/>
            <p:cNvSpPr>
              <a:spLocks noChangeArrowheads="1"/>
            </p:cNvSpPr>
            <p:nvPr/>
          </p:nvSpPr>
          <p:spPr bwMode="auto">
            <a:xfrm>
              <a:off x="4414838" y="2638425"/>
              <a:ext cx="7937" cy="4763"/>
            </a:xfrm>
            <a:custGeom>
              <a:avLst/>
              <a:gdLst>
                <a:gd name="T0" fmla="*/ 11 w 21"/>
                <a:gd name="T1" fmla="*/ 14 h 15"/>
                <a:gd name="T2" fmla="*/ 11 w 21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5">
                  <a:moveTo>
                    <a:pt x="11" y="14"/>
                  </a:moveTo>
                  <a:cubicBezTo>
                    <a:pt x="20" y="0"/>
                    <a:pt x="0" y="9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8" name="Freeform 1313"/>
            <p:cNvSpPr>
              <a:spLocks noChangeArrowheads="1"/>
            </p:cNvSpPr>
            <p:nvPr/>
          </p:nvSpPr>
          <p:spPr bwMode="auto">
            <a:xfrm>
              <a:off x="4432300" y="2655888"/>
              <a:ext cx="7938" cy="4762"/>
            </a:xfrm>
            <a:custGeom>
              <a:avLst/>
              <a:gdLst>
                <a:gd name="T0" fmla="*/ 11 w 23"/>
                <a:gd name="T1" fmla="*/ 14 h 15"/>
                <a:gd name="T2" fmla="*/ 11 w 23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5">
                  <a:moveTo>
                    <a:pt x="11" y="14"/>
                  </a:moveTo>
                  <a:cubicBezTo>
                    <a:pt x="22" y="0"/>
                    <a:pt x="0" y="9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9" name="Freeform 1314"/>
            <p:cNvSpPr>
              <a:spLocks noChangeArrowheads="1"/>
            </p:cNvSpPr>
            <p:nvPr/>
          </p:nvSpPr>
          <p:spPr bwMode="auto">
            <a:xfrm>
              <a:off x="4441825" y="2647950"/>
              <a:ext cx="7938" cy="4763"/>
            </a:xfrm>
            <a:custGeom>
              <a:avLst/>
              <a:gdLst>
                <a:gd name="T0" fmla="*/ 11 w 21"/>
                <a:gd name="T1" fmla="*/ 14 h 15"/>
                <a:gd name="T2" fmla="*/ 11 w 21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5">
                  <a:moveTo>
                    <a:pt x="11" y="14"/>
                  </a:moveTo>
                  <a:cubicBezTo>
                    <a:pt x="20" y="0"/>
                    <a:pt x="0" y="8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0" name="Freeform 1315"/>
            <p:cNvSpPr>
              <a:spLocks noChangeArrowheads="1"/>
            </p:cNvSpPr>
            <p:nvPr/>
          </p:nvSpPr>
          <p:spPr bwMode="auto">
            <a:xfrm>
              <a:off x="4460875" y="2643188"/>
              <a:ext cx="4763" cy="6350"/>
            </a:xfrm>
            <a:custGeom>
              <a:avLst/>
              <a:gdLst>
                <a:gd name="T0" fmla="*/ 2 w 15"/>
                <a:gd name="T1" fmla="*/ 0 h 18"/>
                <a:gd name="T2" fmla="*/ 5 w 15"/>
                <a:gd name="T3" fmla="*/ 14 h 18"/>
                <a:gd name="T4" fmla="*/ 11 w 15"/>
                <a:gd name="T5" fmla="*/ 17 h 18"/>
                <a:gd name="T6" fmla="*/ 8 w 15"/>
                <a:gd name="T7" fmla="*/ 3 h 18"/>
                <a:gd name="T8" fmla="*/ 2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2" y="0"/>
                  </a:moveTo>
                  <a:cubicBezTo>
                    <a:pt x="0" y="6"/>
                    <a:pt x="0" y="12"/>
                    <a:pt x="5" y="14"/>
                  </a:cubicBezTo>
                  <a:cubicBezTo>
                    <a:pt x="8" y="14"/>
                    <a:pt x="8" y="17"/>
                    <a:pt x="11" y="17"/>
                  </a:cubicBezTo>
                  <a:cubicBezTo>
                    <a:pt x="14" y="12"/>
                    <a:pt x="14" y="6"/>
                    <a:pt x="8" y="3"/>
                  </a:cubicBezTo>
                  <a:cubicBezTo>
                    <a:pt x="5" y="0"/>
                    <a:pt x="5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1" name="Freeform 1316"/>
            <p:cNvSpPr>
              <a:spLocks noChangeArrowheads="1"/>
            </p:cNvSpPr>
            <p:nvPr/>
          </p:nvSpPr>
          <p:spPr bwMode="auto">
            <a:xfrm>
              <a:off x="3863975" y="2724150"/>
              <a:ext cx="3175" cy="3175"/>
            </a:xfrm>
            <a:custGeom>
              <a:avLst/>
              <a:gdLst>
                <a:gd name="T0" fmla="*/ 8 w 9"/>
                <a:gd name="T1" fmla="*/ 3 h 9"/>
                <a:gd name="T2" fmla="*/ 8 w 9"/>
                <a:gd name="T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9">
                  <a:moveTo>
                    <a:pt x="8" y="3"/>
                  </a:moveTo>
                  <a:cubicBezTo>
                    <a:pt x="0" y="0"/>
                    <a:pt x="8" y="8"/>
                    <a:pt x="8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2" name="Freeform 1317"/>
            <p:cNvSpPr>
              <a:spLocks noChangeArrowheads="1"/>
            </p:cNvSpPr>
            <p:nvPr/>
          </p:nvSpPr>
          <p:spPr bwMode="auto">
            <a:xfrm>
              <a:off x="3878263" y="2717800"/>
              <a:ext cx="4762" cy="3175"/>
            </a:xfrm>
            <a:custGeom>
              <a:avLst/>
              <a:gdLst>
                <a:gd name="T0" fmla="*/ 11 w 15"/>
                <a:gd name="T1" fmla="*/ 3 h 10"/>
                <a:gd name="T2" fmla="*/ 6 w 15"/>
                <a:gd name="T3" fmla="*/ 0 h 10"/>
                <a:gd name="T4" fmla="*/ 11 w 15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11" y="3"/>
                  </a:moveTo>
                  <a:lnTo>
                    <a:pt x="6" y="0"/>
                  </a:lnTo>
                  <a:cubicBezTo>
                    <a:pt x="0" y="6"/>
                    <a:pt x="14" y="9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3" name="Freeform 1318"/>
            <p:cNvSpPr>
              <a:spLocks noChangeArrowheads="1"/>
            </p:cNvSpPr>
            <p:nvPr/>
          </p:nvSpPr>
          <p:spPr bwMode="auto">
            <a:xfrm>
              <a:off x="3860800" y="2716213"/>
              <a:ext cx="3175" cy="4762"/>
            </a:xfrm>
            <a:custGeom>
              <a:avLst/>
              <a:gdLst>
                <a:gd name="T0" fmla="*/ 8 w 9"/>
                <a:gd name="T1" fmla="*/ 2 h 12"/>
                <a:gd name="T2" fmla="*/ 8 w 9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8" y="2"/>
                  </a:moveTo>
                  <a:cubicBezTo>
                    <a:pt x="0" y="0"/>
                    <a:pt x="8" y="11"/>
                    <a:pt x="8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4" name="Freeform 1319"/>
            <p:cNvSpPr>
              <a:spLocks noChangeArrowheads="1"/>
            </p:cNvSpPr>
            <p:nvPr/>
          </p:nvSpPr>
          <p:spPr bwMode="auto">
            <a:xfrm>
              <a:off x="3900488" y="2714625"/>
              <a:ext cx="3175" cy="6350"/>
            </a:xfrm>
            <a:custGeom>
              <a:avLst/>
              <a:gdLst>
                <a:gd name="T0" fmla="*/ 9 w 10"/>
                <a:gd name="T1" fmla="*/ 8 h 18"/>
                <a:gd name="T2" fmla="*/ 9 w 10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8"/>
                  </a:moveTo>
                  <a:cubicBezTo>
                    <a:pt x="0" y="0"/>
                    <a:pt x="3" y="17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5" name="Freeform 1320"/>
            <p:cNvSpPr>
              <a:spLocks noChangeArrowheads="1"/>
            </p:cNvSpPr>
            <p:nvPr/>
          </p:nvSpPr>
          <p:spPr bwMode="auto">
            <a:xfrm>
              <a:off x="3879850" y="2714625"/>
              <a:ext cx="4763" cy="3175"/>
            </a:xfrm>
            <a:custGeom>
              <a:avLst/>
              <a:gdLst>
                <a:gd name="T0" fmla="*/ 11 w 15"/>
                <a:gd name="T1" fmla="*/ 8 h 9"/>
                <a:gd name="T2" fmla="*/ 3 w 15"/>
                <a:gd name="T3" fmla="*/ 0 h 9"/>
                <a:gd name="T4" fmla="*/ 11 w 15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1" y="8"/>
                  </a:moveTo>
                  <a:cubicBezTo>
                    <a:pt x="14" y="0"/>
                    <a:pt x="8" y="0"/>
                    <a:pt x="3" y="0"/>
                  </a:cubicBezTo>
                  <a:cubicBezTo>
                    <a:pt x="0" y="5"/>
                    <a:pt x="3" y="8"/>
                    <a:pt x="11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6" name="Freeform 1321"/>
            <p:cNvSpPr>
              <a:spLocks noChangeArrowheads="1"/>
            </p:cNvSpPr>
            <p:nvPr/>
          </p:nvSpPr>
          <p:spPr bwMode="auto">
            <a:xfrm>
              <a:off x="3868738" y="2711450"/>
              <a:ext cx="4762" cy="4763"/>
            </a:xfrm>
            <a:custGeom>
              <a:avLst/>
              <a:gdLst>
                <a:gd name="T0" fmla="*/ 11 w 12"/>
                <a:gd name="T1" fmla="*/ 11 h 12"/>
                <a:gd name="T2" fmla="*/ 5 w 12"/>
                <a:gd name="T3" fmla="*/ 0 h 12"/>
                <a:gd name="T4" fmla="*/ 11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11" y="11"/>
                  </a:moveTo>
                  <a:cubicBezTo>
                    <a:pt x="11" y="6"/>
                    <a:pt x="11" y="3"/>
                    <a:pt x="5" y="0"/>
                  </a:cubicBezTo>
                  <a:cubicBezTo>
                    <a:pt x="8" y="9"/>
                    <a:pt x="0" y="11"/>
                    <a:pt x="1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7" name="Freeform 1322"/>
            <p:cNvSpPr>
              <a:spLocks noChangeArrowheads="1"/>
            </p:cNvSpPr>
            <p:nvPr/>
          </p:nvSpPr>
          <p:spPr bwMode="auto">
            <a:xfrm>
              <a:off x="3867150" y="271303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8" name="Freeform 1323"/>
            <p:cNvSpPr>
              <a:spLocks noChangeArrowheads="1"/>
            </p:cNvSpPr>
            <p:nvPr/>
          </p:nvSpPr>
          <p:spPr bwMode="auto">
            <a:xfrm>
              <a:off x="3860800" y="2713038"/>
              <a:ext cx="4763" cy="3175"/>
            </a:xfrm>
            <a:custGeom>
              <a:avLst/>
              <a:gdLst>
                <a:gd name="T0" fmla="*/ 14 w 15"/>
                <a:gd name="T1" fmla="*/ 3 h 9"/>
                <a:gd name="T2" fmla="*/ 0 w 15"/>
                <a:gd name="T3" fmla="*/ 6 h 9"/>
                <a:gd name="T4" fmla="*/ 14 w 15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3"/>
                  </a:moveTo>
                  <a:cubicBezTo>
                    <a:pt x="11" y="3"/>
                    <a:pt x="0" y="0"/>
                    <a:pt x="0" y="6"/>
                  </a:cubicBezTo>
                  <a:cubicBezTo>
                    <a:pt x="6" y="3"/>
                    <a:pt x="14" y="8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9" name="Freeform 1324"/>
            <p:cNvSpPr>
              <a:spLocks noChangeArrowheads="1"/>
            </p:cNvSpPr>
            <p:nvPr/>
          </p:nvSpPr>
          <p:spPr bwMode="auto">
            <a:xfrm>
              <a:off x="3919538" y="2716213"/>
              <a:ext cx="4762" cy="4762"/>
            </a:xfrm>
            <a:custGeom>
              <a:avLst/>
              <a:gdLst>
                <a:gd name="T0" fmla="*/ 11 w 12"/>
                <a:gd name="T1" fmla="*/ 2 h 12"/>
                <a:gd name="T2" fmla="*/ 11 w 12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11" y="2"/>
                  </a:moveTo>
                  <a:cubicBezTo>
                    <a:pt x="0" y="0"/>
                    <a:pt x="8" y="11"/>
                    <a:pt x="11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0" name="Freeform 1325"/>
            <p:cNvSpPr>
              <a:spLocks noChangeArrowheads="1"/>
            </p:cNvSpPr>
            <p:nvPr/>
          </p:nvSpPr>
          <p:spPr bwMode="auto">
            <a:xfrm>
              <a:off x="3895725" y="2714625"/>
              <a:ext cx="4763" cy="1588"/>
            </a:xfrm>
            <a:custGeom>
              <a:avLst/>
              <a:gdLst>
                <a:gd name="T0" fmla="*/ 8 w 12"/>
                <a:gd name="T1" fmla="*/ 0 h 6"/>
                <a:gd name="T2" fmla="*/ 0 w 12"/>
                <a:gd name="T3" fmla="*/ 5 h 6"/>
                <a:gd name="T4" fmla="*/ 8 w 12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6">
                  <a:moveTo>
                    <a:pt x="8" y="0"/>
                  </a:moveTo>
                  <a:cubicBezTo>
                    <a:pt x="6" y="0"/>
                    <a:pt x="3" y="0"/>
                    <a:pt x="0" y="5"/>
                  </a:cubicBezTo>
                  <a:cubicBezTo>
                    <a:pt x="6" y="5"/>
                    <a:pt x="11" y="5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1" name="Freeform 1326"/>
            <p:cNvSpPr>
              <a:spLocks noChangeArrowheads="1"/>
            </p:cNvSpPr>
            <p:nvPr/>
          </p:nvSpPr>
          <p:spPr bwMode="auto">
            <a:xfrm>
              <a:off x="3910013" y="2711450"/>
              <a:ext cx="3175" cy="6350"/>
            </a:xfrm>
            <a:custGeom>
              <a:avLst/>
              <a:gdLst>
                <a:gd name="T0" fmla="*/ 8 w 9"/>
                <a:gd name="T1" fmla="*/ 9 h 18"/>
                <a:gd name="T2" fmla="*/ 8 w 9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9"/>
                  </a:moveTo>
                  <a:cubicBezTo>
                    <a:pt x="5" y="0"/>
                    <a:pt x="0" y="17"/>
                    <a:pt x="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2" name="Freeform 1327"/>
            <p:cNvSpPr>
              <a:spLocks noChangeArrowheads="1"/>
            </p:cNvSpPr>
            <p:nvPr/>
          </p:nvSpPr>
          <p:spPr bwMode="auto">
            <a:xfrm>
              <a:off x="3886200" y="2711450"/>
              <a:ext cx="1588" cy="317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6 h 7"/>
                <a:gd name="T4" fmla="*/ 5 w 6"/>
                <a:gd name="T5" fmla="*/ 6 h 7"/>
                <a:gd name="T6" fmla="*/ 5 w 6"/>
                <a:gd name="T7" fmla="*/ 0 h 7"/>
                <a:gd name="T8" fmla="*/ 0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3" name="Freeform 1328"/>
            <p:cNvSpPr>
              <a:spLocks noChangeArrowheads="1"/>
            </p:cNvSpPr>
            <p:nvPr/>
          </p:nvSpPr>
          <p:spPr bwMode="auto">
            <a:xfrm>
              <a:off x="3873500" y="2709863"/>
              <a:ext cx="4763" cy="4762"/>
            </a:xfrm>
            <a:custGeom>
              <a:avLst/>
              <a:gdLst>
                <a:gd name="T0" fmla="*/ 3 w 12"/>
                <a:gd name="T1" fmla="*/ 0 h 13"/>
                <a:gd name="T2" fmla="*/ 8 w 12"/>
                <a:gd name="T3" fmla="*/ 12 h 13"/>
                <a:gd name="T4" fmla="*/ 3 w 12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3">
                  <a:moveTo>
                    <a:pt x="3" y="0"/>
                  </a:moveTo>
                  <a:cubicBezTo>
                    <a:pt x="0" y="9"/>
                    <a:pt x="5" y="9"/>
                    <a:pt x="8" y="12"/>
                  </a:cubicBezTo>
                  <a:cubicBezTo>
                    <a:pt x="11" y="3"/>
                    <a:pt x="5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4" name="Freeform 1329"/>
            <p:cNvSpPr>
              <a:spLocks noChangeArrowheads="1"/>
            </p:cNvSpPr>
            <p:nvPr/>
          </p:nvSpPr>
          <p:spPr bwMode="auto">
            <a:xfrm>
              <a:off x="3878263" y="2709863"/>
              <a:ext cx="1587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5" name="Freeform 1330"/>
            <p:cNvSpPr>
              <a:spLocks noChangeArrowheads="1"/>
            </p:cNvSpPr>
            <p:nvPr/>
          </p:nvSpPr>
          <p:spPr bwMode="auto">
            <a:xfrm>
              <a:off x="3897313" y="2708275"/>
              <a:ext cx="3175" cy="3175"/>
            </a:xfrm>
            <a:custGeom>
              <a:avLst/>
              <a:gdLst>
                <a:gd name="T0" fmla="*/ 0 w 9"/>
                <a:gd name="T1" fmla="*/ 0 h 9"/>
                <a:gd name="T2" fmla="*/ 5 w 9"/>
                <a:gd name="T3" fmla="*/ 8 h 9"/>
                <a:gd name="T4" fmla="*/ 0 w 9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cubicBezTo>
                    <a:pt x="0" y="3"/>
                    <a:pt x="0" y="5"/>
                    <a:pt x="5" y="8"/>
                  </a:cubicBezTo>
                  <a:cubicBezTo>
                    <a:pt x="8" y="5"/>
                    <a:pt x="5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6" name="Freeform 1331"/>
            <p:cNvSpPr>
              <a:spLocks noChangeArrowheads="1"/>
            </p:cNvSpPr>
            <p:nvPr/>
          </p:nvSpPr>
          <p:spPr bwMode="auto">
            <a:xfrm>
              <a:off x="3883025" y="2708275"/>
              <a:ext cx="4763" cy="4763"/>
            </a:xfrm>
            <a:custGeom>
              <a:avLst/>
              <a:gdLst>
                <a:gd name="T0" fmla="*/ 14 w 15"/>
                <a:gd name="T1" fmla="*/ 5 h 12"/>
                <a:gd name="T2" fmla="*/ 14 w 15"/>
                <a:gd name="T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2">
                  <a:moveTo>
                    <a:pt x="14" y="5"/>
                  </a:moveTo>
                  <a:cubicBezTo>
                    <a:pt x="0" y="0"/>
                    <a:pt x="8" y="11"/>
                    <a:pt x="14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7" name="Freeform 1332"/>
            <p:cNvSpPr>
              <a:spLocks noChangeArrowheads="1"/>
            </p:cNvSpPr>
            <p:nvPr/>
          </p:nvSpPr>
          <p:spPr bwMode="auto">
            <a:xfrm>
              <a:off x="3879850" y="2705100"/>
              <a:ext cx="1588" cy="6350"/>
            </a:xfrm>
            <a:custGeom>
              <a:avLst/>
              <a:gdLst>
                <a:gd name="T0" fmla="*/ 5 w 6"/>
                <a:gd name="T1" fmla="*/ 8 h 17"/>
                <a:gd name="T2" fmla="*/ 5 w 6"/>
                <a:gd name="T3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7">
                  <a:moveTo>
                    <a:pt x="5" y="8"/>
                  </a:moveTo>
                  <a:cubicBezTo>
                    <a:pt x="0" y="0"/>
                    <a:pt x="3" y="16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8" name="Freeform 1333"/>
            <p:cNvSpPr>
              <a:spLocks noChangeArrowheads="1"/>
            </p:cNvSpPr>
            <p:nvPr/>
          </p:nvSpPr>
          <p:spPr bwMode="auto">
            <a:xfrm>
              <a:off x="3906838" y="2706688"/>
              <a:ext cx="4762" cy="4762"/>
            </a:xfrm>
            <a:custGeom>
              <a:avLst/>
              <a:gdLst>
                <a:gd name="T0" fmla="*/ 11 w 12"/>
                <a:gd name="T1" fmla="*/ 3 h 12"/>
                <a:gd name="T2" fmla="*/ 11 w 12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11" y="3"/>
                  </a:moveTo>
                  <a:cubicBezTo>
                    <a:pt x="0" y="0"/>
                    <a:pt x="8" y="11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9" name="Freeform 1334"/>
            <p:cNvSpPr>
              <a:spLocks noChangeArrowheads="1"/>
            </p:cNvSpPr>
            <p:nvPr/>
          </p:nvSpPr>
          <p:spPr bwMode="auto">
            <a:xfrm>
              <a:off x="3914775" y="2701925"/>
              <a:ext cx="4763" cy="7938"/>
            </a:xfrm>
            <a:custGeom>
              <a:avLst/>
              <a:gdLst>
                <a:gd name="T0" fmla="*/ 0 w 15"/>
                <a:gd name="T1" fmla="*/ 8 h 21"/>
                <a:gd name="T2" fmla="*/ 0 w 15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0" y="8"/>
                  </a:moveTo>
                  <a:cubicBezTo>
                    <a:pt x="14" y="20"/>
                    <a:pt x="11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0" name="Freeform 1335"/>
            <p:cNvSpPr>
              <a:spLocks noChangeArrowheads="1"/>
            </p:cNvSpPr>
            <p:nvPr/>
          </p:nvSpPr>
          <p:spPr bwMode="auto">
            <a:xfrm>
              <a:off x="3875088" y="2720975"/>
              <a:ext cx="1587" cy="4763"/>
            </a:xfrm>
            <a:custGeom>
              <a:avLst/>
              <a:gdLst>
                <a:gd name="T0" fmla="*/ 5 w 6"/>
                <a:gd name="T1" fmla="*/ 11 h 12"/>
                <a:gd name="T2" fmla="*/ 5 w 6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2">
                  <a:moveTo>
                    <a:pt x="5" y="11"/>
                  </a:moveTo>
                  <a:cubicBezTo>
                    <a:pt x="5" y="0"/>
                    <a:pt x="0" y="11"/>
                    <a:pt x="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1" name="Freeform 1336"/>
            <p:cNvSpPr>
              <a:spLocks noChangeArrowheads="1"/>
            </p:cNvSpPr>
            <p:nvPr/>
          </p:nvSpPr>
          <p:spPr bwMode="auto">
            <a:xfrm>
              <a:off x="3876675" y="2717800"/>
              <a:ext cx="3175" cy="4763"/>
            </a:xfrm>
            <a:custGeom>
              <a:avLst/>
              <a:gdLst>
                <a:gd name="T0" fmla="*/ 9 w 10"/>
                <a:gd name="T1" fmla="*/ 12 h 15"/>
                <a:gd name="T2" fmla="*/ 9 w 10"/>
                <a:gd name="T3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9" y="12"/>
                  </a:moveTo>
                  <a:cubicBezTo>
                    <a:pt x="6" y="0"/>
                    <a:pt x="0" y="14"/>
                    <a:pt x="9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2" name="Freeform 1337"/>
            <p:cNvSpPr>
              <a:spLocks noChangeArrowheads="1"/>
            </p:cNvSpPr>
            <p:nvPr/>
          </p:nvSpPr>
          <p:spPr bwMode="auto">
            <a:xfrm>
              <a:off x="3890963" y="2722563"/>
              <a:ext cx="3175" cy="3175"/>
            </a:xfrm>
            <a:custGeom>
              <a:avLst/>
              <a:gdLst>
                <a:gd name="T0" fmla="*/ 8 w 9"/>
                <a:gd name="T1" fmla="*/ 6 h 7"/>
                <a:gd name="T2" fmla="*/ 3 w 9"/>
                <a:gd name="T3" fmla="*/ 0 h 7"/>
                <a:gd name="T4" fmla="*/ 8 w 9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8" y="6"/>
                  </a:moveTo>
                  <a:cubicBezTo>
                    <a:pt x="8" y="3"/>
                    <a:pt x="5" y="0"/>
                    <a:pt x="3" y="0"/>
                  </a:cubicBezTo>
                  <a:cubicBezTo>
                    <a:pt x="0" y="3"/>
                    <a:pt x="3" y="6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3" name="Freeform 1338"/>
            <p:cNvSpPr>
              <a:spLocks noChangeArrowheads="1"/>
            </p:cNvSpPr>
            <p:nvPr/>
          </p:nvSpPr>
          <p:spPr bwMode="auto">
            <a:xfrm>
              <a:off x="3895725" y="2717800"/>
              <a:ext cx="3175" cy="4763"/>
            </a:xfrm>
            <a:custGeom>
              <a:avLst/>
              <a:gdLst>
                <a:gd name="T0" fmla="*/ 6 w 7"/>
                <a:gd name="T1" fmla="*/ 12 h 13"/>
                <a:gd name="T2" fmla="*/ 6 w 7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3">
                  <a:moveTo>
                    <a:pt x="6" y="12"/>
                  </a:moveTo>
                  <a:cubicBezTo>
                    <a:pt x="6" y="0"/>
                    <a:pt x="0" y="12"/>
                    <a:pt x="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4" name="Freeform 1339"/>
            <p:cNvSpPr>
              <a:spLocks noChangeArrowheads="1"/>
            </p:cNvSpPr>
            <p:nvPr/>
          </p:nvSpPr>
          <p:spPr bwMode="auto">
            <a:xfrm>
              <a:off x="3898900" y="2717800"/>
              <a:ext cx="3175" cy="4763"/>
            </a:xfrm>
            <a:custGeom>
              <a:avLst/>
              <a:gdLst>
                <a:gd name="T0" fmla="*/ 6 w 7"/>
                <a:gd name="T1" fmla="*/ 12 h 13"/>
                <a:gd name="T2" fmla="*/ 6 w 7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3">
                  <a:moveTo>
                    <a:pt x="6" y="12"/>
                  </a:moveTo>
                  <a:cubicBezTo>
                    <a:pt x="6" y="0"/>
                    <a:pt x="0" y="12"/>
                    <a:pt x="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5" name="Freeform 1340"/>
            <p:cNvSpPr>
              <a:spLocks noChangeArrowheads="1"/>
            </p:cNvSpPr>
            <p:nvPr/>
          </p:nvSpPr>
          <p:spPr bwMode="auto">
            <a:xfrm>
              <a:off x="3917950" y="2717800"/>
              <a:ext cx="9525" cy="4763"/>
            </a:xfrm>
            <a:custGeom>
              <a:avLst/>
              <a:gdLst>
                <a:gd name="T0" fmla="*/ 6 w 27"/>
                <a:gd name="T1" fmla="*/ 9 h 12"/>
                <a:gd name="T2" fmla="*/ 20 w 27"/>
                <a:gd name="T3" fmla="*/ 3 h 12"/>
                <a:gd name="T4" fmla="*/ 6 w 27"/>
                <a:gd name="T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12">
                  <a:moveTo>
                    <a:pt x="6" y="9"/>
                  </a:moveTo>
                  <a:cubicBezTo>
                    <a:pt x="9" y="11"/>
                    <a:pt x="26" y="11"/>
                    <a:pt x="20" y="3"/>
                  </a:cubicBezTo>
                  <a:cubicBezTo>
                    <a:pt x="20" y="0"/>
                    <a:pt x="0" y="3"/>
                    <a:pt x="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6" name="Freeform 1341"/>
            <p:cNvSpPr>
              <a:spLocks noChangeArrowheads="1"/>
            </p:cNvSpPr>
            <p:nvPr/>
          </p:nvSpPr>
          <p:spPr bwMode="auto">
            <a:xfrm>
              <a:off x="3914775" y="2708275"/>
              <a:ext cx="4763" cy="7938"/>
            </a:xfrm>
            <a:custGeom>
              <a:avLst/>
              <a:gdLst>
                <a:gd name="T0" fmla="*/ 3 w 15"/>
                <a:gd name="T1" fmla="*/ 20 h 21"/>
                <a:gd name="T2" fmla="*/ 3 w 15"/>
                <a:gd name="T3" fmla="*/ 0 h 21"/>
                <a:gd name="T4" fmla="*/ 3 w 15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1">
                  <a:moveTo>
                    <a:pt x="3" y="20"/>
                  </a:moveTo>
                  <a:cubicBezTo>
                    <a:pt x="11" y="17"/>
                    <a:pt x="14" y="5"/>
                    <a:pt x="3" y="0"/>
                  </a:cubicBezTo>
                  <a:cubicBezTo>
                    <a:pt x="0" y="5"/>
                    <a:pt x="0" y="11"/>
                    <a:pt x="3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7" name="Freeform 1342"/>
            <p:cNvSpPr>
              <a:spLocks noChangeArrowheads="1"/>
            </p:cNvSpPr>
            <p:nvPr/>
          </p:nvSpPr>
          <p:spPr bwMode="auto">
            <a:xfrm>
              <a:off x="3921125" y="2716213"/>
              <a:ext cx="4763" cy="7937"/>
            </a:xfrm>
            <a:custGeom>
              <a:avLst/>
              <a:gdLst>
                <a:gd name="T0" fmla="*/ 0 w 12"/>
                <a:gd name="T1" fmla="*/ 5 h 23"/>
                <a:gd name="T2" fmla="*/ 0 w 12"/>
                <a:gd name="T3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3">
                  <a:moveTo>
                    <a:pt x="0" y="5"/>
                  </a:moveTo>
                  <a:cubicBezTo>
                    <a:pt x="0" y="22"/>
                    <a:pt x="11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8" name="Freeform 1343"/>
            <p:cNvSpPr>
              <a:spLocks noChangeArrowheads="1"/>
            </p:cNvSpPr>
            <p:nvPr/>
          </p:nvSpPr>
          <p:spPr bwMode="auto">
            <a:xfrm>
              <a:off x="3905250" y="2708275"/>
              <a:ext cx="6350" cy="7938"/>
            </a:xfrm>
            <a:custGeom>
              <a:avLst/>
              <a:gdLst>
                <a:gd name="T0" fmla="*/ 6 w 18"/>
                <a:gd name="T1" fmla="*/ 0 h 21"/>
                <a:gd name="T2" fmla="*/ 0 w 18"/>
                <a:gd name="T3" fmla="*/ 8 h 21"/>
                <a:gd name="T4" fmla="*/ 6 w 18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6" y="0"/>
                  </a:moveTo>
                  <a:lnTo>
                    <a:pt x="0" y="8"/>
                  </a:lnTo>
                  <a:cubicBezTo>
                    <a:pt x="6" y="20"/>
                    <a:pt x="17" y="3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9" name="Freeform 1344"/>
            <p:cNvSpPr>
              <a:spLocks noChangeArrowheads="1"/>
            </p:cNvSpPr>
            <p:nvPr/>
          </p:nvSpPr>
          <p:spPr bwMode="auto">
            <a:xfrm>
              <a:off x="3900488" y="2716213"/>
              <a:ext cx="9525" cy="6350"/>
            </a:xfrm>
            <a:custGeom>
              <a:avLst/>
              <a:gdLst>
                <a:gd name="T0" fmla="*/ 26 w 27"/>
                <a:gd name="T1" fmla="*/ 9 h 18"/>
                <a:gd name="T2" fmla="*/ 6 w 27"/>
                <a:gd name="T3" fmla="*/ 0 h 18"/>
                <a:gd name="T4" fmla="*/ 0 w 27"/>
                <a:gd name="T5" fmla="*/ 9 h 18"/>
                <a:gd name="T6" fmla="*/ 20 w 27"/>
                <a:gd name="T7" fmla="*/ 15 h 18"/>
                <a:gd name="T8" fmla="*/ 26 w 27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8">
                  <a:moveTo>
                    <a:pt x="26" y="9"/>
                  </a:moveTo>
                  <a:cubicBezTo>
                    <a:pt x="20" y="3"/>
                    <a:pt x="11" y="0"/>
                    <a:pt x="6" y="0"/>
                  </a:cubicBezTo>
                  <a:lnTo>
                    <a:pt x="0" y="9"/>
                  </a:lnTo>
                  <a:cubicBezTo>
                    <a:pt x="3" y="15"/>
                    <a:pt x="11" y="17"/>
                    <a:pt x="20" y="15"/>
                  </a:cubicBezTo>
                  <a:cubicBezTo>
                    <a:pt x="20" y="15"/>
                    <a:pt x="23" y="12"/>
                    <a:pt x="2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0" name="Freeform 1345"/>
            <p:cNvSpPr>
              <a:spLocks noChangeArrowheads="1"/>
            </p:cNvSpPr>
            <p:nvPr/>
          </p:nvSpPr>
          <p:spPr bwMode="auto">
            <a:xfrm>
              <a:off x="3881438" y="2705100"/>
              <a:ext cx="4762" cy="6350"/>
            </a:xfrm>
            <a:custGeom>
              <a:avLst/>
              <a:gdLst>
                <a:gd name="T0" fmla="*/ 0 w 12"/>
                <a:gd name="T1" fmla="*/ 9 h 18"/>
                <a:gd name="T2" fmla="*/ 0 w 12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0" y="9"/>
                  </a:moveTo>
                  <a:cubicBezTo>
                    <a:pt x="11" y="17"/>
                    <a:pt x="5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1" name="Freeform 1346"/>
            <p:cNvSpPr>
              <a:spLocks noChangeArrowheads="1"/>
            </p:cNvSpPr>
            <p:nvPr/>
          </p:nvSpPr>
          <p:spPr bwMode="auto">
            <a:xfrm>
              <a:off x="3892550" y="2716213"/>
              <a:ext cx="3175" cy="4762"/>
            </a:xfrm>
            <a:custGeom>
              <a:avLst/>
              <a:gdLst>
                <a:gd name="T0" fmla="*/ 3 w 10"/>
                <a:gd name="T1" fmla="*/ 0 h 15"/>
                <a:gd name="T2" fmla="*/ 3 w 10"/>
                <a:gd name="T3" fmla="*/ 11 h 15"/>
                <a:gd name="T4" fmla="*/ 6 w 10"/>
                <a:gd name="T5" fmla="*/ 14 h 15"/>
                <a:gd name="T6" fmla="*/ 6 w 10"/>
                <a:gd name="T7" fmla="*/ 2 h 15"/>
                <a:gd name="T8" fmla="*/ 3 w 1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3" y="0"/>
                  </a:moveTo>
                  <a:cubicBezTo>
                    <a:pt x="0" y="2"/>
                    <a:pt x="0" y="8"/>
                    <a:pt x="3" y="11"/>
                  </a:cubicBezTo>
                  <a:lnTo>
                    <a:pt x="6" y="14"/>
                  </a:lnTo>
                  <a:cubicBezTo>
                    <a:pt x="9" y="11"/>
                    <a:pt x="9" y="5"/>
                    <a:pt x="6" y="2"/>
                  </a:cubicBezTo>
                  <a:cubicBezTo>
                    <a:pt x="6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2" name="Freeform 1347"/>
            <p:cNvSpPr>
              <a:spLocks noChangeArrowheads="1"/>
            </p:cNvSpPr>
            <p:nvPr/>
          </p:nvSpPr>
          <p:spPr bwMode="auto">
            <a:xfrm>
              <a:off x="3878263" y="2706688"/>
              <a:ext cx="4762" cy="7937"/>
            </a:xfrm>
            <a:custGeom>
              <a:avLst/>
              <a:gdLst>
                <a:gd name="T0" fmla="*/ 0 w 12"/>
                <a:gd name="T1" fmla="*/ 8 h 21"/>
                <a:gd name="T2" fmla="*/ 0 w 12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1">
                  <a:moveTo>
                    <a:pt x="0" y="8"/>
                  </a:moveTo>
                  <a:cubicBezTo>
                    <a:pt x="11" y="20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3" name="Freeform 1348"/>
            <p:cNvSpPr>
              <a:spLocks noChangeArrowheads="1"/>
            </p:cNvSpPr>
            <p:nvPr/>
          </p:nvSpPr>
          <p:spPr bwMode="auto">
            <a:xfrm>
              <a:off x="3865563" y="2703513"/>
              <a:ext cx="3175" cy="3175"/>
            </a:xfrm>
            <a:custGeom>
              <a:avLst/>
              <a:gdLst>
                <a:gd name="T0" fmla="*/ 6 w 10"/>
                <a:gd name="T1" fmla="*/ 8 h 9"/>
                <a:gd name="T2" fmla="*/ 9 w 10"/>
                <a:gd name="T3" fmla="*/ 3 h 9"/>
                <a:gd name="T4" fmla="*/ 3 w 10"/>
                <a:gd name="T5" fmla="*/ 0 h 9"/>
                <a:gd name="T6" fmla="*/ 0 w 10"/>
                <a:gd name="T7" fmla="*/ 5 h 9"/>
                <a:gd name="T8" fmla="*/ 6 w 10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6" y="8"/>
                  </a:moveTo>
                  <a:lnTo>
                    <a:pt x="9" y="3"/>
                  </a:lnTo>
                  <a:lnTo>
                    <a:pt x="3" y="0"/>
                  </a:lnTo>
                  <a:lnTo>
                    <a:pt x="0" y="5"/>
                  </a:lnTo>
                  <a:lnTo>
                    <a:pt x="6" y="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4" name="Freeform 1349"/>
            <p:cNvSpPr>
              <a:spLocks noChangeArrowheads="1"/>
            </p:cNvSpPr>
            <p:nvPr/>
          </p:nvSpPr>
          <p:spPr bwMode="auto">
            <a:xfrm>
              <a:off x="3875088" y="2711450"/>
              <a:ext cx="3175" cy="3175"/>
            </a:xfrm>
            <a:custGeom>
              <a:avLst/>
              <a:gdLst>
                <a:gd name="T0" fmla="*/ 5 w 9"/>
                <a:gd name="T1" fmla="*/ 9 h 10"/>
                <a:gd name="T2" fmla="*/ 8 w 9"/>
                <a:gd name="T3" fmla="*/ 3 h 10"/>
                <a:gd name="T4" fmla="*/ 2 w 9"/>
                <a:gd name="T5" fmla="*/ 0 h 10"/>
                <a:gd name="T6" fmla="*/ 0 w 9"/>
                <a:gd name="T7" fmla="*/ 6 h 10"/>
                <a:gd name="T8" fmla="*/ 5 w 9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5" y="9"/>
                  </a:moveTo>
                  <a:lnTo>
                    <a:pt x="8" y="3"/>
                  </a:lnTo>
                  <a:lnTo>
                    <a:pt x="2" y="0"/>
                  </a:lnTo>
                  <a:lnTo>
                    <a:pt x="0" y="6"/>
                  </a:lnTo>
                  <a:lnTo>
                    <a:pt x="5" y="9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5" name="Freeform 1350"/>
            <p:cNvSpPr>
              <a:spLocks noChangeArrowheads="1"/>
            </p:cNvSpPr>
            <p:nvPr/>
          </p:nvSpPr>
          <p:spPr bwMode="auto">
            <a:xfrm>
              <a:off x="3876675" y="2716213"/>
              <a:ext cx="6350" cy="4762"/>
            </a:xfrm>
            <a:custGeom>
              <a:avLst/>
              <a:gdLst>
                <a:gd name="T0" fmla="*/ 9 w 18"/>
                <a:gd name="T1" fmla="*/ 14 h 15"/>
                <a:gd name="T2" fmla="*/ 14 w 18"/>
                <a:gd name="T3" fmla="*/ 0 h 15"/>
                <a:gd name="T4" fmla="*/ 0 w 18"/>
                <a:gd name="T5" fmla="*/ 8 h 15"/>
                <a:gd name="T6" fmla="*/ 9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9" y="14"/>
                  </a:moveTo>
                  <a:cubicBezTo>
                    <a:pt x="12" y="8"/>
                    <a:pt x="17" y="5"/>
                    <a:pt x="14" y="0"/>
                  </a:cubicBezTo>
                  <a:cubicBezTo>
                    <a:pt x="12" y="11"/>
                    <a:pt x="6" y="2"/>
                    <a:pt x="0" y="8"/>
                  </a:cubicBezTo>
                  <a:lnTo>
                    <a:pt x="9" y="14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6" name="Freeform 1351"/>
            <p:cNvSpPr>
              <a:spLocks noChangeArrowheads="1"/>
            </p:cNvSpPr>
            <p:nvPr/>
          </p:nvSpPr>
          <p:spPr bwMode="auto">
            <a:xfrm>
              <a:off x="3881438" y="2720975"/>
              <a:ext cx="4762" cy="7938"/>
            </a:xfrm>
            <a:custGeom>
              <a:avLst/>
              <a:gdLst>
                <a:gd name="T0" fmla="*/ 0 w 12"/>
                <a:gd name="T1" fmla="*/ 5 h 23"/>
                <a:gd name="T2" fmla="*/ 0 w 12"/>
                <a:gd name="T3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3">
                  <a:moveTo>
                    <a:pt x="0" y="5"/>
                  </a:moveTo>
                  <a:cubicBezTo>
                    <a:pt x="2" y="22"/>
                    <a:pt x="11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7" name="Freeform 1352"/>
            <p:cNvSpPr>
              <a:spLocks noChangeArrowheads="1"/>
            </p:cNvSpPr>
            <p:nvPr/>
          </p:nvSpPr>
          <p:spPr bwMode="auto">
            <a:xfrm>
              <a:off x="3863975" y="2713038"/>
              <a:ext cx="6350" cy="4762"/>
            </a:xfrm>
            <a:custGeom>
              <a:avLst/>
              <a:gdLst>
                <a:gd name="T0" fmla="*/ 15 w 16"/>
                <a:gd name="T1" fmla="*/ 6 h 12"/>
                <a:gd name="T2" fmla="*/ 6 w 16"/>
                <a:gd name="T3" fmla="*/ 0 h 12"/>
                <a:gd name="T4" fmla="*/ 0 w 16"/>
                <a:gd name="T5" fmla="*/ 8 h 12"/>
                <a:gd name="T6" fmla="*/ 12 w 16"/>
                <a:gd name="T7" fmla="*/ 8 h 12"/>
                <a:gd name="T8" fmla="*/ 15 w 1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15" y="6"/>
                  </a:moveTo>
                  <a:lnTo>
                    <a:pt x="6" y="0"/>
                  </a:lnTo>
                  <a:lnTo>
                    <a:pt x="0" y="8"/>
                  </a:lnTo>
                  <a:cubicBezTo>
                    <a:pt x="3" y="11"/>
                    <a:pt x="9" y="11"/>
                    <a:pt x="12" y="8"/>
                  </a:cubicBezTo>
                  <a:cubicBezTo>
                    <a:pt x="15" y="8"/>
                    <a:pt x="15" y="6"/>
                    <a:pt x="15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8" name="Freeform 1353"/>
            <p:cNvSpPr>
              <a:spLocks noChangeArrowheads="1"/>
            </p:cNvSpPr>
            <p:nvPr/>
          </p:nvSpPr>
          <p:spPr bwMode="auto">
            <a:xfrm>
              <a:off x="3871913" y="2720975"/>
              <a:ext cx="3175" cy="7938"/>
            </a:xfrm>
            <a:custGeom>
              <a:avLst/>
              <a:gdLst>
                <a:gd name="T0" fmla="*/ 0 w 9"/>
                <a:gd name="T1" fmla="*/ 8 h 20"/>
                <a:gd name="T2" fmla="*/ 0 w 9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8"/>
                  </a:moveTo>
                  <a:cubicBezTo>
                    <a:pt x="8" y="19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9" name="Freeform 1354"/>
            <p:cNvSpPr>
              <a:spLocks noChangeArrowheads="1"/>
            </p:cNvSpPr>
            <p:nvPr/>
          </p:nvSpPr>
          <p:spPr bwMode="auto">
            <a:xfrm>
              <a:off x="3863975" y="2724150"/>
              <a:ext cx="6350" cy="4763"/>
            </a:xfrm>
            <a:custGeom>
              <a:avLst/>
              <a:gdLst>
                <a:gd name="T0" fmla="*/ 0 w 18"/>
                <a:gd name="T1" fmla="*/ 9 h 15"/>
                <a:gd name="T2" fmla="*/ 17 w 18"/>
                <a:gd name="T3" fmla="*/ 9 h 15"/>
                <a:gd name="T4" fmla="*/ 0 w 18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0" y="9"/>
                  </a:moveTo>
                  <a:cubicBezTo>
                    <a:pt x="6" y="14"/>
                    <a:pt x="12" y="11"/>
                    <a:pt x="17" y="9"/>
                  </a:cubicBezTo>
                  <a:cubicBezTo>
                    <a:pt x="12" y="6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0" name="Freeform 1355"/>
            <p:cNvSpPr>
              <a:spLocks noChangeArrowheads="1"/>
            </p:cNvSpPr>
            <p:nvPr/>
          </p:nvSpPr>
          <p:spPr bwMode="auto">
            <a:xfrm>
              <a:off x="3903663" y="2709863"/>
              <a:ext cx="1587" cy="3175"/>
            </a:xfrm>
            <a:custGeom>
              <a:avLst/>
              <a:gdLst>
                <a:gd name="T0" fmla="*/ 2 w 3"/>
                <a:gd name="T1" fmla="*/ 0 h 10"/>
                <a:gd name="T2" fmla="*/ 0 w 3"/>
                <a:gd name="T3" fmla="*/ 9 h 10"/>
                <a:gd name="T4" fmla="*/ 0 w 3"/>
                <a:gd name="T5" fmla="*/ 3 h 10"/>
                <a:gd name="T6" fmla="*/ 2 w 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0">
                  <a:moveTo>
                    <a:pt x="2" y="0"/>
                  </a:moveTo>
                  <a:cubicBezTo>
                    <a:pt x="2" y="0"/>
                    <a:pt x="2" y="9"/>
                    <a:pt x="0" y="9"/>
                  </a:cubicBezTo>
                  <a:cubicBezTo>
                    <a:pt x="0" y="9"/>
                    <a:pt x="0" y="6"/>
                    <a:pt x="0" y="3"/>
                  </a:cubicBezTo>
                  <a:cubicBezTo>
                    <a:pt x="2" y="3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1" name="Freeform 1356"/>
            <p:cNvSpPr>
              <a:spLocks noChangeArrowheads="1"/>
            </p:cNvSpPr>
            <p:nvPr/>
          </p:nvSpPr>
          <p:spPr bwMode="auto">
            <a:xfrm>
              <a:off x="3922713" y="2716213"/>
              <a:ext cx="4762" cy="7937"/>
            </a:xfrm>
            <a:custGeom>
              <a:avLst/>
              <a:gdLst>
                <a:gd name="T0" fmla="*/ 6 w 12"/>
                <a:gd name="T1" fmla="*/ 19 h 20"/>
                <a:gd name="T2" fmla="*/ 11 w 12"/>
                <a:gd name="T3" fmla="*/ 8 h 20"/>
                <a:gd name="T4" fmla="*/ 6 w 12"/>
                <a:gd name="T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0">
                  <a:moveTo>
                    <a:pt x="6" y="19"/>
                  </a:moveTo>
                  <a:cubicBezTo>
                    <a:pt x="6" y="14"/>
                    <a:pt x="11" y="14"/>
                    <a:pt x="11" y="8"/>
                  </a:cubicBezTo>
                  <a:cubicBezTo>
                    <a:pt x="3" y="0"/>
                    <a:pt x="0" y="19"/>
                    <a:pt x="6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2" name="Freeform 1357"/>
            <p:cNvSpPr>
              <a:spLocks noChangeArrowheads="1"/>
            </p:cNvSpPr>
            <p:nvPr/>
          </p:nvSpPr>
          <p:spPr bwMode="auto">
            <a:xfrm>
              <a:off x="3903663" y="2720975"/>
              <a:ext cx="6350" cy="4763"/>
            </a:xfrm>
            <a:custGeom>
              <a:avLst/>
              <a:gdLst>
                <a:gd name="T0" fmla="*/ 6 w 18"/>
                <a:gd name="T1" fmla="*/ 0 h 12"/>
                <a:gd name="T2" fmla="*/ 6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6" y="0"/>
                  </a:moveTo>
                  <a:cubicBezTo>
                    <a:pt x="0" y="11"/>
                    <a:pt x="17" y="2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3" name="Freeform 1358"/>
            <p:cNvSpPr>
              <a:spLocks noChangeArrowheads="1"/>
            </p:cNvSpPr>
            <p:nvPr/>
          </p:nvSpPr>
          <p:spPr bwMode="auto">
            <a:xfrm>
              <a:off x="3900488" y="2720975"/>
              <a:ext cx="6350" cy="4763"/>
            </a:xfrm>
            <a:custGeom>
              <a:avLst/>
              <a:gdLst>
                <a:gd name="T0" fmla="*/ 6 w 18"/>
                <a:gd name="T1" fmla="*/ 0 h 15"/>
                <a:gd name="T2" fmla="*/ 6 w 18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5">
                  <a:moveTo>
                    <a:pt x="6" y="0"/>
                  </a:moveTo>
                  <a:cubicBezTo>
                    <a:pt x="0" y="14"/>
                    <a:pt x="17" y="2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4" name="Freeform 1359"/>
            <p:cNvSpPr>
              <a:spLocks noChangeArrowheads="1"/>
            </p:cNvSpPr>
            <p:nvPr/>
          </p:nvSpPr>
          <p:spPr bwMode="auto">
            <a:xfrm>
              <a:off x="3883025" y="2709863"/>
              <a:ext cx="6350" cy="4762"/>
            </a:xfrm>
            <a:custGeom>
              <a:avLst/>
              <a:gdLst>
                <a:gd name="T0" fmla="*/ 9 w 18"/>
                <a:gd name="T1" fmla="*/ 0 h 12"/>
                <a:gd name="T2" fmla="*/ 9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9" y="0"/>
                  </a:moveTo>
                  <a:cubicBezTo>
                    <a:pt x="0" y="11"/>
                    <a:pt x="17" y="2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5" name="Freeform 1360"/>
            <p:cNvSpPr>
              <a:spLocks noChangeArrowheads="1"/>
            </p:cNvSpPr>
            <p:nvPr/>
          </p:nvSpPr>
          <p:spPr bwMode="auto">
            <a:xfrm>
              <a:off x="3876675" y="2716213"/>
              <a:ext cx="6350" cy="6350"/>
            </a:xfrm>
            <a:custGeom>
              <a:avLst/>
              <a:gdLst>
                <a:gd name="T0" fmla="*/ 9 w 18"/>
                <a:gd name="T1" fmla="*/ 0 h 16"/>
                <a:gd name="T2" fmla="*/ 9 w 18"/>
                <a:gd name="T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6">
                  <a:moveTo>
                    <a:pt x="9" y="0"/>
                  </a:moveTo>
                  <a:cubicBezTo>
                    <a:pt x="0" y="15"/>
                    <a:pt x="17" y="3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6" name="Freeform 1361"/>
            <p:cNvSpPr>
              <a:spLocks noChangeArrowheads="1"/>
            </p:cNvSpPr>
            <p:nvPr/>
          </p:nvSpPr>
          <p:spPr bwMode="auto">
            <a:xfrm>
              <a:off x="3863975" y="2720975"/>
              <a:ext cx="4763" cy="4763"/>
            </a:xfrm>
            <a:custGeom>
              <a:avLst/>
              <a:gdLst>
                <a:gd name="T0" fmla="*/ 8 w 12"/>
                <a:gd name="T1" fmla="*/ 11 h 12"/>
                <a:gd name="T2" fmla="*/ 0 w 12"/>
                <a:gd name="T3" fmla="*/ 0 h 12"/>
                <a:gd name="T4" fmla="*/ 8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8" y="11"/>
                  </a:moveTo>
                  <a:cubicBezTo>
                    <a:pt x="11" y="5"/>
                    <a:pt x="8" y="0"/>
                    <a:pt x="0" y="0"/>
                  </a:cubicBezTo>
                  <a:cubicBezTo>
                    <a:pt x="0" y="5"/>
                    <a:pt x="2" y="11"/>
                    <a:pt x="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7" name="Freeform 1362"/>
            <p:cNvSpPr>
              <a:spLocks noChangeArrowheads="1"/>
            </p:cNvSpPr>
            <p:nvPr/>
          </p:nvSpPr>
          <p:spPr bwMode="auto">
            <a:xfrm>
              <a:off x="4422775" y="2647950"/>
              <a:ext cx="4763" cy="4763"/>
            </a:xfrm>
            <a:custGeom>
              <a:avLst/>
              <a:gdLst>
                <a:gd name="T0" fmla="*/ 12 w 13"/>
                <a:gd name="T1" fmla="*/ 2 h 12"/>
                <a:gd name="T2" fmla="*/ 12 w 13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2">
                  <a:moveTo>
                    <a:pt x="12" y="2"/>
                  </a:moveTo>
                  <a:cubicBezTo>
                    <a:pt x="0" y="0"/>
                    <a:pt x="12" y="11"/>
                    <a:pt x="1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8" name="Freeform 1363"/>
            <p:cNvSpPr>
              <a:spLocks noChangeArrowheads="1"/>
            </p:cNvSpPr>
            <p:nvPr/>
          </p:nvSpPr>
          <p:spPr bwMode="auto">
            <a:xfrm>
              <a:off x="4438650" y="2641600"/>
              <a:ext cx="4763" cy="3175"/>
            </a:xfrm>
            <a:custGeom>
              <a:avLst/>
              <a:gdLst>
                <a:gd name="T0" fmla="*/ 11 w 12"/>
                <a:gd name="T1" fmla="*/ 3 h 10"/>
                <a:gd name="T2" fmla="*/ 2 w 12"/>
                <a:gd name="T3" fmla="*/ 0 h 10"/>
                <a:gd name="T4" fmla="*/ 11 w 12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3"/>
                  </a:moveTo>
                  <a:lnTo>
                    <a:pt x="2" y="0"/>
                  </a:lnTo>
                  <a:cubicBezTo>
                    <a:pt x="0" y="6"/>
                    <a:pt x="11" y="9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9" name="Freeform 1364"/>
            <p:cNvSpPr>
              <a:spLocks noChangeArrowheads="1"/>
            </p:cNvSpPr>
            <p:nvPr/>
          </p:nvSpPr>
          <p:spPr bwMode="auto">
            <a:xfrm>
              <a:off x="4421188" y="2638425"/>
              <a:ext cx="4762" cy="4763"/>
            </a:xfrm>
            <a:custGeom>
              <a:avLst/>
              <a:gdLst>
                <a:gd name="T0" fmla="*/ 11 w 12"/>
                <a:gd name="T1" fmla="*/ 3 h 12"/>
                <a:gd name="T2" fmla="*/ 11 w 12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11" y="3"/>
                  </a:moveTo>
                  <a:cubicBezTo>
                    <a:pt x="0" y="0"/>
                    <a:pt x="8" y="11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0" name="Freeform 1365"/>
            <p:cNvSpPr>
              <a:spLocks noChangeArrowheads="1"/>
            </p:cNvSpPr>
            <p:nvPr/>
          </p:nvSpPr>
          <p:spPr bwMode="auto">
            <a:xfrm>
              <a:off x="4459288" y="2638425"/>
              <a:ext cx="3175" cy="6350"/>
            </a:xfrm>
            <a:custGeom>
              <a:avLst/>
              <a:gdLst>
                <a:gd name="T0" fmla="*/ 8 w 9"/>
                <a:gd name="T1" fmla="*/ 9 h 18"/>
                <a:gd name="T2" fmla="*/ 8 w 9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9"/>
                  </a:moveTo>
                  <a:cubicBezTo>
                    <a:pt x="0" y="0"/>
                    <a:pt x="3" y="17"/>
                    <a:pt x="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1" name="Freeform 1366"/>
            <p:cNvSpPr>
              <a:spLocks noChangeArrowheads="1"/>
            </p:cNvSpPr>
            <p:nvPr/>
          </p:nvSpPr>
          <p:spPr bwMode="auto">
            <a:xfrm>
              <a:off x="4438650" y="2636838"/>
              <a:ext cx="6350" cy="3175"/>
            </a:xfrm>
            <a:custGeom>
              <a:avLst/>
              <a:gdLst>
                <a:gd name="T0" fmla="*/ 12 w 16"/>
                <a:gd name="T1" fmla="*/ 9 h 10"/>
                <a:gd name="T2" fmla="*/ 3 w 16"/>
                <a:gd name="T3" fmla="*/ 0 h 10"/>
                <a:gd name="T4" fmla="*/ 12 w 16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0">
                  <a:moveTo>
                    <a:pt x="12" y="9"/>
                  </a:moveTo>
                  <a:cubicBezTo>
                    <a:pt x="15" y="0"/>
                    <a:pt x="9" y="0"/>
                    <a:pt x="3" y="0"/>
                  </a:cubicBezTo>
                  <a:cubicBezTo>
                    <a:pt x="0" y="9"/>
                    <a:pt x="6" y="9"/>
                    <a:pt x="12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2" name="Freeform 1367"/>
            <p:cNvSpPr>
              <a:spLocks noChangeArrowheads="1"/>
            </p:cNvSpPr>
            <p:nvPr/>
          </p:nvSpPr>
          <p:spPr bwMode="auto">
            <a:xfrm>
              <a:off x="4429125" y="2636838"/>
              <a:ext cx="3175" cy="4762"/>
            </a:xfrm>
            <a:custGeom>
              <a:avLst/>
              <a:gdLst>
                <a:gd name="T0" fmla="*/ 9 w 10"/>
                <a:gd name="T1" fmla="*/ 11 h 12"/>
                <a:gd name="T2" fmla="*/ 3 w 10"/>
                <a:gd name="T3" fmla="*/ 0 h 12"/>
                <a:gd name="T4" fmla="*/ 9 w 10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9" y="11"/>
                  </a:moveTo>
                  <a:cubicBezTo>
                    <a:pt x="9" y="5"/>
                    <a:pt x="9" y="2"/>
                    <a:pt x="3" y="0"/>
                  </a:cubicBezTo>
                  <a:cubicBezTo>
                    <a:pt x="9" y="5"/>
                    <a:pt x="0" y="8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3" name="Freeform 1368"/>
            <p:cNvSpPr>
              <a:spLocks noChangeArrowheads="1"/>
            </p:cNvSpPr>
            <p:nvPr/>
          </p:nvSpPr>
          <p:spPr bwMode="auto">
            <a:xfrm>
              <a:off x="4427538" y="2636838"/>
              <a:ext cx="1587" cy="1587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0" y="0"/>
                    <a:pt x="2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4" name="Freeform 1369"/>
            <p:cNvSpPr>
              <a:spLocks noChangeArrowheads="1"/>
            </p:cNvSpPr>
            <p:nvPr/>
          </p:nvSpPr>
          <p:spPr bwMode="auto">
            <a:xfrm>
              <a:off x="4421188" y="2636838"/>
              <a:ext cx="4762" cy="3175"/>
            </a:xfrm>
            <a:custGeom>
              <a:avLst/>
              <a:gdLst>
                <a:gd name="T0" fmla="*/ 14 w 15"/>
                <a:gd name="T1" fmla="*/ 2 h 9"/>
                <a:gd name="T2" fmla="*/ 0 w 15"/>
                <a:gd name="T3" fmla="*/ 5 h 9"/>
                <a:gd name="T4" fmla="*/ 14 w 15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2"/>
                  </a:moveTo>
                  <a:cubicBezTo>
                    <a:pt x="11" y="2"/>
                    <a:pt x="0" y="0"/>
                    <a:pt x="0" y="5"/>
                  </a:cubicBezTo>
                  <a:cubicBezTo>
                    <a:pt x="5" y="5"/>
                    <a:pt x="14" y="8"/>
                    <a:pt x="14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5" name="Freeform 1370"/>
            <p:cNvSpPr>
              <a:spLocks noChangeArrowheads="1"/>
            </p:cNvSpPr>
            <p:nvPr/>
          </p:nvSpPr>
          <p:spPr bwMode="auto">
            <a:xfrm>
              <a:off x="4479925" y="2638425"/>
              <a:ext cx="3175" cy="4763"/>
            </a:xfrm>
            <a:custGeom>
              <a:avLst/>
              <a:gdLst>
                <a:gd name="T0" fmla="*/ 9 w 10"/>
                <a:gd name="T1" fmla="*/ 3 h 12"/>
                <a:gd name="T2" fmla="*/ 9 w 10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2">
                  <a:moveTo>
                    <a:pt x="9" y="3"/>
                  </a:moveTo>
                  <a:cubicBezTo>
                    <a:pt x="0" y="0"/>
                    <a:pt x="9" y="11"/>
                    <a:pt x="9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6" name="Freeform 1371"/>
            <p:cNvSpPr>
              <a:spLocks noChangeArrowheads="1"/>
            </p:cNvSpPr>
            <p:nvPr/>
          </p:nvSpPr>
          <p:spPr bwMode="auto">
            <a:xfrm>
              <a:off x="4456113" y="2638425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6 h 7"/>
                <a:gd name="T4" fmla="*/ 9 w 10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6" y="0"/>
                    <a:pt x="3" y="0"/>
                    <a:pt x="0" y="6"/>
                  </a:cubicBezTo>
                  <a:cubicBezTo>
                    <a:pt x="3" y="3"/>
                    <a:pt x="9" y="6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7" name="Freeform 1372"/>
            <p:cNvSpPr>
              <a:spLocks noChangeArrowheads="1"/>
            </p:cNvSpPr>
            <p:nvPr/>
          </p:nvSpPr>
          <p:spPr bwMode="auto">
            <a:xfrm>
              <a:off x="4468813" y="2635250"/>
              <a:ext cx="3175" cy="7938"/>
            </a:xfrm>
            <a:custGeom>
              <a:avLst/>
              <a:gdLst>
                <a:gd name="T0" fmla="*/ 6 w 7"/>
                <a:gd name="T1" fmla="*/ 11 h 20"/>
                <a:gd name="T2" fmla="*/ 6 w 7"/>
                <a:gd name="T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0">
                  <a:moveTo>
                    <a:pt x="6" y="11"/>
                  </a:moveTo>
                  <a:cubicBezTo>
                    <a:pt x="3" y="0"/>
                    <a:pt x="0" y="19"/>
                    <a:pt x="6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8" name="Freeform 1373"/>
            <p:cNvSpPr>
              <a:spLocks noChangeArrowheads="1"/>
            </p:cNvSpPr>
            <p:nvPr/>
          </p:nvSpPr>
          <p:spPr bwMode="auto">
            <a:xfrm>
              <a:off x="4445000" y="2636838"/>
              <a:ext cx="3175" cy="1587"/>
            </a:xfrm>
            <a:custGeom>
              <a:avLst/>
              <a:gdLst>
                <a:gd name="T0" fmla="*/ 0 w 7"/>
                <a:gd name="T1" fmla="*/ 0 h 6"/>
                <a:gd name="T2" fmla="*/ 0 w 7"/>
                <a:gd name="T3" fmla="*/ 5 h 6"/>
                <a:gd name="T4" fmla="*/ 6 w 7"/>
                <a:gd name="T5" fmla="*/ 5 h 6"/>
                <a:gd name="T6" fmla="*/ 6 w 7"/>
                <a:gd name="T7" fmla="*/ 0 h 6"/>
                <a:gd name="T8" fmla="*/ 0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lnTo>
                    <a:pt x="0" y="5"/>
                  </a:lnTo>
                  <a:lnTo>
                    <a:pt x="6" y="5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9" name="Freeform 1374"/>
            <p:cNvSpPr>
              <a:spLocks noChangeArrowheads="1"/>
            </p:cNvSpPr>
            <p:nvPr/>
          </p:nvSpPr>
          <p:spPr bwMode="auto">
            <a:xfrm>
              <a:off x="4432300" y="2633663"/>
              <a:ext cx="4763" cy="4762"/>
            </a:xfrm>
            <a:custGeom>
              <a:avLst/>
              <a:gdLst>
                <a:gd name="T0" fmla="*/ 2 w 12"/>
                <a:gd name="T1" fmla="*/ 0 h 12"/>
                <a:gd name="T2" fmla="*/ 8 w 12"/>
                <a:gd name="T3" fmla="*/ 11 h 12"/>
                <a:gd name="T4" fmla="*/ 2 w 12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2" y="0"/>
                  </a:moveTo>
                  <a:cubicBezTo>
                    <a:pt x="0" y="9"/>
                    <a:pt x="5" y="9"/>
                    <a:pt x="8" y="11"/>
                  </a:cubicBezTo>
                  <a:cubicBezTo>
                    <a:pt x="11" y="6"/>
                    <a:pt x="8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0" name="Freeform 1375"/>
            <p:cNvSpPr>
              <a:spLocks noChangeArrowheads="1"/>
            </p:cNvSpPr>
            <p:nvPr/>
          </p:nvSpPr>
          <p:spPr bwMode="auto">
            <a:xfrm>
              <a:off x="4456113" y="2632075"/>
              <a:ext cx="3175" cy="3175"/>
            </a:xfrm>
            <a:custGeom>
              <a:avLst/>
              <a:gdLst>
                <a:gd name="T0" fmla="*/ 0 w 10"/>
                <a:gd name="T1" fmla="*/ 0 h 10"/>
                <a:gd name="T2" fmla="*/ 6 w 10"/>
                <a:gd name="T3" fmla="*/ 9 h 10"/>
                <a:gd name="T4" fmla="*/ 0 w 10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0">
                  <a:moveTo>
                    <a:pt x="0" y="0"/>
                  </a:moveTo>
                  <a:cubicBezTo>
                    <a:pt x="0" y="3"/>
                    <a:pt x="0" y="6"/>
                    <a:pt x="6" y="9"/>
                  </a:cubicBezTo>
                  <a:cubicBezTo>
                    <a:pt x="9" y="6"/>
                    <a:pt x="9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1" name="Freeform 1376"/>
            <p:cNvSpPr>
              <a:spLocks noChangeArrowheads="1"/>
            </p:cNvSpPr>
            <p:nvPr/>
          </p:nvSpPr>
          <p:spPr bwMode="auto">
            <a:xfrm>
              <a:off x="4443413" y="2632075"/>
              <a:ext cx="4762" cy="4763"/>
            </a:xfrm>
            <a:custGeom>
              <a:avLst/>
              <a:gdLst>
                <a:gd name="T0" fmla="*/ 14 w 15"/>
                <a:gd name="T1" fmla="*/ 3 h 13"/>
                <a:gd name="T2" fmla="*/ 14 w 15"/>
                <a:gd name="T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14" y="3"/>
                  </a:moveTo>
                  <a:cubicBezTo>
                    <a:pt x="0" y="0"/>
                    <a:pt x="11" y="12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2" name="Freeform 1377"/>
            <p:cNvSpPr>
              <a:spLocks noChangeArrowheads="1"/>
            </p:cNvSpPr>
            <p:nvPr/>
          </p:nvSpPr>
          <p:spPr bwMode="auto">
            <a:xfrm>
              <a:off x="4440238" y="2627313"/>
              <a:ext cx="3175" cy="7937"/>
            </a:xfrm>
            <a:custGeom>
              <a:avLst/>
              <a:gdLst>
                <a:gd name="T0" fmla="*/ 6 w 7"/>
                <a:gd name="T1" fmla="*/ 11 h 21"/>
                <a:gd name="T2" fmla="*/ 6 w 7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1">
                  <a:moveTo>
                    <a:pt x="6" y="11"/>
                  </a:moveTo>
                  <a:cubicBezTo>
                    <a:pt x="0" y="0"/>
                    <a:pt x="0" y="20"/>
                    <a:pt x="6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3" name="Freeform 1378"/>
            <p:cNvSpPr>
              <a:spLocks noChangeArrowheads="1"/>
            </p:cNvSpPr>
            <p:nvPr/>
          </p:nvSpPr>
          <p:spPr bwMode="auto">
            <a:xfrm>
              <a:off x="4467225" y="2630488"/>
              <a:ext cx="4763" cy="4762"/>
            </a:xfrm>
            <a:custGeom>
              <a:avLst/>
              <a:gdLst>
                <a:gd name="T0" fmla="*/ 11 w 12"/>
                <a:gd name="T1" fmla="*/ 3 h 13"/>
                <a:gd name="T2" fmla="*/ 11 w 12"/>
                <a:gd name="T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3">
                  <a:moveTo>
                    <a:pt x="11" y="3"/>
                  </a:moveTo>
                  <a:cubicBezTo>
                    <a:pt x="0" y="0"/>
                    <a:pt x="11" y="12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4" name="Freeform 1379"/>
            <p:cNvSpPr>
              <a:spLocks noChangeArrowheads="1"/>
            </p:cNvSpPr>
            <p:nvPr/>
          </p:nvSpPr>
          <p:spPr bwMode="auto">
            <a:xfrm>
              <a:off x="4475163" y="2625725"/>
              <a:ext cx="4762" cy="6350"/>
            </a:xfrm>
            <a:custGeom>
              <a:avLst/>
              <a:gdLst>
                <a:gd name="T0" fmla="*/ 0 w 12"/>
                <a:gd name="T1" fmla="*/ 9 h 18"/>
                <a:gd name="T2" fmla="*/ 0 w 12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0" y="9"/>
                  </a:moveTo>
                  <a:cubicBezTo>
                    <a:pt x="11" y="17"/>
                    <a:pt x="9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5" name="Freeform 1380"/>
            <p:cNvSpPr>
              <a:spLocks noChangeArrowheads="1"/>
            </p:cNvSpPr>
            <p:nvPr/>
          </p:nvSpPr>
          <p:spPr bwMode="auto">
            <a:xfrm>
              <a:off x="4433888" y="2644775"/>
              <a:ext cx="3175" cy="4763"/>
            </a:xfrm>
            <a:custGeom>
              <a:avLst/>
              <a:gdLst>
                <a:gd name="T0" fmla="*/ 9 w 10"/>
                <a:gd name="T1" fmla="*/ 11 h 12"/>
                <a:gd name="T2" fmla="*/ 9 w 10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2">
                  <a:moveTo>
                    <a:pt x="9" y="11"/>
                  </a:moveTo>
                  <a:cubicBezTo>
                    <a:pt x="9" y="0"/>
                    <a:pt x="0" y="11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6" name="Freeform 1381"/>
            <p:cNvSpPr>
              <a:spLocks noChangeArrowheads="1"/>
            </p:cNvSpPr>
            <p:nvPr/>
          </p:nvSpPr>
          <p:spPr bwMode="auto">
            <a:xfrm>
              <a:off x="4435475" y="2641600"/>
              <a:ext cx="3175" cy="4763"/>
            </a:xfrm>
            <a:custGeom>
              <a:avLst/>
              <a:gdLst>
                <a:gd name="T0" fmla="*/ 8 w 9"/>
                <a:gd name="T1" fmla="*/ 11 h 15"/>
                <a:gd name="T2" fmla="*/ 8 w 9"/>
                <a:gd name="T3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8" y="11"/>
                  </a:moveTo>
                  <a:cubicBezTo>
                    <a:pt x="8" y="0"/>
                    <a:pt x="0" y="14"/>
                    <a:pt x="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7" name="Freeform 1382"/>
            <p:cNvSpPr>
              <a:spLocks noChangeArrowheads="1"/>
            </p:cNvSpPr>
            <p:nvPr/>
          </p:nvSpPr>
          <p:spPr bwMode="auto">
            <a:xfrm>
              <a:off x="4451350" y="2646363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0 w 7"/>
                <a:gd name="T3" fmla="*/ 0 h 6"/>
                <a:gd name="T4" fmla="*/ 6 w 7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cubicBezTo>
                    <a:pt x="6" y="3"/>
                    <a:pt x="3" y="0"/>
                    <a:pt x="0" y="0"/>
                  </a:cubicBezTo>
                  <a:cubicBezTo>
                    <a:pt x="0" y="3"/>
                    <a:pt x="3" y="5"/>
                    <a:pt x="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8" name="Freeform 1383"/>
            <p:cNvSpPr>
              <a:spLocks noChangeArrowheads="1"/>
            </p:cNvSpPr>
            <p:nvPr/>
          </p:nvSpPr>
          <p:spPr bwMode="auto">
            <a:xfrm>
              <a:off x="4456113" y="2641600"/>
              <a:ext cx="3175" cy="4763"/>
            </a:xfrm>
            <a:custGeom>
              <a:avLst/>
              <a:gdLst>
                <a:gd name="T0" fmla="*/ 8 w 9"/>
                <a:gd name="T1" fmla="*/ 8 h 12"/>
                <a:gd name="T2" fmla="*/ 8 w 9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8" y="8"/>
                  </a:moveTo>
                  <a:cubicBezTo>
                    <a:pt x="8" y="0"/>
                    <a:pt x="0" y="11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9" name="Freeform 1384"/>
            <p:cNvSpPr>
              <a:spLocks noChangeArrowheads="1"/>
            </p:cNvSpPr>
            <p:nvPr/>
          </p:nvSpPr>
          <p:spPr bwMode="auto">
            <a:xfrm>
              <a:off x="4457700" y="2641600"/>
              <a:ext cx="3175" cy="4763"/>
            </a:xfrm>
            <a:custGeom>
              <a:avLst/>
              <a:gdLst>
                <a:gd name="T0" fmla="*/ 9 w 10"/>
                <a:gd name="T1" fmla="*/ 11 h 12"/>
                <a:gd name="T2" fmla="*/ 9 w 10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2">
                  <a:moveTo>
                    <a:pt x="9" y="11"/>
                  </a:moveTo>
                  <a:cubicBezTo>
                    <a:pt x="6" y="0"/>
                    <a:pt x="0" y="11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0" name="Freeform 1385"/>
            <p:cNvSpPr>
              <a:spLocks noChangeArrowheads="1"/>
            </p:cNvSpPr>
            <p:nvPr/>
          </p:nvSpPr>
          <p:spPr bwMode="auto">
            <a:xfrm>
              <a:off x="4478338" y="2641600"/>
              <a:ext cx="9525" cy="4763"/>
            </a:xfrm>
            <a:custGeom>
              <a:avLst/>
              <a:gdLst>
                <a:gd name="T0" fmla="*/ 5 w 26"/>
                <a:gd name="T1" fmla="*/ 11 h 15"/>
                <a:gd name="T2" fmla="*/ 19 w 26"/>
                <a:gd name="T3" fmla="*/ 5 h 15"/>
                <a:gd name="T4" fmla="*/ 5 w 26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15">
                  <a:moveTo>
                    <a:pt x="5" y="11"/>
                  </a:moveTo>
                  <a:cubicBezTo>
                    <a:pt x="8" y="14"/>
                    <a:pt x="25" y="14"/>
                    <a:pt x="19" y="5"/>
                  </a:cubicBezTo>
                  <a:cubicBezTo>
                    <a:pt x="17" y="0"/>
                    <a:pt x="0" y="5"/>
                    <a:pt x="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1" name="Freeform 1386"/>
            <p:cNvSpPr>
              <a:spLocks noChangeArrowheads="1"/>
            </p:cNvSpPr>
            <p:nvPr/>
          </p:nvSpPr>
          <p:spPr bwMode="auto">
            <a:xfrm>
              <a:off x="4473575" y="2630488"/>
              <a:ext cx="6350" cy="7937"/>
            </a:xfrm>
            <a:custGeom>
              <a:avLst/>
              <a:gdLst>
                <a:gd name="T0" fmla="*/ 3 w 16"/>
                <a:gd name="T1" fmla="*/ 20 h 21"/>
                <a:gd name="T2" fmla="*/ 3 w 16"/>
                <a:gd name="T3" fmla="*/ 0 h 21"/>
                <a:gd name="T4" fmla="*/ 3 w 16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21">
                  <a:moveTo>
                    <a:pt x="3" y="20"/>
                  </a:moveTo>
                  <a:cubicBezTo>
                    <a:pt x="12" y="17"/>
                    <a:pt x="15" y="6"/>
                    <a:pt x="3" y="0"/>
                  </a:cubicBezTo>
                  <a:cubicBezTo>
                    <a:pt x="0" y="6"/>
                    <a:pt x="0" y="15"/>
                    <a:pt x="3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2" name="Freeform 1387"/>
            <p:cNvSpPr>
              <a:spLocks noChangeArrowheads="1"/>
            </p:cNvSpPr>
            <p:nvPr/>
          </p:nvSpPr>
          <p:spPr bwMode="auto">
            <a:xfrm>
              <a:off x="4479925" y="2638425"/>
              <a:ext cx="4763" cy="7938"/>
            </a:xfrm>
            <a:custGeom>
              <a:avLst/>
              <a:gdLst>
                <a:gd name="T0" fmla="*/ 0 w 12"/>
                <a:gd name="T1" fmla="*/ 6 h 21"/>
                <a:gd name="T2" fmla="*/ 0 w 12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1">
                  <a:moveTo>
                    <a:pt x="0" y="6"/>
                  </a:moveTo>
                  <a:cubicBezTo>
                    <a:pt x="0" y="20"/>
                    <a:pt x="11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3" name="Freeform 1388"/>
            <p:cNvSpPr>
              <a:spLocks noChangeArrowheads="1"/>
            </p:cNvSpPr>
            <p:nvPr/>
          </p:nvSpPr>
          <p:spPr bwMode="auto">
            <a:xfrm>
              <a:off x="4465638" y="2632075"/>
              <a:ext cx="6350" cy="6350"/>
            </a:xfrm>
            <a:custGeom>
              <a:avLst/>
              <a:gdLst>
                <a:gd name="T0" fmla="*/ 5 w 18"/>
                <a:gd name="T1" fmla="*/ 0 h 18"/>
                <a:gd name="T2" fmla="*/ 0 w 18"/>
                <a:gd name="T3" fmla="*/ 9 h 18"/>
                <a:gd name="T4" fmla="*/ 5 w 18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8">
                  <a:moveTo>
                    <a:pt x="5" y="0"/>
                  </a:moveTo>
                  <a:lnTo>
                    <a:pt x="0" y="9"/>
                  </a:lnTo>
                  <a:cubicBezTo>
                    <a:pt x="5" y="17"/>
                    <a:pt x="17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4" name="Freeform 1389"/>
            <p:cNvSpPr>
              <a:spLocks noChangeArrowheads="1"/>
            </p:cNvSpPr>
            <p:nvPr/>
          </p:nvSpPr>
          <p:spPr bwMode="auto">
            <a:xfrm>
              <a:off x="4459288" y="2640013"/>
              <a:ext cx="9525" cy="6350"/>
            </a:xfrm>
            <a:custGeom>
              <a:avLst/>
              <a:gdLst>
                <a:gd name="T0" fmla="*/ 25 w 26"/>
                <a:gd name="T1" fmla="*/ 8 h 18"/>
                <a:gd name="T2" fmla="*/ 6 w 26"/>
                <a:gd name="T3" fmla="*/ 0 h 18"/>
                <a:gd name="T4" fmla="*/ 0 w 26"/>
                <a:gd name="T5" fmla="*/ 8 h 18"/>
                <a:gd name="T6" fmla="*/ 20 w 26"/>
                <a:gd name="T7" fmla="*/ 14 h 18"/>
                <a:gd name="T8" fmla="*/ 25 w 26"/>
                <a:gd name="T9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25" y="8"/>
                  </a:moveTo>
                  <a:cubicBezTo>
                    <a:pt x="20" y="3"/>
                    <a:pt x="11" y="0"/>
                    <a:pt x="6" y="0"/>
                  </a:cubicBezTo>
                  <a:lnTo>
                    <a:pt x="0" y="8"/>
                  </a:lnTo>
                  <a:cubicBezTo>
                    <a:pt x="3" y="14"/>
                    <a:pt x="11" y="17"/>
                    <a:pt x="20" y="14"/>
                  </a:cubicBezTo>
                  <a:cubicBezTo>
                    <a:pt x="22" y="14"/>
                    <a:pt x="22" y="11"/>
                    <a:pt x="2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5" name="Freeform 1390"/>
            <p:cNvSpPr>
              <a:spLocks noChangeArrowheads="1"/>
            </p:cNvSpPr>
            <p:nvPr/>
          </p:nvSpPr>
          <p:spPr bwMode="auto">
            <a:xfrm>
              <a:off x="4440238" y="2627313"/>
              <a:ext cx="3175" cy="7937"/>
            </a:xfrm>
            <a:custGeom>
              <a:avLst/>
              <a:gdLst>
                <a:gd name="T0" fmla="*/ 0 w 10"/>
                <a:gd name="T1" fmla="*/ 8 h 21"/>
                <a:gd name="T2" fmla="*/ 0 w 10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8"/>
                  </a:moveTo>
                  <a:cubicBezTo>
                    <a:pt x="9" y="20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6" name="Freeform 1391"/>
            <p:cNvSpPr>
              <a:spLocks noChangeArrowheads="1"/>
            </p:cNvSpPr>
            <p:nvPr/>
          </p:nvSpPr>
          <p:spPr bwMode="auto">
            <a:xfrm>
              <a:off x="4451350" y="2638425"/>
              <a:ext cx="3175" cy="4763"/>
            </a:xfrm>
            <a:custGeom>
              <a:avLst/>
              <a:gdLst>
                <a:gd name="T0" fmla="*/ 3 w 10"/>
                <a:gd name="T1" fmla="*/ 0 h 15"/>
                <a:gd name="T2" fmla="*/ 3 w 10"/>
                <a:gd name="T3" fmla="*/ 11 h 15"/>
                <a:gd name="T4" fmla="*/ 6 w 10"/>
                <a:gd name="T5" fmla="*/ 14 h 15"/>
                <a:gd name="T6" fmla="*/ 6 w 10"/>
                <a:gd name="T7" fmla="*/ 3 h 15"/>
                <a:gd name="T8" fmla="*/ 3 w 1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3" y="0"/>
                  </a:moveTo>
                  <a:cubicBezTo>
                    <a:pt x="0" y="3"/>
                    <a:pt x="0" y="8"/>
                    <a:pt x="3" y="11"/>
                  </a:cubicBezTo>
                  <a:lnTo>
                    <a:pt x="6" y="14"/>
                  </a:lnTo>
                  <a:cubicBezTo>
                    <a:pt x="9" y="11"/>
                    <a:pt x="9" y="6"/>
                    <a:pt x="6" y="3"/>
                  </a:cubicBezTo>
                  <a:cubicBezTo>
                    <a:pt x="6" y="0"/>
                    <a:pt x="6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7" name="Freeform 1392"/>
            <p:cNvSpPr>
              <a:spLocks noChangeArrowheads="1"/>
            </p:cNvSpPr>
            <p:nvPr/>
          </p:nvSpPr>
          <p:spPr bwMode="auto">
            <a:xfrm>
              <a:off x="4438650" y="2630488"/>
              <a:ext cx="3175" cy="6350"/>
            </a:xfrm>
            <a:custGeom>
              <a:avLst/>
              <a:gdLst>
                <a:gd name="T0" fmla="*/ 0 w 9"/>
                <a:gd name="T1" fmla="*/ 9 h 18"/>
                <a:gd name="T2" fmla="*/ 0 w 9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9"/>
                  </a:moveTo>
                  <a:cubicBezTo>
                    <a:pt x="8" y="17"/>
                    <a:pt x="5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8" name="Freeform 1393"/>
            <p:cNvSpPr>
              <a:spLocks noChangeArrowheads="1"/>
            </p:cNvSpPr>
            <p:nvPr/>
          </p:nvSpPr>
          <p:spPr bwMode="auto">
            <a:xfrm>
              <a:off x="4424363" y="2625725"/>
              <a:ext cx="3175" cy="3175"/>
            </a:xfrm>
            <a:custGeom>
              <a:avLst/>
              <a:gdLst>
                <a:gd name="T0" fmla="*/ 6 w 9"/>
                <a:gd name="T1" fmla="*/ 9 h 10"/>
                <a:gd name="T2" fmla="*/ 8 w 9"/>
                <a:gd name="T3" fmla="*/ 3 h 10"/>
                <a:gd name="T4" fmla="*/ 3 w 9"/>
                <a:gd name="T5" fmla="*/ 0 h 10"/>
                <a:gd name="T6" fmla="*/ 0 w 9"/>
                <a:gd name="T7" fmla="*/ 6 h 10"/>
                <a:gd name="T8" fmla="*/ 6 w 9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6" y="9"/>
                  </a:moveTo>
                  <a:lnTo>
                    <a:pt x="8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6" y="9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9" name="Freeform 1394"/>
            <p:cNvSpPr>
              <a:spLocks noChangeArrowheads="1"/>
            </p:cNvSpPr>
            <p:nvPr/>
          </p:nvSpPr>
          <p:spPr bwMode="auto">
            <a:xfrm>
              <a:off x="4435475" y="2636838"/>
              <a:ext cx="3175" cy="3175"/>
            </a:xfrm>
            <a:custGeom>
              <a:avLst/>
              <a:gdLst>
                <a:gd name="T0" fmla="*/ 6 w 10"/>
                <a:gd name="T1" fmla="*/ 8 h 9"/>
                <a:gd name="T2" fmla="*/ 9 w 10"/>
                <a:gd name="T3" fmla="*/ 2 h 9"/>
                <a:gd name="T4" fmla="*/ 3 w 10"/>
                <a:gd name="T5" fmla="*/ 0 h 9"/>
                <a:gd name="T6" fmla="*/ 0 w 10"/>
                <a:gd name="T7" fmla="*/ 5 h 9"/>
                <a:gd name="T8" fmla="*/ 6 w 10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6" y="8"/>
                  </a:moveTo>
                  <a:lnTo>
                    <a:pt x="9" y="2"/>
                  </a:lnTo>
                  <a:lnTo>
                    <a:pt x="3" y="0"/>
                  </a:lnTo>
                  <a:lnTo>
                    <a:pt x="0" y="5"/>
                  </a:lnTo>
                  <a:lnTo>
                    <a:pt x="6" y="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0" name="Freeform 1395"/>
            <p:cNvSpPr>
              <a:spLocks noChangeArrowheads="1"/>
            </p:cNvSpPr>
            <p:nvPr/>
          </p:nvSpPr>
          <p:spPr bwMode="auto">
            <a:xfrm>
              <a:off x="4435475" y="2638425"/>
              <a:ext cx="6350" cy="4763"/>
            </a:xfrm>
            <a:custGeom>
              <a:avLst/>
              <a:gdLst>
                <a:gd name="T0" fmla="*/ 8 w 18"/>
                <a:gd name="T1" fmla="*/ 14 h 15"/>
                <a:gd name="T2" fmla="*/ 14 w 18"/>
                <a:gd name="T3" fmla="*/ 0 h 15"/>
                <a:gd name="T4" fmla="*/ 0 w 18"/>
                <a:gd name="T5" fmla="*/ 8 h 15"/>
                <a:gd name="T6" fmla="*/ 8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8" y="14"/>
                  </a:moveTo>
                  <a:cubicBezTo>
                    <a:pt x="11" y="8"/>
                    <a:pt x="17" y="6"/>
                    <a:pt x="14" y="0"/>
                  </a:cubicBezTo>
                  <a:cubicBezTo>
                    <a:pt x="11" y="11"/>
                    <a:pt x="6" y="3"/>
                    <a:pt x="0" y="8"/>
                  </a:cubicBezTo>
                  <a:lnTo>
                    <a:pt x="8" y="14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1" name="Freeform 1396"/>
            <p:cNvSpPr>
              <a:spLocks noChangeArrowheads="1"/>
            </p:cNvSpPr>
            <p:nvPr/>
          </p:nvSpPr>
          <p:spPr bwMode="auto">
            <a:xfrm>
              <a:off x="4440238" y="2644775"/>
              <a:ext cx="4762" cy="7938"/>
            </a:xfrm>
            <a:custGeom>
              <a:avLst/>
              <a:gdLst>
                <a:gd name="T0" fmla="*/ 0 w 12"/>
                <a:gd name="T1" fmla="*/ 6 h 24"/>
                <a:gd name="T2" fmla="*/ 0 w 12"/>
                <a:gd name="T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4">
                  <a:moveTo>
                    <a:pt x="0" y="6"/>
                  </a:moveTo>
                  <a:cubicBezTo>
                    <a:pt x="0" y="23"/>
                    <a:pt x="11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2" name="Freeform 1397"/>
            <p:cNvSpPr>
              <a:spLocks noChangeArrowheads="1"/>
            </p:cNvSpPr>
            <p:nvPr/>
          </p:nvSpPr>
          <p:spPr bwMode="auto">
            <a:xfrm>
              <a:off x="4424363" y="2636838"/>
              <a:ext cx="4762" cy="4762"/>
            </a:xfrm>
            <a:custGeom>
              <a:avLst/>
              <a:gdLst>
                <a:gd name="T0" fmla="*/ 14 w 15"/>
                <a:gd name="T1" fmla="*/ 6 h 13"/>
                <a:gd name="T2" fmla="*/ 6 w 15"/>
                <a:gd name="T3" fmla="*/ 0 h 13"/>
                <a:gd name="T4" fmla="*/ 0 w 15"/>
                <a:gd name="T5" fmla="*/ 9 h 13"/>
                <a:gd name="T6" fmla="*/ 11 w 15"/>
                <a:gd name="T7" fmla="*/ 9 h 13"/>
                <a:gd name="T8" fmla="*/ 14 w 15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3">
                  <a:moveTo>
                    <a:pt x="14" y="6"/>
                  </a:moveTo>
                  <a:lnTo>
                    <a:pt x="6" y="0"/>
                  </a:lnTo>
                  <a:lnTo>
                    <a:pt x="0" y="9"/>
                  </a:lnTo>
                  <a:cubicBezTo>
                    <a:pt x="3" y="12"/>
                    <a:pt x="8" y="12"/>
                    <a:pt x="11" y="9"/>
                  </a:cubicBezTo>
                  <a:cubicBezTo>
                    <a:pt x="11" y="6"/>
                    <a:pt x="14" y="6"/>
                    <a:pt x="14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3" name="Freeform 1398"/>
            <p:cNvSpPr>
              <a:spLocks noChangeArrowheads="1"/>
            </p:cNvSpPr>
            <p:nvPr/>
          </p:nvSpPr>
          <p:spPr bwMode="auto">
            <a:xfrm>
              <a:off x="4432300" y="2644775"/>
              <a:ext cx="4763" cy="6350"/>
            </a:xfrm>
            <a:custGeom>
              <a:avLst/>
              <a:gdLst>
                <a:gd name="T0" fmla="*/ 0 w 12"/>
                <a:gd name="T1" fmla="*/ 8 h 18"/>
                <a:gd name="T2" fmla="*/ 0 w 12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0" y="8"/>
                  </a:moveTo>
                  <a:cubicBezTo>
                    <a:pt x="11" y="17"/>
                    <a:pt x="5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4" name="Freeform 1399"/>
            <p:cNvSpPr>
              <a:spLocks noChangeArrowheads="1"/>
            </p:cNvSpPr>
            <p:nvPr/>
          </p:nvSpPr>
          <p:spPr bwMode="auto">
            <a:xfrm>
              <a:off x="4424363" y="2647950"/>
              <a:ext cx="6350" cy="4763"/>
            </a:xfrm>
            <a:custGeom>
              <a:avLst/>
              <a:gdLst>
                <a:gd name="T0" fmla="*/ 0 w 18"/>
                <a:gd name="T1" fmla="*/ 8 h 15"/>
                <a:gd name="T2" fmla="*/ 17 w 18"/>
                <a:gd name="T3" fmla="*/ 8 h 15"/>
                <a:gd name="T4" fmla="*/ 0 w 18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0" y="8"/>
                  </a:moveTo>
                  <a:cubicBezTo>
                    <a:pt x="6" y="14"/>
                    <a:pt x="11" y="11"/>
                    <a:pt x="17" y="8"/>
                  </a:cubicBezTo>
                  <a:cubicBezTo>
                    <a:pt x="11" y="5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5" name="Freeform 1400"/>
            <p:cNvSpPr>
              <a:spLocks noChangeArrowheads="1"/>
            </p:cNvSpPr>
            <p:nvPr/>
          </p:nvSpPr>
          <p:spPr bwMode="auto">
            <a:xfrm>
              <a:off x="4462463" y="2633663"/>
              <a:ext cx="1587" cy="3175"/>
            </a:xfrm>
            <a:custGeom>
              <a:avLst/>
              <a:gdLst>
                <a:gd name="T0" fmla="*/ 3 w 4"/>
                <a:gd name="T1" fmla="*/ 0 h 9"/>
                <a:gd name="T2" fmla="*/ 0 w 4"/>
                <a:gd name="T3" fmla="*/ 8 h 9"/>
                <a:gd name="T4" fmla="*/ 0 w 4"/>
                <a:gd name="T5" fmla="*/ 3 h 9"/>
                <a:gd name="T6" fmla="*/ 3 w 4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3" y="0"/>
                  </a:moveTo>
                  <a:cubicBezTo>
                    <a:pt x="3" y="0"/>
                    <a:pt x="3" y="8"/>
                    <a:pt x="0" y="8"/>
                  </a:cubicBezTo>
                  <a:cubicBezTo>
                    <a:pt x="0" y="8"/>
                    <a:pt x="0" y="6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6" name="Freeform 1401"/>
            <p:cNvSpPr>
              <a:spLocks noChangeArrowheads="1"/>
            </p:cNvSpPr>
            <p:nvPr/>
          </p:nvSpPr>
          <p:spPr bwMode="auto">
            <a:xfrm>
              <a:off x="4483100" y="2638425"/>
              <a:ext cx="4763" cy="7938"/>
            </a:xfrm>
            <a:custGeom>
              <a:avLst/>
              <a:gdLst>
                <a:gd name="T0" fmla="*/ 5 w 12"/>
                <a:gd name="T1" fmla="*/ 20 h 21"/>
                <a:gd name="T2" fmla="*/ 11 w 12"/>
                <a:gd name="T3" fmla="*/ 8 h 21"/>
                <a:gd name="T4" fmla="*/ 5 w 12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1">
                  <a:moveTo>
                    <a:pt x="5" y="20"/>
                  </a:moveTo>
                  <a:cubicBezTo>
                    <a:pt x="5" y="14"/>
                    <a:pt x="11" y="14"/>
                    <a:pt x="11" y="8"/>
                  </a:cubicBezTo>
                  <a:cubicBezTo>
                    <a:pt x="5" y="0"/>
                    <a:pt x="0" y="20"/>
                    <a:pt x="5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7" name="Freeform 1402"/>
            <p:cNvSpPr>
              <a:spLocks noChangeArrowheads="1"/>
            </p:cNvSpPr>
            <p:nvPr/>
          </p:nvSpPr>
          <p:spPr bwMode="auto">
            <a:xfrm>
              <a:off x="4464050" y="2644775"/>
              <a:ext cx="6350" cy="4763"/>
            </a:xfrm>
            <a:custGeom>
              <a:avLst/>
              <a:gdLst>
                <a:gd name="T0" fmla="*/ 9 w 18"/>
                <a:gd name="T1" fmla="*/ 0 h 15"/>
                <a:gd name="T2" fmla="*/ 9 w 18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5">
                  <a:moveTo>
                    <a:pt x="9" y="0"/>
                  </a:moveTo>
                  <a:cubicBezTo>
                    <a:pt x="0" y="14"/>
                    <a:pt x="17" y="6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8" name="Freeform 1403"/>
            <p:cNvSpPr>
              <a:spLocks noChangeArrowheads="1"/>
            </p:cNvSpPr>
            <p:nvPr/>
          </p:nvSpPr>
          <p:spPr bwMode="auto">
            <a:xfrm>
              <a:off x="4459288" y="2644775"/>
              <a:ext cx="6350" cy="4763"/>
            </a:xfrm>
            <a:custGeom>
              <a:avLst/>
              <a:gdLst>
                <a:gd name="T0" fmla="*/ 8 w 18"/>
                <a:gd name="T1" fmla="*/ 0 h 12"/>
                <a:gd name="T2" fmla="*/ 8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cubicBezTo>
                    <a:pt x="0" y="11"/>
                    <a:pt x="17" y="3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9" name="Freeform 1404"/>
            <p:cNvSpPr>
              <a:spLocks noChangeArrowheads="1"/>
            </p:cNvSpPr>
            <p:nvPr/>
          </p:nvSpPr>
          <p:spPr bwMode="auto">
            <a:xfrm>
              <a:off x="4443413" y="2633663"/>
              <a:ext cx="4762" cy="4762"/>
            </a:xfrm>
            <a:custGeom>
              <a:avLst/>
              <a:gdLst>
                <a:gd name="T0" fmla="*/ 5 w 15"/>
                <a:gd name="T1" fmla="*/ 0 h 12"/>
                <a:gd name="T2" fmla="*/ 5 w 15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2">
                  <a:moveTo>
                    <a:pt x="5" y="0"/>
                  </a:moveTo>
                  <a:cubicBezTo>
                    <a:pt x="0" y="11"/>
                    <a:pt x="14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0" name="Freeform 1405"/>
            <p:cNvSpPr>
              <a:spLocks noChangeArrowheads="1"/>
            </p:cNvSpPr>
            <p:nvPr/>
          </p:nvSpPr>
          <p:spPr bwMode="auto">
            <a:xfrm>
              <a:off x="4437063" y="2640013"/>
              <a:ext cx="6350" cy="4762"/>
            </a:xfrm>
            <a:custGeom>
              <a:avLst/>
              <a:gdLst>
                <a:gd name="T0" fmla="*/ 5 w 18"/>
                <a:gd name="T1" fmla="*/ 0 h 12"/>
                <a:gd name="T2" fmla="*/ 5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5" y="0"/>
                  </a:moveTo>
                  <a:cubicBezTo>
                    <a:pt x="0" y="11"/>
                    <a:pt x="17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1" name="Freeform 1406"/>
            <p:cNvSpPr>
              <a:spLocks noChangeArrowheads="1"/>
            </p:cNvSpPr>
            <p:nvPr/>
          </p:nvSpPr>
          <p:spPr bwMode="auto">
            <a:xfrm>
              <a:off x="4422775" y="2644775"/>
              <a:ext cx="4763" cy="4763"/>
            </a:xfrm>
            <a:custGeom>
              <a:avLst/>
              <a:gdLst>
                <a:gd name="T0" fmla="*/ 12 w 15"/>
                <a:gd name="T1" fmla="*/ 11 h 12"/>
                <a:gd name="T2" fmla="*/ 3 w 15"/>
                <a:gd name="T3" fmla="*/ 0 h 12"/>
                <a:gd name="T4" fmla="*/ 12 w 15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12" y="11"/>
                  </a:moveTo>
                  <a:cubicBezTo>
                    <a:pt x="14" y="6"/>
                    <a:pt x="12" y="0"/>
                    <a:pt x="3" y="0"/>
                  </a:cubicBezTo>
                  <a:cubicBezTo>
                    <a:pt x="0" y="6"/>
                    <a:pt x="3" y="8"/>
                    <a:pt x="12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2" name="Freeform 1407"/>
            <p:cNvSpPr>
              <a:spLocks noChangeArrowheads="1"/>
            </p:cNvSpPr>
            <p:nvPr/>
          </p:nvSpPr>
          <p:spPr bwMode="auto">
            <a:xfrm>
              <a:off x="4273550" y="2689225"/>
              <a:ext cx="7938" cy="6350"/>
            </a:xfrm>
            <a:custGeom>
              <a:avLst/>
              <a:gdLst>
                <a:gd name="T0" fmla="*/ 20 w 21"/>
                <a:gd name="T1" fmla="*/ 9 h 18"/>
                <a:gd name="T2" fmla="*/ 0 w 21"/>
                <a:gd name="T3" fmla="*/ 12 h 18"/>
                <a:gd name="T4" fmla="*/ 20 w 21"/>
                <a:gd name="T5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20" y="9"/>
                  </a:moveTo>
                  <a:cubicBezTo>
                    <a:pt x="14" y="9"/>
                    <a:pt x="3" y="0"/>
                    <a:pt x="0" y="12"/>
                  </a:cubicBezTo>
                  <a:cubicBezTo>
                    <a:pt x="9" y="14"/>
                    <a:pt x="17" y="17"/>
                    <a:pt x="2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3" name="Freeform 1408"/>
            <p:cNvSpPr>
              <a:spLocks noChangeArrowheads="1"/>
            </p:cNvSpPr>
            <p:nvPr/>
          </p:nvSpPr>
          <p:spPr bwMode="auto">
            <a:xfrm>
              <a:off x="4284663" y="2676525"/>
              <a:ext cx="3175" cy="3175"/>
            </a:xfrm>
            <a:custGeom>
              <a:avLst/>
              <a:gdLst>
                <a:gd name="T0" fmla="*/ 0 w 9"/>
                <a:gd name="T1" fmla="*/ 5 h 9"/>
                <a:gd name="T2" fmla="*/ 5 w 9"/>
                <a:gd name="T3" fmla="*/ 8 h 9"/>
                <a:gd name="T4" fmla="*/ 8 w 9"/>
                <a:gd name="T5" fmla="*/ 2 h 9"/>
                <a:gd name="T6" fmla="*/ 2 w 9"/>
                <a:gd name="T7" fmla="*/ 0 h 9"/>
                <a:gd name="T8" fmla="*/ 0 w 9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0" y="5"/>
                  </a:moveTo>
                  <a:lnTo>
                    <a:pt x="5" y="8"/>
                  </a:lnTo>
                  <a:lnTo>
                    <a:pt x="8" y="2"/>
                  </a:lnTo>
                  <a:lnTo>
                    <a:pt x="2" y="0"/>
                  </a:lnTo>
                  <a:lnTo>
                    <a:pt x="0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4" name="Freeform 1409"/>
            <p:cNvSpPr>
              <a:spLocks noChangeArrowheads="1"/>
            </p:cNvSpPr>
            <p:nvPr/>
          </p:nvSpPr>
          <p:spPr bwMode="auto">
            <a:xfrm>
              <a:off x="4284663" y="2686050"/>
              <a:ext cx="7937" cy="9525"/>
            </a:xfrm>
            <a:custGeom>
              <a:avLst/>
              <a:gdLst>
                <a:gd name="T0" fmla="*/ 3 w 24"/>
                <a:gd name="T1" fmla="*/ 25 h 26"/>
                <a:gd name="T2" fmla="*/ 23 w 24"/>
                <a:gd name="T3" fmla="*/ 8 h 26"/>
                <a:gd name="T4" fmla="*/ 3 w 24"/>
                <a:gd name="T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26">
                  <a:moveTo>
                    <a:pt x="3" y="25"/>
                  </a:moveTo>
                  <a:cubicBezTo>
                    <a:pt x="9" y="20"/>
                    <a:pt x="17" y="17"/>
                    <a:pt x="23" y="8"/>
                  </a:cubicBezTo>
                  <a:cubicBezTo>
                    <a:pt x="12" y="0"/>
                    <a:pt x="0" y="20"/>
                    <a:pt x="3" y="2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5" name="Freeform 1410"/>
            <p:cNvSpPr>
              <a:spLocks noChangeArrowheads="1"/>
            </p:cNvSpPr>
            <p:nvPr/>
          </p:nvSpPr>
          <p:spPr bwMode="auto">
            <a:xfrm>
              <a:off x="4297363" y="2673350"/>
              <a:ext cx="7937" cy="4763"/>
            </a:xfrm>
            <a:custGeom>
              <a:avLst/>
              <a:gdLst>
                <a:gd name="T0" fmla="*/ 12 w 21"/>
                <a:gd name="T1" fmla="*/ 14 h 15"/>
                <a:gd name="T2" fmla="*/ 12 w 21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5">
                  <a:moveTo>
                    <a:pt x="12" y="14"/>
                  </a:moveTo>
                  <a:cubicBezTo>
                    <a:pt x="20" y="0"/>
                    <a:pt x="0" y="8"/>
                    <a:pt x="1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6" name="Freeform 1411"/>
            <p:cNvSpPr>
              <a:spLocks noChangeArrowheads="1"/>
            </p:cNvSpPr>
            <p:nvPr/>
          </p:nvSpPr>
          <p:spPr bwMode="auto">
            <a:xfrm>
              <a:off x="4297363" y="2687638"/>
              <a:ext cx="6350" cy="9525"/>
            </a:xfrm>
            <a:custGeom>
              <a:avLst/>
              <a:gdLst>
                <a:gd name="T0" fmla="*/ 6 w 18"/>
                <a:gd name="T1" fmla="*/ 25 h 26"/>
                <a:gd name="T2" fmla="*/ 9 w 18"/>
                <a:gd name="T3" fmla="*/ 0 h 26"/>
                <a:gd name="T4" fmla="*/ 6 w 18"/>
                <a:gd name="T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6">
                  <a:moveTo>
                    <a:pt x="6" y="25"/>
                  </a:moveTo>
                  <a:cubicBezTo>
                    <a:pt x="12" y="22"/>
                    <a:pt x="17" y="5"/>
                    <a:pt x="9" y="0"/>
                  </a:cubicBezTo>
                  <a:cubicBezTo>
                    <a:pt x="3" y="8"/>
                    <a:pt x="0" y="19"/>
                    <a:pt x="6" y="2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7" name="Freeform 1412"/>
            <p:cNvSpPr>
              <a:spLocks noChangeArrowheads="1"/>
            </p:cNvSpPr>
            <p:nvPr/>
          </p:nvSpPr>
          <p:spPr bwMode="auto">
            <a:xfrm>
              <a:off x="4306888" y="2665413"/>
              <a:ext cx="7937" cy="3175"/>
            </a:xfrm>
            <a:custGeom>
              <a:avLst/>
              <a:gdLst>
                <a:gd name="T0" fmla="*/ 8 w 23"/>
                <a:gd name="T1" fmla="*/ 9 h 10"/>
                <a:gd name="T2" fmla="*/ 8 w 23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0">
                  <a:moveTo>
                    <a:pt x="8" y="9"/>
                  </a:moveTo>
                  <a:cubicBezTo>
                    <a:pt x="22" y="6"/>
                    <a:pt x="0" y="0"/>
                    <a:pt x="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8" name="Freeform 1413"/>
            <p:cNvSpPr>
              <a:spLocks noChangeArrowheads="1"/>
            </p:cNvSpPr>
            <p:nvPr/>
          </p:nvSpPr>
          <p:spPr bwMode="auto">
            <a:xfrm>
              <a:off x="4300538" y="2697163"/>
              <a:ext cx="3175" cy="3175"/>
            </a:xfrm>
            <a:custGeom>
              <a:avLst/>
              <a:gdLst>
                <a:gd name="T0" fmla="*/ 0 w 9"/>
                <a:gd name="T1" fmla="*/ 5 h 9"/>
                <a:gd name="T2" fmla="*/ 5 w 9"/>
                <a:gd name="T3" fmla="*/ 8 h 9"/>
                <a:gd name="T4" fmla="*/ 8 w 9"/>
                <a:gd name="T5" fmla="*/ 3 h 9"/>
                <a:gd name="T6" fmla="*/ 3 w 9"/>
                <a:gd name="T7" fmla="*/ 0 h 9"/>
                <a:gd name="T8" fmla="*/ 0 w 9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0" y="5"/>
                  </a:moveTo>
                  <a:lnTo>
                    <a:pt x="5" y="8"/>
                  </a:lnTo>
                  <a:lnTo>
                    <a:pt x="8" y="3"/>
                  </a:lnTo>
                  <a:lnTo>
                    <a:pt x="3" y="0"/>
                  </a:lnTo>
                  <a:lnTo>
                    <a:pt x="0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9" name="Freeform 1414"/>
            <p:cNvSpPr>
              <a:spLocks noChangeArrowheads="1"/>
            </p:cNvSpPr>
            <p:nvPr/>
          </p:nvSpPr>
          <p:spPr bwMode="auto">
            <a:xfrm>
              <a:off x="4329113" y="2649538"/>
              <a:ext cx="6350" cy="4762"/>
            </a:xfrm>
            <a:custGeom>
              <a:avLst/>
              <a:gdLst>
                <a:gd name="T0" fmla="*/ 5 w 18"/>
                <a:gd name="T1" fmla="*/ 12 h 13"/>
                <a:gd name="T2" fmla="*/ 17 w 18"/>
                <a:gd name="T3" fmla="*/ 6 h 13"/>
                <a:gd name="T4" fmla="*/ 5 w 18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5" y="12"/>
                  </a:moveTo>
                  <a:cubicBezTo>
                    <a:pt x="8" y="9"/>
                    <a:pt x="14" y="9"/>
                    <a:pt x="17" y="6"/>
                  </a:cubicBezTo>
                  <a:cubicBezTo>
                    <a:pt x="11" y="0"/>
                    <a:pt x="0" y="9"/>
                    <a:pt x="5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0" name="Freeform 1415"/>
            <p:cNvSpPr>
              <a:spLocks noChangeArrowheads="1"/>
            </p:cNvSpPr>
            <p:nvPr/>
          </p:nvSpPr>
          <p:spPr bwMode="auto">
            <a:xfrm>
              <a:off x="4311650" y="2693988"/>
              <a:ext cx="7938" cy="4762"/>
            </a:xfrm>
            <a:custGeom>
              <a:avLst/>
              <a:gdLst>
                <a:gd name="T0" fmla="*/ 11 w 21"/>
                <a:gd name="T1" fmla="*/ 12 h 13"/>
                <a:gd name="T2" fmla="*/ 11 w 21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3">
                  <a:moveTo>
                    <a:pt x="11" y="12"/>
                  </a:moveTo>
                  <a:cubicBezTo>
                    <a:pt x="20" y="0"/>
                    <a:pt x="0" y="9"/>
                    <a:pt x="11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1" name="Freeform 1416"/>
            <p:cNvSpPr>
              <a:spLocks noChangeArrowheads="1"/>
            </p:cNvSpPr>
            <p:nvPr/>
          </p:nvSpPr>
          <p:spPr bwMode="auto">
            <a:xfrm>
              <a:off x="4324350" y="2665413"/>
              <a:ext cx="9525" cy="3175"/>
            </a:xfrm>
            <a:custGeom>
              <a:avLst/>
              <a:gdLst>
                <a:gd name="T0" fmla="*/ 8 w 26"/>
                <a:gd name="T1" fmla="*/ 8 h 9"/>
                <a:gd name="T2" fmla="*/ 8 w 26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9">
                  <a:moveTo>
                    <a:pt x="8" y="8"/>
                  </a:moveTo>
                  <a:cubicBezTo>
                    <a:pt x="25" y="5"/>
                    <a:pt x="0" y="0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2" name="Freeform 1417"/>
            <p:cNvSpPr>
              <a:spLocks noChangeArrowheads="1"/>
            </p:cNvSpPr>
            <p:nvPr/>
          </p:nvSpPr>
          <p:spPr bwMode="auto">
            <a:xfrm>
              <a:off x="4319588" y="2679700"/>
              <a:ext cx="4762" cy="4763"/>
            </a:xfrm>
            <a:custGeom>
              <a:avLst/>
              <a:gdLst>
                <a:gd name="T0" fmla="*/ 5 w 15"/>
                <a:gd name="T1" fmla="*/ 14 h 15"/>
                <a:gd name="T2" fmla="*/ 11 w 15"/>
                <a:gd name="T3" fmla="*/ 11 h 15"/>
                <a:gd name="T4" fmla="*/ 14 w 15"/>
                <a:gd name="T5" fmla="*/ 6 h 15"/>
                <a:gd name="T6" fmla="*/ 5 w 15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5" y="14"/>
                  </a:moveTo>
                  <a:cubicBezTo>
                    <a:pt x="5" y="11"/>
                    <a:pt x="8" y="11"/>
                    <a:pt x="11" y="11"/>
                  </a:cubicBezTo>
                  <a:lnTo>
                    <a:pt x="14" y="6"/>
                  </a:lnTo>
                  <a:cubicBezTo>
                    <a:pt x="8" y="0"/>
                    <a:pt x="0" y="14"/>
                    <a:pt x="5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3" name="Freeform 1418"/>
            <p:cNvSpPr>
              <a:spLocks noChangeArrowheads="1"/>
            </p:cNvSpPr>
            <p:nvPr/>
          </p:nvSpPr>
          <p:spPr bwMode="auto">
            <a:xfrm>
              <a:off x="4341813" y="2636838"/>
              <a:ext cx="7937" cy="6350"/>
            </a:xfrm>
            <a:custGeom>
              <a:avLst/>
              <a:gdLst>
                <a:gd name="T0" fmla="*/ 9 w 21"/>
                <a:gd name="T1" fmla="*/ 16 h 17"/>
                <a:gd name="T2" fmla="*/ 9 w 21"/>
                <a:gd name="T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7">
                  <a:moveTo>
                    <a:pt x="9" y="16"/>
                  </a:moveTo>
                  <a:cubicBezTo>
                    <a:pt x="20" y="0"/>
                    <a:pt x="0" y="8"/>
                    <a:pt x="9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4" name="Freeform 1419"/>
            <p:cNvSpPr>
              <a:spLocks noChangeArrowheads="1"/>
            </p:cNvSpPr>
            <p:nvPr/>
          </p:nvSpPr>
          <p:spPr bwMode="auto">
            <a:xfrm>
              <a:off x="4340225" y="2660650"/>
              <a:ext cx="4763" cy="6350"/>
            </a:xfrm>
            <a:custGeom>
              <a:avLst/>
              <a:gdLst>
                <a:gd name="T0" fmla="*/ 6 w 12"/>
                <a:gd name="T1" fmla="*/ 0 h 18"/>
                <a:gd name="T2" fmla="*/ 11 w 12"/>
                <a:gd name="T3" fmla="*/ 12 h 18"/>
                <a:gd name="T4" fmla="*/ 6 w 12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cubicBezTo>
                    <a:pt x="0" y="6"/>
                    <a:pt x="8" y="17"/>
                    <a:pt x="11" y="12"/>
                  </a:cubicBezTo>
                  <a:cubicBezTo>
                    <a:pt x="6" y="6"/>
                    <a:pt x="11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5" name="Freeform 1420"/>
            <p:cNvSpPr>
              <a:spLocks noChangeArrowheads="1"/>
            </p:cNvSpPr>
            <p:nvPr/>
          </p:nvSpPr>
          <p:spPr bwMode="auto">
            <a:xfrm>
              <a:off x="4348163" y="2670175"/>
              <a:ext cx="4762" cy="9525"/>
            </a:xfrm>
            <a:custGeom>
              <a:avLst/>
              <a:gdLst>
                <a:gd name="T0" fmla="*/ 3 w 13"/>
                <a:gd name="T1" fmla="*/ 14 h 26"/>
                <a:gd name="T2" fmla="*/ 3 w 13"/>
                <a:gd name="T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6">
                  <a:moveTo>
                    <a:pt x="3" y="14"/>
                  </a:moveTo>
                  <a:cubicBezTo>
                    <a:pt x="12" y="25"/>
                    <a:pt x="0" y="0"/>
                    <a:pt x="3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6" name="Freeform 1421"/>
            <p:cNvSpPr>
              <a:spLocks noChangeArrowheads="1"/>
            </p:cNvSpPr>
            <p:nvPr/>
          </p:nvSpPr>
          <p:spPr bwMode="auto">
            <a:xfrm>
              <a:off x="4351338" y="2659063"/>
              <a:ext cx="6350" cy="6350"/>
            </a:xfrm>
            <a:custGeom>
              <a:avLst/>
              <a:gdLst>
                <a:gd name="T0" fmla="*/ 8 w 18"/>
                <a:gd name="T1" fmla="*/ 15 h 16"/>
                <a:gd name="T2" fmla="*/ 8 w 18"/>
                <a:gd name="T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6">
                  <a:moveTo>
                    <a:pt x="8" y="15"/>
                  </a:moveTo>
                  <a:cubicBezTo>
                    <a:pt x="17" y="0"/>
                    <a:pt x="0" y="9"/>
                    <a:pt x="8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7" name="Freeform 1422"/>
            <p:cNvSpPr>
              <a:spLocks noChangeArrowheads="1"/>
            </p:cNvSpPr>
            <p:nvPr/>
          </p:nvSpPr>
          <p:spPr bwMode="auto">
            <a:xfrm>
              <a:off x="4365625" y="2630488"/>
              <a:ext cx="7938" cy="4762"/>
            </a:xfrm>
            <a:custGeom>
              <a:avLst/>
              <a:gdLst>
                <a:gd name="T0" fmla="*/ 11 w 23"/>
                <a:gd name="T1" fmla="*/ 12 h 13"/>
                <a:gd name="T2" fmla="*/ 11 w 23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3">
                  <a:moveTo>
                    <a:pt x="11" y="12"/>
                  </a:moveTo>
                  <a:cubicBezTo>
                    <a:pt x="22" y="12"/>
                    <a:pt x="0" y="0"/>
                    <a:pt x="11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8" name="Freeform 1423"/>
            <p:cNvSpPr>
              <a:spLocks noChangeArrowheads="1"/>
            </p:cNvSpPr>
            <p:nvPr/>
          </p:nvSpPr>
          <p:spPr bwMode="auto">
            <a:xfrm>
              <a:off x="4359275" y="2665413"/>
              <a:ext cx="3175" cy="9525"/>
            </a:xfrm>
            <a:custGeom>
              <a:avLst/>
              <a:gdLst>
                <a:gd name="T0" fmla="*/ 2 w 9"/>
                <a:gd name="T1" fmla="*/ 14 h 27"/>
                <a:gd name="T2" fmla="*/ 2 w 9"/>
                <a:gd name="T3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7">
                  <a:moveTo>
                    <a:pt x="2" y="14"/>
                  </a:moveTo>
                  <a:cubicBezTo>
                    <a:pt x="8" y="26"/>
                    <a:pt x="0" y="0"/>
                    <a:pt x="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9" name="Freeform 1424"/>
            <p:cNvSpPr>
              <a:spLocks noChangeArrowheads="1"/>
            </p:cNvSpPr>
            <p:nvPr/>
          </p:nvSpPr>
          <p:spPr bwMode="auto">
            <a:xfrm>
              <a:off x="4359275" y="2670175"/>
              <a:ext cx="7938" cy="4763"/>
            </a:xfrm>
            <a:custGeom>
              <a:avLst/>
              <a:gdLst>
                <a:gd name="T0" fmla="*/ 17 w 23"/>
                <a:gd name="T1" fmla="*/ 0 h 13"/>
                <a:gd name="T2" fmla="*/ 17 w 23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3">
                  <a:moveTo>
                    <a:pt x="17" y="0"/>
                  </a:moveTo>
                  <a:cubicBezTo>
                    <a:pt x="0" y="9"/>
                    <a:pt x="22" y="12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0" name="Freeform 1425"/>
            <p:cNvSpPr>
              <a:spLocks noChangeArrowheads="1"/>
            </p:cNvSpPr>
            <p:nvPr/>
          </p:nvSpPr>
          <p:spPr bwMode="auto">
            <a:xfrm>
              <a:off x="4373563" y="2667000"/>
              <a:ext cx="7937" cy="4763"/>
            </a:xfrm>
            <a:custGeom>
              <a:avLst/>
              <a:gdLst>
                <a:gd name="T0" fmla="*/ 11 w 21"/>
                <a:gd name="T1" fmla="*/ 11 h 12"/>
                <a:gd name="T2" fmla="*/ 11 w 21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2">
                  <a:moveTo>
                    <a:pt x="11" y="11"/>
                  </a:moveTo>
                  <a:cubicBezTo>
                    <a:pt x="20" y="0"/>
                    <a:pt x="0" y="6"/>
                    <a:pt x="1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1" name="Freeform 1426"/>
            <p:cNvSpPr>
              <a:spLocks noChangeArrowheads="1"/>
            </p:cNvSpPr>
            <p:nvPr/>
          </p:nvSpPr>
          <p:spPr bwMode="auto">
            <a:xfrm>
              <a:off x="4192588" y="2662238"/>
              <a:ext cx="6350" cy="7937"/>
            </a:xfrm>
            <a:custGeom>
              <a:avLst/>
              <a:gdLst>
                <a:gd name="T0" fmla="*/ 8 w 18"/>
                <a:gd name="T1" fmla="*/ 8 h 21"/>
                <a:gd name="T2" fmla="*/ 8 w 18"/>
                <a:gd name="T3" fmla="*/ 17 h 21"/>
                <a:gd name="T4" fmla="*/ 8 w 18"/>
                <a:gd name="T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8" y="8"/>
                  </a:moveTo>
                  <a:cubicBezTo>
                    <a:pt x="5" y="14"/>
                    <a:pt x="3" y="20"/>
                    <a:pt x="8" y="17"/>
                  </a:cubicBezTo>
                  <a:cubicBezTo>
                    <a:pt x="17" y="8"/>
                    <a:pt x="0" y="0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2" name="Freeform 1427"/>
            <p:cNvSpPr>
              <a:spLocks noChangeArrowheads="1"/>
            </p:cNvSpPr>
            <p:nvPr/>
          </p:nvSpPr>
          <p:spPr bwMode="auto">
            <a:xfrm>
              <a:off x="4284663" y="2682875"/>
              <a:ext cx="6350" cy="4763"/>
            </a:xfrm>
            <a:custGeom>
              <a:avLst/>
              <a:gdLst>
                <a:gd name="T0" fmla="*/ 0 w 18"/>
                <a:gd name="T1" fmla="*/ 6 h 13"/>
                <a:gd name="T2" fmla="*/ 12 w 18"/>
                <a:gd name="T3" fmla="*/ 0 h 13"/>
                <a:gd name="T4" fmla="*/ 0 w 18"/>
                <a:gd name="T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0" y="6"/>
                  </a:moveTo>
                  <a:cubicBezTo>
                    <a:pt x="6" y="12"/>
                    <a:pt x="17" y="3"/>
                    <a:pt x="12" y="0"/>
                  </a:cubicBezTo>
                  <a:cubicBezTo>
                    <a:pt x="9" y="6"/>
                    <a:pt x="3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3" name="Freeform 1428"/>
            <p:cNvSpPr>
              <a:spLocks noChangeArrowheads="1"/>
            </p:cNvSpPr>
            <p:nvPr/>
          </p:nvSpPr>
          <p:spPr bwMode="auto">
            <a:xfrm>
              <a:off x="4297363" y="2655888"/>
              <a:ext cx="3175" cy="9525"/>
            </a:xfrm>
            <a:custGeom>
              <a:avLst/>
              <a:gdLst>
                <a:gd name="T0" fmla="*/ 3 w 10"/>
                <a:gd name="T1" fmla="*/ 14 h 26"/>
                <a:gd name="T2" fmla="*/ 3 w 10"/>
                <a:gd name="T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6">
                  <a:moveTo>
                    <a:pt x="3" y="14"/>
                  </a:moveTo>
                  <a:cubicBezTo>
                    <a:pt x="9" y="25"/>
                    <a:pt x="0" y="0"/>
                    <a:pt x="3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4" name="Freeform 1429"/>
            <p:cNvSpPr>
              <a:spLocks noChangeArrowheads="1"/>
            </p:cNvSpPr>
            <p:nvPr/>
          </p:nvSpPr>
          <p:spPr bwMode="auto">
            <a:xfrm>
              <a:off x="4297363" y="2670175"/>
              <a:ext cx="6350" cy="4763"/>
            </a:xfrm>
            <a:custGeom>
              <a:avLst/>
              <a:gdLst>
                <a:gd name="T0" fmla="*/ 0 w 18"/>
                <a:gd name="T1" fmla="*/ 6 h 13"/>
                <a:gd name="T2" fmla="*/ 12 w 18"/>
                <a:gd name="T3" fmla="*/ 0 h 13"/>
                <a:gd name="T4" fmla="*/ 0 w 18"/>
                <a:gd name="T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0" y="6"/>
                  </a:moveTo>
                  <a:cubicBezTo>
                    <a:pt x="6" y="12"/>
                    <a:pt x="17" y="3"/>
                    <a:pt x="12" y="0"/>
                  </a:cubicBezTo>
                  <a:cubicBezTo>
                    <a:pt x="9" y="6"/>
                    <a:pt x="3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5" name="Freeform 1430"/>
            <p:cNvSpPr>
              <a:spLocks noChangeArrowheads="1"/>
            </p:cNvSpPr>
            <p:nvPr/>
          </p:nvSpPr>
          <p:spPr bwMode="auto">
            <a:xfrm>
              <a:off x="4302125" y="2681288"/>
              <a:ext cx="7938" cy="9525"/>
            </a:xfrm>
            <a:custGeom>
              <a:avLst/>
              <a:gdLst>
                <a:gd name="T0" fmla="*/ 20 w 21"/>
                <a:gd name="T1" fmla="*/ 8 h 26"/>
                <a:gd name="T2" fmla="*/ 9 w 21"/>
                <a:gd name="T3" fmla="*/ 19 h 26"/>
                <a:gd name="T4" fmla="*/ 17 w 21"/>
                <a:gd name="T5" fmla="*/ 19 h 26"/>
                <a:gd name="T6" fmla="*/ 20 w 21"/>
                <a:gd name="T7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6">
                  <a:moveTo>
                    <a:pt x="20" y="8"/>
                  </a:moveTo>
                  <a:cubicBezTo>
                    <a:pt x="12" y="0"/>
                    <a:pt x="0" y="25"/>
                    <a:pt x="9" y="19"/>
                  </a:cubicBezTo>
                  <a:cubicBezTo>
                    <a:pt x="12" y="16"/>
                    <a:pt x="12" y="16"/>
                    <a:pt x="17" y="19"/>
                  </a:cubicBezTo>
                  <a:lnTo>
                    <a:pt x="20" y="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6" name="Freeform 1431"/>
            <p:cNvSpPr>
              <a:spLocks noChangeArrowheads="1"/>
            </p:cNvSpPr>
            <p:nvPr/>
          </p:nvSpPr>
          <p:spPr bwMode="auto">
            <a:xfrm>
              <a:off x="4356100" y="2684463"/>
              <a:ext cx="7938" cy="6350"/>
            </a:xfrm>
            <a:custGeom>
              <a:avLst/>
              <a:gdLst>
                <a:gd name="T0" fmla="*/ 20 w 21"/>
                <a:gd name="T1" fmla="*/ 6 h 18"/>
                <a:gd name="T2" fmla="*/ 6 w 21"/>
                <a:gd name="T3" fmla="*/ 14 h 18"/>
                <a:gd name="T4" fmla="*/ 20 w 21"/>
                <a:gd name="T5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20" y="6"/>
                  </a:moveTo>
                  <a:cubicBezTo>
                    <a:pt x="14" y="0"/>
                    <a:pt x="0" y="11"/>
                    <a:pt x="6" y="14"/>
                  </a:cubicBezTo>
                  <a:cubicBezTo>
                    <a:pt x="9" y="9"/>
                    <a:pt x="17" y="17"/>
                    <a:pt x="2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7" name="Freeform 1432"/>
            <p:cNvSpPr>
              <a:spLocks noChangeArrowheads="1"/>
            </p:cNvSpPr>
            <p:nvPr/>
          </p:nvSpPr>
          <p:spPr bwMode="auto">
            <a:xfrm>
              <a:off x="4433888" y="2622550"/>
              <a:ext cx="3175" cy="4763"/>
            </a:xfrm>
            <a:custGeom>
              <a:avLst/>
              <a:gdLst>
                <a:gd name="T0" fmla="*/ 0 w 10"/>
                <a:gd name="T1" fmla="*/ 0 h 15"/>
                <a:gd name="T2" fmla="*/ 0 w 10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0" y="0"/>
                  </a:moveTo>
                  <a:cubicBezTo>
                    <a:pt x="3" y="14"/>
                    <a:pt x="9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8" name="Freeform 1433"/>
            <p:cNvSpPr>
              <a:spLocks noChangeArrowheads="1"/>
            </p:cNvSpPr>
            <p:nvPr/>
          </p:nvSpPr>
          <p:spPr bwMode="auto">
            <a:xfrm>
              <a:off x="4419600" y="2606675"/>
              <a:ext cx="3175" cy="4763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3" y="11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9" name="Freeform 1434"/>
            <p:cNvSpPr>
              <a:spLocks noChangeArrowheads="1"/>
            </p:cNvSpPr>
            <p:nvPr/>
          </p:nvSpPr>
          <p:spPr bwMode="auto">
            <a:xfrm>
              <a:off x="4416425" y="2611438"/>
              <a:ext cx="6350" cy="3175"/>
            </a:xfrm>
            <a:custGeom>
              <a:avLst/>
              <a:gdLst>
                <a:gd name="T0" fmla="*/ 5 w 18"/>
                <a:gd name="T1" fmla="*/ 0 h 9"/>
                <a:gd name="T2" fmla="*/ 5 w 18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5" y="0"/>
                  </a:moveTo>
                  <a:cubicBezTo>
                    <a:pt x="0" y="8"/>
                    <a:pt x="17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0" name="Freeform 1435"/>
            <p:cNvSpPr>
              <a:spLocks noChangeArrowheads="1"/>
            </p:cNvSpPr>
            <p:nvPr/>
          </p:nvSpPr>
          <p:spPr bwMode="auto">
            <a:xfrm>
              <a:off x="4416425" y="2628900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2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1" name="Freeform 1436"/>
            <p:cNvSpPr>
              <a:spLocks noChangeArrowheads="1"/>
            </p:cNvSpPr>
            <p:nvPr/>
          </p:nvSpPr>
          <p:spPr bwMode="auto">
            <a:xfrm>
              <a:off x="4406900" y="2628900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3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2" name="Freeform 1437"/>
            <p:cNvSpPr>
              <a:spLocks noChangeArrowheads="1"/>
            </p:cNvSpPr>
            <p:nvPr/>
          </p:nvSpPr>
          <p:spPr bwMode="auto">
            <a:xfrm>
              <a:off x="4410075" y="2640013"/>
              <a:ext cx="3175" cy="6350"/>
            </a:xfrm>
            <a:custGeom>
              <a:avLst/>
              <a:gdLst>
                <a:gd name="T0" fmla="*/ 0 w 10"/>
                <a:gd name="T1" fmla="*/ 3 h 18"/>
                <a:gd name="T2" fmla="*/ 0 w 10"/>
                <a:gd name="T3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0" y="3"/>
                  </a:moveTo>
                  <a:cubicBezTo>
                    <a:pt x="6" y="17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3" name="Freeform 1438"/>
            <p:cNvSpPr>
              <a:spLocks noChangeArrowheads="1"/>
            </p:cNvSpPr>
            <p:nvPr/>
          </p:nvSpPr>
          <p:spPr bwMode="auto">
            <a:xfrm>
              <a:off x="4398963" y="2630488"/>
              <a:ext cx="7937" cy="6350"/>
            </a:xfrm>
            <a:custGeom>
              <a:avLst/>
              <a:gdLst>
                <a:gd name="T0" fmla="*/ 17 w 20"/>
                <a:gd name="T1" fmla="*/ 17 h 18"/>
                <a:gd name="T2" fmla="*/ 2 w 20"/>
                <a:gd name="T3" fmla="*/ 0 h 18"/>
                <a:gd name="T4" fmla="*/ 17 w 20"/>
                <a:gd name="T5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8">
                  <a:moveTo>
                    <a:pt x="17" y="17"/>
                  </a:moveTo>
                  <a:cubicBezTo>
                    <a:pt x="19" y="8"/>
                    <a:pt x="8" y="0"/>
                    <a:pt x="2" y="0"/>
                  </a:cubicBezTo>
                  <a:cubicBezTo>
                    <a:pt x="14" y="5"/>
                    <a:pt x="0" y="17"/>
                    <a:pt x="17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4" name="Freeform 1439"/>
            <p:cNvSpPr>
              <a:spLocks noChangeArrowheads="1"/>
            </p:cNvSpPr>
            <p:nvPr/>
          </p:nvSpPr>
          <p:spPr bwMode="auto">
            <a:xfrm>
              <a:off x="4402138" y="2638425"/>
              <a:ext cx="3175" cy="3175"/>
            </a:xfrm>
            <a:custGeom>
              <a:avLst/>
              <a:gdLst>
                <a:gd name="T0" fmla="*/ 6 w 10"/>
                <a:gd name="T1" fmla="*/ 0 h 10"/>
                <a:gd name="T2" fmla="*/ 0 w 10"/>
                <a:gd name="T3" fmla="*/ 3 h 10"/>
                <a:gd name="T4" fmla="*/ 3 w 10"/>
                <a:gd name="T5" fmla="*/ 9 h 10"/>
                <a:gd name="T6" fmla="*/ 9 w 10"/>
                <a:gd name="T7" fmla="*/ 6 h 10"/>
                <a:gd name="T8" fmla="*/ 6 w 1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6" y="0"/>
                  </a:moveTo>
                  <a:lnTo>
                    <a:pt x="0" y="3"/>
                  </a:lnTo>
                  <a:lnTo>
                    <a:pt x="3" y="9"/>
                  </a:lnTo>
                  <a:lnTo>
                    <a:pt x="9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5" name="Freeform 1440"/>
            <p:cNvSpPr>
              <a:spLocks noChangeArrowheads="1"/>
            </p:cNvSpPr>
            <p:nvPr/>
          </p:nvSpPr>
          <p:spPr bwMode="auto">
            <a:xfrm>
              <a:off x="4406900" y="2644775"/>
              <a:ext cx="3175" cy="4763"/>
            </a:xfrm>
            <a:custGeom>
              <a:avLst/>
              <a:gdLst>
                <a:gd name="T0" fmla="*/ 0 w 7"/>
                <a:gd name="T1" fmla="*/ 3 h 15"/>
                <a:gd name="T2" fmla="*/ 0 w 7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cubicBezTo>
                    <a:pt x="3" y="14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6" name="Freeform 1441"/>
            <p:cNvSpPr>
              <a:spLocks noChangeArrowheads="1"/>
            </p:cNvSpPr>
            <p:nvPr/>
          </p:nvSpPr>
          <p:spPr bwMode="auto">
            <a:xfrm>
              <a:off x="4389438" y="2616200"/>
              <a:ext cx="3175" cy="4763"/>
            </a:xfrm>
            <a:custGeom>
              <a:avLst/>
              <a:gdLst>
                <a:gd name="T0" fmla="*/ 6 w 10"/>
                <a:gd name="T1" fmla="*/ 0 h 12"/>
                <a:gd name="T2" fmla="*/ 3 w 10"/>
                <a:gd name="T3" fmla="*/ 11 h 12"/>
                <a:gd name="T4" fmla="*/ 9 w 10"/>
                <a:gd name="T5" fmla="*/ 3 h 12"/>
                <a:gd name="T6" fmla="*/ 6 w 10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cubicBezTo>
                    <a:pt x="0" y="3"/>
                    <a:pt x="3" y="6"/>
                    <a:pt x="3" y="11"/>
                  </a:cubicBezTo>
                  <a:cubicBezTo>
                    <a:pt x="6" y="11"/>
                    <a:pt x="9" y="9"/>
                    <a:pt x="9" y="3"/>
                  </a:cubicBezTo>
                  <a:cubicBezTo>
                    <a:pt x="6" y="3"/>
                    <a:pt x="6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7" name="Freeform 1442"/>
            <p:cNvSpPr>
              <a:spLocks noChangeArrowheads="1"/>
            </p:cNvSpPr>
            <p:nvPr/>
          </p:nvSpPr>
          <p:spPr bwMode="auto">
            <a:xfrm>
              <a:off x="4392613" y="2630488"/>
              <a:ext cx="3175" cy="4762"/>
            </a:xfrm>
            <a:custGeom>
              <a:avLst/>
              <a:gdLst>
                <a:gd name="T0" fmla="*/ 0 w 9"/>
                <a:gd name="T1" fmla="*/ 5 h 15"/>
                <a:gd name="T2" fmla="*/ 0 w 9"/>
                <a:gd name="T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5"/>
                  </a:moveTo>
                  <a:cubicBezTo>
                    <a:pt x="3" y="14"/>
                    <a:pt x="8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8" name="Freeform 1443"/>
            <p:cNvSpPr>
              <a:spLocks noChangeArrowheads="1"/>
            </p:cNvSpPr>
            <p:nvPr/>
          </p:nvSpPr>
          <p:spPr bwMode="auto">
            <a:xfrm>
              <a:off x="4389438" y="2630488"/>
              <a:ext cx="3175" cy="3175"/>
            </a:xfrm>
            <a:custGeom>
              <a:avLst/>
              <a:gdLst>
                <a:gd name="T0" fmla="*/ 6 w 10"/>
                <a:gd name="T1" fmla="*/ 0 h 10"/>
                <a:gd name="T2" fmla="*/ 0 w 10"/>
                <a:gd name="T3" fmla="*/ 3 h 10"/>
                <a:gd name="T4" fmla="*/ 3 w 10"/>
                <a:gd name="T5" fmla="*/ 9 h 10"/>
                <a:gd name="T6" fmla="*/ 9 w 10"/>
                <a:gd name="T7" fmla="*/ 6 h 10"/>
                <a:gd name="T8" fmla="*/ 6 w 1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6" y="0"/>
                  </a:moveTo>
                  <a:lnTo>
                    <a:pt x="0" y="3"/>
                  </a:lnTo>
                  <a:lnTo>
                    <a:pt x="3" y="9"/>
                  </a:lnTo>
                  <a:lnTo>
                    <a:pt x="9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9" name="Freeform 1444"/>
            <p:cNvSpPr>
              <a:spLocks noChangeArrowheads="1"/>
            </p:cNvSpPr>
            <p:nvPr/>
          </p:nvSpPr>
          <p:spPr bwMode="auto">
            <a:xfrm>
              <a:off x="4376738" y="2622550"/>
              <a:ext cx="3175" cy="3175"/>
            </a:xfrm>
            <a:custGeom>
              <a:avLst/>
              <a:gdLst>
                <a:gd name="T0" fmla="*/ 8 w 9"/>
                <a:gd name="T1" fmla="*/ 6 h 9"/>
                <a:gd name="T2" fmla="*/ 0 w 9"/>
                <a:gd name="T3" fmla="*/ 0 h 9"/>
                <a:gd name="T4" fmla="*/ 8 w 9"/>
                <a:gd name="T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6"/>
                  </a:moveTo>
                  <a:cubicBezTo>
                    <a:pt x="8" y="3"/>
                    <a:pt x="2" y="0"/>
                    <a:pt x="0" y="0"/>
                  </a:cubicBezTo>
                  <a:cubicBezTo>
                    <a:pt x="2" y="6"/>
                    <a:pt x="2" y="8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0" name="Freeform 1445"/>
            <p:cNvSpPr>
              <a:spLocks noChangeArrowheads="1"/>
            </p:cNvSpPr>
            <p:nvPr/>
          </p:nvSpPr>
          <p:spPr bwMode="auto">
            <a:xfrm>
              <a:off x="4375150" y="2644775"/>
              <a:ext cx="6350" cy="4763"/>
            </a:xfrm>
            <a:custGeom>
              <a:avLst/>
              <a:gdLst>
                <a:gd name="T0" fmla="*/ 14 w 18"/>
                <a:gd name="T1" fmla="*/ 11 h 12"/>
                <a:gd name="T2" fmla="*/ 11 w 18"/>
                <a:gd name="T3" fmla="*/ 6 h 12"/>
                <a:gd name="T4" fmla="*/ 17 w 18"/>
                <a:gd name="T5" fmla="*/ 0 h 12"/>
                <a:gd name="T6" fmla="*/ 0 w 18"/>
                <a:gd name="T7" fmla="*/ 9 h 12"/>
                <a:gd name="T8" fmla="*/ 14 w 18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14" y="11"/>
                  </a:moveTo>
                  <a:cubicBezTo>
                    <a:pt x="14" y="9"/>
                    <a:pt x="14" y="6"/>
                    <a:pt x="11" y="6"/>
                  </a:cubicBezTo>
                  <a:cubicBezTo>
                    <a:pt x="14" y="3"/>
                    <a:pt x="17" y="3"/>
                    <a:pt x="17" y="0"/>
                  </a:cubicBezTo>
                  <a:cubicBezTo>
                    <a:pt x="11" y="0"/>
                    <a:pt x="5" y="3"/>
                    <a:pt x="0" y="9"/>
                  </a:cubicBezTo>
                  <a:lnTo>
                    <a:pt x="14" y="11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1" name="Freeform 1446"/>
            <p:cNvSpPr>
              <a:spLocks noChangeArrowheads="1"/>
            </p:cNvSpPr>
            <p:nvPr/>
          </p:nvSpPr>
          <p:spPr bwMode="auto">
            <a:xfrm>
              <a:off x="4368800" y="2632075"/>
              <a:ext cx="6350" cy="4763"/>
            </a:xfrm>
            <a:custGeom>
              <a:avLst/>
              <a:gdLst>
                <a:gd name="T0" fmla="*/ 5 w 18"/>
                <a:gd name="T1" fmla="*/ 0 h 13"/>
                <a:gd name="T2" fmla="*/ 5 w 18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5" y="0"/>
                  </a:moveTo>
                  <a:cubicBezTo>
                    <a:pt x="0" y="12"/>
                    <a:pt x="17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2" name="Freeform 1447"/>
            <p:cNvSpPr>
              <a:spLocks noChangeArrowheads="1"/>
            </p:cNvSpPr>
            <p:nvPr/>
          </p:nvSpPr>
          <p:spPr bwMode="auto">
            <a:xfrm>
              <a:off x="4370388" y="2641600"/>
              <a:ext cx="3175" cy="3175"/>
            </a:xfrm>
            <a:custGeom>
              <a:avLst/>
              <a:gdLst>
                <a:gd name="T0" fmla="*/ 0 w 10"/>
                <a:gd name="T1" fmla="*/ 2 h 9"/>
                <a:gd name="T2" fmla="*/ 3 w 10"/>
                <a:gd name="T3" fmla="*/ 8 h 9"/>
                <a:gd name="T4" fmla="*/ 9 w 10"/>
                <a:gd name="T5" fmla="*/ 5 h 9"/>
                <a:gd name="T6" fmla="*/ 0 w 10"/>
                <a:gd name="T7" fmla="*/ 0 h 9"/>
                <a:gd name="T8" fmla="*/ 0 w 10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0" y="2"/>
                  </a:moveTo>
                  <a:lnTo>
                    <a:pt x="3" y="8"/>
                  </a:lnTo>
                  <a:lnTo>
                    <a:pt x="9" y="5"/>
                  </a:lnTo>
                  <a:cubicBezTo>
                    <a:pt x="9" y="2"/>
                    <a:pt x="6" y="0"/>
                    <a:pt x="0" y="0"/>
                  </a:cubicBezTo>
                  <a:cubicBezTo>
                    <a:pt x="3" y="2"/>
                    <a:pt x="3" y="2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3" name="Freeform 1448"/>
            <p:cNvSpPr>
              <a:spLocks noChangeArrowheads="1"/>
            </p:cNvSpPr>
            <p:nvPr/>
          </p:nvSpPr>
          <p:spPr bwMode="auto">
            <a:xfrm>
              <a:off x="4352925" y="2635250"/>
              <a:ext cx="6350" cy="1588"/>
            </a:xfrm>
            <a:custGeom>
              <a:avLst/>
              <a:gdLst>
                <a:gd name="T0" fmla="*/ 6 w 18"/>
                <a:gd name="T1" fmla="*/ 0 h 6"/>
                <a:gd name="T2" fmla="*/ 6 w 18"/>
                <a:gd name="T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6">
                  <a:moveTo>
                    <a:pt x="6" y="0"/>
                  </a:moveTo>
                  <a:cubicBezTo>
                    <a:pt x="0" y="5"/>
                    <a:pt x="17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4" name="Freeform 1449"/>
            <p:cNvSpPr>
              <a:spLocks noChangeArrowheads="1"/>
            </p:cNvSpPr>
            <p:nvPr/>
          </p:nvSpPr>
          <p:spPr bwMode="auto">
            <a:xfrm>
              <a:off x="4435475" y="2609850"/>
              <a:ext cx="3175" cy="7938"/>
            </a:xfrm>
            <a:custGeom>
              <a:avLst/>
              <a:gdLst>
                <a:gd name="T0" fmla="*/ 3 w 9"/>
                <a:gd name="T1" fmla="*/ 9 h 21"/>
                <a:gd name="T2" fmla="*/ 3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3" y="9"/>
                  </a:moveTo>
                  <a:cubicBezTo>
                    <a:pt x="0" y="20"/>
                    <a:pt x="8" y="0"/>
                    <a:pt x="3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5" name="Freeform 1450"/>
            <p:cNvSpPr>
              <a:spLocks noChangeArrowheads="1"/>
            </p:cNvSpPr>
            <p:nvPr/>
          </p:nvSpPr>
          <p:spPr bwMode="auto">
            <a:xfrm>
              <a:off x="4400550" y="2616200"/>
              <a:ext cx="4763" cy="7938"/>
            </a:xfrm>
            <a:custGeom>
              <a:avLst/>
              <a:gdLst>
                <a:gd name="T0" fmla="*/ 6 w 13"/>
                <a:gd name="T1" fmla="*/ 0 h 21"/>
                <a:gd name="T2" fmla="*/ 6 w 13"/>
                <a:gd name="T3" fmla="*/ 20 h 21"/>
                <a:gd name="T4" fmla="*/ 6 w 13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1">
                  <a:moveTo>
                    <a:pt x="6" y="0"/>
                  </a:moveTo>
                  <a:cubicBezTo>
                    <a:pt x="0" y="3"/>
                    <a:pt x="3" y="20"/>
                    <a:pt x="6" y="20"/>
                  </a:cubicBezTo>
                  <a:cubicBezTo>
                    <a:pt x="3" y="14"/>
                    <a:pt x="12" y="9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6" name="Freeform 1451"/>
            <p:cNvSpPr>
              <a:spLocks noChangeArrowheads="1"/>
            </p:cNvSpPr>
            <p:nvPr/>
          </p:nvSpPr>
          <p:spPr bwMode="auto">
            <a:xfrm>
              <a:off x="4391025" y="2636838"/>
              <a:ext cx="3175" cy="7937"/>
            </a:xfrm>
            <a:custGeom>
              <a:avLst/>
              <a:gdLst>
                <a:gd name="T0" fmla="*/ 3 w 7"/>
                <a:gd name="T1" fmla="*/ 12 h 21"/>
                <a:gd name="T2" fmla="*/ 3 w 7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1">
                  <a:moveTo>
                    <a:pt x="3" y="12"/>
                  </a:moveTo>
                  <a:cubicBezTo>
                    <a:pt x="0" y="20"/>
                    <a:pt x="6" y="0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7" name="Freeform 1452"/>
            <p:cNvSpPr>
              <a:spLocks noChangeArrowheads="1"/>
            </p:cNvSpPr>
            <p:nvPr/>
          </p:nvSpPr>
          <p:spPr bwMode="auto">
            <a:xfrm>
              <a:off x="4389438" y="2647950"/>
              <a:ext cx="11112" cy="4763"/>
            </a:xfrm>
            <a:custGeom>
              <a:avLst/>
              <a:gdLst>
                <a:gd name="T0" fmla="*/ 14 w 32"/>
                <a:gd name="T1" fmla="*/ 0 h 15"/>
                <a:gd name="T2" fmla="*/ 17 w 32"/>
                <a:gd name="T3" fmla="*/ 5 h 15"/>
                <a:gd name="T4" fmla="*/ 14 w 3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" h="15">
                  <a:moveTo>
                    <a:pt x="14" y="0"/>
                  </a:moveTo>
                  <a:cubicBezTo>
                    <a:pt x="0" y="11"/>
                    <a:pt x="31" y="14"/>
                    <a:pt x="17" y="5"/>
                  </a:cubicBezTo>
                  <a:cubicBezTo>
                    <a:pt x="17" y="14"/>
                    <a:pt x="11" y="2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8" name="Freeform 1453"/>
            <p:cNvSpPr>
              <a:spLocks noChangeArrowheads="1"/>
            </p:cNvSpPr>
            <p:nvPr/>
          </p:nvSpPr>
          <p:spPr bwMode="auto">
            <a:xfrm>
              <a:off x="4381500" y="2622550"/>
              <a:ext cx="4763" cy="6350"/>
            </a:xfrm>
            <a:custGeom>
              <a:avLst/>
              <a:gdLst>
                <a:gd name="T0" fmla="*/ 11 w 15"/>
                <a:gd name="T1" fmla="*/ 17 h 18"/>
                <a:gd name="T2" fmla="*/ 0 w 15"/>
                <a:gd name="T3" fmla="*/ 6 h 18"/>
                <a:gd name="T4" fmla="*/ 11 w 15"/>
                <a:gd name="T5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8">
                  <a:moveTo>
                    <a:pt x="11" y="17"/>
                  </a:moveTo>
                  <a:cubicBezTo>
                    <a:pt x="14" y="14"/>
                    <a:pt x="8" y="0"/>
                    <a:pt x="0" y="6"/>
                  </a:cubicBezTo>
                  <a:cubicBezTo>
                    <a:pt x="2" y="17"/>
                    <a:pt x="8" y="8"/>
                    <a:pt x="11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9" name="Freeform 1454"/>
            <p:cNvSpPr>
              <a:spLocks noChangeArrowheads="1"/>
            </p:cNvSpPr>
            <p:nvPr/>
          </p:nvSpPr>
          <p:spPr bwMode="auto">
            <a:xfrm>
              <a:off x="3824288" y="2508250"/>
              <a:ext cx="69850" cy="171450"/>
            </a:xfrm>
            <a:custGeom>
              <a:avLst/>
              <a:gdLst>
                <a:gd name="T0" fmla="*/ 186 w 192"/>
                <a:gd name="T1" fmla="*/ 436 h 477"/>
                <a:gd name="T2" fmla="*/ 127 w 192"/>
                <a:gd name="T3" fmla="*/ 473 h 477"/>
                <a:gd name="T4" fmla="*/ 48 w 192"/>
                <a:gd name="T5" fmla="*/ 371 h 477"/>
                <a:gd name="T6" fmla="*/ 25 w 192"/>
                <a:gd name="T7" fmla="*/ 236 h 477"/>
                <a:gd name="T8" fmla="*/ 14 w 192"/>
                <a:gd name="T9" fmla="*/ 178 h 477"/>
                <a:gd name="T10" fmla="*/ 2 w 192"/>
                <a:gd name="T11" fmla="*/ 116 h 477"/>
                <a:gd name="T12" fmla="*/ 81 w 192"/>
                <a:gd name="T13" fmla="*/ 0 h 477"/>
                <a:gd name="T14" fmla="*/ 141 w 192"/>
                <a:gd name="T15" fmla="*/ 93 h 477"/>
                <a:gd name="T16" fmla="*/ 141 w 192"/>
                <a:gd name="T17" fmla="*/ 167 h 477"/>
                <a:gd name="T18" fmla="*/ 98 w 192"/>
                <a:gd name="T19" fmla="*/ 133 h 477"/>
                <a:gd name="T20" fmla="*/ 53 w 192"/>
                <a:gd name="T21" fmla="*/ 68 h 477"/>
                <a:gd name="T22" fmla="*/ 59 w 192"/>
                <a:gd name="T23" fmla="*/ 136 h 477"/>
                <a:gd name="T24" fmla="*/ 79 w 192"/>
                <a:gd name="T25" fmla="*/ 228 h 477"/>
                <a:gd name="T26" fmla="*/ 90 w 192"/>
                <a:gd name="T27" fmla="*/ 290 h 477"/>
                <a:gd name="T28" fmla="*/ 118 w 192"/>
                <a:gd name="T29" fmla="*/ 408 h 477"/>
                <a:gd name="T30" fmla="*/ 132 w 192"/>
                <a:gd name="T31" fmla="*/ 318 h 477"/>
                <a:gd name="T32" fmla="*/ 166 w 192"/>
                <a:gd name="T33" fmla="*/ 287 h 477"/>
                <a:gd name="T34" fmla="*/ 25 w 192"/>
                <a:gd name="T35" fmla="*/ 71 h 477"/>
                <a:gd name="T36" fmla="*/ 25 w 192"/>
                <a:gd name="T37" fmla="*/ 57 h 477"/>
                <a:gd name="T38" fmla="*/ 28 w 192"/>
                <a:gd name="T39" fmla="*/ 62 h 477"/>
                <a:gd name="T40" fmla="*/ 31 w 192"/>
                <a:gd name="T41" fmla="*/ 124 h 477"/>
                <a:gd name="T42" fmla="*/ 36 w 192"/>
                <a:gd name="T43" fmla="*/ 169 h 477"/>
                <a:gd name="T44" fmla="*/ 39 w 192"/>
                <a:gd name="T45" fmla="*/ 161 h 477"/>
                <a:gd name="T46" fmla="*/ 31 w 192"/>
                <a:gd name="T47" fmla="*/ 144 h 477"/>
                <a:gd name="T48" fmla="*/ 42 w 192"/>
                <a:gd name="T49" fmla="*/ 34 h 477"/>
                <a:gd name="T50" fmla="*/ 67 w 192"/>
                <a:gd name="T51" fmla="*/ 28 h 477"/>
                <a:gd name="T52" fmla="*/ 56 w 192"/>
                <a:gd name="T53" fmla="*/ 23 h 477"/>
                <a:gd name="T54" fmla="*/ 39 w 192"/>
                <a:gd name="T55" fmla="*/ 28 h 477"/>
                <a:gd name="T56" fmla="*/ 36 w 192"/>
                <a:gd name="T57" fmla="*/ 197 h 477"/>
                <a:gd name="T58" fmla="*/ 50 w 192"/>
                <a:gd name="T59" fmla="*/ 197 h 477"/>
                <a:gd name="T60" fmla="*/ 48 w 192"/>
                <a:gd name="T61" fmla="*/ 194 h 477"/>
                <a:gd name="T62" fmla="*/ 42 w 192"/>
                <a:gd name="T63" fmla="*/ 239 h 477"/>
                <a:gd name="T64" fmla="*/ 53 w 192"/>
                <a:gd name="T65" fmla="*/ 301 h 477"/>
                <a:gd name="T66" fmla="*/ 53 w 192"/>
                <a:gd name="T67" fmla="*/ 281 h 477"/>
                <a:gd name="T68" fmla="*/ 56 w 192"/>
                <a:gd name="T69" fmla="*/ 290 h 477"/>
                <a:gd name="T70" fmla="*/ 56 w 192"/>
                <a:gd name="T71" fmla="*/ 312 h 477"/>
                <a:gd name="T72" fmla="*/ 64 w 192"/>
                <a:gd name="T73" fmla="*/ 273 h 477"/>
                <a:gd name="T74" fmla="*/ 64 w 192"/>
                <a:gd name="T75" fmla="*/ 326 h 477"/>
                <a:gd name="T76" fmla="*/ 67 w 192"/>
                <a:gd name="T77" fmla="*/ 357 h 477"/>
                <a:gd name="T78" fmla="*/ 73 w 192"/>
                <a:gd name="T79" fmla="*/ 338 h 477"/>
                <a:gd name="T80" fmla="*/ 70 w 192"/>
                <a:gd name="T81" fmla="*/ 307 h 477"/>
                <a:gd name="T82" fmla="*/ 76 w 192"/>
                <a:gd name="T83" fmla="*/ 388 h 477"/>
                <a:gd name="T84" fmla="*/ 81 w 192"/>
                <a:gd name="T85" fmla="*/ 383 h 477"/>
                <a:gd name="T86" fmla="*/ 87 w 192"/>
                <a:gd name="T87" fmla="*/ 400 h 477"/>
                <a:gd name="T88" fmla="*/ 87 w 192"/>
                <a:gd name="T89" fmla="*/ 439 h 477"/>
                <a:gd name="T90" fmla="*/ 90 w 192"/>
                <a:gd name="T91" fmla="*/ 40 h 477"/>
                <a:gd name="T92" fmla="*/ 104 w 192"/>
                <a:gd name="T93" fmla="*/ 434 h 477"/>
                <a:gd name="T94" fmla="*/ 101 w 192"/>
                <a:gd name="T95" fmla="*/ 445 h 477"/>
                <a:gd name="T96" fmla="*/ 107 w 192"/>
                <a:gd name="T97" fmla="*/ 51 h 477"/>
                <a:gd name="T98" fmla="*/ 107 w 192"/>
                <a:gd name="T99" fmla="*/ 450 h 477"/>
                <a:gd name="T100" fmla="*/ 115 w 192"/>
                <a:gd name="T101" fmla="*/ 439 h 477"/>
                <a:gd name="T102" fmla="*/ 115 w 192"/>
                <a:gd name="T103" fmla="*/ 450 h 477"/>
                <a:gd name="T104" fmla="*/ 132 w 192"/>
                <a:gd name="T105" fmla="*/ 450 h 477"/>
                <a:gd name="T106" fmla="*/ 149 w 192"/>
                <a:gd name="T107" fmla="*/ 428 h 477"/>
                <a:gd name="T108" fmla="*/ 155 w 192"/>
                <a:gd name="T109" fmla="*/ 355 h 477"/>
                <a:gd name="T110" fmla="*/ 160 w 192"/>
                <a:gd name="T111" fmla="*/ 391 h 477"/>
                <a:gd name="T112" fmla="*/ 160 w 192"/>
                <a:gd name="T113" fmla="*/ 434 h 477"/>
                <a:gd name="T114" fmla="*/ 158 w 192"/>
                <a:gd name="T115" fmla="*/ 366 h 477"/>
                <a:gd name="T116" fmla="*/ 172 w 192"/>
                <a:gd name="T117" fmla="*/ 411 h 477"/>
                <a:gd name="T118" fmla="*/ 163 w 192"/>
                <a:gd name="T119" fmla="*/ 394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2" h="477">
                  <a:moveTo>
                    <a:pt x="177" y="321"/>
                  </a:moveTo>
                  <a:cubicBezTo>
                    <a:pt x="180" y="321"/>
                    <a:pt x="180" y="324"/>
                    <a:pt x="180" y="326"/>
                  </a:cubicBezTo>
                  <a:cubicBezTo>
                    <a:pt x="177" y="329"/>
                    <a:pt x="177" y="332"/>
                    <a:pt x="180" y="338"/>
                  </a:cubicBezTo>
                  <a:cubicBezTo>
                    <a:pt x="180" y="340"/>
                    <a:pt x="183" y="343"/>
                    <a:pt x="183" y="349"/>
                  </a:cubicBezTo>
                  <a:cubicBezTo>
                    <a:pt x="183" y="355"/>
                    <a:pt x="183" y="357"/>
                    <a:pt x="186" y="363"/>
                  </a:cubicBezTo>
                  <a:lnTo>
                    <a:pt x="186" y="377"/>
                  </a:lnTo>
                  <a:cubicBezTo>
                    <a:pt x="186" y="383"/>
                    <a:pt x="186" y="386"/>
                    <a:pt x="189" y="391"/>
                  </a:cubicBezTo>
                  <a:cubicBezTo>
                    <a:pt x="191" y="400"/>
                    <a:pt x="191" y="411"/>
                    <a:pt x="191" y="422"/>
                  </a:cubicBezTo>
                  <a:cubicBezTo>
                    <a:pt x="191" y="428"/>
                    <a:pt x="189" y="434"/>
                    <a:pt x="186" y="436"/>
                  </a:cubicBezTo>
                  <a:cubicBezTo>
                    <a:pt x="186" y="439"/>
                    <a:pt x="183" y="439"/>
                    <a:pt x="183" y="442"/>
                  </a:cubicBezTo>
                  <a:cubicBezTo>
                    <a:pt x="183" y="445"/>
                    <a:pt x="180" y="448"/>
                    <a:pt x="180" y="448"/>
                  </a:cubicBezTo>
                  <a:cubicBezTo>
                    <a:pt x="177" y="453"/>
                    <a:pt x="174" y="456"/>
                    <a:pt x="169" y="462"/>
                  </a:cubicBezTo>
                  <a:cubicBezTo>
                    <a:pt x="163" y="465"/>
                    <a:pt x="160" y="467"/>
                    <a:pt x="155" y="473"/>
                  </a:cubicBezTo>
                  <a:lnTo>
                    <a:pt x="149" y="470"/>
                  </a:lnTo>
                  <a:cubicBezTo>
                    <a:pt x="146" y="470"/>
                    <a:pt x="146" y="473"/>
                    <a:pt x="143" y="473"/>
                  </a:cubicBezTo>
                  <a:lnTo>
                    <a:pt x="141" y="473"/>
                  </a:lnTo>
                  <a:lnTo>
                    <a:pt x="138" y="473"/>
                  </a:lnTo>
                  <a:cubicBezTo>
                    <a:pt x="135" y="476"/>
                    <a:pt x="129" y="476"/>
                    <a:pt x="127" y="473"/>
                  </a:cubicBezTo>
                  <a:lnTo>
                    <a:pt x="115" y="473"/>
                  </a:lnTo>
                  <a:cubicBezTo>
                    <a:pt x="107" y="473"/>
                    <a:pt x="98" y="473"/>
                    <a:pt x="90" y="470"/>
                  </a:cubicBezTo>
                  <a:cubicBezTo>
                    <a:pt x="81" y="467"/>
                    <a:pt x="76" y="462"/>
                    <a:pt x="70" y="456"/>
                  </a:cubicBezTo>
                  <a:cubicBezTo>
                    <a:pt x="62" y="448"/>
                    <a:pt x="56" y="436"/>
                    <a:pt x="56" y="422"/>
                  </a:cubicBezTo>
                  <a:cubicBezTo>
                    <a:pt x="56" y="417"/>
                    <a:pt x="56" y="411"/>
                    <a:pt x="53" y="405"/>
                  </a:cubicBezTo>
                  <a:cubicBezTo>
                    <a:pt x="50" y="403"/>
                    <a:pt x="50" y="400"/>
                    <a:pt x="50" y="397"/>
                  </a:cubicBezTo>
                  <a:cubicBezTo>
                    <a:pt x="50" y="394"/>
                    <a:pt x="48" y="391"/>
                    <a:pt x="48" y="388"/>
                  </a:cubicBezTo>
                  <a:lnTo>
                    <a:pt x="48" y="380"/>
                  </a:lnTo>
                  <a:lnTo>
                    <a:pt x="48" y="371"/>
                  </a:lnTo>
                  <a:lnTo>
                    <a:pt x="48" y="360"/>
                  </a:lnTo>
                  <a:cubicBezTo>
                    <a:pt x="45" y="355"/>
                    <a:pt x="42" y="349"/>
                    <a:pt x="42" y="343"/>
                  </a:cubicBezTo>
                  <a:cubicBezTo>
                    <a:pt x="42" y="338"/>
                    <a:pt x="42" y="332"/>
                    <a:pt x="39" y="326"/>
                  </a:cubicBezTo>
                  <a:cubicBezTo>
                    <a:pt x="39" y="324"/>
                    <a:pt x="42" y="318"/>
                    <a:pt x="39" y="315"/>
                  </a:cubicBezTo>
                  <a:cubicBezTo>
                    <a:pt x="36" y="307"/>
                    <a:pt x="33" y="298"/>
                    <a:pt x="31" y="287"/>
                  </a:cubicBezTo>
                  <a:cubicBezTo>
                    <a:pt x="28" y="281"/>
                    <a:pt x="28" y="276"/>
                    <a:pt x="31" y="270"/>
                  </a:cubicBezTo>
                  <a:cubicBezTo>
                    <a:pt x="31" y="264"/>
                    <a:pt x="31" y="259"/>
                    <a:pt x="28" y="253"/>
                  </a:cubicBezTo>
                  <a:lnTo>
                    <a:pt x="28" y="245"/>
                  </a:lnTo>
                  <a:cubicBezTo>
                    <a:pt x="28" y="242"/>
                    <a:pt x="25" y="239"/>
                    <a:pt x="25" y="236"/>
                  </a:cubicBezTo>
                  <a:cubicBezTo>
                    <a:pt x="25" y="236"/>
                    <a:pt x="22" y="233"/>
                    <a:pt x="25" y="233"/>
                  </a:cubicBezTo>
                  <a:lnTo>
                    <a:pt x="25" y="230"/>
                  </a:lnTo>
                  <a:cubicBezTo>
                    <a:pt x="25" y="228"/>
                    <a:pt x="22" y="222"/>
                    <a:pt x="22" y="219"/>
                  </a:cubicBezTo>
                  <a:cubicBezTo>
                    <a:pt x="22" y="216"/>
                    <a:pt x="22" y="211"/>
                    <a:pt x="19" y="208"/>
                  </a:cubicBezTo>
                  <a:lnTo>
                    <a:pt x="16" y="205"/>
                  </a:lnTo>
                  <a:lnTo>
                    <a:pt x="16" y="202"/>
                  </a:lnTo>
                  <a:cubicBezTo>
                    <a:pt x="19" y="199"/>
                    <a:pt x="19" y="197"/>
                    <a:pt x="16" y="191"/>
                  </a:cubicBezTo>
                  <a:lnTo>
                    <a:pt x="16" y="184"/>
                  </a:lnTo>
                  <a:cubicBezTo>
                    <a:pt x="16" y="181"/>
                    <a:pt x="16" y="181"/>
                    <a:pt x="14" y="178"/>
                  </a:cubicBezTo>
                  <a:cubicBezTo>
                    <a:pt x="11" y="174"/>
                    <a:pt x="8" y="169"/>
                    <a:pt x="11" y="164"/>
                  </a:cubicBezTo>
                  <a:lnTo>
                    <a:pt x="11" y="155"/>
                  </a:lnTo>
                  <a:lnTo>
                    <a:pt x="11" y="150"/>
                  </a:lnTo>
                  <a:cubicBezTo>
                    <a:pt x="11" y="147"/>
                    <a:pt x="11" y="147"/>
                    <a:pt x="8" y="144"/>
                  </a:cubicBezTo>
                  <a:cubicBezTo>
                    <a:pt x="8" y="141"/>
                    <a:pt x="5" y="138"/>
                    <a:pt x="5" y="136"/>
                  </a:cubicBezTo>
                  <a:lnTo>
                    <a:pt x="5" y="130"/>
                  </a:lnTo>
                  <a:lnTo>
                    <a:pt x="5" y="127"/>
                  </a:lnTo>
                  <a:lnTo>
                    <a:pt x="5" y="121"/>
                  </a:lnTo>
                  <a:cubicBezTo>
                    <a:pt x="5" y="119"/>
                    <a:pt x="5" y="119"/>
                    <a:pt x="2" y="116"/>
                  </a:cubicBezTo>
                  <a:cubicBezTo>
                    <a:pt x="2" y="116"/>
                    <a:pt x="0" y="113"/>
                    <a:pt x="2" y="113"/>
                  </a:cubicBezTo>
                  <a:lnTo>
                    <a:pt x="2" y="99"/>
                  </a:lnTo>
                  <a:cubicBezTo>
                    <a:pt x="0" y="88"/>
                    <a:pt x="0" y="76"/>
                    <a:pt x="0" y="65"/>
                  </a:cubicBezTo>
                  <a:cubicBezTo>
                    <a:pt x="0" y="59"/>
                    <a:pt x="0" y="54"/>
                    <a:pt x="2" y="48"/>
                  </a:cubicBezTo>
                  <a:cubicBezTo>
                    <a:pt x="5" y="31"/>
                    <a:pt x="16" y="17"/>
                    <a:pt x="33" y="9"/>
                  </a:cubicBezTo>
                  <a:cubicBezTo>
                    <a:pt x="36" y="6"/>
                    <a:pt x="42" y="6"/>
                    <a:pt x="45" y="3"/>
                  </a:cubicBezTo>
                  <a:cubicBezTo>
                    <a:pt x="48" y="0"/>
                    <a:pt x="50" y="0"/>
                    <a:pt x="56" y="0"/>
                  </a:cubicBezTo>
                  <a:lnTo>
                    <a:pt x="70" y="0"/>
                  </a:lnTo>
                  <a:lnTo>
                    <a:pt x="81" y="0"/>
                  </a:lnTo>
                  <a:cubicBezTo>
                    <a:pt x="90" y="3"/>
                    <a:pt x="98" y="6"/>
                    <a:pt x="104" y="11"/>
                  </a:cubicBezTo>
                  <a:cubicBezTo>
                    <a:pt x="104" y="11"/>
                    <a:pt x="107" y="11"/>
                    <a:pt x="107" y="14"/>
                  </a:cubicBezTo>
                  <a:lnTo>
                    <a:pt x="110" y="17"/>
                  </a:lnTo>
                  <a:cubicBezTo>
                    <a:pt x="112" y="23"/>
                    <a:pt x="115" y="25"/>
                    <a:pt x="118" y="28"/>
                  </a:cubicBezTo>
                  <a:cubicBezTo>
                    <a:pt x="121" y="30"/>
                    <a:pt x="127" y="37"/>
                    <a:pt x="127" y="40"/>
                  </a:cubicBezTo>
                  <a:cubicBezTo>
                    <a:pt x="129" y="45"/>
                    <a:pt x="129" y="51"/>
                    <a:pt x="129" y="57"/>
                  </a:cubicBezTo>
                  <a:cubicBezTo>
                    <a:pt x="129" y="59"/>
                    <a:pt x="132" y="62"/>
                    <a:pt x="135" y="65"/>
                  </a:cubicBezTo>
                  <a:cubicBezTo>
                    <a:pt x="135" y="71"/>
                    <a:pt x="135" y="73"/>
                    <a:pt x="138" y="79"/>
                  </a:cubicBezTo>
                  <a:cubicBezTo>
                    <a:pt x="141" y="82"/>
                    <a:pt x="141" y="88"/>
                    <a:pt x="141" y="93"/>
                  </a:cubicBezTo>
                  <a:lnTo>
                    <a:pt x="141" y="99"/>
                  </a:lnTo>
                  <a:lnTo>
                    <a:pt x="141" y="107"/>
                  </a:lnTo>
                  <a:cubicBezTo>
                    <a:pt x="141" y="113"/>
                    <a:pt x="143" y="119"/>
                    <a:pt x="146" y="121"/>
                  </a:cubicBezTo>
                  <a:cubicBezTo>
                    <a:pt x="146" y="124"/>
                    <a:pt x="149" y="127"/>
                    <a:pt x="149" y="127"/>
                  </a:cubicBezTo>
                  <a:cubicBezTo>
                    <a:pt x="149" y="130"/>
                    <a:pt x="149" y="133"/>
                    <a:pt x="152" y="133"/>
                  </a:cubicBezTo>
                  <a:cubicBezTo>
                    <a:pt x="155" y="136"/>
                    <a:pt x="155" y="138"/>
                    <a:pt x="155" y="141"/>
                  </a:cubicBezTo>
                  <a:cubicBezTo>
                    <a:pt x="152" y="144"/>
                    <a:pt x="152" y="147"/>
                    <a:pt x="155" y="150"/>
                  </a:cubicBezTo>
                  <a:cubicBezTo>
                    <a:pt x="158" y="155"/>
                    <a:pt x="155" y="161"/>
                    <a:pt x="149" y="164"/>
                  </a:cubicBezTo>
                  <a:cubicBezTo>
                    <a:pt x="146" y="167"/>
                    <a:pt x="143" y="167"/>
                    <a:pt x="141" y="167"/>
                  </a:cubicBezTo>
                  <a:lnTo>
                    <a:pt x="138" y="167"/>
                  </a:lnTo>
                  <a:cubicBezTo>
                    <a:pt x="135" y="169"/>
                    <a:pt x="132" y="172"/>
                    <a:pt x="127" y="169"/>
                  </a:cubicBezTo>
                  <a:lnTo>
                    <a:pt x="104" y="164"/>
                  </a:lnTo>
                  <a:cubicBezTo>
                    <a:pt x="101" y="164"/>
                    <a:pt x="101" y="161"/>
                    <a:pt x="101" y="161"/>
                  </a:cubicBezTo>
                  <a:lnTo>
                    <a:pt x="98" y="158"/>
                  </a:lnTo>
                  <a:lnTo>
                    <a:pt x="98" y="152"/>
                  </a:lnTo>
                  <a:lnTo>
                    <a:pt x="98" y="144"/>
                  </a:lnTo>
                  <a:lnTo>
                    <a:pt x="98" y="136"/>
                  </a:lnTo>
                  <a:lnTo>
                    <a:pt x="98" y="133"/>
                  </a:lnTo>
                  <a:cubicBezTo>
                    <a:pt x="95" y="127"/>
                    <a:pt x="93" y="124"/>
                    <a:pt x="93" y="119"/>
                  </a:cubicBezTo>
                  <a:cubicBezTo>
                    <a:pt x="93" y="113"/>
                    <a:pt x="93" y="110"/>
                    <a:pt x="90" y="105"/>
                  </a:cubicBezTo>
                  <a:lnTo>
                    <a:pt x="90" y="99"/>
                  </a:lnTo>
                  <a:lnTo>
                    <a:pt x="90" y="93"/>
                  </a:lnTo>
                  <a:cubicBezTo>
                    <a:pt x="87" y="90"/>
                    <a:pt x="87" y="88"/>
                    <a:pt x="87" y="82"/>
                  </a:cubicBezTo>
                  <a:cubicBezTo>
                    <a:pt x="87" y="79"/>
                    <a:pt x="87" y="73"/>
                    <a:pt x="84" y="71"/>
                  </a:cubicBezTo>
                  <a:cubicBezTo>
                    <a:pt x="81" y="68"/>
                    <a:pt x="79" y="65"/>
                    <a:pt x="79" y="62"/>
                  </a:cubicBezTo>
                  <a:cubicBezTo>
                    <a:pt x="76" y="59"/>
                    <a:pt x="73" y="57"/>
                    <a:pt x="70" y="57"/>
                  </a:cubicBezTo>
                  <a:cubicBezTo>
                    <a:pt x="62" y="57"/>
                    <a:pt x="56" y="59"/>
                    <a:pt x="53" y="68"/>
                  </a:cubicBezTo>
                  <a:lnTo>
                    <a:pt x="53" y="79"/>
                  </a:lnTo>
                  <a:lnTo>
                    <a:pt x="53" y="88"/>
                  </a:lnTo>
                  <a:lnTo>
                    <a:pt x="53" y="99"/>
                  </a:lnTo>
                  <a:lnTo>
                    <a:pt x="53" y="105"/>
                  </a:lnTo>
                  <a:cubicBezTo>
                    <a:pt x="50" y="107"/>
                    <a:pt x="53" y="110"/>
                    <a:pt x="56" y="110"/>
                  </a:cubicBezTo>
                  <a:cubicBezTo>
                    <a:pt x="56" y="113"/>
                    <a:pt x="59" y="116"/>
                    <a:pt x="59" y="119"/>
                  </a:cubicBezTo>
                  <a:lnTo>
                    <a:pt x="59" y="127"/>
                  </a:lnTo>
                  <a:lnTo>
                    <a:pt x="59" y="133"/>
                  </a:lnTo>
                  <a:lnTo>
                    <a:pt x="59" y="136"/>
                  </a:lnTo>
                  <a:cubicBezTo>
                    <a:pt x="62" y="138"/>
                    <a:pt x="64" y="144"/>
                    <a:pt x="64" y="150"/>
                  </a:cubicBezTo>
                  <a:cubicBezTo>
                    <a:pt x="64" y="155"/>
                    <a:pt x="64" y="161"/>
                    <a:pt x="67" y="164"/>
                  </a:cubicBezTo>
                  <a:lnTo>
                    <a:pt x="67" y="169"/>
                  </a:lnTo>
                  <a:lnTo>
                    <a:pt x="67" y="181"/>
                  </a:lnTo>
                  <a:lnTo>
                    <a:pt x="70" y="183"/>
                  </a:lnTo>
                  <a:lnTo>
                    <a:pt x="70" y="188"/>
                  </a:lnTo>
                  <a:cubicBezTo>
                    <a:pt x="70" y="194"/>
                    <a:pt x="70" y="199"/>
                    <a:pt x="73" y="202"/>
                  </a:cubicBezTo>
                  <a:cubicBezTo>
                    <a:pt x="76" y="208"/>
                    <a:pt x="76" y="214"/>
                    <a:pt x="76" y="219"/>
                  </a:cubicBezTo>
                  <a:cubicBezTo>
                    <a:pt x="76" y="222"/>
                    <a:pt x="76" y="225"/>
                    <a:pt x="79" y="228"/>
                  </a:cubicBezTo>
                  <a:cubicBezTo>
                    <a:pt x="79" y="230"/>
                    <a:pt x="81" y="233"/>
                    <a:pt x="81" y="239"/>
                  </a:cubicBezTo>
                  <a:cubicBezTo>
                    <a:pt x="81" y="242"/>
                    <a:pt x="81" y="245"/>
                    <a:pt x="84" y="245"/>
                  </a:cubicBezTo>
                  <a:cubicBezTo>
                    <a:pt x="84" y="245"/>
                    <a:pt x="84" y="247"/>
                    <a:pt x="87" y="250"/>
                  </a:cubicBezTo>
                  <a:lnTo>
                    <a:pt x="87" y="261"/>
                  </a:lnTo>
                  <a:lnTo>
                    <a:pt x="87" y="267"/>
                  </a:lnTo>
                  <a:lnTo>
                    <a:pt x="87" y="273"/>
                  </a:lnTo>
                  <a:cubicBezTo>
                    <a:pt x="84" y="276"/>
                    <a:pt x="87" y="278"/>
                    <a:pt x="87" y="278"/>
                  </a:cubicBezTo>
                  <a:cubicBezTo>
                    <a:pt x="90" y="281"/>
                    <a:pt x="90" y="281"/>
                    <a:pt x="90" y="284"/>
                  </a:cubicBezTo>
                  <a:lnTo>
                    <a:pt x="90" y="290"/>
                  </a:lnTo>
                  <a:lnTo>
                    <a:pt x="98" y="326"/>
                  </a:lnTo>
                  <a:cubicBezTo>
                    <a:pt x="98" y="329"/>
                    <a:pt x="98" y="329"/>
                    <a:pt x="101" y="332"/>
                  </a:cubicBezTo>
                  <a:cubicBezTo>
                    <a:pt x="101" y="335"/>
                    <a:pt x="101" y="338"/>
                    <a:pt x="98" y="338"/>
                  </a:cubicBezTo>
                  <a:lnTo>
                    <a:pt x="98" y="343"/>
                  </a:lnTo>
                  <a:cubicBezTo>
                    <a:pt x="104" y="352"/>
                    <a:pt x="107" y="363"/>
                    <a:pt x="104" y="371"/>
                  </a:cubicBezTo>
                  <a:cubicBezTo>
                    <a:pt x="104" y="374"/>
                    <a:pt x="107" y="377"/>
                    <a:pt x="107" y="380"/>
                  </a:cubicBezTo>
                  <a:cubicBezTo>
                    <a:pt x="107" y="383"/>
                    <a:pt x="107" y="388"/>
                    <a:pt x="110" y="391"/>
                  </a:cubicBezTo>
                  <a:cubicBezTo>
                    <a:pt x="110" y="391"/>
                    <a:pt x="112" y="394"/>
                    <a:pt x="112" y="397"/>
                  </a:cubicBezTo>
                  <a:cubicBezTo>
                    <a:pt x="112" y="403"/>
                    <a:pt x="115" y="405"/>
                    <a:pt x="118" y="408"/>
                  </a:cubicBezTo>
                  <a:cubicBezTo>
                    <a:pt x="121" y="408"/>
                    <a:pt x="121" y="411"/>
                    <a:pt x="124" y="411"/>
                  </a:cubicBezTo>
                  <a:lnTo>
                    <a:pt x="127" y="411"/>
                  </a:lnTo>
                  <a:lnTo>
                    <a:pt x="129" y="411"/>
                  </a:lnTo>
                  <a:lnTo>
                    <a:pt x="138" y="408"/>
                  </a:lnTo>
                  <a:cubicBezTo>
                    <a:pt x="141" y="403"/>
                    <a:pt x="143" y="394"/>
                    <a:pt x="141" y="388"/>
                  </a:cubicBezTo>
                  <a:lnTo>
                    <a:pt x="132" y="332"/>
                  </a:lnTo>
                  <a:lnTo>
                    <a:pt x="132" y="326"/>
                  </a:lnTo>
                  <a:lnTo>
                    <a:pt x="132" y="321"/>
                  </a:lnTo>
                  <a:lnTo>
                    <a:pt x="132" y="318"/>
                  </a:lnTo>
                  <a:cubicBezTo>
                    <a:pt x="132" y="315"/>
                    <a:pt x="132" y="315"/>
                    <a:pt x="129" y="312"/>
                  </a:cubicBezTo>
                  <a:cubicBezTo>
                    <a:pt x="127" y="312"/>
                    <a:pt x="127" y="309"/>
                    <a:pt x="127" y="307"/>
                  </a:cubicBezTo>
                  <a:lnTo>
                    <a:pt x="127" y="301"/>
                  </a:lnTo>
                  <a:lnTo>
                    <a:pt x="127" y="295"/>
                  </a:lnTo>
                  <a:lnTo>
                    <a:pt x="129" y="293"/>
                  </a:lnTo>
                  <a:lnTo>
                    <a:pt x="132" y="290"/>
                  </a:lnTo>
                  <a:cubicBezTo>
                    <a:pt x="135" y="290"/>
                    <a:pt x="135" y="290"/>
                    <a:pt x="138" y="287"/>
                  </a:cubicBezTo>
                  <a:cubicBezTo>
                    <a:pt x="141" y="287"/>
                    <a:pt x="143" y="284"/>
                    <a:pt x="143" y="284"/>
                  </a:cubicBezTo>
                  <a:cubicBezTo>
                    <a:pt x="152" y="281"/>
                    <a:pt x="160" y="281"/>
                    <a:pt x="166" y="287"/>
                  </a:cubicBezTo>
                  <a:lnTo>
                    <a:pt x="172" y="293"/>
                  </a:lnTo>
                  <a:cubicBezTo>
                    <a:pt x="172" y="295"/>
                    <a:pt x="174" y="298"/>
                    <a:pt x="174" y="301"/>
                  </a:cubicBezTo>
                  <a:cubicBezTo>
                    <a:pt x="174" y="315"/>
                    <a:pt x="177" y="318"/>
                    <a:pt x="177" y="321"/>
                  </a:cubicBezTo>
                  <a:close/>
                  <a:moveTo>
                    <a:pt x="14" y="79"/>
                  </a:moveTo>
                  <a:lnTo>
                    <a:pt x="19" y="79"/>
                  </a:lnTo>
                  <a:cubicBezTo>
                    <a:pt x="22" y="79"/>
                    <a:pt x="25" y="76"/>
                    <a:pt x="25" y="76"/>
                  </a:cubicBezTo>
                  <a:cubicBezTo>
                    <a:pt x="28" y="76"/>
                    <a:pt x="31" y="73"/>
                    <a:pt x="33" y="73"/>
                  </a:cubicBezTo>
                  <a:lnTo>
                    <a:pt x="28" y="73"/>
                  </a:lnTo>
                  <a:cubicBezTo>
                    <a:pt x="28" y="73"/>
                    <a:pt x="25" y="73"/>
                    <a:pt x="25" y="71"/>
                  </a:cubicBezTo>
                  <a:lnTo>
                    <a:pt x="22" y="73"/>
                  </a:lnTo>
                  <a:cubicBezTo>
                    <a:pt x="22" y="76"/>
                    <a:pt x="19" y="76"/>
                    <a:pt x="19" y="76"/>
                  </a:cubicBezTo>
                  <a:cubicBezTo>
                    <a:pt x="19" y="76"/>
                    <a:pt x="14" y="76"/>
                    <a:pt x="14" y="79"/>
                  </a:cubicBezTo>
                  <a:close/>
                  <a:moveTo>
                    <a:pt x="19" y="71"/>
                  </a:moveTo>
                  <a:lnTo>
                    <a:pt x="25" y="68"/>
                  </a:lnTo>
                  <a:cubicBezTo>
                    <a:pt x="22" y="68"/>
                    <a:pt x="22" y="65"/>
                    <a:pt x="19" y="65"/>
                  </a:cubicBezTo>
                  <a:lnTo>
                    <a:pt x="19" y="71"/>
                  </a:lnTo>
                  <a:close/>
                  <a:moveTo>
                    <a:pt x="16" y="54"/>
                  </a:moveTo>
                  <a:cubicBezTo>
                    <a:pt x="19" y="54"/>
                    <a:pt x="22" y="57"/>
                    <a:pt x="25" y="57"/>
                  </a:cubicBezTo>
                  <a:cubicBezTo>
                    <a:pt x="25" y="54"/>
                    <a:pt x="25" y="54"/>
                    <a:pt x="28" y="51"/>
                  </a:cubicBezTo>
                  <a:cubicBezTo>
                    <a:pt x="28" y="48"/>
                    <a:pt x="31" y="48"/>
                    <a:pt x="31" y="45"/>
                  </a:cubicBezTo>
                  <a:lnTo>
                    <a:pt x="25" y="48"/>
                  </a:lnTo>
                  <a:lnTo>
                    <a:pt x="16" y="54"/>
                  </a:lnTo>
                  <a:close/>
                  <a:moveTo>
                    <a:pt x="33" y="59"/>
                  </a:moveTo>
                  <a:cubicBezTo>
                    <a:pt x="33" y="57"/>
                    <a:pt x="36" y="57"/>
                    <a:pt x="36" y="54"/>
                  </a:cubicBezTo>
                  <a:lnTo>
                    <a:pt x="25" y="62"/>
                  </a:lnTo>
                  <a:lnTo>
                    <a:pt x="28" y="65"/>
                  </a:lnTo>
                  <a:lnTo>
                    <a:pt x="28" y="62"/>
                  </a:lnTo>
                  <a:cubicBezTo>
                    <a:pt x="31" y="65"/>
                    <a:pt x="31" y="68"/>
                    <a:pt x="33" y="68"/>
                  </a:cubicBezTo>
                  <a:lnTo>
                    <a:pt x="36" y="68"/>
                  </a:lnTo>
                  <a:lnTo>
                    <a:pt x="33" y="59"/>
                  </a:lnTo>
                  <a:close/>
                  <a:moveTo>
                    <a:pt x="31" y="124"/>
                  </a:moveTo>
                  <a:lnTo>
                    <a:pt x="31" y="121"/>
                  </a:lnTo>
                  <a:lnTo>
                    <a:pt x="28" y="121"/>
                  </a:lnTo>
                  <a:lnTo>
                    <a:pt x="28" y="127"/>
                  </a:lnTo>
                  <a:lnTo>
                    <a:pt x="28" y="133"/>
                  </a:lnTo>
                  <a:cubicBezTo>
                    <a:pt x="28" y="130"/>
                    <a:pt x="31" y="127"/>
                    <a:pt x="31" y="124"/>
                  </a:cubicBezTo>
                  <a:close/>
                  <a:moveTo>
                    <a:pt x="31" y="107"/>
                  </a:moveTo>
                  <a:cubicBezTo>
                    <a:pt x="31" y="107"/>
                    <a:pt x="33" y="107"/>
                    <a:pt x="33" y="105"/>
                  </a:cubicBezTo>
                  <a:lnTo>
                    <a:pt x="31" y="102"/>
                  </a:lnTo>
                  <a:lnTo>
                    <a:pt x="25" y="107"/>
                  </a:lnTo>
                  <a:lnTo>
                    <a:pt x="28" y="107"/>
                  </a:lnTo>
                  <a:lnTo>
                    <a:pt x="31" y="107"/>
                  </a:lnTo>
                  <a:close/>
                  <a:moveTo>
                    <a:pt x="36" y="169"/>
                  </a:moveTo>
                  <a:lnTo>
                    <a:pt x="39" y="175"/>
                  </a:lnTo>
                  <a:cubicBezTo>
                    <a:pt x="39" y="172"/>
                    <a:pt x="39" y="169"/>
                    <a:pt x="36" y="169"/>
                  </a:cubicBezTo>
                  <a:cubicBezTo>
                    <a:pt x="36" y="169"/>
                    <a:pt x="38" y="168"/>
                    <a:pt x="37" y="165"/>
                  </a:cubicBezTo>
                  <a:lnTo>
                    <a:pt x="36" y="167"/>
                  </a:lnTo>
                  <a:lnTo>
                    <a:pt x="33" y="167"/>
                  </a:lnTo>
                  <a:lnTo>
                    <a:pt x="31" y="167"/>
                  </a:lnTo>
                  <a:cubicBezTo>
                    <a:pt x="31" y="169"/>
                    <a:pt x="33" y="169"/>
                    <a:pt x="36" y="169"/>
                  </a:cubicBezTo>
                  <a:close/>
                  <a:moveTo>
                    <a:pt x="42" y="155"/>
                  </a:moveTo>
                  <a:lnTo>
                    <a:pt x="36" y="157"/>
                  </a:lnTo>
                  <a:cubicBezTo>
                    <a:pt x="37" y="158"/>
                    <a:pt x="38" y="158"/>
                    <a:pt x="39" y="158"/>
                  </a:cubicBezTo>
                  <a:lnTo>
                    <a:pt x="39" y="161"/>
                  </a:lnTo>
                  <a:lnTo>
                    <a:pt x="42" y="155"/>
                  </a:lnTo>
                  <a:close/>
                  <a:moveTo>
                    <a:pt x="36" y="155"/>
                  </a:moveTo>
                  <a:cubicBezTo>
                    <a:pt x="39" y="155"/>
                    <a:pt x="41" y="153"/>
                    <a:pt x="42" y="150"/>
                  </a:cubicBezTo>
                  <a:cubicBezTo>
                    <a:pt x="40" y="151"/>
                    <a:pt x="39" y="152"/>
                    <a:pt x="39" y="152"/>
                  </a:cubicBezTo>
                  <a:lnTo>
                    <a:pt x="36" y="152"/>
                  </a:lnTo>
                  <a:lnTo>
                    <a:pt x="33" y="152"/>
                  </a:lnTo>
                  <a:cubicBezTo>
                    <a:pt x="33" y="154"/>
                    <a:pt x="34" y="155"/>
                    <a:pt x="35" y="156"/>
                  </a:cubicBezTo>
                  <a:cubicBezTo>
                    <a:pt x="35" y="155"/>
                    <a:pt x="36" y="155"/>
                    <a:pt x="36" y="155"/>
                  </a:cubicBezTo>
                  <a:close/>
                  <a:moveTo>
                    <a:pt x="31" y="144"/>
                  </a:moveTo>
                  <a:lnTo>
                    <a:pt x="28" y="144"/>
                  </a:lnTo>
                  <a:lnTo>
                    <a:pt x="33" y="150"/>
                  </a:lnTo>
                  <a:cubicBezTo>
                    <a:pt x="33" y="147"/>
                    <a:pt x="33" y="144"/>
                    <a:pt x="31" y="144"/>
                  </a:cubicBezTo>
                  <a:close/>
                  <a:moveTo>
                    <a:pt x="28" y="40"/>
                  </a:moveTo>
                  <a:cubicBezTo>
                    <a:pt x="31" y="40"/>
                    <a:pt x="31" y="40"/>
                    <a:pt x="33" y="37"/>
                  </a:cubicBezTo>
                  <a:cubicBezTo>
                    <a:pt x="39" y="42"/>
                    <a:pt x="39" y="42"/>
                    <a:pt x="45" y="40"/>
                  </a:cubicBezTo>
                  <a:lnTo>
                    <a:pt x="42" y="37"/>
                  </a:lnTo>
                  <a:cubicBezTo>
                    <a:pt x="42" y="37"/>
                    <a:pt x="39" y="37"/>
                    <a:pt x="39" y="34"/>
                  </a:cubicBezTo>
                  <a:lnTo>
                    <a:pt x="42" y="34"/>
                  </a:lnTo>
                  <a:lnTo>
                    <a:pt x="45" y="34"/>
                  </a:lnTo>
                  <a:lnTo>
                    <a:pt x="42" y="31"/>
                  </a:lnTo>
                  <a:lnTo>
                    <a:pt x="45" y="31"/>
                  </a:lnTo>
                  <a:lnTo>
                    <a:pt x="45" y="28"/>
                  </a:lnTo>
                  <a:lnTo>
                    <a:pt x="50" y="28"/>
                  </a:lnTo>
                  <a:cubicBezTo>
                    <a:pt x="48" y="37"/>
                    <a:pt x="50" y="40"/>
                    <a:pt x="53" y="40"/>
                  </a:cubicBezTo>
                  <a:lnTo>
                    <a:pt x="56" y="34"/>
                  </a:lnTo>
                  <a:lnTo>
                    <a:pt x="67" y="31"/>
                  </a:lnTo>
                  <a:lnTo>
                    <a:pt x="67" y="28"/>
                  </a:lnTo>
                  <a:lnTo>
                    <a:pt x="67" y="26"/>
                  </a:lnTo>
                  <a:cubicBezTo>
                    <a:pt x="67" y="31"/>
                    <a:pt x="73" y="37"/>
                    <a:pt x="76" y="40"/>
                  </a:cubicBezTo>
                  <a:lnTo>
                    <a:pt x="81" y="40"/>
                  </a:lnTo>
                  <a:cubicBezTo>
                    <a:pt x="79" y="37"/>
                    <a:pt x="76" y="37"/>
                    <a:pt x="73" y="34"/>
                  </a:cubicBezTo>
                  <a:cubicBezTo>
                    <a:pt x="76" y="31"/>
                    <a:pt x="73" y="28"/>
                    <a:pt x="70" y="26"/>
                  </a:cubicBezTo>
                  <a:cubicBezTo>
                    <a:pt x="70" y="23"/>
                    <a:pt x="67" y="23"/>
                    <a:pt x="67" y="20"/>
                  </a:cubicBezTo>
                  <a:cubicBezTo>
                    <a:pt x="64" y="23"/>
                    <a:pt x="62" y="23"/>
                    <a:pt x="59" y="23"/>
                  </a:cubicBezTo>
                  <a:lnTo>
                    <a:pt x="56" y="20"/>
                  </a:lnTo>
                  <a:lnTo>
                    <a:pt x="56" y="23"/>
                  </a:lnTo>
                  <a:lnTo>
                    <a:pt x="56" y="26"/>
                  </a:lnTo>
                  <a:cubicBezTo>
                    <a:pt x="56" y="23"/>
                    <a:pt x="53" y="23"/>
                    <a:pt x="53" y="23"/>
                  </a:cubicBezTo>
                  <a:cubicBezTo>
                    <a:pt x="50" y="23"/>
                    <a:pt x="50" y="20"/>
                    <a:pt x="48" y="20"/>
                  </a:cubicBezTo>
                  <a:lnTo>
                    <a:pt x="42" y="20"/>
                  </a:lnTo>
                  <a:cubicBezTo>
                    <a:pt x="42" y="24"/>
                    <a:pt x="40" y="27"/>
                    <a:pt x="40" y="29"/>
                  </a:cubicBezTo>
                  <a:cubicBezTo>
                    <a:pt x="39" y="30"/>
                    <a:pt x="39" y="30"/>
                    <a:pt x="39" y="31"/>
                  </a:cubicBezTo>
                  <a:lnTo>
                    <a:pt x="42" y="31"/>
                  </a:lnTo>
                  <a:lnTo>
                    <a:pt x="40" y="29"/>
                  </a:lnTo>
                  <a:cubicBezTo>
                    <a:pt x="40" y="29"/>
                    <a:pt x="40" y="29"/>
                    <a:pt x="39" y="28"/>
                  </a:cubicBezTo>
                  <a:lnTo>
                    <a:pt x="39" y="31"/>
                  </a:lnTo>
                  <a:lnTo>
                    <a:pt x="39" y="34"/>
                  </a:lnTo>
                  <a:cubicBezTo>
                    <a:pt x="36" y="34"/>
                    <a:pt x="36" y="34"/>
                    <a:pt x="33" y="31"/>
                  </a:cubicBezTo>
                  <a:cubicBezTo>
                    <a:pt x="31" y="31"/>
                    <a:pt x="31" y="31"/>
                    <a:pt x="28" y="34"/>
                  </a:cubicBezTo>
                  <a:lnTo>
                    <a:pt x="28" y="40"/>
                  </a:lnTo>
                  <a:close/>
                  <a:moveTo>
                    <a:pt x="36" y="45"/>
                  </a:moveTo>
                  <a:lnTo>
                    <a:pt x="33" y="40"/>
                  </a:lnTo>
                  <a:cubicBezTo>
                    <a:pt x="33" y="45"/>
                    <a:pt x="33" y="45"/>
                    <a:pt x="36" y="45"/>
                  </a:cubicBezTo>
                  <a:close/>
                  <a:moveTo>
                    <a:pt x="36" y="197"/>
                  </a:moveTo>
                  <a:lnTo>
                    <a:pt x="36" y="199"/>
                  </a:lnTo>
                  <a:lnTo>
                    <a:pt x="39" y="199"/>
                  </a:lnTo>
                  <a:lnTo>
                    <a:pt x="39" y="202"/>
                  </a:lnTo>
                  <a:lnTo>
                    <a:pt x="39" y="205"/>
                  </a:lnTo>
                  <a:cubicBezTo>
                    <a:pt x="39" y="205"/>
                    <a:pt x="39" y="208"/>
                    <a:pt x="42" y="208"/>
                  </a:cubicBezTo>
                  <a:lnTo>
                    <a:pt x="45" y="208"/>
                  </a:lnTo>
                  <a:lnTo>
                    <a:pt x="45" y="202"/>
                  </a:lnTo>
                  <a:lnTo>
                    <a:pt x="48" y="199"/>
                  </a:lnTo>
                  <a:lnTo>
                    <a:pt x="50" y="197"/>
                  </a:lnTo>
                  <a:cubicBezTo>
                    <a:pt x="48" y="197"/>
                    <a:pt x="48" y="194"/>
                    <a:pt x="45" y="194"/>
                  </a:cubicBezTo>
                  <a:lnTo>
                    <a:pt x="45" y="197"/>
                  </a:lnTo>
                  <a:lnTo>
                    <a:pt x="39" y="197"/>
                  </a:lnTo>
                  <a:lnTo>
                    <a:pt x="39" y="194"/>
                  </a:lnTo>
                  <a:lnTo>
                    <a:pt x="36" y="197"/>
                  </a:lnTo>
                  <a:close/>
                  <a:moveTo>
                    <a:pt x="48" y="194"/>
                  </a:moveTo>
                  <a:cubicBezTo>
                    <a:pt x="48" y="191"/>
                    <a:pt x="48" y="191"/>
                    <a:pt x="45" y="188"/>
                  </a:cubicBezTo>
                  <a:lnTo>
                    <a:pt x="42" y="188"/>
                  </a:lnTo>
                  <a:cubicBezTo>
                    <a:pt x="42" y="194"/>
                    <a:pt x="45" y="194"/>
                    <a:pt x="48" y="194"/>
                  </a:cubicBezTo>
                  <a:close/>
                  <a:moveTo>
                    <a:pt x="42" y="228"/>
                  </a:moveTo>
                  <a:cubicBezTo>
                    <a:pt x="48" y="228"/>
                    <a:pt x="50" y="225"/>
                    <a:pt x="53" y="222"/>
                  </a:cubicBezTo>
                  <a:lnTo>
                    <a:pt x="48" y="222"/>
                  </a:lnTo>
                  <a:lnTo>
                    <a:pt x="45" y="225"/>
                  </a:lnTo>
                  <a:cubicBezTo>
                    <a:pt x="45" y="225"/>
                    <a:pt x="42" y="225"/>
                    <a:pt x="42" y="228"/>
                  </a:cubicBezTo>
                  <a:close/>
                  <a:moveTo>
                    <a:pt x="45" y="211"/>
                  </a:moveTo>
                  <a:cubicBezTo>
                    <a:pt x="42" y="211"/>
                    <a:pt x="42" y="214"/>
                    <a:pt x="42" y="214"/>
                  </a:cubicBezTo>
                  <a:cubicBezTo>
                    <a:pt x="45" y="214"/>
                    <a:pt x="45" y="211"/>
                    <a:pt x="45" y="211"/>
                  </a:cubicBezTo>
                  <a:close/>
                  <a:moveTo>
                    <a:pt x="42" y="239"/>
                  </a:moveTo>
                  <a:lnTo>
                    <a:pt x="50" y="236"/>
                  </a:lnTo>
                  <a:lnTo>
                    <a:pt x="50" y="233"/>
                  </a:lnTo>
                  <a:lnTo>
                    <a:pt x="48" y="230"/>
                  </a:lnTo>
                  <a:lnTo>
                    <a:pt x="42" y="239"/>
                  </a:lnTo>
                  <a:close/>
                  <a:moveTo>
                    <a:pt x="50" y="245"/>
                  </a:moveTo>
                  <a:lnTo>
                    <a:pt x="50" y="239"/>
                  </a:lnTo>
                  <a:lnTo>
                    <a:pt x="45" y="239"/>
                  </a:lnTo>
                  <a:cubicBezTo>
                    <a:pt x="45" y="242"/>
                    <a:pt x="48" y="245"/>
                    <a:pt x="50" y="245"/>
                  </a:cubicBezTo>
                  <a:close/>
                  <a:moveTo>
                    <a:pt x="53" y="301"/>
                  </a:moveTo>
                  <a:lnTo>
                    <a:pt x="62" y="301"/>
                  </a:lnTo>
                  <a:cubicBezTo>
                    <a:pt x="59" y="298"/>
                    <a:pt x="56" y="298"/>
                    <a:pt x="56" y="298"/>
                  </a:cubicBezTo>
                  <a:lnTo>
                    <a:pt x="53" y="301"/>
                  </a:lnTo>
                  <a:close/>
                  <a:moveTo>
                    <a:pt x="53" y="281"/>
                  </a:moveTo>
                  <a:lnTo>
                    <a:pt x="56" y="281"/>
                  </a:lnTo>
                  <a:lnTo>
                    <a:pt x="59" y="281"/>
                  </a:lnTo>
                  <a:cubicBezTo>
                    <a:pt x="59" y="278"/>
                    <a:pt x="56" y="273"/>
                    <a:pt x="56" y="270"/>
                  </a:cubicBezTo>
                  <a:cubicBezTo>
                    <a:pt x="56" y="273"/>
                    <a:pt x="56" y="273"/>
                    <a:pt x="53" y="276"/>
                  </a:cubicBezTo>
                  <a:lnTo>
                    <a:pt x="53" y="281"/>
                  </a:lnTo>
                  <a:close/>
                  <a:moveTo>
                    <a:pt x="59" y="267"/>
                  </a:moveTo>
                  <a:lnTo>
                    <a:pt x="59" y="264"/>
                  </a:lnTo>
                  <a:lnTo>
                    <a:pt x="56" y="264"/>
                  </a:lnTo>
                  <a:lnTo>
                    <a:pt x="56" y="267"/>
                  </a:lnTo>
                  <a:cubicBezTo>
                    <a:pt x="56" y="270"/>
                    <a:pt x="59" y="270"/>
                    <a:pt x="59" y="267"/>
                  </a:cubicBezTo>
                  <a:close/>
                  <a:moveTo>
                    <a:pt x="62" y="293"/>
                  </a:moveTo>
                  <a:lnTo>
                    <a:pt x="62" y="290"/>
                  </a:lnTo>
                  <a:lnTo>
                    <a:pt x="59" y="290"/>
                  </a:lnTo>
                  <a:lnTo>
                    <a:pt x="56" y="290"/>
                  </a:lnTo>
                  <a:lnTo>
                    <a:pt x="62" y="293"/>
                  </a:lnTo>
                  <a:close/>
                  <a:moveTo>
                    <a:pt x="62" y="284"/>
                  </a:moveTo>
                  <a:lnTo>
                    <a:pt x="59" y="284"/>
                  </a:lnTo>
                  <a:lnTo>
                    <a:pt x="59" y="287"/>
                  </a:lnTo>
                  <a:lnTo>
                    <a:pt x="59" y="290"/>
                  </a:lnTo>
                  <a:cubicBezTo>
                    <a:pt x="59" y="290"/>
                    <a:pt x="59" y="287"/>
                    <a:pt x="62" y="287"/>
                  </a:cubicBezTo>
                  <a:lnTo>
                    <a:pt x="62" y="284"/>
                  </a:lnTo>
                  <a:close/>
                  <a:moveTo>
                    <a:pt x="62" y="304"/>
                  </a:moveTo>
                  <a:cubicBezTo>
                    <a:pt x="56" y="307"/>
                    <a:pt x="56" y="309"/>
                    <a:pt x="56" y="312"/>
                  </a:cubicBezTo>
                  <a:cubicBezTo>
                    <a:pt x="59" y="312"/>
                    <a:pt x="59" y="309"/>
                    <a:pt x="62" y="309"/>
                  </a:cubicBezTo>
                  <a:lnTo>
                    <a:pt x="62" y="304"/>
                  </a:lnTo>
                  <a:close/>
                  <a:moveTo>
                    <a:pt x="62" y="37"/>
                  </a:moveTo>
                  <a:lnTo>
                    <a:pt x="59" y="37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62" y="42"/>
                  </a:lnTo>
                  <a:lnTo>
                    <a:pt x="62" y="37"/>
                  </a:lnTo>
                  <a:close/>
                  <a:moveTo>
                    <a:pt x="64" y="273"/>
                  </a:moveTo>
                  <a:cubicBezTo>
                    <a:pt x="64" y="270"/>
                    <a:pt x="62" y="270"/>
                    <a:pt x="59" y="270"/>
                  </a:cubicBezTo>
                  <a:lnTo>
                    <a:pt x="59" y="276"/>
                  </a:lnTo>
                  <a:cubicBezTo>
                    <a:pt x="62" y="273"/>
                    <a:pt x="62" y="273"/>
                    <a:pt x="64" y="273"/>
                  </a:cubicBezTo>
                  <a:close/>
                  <a:moveTo>
                    <a:pt x="64" y="324"/>
                  </a:moveTo>
                  <a:cubicBezTo>
                    <a:pt x="64" y="321"/>
                    <a:pt x="67" y="321"/>
                    <a:pt x="67" y="321"/>
                  </a:cubicBezTo>
                  <a:lnTo>
                    <a:pt x="62" y="321"/>
                  </a:lnTo>
                  <a:lnTo>
                    <a:pt x="62" y="326"/>
                  </a:lnTo>
                  <a:cubicBezTo>
                    <a:pt x="62" y="329"/>
                    <a:pt x="64" y="329"/>
                    <a:pt x="67" y="329"/>
                  </a:cubicBezTo>
                  <a:lnTo>
                    <a:pt x="64" y="326"/>
                  </a:lnTo>
                  <a:lnTo>
                    <a:pt x="64" y="324"/>
                  </a:lnTo>
                  <a:close/>
                  <a:moveTo>
                    <a:pt x="62" y="363"/>
                  </a:moveTo>
                  <a:cubicBezTo>
                    <a:pt x="64" y="363"/>
                    <a:pt x="64" y="366"/>
                    <a:pt x="67" y="366"/>
                  </a:cubicBezTo>
                  <a:cubicBezTo>
                    <a:pt x="67" y="360"/>
                    <a:pt x="67" y="360"/>
                    <a:pt x="62" y="363"/>
                  </a:cubicBezTo>
                  <a:close/>
                  <a:moveTo>
                    <a:pt x="64" y="335"/>
                  </a:moveTo>
                  <a:cubicBezTo>
                    <a:pt x="64" y="338"/>
                    <a:pt x="67" y="338"/>
                    <a:pt x="67" y="340"/>
                  </a:cubicBezTo>
                  <a:lnTo>
                    <a:pt x="67" y="335"/>
                  </a:lnTo>
                  <a:lnTo>
                    <a:pt x="64" y="335"/>
                  </a:lnTo>
                  <a:close/>
                  <a:moveTo>
                    <a:pt x="67" y="357"/>
                  </a:moveTo>
                  <a:cubicBezTo>
                    <a:pt x="70" y="355"/>
                    <a:pt x="73" y="355"/>
                    <a:pt x="73" y="352"/>
                  </a:cubicBezTo>
                  <a:cubicBezTo>
                    <a:pt x="73" y="352"/>
                    <a:pt x="73" y="355"/>
                    <a:pt x="76" y="355"/>
                  </a:cubicBezTo>
                  <a:lnTo>
                    <a:pt x="79" y="355"/>
                  </a:lnTo>
                  <a:lnTo>
                    <a:pt x="76" y="349"/>
                  </a:lnTo>
                  <a:lnTo>
                    <a:pt x="76" y="346"/>
                  </a:lnTo>
                  <a:lnTo>
                    <a:pt x="76" y="343"/>
                  </a:lnTo>
                  <a:lnTo>
                    <a:pt x="73" y="346"/>
                  </a:lnTo>
                  <a:lnTo>
                    <a:pt x="70" y="346"/>
                  </a:lnTo>
                  <a:cubicBezTo>
                    <a:pt x="73" y="343"/>
                    <a:pt x="73" y="340"/>
                    <a:pt x="73" y="338"/>
                  </a:cubicBezTo>
                  <a:cubicBezTo>
                    <a:pt x="67" y="340"/>
                    <a:pt x="64" y="343"/>
                    <a:pt x="64" y="346"/>
                  </a:cubicBezTo>
                  <a:cubicBezTo>
                    <a:pt x="67" y="349"/>
                    <a:pt x="67" y="355"/>
                    <a:pt x="67" y="357"/>
                  </a:cubicBezTo>
                  <a:close/>
                  <a:moveTo>
                    <a:pt x="73" y="377"/>
                  </a:moveTo>
                  <a:cubicBezTo>
                    <a:pt x="70" y="377"/>
                    <a:pt x="70" y="377"/>
                    <a:pt x="67" y="380"/>
                  </a:cubicBezTo>
                  <a:cubicBezTo>
                    <a:pt x="70" y="380"/>
                    <a:pt x="73" y="380"/>
                    <a:pt x="73" y="377"/>
                  </a:cubicBezTo>
                  <a:close/>
                  <a:moveTo>
                    <a:pt x="70" y="307"/>
                  </a:moveTo>
                  <a:lnTo>
                    <a:pt x="67" y="309"/>
                  </a:lnTo>
                  <a:cubicBezTo>
                    <a:pt x="70" y="309"/>
                    <a:pt x="70" y="309"/>
                    <a:pt x="70" y="307"/>
                  </a:cubicBezTo>
                  <a:close/>
                  <a:moveTo>
                    <a:pt x="70" y="307"/>
                  </a:moveTo>
                  <a:cubicBezTo>
                    <a:pt x="70" y="309"/>
                    <a:pt x="67" y="309"/>
                    <a:pt x="70" y="307"/>
                  </a:cubicBezTo>
                  <a:close/>
                  <a:moveTo>
                    <a:pt x="76" y="374"/>
                  </a:moveTo>
                  <a:lnTo>
                    <a:pt x="73" y="366"/>
                  </a:lnTo>
                  <a:lnTo>
                    <a:pt x="73" y="363"/>
                  </a:lnTo>
                  <a:lnTo>
                    <a:pt x="70" y="363"/>
                  </a:lnTo>
                  <a:lnTo>
                    <a:pt x="70" y="371"/>
                  </a:lnTo>
                  <a:cubicBezTo>
                    <a:pt x="70" y="371"/>
                    <a:pt x="73" y="371"/>
                    <a:pt x="76" y="374"/>
                  </a:cubicBezTo>
                  <a:close/>
                  <a:moveTo>
                    <a:pt x="81" y="397"/>
                  </a:moveTo>
                  <a:lnTo>
                    <a:pt x="76" y="388"/>
                  </a:lnTo>
                  <a:lnTo>
                    <a:pt x="76" y="383"/>
                  </a:lnTo>
                  <a:cubicBezTo>
                    <a:pt x="67" y="388"/>
                    <a:pt x="73" y="394"/>
                    <a:pt x="76" y="397"/>
                  </a:cubicBezTo>
                  <a:cubicBezTo>
                    <a:pt x="76" y="400"/>
                    <a:pt x="76" y="400"/>
                    <a:pt x="73" y="403"/>
                  </a:cubicBezTo>
                  <a:cubicBezTo>
                    <a:pt x="76" y="400"/>
                    <a:pt x="79" y="400"/>
                    <a:pt x="81" y="397"/>
                  </a:cubicBezTo>
                  <a:close/>
                  <a:moveTo>
                    <a:pt x="76" y="371"/>
                  </a:moveTo>
                  <a:lnTo>
                    <a:pt x="81" y="377"/>
                  </a:lnTo>
                  <a:lnTo>
                    <a:pt x="81" y="371"/>
                  </a:lnTo>
                  <a:lnTo>
                    <a:pt x="76" y="371"/>
                  </a:lnTo>
                  <a:close/>
                  <a:moveTo>
                    <a:pt x="81" y="383"/>
                  </a:moveTo>
                  <a:cubicBezTo>
                    <a:pt x="87" y="386"/>
                    <a:pt x="87" y="383"/>
                    <a:pt x="87" y="380"/>
                  </a:cubicBezTo>
                  <a:cubicBezTo>
                    <a:pt x="84" y="380"/>
                    <a:pt x="81" y="380"/>
                    <a:pt x="81" y="383"/>
                  </a:cubicBezTo>
                  <a:close/>
                  <a:moveTo>
                    <a:pt x="81" y="34"/>
                  </a:moveTo>
                  <a:cubicBezTo>
                    <a:pt x="81" y="34"/>
                    <a:pt x="84" y="34"/>
                    <a:pt x="81" y="34"/>
                  </a:cubicBezTo>
                  <a:lnTo>
                    <a:pt x="87" y="31"/>
                  </a:lnTo>
                  <a:lnTo>
                    <a:pt x="84" y="28"/>
                  </a:lnTo>
                  <a:lnTo>
                    <a:pt x="81" y="26"/>
                  </a:lnTo>
                  <a:lnTo>
                    <a:pt x="81" y="34"/>
                  </a:lnTo>
                  <a:close/>
                  <a:moveTo>
                    <a:pt x="87" y="400"/>
                  </a:moveTo>
                  <a:cubicBezTo>
                    <a:pt x="84" y="400"/>
                    <a:pt x="84" y="397"/>
                    <a:pt x="84" y="397"/>
                  </a:cubicBezTo>
                  <a:lnTo>
                    <a:pt x="84" y="403"/>
                  </a:lnTo>
                  <a:cubicBezTo>
                    <a:pt x="84" y="400"/>
                    <a:pt x="84" y="400"/>
                    <a:pt x="87" y="400"/>
                  </a:cubicBezTo>
                  <a:close/>
                  <a:moveTo>
                    <a:pt x="87" y="411"/>
                  </a:moveTo>
                  <a:cubicBezTo>
                    <a:pt x="90" y="411"/>
                    <a:pt x="90" y="408"/>
                    <a:pt x="90" y="405"/>
                  </a:cubicBezTo>
                  <a:lnTo>
                    <a:pt x="84" y="405"/>
                  </a:lnTo>
                  <a:lnTo>
                    <a:pt x="87" y="411"/>
                  </a:lnTo>
                  <a:close/>
                  <a:moveTo>
                    <a:pt x="95" y="445"/>
                  </a:moveTo>
                  <a:cubicBezTo>
                    <a:pt x="93" y="442"/>
                    <a:pt x="93" y="439"/>
                    <a:pt x="87" y="439"/>
                  </a:cubicBezTo>
                  <a:cubicBezTo>
                    <a:pt x="87" y="442"/>
                    <a:pt x="90" y="445"/>
                    <a:pt x="93" y="445"/>
                  </a:cubicBezTo>
                  <a:lnTo>
                    <a:pt x="95" y="445"/>
                  </a:lnTo>
                  <a:close/>
                  <a:moveTo>
                    <a:pt x="90" y="417"/>
                  </a:moveTo>
                  <a:lnTo>
                    <a:pt x="87" y="419"/>
                  </a:lnTo>
                  <a:cubicBezTo>
                    <a:pt x="90" y="419"/>
                    <a:pt x="90" y="419"/>
                    <a:pt x="90" y="417"/>
                  </a:cubicBezTo>
                  <a:close/>
                  <a:moveTo>
                    <a:pt x="90" y="40"/>
                  </a:moveTo>
                  <a:lnTo>
                    <a:pt x="95" y="37"/>
                  </a:lnTo>
                  <a:lnTo>
                    <a:pt x="90" y="31"/>
                  </a:lnTo>
                  <a:lnTo>
                    <a:pt x="90" y="40"/>
                  </a:lnTo>
                  <a:close/>
                  <a:moveTo>
                    <a:pt x="95" y="428"/>
                  </a:moveTo>
                  <a:cubicBezTo>
                    <a:pt x="98" y="428"/>
                    <a:pt x="98" y="425"/>
                    <a:pt x="98" y="425"/>
                  </a:cubicBezTo>
                  <a:lnTo>
                    <a:pt x="93" y="419"/>
                  </a:lnTo>
                  <a:cubicBezTo>
                    <a:pt x="93" y="425"/>
                    <a:pt x="93" y="428"/>
                    <a:pt x="95" y="428"/>
                  </a:cubicBezTo>
                  <a:close/>
                  <a:moveTo>
                    <a:pt x="95" y="45"/>
                  </a:moveTo>
                  <a:lnTo>
                    <a:pt x="101" y="42"/>
                  </a:lnTo>
                  <a:lnTo>
                    <a:pt x="98" y="42"/>
                  </a:lnTo>
                  <a:lnTo>
                    <a:pt x="95" y="45"/>
                  </a:lnTo>
                  <a:close/>
                  <a:moveTo>
                    <a:pt x="104" y="434"/>
                  </a:moveTo>
                  <a:cubicBezTo>
                    <a:pt x="104" y="434"/>
                    <a:pt x="107" y="431"/>
                    <a:pt x="104" y="428"/>
                  </a:cubicBezTo>
                  <a:lnTo>
                    <a:pt x="101" y="428"/>
                  </a:lnTo>
                  <a:cubicBezTo>
                    <a:pt x="98" y="428"/>
                    <a:pt x="98" y="428"/>
                    <a:pt x="95" y="431"/>
                  </a:cubicBezTo>
                  <a:lnTo>
                    <a:pt x="95" y="434"/>
                  </a:lnTo>
                  <a:cubicBezTo>
                    <a:pt x="95" y="436"/>
                    <a:pt x="95" y="436"/>
                    <a:pt x="98" y="439"/>
                  </a:cubicBezTo>
                  <a:lnTo>
                    <a:pt x="104" y="434"/>
                  </a:lnTo>
                  <a:close/>
                  <a:moveTo>
                    <a:pt x="101" y="445"/>
                  </a:moveTo>
                  <a:lnTo>
                    <a:pt x="101" y="442"/>
                  </a:lnTo>
                  <a:cubicBezTo>
                    <a:pt x="98" y="442"/>
                    <a:pt x="98" y="442"/>
                    <a:pt x="101" y="445"/>
                  </a:cubicBezTo>
                  <a:close/>
                  <a:moveTo>
                    <a:pt x="101" y="62"/>
                  </a:moveTo>
                  <a:lnTo>
                    <a:pt x="104" y="59"/>
                  </a:lnTo>
                  <a:cubicBezTo>
                    <a:pt x="104" y="59"/>
                    <a:pt x="101" y="59"/>
                    <a:pt x="101" y="62"/>
                  </a:cubicBezTo>
                  <a:close/>
                  <a:moveTo>
                    <a:pt x="101" y="48"/>
                  </a:moveTo>
                  <a:cubicBezTo>
                    <a:pt x="101" y="51"/>
                    <a:pt x="104" y="48"/>
                    <a:pt x="101" y="48"/>
                  </a:cubicBezTo>
                  <a:close/>
                  <a:moveTo>
                    <a:pt x="107" y="51"/>
                  </a:moveTo>
                  <a:cubicBezTo>
                    <a:pt x="107" y="54"/>
                    <a:pt x="104" y="54"/>
                    <a:pt x="104" y="57"/>
                  </a:cubicBezTo>
                  <a:lnTo>
                    <a:pt x="112" y="57"/>
                  </a:lnTo>
                  <a:cubicBezTo>
                    <a:pt x="110" y="54"/>
                    <a:pt x="107" y="54"/>
                    <a:pt x="107" y="51"/>
                  </a:cubicBezTo>
                  <a:close/>
                  <a:moveTo>
                    <a:pt x="107" y="442"/>
                  </a:moveTo>
                  <a:cubicBezTo>
                    <a:pt x="107" y="439"/>
                    <a:pt x="110" y="439"/>
                    <a:pt x="110" y="436"/>
                  </a:cubicBezTo>
                  <a:cubicBezTo>
                    <a:pt x="104" y="436"/>
                    <a:pt x="104" y="436"/>
                    <a:pt x="107" y="442"/>
                  </a:cubicBezTo>
                  <a:close/>
                  <a:moveTo>
                    <a:pt x="110" y="82"/>
                  </a:moveTo>
                  <a:lnTo>
                    <a:pt x="104" y="82"/>
                  </a:lnTo>
                  <a:lnTo>
                    <a:pt x="104" y="85"/>
                  </a:lnTo>
                  <a:lnTo>
                    <a:pt x="110" y="82"/>
                  </a:lnTo>
                  <a:close/>
                  <a:moveTo>
                    <a:pt x="110" y="450"/>
                  </a:moveTo>
                  <a:lnTo>
                    <a:pt x="107" y="450"/>
                  </a:lnTo>
                  <a:lnTo>
                    <a:pt x="110" y="456"/>
                  </a:lnTo>
                  <a:lnTo>
                    <a:pt x="110" y="453"/>
                  </a:lnTo>
                  <a:lnTo>
                    <a:pt x="110" y="450"/>
                  </a:lnTo>
                  <a:close/>
                  <a:moveTo>
                    <a:pt x="115" y="439"/>
                  </a:moveTo>
                  <a:cubicBezTo>
                    <a:pt x="118" y="439"/>
                    <a:pt x="118" y="439"/>
                    <a:pt x="118" y="442"/>
                  </a:cubicBezTo>
                  <a:lnTo>
                    <a:pt x="118" y="439"/>
                  </a:lnTo>
                  <a:lnTo>
                    <a:pt x="118" y="436"/>
                  </a:lnTo>
                  <a:cubicBezTo>
                    <a:pt x="115" y="436"/>
                    <a:pt x="112" y="436"/>
                    <a:pt x="112" y="434"/>
                  </a:cubicBezTo>
                  <a:cubicBezTo>
                    <a:pt x="112" y="439"/>
                    <a:pt x="115" y="439"/>
                    <a:pt x="115" y="439"/>
                  </a:cubicBezTo>
                  <a:close/>
                  <a:moveTo>
                    <a:pt x="146" y="445"/>
                  </a:moveTo>
                  <a:lnTo>
                    <a:pt x="143" y="442"/>
                  </a:lnTo>
                  <a:lnTo>
                    <a:pt x="141" y="439"/>
                  </a:lnTo>
                  <a:cubicBezTo>
                    <a:pt x="138" y="439"/>
                    <a:pt x="138" y="442"/>
                    <a:pt x="138" y="442"/>
                  </a:cubicBezTo>
                  <a:lnTo>
                    <a:pt x="132" y="439"/>
                  </a:lnTo>
                  <a:cubicBezTo>
                    <a:pt x="129" y="442"/>
                    <a:pt x="127" y="445"/>
                    <a:pt x="124" y="445"/>
                  </a:cubicBezTo>
                  <a:lnTo>
                    <a:pt x="121" y="445"/>
                  </a:lnTo>
                  <a:cubicBezTo>
                    <a:pt x="121" y="445"/>
                    <a:pt x="118" y="445"/>
                    <a:pt x="118" y="448"/>
                  </a:cubicBezTo>
                  <a:cubicBezTo>
                    <a:pt x="118" y="448"/>
                    <a:pt x="115" y="448"/>
                    <a:pt x="115" y="450"/>
                  </a:cubicBezTo>
                  <a:lnTo>
                    <a:pt x="115" y="453"/>
                  </a:lnTo>
                  <a:lnTo>
                    <a:pt x="118" y="450"/>
                  </a:lnTo>
                  <a:cubicBezTo>
                    <a:pt x="121" y="450"/>
                    <a:pt x="121" y="450"/>
                    <a:pt x="124" y="448"/>
                  </a:cubicBezTo>
                  <a:lnTo>
                    <a:pt x="127" y="448"/>
                  </a:lnTo>
                  <a:lnTo>
                    <a:pt x="127" y="456"/>
                  </a:lnTo>
                  <a:lnTo>
                    <a:pt x="129" y="450"/>
                  </a:lnTo>
                  <a:cubicBezTo>
                    <a:pt x="129" y="448"/>
                    <a:pt x="132" y="448"/>
                    <a:pt x="132" y="445"/>
                  </a:cubicBezTo>
                  <a:lnTo>
                    <a:pt x="132" y="448"/>
                  </a:lnTo>
                  <a:lnTo>
                    <a:pt x="132" y="450"/>
                  </a:lnTo>
                  <a:lnTo>
                    <a:pt x="135" y="448"/>
                  </a:lnTo>
                  <a:cubicBezTo>
                    <a:pt x="143" y="448"/>
                    <a:pt x="143" y="445"/>
                    <a:pt x="146" y="445"/>
                  </a:cubicBezTo>
                  <a:close/>
                  <a:moveTo>
                    <a:pt x="135" y="434"/>
                  </a:moveTo>
                  <a:cubicBezTo>
                    <a:pt x="135" y="431"/>
                    <a:pt x="132" y="431"/>
                    <a:pt x="132" y="428"/>
                  </a:cubicBezTo>
                  <a:cubicBezTo>
                    <a:pt x="129" y="436"/>
                    <a:pt x="132" y="434"/>
                    <a:pt x="135" y="434"/>
                  </a:cubicBezTo>
                  <a:close/>
                  <a:moveTo>
                    <a:pt x="152" y="425"/>
                  </a:moveTo>
                  <a:cubicBezTo>
                    <a:pt x="149" y="425"/>
                    <a:pt x="146" y="425"/>
                    <a:pt x="146" y="428"/>
                  </a:cubicBezTo>
                  <a:lnTo>
                    <a:pt x="143" y="434"/>
                  </a:lnTo>
                  <a:cubicBezTo>
                    <a:pt x="146" y="434"/>
                    <a:pt x="146" y="431"/>
                    <a:pt x="149" y="428"/>
                  </a:cubicBezTo>
                  <a:cubicBezTo>
                    <a:pt x="149" y="428"/>
                    <a:pt x="149" y="425"/>
                    <a:pt x="152" y="425"/>
                  </a:cubicBezTo>
                  <a:close/>
                  <a:moveTo>
                    <a:pt x="152" y="439"/>
                  </a:moveTo>
                  <a:lnTo>
                    <a:pt x="149" y="439"/>
                  </a:lnTo>
                  <a:lnTo>
                    <a:pt x="149" y="442"/>
                  </a:lnTo>
                  <a:lnTo>
                    <a:pt x="149" y="445"/>
                  </a:lnTo>
                  <a:lnTo>
                    <a:pt x="152" y="445"/>
                  </a:lnTo>
                  <a:lnTo>
                    <a:pt x="152" y="439"/>
                  </a:lnTo>
                  <a:close/>
                  <a:moveTo>
                    <a:pt x="152" y="355"/>
                  </a:moveTo>
                  <a:lnTo>
                    <a:pt x="155" y="355"/>
                  </a:lnTo>
                  <a:lnTo>
                    <a:pt x="155" y="352"/>
                  </a:lnTo>
                  <a:cubicBezTo>
                    <a:pt x="152" y="352"/>
                    <a:pt x="152" y="352"/>
                    <a:pt x="152" y="355"/>
                  </a:cubicBezTo>
                  <a:close/>
                  <a:moveTo>
                    <a:pt x="155" y="343"/>
                  </a:moveTo>
                  <a:lnTo>
                    <a:pt x="155" y="340"/>
                  </a:lnTo>
                  <a:cubicBezTo>
                    <a:pt x="152" y="340"/>
                    <a:pt x="152" y="343"/>
                    <a:pt x="155" y="343"/>
                  </a:cubicBezTo>
                  <a:close/>
                  <a:moveTo>
                    <a:pt x="152" y="391"/>
                  </a:moveTo>
                  <a:lnTo>
                    <a:pt x="158" y="391"/>
                  </a:lnTo>
                  <a:lnTo>
                    <a:pt x="160" y="394"/>
                  </a:lnTo>
                  <a:lnTo>
                    <a:pt x="160" y="391"/>
                  </a:lnTo>
                  <a:lnTo>
                    <a:pt x="160" y="388"/>
                  </a:lnTo>
                  <a:lnTo>
                    <a:pt x="158" y="388"/>
                  </a:lnTo>
                  <a:cubicBezTo>
                    <a:pt x="155" y="388"/>
                    <a:pt x="155" y="391"/>
                    <a:pt x="152" y="391"/>
                  </a:cubicBezTo>
                  <a:close/>
                  <a:moveTo>
                    <a:pt x="160" y="434"/>
                  </a:moveTo>
                  <a:cubicBezTo>
                    <a:pt x="158" y="434"/>
                    <a:pt x="158" y="431"/>
                    <a:pt x="158" y="431"/>
                  </a:cubicBezTo>
                  <a:lnTo>
                    <a:pt x="158" y="425"/>
                  </a:lnTo>
                  <a:lnTo>
                    <a:pt x="155" y="425"/>
                  </a:lnTo>
                  <a:lnTo>
                    <a:pt x="158" y="434"/>
                  </a:lnTo>
                  <a:cubicBezTo>
                    <a:pt x="155" y="434"/>
                    <a:pt x="158" y="434"/>
                    <a:pt x="160" y="434"/>
                  </a:cubicBezTo>
                  <a:close/>
                  <a:moveTo>
                    <a:pt x="160" y="408"/>
                  </a:moveTo>
                  <a:cubicBezTo>
                    <a:pt x="158" y="408"/>
                    <a:pt x="158" y="408"/>
                    <a:pt x="155" y="405"/>
                  </a:cubicBezTo>
                  <a:lnTo>
                    <a:pt x="152" y="408"/>
                  </a:lnTo>
                  <a:lnTo>
                    <a:pt x="152" y="411"/>
                  </a:lnTo>
                  <a:lnTo>
                    <a:pt x="155" y="411"/>
                  </a:lnTo>
                  <a:cubicBezTo>
                    <a:pt x="160" y="411"/>
                    <a:pt x="160" y="411"/>
                    <a:pt x="160" y="408"/>
                  </a:cubicBezTo>
                  <a:close/>
                  <a:moveTo>
                    <a:pt x="163" y="366"/>
                  </a:moveTo>
                  <a:cubicBezTo>
                    <a:pt x="160" y="366"/>
                    <a:pt x="160" y="366"/>
                    <a:pt x="158" y="363"/>
                  </a:cubicBezTo>
                  <a:lnTo>
                    <a:pt x="158" y="366"/>
                  </a:lnTo>
                  <a:lnTo>
                    <a:pt x="163" y="366"/>
                  </a:lnTo>
                  <a:close/>
                  <a:moveTo>
                    <a:pt x="160" y="377"/>
                  </a:moveTo>
                  <a:cubicBezTo>
                    <a:pt x="162" y="377"/>
                    <a:pt x="163" y="377"/>
                    <a:pt x="163" y="374"/>
                  </a:cubicBezTo>
                  <a:cubicBezTo>
                    <a:pt x="163" y="374"/>
                    <a:pt x="157" y="377"/>
                    <a:pt x="160" y="377"/>
                  </a:cubicBezTo>
                  <a:close/>
                  <a:moveTo>
                    <a:pt x="163" y="360"/>
                  </a:moveTo>
                  <a:lnTo>
                    <a:pt x="160" y="355"/>
                  </a:lnTo>
                  <a:lnTo>
                    <a:pt x="160" y="357"/>
                  </a:lnTo>
                  <a:lnTo>
                    <a:pt x="163" y="360"/>
                  </a:lnTo>
                  <a:close/>
                  <a:moveTo>
                    <a:pt x="172" y="411"/>
                  </a:moveTo>
                  <a:lnTo>
                    <a:pt x="172" y="408"/>
                  </a:lnTo>
                  <a:lnTo>
                    <a:pt x="169" y="408"/>
                  </a:lnTo>
                  <a:cubicBezTo>
                    <a:pt x="172" y="405"/>
                    <a:pt x="169" y="405"/>
                    <a:pt x="166" y="405"/>
                  </a:cubicBezTo>
                  <a:lnTo>
                    <a:pt x="163" y="405"/>
                  </a:lnTo>
                  <a:lnTo>
                    <a:pt x="163" y="411"/>
                  </a:lnTo>
                  <a:lnTo>
                    <a:pt x="169" y="411"/>
                  </a:lnTo>
                  <a:lnTo>
                    <a:pt x="169" y="417"/>
                  </a:lnTo>
                  <a:cubicBezTo>
                    <a:pt x="169" y="411"/>
                    <a:pt x="172" y="411"/>
                    <a:pt x="172" y="411"/>
                  </a:cubicBezTo>
                  <a:close/>
                  <a:moveTo>
                    <a:pt x="163" y="394"/>
                  </a:moveTo>
                  <a:cubicBezTo>
                    <a:pt x="166" y="394"/>
                    <a:pt x="166" y="394"/>
                    <a:pt x="169" y="397"/>
                  </a:cubicBezTo>
                  <a:cubicBezTo>
                    <a:pt x="169" y="394"/>
                    <a:pt x="169" y="394"/>
                    <a:pt x="163" y="39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0" name="Freeform 1455"/>
            <p:cNvSpPr>
              <a:spLocks noChangeArrowheads="1"/>
            </p:cNvSpPr>
            <p:nvPr/>
          </p:nvSpPr>
          <p:spPr bwMode="auto">
            <a:xfrm>
              <a:off x="3886200" y="2493963"/>
              <a:ext cx="74613" cy="174625"/>
            </a:xfrm>
            <a:custGeom>
              <a:avLst/>
              <a:gdLst>
                <a:gd name="T0" fmla="*/ 189 w 207"/>
                <a:gd name="T1" fmla="*/ 453 h 485"/>
                <a:gd name="T2" fmla="*/ 62 w 207"/>
                <a:gd name="T3" fmla="*/ 427 h 485"/>
                <a:gd name="T4" fmla="*/ 45 w 207"/>
                <a:gd name="T5" fmla="*/ 332 h 485"/>
                <a:gd name="T6" fmla="*/ 17 w 207"/>
                <a:gd name="T7" fmla="*/ 197 h 485"/>
                <a:gd name="T8" fmla="*/ 25 w 207"/>
                <a:gd name="T9" fmla="*/ 14 h 485"/>
                <a:gd name="T10" fmla="*/ 129 w 207"/>
                <a:gd name="T11" fmla="*/ 56 h 485"/>
                <a:gd name="T12" fmla="*/ 135 w 207"/>
                <a:gd name="T13" fmla="*/ 112 h 485"/>
                <a:gd name="T14" fmla="*/ 158 w 207"/>
                <a:gd name="T15" fmla="*/ 194 h 485"/>
                <a:gd name="T16" fmla="*/ 180 w 207"/>
                <a:gd name="T17" fmla="*/ 315 h 485"/>
                <a:gd name="T18" fmla="*/ 36 w 207"/>
                <a:gd name="T19" fmla="*/ 67 h 485"/>
                <a:gd name="T20" fmla="*/ 39 w 207"/>
                <a:gd name="T21" fmla="*/ 56 h 485"/>
                <a:gd name="T22" fmla="*/ 42 w 207"/>
                <a:gd name="T23" fmla="*/ 132 h 485"/>
                <a:gd name="T24" fmla="*/ 42 w 207"/>
                <a:gd name="T25" fmla="*/ 39 h 485"/>
                <a:gd name="T26" fmla="*/ 48 w 207"/>
                <a:gd name="T27" fmla="*/ 214 h 485"/>
                <a:gd name="T28" fmla="*/ 135 w 207"/>
                <a:gd name="T29" fmla="*/ 348 h 485"/>
                <a:gd name="T30" fmla="*/ 121 w 207"/>
                <a:gd name="T31" fmla="*/ 250 h 485"/>
                <a:gd name="T32" fmla="*/ 98 w 207"/>
                <a:gd name="T33" fmla="*/ 155 h 485"/>
                <a:gd name="T34" fmla="*/ 65 w 207"/>
                <a:gd name="T35" fmla="*/ 70 h 485"/>
                <a:gd name="T36" fmla="*/ 79 w 207"/>
                <a:gd name="T37" fmla="*/ 222 h 485"/>
                <a:gd name="T38" fmla="*/ 98 w 207"/>
                <a:gd name="T39" fmla="*/ 309 h 485"/>
                <a:gd name="T40" fmla="*/ 56 w 207"/>
                <a:gd name="T41" fmla="*/ 258 h 485"/>
                <a:gd name="T42" fmla="*/ 62 w 207"/>
                <a:gd name="T43" fmla="*/ 255 h 485"/>
                <a:gd name="T44" fmla="*/ 65 w 207"/>
                <a:gd name="T45" fmla="*/ 28 h 485"/>
                <a:gd name="T46" fmla="*/ 67 w 207"/>
                <a:gd name="T47" fmla="*/ 309 h 485"/>
                <a:gd name="T48" fmla="*/ 70 w 207"/>
                <a:gd name="T49" fmla="*/ 365 h 485"/>
                <a:gd name="T50" fmla="*/ 76 w 207"/>
                <a:gd name="T51" fmla="*/ 42 h 485"/>
                <a:gd name="T52" fmla="*/ 73 w 207"/>
                <a:gd name="T53" fmla="*/ 396 h 485"/>
                <a:gd name="T54" fmla="*/ 84 w 207"/>
                <a:gd name="T55" fmla="*/ 357 h 485"/>
                <a:gd name="T56" fmla="*/ 88 w 207"/>
                <a:gd name="T57" fmla="*/ 51 h 485"/>
                <a:gd name="T58" fmla="*/ 104 w 207"/>
                <a:gd name="T59" fmla="*/ 42 h 485"/>
                <a:gd name="T60" fmla="*/ 90 w 207"/>
                <a:gd name="T61" fmla="*/ 410 h 485"/>
                <a:gd name="T62" fmla="*/ 104 w 207"/>
                <a:gd name="T63" fmla="*/ 442 h 485"/>
                <a:gd name="T64" fmla="*/ 113 w 207"/>
                <a:gd name="T65" fmla="*/ 76 h 485"/>
                <a:gd name="T66" fmla="*/ 121 w 207"/>
                <a:gd name="T67" fmla="*/ 79 h 485"/>
                <a:gd name="T68" fmla="*/ 118 w 207"/>
                <a:gd name="T69" fmla="*/ 107 h 485"/>
                <a:gd name="T70" fmla="*/ 124 w 207"/>
                <a:gd name="T71" fmla="*/ 141 h 485"/>
                <a:gd name="T72" fmla="*/ 132 w 207"/>
                <a:gd name="T73" fmla="*/ 160 h 485"/>
                <a:gd name="T74" fmla="*/ 121 w 207"/>
                <a:gd name="T75" fmla="*/ 456 h 485"/>
                <a:gd name="T76" fmla="*/ 124 w 207"/>
                <a:gd name="T77" fmla="*/ 144 h 485"/>
                <a:gd name="T78" fmla="*/ 129 w 207"/>
                <a:gd name="T79" fmla="*/ 107 h 485"/>
                <a:gd name="T80" fmla="*/ 135 w 207"/>
                <a:gd name="T81" fmla="*/ 169 h 485"/>
                <a:gd name="T82" fmla="*/ 135 w 207"/>
                <a:gd name="T83" fmla="*/ 152 h 485"/>
                <a:gd name="T84" fmla="*/ 149 w 207"/>
                <a:gd name="T85" fmla="*/ 224 h 485"/>
                <a:gd name="T86" fmla="*/ 138 w 207"/>
                <a:gd name="T87" fmla="*/ 191 h 485"/>
                <a:gd name="T88" fmla="*/ 141 w 207"/>
                <a:gd name="T89" fmla="*/ 450 h 485"/>
                <a:gd name="T90" fmla="*/ 155 w 207"/>
                <a:gd name="T91" fmla="*/ 272 h 485"/>
                <a:gd name="T92" fmla="*/ 146 w 207"/>
                <a:gd name="T93" fmla="*/ 250 h 485"/>
                <a:gd name="T94" fmla="*/ 163 w 207"/>
                <a:gd name="T95" fmla="*/ 298 h 485"/>
                <a:gd name="T96" fmla="*/ 161 w 207"/>
                <a:gd name="T97" fmla="*/ 433 h 485"/>
                <a:gd name="T98" fmla="*/ 166 w 207"/>
                <a:gd name="T99" fmla="*/ 295 h 485"/>
                <a:gd name="T100" fmla="*/ 158 w 207"/>
                <a:gd name="T101" fmla="*/ 332 h 485"/>
                <a:gd name="T102" fmla="*/ 161 w 207"/>
                <a:gd name="T103" fmla="*/ 326 h 485"/>
                <a:gd name="T104" fmla="*/ 161 w 207"/>
                <a:gd name="T105" fmla="*/ 334 h 485"/>
                <a:gd name="T106" fmla="*/ 161 w 207"/>
                <a:gd name="T107" fmla="*/ 368 h 485"/>
                <a:gd name="T108" fmla="*/ 177 w 207"/>
                <a:gd name="T109" fmla="*/ 379 h 485"/>
                <a:gd name="T110" fmla="*/ 166 w 207"/>
                <a:gd name="T111" fmla="*/ 413 h 485"/>
                <a:gd name="T112" fmla="*/ 169 w 207"/>
                <a:gd name="T113" fmla="*/ 315 h 485"/>
                <a:gd name="T114" fmla="*/ 175 w 207"/>
                <a:gd name="T115" fmla="*/ 399 h 485"/>
                <a:gd name="T116" fmla="*/ 175 w 207"/>
                <a:gd name="T117" fmla="*/ 3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7" h="485">
                  <a:moveTo>
                    <a:pt x="197" y="343"/>
                  </a:moveTo>
                  <a:cubicBezTo>
                    <a:pt x="197" y="351"/>
                    <a:pt x="200" y="357"/>
                    <a:pt x="200" y="365"/>
                  </a:cubicBezTo>
                  <a:lnTo>
                    <a:pt x="200" y="371"/>
                  </a:lnTo>
                  <a:lnTo>
                    <a:pt x="200" y="382"/>
                  </a:lnTo>
                  <a:lnTo>
                    <a:pt x="200" y="388"/>
                  </a:lnTo>
                  <a:cubicBezTo>
                    <a:pt x="206" y="394"/>
                    <a:pt x="203" y="396"/>
                    <a:pt x="200" y="402"/>
                  </a:cubicBezTo>
                  <a:lnTo>
                    <a:pt x="200" y="416"/>
                  </a:lnTo>
                  <a:lnTo>
                    <a:pt x="200" y="430"/>
                  </a:lnTo>
                  <a:lnTo>
                    <a:pt x="200" y="436"/>
                  </a:lnTo>
                  <a:cubicBezTo>
                    <a:pt x="200" y="439"/>
                    <a:pt x="197" y="439"/>
                    <a:pt x="197" y="442"/>
                  </a:cubicBezTo>
                  <a:cubicBezTo>
                    <a:pt x="194" y="444"/>
                    <a:pt x="192" y="450"/>
                    <a:pt x="189" y="453"/>
                  </a:cubicBezTo>
                  <a:lnTo>
                    <a:pt x="180" y="464"/>
                  </a:lnTo>
                  <a:cubicBezTo>
                    <a:pt x="175" y="470"/>
                    <a:pt x="166" y="475"/>
                    <a:pt x="158" y="481"/>
                  </a:cubicBezTo>
                  <a:cubicBezTo>
                    <a:pt x="158" y="478"/>
                    <a:pt x="155" y="481"/>
                    <a:pt x="152" y="481"/>
                  </a:cubicBezTo>
                  <a:cubicBezTo>
                    <a:pt x="149" y="481"/>
                    <a:pt x="146" y="481"/>
                    <a:pt x="141" y="484"/>
                  </a:cubicBezTo>
                  <a:cubicBezTo>
                    <a:pt x="138" y="481"/>
                    <a:pt x="138" y="481"/>
                    <a:pt x="135" y="481"/>
                  </a:cubicBezTo>
                  <a:lnTo>
                    <a:pt x="129" y="481"/>
                  </a:lnTo>
                  <a:cubicBezTo>
                    <a:pt x="115" y="484"/>
                    <a:pt x="104" y="478"/>
                    <a:pt x="93" y="470"/>
                  </a:cubicBezTo>
                  <a:cubicBezTo>
                    <a:pt x="87" y="467"/>
                    <a:pt x="84" y="464"/>
                    <a:pt x="82" y="458"/>
                  </a:cubicBezTo>
                  <a:cubicBezTo>
                    <a:pt x="82" y="456"/>
                    <a:pt x="79" y="453"/>
                    <a:pt x="76" y="453"/>
                  </a:cubicBezTo>
                  <a:cubicBezTo>
                    <a:pt x="76" y="453"/>
                    <a:pt x="73" y="453"/>
                    <a:pt x="70" y="450"/>
                  </a:cubicBezTo>
                  <a:cubicBezTo>
                    <a:pt x="70" y="442"/>
                    <a:pt x="67" y="433"/>
                    <a:pt x="62" y="427"/>
                  </a:cubicBezTo>
                  <a:lnTo>
                    <a:pt x="62" y="422"/>
                  </a:lnTo>
                  <a:lnTo>
                    <a:pt x="62" y="419"/>
                  </a:lnTo>
                  <a:cubicBezTo>
                    <a:pt x="62" y="416"/>
                    <a:pt x="59" y="413"/>
                    <a:pt x="59" y="410"/>
                  </a:cubicBezTo>
                  <a:cubicBezTo>
                    <a:pt x="56" y="405"/>
                    <a:pt x="53" y="399"/>
                    <a:pt x="56" y="394"/>
                  </a:cubicBezTo>
                  <a:lnTo>
                    <a:pt x="56" y="385"/>
                  </a:lnTo>
                  <a:cubicBezTo>
                    <a:pt x="56" y="382"/>
                    <a:pt x="53" y="377"/>
                    <a:pt x="53" y="374"/>
                  </a:cubicBezTo>
                  <a:lnTo>
                    <a:pt x="48" y="368"/>
                  </a:lnTo>
                  <a:cubicBezTo>
                    <a:pt x="45" y="365"/>
                    <a:pt x="48" y="365"/>
                    <a:pt x="48" y="360"/>
                  </a:cubicBezTo>
                  <a:lnTo>
                    <a:pt x="48" y="354"/>
                  </a:lnTo>
                  <a:lnTo>
                    <a:pt x="48" y="346"/>
                  </a:lnTo>
                  <a:cubicBezTo>
                    <a:pt x="45" y="340"/>
                    <a:pt x="45" y="338"/>
                    <a:pt x="45" y="332"/>
                  </a:cubicBezTo>
                  <a:cubicBezTo>
                    <a:pt x="45" y="327"/>
                    <a:pt x="42" y="323"/>
                    <a:pt x="42" y="317"/>
                  </a:cubicBezTo>
                  <a:cubicBezTo>
                    <a:pt x="39" y="315"/>
                    <a:pt x="39" y="312"/>
                    <a:pt x="39" y="309"/>
                  </a:cubicBezTo>
                  <a:cubicBezTo>
                    <a:pt x="39" y="306"/>
                    <a:pt x="39" y="306"/>
                    <a:pt x="36" y="303"/>
                  </a:cubicBezTo>
                  <a:cubicBezTo>
                    <a:pt x="36" y="300"/>
                    <a:pt x="34" y="300"/>
                    <a:pt x="34" y="298"/>
                  </a:cubicBezTo>
                  <a:lnTo>
                    <a:pt x="34" y="292"/>
                  </a:lnTo>
                  <a:lnTo>
                    <a:pt x="31" y="269"/>
                  </a:lnTo>
                  <a:cubicBezTo>
                    <a:pt x="31" y="264"/>
                    <a:pt x="28" y="255"/>
                    <a:pt x="28" y="250"/>
                  </a:cubicBezTo>
                  <a:lnTo>
                    <a:pt x="28" y="241"/>
                  </a:lnTo>
                  <a:lnTo>
                    <a:pt x="25" y="224"/>
                  </a:lnTo>
                  <a:cubicBezTo>
                    <a:pt x="22" y="220"/>
                    <a:pt x="22" y="214"/>
                    <a:pt x="19" y="206"/>
                  </a:cubicBezTo>
                  <a:cubicBezTo>
                    <a:pt x="19" y="203"/>
                    <a:pt x="17" y="200"/>
                    <a:pt x="17" y="197"/>
                  </a:cubicBezTo>
                  <a:cubicBezTo>
                    <a:pt x="17" y="194"/>
                    <a:pt x="17" y="191"/>
                    <a:pt x="14" y="189"/>
                  </a:cubicBezTo>
                  <a:cubicBezTo>
                    <a:pt x="11" y="186"/>
                    <a:pt x="8" y="180"/>
                    <a:pt x="11" y="175"/>
                  </a:cubicBezTo>
                  <a:lnTo>
                    <a:pt x="11" y="160"/>
                  </a:lnTo>
                  <a:cubicBezTo>
                    <a:pt x="11" y="158"/>
                    <a:pt x="8" y="152"/>
                    <a:pt x="8" y="149"/>
                  </a:cubicBezTo>
                  <a:cubicBezTo>
                    <a:pt x="8" y="141"/>
                    <a:pt x="8" y="135"/>
                    <a:pt x="5" y="127"/>
                  </a:cubicBezTo>
                  <a:cubicBezTo>
                    <a:pt x="2" y="115"/>
                    <a:pt x="0" y="101"/>
                    <a:pt x="0" y="90"/>
                  </a:cubicBezTo>
                  <a:lnTo>
                    <a:pt x="0" y="65"/>
                  </a:lnTo>
                  <a:lnTo>
                    <a:pt x="0" y="56"/>
                  </a:lnTo>
                  <a:cubicBezTo>
                    <a:pt x="0" y="45"/>
                    <a:pt x="5" y="31"/>
                    <a:pt x="14" y="22"/>
                  </a:cubicBezTo>
                  <a:lnTo>
                    <a:pt x="22" y="14"/>
                  </a:lnTo>
                  <a:lnTo>
                    <a:pt x="25" y="14"/>
                  </a:lnTo>
                  <a:cubicBezTo>
                    <a:pt x="28" y="14"/>
                    <a:pt x="31" y="11"/>
                    <a:pt x="34" y="11"/>
                  </a:cubicBezTo>
                  <a:lnTo>
                    <a:pt x="42" y="8"/>
                  </a:lnTo>
                  <a:cubicBezTo>
                    <a:pt x="45" y="8"/>
                    <a:pt x="47" y="5"/>
                    <a:pt x="50" y="5"/>
                  </a:cubicBezTo>
                  <a:cubicBezTo>
                    <a:pt x="52" y="5"/>
                    <a:pt x="56" y="2"/>
                    <a:pt x="59" y="2"/>
                  </a:cubicBezTo>
                  <a:cubicBezTo>
                    <a:pt x="62" y="2"/>
                    <a:pt x="65" y="0"/>
                    <a:pt x="65" y="2"/>
                  </a:cubicBezTo>
                  <a:lnTo>
                    <a:pt x="82" y="5"/>
                  </a:lnTo>
                  <a:cubicBezTo>
                    <a:pt x="93" y="8"/>
                    <a:pt x="104" y="11"/>
                    <a:pt x="110" y="19"/>
                  </a:cubicBezTo>
                  <a:cubicBezTo>
                    <a:pt x="113" y="25"/>
                    <a:pt x="118" y="31"/>
                    <a:pt x="121" y="34"/>
                  </a:cubicBezTo>
                  <a:cubicBezTo>
                    <a:pt x="124" y="36"/>
                    <a:pt x="124" y="36"/>
                    <a:pt x="124" y="39"/>
                  </a:cubicBezTo>
                  <a:cubicBezTo>
                    <a:pt x="124" y="42"/>
                    <a:pt x="124" y="45"/>
                    <a:pt x="127" y="48"/>
                  </a:cubicBezTo>
                  <a:lnTo>
                    <a:pt x="129" y="56"/>
                  </a:lnTo>
                  <a:cubicBezTo>
                    <a:pt x="129" y="59"/>
                    <a:pt x="132" y="62"/>
                    <a:pt x="132" y="65"/>
                  </a:cubicBezTo>
                  <a:lnTo>
                    <a:pt x="132" y="70"/>
                  </a:lnTo>
                  <a:cubicBezTo>
                    <a:pt x="129" y="76"/>
                    <a:pt x="132" y="81"/>
                    <a:pt x="132" y="84"/>
                  </a:cubicBezTo>
                  <a:cubicBezTo>
                    <a:pt x="132" y="84"/>
                    <a:pt x="132" y="87"/>
                    <a:pt x="135" y="87"/>
                  </a:cubicBezTo>
                  <a:lnTo>
                    <a:pt x="135" y="93"/>
                  </a:lnTo>
                  <a:lnTo>
                    <a:pt x="135" y="96"/>
                  </a:lnTo>
                  <a:cubicBezTo>
                    <a:pt x="135" y="96"/>
                    <a:pt x="138" y="98"/>
                    <a:pt x="135" y="98"/>
                  </a:cubicBezTo>
                  <a:lnTo>
                    <a:pt x="135" y="101"/>
                  </a:lnTo>
                  <a:lnTo>
                    <a:pt x="135" y="107"/>
                  </a:lnTo>
                  <a:lnTo>
                    <a:pt x="135" y="110"/>
                  </a:lnTo>
                  <a:lnTo>
                    <a:pt x="135" y="112"/>
                  </a:lnTo>
                  <a:cubicBezTo>
                    <a:pt x="138" y="115"/>
                    <a:pt x="138" y="115"/>
                    <a:pt x="138" y="118"/>
                  </a:cubicBezTo>
                  <a:cubicBezTo>
                    <a:pt x="138" y="121"/>
                    <a:pt x="141" y="124"/>
                    <a:pt x="141" y="129"/>
                  </a:cubicBezTo>
                  <a:cubicBezTo>
                    <a:pt x="141" y="132"/>
                    <a:pt x="141" y="138"/>
                    <a:pt x="144" y="141"/>
                  </a:cubicBezTo>
                  <a:lnTo>
                    <a:pt x="144" y="144"/>
                  </a:lnTo>
                  <a:lnTo>
                    <a:pt x="144" y="146"/>
                  </a:lnTo>
                  <a:lnTo>
                    <a:pt x="146" y="149"/>
                  </a:lnTo>
                  <a:cubicBezTo>
                    <a:pt x="146" y="152"/>
                    <a:pt x="146" y="155"/>
                    <a:pt x="149" y="158"/>
                  </a:cubicBezTo>
                  <a:lnTo>
                    <a:pt x="149" y="169"/>
                  </a:lnTo>
                  <a:cubicBezTo>
                    <a:pt x="149" y="169"/>
                    <a:pt x="149" y="172"/>
                    <a:pt x="152" y="175"/>
                  </a:cubicBezTo>
                  <a:cubicBezTo>
                    <a:pt x="155" y="180"/>
                    <a:pt x="155" y="186"/>
                    <a:pt x="155" y="191"/>
                  </a:cubicBezTo>
                  <a:lnTo>
                    <a:pt x="158" y="194"/>
                  </a:lnTo>
                  <a:lnTo>
                    <a:pt x="158" y="200"/>
                  </a:lnTo>
                  <a:lnTo>
                    <a:pt x="161" y="220"/>
                  </a:lnTo>
                  <a:lnTo>
                    <a:pt x="161" y="224"/>
                  </a:lnTo>
                  <a:lnTo>
                    <a:pt x="161" y="236"/>
                  </a:lnTo>
                  <a:lnTo>
                    <a:pt x="161" y="241"/>
                  </a:lnTo>
                  <a:cubicBezTo>
                    <a:pt x="161" y="244"/>
                    <a:pt x="161" y="250"/>
                    <a:pt x="163" y="253"/>
                  </a:cubicBezTo>
                  <a:cubicBezTo>
                    <a:pt x="166" y="258"/>
                    <a:pt x="169" y="267"/>
                    <a:pt x="169" y="272"/>
                  </a:cubicBezTo>
                  <a:cubicBezTo>
                    <a:pt x="169" y="275"/>
                    <a:pt x="169" y="278"/>
                    <a:pt x="172" y="284"/>
                  </a:cubicBezTo>
                  <a:cubicBezTo>
                    <a:pt x="175" y="286"/>
                    <a:pt x="175" y="292"/>
                    <a:pt x="177" y="298"/>
                  </a:cubicBezTo>
                  <a:cubicBezTo>
                    <a:pt x="177" y="303"/>
                    <a:pt x="177" y="306"/>
                    <a:pt x="180" y="312"/>
                  </a:cubicBezTo>
                  <a:lnTo>
                    <a:pt x="180" y="315"/>
                  </a:lnTo>
                  <a:lnTo>
                    <a:pt x="180" y="320"/>
                  </a:lnTo>
                  <a:lnTo>
                    <a:pt x="180" y="323"/>
                  </a:lnTo>
                  <a:cubicBezTo>
                    <a:pt x="194" y="329"/>
                    <a:pt x="197" y="337"/>
                    <a:pt x="197" y="343"/>
                  </a:cubicBezTo>
                  <a:close/>
                  <a:moveTo>
                    <a:pt x="25" y="101"/>
                  </a:moveTo>
                  <a:cubicBezTo>
                    <a:pt x="28" y="104"/>
                    <a:pt x="28" y="104"/>
                    <a:pt x="31" y="104"/>
                  </a:cubicBezTo>
                  <a:lnTo>
                    <a:pt x="31" y="98"/>
                  </a:lnTo>
                  <a:lnTo>
                    <a:pt x="25" y="101"/>
                  </a:lnTo>
                  <a:close/>
                  <a:moveTo>
                    <a:pt x="36" y="70"/>
                  </a:moveTo>
                  <a:cubicBezTo>
                    <a:pt x="39" y="70"/>
                    <a:pt x="39" y="70"/>
                    <a:pt x="42" y="67"/>
                  </a:cubicBezTo>
                  <a:lnTo>
                    <a:pt x="39" y="67"/>
                  </a:lnTo>
                  <a:lnTo>
                    <a:pt x="36" y="67"/>
                  </a:lnTo>
                  <a:cubicBezTo>
                    <a:pt x="34" y="67"/>
                    <a:pt x="31" y="70"/>
                    <a:pt x="28" y="70"/>
                  </a:cubicBezTo>
                  <a:lnTo>
                    <a:pt x="28" y="73"/>
                  </a:lnTo>
                  <a:lnTo>
                    <a:pt x="36" y="70"/>
                  </a:lnTo>
                  <a:close/>
                  <a:moveTo>
                    <a:pt x="31" y="132"/>
                  </a:moveTo>
                  <a:lnTo>
                    <a:pt x="34" y="132"/>
                  </a:lnTo>
                  <a:cubicBezTo>
                    <a:pt x="34" y="132"/>
                    <a:pt x="34" y="129"/>
                    <a:pt x="31" y="127"/>
                  </a:cubicBezTo>
                  <a:lnTo>
                    <a:pt x="31" y="132"/>
                  </a:lnTo>
                  <a:close/>
                  <a:moveTo>
                    <a:pt x="34" y="59"/>
                  </a:moveTo>
                  <a:lnTo>
                    <a:pt x="39" y="59"/>
                  </a:lnTo>
                  <a:cubicBezTo>
                    <a:pt x="39" y="62"/>
                    <a:pt x="42" y="62"/>
                    <a:pt x="45" y="59"/>
                  </a:cubicBezTo>
                  <a:cubicBezTo>
                    <a:pt x="42" y="59"/>
                    <a:pt x="42" y="56"/>
                    <a:pt x="39" y="56"/>
                  </a:cubicBezTo>
                  <a:cubicBezTo>
                    <a:pt x="36" y="56"/>
                    <a:pt x="36" y="53"/>
                    <a:pt x="34" y="53"/>
                  </a:cubicBezTo>
                  <a:lnTo>
                    <a:pt x="34" y="59"/>
                  </a:lnTo>
                  <a:close/>
                  <a:moveTo>
                    <a:pt x="39" y="175"/>
                  </a:moveTo>
                  <a:lnTo>
                    <a:pt x="36" y="172"/>
                  </a:lnTo>
                  <a:cubicBezTo>
                    <a:pt x="34" y="175"/>
                    <a:pt x="36" y="177"/>
                    <a:pt x="39" y="175"/>
                  </a:cubicBezTo>
                  <a:close/>
                  <a:moveTo>
                    <a:pt x="36" y="48"/>
                  </a:moveTo>
                  <a:cubicBezTo>
                    <a:pt x="39" y="48"/>
                    <a:pt x="39" y="45"/>
                    <a:pt x="42" y="45"/>
                  </a:cubicBezTo>
                  <a:cubicBezTo>
                    <a:pt x="39" y="45"/>
                    <a:pt x="39" y="42"/>
                    <a:pt x="36" y="39"/>
                  </a:cubicBezTo>
                  <a:lnTo>
                    <a:pt x="36" y="48"/>
                  </a:lnTo>
                  <a:close/>
                  <a:moveTo>
                    <a:pt x="45" y="138"/>
                  </a:moveTo>
                  <a:cubicBezTo>
                    <a:pt x="45" y="138"/>
                    <a:pt x="45" y="135"/>
                    <a:pt x="42" y="132"/>
                  </a:cubicBezTo>
                  <a:lnTo>
                    <a:pt x="39" y="138"/>
                  </a:lnTo>
                  <a:lnTo>
                    <a:pt x="45" y="138"/>
                  </a:lnTo>
                  <a:close/>
                  <a:moveTo>
                    <a:pt x="42" y="186"/>
                  </a:moveTo>
                  <a:lnTo>
                    <a:pt x="45" y="186"/>
                  </a:lnTo>
                  <a:lnTo>
                    <a:pt x="45" y="183"/>
                  </a:lnTo>
                  <a:cubicBezTo>
                    <a:pt x="45" y="186"/>
                    <a:pt x="45" y="186"/>
                    <a:pt x="42" y="186"/>
                  </a:cubicBezTo>
                  <a:close/>
                  <a:moveTo>
                    <a:pt x="42" y="175"/>
                  </a:moveTo>
                  <a:lnTo>
                    <a:pt x="45" y="175"/>
                  </a:lnTo>
                  <a:lnTo>
                    <a:pt x="45" y="172"/>
                  </a:lnTo>
                  <a:lnTo>
                    <a:pt x="42" y="175"/>
                  </a:lnTo>
                  <a:close/>
                  <a:moveTo>
                    <a:pt x="42" y="39"/>
                  </a:moveTo>
                  <a:lnTo>
                    <a:pt x="45" y="42"/>
                  </a:lnTo>
                  <a:lnTo>
                    <a:pt x="48" y="42"/>
                  </a:lnTo>
                  <a:lnTo>
                    <a:pt x="45" y="39"/>
                  </a:lnTo>
                  <a:cubicBezTo>
                    <a:pt x="48" y="36"/>
                    <a:pt x="45" y="36"/>
                    <a:pt x="42" y="39"/>
                  </a:cubicBezTo>
                  <a:close/>
                  <a:moveTo>
                    <a:pt x="45" y="45"/>
                  </a:moveTo>
                  <a:cubicBezTo>
                    <a:pt x="48" y="48"/>
                    <a:pt x="48" y="50"/>
                    <a:pt x="50" y="53"/>
                  </a:cubicBezTo>
                  <a:cubicBezTo>
                    <a:pt x="53" y="50"/>
                    <a:pt x="53" y="48"/>
                    <a:pt x="56" y="42"/>
                  </a:cubicBezTo>
                  <a:lnTo>
                    <a:pt x="45" y="45"/>
                  </a:lnTo>
                  <a:close/>
                  <a:moveTo>
                    <a:pt x="53" y="211"/>
                  </a:moveTo>
                  <a:lnTo>
                    <a:pt x="48" y="211"/>
                  </a:lnTo>
                  <a:lnTo>
                    <a:pt x="48" y="214"/>
                  </a:lnTo>
                  <a:lnTo>
                    <a:pt x="50" y="214"/>
                  </a:lnTo>
                  <a:lnTo>
                    <a:pt x="53" y="211"/>
                  </a:lnTo>
                  <a:close/>
                  <a:moveTo>
                    <a:pt x="113" y="413"/>
                  </a:moveTo>
                  <a:lnTo>
                    <a:pt x="118" y="419"/>
                  </a:lnTo>
                  <a:cubicBezTo>
                    <a:pt x="121" y="422"/>
                    <a:pt x="124" y="422"/>
                    <a:pt x="124" y="425"/>
                  </a:cubicBezTo>
                  <a:lnTo>
                    <a:pt x="135" y="422"/>
                  </a:lnTo>
                  <a:cubicBezTo>
                    <a:pt x="141" y="413"/>
                    <a:pt x="144" y="402"/>
                    <a:pt x="141" y="391"/>
                  </a:cubicBezTo>
                  <a:lnTo>
                    <a:pt x="141" y="385"/>
                  </a:lnTo>
                  <a:lnTo>
                    <a:pt x="141" y="379"/>
                  </a:lnTo>
                  <a:cubicBezTo>
                    <a:pt x="141" y="368"/>
                    <a:pt x="141" y="369"/>
                    <a:pt x="138" y="363"/>
                  </a:cubicBezTo>
                  <a:cubicBezTo>
                    <a:pt x="135" y="358"/>
                    <a:pt x="135" y="351"/>
                    <a:pt x="135" y="348"/>
                  </a:cubicBezTo>
                  <a:lnTo>
                    <a:pt x="135" y="334"/>
                  </a:lnTo>
                  <a:cubicBezTo>
                    <a:pt x="132" y="332"/>
                    <a:pt x="132" y="326"/>
                    <a:pt x="132" y="323"/>
                  </a:cubicBezTo>
                  <a:cubicBezTo>
                    <a:pt x="132" y="320"/>
                    <a:pt x="132" y="315"/>
                    <a:pt x="129" y="312"/>
                  </a:cubicBezTo>
                  <a:lnTo>
                    <a:pt x="127" y="289"/>
                  </a:lnTo>
                  <a:lnTo>
                    <a:pt x="127" y="284"/>
                  </a:lnTo>
                  <a:lnTo>
                    <a:pt x="127" y="278"/>
                  </a:lnTo>
                  <a:lnTo>
                    <a:pt x="127" y="272"/>
                  </a:lnTo>
                  <a:cubicBezTo>
                    <a:pt x="127" y="269"/>
                    <a:pt x="124" y="269"/>
                    <a:pt x="124" y="267"/>
                  </a:cubicBezTo>
                  <a:lnTo>
                    <a:pt x="121" y="255"/>
                  </a:lnTo>
                  <a:lnTo>
                    <a:pt x="121" y="253"/>
                  </a:lnTo>
                  <a:lnTo>
                    <a:pt x="121" y="250"/>
                  </a:lnTo>
                  <a:lnTo>
                    <a:pt x="115" y="244"/>
                  </a:lnTo>
                  <a:lnTo>
                    <a:pt x="115" y="238"/>
                  </a:lnTo>
                  <a:lnTo>
                    <a:pt x="115" y="227"/>
                  </a:lnTo>
                  <a:lnTo>
                    <a:pt x="115" y="217"/>
                  </a:lnTo>
                  <a:cubicBezTo>
                    <a:pt x="115" y="214"/>
                    <a:pt x="115" y="208"/>
                    <a:pt x="113" y="206"/>
                  </a:cubicBezTo>
                  <a:cubicBezTo>
                    <a:pt x="110" y="203"/>
                    <a:pt x="107" y="197"/>
                    <a:pt x="107" y="194"/>
                  </a:cubicBezTo>
                  <a:lnTo>
                    <a:pt x="107" y="189"/>
                  </a:lnTo>
                  <a:lnTo>
                    <a:pt x="107" y="175"/>
                  </a:lnTo>
                  <a:lnTo>
                    <a:pt x="107" y="169"/>
                  </a:lnTo>
                  <a:cubicBezTo>
                    <a:pt x="107" y="166"/>
                    <a:pt x="107" y="166"/>
                    <a:pt x="104" y="163"/>
                  </a:cubicBezTo>
                  <a:cubicBezTo>
                    <a:pt x="104" y="160"/>
                    <a:pt x="101" y="158"/>
                    <a:pt x="98" y="155"/>
                  </a:cubicBezTo>
                  <a:cubicBezTo>
                    <a:pt x="96" y="152"/>
                    <a:pt x="96" y="149"/>
                    <a:pt x="98" y="146"/>
                  </a:cubicBezTo>
                  <a:lnTo>
                    <a:pt x="98" y="138"/>
                  </a:lnTo>
                  <a:lnTo>
                    <a:pt x="98" y="129"/>
                  </a:lnTo>
                  <a:cubicBezTo>
                    <a:pt x="101" y="127"/>
                    <a:pt x="98" y="124"/>
                    <a:pt x="98" y="121"/>
                  </a:cubicBezTo>
                  <a:cubicBezTo>
                    <a:pt x="96" y="121"/>
                    <a:pt x="96" y="118"/>
                    <a:pt x="96" y="115"/>
                  </a:cubicBezTo>
                  <a:lnTo>
                    <a:pt x="96" y="110"/>
                  </a:lnTo>
                  <a:lnTo>
                    <a:pt x="93" y="96"/>
                  </a:lnTo>
                  <a:cubicBezTo>
                    <a:pt x="93" y="90"/>
                    <a:pt x="90" y="84"/>
                    <a:pt x="87" y="79"/>
                  </a:cubicBezTo>
                  <a:cubicBezTo>
                    <a:pt x="87" y="76"/>
                    <a:pt x="84" y="76"/>
                    <a:pt x="82" y="73"/>
                  </a:cubicBezTo>
                  <a:cubicBezTo>
                    <a:pt x="79" y="73"/>
                    <a:pt x="79" y="70"/>
                    <a:pt x="76" y="67"/>
                  </a:cubicBezTo>
                  <a:lnTo>
                    <a:pt x="65" y="70"/>
                  </a:lnTo>
                  <a:lnTo>
                    <a:pt x="62" y="73"/>
                  </a:lnTo>
                  <a:lnTo>
                    <a:pt x="59" y="76"/>
                  </a:lnTo>
                  <a:cubicBezTo>
                    <a:pt x="59" y="79"/>
                    <a:pt x="59" y="84"/>
                    <a:pt x="56" y="87"/>
                  </a:cubicBezTo>
                  <a:cubicBezTo>
                    <a:pt x="53" y="93"/>
                    <a:pt x="56" y="96"/>
                    <a:pt x="59" y="101"/>
                  </a:cubicBezTo>
                  <a:lnTo>
                    <a:pt x="67" y="146"/>
                  </a:lnTo>
                  <a:lnTo>
                    <a:pt x="67" y="163"/>
                  </a:lnTo>
                  <a:cubicBezTo>
                    <a:pt x="67" y="166"/>
                    <a:pt x="67" y="169"/>
                    <a:pt x="70" y="169"/>
                  </a:cubicBezTo>
                  <a:cubicBezTo>
                    <a:pt x="73" y="175"/>
                    <a:pt x="76" y="180"/>
                    <a:pt x="73" y="183"/>
                  </a:cubicBezTo>
                  <a:cubicBezTo>
                    <a:pt x="73" y="186"/>
                    <a:pt x="73" y="191"/>
                    <a:pt x="76" y="194"/>
                  </a:cubicBezTo>
                  <a:lnTo>
                    <a:pt x="76" y="200"/>
                  </a:lnTo>
                  <a:cubicBezTo>
                    <a:pt x="79" y="206"/>
                    <a:pt x="82" y="214"/>
                    <a:pt x="79" y="222"/>
                  </a:cubicBezTo>
                  <a:cubicBezTo>
                    <a:pt x="79" y="227"/>
                    <a:pt x="79" y="233"/>
                    <a:pt x="82" y="236"/>
                  </a:cubicBezTo>
                  <a:lnTo>
                    <a:pt x="82" y="238"/>
                  </a:lnTo>
                  <a:lnTo>
                    <a:pt x="82" y="241"/>
                  </a:lnTo>
                  <a:cubicBezTo>
                    <a:pt x="82" y="244"/>
                    <a:pt x="82" y="244"/>
                    <a:pt x="84" y="247"/>
                  </a:cubicBezTo>
                  <a:cubicBezTo>
                    <a:pt x="84" y="250"/>
                    <a:pt x="87" y="255"/>
                    <a:pt x="87" y="258"/>
                  </a:cubicBezTo>
                  <a:cubicBezTo>
                    <a:pt x="87" y="261"/>
                    <a:pt x="87" y="264"/>
                    <a:pt x="90" y="264"/>
                  </a:cubicBezTo>
                  <a:cubicBezTo>
                    <a:pt x="93" y="269"/>
                    <a:pt x="93" y="275"/>
                    <a:pt x="90" y="281"/>
                  </a:cubicBezTo>
                  <a:cubicBezTo>
                    <a:pt x="93" y="284"/>
                    <a:pt x="93" y="289"/>
                    <a:pt x="96" y="292"/>
                  </a:cubicBezTo>
                  <a:lnTo>
                    <a:pt x="96" y="298"/>
                  </a:lnTo>
                  <a:lnTo>
                    <a:pt x="96" y="303"/>
                  </a:lnTo>
                  <a:cubicBezTo>
                    <a:pt x="96" y="306"/>
                    <a:pt x="98" y="306"/>
                    <a:pt x="98" y="309"/>
                  </a:cubicBezTo>
                  <a:cubicBezTo>
                    <a:pt x="98" y="315"/>
                    <a:pt x="101" y="317"/>
                    <a:pt x="101" y="320"/>
                  </a:cubicBezTo>
                  <a:lnTo>
                    <a:pt x="101" y="323"/>
                  </a:lnTo>
                  <a:lnTo>
                    <a:pt x="101" y="326"/>
                  </a:lnTo>
                  <a:cubicBezTo>
                    <a:pt x="101" y="337"/>
                    <a:pt x="101" y="348"/>
                    <a:pt x="107" y="360"/>
                  </a:cubicBezTo>
                  <a:cubicBezTo>
                    <a:pt x="107" y="363"/>
                    <a:pt x="110" y="368"/>
                    <a:pt x="110" y="371"/>
                  </a:cubicBezTo>
                  <a:lnTo>
                    <a:pt x="110" y="382"/>
                  </a:lnTo>
                  <a:cubicBezTo>
                    <a:pt x="107" y="388"/>
                    <a:pt x="110" y="394"/>
                    <a:pt x="110" y="399"/>
                  </a:cubicBezTo>
                  <a:cubicBezTo>
                    <a:pt x="113" y="402"/>
                    <a:pt x="113" y="408"/>
                    <a:pt x="113" y="410"/>
                  </a:cubicBezTo>
                  <a:cubicBezTo>
                    <a:pt x="110" y="405"/>
                    <a:pt x="113" y="410"/>
                    <a:pt x="113" y="413"/>
                  </a:cubicBezTo>
                  <a:close/>
                  <a:moveTo>
                    <a:pt x="53" y="261"/>
                  </a:moveTo>
                  <a:lnTo>
                    <a:pt x="56" y="258"/>
                  </a:lnTo>
                  <a:lnTo>
                    <a:pt x="56" y="255"/>
                  </a:lnTo>
                  <a:lnTo>
                    <a:pt x="56" y="253"/>
                  </a:lnTo>
                  <a:cubicBezTo>
                    <a:pt x="53" y="255"/>
                    <a:pt x="53" y="255"/>
                    <a:pt x="53" y="261"/>
                  </a:cubicBezTo>
                  <a:close/>
                  <a:moveTo>
                    <a:pt x="53" y="42"/>
                  </a:moveTo>
                  <a:lnTo>
                    <a:pt x="59" y="36"/>
                  </a:lnTo>
                  <a:cubicBezTo>
                    <a:pt x="53" y="36"/>
                    <a:pt x="53" y="39"/>
                    <a:pt x="53" y="42"/>
                  </a:cubicBezTo>
                  <a:close/>
                  <a:moveTo>
                    <a:pt x="59" y="267"/>
                  </a:moveTo>
                  <a:cubicBezTo>
                    <a:pt x="59" y="269"/>
                    <a:pt x="62" y="272"/>
                    <a:pt x="65" y="272"/>
                  </a:cubicBezTo>
                  <a:cubicBezTo>
                    <a:pt x="65" y="269"/>
                    <a:pt x="62" y="269"/>
                    <a:pt x="59" y="267"/>
                  </a:cubicBezTo>
                  <a:cubicBezTo>
                    <a:pt x="62" y="264"/>
                    <a:pt x="62" y="264"/>
                    <a:pt x="62" y="261"/>
                  </a:cubicBezTo>
                  <a:lnTo>
                    <a:pt x="62" y="255"/>
                  </a:lnTo>
                  <a:cubicBezTo>
                    <a:pt x="59" y="258"/>
                    <a:pt x="56" y="258"/>
                    <a:pt x="56" y="261"/>
                  </a:cubicBezTo>
                  <a:cubicBezTo>
                    <a:pt x="59" y="264"/>
                    <a:pt x="59" y="267"/>
                    <a:pt x="59" y="267"/>
                  </a:cubicBezTo>
                  <a:close/>
                  <a:moveTo>
                    <a:pt x="65" y="298"/>
                  </a:moveTo>
                  <a:cubicBezTo>
                    <a:pt x="62" y="295"/>
                    <a:pt x="62" y="298"/>
                    <a:pt x="59" y="298"/>
                  </a:cubicBezTo>
                  <a:cubicBezTo>
                    <a:pt x="65" y="300"/>
                    <a:pt x="65" y="300"/>
                    <a:pt x="65" y="298"/>
                  </a:cubicBezTo>
                  <a:close/>
                  <a:moveTo>
                    <a:pt x="62" y="31"/>
                  </a:moveTo>
                  <a:cubicBezTo>
                    <a:pt x="62" y="34"/>
                    <a:pt x="65" y="34"/>
                    <a:pt x="62" y="31"/>
                  </a:cubicBezTo>
                  <a:lnTo>
                    <a:pt x="67" y="31"/>
                  </a:lnTo>
                  <a:lnTo>
                    <a:pt x="67" y="28"/>
                  </a:lnTo>
                  <a:lnTo>
                    <a:pt x="67" y="25"/>
                  </a:lnTo>
                  <a:cubicBezTo>
                    <a:pt x="65" y="25"/>
                    <a:pt x="65" y="28"/>
                    <a:pt x="65" y="28"/>
                  </a:cubicBezTo>
                  <a:cubicBezTo>
                    <a:pt x="65" y="31"/>
                    <a:pt x="62" y="31"/>
                    <a:pt x="62" y="31"/>
                  </a:cubicBezTo>
                  <a:close/>
                  <a:moveTo>
                    <a:pt x="62" y="278"/>
                  </a:moveTo>
                  <a:cubicBezTo>
                    <a:pt x="65" y="281"/>
                    <a:pt x="65" y="281"/>
                    <a:pt x="65" y="284"/>
                  </a:cubicBezTo>
                  <a:cubicBezTo>
                    <a:pt x="67" y="286"/>
                    <a:pt x="67" y="289"/>
                    <a:pt x="67" y="292"/>
                  </a:cubicBezTo>
                  <a:cubicBezTo>
                    <a:pt x="70" y="284"/>
                    <a:pt x="70" y="281"/>
                    <a:pt x="62" y="278"/>
                  </a:cubicBezTo>
                  <a:close/>
                  <a:moveTo>
                    <a:pt x="70" y="317"/>
                  </a:moveTo>
                  <a:cubicBezTo>
                    <a:pt x="70" y="317"/>
                    <a:pt x="72" y="317"/>
                    <a:pt x="73" y="319"/>
                  </a:cubicBezTo>
                  <a:lnTo>
                    <a:pt x="70" y="306"/>
                  </a:lnTo>
                  <a:lnTo>
                    <a:pt x="67" y="306"/>
                  </a:lnTo>
                  <a:lnTo>
                    <a:pt x="65" y="306"/>
                  </a:lnTo>
                  <a:lnTo>
                    <a:pt x="67" y="309"/>
                  </a:lnTo>
                  <a:cubicBezTo>
                    <a:pt x="67" y="309"/>
                    <a:pt x="67" y="312"/>
                    <a:pt x="70" y="312"/>
                  </a:cubicBezTo>
                  <a:cubicBezTo>
                    <a:pt x="67" y="315"/>
                    <a:pt x="67" y="315"/>
                    <a:pt x="65" y="315"/>
                  </a:cubicBezTo>
                  <a:lnTo>
                    <a:pt x="70" y="317"/>
                  </a:lnTo>
                  <a:close/>
                  <a:moveTo>
                    <a:pt x="65" y="34"/>
                  </a:moveTo>
                  <a:lnTo>
                    <a:pt x="65" y="39"/>
                  </a:lnTo>
                  <a:cubicBezTo>
                    <a:pt x="67" y="39"/>
                    <a:pt x="70" y="39"/>
                    <a:pt x="73" y="42"/>
                  </a:cubicBezTo>
                  <a:lnTo>
                    <a:pt x="73" y="39"/>
                  </a:lnTo>
                  <a:cubicBezTo>
                    <a:pt x="73" y="39"/>
                    <a:pt x="70" y="36"/>
                    <a:pt x="65" y="34"/>
                  </a:cubicBezTo>
                  <a:close/>
                  <a:moveTo>
                    <a:pt x="67" y="363"/>
                  </a:moveTo>
                  <a:cubicBezTo>
                    <a:pt x="70" y="365"/>
                    <a:pt x="70" y="365"/>
                    <a:pt x="70" y="368"/>
                  </a:cubicBezTo>
                  <a:lnTo>
                    <a:pt x="70" y="365"/>
                  </a:lnTo>
                  <a:lnTo>
                    <a:pt x="67" y="363"/>
                  </a:lnTo>
                  <a:close/>
                  <a:moveTo>
                    <a:pt x="70" y="382"/>
                  </a:moveTo>
                  <a:lnTo>
                    <a:pt x="73" y="382"/>
                  </a:lnTo>
                  <a:cubicBezTo>
                    <a:pt x="73" y="379"/>
                    <a:pt x="70" y="379"/>
                    <a:pt x="70" y="382"/>
                  </a:cubicBezTo>
                  <a:close/>
                  <a:moveTo>
                    <a:pt x="70" y="34"/>
                  </a:moveTo>
                  <a:cubicBezTo>
                    <a:pt x="73" y="34"/>
                    <a:pt x="76" y="36"/>
                    <a:pt x="82" y="36"/>
                  </a:cubicBezTo>
                  <a:lnTo>
                    <a:pt x="82" y="34"/>
                  </a:lnTo>
                  <a:lnTo>
                    <a:pt x="73" y="31"/>
                  </a:lnTo>
                  <a:lnTo>
                    <a:pt x="70" y="34"/>
                  </a:lnTo>
                  <a:close/>
                  <a:moveTo>
                    <a:pt x="82" y="39"/>
                  </a:moveTo>
                  <a:lnTo>
                    <a:pt x="76" y="42"/>
                  </a:lnTo>
                  <a:cubicBezTo>
                    <a:pt x="73" y="42"/>
                    <a:pt x="73" y="45"/>
                    <a:pt x="70" y="45"/>
                  </a:cubicBezTo>
                  <a:lnTo>
                    <a:pt x="76" y="50"/>
                  </a:lnTo>
                  <a:cubicBezTo>
                    <a:pt x="76" y="48"/>
                    <a:pt x="79" y="48"/>
                    <a:pt x="79" y="45"/>
                  </a:cubicBezTo>
                  <a:cubicBezTo>
                    <a:pt x="82" y="45"/>
                    <a:pt x="82" y="42"/>
                    <a:pt x="82" y="39"/>
                  </a:cubicBezTo>
                  <a:close/>
                  <a:moveTo>
                    <a:pt x="79" y="337"/>
                  </a:moveTo>
                  <a:lnTo>
                    <a:pt x="73" y="337"/>
                  </a:lnTo>
                  <a:lnTo>
                    <a:pt x="73" y="340"/>
                  </a:lnTo>
                  <a:cubicBezTo>
                    <a:pt x="76" y="340"/>
                    <a:pt x="79" y="337"/>
                    <a:pt x="79" y="337"/>
                  </a:cubicBezTo>
                  <a:close/>
                  <a:moveTo>
                    <a:pt x="82" y="394"/>
                  </a:moveTo>
                  <a:lnTo>
                    <a:pt x="76" y="394"/>
                  </a:lnTo>
                  <a:lnTo>
                    <a:pt x="73" y="396"/>
                  </a:lnTo>
                  <a:cubicBezTo>
                    <a:pt x="73" y="399"/>
                    <a:pt x="76" y="399"/>
                    <a:pt x="76" y="402"/>
                  </a:cubicBezTo>
                  <a:cubicBezTo>
                    <a:pt x="79" y="399"/>
                    <a:pt x="82" y="396"/>
                    <a:pt x="82" y="394"/>
                  </a:cubicBezTo>
                  <a:close/>
                  <a:moveTo>
                    <a:pt x="82" y="394"/>
                  </a:moveTo>
                  <a:cubicBezTo>
                    <a:pt x="84" y="394"/>
                    <a:pt x="82" y="391"/>
                    <a:pt x="82" y="394"/>
                  </a:cubicBezTo>
                  <a:close/>
                  <a:moveTo>
                    <a:pt x="76" y="365"/>
                  </a:moveTo>
                  <a:lnTo>
                    <a:pt x="82" y="365"/>
                  </a:lnTo>
                  <a:lnTo>
                    <a:pt x="82" y="360"/>
                  </a:lnTo>
                  <a:cubicBezTo>
                    <a:pt x="82" y="360"/>
                    <a:pt x="82" y="363"/>
                    <a:pt x="79" y="363"/>
                  </a:cubicBezTo>
                  <a:cubicBezTo>
                    <a:pt x="79" y="363"/>
                    <a:pt x="79" y="365"/>
                    <a:pt x="76" y="365"/>
                  </a:cubicBezTo>
                  <a:close/>
                  <a:moveTo>
                    <a:pt x="79" y="357"/>
                  </a:moveTo>
                  <a:lnTo>
                    <a:pt x="84" y="357"/>
                  </a:lnTo>
                  <a:lnTo>
                    <a:pt x="84" y="354"/>
                  </a:lnTo>
                  <a:cubicBezTo>
                    <a:pt x="82" y="357"/>
                    <a:pt x="79" y="357"/>
                    <a:pt x="79" y="357"/>
                  </a:cubicBezTo>
                  <a:close/>
                  <a:moveTo>
                    <a:pt x="87" y="379"/>
                  </a:moveTo>
                  <a:cubicBezTo>
                    <a:pt x="87" y="377"/>
                    <a:pt x="84" y="377"/>
                    <a:pt x="84" y="377"/>
                  </a:cubicBezTo>
                  <a:lnTo>
                    <a:pt x="82" y="379"/>
                  </a:lnTo>
                  <a:lnTo>
                    <a:pt x="84" y="382"/>
                  </a:lnTo>
                  <a:lnTo>
                    <a:pt x="87" y="382"/>
                  </a:lnTo>
                  <a:lnTo>
                    <a:pt x="87" y="379"/>
                  </a:lnTo>
                  <a:close/>
                  <a:moveTo>
                    <a:pt x="93" y="42"/>
                  </a:moveTo>
                  <a:lnTo>
                    <a:pt x="90" y="48"/>
                  </a:lnTo>
                  <a:cubicBezTo>
                    <a:pt x="90" y="49"/>
                    <a:pt x="89" y="50"/>
                    <a:pt x="88" y="51"/>
                  </a:cubicBezTo>
                  <a:cubicBezTo>
                    <a:pt x="89" y="51"/>
                    <a:pt x="90" y="52"/>
                    <a:pt x="90" y="53"/>
                  </a:cubicBezTo>
                  <a:cubicBezTo>
                    <a:pt x="90" y="50"/>
                    <a:pt x="93" y="50"/>
                    <a:pt x="93" y="48"/>
                  </a:cubicBezTo>
                  <a:cubicBezTo>
                    <a:pt x="93" y="45"/>
                    <a:pt x="96" y="45"/>
                    <a:pt x="96" y="42"/>
                  </a:cubicBezTo>
                  <a:lnTo>
                    <a:pt x="93" y="42"/>
                  </a:lnTo>
                  <a:lnTo>
                    <a:pt x="90" y="37"/>
                  </a:lnTo>
                  <a:cubicBezTo>
                    <a:pt x="87" y="37"/>
                    <a:pt x="88" y="39"/>
                    <a:pt x="90" y="42"/>
                  </a:cubicBezTo>
                  <a:cubicBezTo>
                    <a:pt x="91" y="42"/>
                    <a:pt x="92" y="42"/>
                    <a:pt x="93" y="42"/>
                  </a:cubicBezTo>
                  <a:close/>
                  <a:moveTo>
                    <a:pt x="98" y="45"/>
                  </a:moveTo>
                  <a:lnTo>
                    <a:pt x="101" y="45"/>
                  </a:lnTo>
                  <a:lnTo>
                    <a:pt x="104" y="45"/>
                  </a:lnTo>
                  <a:lnTo>
                    <a:pt x="104" y="42"/>
                  </a:lnTo>
                  <a:lnTo>
                    <a:pt x="101" y="42"/>
                  </a:lnTo>
                  <a:lnTo>
                    <a:pt x="98" y="42"/>
                  </a:lnTo>
                  <a:lnTo>
                    <a:pt x="98" y="45"/>
                  </a:lnTo>
                  <a:close/>
                  <a:moveTo>
                    <a:pt x="87" y="394"/>
                  </a:moveTo>
                  <a:cubicBezTo>
                    <a:pt x="84" y="394"/>
                    <a:pt x="84" y="396"/>
                    <a:pt x="84" y="396"/>
                  </a:cubicBezTo>
                  <a:lnTo>
                    <a:pt x="87" y="394"/>
                  </a:lnTo>
                  <a:close/>
                  <a:moveTo>
                    <a:pt x="90" y="433"/>
                  </a:moveTo>
                  <a:cubicBezTo>
                    <a:pt x="90" y="430"/>
                    <a:pt x="93" y="430"/>
                    <a:pt x="93" y="430"/>
                  </a:cubicBezTo>
                  <a:lnTo>
                    <a:pt x="87" y="425"/>
                  </a:lnTo>
                  <a:cubicBezTo>
                    <a:pt x="90" y="430"/>
                    <a:pt x="90" y="430"/>
                    <a:pt x="90" y="433"/>
                  </a:cubicBezTo>
                  <a:close/>
                  <a:moveTo>
                    <a:pt x="90" y="410"/>
                  </a:moveTo>
                  <a:lnTo>
                    <a:pt x="90" y="413"/>
                  </a:lnTo>
                  <a:cubicBezTo>
                    <a:pt x="93" y="413"/>
                    <a:pt x="96" y="413"/>
                    <a:pt x="90" y="410"/>
                  </a:cubicBezTo>
                  <a:close/>
                  <a:moveTo>
                    <a:pt x="96" y="45"/>
                  </a:moveTo>
                  <a:cubicBezTo>
                    <a:pt x="96" y="48"/>
                    <a:pt x="98" y="50"/>
                    <a:pt x="98" y="50"/>
                  </a:cubicBezTo>
                  <a:lnTo>
                    <a:pt x="98" y="53"/>
                  </a:lnTo>
                  <a:lnTo>
                    <a:pt x="98" y="56"/>
                  </a:lnTo>
                  <a:cubicBezTo>
                    <a:pt x="101" y="59"/>
                    <a:pt x="104" y="62"/>
                    <a:pt x="110" y="56"/>
                  </a:cubicBezTo>
                  <a:cubicBezTo>
                    <a:pt x="107" y="53"/>
                    <a:pt x="101" y="48"/>
                    <a:pt x="96" y="45"/>
                  </a:cubicBezTo>
                  <a:close/>
                  <a:moveTo>
                    <a:pt x="110" y="433"/>
                  </a:moveTo>
                  <a:cubicBezTo>
                    <a:pt x="107" y="436"/>
                    <a:pt x="104" y="436"/>
                    <a:pt x="101" y="439"/>
                  </a:cubicBezTo>
                  <a:lnTo>
                    <a:pt x="104" y="442"/>
                  </a:lnTo>
                  <a:cubicBezTo>
                    <a:pt x="104" y="444"/>
                    <a:pt x="104" y="444"/>
                    <a:pt x="107" y="447"/>
                  </a:cubicBezTo>
                  <a:cubicBezTo>
                    <a:pt x="110" y="442"/>
                    <a:pt x="110" y="439"/>
                    <a:pt x="110" y="433"/>
                  </a:cubicBezTo>
                  <a:close/>
                  <a:moveTo>
                    <a:pt x="113" y="450"/>
                  </a:moveTo>
                  <a:lnTo>
                    <a:pt x="110" y="450"/>
                  </a:lnTo>
                  <a:cubicBezTo>
                    <a:pt x="107" y="450"/>
                    <a:pt x="107" y="450"/>
                    <a:pt x="104" y="453"/>
                  </a:cubicBezTo>
                  <a:cubicBezTo>
                    <a:pt x="107" y="453"/>
                    <a:pt x="107" y="456"/>
                    <a:pt x="110" y="456"/>
                  </a:cubicBezTo>
                  <a:cubicBezTo>
                    <a:pt x="110" y="456"/>
                    <a:pt x="110" y="453"/>
                    <a:pt x="113" y="450"/>
                  </a:cubicBezTo>
                  <a:close/>
                  <a:moveTo>
                    <a:pt x="113" y="76"/>
                  </a:moveTo>
                  <a:cubicBezTo>
                    <a:pt x="110" y="76"/>
                    <a:pt x="110" y="76"/>
                    <a:pt x="107" y="79"/>
                  </a:cubicBezTo>
                  <a:cubicBezTo>
                    <a:pt x="107" y="81"/>
                    <a:pt x="110" y="81"/>
                    <a:pt x="113" y="81"/>
                  </a:cubicBezTo>
                  <a:lnTo>
                    <a:pt x="113" y="76"/>
                  </a:lnTo>
                  <a:close/>
                  <a:moveTo>
                    <a:pt x="115" y="442"/>
                  </a:moveTo>
                  <a:lnTo>
                    <a:pt x="113" y="442"/>
                  </a:lnTo>
                  <a:cubicBezTo>
                    <a:pt x="113" y="447"/>
                    <a:pt x="113" y="450"/>
                    <a:pt x="118" y="450"/>
                  </a:cubicBezTo>
                  <a:lnTo>
                    <a:pt x="115" y="442"/>
                  </a:lnTo>
                  <a:close/>
                  <a:moveTo>
                    <a:pt x="113" y="62"/>
                  </a:moveTo>
                  <a:lnTo>
                    <a:pt x="113" y="65"/>
                  </a:lnTo>
                  <a:lnTo>
                    <a:pt x="113" y="70"/>
                  </a:lnTo>
                  <a:lnTo>
                    <a:pt x="118" y="65"/>
                  </a:lnTo>
                  <a:cubicBezTo>
                    <a:pt x="118" y="62"/>
                    <a:pt x="115" y="62"/>
                    <a:pt x="113" y="62"/>
                  </a:cubicBezTo>
                  <a:close/>
                  <a:moveTo>
                    <a:pt x="124" y="79"/>
                  </a:moveTo>
                  <a:cubicBezTo>
                    <a:pt x="123" y="79"/>
                    <a:pt x="122" y="79"/>
                    <a:pt x="121" y="79"/>
                  </a:cubicBezTo>
                  <a:lnTo>
                    <a:pt x="121" y="76"/>
                  </a:lnTo>
                  <a:cubicBezTo>
                    <a:pt x="121" y="73"/>
                    <a:pt x="118" y="73"/>
                    <a:pt x="115" y="73"/>
                  </a:cubicBezTo>
                  <a:cubicBezTo>
                    <a:pt x="117" y="75"/>
                    <a:pt x="119" y="77"/>
                    <a:pt x="120" y="79"/>
                  </a:cubicBezTo>
                  <a:cubicBezTo>
                    <a:pt x="119" y="79"/>
                    <a:pt x="117" y="80"/>
                    <a:pt x="115" y="81"/>
                  </a:cubicBezTo>
                  <a:cubicBezTo>
                    <a:pt x="118" y="84"/>
                    <a:pt x="121" y="84"/>
                    <a:pt x="124" y="84"/>
                  </a:cubicBezTo>
                  <a:lnTo>
                    <a:pt x="124" y="79"/>
                  </a:lnTo>
                  <a:close/>
                  <a:moveTo>
                    <a:pt x="120" y="79"/>
                  </a:moveTo>
                  <a:cubicBezTo>
                    <a:pt x="121" y="80"/>
                    <a:pt x="121" y="81"/>
                    <a:pt x="121" y="81"/>
                  </a:cubicBezTo>
                  <a:lnTo>
                    <a:pt x="121" y="79"/>
                  </a:lnTo>
                  <a:cubicBezTo>
                    <a:pt x="121" y="79"/>
                    <a:pt x="121" y="79"/>
                    <a:pt x="120" y="79"/>
                  </a:cubicBezTo>
                  <a:close/>
                  <a:moveTo>
                    <a:pt x="118" y="107"/>
                  </a:moveTo>
                  <a:cubicBezTo>
                    <a:pt x="118" y="110"/>
                    <a:pt x="118" y="112"/>
                    <a:pt x="115" y="115"/>
                  </a:cubicBezTo>
                  <a:lnTo>
                    <a:pt x="118" y="115"/>
                  </a:lnTo>
                  <a:lnTo>
                    <a:pt x="124" y="115"/>
                  </a:lnTo>
                  <a:lnTo>
                    <a:pt x="127" y="115"/>
                  </a:lnTo>
                  <a:lnTo>
                    <a:pt x="118" y="107"/>
                  </a:lnTo>
                  <a:cubicBezTo>
                    <a:pt x="121" y="107"/>
                    <a:pt x="124" y="104"/>
                    <a:pt x="124" y="101"/>
                  </a:cubicBezTo>
                  <a:cubicBezTo>
                    <a:pt x="121" y="104"/>
                    <a:pt x="118" y="104"/>
                    <a:pt x="118" y="107"/>
                  </a:cubicBezTo>
                  <a:close/>
                  <a:moveTo>
                    <a:pt x="118" y="129"/>
                  </a:moveTo>
                  <a:cubicBezTo>
                    <a:pt x="121" y="129"/>
                    <a:pt x="121" y="132"/>
                    <a:pt x="121" y="132"/>
                  </a:cubicBezTo>
                  <a:lnTo>
                    <a:pt x="124" y="135"/>
                  </a:lnTo>
                  <a:cubicBezTo>
                    <a:pt x="121" y="138"/>
                    <a:pt x="124" y="141"/>
                    <a:pt x="124" y="141"/>
                  </a:cubicBezTo>
                  <a:cubicBezTo>
                    <a:pt x="124" y="141"/>
                    <a:pt x="124" y="144"/>
                    <a:pt x="127" y="144"/>
                  </a:cubicBezTo>
                  <a:lnTo>
                    <a:pt x="129" y="141"/>
                  </a:lnTo>
                  <a:cubicBezTo>
                    <a:pt x="129" y="141"/>
                    <a:pt x="127" y="138"/>
                    <a:pt x="127" y="135"/>
                  </a:cubicBezTo>
                  <a:lnTo>
                    <a:pt x="127" y="124"/>
                  </a:lnTo>
                  <a:lnTo>
                    <a:pt x="124" y="124"/>
                  </a:lnTo>
                  <a:lnTo>
                    <a:pt x="118" y="129"/>
                  </a:lnTo>
                  <a:close/>
                  <a:moveTo>
                    <a:pt x="121" y="155"/>
                  </a:moveTo>
                  <a:lnTo>
                    <a:pt x="124" y="158"/>
                  </a:lnTo>
                  <a:cubicBezTo>
                    <a:pt x="124" y="158"/>
                    <a:pt x="127" y="158"/>
                    <a:pt x="127" y="160"/>
                  </a:cubicBezTo>
                  <a:lnTo>
                    <a:pt x="124" y="163"/>
                  </a:lnTo>
                  <a:cubicBezTo>
                    <a:pt x="127" y="166"/>
                    <a:pt x="129" y="163"/>
                    <a:pt x="132" y="160"/>
                  </a:cubicBezTo>
                  <a:cubicBezTo>
                    <a:pt x="129" y="160"/>
                    <a:pt x="129" y="158"/>
                    <a:pt x="129" y="158"/>
                  </a:cubicBezTo>
                  <a:cubicBezTo>
                    <a:pt x="127" y="158"/>
                    <a:pt x="127" y="155"/>
                    <a:pt x="124" y="158"/>
                  </a:cubicBezTo>
                  <a:cubicBezTo>
                    <a:pt x="127" y="152"/>
                    <a:pt x="124" y="152"/>
                    <a:pt x="121" y="155"/>
                  </a:cubicBezTo>
                  <a:close/>
                  <a:moveTo>
                    <a:pt x="141" y="461"/>
                  </a:moveTo>
                  <a:lnTo>
                    <a:pt x="138" y="458"/>
                  </a:lnTo>
                  <a:lnTo>
                    <a:pt x="132" y="458"/>
                  </a:lnTo>
                  <a:lnTo>
                    <a:pt x="132" y="453"/>
                  </a:lnTo>
                  <a:lnTo>
                    <a:pt x="127" y="453"/>
                  </a:lnTo>
                  <a:lnTo>
                    <a:pt x="124" y="453"/>
                  </a:lnTo>
                  <a:lnTo>
                    <a:pt x="118" y="453"/>
                  </a:lnTo>
                  <a:lnTo>
                    <a:pt x="121" y="456"/>
                  </a:lnTo>
                  <a:lnTo>
                    <a:pt x="121" y="461"/>
                  </a:lnTo>
                  <a:lnTo>
                    <a:pt x="121" y="467"/>
                  </a:lnTo>
                  <a:cubicBezTo>
                    <a:pt x="124" y="464"/>
                    <a:pt x="127" y="464"/>
                    <a:pt x="129" y="464"/>
                  </a:cubicBezTo>
                  <a:cubicBezTo>
                    <a:pt x="138" y="458"/>
                    <a:pt x="138" y="458"/>
                    <a:pt x="141" y="461"/>
                  </a:cubicBezTo>
                  <a:close/>
                  <a:moveTo>
                    <a:pt x="121" y="87"/>
                  </a:moveTo>
                  <a:lnTo>
                    <a:pt x="127" y="93"/>
                  </a:lnTo>
                  <a:cubicBezTo>
                    <a:pt x="129" y="93"/>
                    <a:pt x="129" y="90"/>
                    <a:pt x="129" y="90"/>
                  </a:cubicBezTo>
                  <a:cubicBezTo>
                    <a:pt x="127" y="87"/>
                    <a:pt x="127" y="84"/>
                    <a:pt x="121" y="87"/>
                  </a:cubicBezTo>
                  <a:close/>
                  <a:moveTo>
                    <a:pt x="124" y="144"/>
                  </a:moveTo>
                  <a:cubicBezTo>
                    <a:pt x="124" y="146"/>
                    <a:pt x="124" y="146"/>
                    <a:pt x="127" y="146"/>
                  </a:cubicBezTo>
                  <a:lnTo>
                    <a:pt x="124" y="144"/>
                  </a:lnTo>
                  <a:close/>
                  <a:moveTo>
                    <a:pt x="127" y="166"/>
                  </a:moveTo>
                  <a:lnTo>
                    <a:pt x="129" y="169"/>
                  </a:lnTo>
                  <a:cubicBezTo>
                    <a:pt x="129" y="166"/>
                    <a:pt x="127" y="163"/>
                    <a:pt x="127" y="166"/>
                  </a:cubicBezTo>
                  <a:close/>
                  <a:moveTo>
                    <a:pt x="127" y="121"/>
                  </a:moveTo>
                  <a:cubicBezTo>
                    <a:pt x="127" y="121"/>
                    <a:pt x="129" y="121"/>
                    <a:pt x="127" y="121"/>
                  </a:cubicBezTo>
                  <a:lnTo>
                    <a:pt x="132" y="118"/>
                  </a:lnTo>
                  <a:cubicBezTo>
                    <a:pt x="124" y="115"/>
                    <a:pt x="127" y="118"/>
                    <a:pt x="127" y="121"/>
                  </a:cubicBezTo>
                  <a:close/>
                  <a:moveTo>
                    <a:pt x="129" y="98"/>
                  </a:moveTo>
                  <a:cubicBezTo>
                    <a:pt x="127" y="98"/>
                    <a:pt x="127" y="98"/>
                    <a:pt x="127" y="101"/>
                  </a:cubicBezTo>
                  <a:cubicBezTo>
                    <a:pt x="127" y="101"/>
                    <a:pt x="129" y="101"/>
                    <a:pt x="129" y="104"/>
                  </a:cubicBezTo>
                  <a:lnTo>
                    <a:pt x="129" y="107"/>
                  </a:lnTo>
                  <a:lnTo>
                    <a:pt x="132" y="107"/>
                  </a:lnTo>
                  <a:lnTo>
                    <a:pt x="129" y="98"/>
                  </a:lnTo>
                  <a:close/>
                  <a:moveTo>
                    <a:pt x="132" y="183"/>
                  </a:moveTo>
                  <a:lnTo>
                    <a:pt x="132" y="189"/>
                  </a:lnTo>
                  <a:lnTo>
                    <a:pt x="135" y="189"/>
                  </a:lnTo>
                  <a:lnTo>
                    <a:pt x="138" y="186"/>
                  </a:lnTo>
                  <a:lnTo>
                    <a:pt x="138" y="183"/>
                  </a:lnTo>
                  <a:cubicBezTo>
                    <a:pt x="144" y="180"/>
                    <a:pt x="144" y="180"/>
                    <a:pt x="141" y="175"/>
                  </a:cubicBezTo>
                  <a:lnTo>
                    <a:pt x="132" y="183"/>
                  </a:lnTo>
                  <a:close/>
                  <a:moveTo>
                    <a:pt x="138" y="172"/>
                  </a:moveTo>
                  <a:cubicBezTo>
                    <a:pt x="138" y="172"/>
                    <a:pt x="135" y="172"/>
                    <a:pt x="135" y="169"/>
                  </a:cubicBezTo>
                  <a:lnTo>
                    <a:pt x="135" y="172"/>
                  </a:lnTo>
                  <a:lnTo>
                    <a:pt x="135" y="175"/>
                  </a:lnTo>
                  <a:cubicBezTo>
                    <a:pt x="135" y="177"/>
                    <a:pt x="138" y="175"/>
                    <a:pt x="138" y="172"/>
                  </a:cubicBezTo>
                  <a:close/>
                  <a:moveTo>
                    <a:pt x="138" y="442"/>
                  </a:moveTo>
                  <a:lnTo>
                    <a:pt x="135" y="442"/>
                  </a:lnTo>
                  <a:lnTo>
                    <a:pt x="135" y="444"/>
                  </a:lnTo>
                  <a:cubicBezTo>
                    <a:pt x="138" y="447"/>
                    <a:pt x="138" y="444"/>
                    <a:pt x="138" y="442"/>
                  </a:cubicBezTo>
                  <a:close/>
                  <a:moveTo>
                    <a:pt x="135" y="129"/>
                  </a:moveTo>
                  <a:cubicBezTo>
                    <a:pt x="135" y="132"/>
                    <a:pt x="138" y="132"/>
                    <a:pt x="135" y="129"/>
                  </a:cubicBezTo>
                  <a:close/>
                  <a:moveTo>
                    <a:pt x="141" y="149"/>
                  </a:moveTo>
                  <a:cubicBezTo>
                    <a:pt x="138" y="149"/>
                    <a:pt x="138" y="152"/>
                    <a:pt x="135" y="152"/>
                  </a:cubicBezTo>
                  <a:cubicBezTo>
                    <a:pt x="141" y="152"/>
                    <a:pt x="141" y="152"/>
                    <a:pt x="141" y="149"/>
                  </a:cubicBezTo>
                  <a:close/>
                  <a:moveTo>
                    <a:pt x="141" y="258"/>
                  </a:moveTo>
                  <a:lnTo>
                    <a:pt x="141" y="253"/>
                  </a:lnTo>
                  <a:lnTo>
                    <a:pt x="138" y="253"/>
                  </a:lnTo>
                  <a:lnTo>
                    <a:pt x="135" y="253"/>
                  </a:lnTo>
                  <a:lnTo>
                    <a:pt x="141" y="258"/>
                  </a:lnTo>
                  <a:close/>
                  <a:moveTo>
                    <a:pt x="138" y="220"/>
                  </a:moveTo>
                  <a:lnTo>
                    <a:pt x="138" y="224"/>
                  </a:lnTo>
                  <a:lnTo>
                    <a:pt x="135" y="224"/>
                  </a:lnTo>
                  <a:cubicBezTo>
                    <a:pt x="141" y="227"/>
                    <a:pt x="144" y="227"/>
                    <a:pt x="144" y="230"/>
                  </a:cubicBezTo>
                  <a:cubicBezTo>
                    <a:pt x="146" y="230"/>
                    <a:pt x="146" y="227"/>
                    <a:pt x="149" y="224"/>
                  </a:cubicBezTo>
                  <a:lnTo>
                    <a:pt x="149" y="222"/>
                  </a:lnTo>
                  <a:lnTo>
                    <a:pt x="146" y="222"/>
                  </a:lnTo>
                  <a:lnTo>
                    <a:pt x="144" y="227"/>
                  </a:lnTo>
                  <a:lnTo>
                    <a:pt x="141" y="224"/>
                  </a:lnTo>
                  <a:lnTo>
                    <a:pt x="138" y="220"/>
                  </a:lnTo>
                  <a:close/>
                  <a:moveTo>
                    <a:pt x="138" y="233"/>
                  </a:moveTo>
                  <a:lnTo>
                    <a:pt x="138" y="236"/>
                  </a:lnTo>
                  <a:lnTo>
                    <a:pt x="141" y="236"/>
                  </a:lnTo>
                  <a:cubicBezTo>
                    <a:pt x="138" y="236"/>
                    <a:pt x="138" y="236"/>
                    <a:pt x="138" y="233"/>
                  </a:cubicBezTo>
                  <a:close/>
                  <a:moveTo>
                    <a:pt x="144" y="191"/>
                  </a:moveTo>
                  <a:lnTo>
                    <a:pt x="138" y="191"/>
                  </a:lnTo>
                  <a:lnTo>
                    <a:pt x="138" y="197"/>
                  </a:lnTo>
                  <a:lnTo>
                    <a:pt x="138" y="203"/>
                  </a:lnTo>
                  <a:lnTo>
                    <a:pt x="141" y="203"/>
                  </a:lnTo>
                  <a:lnTo>
                    <a:pt x="141" y="197"/>
                  </a:lnTo>
                  <a:lnTo>
                    <a:pt x="144" y="191"/>
                  </a:lnTo>
                  <a:close/>
                  <a:moveTo>
                    <a:pt x="138" y="238"/>
                  </a:moveTo>
                  <a:cubicBezTo>
                    <a:pt x="138" y="241"/>
                    <a:pt x="141" y="241"/>
                    <a:pt x="138" y="238"/>
                  </a:cubicBezTo>
                  <a:close/>
                  <a:moveTo>
                    <a:pt x="146" y="450"/>
                  </a:moveTo>
                  <a:lnTo>
                    <a:pt x="144" y="439"/>
                  </a:lnTo>
                  <a:cubicBezTo>
                    <a:pt x="141" y="442"/>
                    <a:pt x="138" y="442"/>
                    <a:pt x="141" y="444"/>
                  </a:cubicBezTo>
                  <a:lnTo>
                    <a:pt x="141" y="450"/>
                  </a:lnTo>
                  <a:lnTo>
                    <a:pt x="146" y="450"/>
                  </a:lnTo>
                  <a:close/>
                  <a:moveTo>
                    <a:pt x="155" y="272"/>
                  </a:moveTo>
                  <a:lnTo>
                    <a:pt x="152" y="267"/>
                  </a:lnTo>
                  <a:cubicBezTo>
                    <a:pt x="152" y="264"/>
                    <a:pt x="155" y="264"/>
                    <a:pt x="155" y="264"/>
                  </a:cubicBezTo>
                  <a:cubicBezTo>
                    <a:pt x="155" y="258"/>
                    <a:pt x="152" y="255"/>
                    <a:pt x="149" y="255"/>
                  </a:cubicBezTo>
                  <a:lnTo>
                    <a:pt x="149" y="261"/>
                  </a:lnTo>
                  <a:cubicBezTo>
                    <a:pt x="149" y="261"/>
                    <a:pt x="146" y="261"/>
                    <a:pt x="146" y="258"/>
                  </a:cubicBezTo>
                  <a:lnTo>
                    <a:pt x="146" y="264"/>
                  </a:lnTo>
                  <a:lnTo>
                    <a:pt x="144" y="267"/>
                  </a:lnTo>
                  <a:cubicBezTo>
                    <a:pt x="146" y="267"/>
                    <a:pt x="149" y="269"/>
                    <a:pt x="149" y="269"/>
                  </a:cubicBezTo>
                  <a:cubicBezTo>
                    <a:pt x="149" y="272"/>
                    <a:pt x="152" y="272"/>
                    <a:pt x="155" y="272"/>
                  </a:cubicBezTo>
                  <a:close/>
                  <a:moveTo>
                    <a:pt x="144" y="220"/>
                  </a:moveTo>
                  <a:cubicBezTo>
                    <a:pt x="144" y="222"/>
                    <a:pt x="146" y="222"/>
                    <a:pt x="144" y="220"/>
                  </a:cubicBezTo>
                  <a:close/>
                  <a:moveTo>
                    <a:pt x="149" y="197"/>
                  </a:moveTo>
                  <a:cubicBezTo>
                    <a:pt x="146" y="194"/>
                    <a:pt x="146" y="197"/>
                    <a:pt x="146" y="197"/>
                  </a:cubicBezTo>
                  <a:lnTo>
                    <a:pt x="149" y="197"/>
                  </a:lnTo>
                  <a:close/>
                  <a:moveTo>
                    <a:pt x="155" y="447"/>
                  </a:moveTo>
                  <a:cubicBezTo>
                    <a:pt x="146" y="450"/>
                    <a:pt x="144" y="456"/>
                    <a:pt x="144" y="458"/>
                  </a:cubicBezTo>
                  <a:lnTo>
                    <a:pt x="146" y="458"/>
                  </a:lnTo>
                  <a:lnTo>
                    <a:pt x="146" y="453"/>
                  </a:lnTo>
                  <a:cubicBezTo>
                    <a:pt x="155" y="450"/>
                    <a:pt x="155" y="450"/>
                    <a:pt x="155" y="447"/>
                  </a:cubicBezTo>
                  <a:close/>
                  <a:moveTo>
                    <a:pt x="146" y="250"/>
                  </a:moveTo>
                  <a:lnTo>
                    <a:pt x="149" y="253"/>
                  </a:lnTo>
                  <a:cubicBezTo>
                    <a:pt x="149" y="250"/>
                    <a:pt x="152" y="250"/>
                    <a:pt x="152" y="247"/>
                  </a:cubicBezTo>
                  <a:lnTo>
                    <a:pt x="152" y="241"/>
                  </a:lnTo>
                  <a:cubicBezTo>
                    <a:pt x="152" y="244"/>
                    <a:pt x="149" y="244"/>
                    <a:pt x="149" y="244"/>
                  </a:cubicBezTo>
                  <a:lnTo>
                    <a:pt x="146" y="250"/>
                  </a:lnTo>
                  <a:close/>
                  <a:moveTo>
                    <a:pt x="155" y="306"/>
                  </a:moveTo>
                  <a:lnTo>
                    <a:pt x="166" y="309"/>
                  </a:lnTo>
                  <a:lnTo>
                    <a:pt x="166" y="315"/>
                  </a:lnTo>
                  <a:cubicBezTo>
                    <a:pt x="166" y="315"/>
                    <a:pt x="169" y="309"/>
                    <a:pt x="172" y="306"/>
                  </a:cubicBezTo>
                  <a:cubicBezTo>
                    <a:pt x="169" y="303"/>
                    <a:pt x="169" y="303"/>
                    <a:pt x="169" y="300"/>
                  </a:cubicBezTo>
                  <a:cubicBezTo>
                    <a:pt x="169" y="298"/>
                    <a:pt x="166" y="298"/>
                    <a:pt x="163" y="298"/>
                  </a:cubicBezTo>
                  <a:lnTo>
                    <a:pt x="160" y="296"/>
                  </a:lnTo>
                  <a:lnTo>
                    <a:pt x="158" y="298"/>
                  </a:lnTo>
                  <a:cubicBezTo>
                    <a:pt x="158" y="298"/>
                    <a:pt x="158" y="300"/>
                    <a:pt x="155" y="300"/>
                  </a:cubicBezTo>
                  <a:lnTo>
                    <a:pt x="161" y="300"/>
                  </a:lnTo>
                  <a:lnTo>
                    <a:pt x="161" y="303"/>
                  </a:lnTo>
                  <a:lnTo>
                    <a:pt x="155" y="303"/>
                  </a:lnTo>
                  <a:lnTo>
                    <a:pt x="155" y="306"/>
                  </a:lnTo>
                  <a:lnTo>
                    <a:pt x="149" y="306"/>
                  </a:lnTo>
                  <a:cubicBezTo>
                    <a:pt x="152" y="309"/>
                    <a:pt x="152" y="309"/>
                    <a:pt x="155" y="306"/>
                  </a:cubicBezTo>
                  <a:close/>
                  <a:moveTo>
                    <a:pt x="161" y="433"/>
                  </a:moveTo>
                  <a:cubicBezTo>
                    <a:pt x="161" y="430"/>
                    <a:pt x="158" y="430"/>
                    <a:pt x="161" y="433"/>
                  </a:cubicBezTo>
                  <a:cubicBezTo>
                    <a:pt x="158" y="433"/>
                    <a:pt x="158" y="433"/>
                    <a:pt x="158" y="436"/>
                  </a:cubicBezTo>
                  <a:lnTo>
                    <a:pt x="152" y="439"/>
                  </a:lnTo>
                  <a:cubicBezTo>
                    <a:pt x="152" y="442"/>
                    <a:pt x="155" y="442"/>
                    <a:pt x="155" y="442"/>
                  </a:cubicBezTo>
                  <a:cubicBezTo>
                    <a:pt x="155" y="439"/>
                    <a:pt x="158" y="436"/>
                    <a:pt x="161" y="436"/>
                  </a:cubicBezTo>
                  <a:cubicBezTo>
                    <a:pt x="161" y="436"/>
                    <a:pt x="163" y="436"/>
                    <a:pt x="161" y="433"/>
                  </a:cubicBezTo>
                  <a:close/>
                  <a:moveTo>
                    <a:pt x="152" y="337"/>
                  </a:moveTo>
                  <a:cubicBezTo>
                    <a:pt x="152" y="337"/>
                    <a:pt x="155" y="337"/>
                    <a:pt x="152" y="337"/>
                  </a:cubicBezTo>
                  <a:cubicBezTo>
                    <a:pt x="155" y="337"/>
                    <a:pt x="155" y="334"/>
                    <a:pt x="155" y="334"/>
                  </a:cubicBezTo>
                  <a:lnTo>
                    <a:pt x="152" y="337"/>
                  </a:lnTo>
                  <a:close/>
                  <a:moveTo>
                    <a:pt x="158" y="295"/>
                  </a:moveTo>
                  <a:lnTo>
                    <a:pt x="166" y="295"/>
                  </a:lnTo>
                  <a:lnTo>
                    <a:pt x="161" y="289"/>
                  </a:lnTo>
                  <a:cubicBezTo>
                    <a:pt x="161" y="292"/>
                    <a:pt x="158" y="292"/>
                    <a:pt x="158" y="289"/>
                  </a:cubicBezTo>
                  <a:cubicBezTo>
                    <a:pt x="155" y="289"/>
                    <a:pt x="155" y="289"/>
                    <a:pt x="155" y="292"/>
                  </a:cubicBezTo>
                  <a:lnTo>
                    <a:pt x="158" y="292"/>
                  </a:lnTo>
                  <a:lnTo>
                    <a:pt x="161" y="295"/>
                  </a:lnTo>
                  <a:lnTo>
                    <a:pt x="160" y="296"/>
                  </a:lnTo>
                  <a:lnTo>
                    <a:pt x="158" y="295"/>
                  </a:lnTo>
                  <a:close/>
                  <a:moveTo>
                    <a:pt x="158" y="332"/>
                  </a:moveTo>
                  <a:lnTo>
                    <a:pt x="158" y="326"/>
                  </a:lnTo>
                  <a:lnTo>
                    <a:pt x="155" y="326"/>
                  </a:lnTo>
                  <a:cubicBezTo>
                    <a:pt x="155" y="329"/>
                    <a:pt x="158" y="332"/>
                    <a:pt x="158" y="332"/>
                  </a:cubicBezTo>
                  <a:close/>
                  <a:moveTo>
                    <a:pt x="155" y="317"/>
                  </a:moveTo>
                  <a:lnTo>
                    <a:pt x="158" y="320"/>
                  </a:lnTo>
                  <a:lnTo>
                    <a:pt x="158" y="317"/>
                  </a:lnTo>
                  <a:lnTo>
                    <a:pt x="158" y="315"/>
                  </a:lnTo>
                  <a:cubicBezTo>
                    <a:pt x="158" y="312"/>
                    <a:pt x="155" y="312"/>
                    <a:pt x="155" y="312"/>
                  </a:cubicBezTo>
                  <a:lnTo>
                    <a:pt x="155" y="317"/>
                  </a:lnTo>
                  <a:close/>
                  <a:moveTo>
                    <a:pt x="175" y="332"/>
                  </a:moveTo>
                  <a:cubicBezTo>
                    <a:pt x="172" y="329"/>
                    <a:pt x="169" y="329"/>
                    <a:pt x="166" y="329"/>
                  </a:cubicBezTo>
                  <a:cubicBezTo>
                    <a:pt x="166" y="326"/>
                    <a:pt x="166" y="326"/>
                    <a:pt x="169" y="323"/>
                  </a:cubicBezTo>
                  <a:lnTo>
                    <a:pt x="161" y="323"/>
                  </a:lnTo>
                  <a:lnTo>
                    <a:pt x="161" y="326"/>
                  </a:lnTo>
                  <a:lnTo>
                    <a:pt x="166" y="326"/>
                  </a:lnTo>
                  <a:cubicBezTo>
                    <a:pt x="163" y="329"/>
                    <a:pt x="163" y="332"/>
                    <a:pt x="161" y="334"/>
                  </a:cubicBezTo>
                  <a:lnTo>
                    <a:pt x="161" y="340"/>
                  </a:lnTo>
                  <a:lnTo>
                    <a:pt x="161" y="343"/>
                  </a:lnTo>
                  <a:lnTo>
                    <a:pt x="158" y="343"/>
                  </a:lnTo>
                  <a:lnTo>
                    <a:pt x="158" y="351"/>
                  </a:lnTo>
                  <a:lnTo>
                    <a:pt x="161" y="351"/>
                  </a:lnTo>
                  <a:lnTo>
                    <a:pt x="163" y="348"/>
                  </a:lnTo>
                  <a:lnTo>
                    <a:pt x="166" y="340"/>
                  </a:lnTo>
                  <a:lnTo>
                    <a:pt x="163" y="337"/>
                  </a:lnTo>
                  <a:lnTo>
                    <a:pt x="161" y="334"/>
                  </a:lnTo>
                  <a:lnTo>
                    <a:pt x="166" y="334"/>
                  </a:lnTo>
                  <a:cubicBezTo>
                    <a:pt x="166" y="334"/>
                    <a:pt x="166" y="337"/>
                    <a:pt x="169" y="337"/>
                  </a:cubicBezTo>
                  <a:cubicBezTo>
                    <a:pt x="169" y="340"/>
                    <a:pt x="172" y="343"/>
                    <a:pt x="175" y="340"/>
                  </a:cubicBezTo>
                  <a:lnTo>
                    <a:pt x="177" y="340"/>
                  </a:lnTo>
                  <a:cubicBezTo>
                    <a:pt x="172" y="337"/>
                    <a:pt x="172" y="334"/>
                    <a:pt x="175" y="332"/>
                  </a:cubicBezTo>
                  <a:close/>
                  <a:moveTo>
                    <a:pt x="161" y="286"/>
                  </a:moveTo>
                  <a:cubicBezTo>
                    <a:pt x="163" y="286"/>
                    <a:pt x="163" y="286"/>
                    <a:pt x="166" y="284"/>
                  </a:cubicBezTo>
                  <a:cubicBezTo>
                    <a:pt x="166" y="281"/>
                    <a:pt x="163" y="281"/>
                    <a:pt x="161" y="281"/>
                  </a:cubicBezTo>
                  <a:lnTo>
                    <a:pt x="161" y="286"/>
                  </a:lnTo>
                  <a:close/>
                  <a:moveTo>
                    <a:pt x="163" y="363"/>
                  </a:moveTo>
                  <a:cubicBezTo>
                    <a:pt x="163" y="365"/>
                    <a:pt x="161" y="368"/>
                    <a:pt x="161" y="368"/>
                  </a:cubicBezTo>
                  <a:cubicBezTo>
                    <a:pt x="163" y="368"/>
                    <a:pt x="163" y="368"/>
                    <a:pt x="163" y="371"/>
                  </a:cubicBezTo>
                  <a:lnTo>
                    <a:pt x="163" y="374"/>
                  </a:lnTo>
                  <a:lnTo>
                    <a:pt x="163" y="377"/>
                  </a:lnTo>
                  <a:cubicBezTo>
                    <a:pt x="163" y="379"/>
                    <a:pt x="163" y="379"/>
                    <a:pt x="166" y="379"/>
                  </a:cubicBezTo>
                  <a:cubicBezTo>
                    <a:pt x="163" y="379"/>
                    <a:pt x="163" y="382"/>
                    <a:pt x="163" y="385"/>
                  </a:cubicBezTo>
                  <a:lnTo>
                    <a:pt x="166" y="388"/>
                  </a:lnTo>
                  <a:cubicBezTo>
                    <a:pt x="169" y="388"/>
                    <a:pt x="169" y="388"/>
                    <a:pt x="172" y="385"/>
                  </a:cubicBezTo>
                  <a:lnTo>
                    <a:pt x="175" y="385"/>
                  </a:lnTo>
                  <a:cubicBezTo>
                    <a:pt x="175" y="382"/>
                    <a:pt x="177" y="385"/>
                    <a:pt x="177" y="388"/>
                  </a:cubicBezTo>
                  <a:lnTo>
                    <a:pt x="177" y="382"/>
                  </a:lnTo>
                  <a:lnTo>
                    <a:pt x="177" y="379"/>
                  </a:lnTo>
                  <a:lnTo>
                    <a:pt x="172" y="379"/>
                  </a:lnTo>
                  <a:lnTo>
                    <a:pt x="166" y="379"/>
                  </a:lnTo>
                  <a:lnTo>
                    <a:pt x="166" y="371"/>
                  </a:lnTo>
                  <a:cubicBezTo>
                    <a:pt x="166" y="368"/>
                    <a:pt x="166" y="365"/>
                    <a:pt x="169" y="363"/>
                  </a:cubicBezTo>
                  <a:lnTo>
                    <a:pt x="166" y="363"/>
                  </a:lnTo>
                  <a:lnTo>
                    <a:pt x="166" y="354"/>
                  </a:lnTo>
                  <a:lnTo>
                    <a:pt x="163" y="354"/>
                  </a:lnTo>
                  <a:cubicBezTo>
                    <a:pt x="166" y="357"/>
                    <a:pt x="166" y="360"/>
                    <a:pt x="163" y="363"/>
                  </a:cubicBezTo>
                  <a:close/>
                  <a:moveTo>
                    <a:pt x="163" y="408"/>
                  </a:moveTo>
                  <a:lnTo>
                    <a:pt x="163" y="413"/>
                  </a:lnTo>
                  <a:lnTo>
                    <a:pt x="166" y="413"/>
                  </a:lnTo>
                  <a:lnTo>
                    <a:pt x="163" y="408"/>
                  </a:lnTo>
                  <a:close/>
                  <a:moveTo>
                    <a:pt x="172" y="436"/>
                  </a:moveTo>
                  <a:cubicBezTo>
                    <a:pt x="169" y="436"/>
                    <a:pt x="166" y="436"/>
                    <a:pt x="163" y="433"/>
                  </a:cubicBezTo>
                  <a:cubicBezTo>
                    <a:pt x="163" y="436"/>
                    <a:pt x="166" y="436"/>
                    <a:pt x="169" y="439"/>
                  </a:cubicBezTo>
                  <a:lnTo>
                    <a:pt x="172" y="439"/>
                  </a:lnTo>
                  <a:lnTo>
                    <a:pt x="175" y="442"/>
                  </a:lnTo>
                  <a:cubicBezTo>
                    <a:pt x="175" y="440"/>
                    <a:pt x="175" y="438"/>
                    <a:pt x="176" y="436"/>
                  </a:cubicBezTo>
                  <a:cubicBezTo>
                    <a:pt x="175" y="436"/>
                    <a:pt x="173" y="436"/>
                    <a:pt x="172" y="436"/>
                  </a:cubicBezTo>
                  <a:close/>
                  <a:moveTo>
                    <a:pt x="166" y="317"/>
                  </a:moveTo>
                  <a:lnTo>
                    <a:pt x="169" y="320"/>
                  </a:lnTo>
                  <a:lnTo>
                    <a:pt x="169" y="315"/>
                  </a:lnTo>
                  <a:cubicBezTo>
                    <a:pt x="166" y="315"/>
                    <a:pt x="166" y="315"/>
                    <a:pt x="166" y="317"/>
                  </a:cubicBezTo>
                  <a:close/>
                  <a:moveTo>
                    <a:pt x="175" y="399"/>
                  </a:moveTo>
                  <a:lnTo>
                    <a:pt x="169" y="399"/>
                  </a:lnTo>
                  <a:lnTo>
                    <a:pt x="163" y="399"/>
                  </a:lnTo>
                  <a:lnTo>
                    <a:pt x="169" y="405"/>
                  </a:lnTo>
                  <a:lnTo>
                    <a:pt x="169" y="408"/>
                  </a:lnTo>
                  <a:cubicBezTo>
                    <a:pt x="169" y="408"/>
                    <a:pt x="169" y="410"/>
                    <a:pt x="166" y="410"/>
                  </a:cubicBezTo>
                  <a:cubicBezTo>
                    <a:pt x="169" y="410"/>
                    <a:pt x="169" y="408"/>
                    <a:pt x="172" y="408"/>
                  </a:cubicBezTo>
                  <a:lnTo>
                    <a:pt x="175" y="408"/>
                  </a:lnTo>
                  <a:lnTo>
                    <a:pt x="177" y="408"/>
                  </a:lnTo>
                  <a:lnTo>
                    <a:pt x="175" y="399"/>
                  </a:lnTo>
                  <a:close/>
                  <a:moveTo>
                    <a:pt x="177" y="422"/>
                  </a:moveTo>
                  <a:cubicBezTo>
                    <a:pt x="175" y="422"/>
                    <a:pt x="175" y="422"/>
                    <a:pt x="175" y="425"/>
                  </a:cubicBezTo>
                  <a:lnTo>
                    <a:pt x="177" y="427"/>
                  </a:lnTo>
                  <a:lnTo>
                    <a:pt x="175" y="427"/>
                  </a:lnTo>
                  <a:lnTo>
                    <a:pt x="172" y="427"/>
                  </a:lnTo>
                  <a:lnTo>
                    <a:pt x="172" y="430"/>
                  </a:lnTo>
                  <a:lnTo>
                    <a:pt x="172" y="433"/>
                  </a:lnTo>
                  <a:cubicBezTo>
                    <a:pt x="177" y="430"/>
                    <a:pt x="180" y="427"/>
                    <a:pt x="177" y="422"/>
                  </a:cubicBezTo>
                  <a:close/>
                  <a:moveTo>
                    <a:pt x="180" y="360"/>
                  </a:moveTo>
                  <a:cubicBezTo>
                    <a:pt x="180" y="357"/>
                    <a:pt x="177" y="357"/>
                    <a:pt x="177" y="354"/>
                  </a:cubicBezTo>
                  <a:cubicBezTo>
                    <a:pt x="175" y="357"/>
                    <a:pt x="175" y="357"/>
                    <a:pt x="175" y="360"/>
                  </a:cubicBezTo>
                  <a:lnTo>
                    <a:pt x="177" y="360"/>
                  </a:lnTo>
                  <a:lnTo>
                    <a:pt x="180" y="360"/>
                  </a:lnTo>
                  <a:close/>
                  <a:moveTo>
                    <a:pt x="177" y="374"/>
                  </a:moveTo>
                  <a:lnTo>
                    <a:pt x="177" y="368"/>
                  </a:lnTo>
                  <a:lnTo>
                    <a:pt x="175" y="368"/>
                  </a:lnTo>
                  <a:cubicBezTo>
                    <a:pt x="177" y="371"/>
                    <a:pt x="177" y="374"/>
                    <a:pt x="177" y="3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1" name="Freeform 1456"/>
            <p:cNvSpPr>
              <a:spLocks noChangeArrowheads="1"/>
            </p:cNvSpPr>
            <p:nvPr/>
          </p:nvSpPr>
          <p:spPr bwMode="auto">
            <a:xfrm>
              <a:off x="3956050" y="2482850"/>
              <a:ext cx="73025" cy="176213"/>
            </a:xfrm>
            <a:custGeom>
              <a:avLst/>
              <a:gdLst>
                <a:gd name="T0" fmla="*/ 184 w 202"/>
                <a:gd name="T1" fmla="*/ 453 h 490"/>
                <a:gd name="T2" fmla="*/ 48 w 202"/>
                <a:gd name="T3" fmla="*/ 430 h 490"/>
                <a:gd name="T4" fmla="*/ 43 w 202"/>
                <a:gd name="T5" fmla="*/ 331 h 490"/>
                <a:gd name="T6" fmla="*/ 14 w 202"/>
                <a:gd name="T7" fmla="*/ 197 h 490"/>
                <a:gd name="T8" fmla="*/ 26 w 202"/>
                <a:gd name="T9" fmla="*/ 14 h 490"/>
                <a:gd name="T10" fmla="*/ 130 w 202"/>
                <a:gd name="T11" fmla="*/ 56 h 490"/>
                <a:gd name="T12" fmla="*/ 136 w 202"/>
                <a:gd name="T13" fmla="*/ 112 h 490"/>
                <a:gd name="T14" fmla="*/ 158 w 202"/>
                <a:gd name="T15" fmla="*/ 194 h 490"/>
                <a:gd name="T16" fmla="*/ 181 w 202"/>
                <a:gd name="T17" fmla="*/ 315 h 490"/>
                <a:gd name="T18" fmla="*/ 31 w 202"/>
                <a:gd name="T19" fmla="*/ 65 h 490"/>
                <a:gd name="T20" fmla="*/ 34 w 202"/>
                <a:gd name="T21" fmla="*/ 56 h 490"/>
                <a:gd name="T22" fmla="*/ 37 w 202"/>
                <a:gd name="T23" fmla="*/ 129 h 490"/>
                <a:gd name="T24" fmla="*/ 40 w 202"/>
                <a:gd name="T25" fmla="*/ 36 h 490"/>
                <a:gd name="T26" fmla="*/ 43 w 202"/>
                <a:gd name="T27" fmla="*/ 211 h 490"/>
                <a:gd name="T28" fmla="*/ 133 w 202"/>
                <a:gd name="T29" fmla="*/ 346 h 490"/>
                <a:gd name="T30" fmla="*/ 116 w 202"/>
                <a:gd name="T31" fmla="*/ 248 h 490"/>
                <a:gd name="T32" fmla="*/ 93 w 202"/>
                <a:gd name="T33" fmla="*/ 152 h 490"/>
                <a:gd name="T34" fmla="*/ 60 w 202"/>
                <a:gd name="T35" fmla="*/ 62 h 490"/>
                <a:gd name="T36" fmla="*/ 74 w 202"/>
                <a:gd name="T37" fmla="*/ 214 h 490"/>
                <a:gd name="T38" fmla="*/ 93 w 202"/>
                <a:gd name="T39" fmla="*/ 300 h 490"/>
                <a:gd name="T40" fmla="*/ 51 w 202"/>
                <a:gd name="T41" fmla="*/ 255 h 490"/>
                <a:gd name="T42" fmla="*/ 60 w 202"/>
                <a:gd name="T43" fmla="*/ 255 h 490"/>
                <a:gd name="T44" fmla="*/ 60 w 202"/>
                <a:gd name="T45" fmla="*/ 28 h 490"/>
                <a:gd name="T46" fmla="*/ 62 w 202"/>
                <a:gd name="T47" fmla="*/ 309 h 490"/>
                <a:gd name="T48" fmla="*/ 74 w 202"/>
                <a:gd name="T49" fmla="*/ 39 h 490"/>
                <a:gd name="T50" fmla="*/ 65 w 202"/>
                <a:gd name="T51" fmla="*/ 379 h 490"/>
                <a:gd name="T52" fmla="*/ 77 w 202"/>
                <a:gd name="T53" fmla="*/ 334 h 490"/>
                <a:gd name="T54" fmla="*/ 74 w 202"/>
                <a:gd name="T55" fmla="*/ 357 h 490"/>
                <a:gd name="T56" fmla="*/ 88 w 202"/>
                <a:gd name="T57" fmla="*/ 45 h 490"/>
                <a:gd name="T58" fmla="*/ 88 w 202"/>
                <a:gd name="T59" fmla="*/ 39 h 490"/>
                <a:gd name="T60" fmla="*/ 88 w 202"/>
                <a:gd name="T61" fmla="*/ 39 h 490"/>
                <a:gd name="T62" fmla="*/ 85 w 202"/>
                <a:gd name="T63" fmla="*/ 413 h 490"/>
                <a:gd name="T64" fmla="*/ 105 w 202"/>
                <a:gd name="T65" fmla="*/ 444 h 490"/>
                <a:gd name="T66" fmla="*/ 113 w 202"/>
                <a:gd name="T67" fmla="*/ 439 h 490"/>
                <a:gd name="T68" fmla="*/ 119 w 202"/>
                <a:gd name="T69" fmla="*/ 84 h 490"/>
                <a:gd name="T70" fmla="*/ 116 w 202"/>
                <a:gd name="T71" fmla="*/ 104 h 490"/>
                <a:gd name="T72" fmla="*/ 122 w 202"/>
                <a:gd name="T73" fmla="*/ 121 h 490"/>
                <a:gd name="T74" fmla="*/ 136 w 202"/>
                <a:gd name="T75" fmla="*/ 456 h 490"/>
                <a:gd name="T76" fmla="*/ 119 w 202"/>
                <a:gd name="T77" fmla="*/ 84 h 490"/>
                <a:gd name="T78" fmla="*/ 125 w 202"/>
                <a:gd name="T79" fmla="*/ 169 h 490"/>
                <a:gd name="T80" fmla="*/ 127 w 202"/>
                <a:gd name="T81" fmla="*/ 183 h 490"/>
                <a:gd name="T82" fmla="*/ 133 w 202"/>
                <a:gd name="T83" fmla="*/ 172 h 490"/>
                <a:gd name="T84" fmla="*/ 130 w 202"/>
                <a:gd name="T85" fmla="*/ 251 h 490"/>
                <a:gd name="T86" fmla="*/ 133 w 202"/>
                <a:gd name="T87" fmla="*/ 217 h 490"/>
                <a:gd name="T88" fmla="*/ 139 w 202"/>
                <a:gd name="T89" fmla="*/ 189 h 490"/>
                <a:gd name="T90" fmla="*/ 141 w 202"/>
                <a:gd name="T91" fmla="*/ 258 h 490"/>
                <a:gd name="T92" fmla="*/ 141 w 202"/>
                <a:gd name="T93" fmla="*/ 180 h 490"/>
                <a:gd name="T94" fmla="*/ 141 w 202"/>
                <a:gd name="T95" fmla="*/ 248 h 490"/>
                <a:gd name="T96" fmla="*/ 158 w 202"/>
                <a:gd name="T97" fmla="*/ 430 h 490"/>
                <a:gd name="T98" fmla="*/ 158 w 202"/>
                <a:gd name="T99" fmla="*/ 303 h 490"/>
                <a:gd name="T100" fmla="*/ 158 w 202"/>
                <a:gd name="T101" fmla="*/ 289 h 490"/>
                <a:gd name="T102" fmla="*/ 153 w 202"/>
                <a:gd name="T103" fmla="*/ 317 h 490"/>
                <a:gd name="T104" fmla="*/ 161 w 202"/>
                <a:gd name="T105" fmla="*/ 323 h 490"/>
                <a:gd name="T106" fmla="*/ 161 w 202"/>
                <a:gd name="T107" fmla="*/ 331 h 490"/>
                <a:gd name="T108" fmla="*/ 161 w 202"/>
                <a:gd name="T109" fmla="*/ 368 h 490"/>
                <a:gd name="T110" fmla="*/ 170 w 202"/>
                <a:gd name="T111" fmla="*/ 377 h 490"/>
                <a:gd name="T112" fmla="*/ 158 w 202"/>
                <a:gd name="T113" fmla="*/ 405 h 490"/>
                <a:gd name="T114" fmla="*/ 167 w 202"/>
                <a:gd name="T115" fmla="*/ 402 h 490"/>
                <a:gd name="T116" fmla="*/ 167 w 202"/>
                <a:gd name="T117" fmla="*/ 425 h 490"/>
                <a:gd name="T118" fmla="*/ 170 w 202"/>
                <a:gd name="T119" fmla="*/ 36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2" h="490">
                  <a:moveTo>
                    <a:pt x="192" y="343"/>
                  </a:moveTo>
                  <a:cubicBezTo>
                    <a:pt x="192" y="352"/>
                    <a:pt x="195" y="357"/>
                    <a:pt x="195" y="365"/>
                  </a:cubicBezTo>
                  <a:lnTo>
                    <a:pt x="195" y="371"/>
                  </a:lnTo>
                  <a:lnTo>
                    <a:pt x="195" y="382"/>
                  </a:lnTo>
                  <a:lnTo>
                    <a:pt x="195" y="388"/>
                  </a:lnTo>
                  <a:cubicBezTo>
                    <a:pt x="201" y="394"/>
                    <a:pt x="198" y="396"/>
                    <a:pt x="195" y="402"/>
                  </a:cubicBezTo>
                  <a:lnTo>
                    <a:pt x="195" y="416"/>
                  </a:lnTo>
                  <a:lnTo>
                    <a:pt x="195" y="430"/>
                  </a:lnTo>
                  <a:lnTo>
                    <a:pt x="195" y="436"/>
                  </a:lnTo>
                  <a:cubicBezTo>
                    <a:pt x="195" y="439"/>
                    <a:pt x="192" y="439"/>
                    <a:pt x="192" y="441"/>
                  </a:cubicBezTo>
                  <a:cubicBezTo>
                    <a:pt x="189" y="444"/>
                    <a:pt x="187" y="450"/>
                    <a:pt x="184" y="453"/>
                  </a:cubicBezTo>
                  <a:lnTo>
                    <a:pt x="175" y="464"/>
                  </a:lnTo>
                  <a:cubicBezTo>
                    <a:pt x="170" y="470"/>
                    <a:pt x="161" y="475"/>
                    <a:pt x="153" y="481"/>
                  </a:cubicBezTo>
                  <a:cubicBezTo>
                    <a:pt x="150" y="484"/>
                    <a:pt x="147" y="484"/>
                    <a:pt x="141" y="484"/>
                  </a:cubicBezTo>
                  <a:cubicBezTo>
                    <a:pt x="139" y="484"/>
                    <a:pt x="136" y="484"/>
                    <a:pt x="130" y="487"/>
                  </a:cubicBezTo>
                  <a:cubicBezTo>
                    <a:pt x="127" y="484"/>
                    <a:pt x="127" y="484"/>
                    <a:pt x="125" y="484"/>
                  </a:cubicBezTo>
                  <a:cubicBezTo>
                    <a:pt x="122" y="484"/>
                    <a:pt x="122" y="487"/>
                    <a:pt x="119" y="487"/>
                  </a:cubicBezTo>
                  <a:cubicBezTo>
                    <a:pt x="105" y="489"/>
                    <a:pt x="93" y="484"/>
                    <a:pt x="82" y="475"/>
                  </a:cubicBezTo>
                  <a:cubicBezTo>
                    <a:pt x="77" y="473"/>
                    <a:pt x="74" y="470"/>
                    <a:pt x="71" y="464"/>
                  </a:cubicBezTo>
                  <a:cubicBezTo>
                    <a:pt x="71" y="461"/>
                    <a:pt x="68" y="458"/>
                    <a:pt x="65" y="458"/>
                  </a:cubicBezTo>
                  <a:cubicBezTo>
                    <a:pt x="62" y="456"/>
                    <a:pt x="60" y="456"/>
                    <a:pt x="57" y="453"/>
                  </a:cubicBezTo>
                  <a:cubicBezTo>
                    <a:pt x="57" y="444"/>
                    <a:pt x="54" y="436"/>
                    <a:pt x="48" y="430"/>
                  </a:cubicBezTo>
                  <a:lnTo>
                    <a:pt x="48" y="425"/>
                  </a:lnTo>
                  <a:lnTo>
                    <a:pt x="48" y="422"/>
                  </a:lnTo>
                  <a:cubicBezTo>
                    <a:pt x="48" y="419"/>
                    <a:pt x="46" y="416"/>
                    <a:pt x="46" y="413"/>
                  </a:cubicBezTo>
                  <a:cubicBezTo>
                    <a:pt x="48" y="405"/>
                    <a:pt x="48" y="397"/>
                    <a:pt x="48" y="394"/>
                  </a:cubicBezTo>
                  <a:cubicBezTo>
                    <a:pt x="48" y="392"/>
                    <a:pt x="48" y="388"/>
                    <a:pt x="51" y="385"/>
                  </a:cubicBezTo>
                  <a:cubicBezTo>
                    <a:pt x="51" y="382"/>
                    <a:pt x="48" y="377"/>
                    <a:pt x="48" y="374"/>
                  </a:cubicBezTo>
                  <a:lnTo>
                    <a:pt x="46" y="368"/>
                  </a:lnTo>
                  <a:cubicBezTo>
                    <a:pt x="43" y="365"/>
                    <a:pt x="46" y="365"/>
                    <a:pt x="46" y="360"/>
                  </a:cubicBezTo>
                  <a:lnTo>
                    <a:pt x="46" y="354"/>
                  </a:lnTo>
                  <a:lnTo>
                    <a:pt x="46" y="346"/>
                  </a:lnTo>
                  <a:cubicBezTo>
                    <a:pt x="43" y="340"/>
                    <a:pt x="43" y="337"/>
                    <a:pt x="43" y="331"/>
                  </a:cubicBezTo>
                  <a:cubicBezTo>
                    <a:pt x="43" y="326"/>
                    <a:pt x="40" y="323"/>
                    <a:pt x="40" y="317"/>
                  </a:cubicBezTo>
                  <a:cubicBezTo>
                    <a:pt x="37" y="315"/>
                    <a:pt x="37" y="312"/>
                    <a:pt x="37" y="309"/>
                  </a:cubicBezTo>
                  <a:cubicBezTo>
                    <a:pt x="37" y="306"/>
                    <a:pt x="37" y="306"/>
                    <a:pt x="34" y="303"/>
                  </a:cubicBezTo>
                  <a:cubicBezTo>
                    <a:pt x="34" y="300"/>
                    <a:pt x="31" y="300"/>
                    <a:pt x="31" y="298"/>
                  </a:cubicBezTo>
                  <a:lnTo>
                    <a:pt x="31" y="292"/>
                  </a:lnTo>
                  <a:lnTo>
                    <a:pt x="29" y="269"/>
                  </a:lnTo>
                  <a:cubicBezTo>
                    <a:pt x="29" y="264"/>
                    <a:pt x="26" y="255"/>
                    <a:pt x="26" y="251"/>
                  </a:cubicBezTo>
                  <a:lnTo>
                    <a:pt x="26" y="242"/>
                  </a:lnTo>
                  <a:lnTo>
                    <a:pt x="23" y="225"/>
                  </a:lnTo>
                  <a:cubicBezTo>
                    <a:pt x="20" y="220"/>
                    <a:pt x="20" y="214"/>
                    <a:pt x="17" y="206"/>
                  </a:cubicBezTo>
                  <a:cubicBezTo>
                    <a:pt x="17" y="203"/>
                    <a:pt x="14" y="200"/>
                    <a:pt x="14" y="197"/>
                  </a:cubicBezTo>
                  <a:cubicBezTo>
                    <a:pt x="14" y="194"/>
                    <a:pt x="14" y="191"/>
                    <a:pt x="12" y="189"/>
                  </a:cubicBezTo>
                  <a:cubicBezTo>
                    <a:pt x="9" y="186"/>
                    <a:pt x="6" y="180"/>
                    <a:pt x="9" y="175"/>
                  </a:cubicBezTo>
                  <a:lnTo>
                    <a:pt x="9" y="160"/>
                  </a:lnTo>
                  <a:cubicBezTo>
                    <a:pt x="9" y="158"/>
                    <a:pt x="6" y="152"/>
                    <a:pt x="9" y="149"/>
                  </a:cubicBezTo>
                  <a:cubicBezTo>
                    <a:pt x="9" y="141"/>
                    <a:pt x="9" y="135"/>
                    <a:pt x="6" y="127"/>
                  </a:cubicBezTo>
                  <a:cubicBezTo>
                    <a:pt x="3" y="115"/>
                    <a:pt x="0" y="101"/>
                    <a:pt x="0" y="90"/>
                  </a:cubicBezTo>
                  <a:lnTo>
                    <a:pt x="0" y="65"/>
                  </a:lnTo>
                  <a:lnTo>
                    <a:pt x="0" y="56"/>
                  </a:lnTo>
                  <a:cubicBezTo>
                    <a:pt x="0" y="45"/>
                    <a:pt x="6" y="31"/>
                    <a:pt x="14" y="22"/>
                  </a:cubicBezTo>
                  <a:lnTo>
                    <a:pt x="23" y="14"/>
                  </a:lnTo>
                  <a:lnTo>
                    <a:pt x="26" y="14"/>
                  </a:lnTo>
                  <a:cubicBezTo>
                    <a:pt x="29" y="14"/>
                    <a:pt x="31" y="11"/>
                    <a:pt x="34" y="11"/>
                  </a:cubicBezTo>
                  <a:lnTo>
                    <a:pt x="43" y="8"/>
                  </a:lnTo>
                  <a:cubicBezTo>
                    <a:pt x="46" y="8"/>
                    <a:pt x="48" y="5"/>
                    <a:pt x="51" y="5"/>
                  </a:cubicBezTo>
                  <a:cubicBezTo>
                    <a:pt x="54" y="5"/>
                    <a:pt x="57" y="2"/>
                    <a:pt x="60" y="2"/>
                  </a:cubicBezTo>
                  <a:cubicBezTo>
                    <a:pt x="62" y="2"/>
                    <a:pt x="65" y="0"/>
                    <a:pt x="65" y="2"/>
                  </a:cubicBezTo>
                  <a:lnTo>
                    <a:pt x="82" y="5"/>
                  </a:lnTo>
                  <a:cubicBezTo>
                    <a:pt x="93" y="8"/>
                    <a:pt x="105" y="11"/>
                    <a:pt x="110" y="19"/>
                  </a:cubicBezTo>
                  <a:cubicBezTo>
                    <a:pt x="113" y="25"/>
                    <a:pt x="119" y="30"/>
                    <a:pt x="122" y="33"/>
                  </a:cubicBezTo>
                  <a:cubicBezTo>
                    <a:pt x="125" y="35"/>
                    <a:pt x="125" y="39"/>
                    <a:pt x="125" y="39"/>
                  </a:cubicBezTo>
                  <a:cubicBezTo>
                    <a:pt x="125" y="42"/>
                    <a:pt x="125" y="45"/>
                    <a:pt x="127" y="48"/>
                  </a:cubicBezTo>
                  <a:lnTo>
                    <a:pt x="130" y="56"/>
                  </a:lnTo>
                  <a:cubicBezTo>
                    <a:pt x="130" y="59"/>
                    <a:pt x="133" y="62"/>
                    <a:pt x="133" y="65"/>
                  </a:cubicBezTo>
                  <a:lnTo>
                    <a:pt x="133" y="70"/>
                  </a:lnTo>
                  <a:cubicBezTo>
                    <a:pt x="130" y="76"/>
                    <a:pt x="133" y="81"/>
                    <a:pt x="133" y="84"/>
                  </a:cubicBezTo>
                  <a:cubicBezTo>
                    <a:pt x="133" y="84"/>
                    <a:pt x="133" y="87"/>
                    <a:pt x="136" y="87"/>
                  </a:cubicBezTo>
                  <a:lnTo>
                    <a:pt x="136" y="93"/>
                  </a:lnTo>
                  <a:lnTo>
                    <a:pt x="136" y="96"/>
                  </a:lnTo>
                  <a:cubicBezTo>
                    <a:pt x="136" y="96"/>
                    <a:pt x="139" y="98"/>
                    <a:pt x="136" y="98"/>
                  </a:cubicBezTo>
                  <a:lnTo>
                    <a:pt x="136" y="101"/>
                  </a:lnTo>
                  <a:lnTo>
                    <a:pt x="136" y="107"/>
                  </a:lnTo>
                  <a:lnTo>
                    <a:pt x="136" y="110"/>
                  </a:lnTo>
                  <a:lnTo>
                    <a:pt x="136" y="112"/>
                  </a:lnTo>
                  <a:cubicBezTo>
                    <a:pt x="139" y="115"/>
                    <a:pt x="139" y="115"/>
                    <a:pt x="139" y="118"/>
                  </a:cubicBezTo>
                  <a:cubicBezTo>
                    <a:pt x="139" y="121"/>
                    <a:pt x="141" y="124"/>
                    <a:pt x="141" y="129"/>
                  </a:cubicBezTo>
                  <a:cubicBezTo>
                    <a:pt x="141" y="132"/>
                    <a:pt x="141" y="138"/>
                    <a:pt x="144" y="141"/>
                  </a:cubicBezTo>
                  <a:lnTo>
                    <a:pt x="144" y="143"/>
                  </a:lnTo>
                  <a:lnTo>
                    <a:pt x="144" y="146"/>
                  </a:lnTo>
                  <a:lnTo>
                    <a:pt x="147" y="149"/>
                  </a:lnTo>
                  <a:cubicBezTo>
                    <a:pt x="147" y="152"/>
                    <a:pt x="147" y="155"/>
                    <a:pt x="150" y="158"/>
                  </a:cubicBezTo>
                  <a:lnTo>
                    <a:pt x="150" y="169"/>
                  </a:lnTo>
                  <a:cubicBezTo>
                    <a:pt x="150" y="169"/>
                    <a:pt x="150" y="172"/>
                    <a:pt x="153" y="175"/>
                  </a:cubicBezTo>
                  <a:cubicBezTo>
                    <a:pt x="156" y="180"/>
                    <a:pt x="156" y="186"/>
                    <a:pt x="156" y="191"/>
                  </a:cubicBezTo>
                  <a:lnTo>
                    <a:pt x="158" y="194"/>
                  </a:lnTo>
                  <a:lnTo>
                    <a:pt x="158" y="200"/>
                  </a:lnTo>
                  <a:lnTo>
                    <a:pt x="161" y="220"/>
                  </a:lnTo>
                  <a:lnTo>
                    <a:pt x="161" y="225"/>
                  </a:lnTo>
                  <a:lnTo>
                    <a:pt x="161" y="237"/>
                  </a:lnTo>
                  <a:lnTo>
                    <a:pt x="161" y="242"/>
                  </a:lnTo>
                  <a:cubicBezTo>
                    <a:pt x="161" y="245"/>
                    <a:pt x="161" y="251"/>
                    <a:pt x="164" y="254"/>
                  </a:cubicBezTo>
                  <a:cubicBezTo>
                    <a:pt x="167" y="258"/>
                    <a:pt x="170" y="267"/>
                    <a:pt x="170" y="272"/>
                  </a:cubicBezTo>
                  <a:cubicBezTo>
                    <a:pt x="170" y="275"/>
                    <a:pt x="170" y="278"/>
                    <a:pt x="172" y="284"/>
                  </a:cubicBezTo>
                  <a:cubicBezTo>
                    <a:pt x="175" y="286"/>
                    <a:pt x="175" y="292"/>
                    <a:pt x="178" y="298"/>
                  </a:cubicBezTo>
                  <a:cubicBezTo>
                    <a:pt x="178" y="303"/>
                    <a:pt x="178" y="306"/>
                    <a:pt x="181" y="312"/>
                  </a:cubicBezTo>
                  <a:lnTo>
                    <a:pt x="181" y="315"/>
                  </a:lnTo>
                  <a:lnTo>
                    <a:pt x="181" y="320"/>
                  </a:lnTo>
                  <a:lnTo>
                    <a:pt x="181" y="323"/>
                  </a:lnTo>
                  <a:cubicBezTo>
                    <a:pt x="189" y="329"/>
                    <a:pt x="192" y="335"/>
                    <a:pt x="192" y="343"/>
                  </a:cubicBezTo>
                  <a:close/>
                  <a:moveTo>
                    <a:pt x="23" y="98"/>
                  </a:moveTo>
                  <a:cubicBezTo>
                    <a:pt x="26" y="101"/>
                    <a:pt x="26" y="101"/>
                    <a:pt x="29" y="101"/>
                  </a:cubicBezTo>
                  <a:lnTo>
                    <a:pt x="29" y="96"/>
                  </a:lnTo>
                  <a:lnTo>
                    <a:pt x="23" y="98"/>
                  </a:lnTo>
                  <a:close/>
                  <a:moveTo>
                    <a:pt x="31" y="67"/>
                  </a:moveTo>
                  <a:cubicBezTo>
                    <a:pt x="34" y="67"/>
                    <a:pt x="34" y="67"/>
                    <a:pt x="37" y="65"/>
                  </a:cubicBezTo>
                  <a:lnTo>
                    <a:pt x="34" y="65"/>
                  </a:lnTo>
                  <a:lnTo>
                    <a:pt x="31" y="65"/>
                  </a:lnTo>
                  <a:cubicBezTo>
                    <a:pt x="29" y="65"/>
                    <a:pt x="26" y="67"/>
                    <a:pt x="23" y="67"/>
                  </a:cubicBezTo>
                  <a:lnTo>
                    <a:pt x="23" y="70"/>
                  </a:lnTo>
                  <a:lnTo>
                    <a:pt x="31" y="67"/>
                  </a:lnTo>
                  <a:close/>
                  <a:moveTo>
                    <a:pt x="26" y="132"/>
                  </a:moveTo>
                  <a:lnTo>
                    <a:pt x="29" y="132"/>
                  </a:lnTo>
                  <a:cubicBezTo>
                    <a:pt x="29" y="132"/>
                    <a:pt x="29" y="129"/>
                    <a:pt x="26" y="127"/>
                  </a:cubicBezTo>
                  <a:lnTo>
                    <a:pt x="26" y="132"/>
                  </a:lnTo>
                  <a:close/>
                  <a:moveTo>
                    <a:pt x="29" y="59"/>
                  </a:moveTo>
                  <a:lnTo>
                    <a:pt x="34" y="59"/>
                  </a:lnTo>
                  <a:cubicBezTo>
                    <a:pt x="34" y="62"/>
                    <a:pt x="37" y="62"/>
                    <a:pt x="40" y="59"/>
                  </a:cubicBezTo>
                  <a:cubicBezTo>
                    <a:pt x="37" y="59"/>
                    <a:pt x="37" y="56"/>
                    <a:pt x="34" y="56"/>
                  </a:cubicBezTo>
                  <a:cubicBezTo>
                    <a:pt x="31" y="56"/>
                    <a:pt x="31" y="53"/>
                    <a:pt x="29" y="53"/>
                  </a:cubicBezTo>
                  <a:lnTo>
                    <a:pt x="29" y="59"/>
                  </a:lnTo>
                  <a:close/>
                  <a:moveTo>
                    <a:pt x="34" y="172"/>
                  </a:moveTo>
                  <a:lnTo>
                    <a:pt x="31" y="169"/>
                  </a:lnTo>
                  <a:cubicBezTo>
                    <a:pt x="29" y="175"/>
                    <a:pt x="31" y="175"/>
                    <a:pt x="34" y="172"/>
                  </a:cubicBezTo>
                  <a:close/>
                  <a:moveTo>
                    <a:pt x="31" y="48"/>
                  </a:moveTo>
                  <a:cubicBezTo>
                    <a:pt x="34" y="48"/>
                    <a:pt x="34" y="45"/>
                    <a:pt x="37" y="45"/>
                  </a:cubicBezTo>
                  <a:cubicBezTo>
                    <a:pt x="34" y="45"/>
                    <a:pt x="34" y="42"/>
                    <a:pt x="31" y="39"/>
                  </a:cubicBezTo>
                  <a:lnTo>
                    <a:pt x="31" y="48"/>
                  </a:lnTo>
                  <a:close/>
                  <a:moveTo>
                    <a:pt x="40" y="135"/>
                  </a:moveTo>
                  <a:cubicBezTo>
                    <a:pt x="40" y="135"/>
                    <a:pt x="40" y="132"/>
                    <a:pt x="37" y="129"/>
                  </a:cubicBezTo>
                  <a:lnTo>
                    <a:pt x="34" y="135"/>
                  </a:lnTo>
                  <a:lnTo>
                    <a:pt x="40" y="135"/>
                  </a:lnTo>
                  <a:close/>
                  <a:moveTo>
                    <a:pt x="37" y="186"/>
                  </a:moveTo>
                  <a:lnTo>
                    <a:pt x="40" y="186"/>
                  </a:lnTo>
                  <a:lnTo>
                    <a:pt x="40" y="183"/>
                  </a:lnTo>
                  <a:cubicBezTo>
                    <a:pt x="40" y="183"/>
                    <a:pt x="37" y="183"/>
                    <a:pt x="37" y="186"/>
                  </a:cubicBezTo>
                  <a:close/>
                  <a:moveTo>
                    <a:pt x="37" y="172"/>
                  </a:moveTo>
                  <a:lnTo>
                    <a:pt x="40" y="172"/>
                  </a:lnTo>
                  <a:lnTo>
                    <a:pt x="40" y="169"/>
                  </a:lnTo>
                  <a:lnTo>
                    <a:pt x="37" y="172"/>
                  </a:lnTo>
                  <a:close/>
                  <a:moveTo>
                    <a:pt x="40" y="36"/>
                  </a:moveTo>
                  <a:lnTo>
                    <a:pt x="43" y="39"/>
                  </a:lnTo>
                  <a:lnTo>
                    <a:pt x="46" y="39"/>
                  </a:lnTo>
                  <a:lnTo>
                    <a:pt x="43" y="36"/>
                  </a:lnTo>
                  <a:lnTo>
                    <a:pt x="40" y="36"/>
                  </a:lnTo>
                  <a:close/>
                  <a:moveTo>
                    <a:pt x="40" y="45"/>
                  </a:moveTo>
                  <a:cubicBezTo>
                    <a:pt x="43" y="48"/>
                    <a:pt x="43" y="50"/>
                    <a:pt x="46" y="53"/>
                  </a:cubicBezTo>
                  <a:cubicBezTo>
                    <a:pt x="48" y="50"/>
                    <a:pt x="48" y="48"/>
                    <a:pt x="51" y="42"/>
                  </a:cubicBezTo>
                  <a:lnTo>
                    <a:pt x="40" y="45"/>
                  </a:lnTo>
                  <a:close/>
                  <a:moveTo>
                    <a:pt x="48" y="208"/>
                  </a:moveTo>
                  <a:lnTo>
                    <a:pt x="43" y="208"/>
                  </a:lnTo>
                  <a:lnTo>
                    <a:pt x="43" y="211"/>
                  </a:lnTo>
                  <a:lnTo>
                    <a:pt x="46" y="211"/>
                  </a:lnTo>
                  <a:lnTo>
                    <a:pt x="48" y="208"/>
                  </a:lnTo>
                  <a:close/>
                  <a:moveTo>
                    <a:pt x="110" y="413"/>
                  </a:moveTo>
                  <a:lnTo>
                    <a:pt x="116" y="419"/>
                  </a:lnTo>
                  <a:cubicBezTo>
                    <a:pt x="119" y="422"/>
                    <a:pt x="122" y="422"/>
                    <a:pt x="122" y="425"/>
                  </a:cubicBezTo>
                  <a:lnTo>
                    <a:pt x="133" y="422"/>
                  </a:lnTo>
                  <a:cubicBezTo>
                    <a:pt x="139" y="413"/>
                    <a:pt x="141" y="402"/>
                    <a:pt x="139" y="391"/>
                  </a:cubicBezTo>
                  <a:lnTo>
                    <a:pt x="139" y="385"/>
                  </a:lnTo>
                  <a:lnTo>
                    <a:pt x="139" y="379"/>
                  </a:lnTo>
                  <a:cubicBezTo>
                    <a:pt x="139" y="368"/>
                    <a:pt x="139" y="368"/>
                    <a:pt x="136" y="363"/>
                  </a:cubicBezTo>
                  <a:cubicBezTo>
                    <a:pt x="133" y="357"/>
                    <a:pt x="133" y="351"/>
                    <a:pt x="133" y="346"/>
                  </a:cubicBezTo>
                  <a:lnTo>
                    <a:pt x="133" y="331"/>
                  </a:lnTo>
                  <a:cubicBezTo>
                    <a:pt x="130" y="329"/>
                    <a:pt x="130" y="323"/>
                    <a:pt x="130" y="320"/>
                  </a:cubicBezTo>
                  <a:cubicBezTo>
                    <a:pt x="130" y="317"/>
                    <a:pt x="130" y="312"/>
                    <a:pt x="127" y="309"/>
                  </a:cubicBezTo>
                  <a:lnTo>
                    <a:pt x="122" y="286"/>
                  </a:lnTo>
                  <a:lnTo>
                    <a:pt x="122" y="281"/>
                  </a:lnTo>
                  <a:lnTo>
                    <a:pt x="122" y="275"/>
                  </a:lnTo>
                  <a:lnTo>
                    <a:pt x="122" y="269"/>
                  </a:lnTo>
                  <a:cubicBezTo>
                    <a:pt x="122" y="267"/>
                    <a:pt x="119" y="267"/>
                    <a:pt x="119" y="264"/>
                  </a:cubicBezTo>
                  <a:lnTo>
                    <a:pt x="116" y="253"/>
                  </a:lnTo>
                  <a:lnTo>
                    <a:pt x="116" y="251"/>
                  </a:lnTo>
                  <a:lnTo>
                    <a:pt x="116" y="248"/>
                  </a:lnTo>
                  <a:lnTo>
                    <a:pt x="110" y="242"/>
                  </a:lnTo>
                  <a:lnTo>
                    <a:pt x="110" y="237"/>
                  </a:lnTo>
                  <a:lnTo>
                    <a:pt x="110" y="225"/>
                  </a:lnTo>
                  <a:lnTo>
                    <a:pt x="110" y="214"/>
                  </a:lnTo>
                  <a:cubicBezTo>
                    <a:pt x="110" y="211"/>
                    <a:pt x="110" y="206"/>
                    <a:pt x="108" y="203"/>
                  </a:cubicBezTo>
                  <a:cubicBezTo>
                    <a:pt x="105" y="200"/>
                    <a:pt x="102" y="194"/>
                    <a:pt x="102" y="191"/>
                  </a:cubicBezTo>
                  <a:lnTo>
                    <a:pt x="102" y="186"/>
                  </a:lnTo>
                  <a:lnTo>
                    <a:pt x="102" y="172"/>
                  </a:lnTo>
                  <a:lnTo>
                    <a:pt x="102" y="166"/>
                  </a:lnTo>
                  <a:cubicBezTo>
                    <a:pt x="102" y="163"/>
                    <a:pt x="102" y="163"/>
                    <a:pt x="99" y="160"/>
                  </a:cubicBezTo>
                  <a:cubicBezTo>
                    <a:pt x="99" y="158"/>
                    <a:pt x="96" y="155"/>
                    <a:pt x="93" y="152"/>
                  </a:cubicBezTo>
                  <a:cubicBezTo>
                    <a:pt x="91" y="149"/>
                    <a:pt x="91" y="146"/>
                    <a:pt x="93" y="143"/>
                  </a:cubicBezTo>
                  <a:lnTo>
                    <a:pt x="93" y="135"/>
                  </a:lnTo>
                  <a:lnTo>
                    <a:pt x="93" y="127"/>
                  </a:lnTo>
                  <a:cubicBezTo>
                    <a:pt x="96" y="124"/>
                    <a:pt x="93" y="121"/>
                    <a:pt x="93" y="118"/>
                  </a:cubicBezTo>
                  <a:cubicBezTo>
                    <a:pt x="91" y="118"/>
                    <a:pt x="91" y="115"/>
                    <a:pt x="91" y="112"/>
                  </a:cubicBezTo>
                  <a:lnTo>
                    <a:pt x="91" y="107"/>
                  </a:lnTo>
                  <a:lnTo>
                    <a:pt x="88" y="93"/>
                  </a:lnTo>
                  <a:cubicBezTo>
                    <a:pt x="88" y="87"/>
                    <a:pt x="85" y="81"/>
                    <a:pt x="82" y="76"/>
                  </a:cubicBezTo>
                  <a:cubicBezTo>
                    <a:pt x="82" y="73"/>
                    <a:pt x="79" y="73"/>
                    <a:pt x="77" y="70"/>
                  </a:cubicBezTo>
                  <a:cubicBezTo>
                    <a:pt x="74" y="70"/>
                    <a:pt x="74" y="67"/>
                    <a:pt x="71" y="65"/>
                  </a:cubicBezTo>
                  <a:lnTo>
                    <a:pt x="60" y="62"/>
                  </a:lnTo>
                  <a:lnTo>
                    <a:pt x="57" y="65"/>
                  </a:lnTo>
                  <a:lnTo>
                    <a:pt x="54" y="67"/>
                  </a:lnTo>
                  <a:cubicBezTo>
                    <a:pt x="54" y="70"/>
                    <a:pt x="54" y="76"/>
                    <a:pt x="51" y="79"/>
                  </a:cubicBezTo>
                  <a:cubicBezTo>
                    <a:pt x="48" y="84"/>
                    <a:pt x="51" y="87"/>
                    <a:pt x="54" y="93"/>
                  </a:cubicBezTo>
                  <a:lnTo>
                    <a:pt x="62" y="138"/>
                  </a:lnTo>
                  <a:lnTo>
                    <a:pt x="62" y="155"/>
                  </a:lnTo>
                  <a:cubicBezTo>
                    <a:pt x="62" y="158"/>
                    <a:pt x="62" y="160"/>
                    <a:pt x="65" y="160"/>
                  </a:cubicBezTo>
                  <a:cubicBezTo>
                    <a:pt x="68" y="166"/>
                    <a:pt x="71" y="172"/>
                    <a:pt x="68" y="175"/>
                  </a:cubicBezTo>
                  <a:cubicBezTo>
                    <a:pt x="68" y="177"/>
                    <a:pt x="68" y="183"/>
                    <a:pt x="71" y="186"/>
                  </a:cubicBezTo>
                  <a:lnTo>
                    <a:pt x="71" y="191"/>
                  </a:lnTo>
                  <a:cubicBezTo>
                    <a:pt x="74" y="197"/>
                    <a:pt x="77" y="206"/>
                    <a:pt x="74" y="214"/>
                  </a:cubicBezTo>
                  <a:cubicBezTo>
                    <a:pt x="74" y="220"/>
                    <a:pt x="74" y="225"/>
                    <a:pt x="77" y="228"/>
                  </a:cubicBezTo>
                  <a:lnTo>
                    <a:pt x="77" y="231"/>
                  </a:lnTo>
                  <a:lnTo>
                    <a:pt x="77" y="234"/>
                  </a:lnTo>
                  <a:cubicBezTo>
                    <a:pt x="77" y="237"/>
                    <a:pt x="77" y="237"/>
                    <a:pt x="79" y="239"/>
                  </a:cubicBezTo>
                  <a:cubicBezTo>
                    <a:pt x="79" y="242"/>
                    <a:pt x="82" y="248"/>
                    <a:pt x="82" y="251"/>
                  </a:cubicBezTo>
                  <a:cubicBezTo>
                    <a:pt x="82" y="254"/>
                    <a:pt x="82" y="255"/>
                    <a:pt x="85" y="255"/>
                  </a:cubicBezTo>
                  <a:cubicBezTo>
                    <a:pt x="88" y="261"/>
                    <a:pt x="88" y="267"/>
                    <a:pt x="85" y="272"/>
                  </a:cubicBezTo>
                  <a:cubicBezTo>
                    <a:pt x="88" y="275"/>
                    <a:pt x="88" y="281"/>
                    <a:pt x="91" y="284"/>
                  </a:cubicBezTo>
                  <a:lnTo>
                    <a:pt x="91" y="289"/>
                  </a:lnTo>
                  <a:lnTo>
                    <a:pt x="91" y="295"/>
                  </a:lnTo>
                  <a:cubicBezTo>
                    <a:pt x="91" y="298"/>
                    <a:pt x="93" y="298"/>
                    <a:pt x="93" y="300"/>
                  </a:cubicBezTo>
                  <a:cubicBezTo>
                    <a:pt x="93" y="306"/>
                    <a:pt x="96" y="309"/>
                    <a:pt x="96" y="312"/>
                  </a:cubicBezTo>
                  <a:lnTo>
                    <a:pt x="96" y="315"/>
                  </a:lnTo>
                  <a:lnTo>
                    <a:pt x="96" y="317"/>
                  </a:lnTo>
                  <a:cubicBezTo>
                    <a:pt x="96" y="329"/>
                    <a:pt x="96" y="340"/>
                    <a:pt x="102" y="351"/>
                  </a:cubicBezTo>
                  <a:cubicBezTo>
                    <a:pt x="102" y="354"/>
                    <a:pt x="105" y="360"/>
                    <a:pt x="105" y="363"/>
                  </a:cubicBezTo>
                  <a:lnTo>
                    <a:pt x="105" y="374"/>
                  </a:lnTo>
                  <a:cubicBezTo>
                    <a:pt x="102" y="379"/>
                    <a:pt x="105" y="385"/>
                    <a:pt x="105" y="391"/>
                  </a:cubicBezTo>
                  <a:cubicBezTo>
                    <a:pt x="108" y="394"/>
                    <a:pt x="108" y="399"/>
                    <a:pt x="108" y="402"/>
                  </a:cubicBezTo>
                  <a:cubicBezTo>
                    <a:pt x="108" y="405"/>
                    <a:pt x="108" y="408"/>
                    <a:pt x="110" y="413"/>
                  </a:cubicBezTo>
                  <a:close/>
                  <a:moveTo>
                    <a:pt x="48" y="258"/>
                  </a:moveTo>
                  <a:lnTo>
                    <a:pt x="51" y="255"/>
                  </a:lnTo>
                  <a:lnTo>
                    <a:pt x="51" y="253"/>
                  </a:lnTo>
                  <a:lnTo>
                    <a:pt x="51" y="251"/>
                  </a:lnTo>
                  <a:cubicBezTo>
                    <a:pt x="51" y="254"/>
                    <a:pt x="48" y="253"/>
                    <a:pt x="48" y="258"/>
                  </a:cubicBezTo>
                  <a:close/>
                  <a:moveTo>
                    <a:pt x="51" y="42"/>
                  </a:moveTo>
                  <a:lnTo>
                    <a:pt x="57" y="36"/>
                  </a:lnTo>
                  <a:cubicBezTo>
                    <a:pt x="51" y="36"/>
                    <a:pt x="48" y="39"/>
                    <a:pt x="51" y="42"/>
                  </a:cubicBezTo>
                  <a:close/>
                  <a:moveTo>
                    <a:pt x="57" y="267"/>
                  </a:moveTo>
                  <a:cubicBezTo>
                    <a:pt x="57" y="269"/>
                    <a:pt x="60" y="272"/>
                    <a:pt x="62" y="272"/>
                  </a:cubicBezTo>
                  <a:cubicBezTo>
                    <a:pt x="60" y="269"/>
                    <a:pt x="60" y="267"/>
                    <a:pt x="57" y="267"/>
                  </a:cubicBezTo>
                  <a:cubicBezTo>
                    <a:pt x="60" y="264"/>
                    <a:pt x="60" y="264"/>
                    <a:pt x="60" y="261"/>
                  </a:cubicBezTo>
                  <a:lnTo>
                    <a:pt x="60" y="255"/>
                  </a:lnTo>
                  <a:cubicBezTo>
                    <a:pt x="57" y="258"/>
                    <a:pt x="54" y="258"/>
                    <a:pt x="54" y="261"/>
                  </a:cubicBezTo>
                  <a:cubicBezTo>
                    <a:pt x="54" y="261"/>
                    <a:pt x="57" y="264"/>
                    <a:pt x="57" y="267"/>
                  </a:cubicBezTo>
                  <a:close/>
                  <a:moveTo>
                    <a:pt x="62" y="298"/>
                  </a:moveTo>
                  <a:cubicBezTo>
                    <a:pt x="62" y="298"/>
                    <a:pt x="60" y="295"/>
                    <a:pt x="62" y="298"/>
                  </a:cubicBezTo>
                  <a:cubicBezTo>
                    <a:pt x="60" y="295"/>
                    <a:pt x="60" y="298"/>
                    <a:pt x="57" y="298"/>
                  </a:cubicBezTo>
                  <a:lnTo>
                    <a:pt x="62" y="298"/>
                  </a:lnTo>
                  <a:close/>
                  <a:moveTo>
                    <a:pt x="57" y="31"/>
                  </a:moveTo>
                  <a:lnTo>
                    <a:pt x="62" y="31"/>
                  </a:lnTo>
                  <a:lnTo>
                    <a:pt x="62" y="28"/>
                  </a:lnTo>
                  <a:lnTo>
                    <a:pt x="62" y="25"/>
                  </a:lnTo>
                  <a:cubicBezTo>
                    <a:pt x="60" y="25"/>
                    <a:pt x="60" y="28"/>
                    <a:pt x="60" y="28"/>
                  </a:cubicBezTo>
                  <a:lnTo>
                    <a:pt x="57" y="31"/>
                  </a:lnTo>
                  <a:close/>
                  <a:moveTo>
                    <a:pt x="60" y="278"/>
                  </a:moveTo>
                  <a:cubicBezTo>
                    <a:pt x="62" y="281"/>
                    <a:pt x="62" y="281"/>
                    <a:pt x="62" y="284"/>
                  </a:cubicBezTo>
                  <a:cubicBezTo>
                    <a:pt x="65" y="286"/>
                    <a:pt x="65" y="289"/>
                    <a:pt x="65" y="292"/>
                  </a:cubicBezTo>
                  <a:cubicBezTo>
                    <a:pt x="65" y="284"/>
                    <a:pt x="65" y="281"/>
                    <a:pt x="60" y="278"/>
                  </a:cubicBezTo>
                  <a:close/>
                  <a:moveTo>
                    <a:pt x="65" y="317"/>
                  </a:moveTo>
                  <a:cubicBezTo>
                    <a:pt x="65" y="317"/>
                    <a:pt x="67" y="317"/>
                    <a:pt x="68" y="319"/>
                  </a:cubicBezTo>
                  <a:lnTo>
                    <a:pt x="65" y="306"/>
                  </a:lnTo>
                  <a:lnTo>
                    <a:pt x="62" y="306"/>
                  </a:lnTo>
                  <a:lnTo>
                    <a:pt x="60" y="306"/>
                  </a:lnTo>
                  <a:lnTo>
                    <a:pt x="62" y="309"/>
                  </a:lnTo>
                  <a:cubicBezTo>
                    <a:pt x="62" y="309"/>
                    <a:pt x="62" y="312"/>
                    <a:pt x="65" y="312"/>
                  </a:cubicBezTo>
                  <a:cubicBezTo>
                    <a:pt x="65" y="315"/>
                    <a:pt x="62" y="315"/>
                    <a:pt x="60" y="315"/>
                  </a:cubicBezTo>
                  <a:lnTo>
                    <a:pt x="65" y="317"/>
                  </a:lnTo>
                  <a:close/>
                  <a:moveTo>
                    <a:pt x="62" y="33"/>
                  </a:moveTo>
                  <a:lnTo>
                    <a:pt x="62" y="39"/>
                  </a:lnTo>
                  <a:cubicBezTo>
                    <a:pt x="65" y="39"/>
                    <a:pt x="68" y="39"/>
                    <a:pt x="70" y="41"/>
                  </a:cubicBezTo>
                  <a:cubicBezTo>
                    <a:pt x="70" y="42"/>
                    <a:pt x="69" y="42"/>
                    <a:pt x="68" y="42"/>
                  </a:cubicBezTo>
                  <a:lnTo>
                    <a:pt x="74" y="48"/>
                  </a:lnTo>
                  <a:cubicBezTo>
                    <a:pt x="74" y="45"/>
                    <a:pt x="77" y="45"/>
                    <a:pt x="77" y="42"/>
                  </a:cubicBezTo>
                  <a:cubicBezTo>
                    <a:pt x="77" y="42"/>
                    <a:pt x="77" y="39"/>
                    <a:pt x="79" y="36"/>
                  </a:cubicBezTo>
                  <a:lnTo>
                    <a:pt x="74" y="39"/>
                  </a:lnTo>
                  <a:cubicBezTo>
                    <a:pt x="72" y="39"/>
                    <a:pt x="72" y="40"/>
                    <a:pt x="71" y="41"/>
                  </a:cubicBezTo>
                  <a:lnTo>
                    <a:pt x="70" y="41"/>
                  </a:lnTo>
                  <a:lnTo>
                    <a:pt x="71" y="42"/>
                  </a:lnTo>
                  <a:cubicBezTo>
                    <a:pt x="71" y="41"/>
                    <a:pt x="71" y="40"/>
                    <a:pt x="71" y="41"/>
                  </a:cubicBezTo>
                  <a:lnTo>
                    <a:pt x="71" y="39"/>
                  </a:lnTo>
                  <a:cubicBezTo>
                    <a:pt x="71" y="39"/>
                    <a:pt x="65" y="33"/>
                    <a:pt x="62" y="33"/>
                  </a:cubicBezTo>
                  <a:close/>
                  <a:moveTo>
                    <a:pt x="65" y="363"/>
                  </a:moveTo>
                  <a:cubicBezTo>
                    <a:pt x="68" y="365"/>
                    <a:pt x="68" y="365"/>
                    <a:pt x="68" y="368"/>
                  </a:cubicBezTo>
                  <a:lnTo>
                    <a:pt x="68" y="365"/>
                  </a:lnTo>
                  <a:lnTo>
                    <a:pt x="65" y="363"/>
                  </a:lnTo>
                  <a:close/>
                  <a:moveTo>
                    <a:pt x="65" y="379"/>
                  </a:moveTo>
                  <a:lnTo>
                    <a:pt x="68" y="379"/>
                  </a:lnTo>
                  <a:cubicBezTo>
                    <a:pt x="68" y="377"/>
                    <a:pt x="65" y="377"/>
                    <a:pt x="65" y="379"/>
                  </a:cubicBezTo>
                  <a:close/>
                  <a:moveTo>
                    <a:pt x="68" y="33"/>
                  </a:moveTo>
                  <a:cubicBezTo>
                    <a:pt x="71" y="33"/>
                    <a:pt x="74" y="36"/>
                    <a:pt x="79" y="36"/>
                  </a:cubicBezTo>
                  <a:lnTo>
                    <a:pt x="79" y="33"/>
                  </a:lnTo>
                  <a:lnTo>
                    <a:pt x="71" y="31"/>
                  </a:lnTo>
                  <a:lnTo>
                    <a:pt x="68" y="33"/>
                  </a:lnTo>
                  <a:close/>
                  <a:moveTo>
                    <a:pt x="77" y="334"/>
                  </a:moveTo>
                  <a:lnTo>
                    <a:pt x="71" y="334"/>
                  </a:lnTo>
                  <a:lnTo>
                    <a:pt x="71" y="337"/>
                  </a:lnTo>
                  <a:cubicBezTo>
                    <a:pt x="71" y="337"/>
                    <a:pt x="74" y="337"/>
                    <a:pt x="77" y="334"/>
                  </a:cubicBezTo>
                  <a:close/>
                  <a:moveTo>
                    <a:pt x="79" y="391"/>
                  </a:moveTo>
                  <a:lnTo>
                    <a:pt x="74" y="391"/>
                  </a:lnTo>
                  <a:lnTo>
                    <a:pt x="71" y="394"/>
                  </a:lnTo>
                  <a:cubicBezTo>
                    <a:pt x="71" y="396"/>
                    <a:pt x="74" y="396"/>
                    <a:pt x="74" y="399"/>
                  </a:cubicBezTo>
                  <a:cubicBezTo>
                    <a:pt x="77" y="396"/>
                    <a:pt x="77" y="394"/>
                    <a:pt x="79" y="391"/>
                  </a:cubicBezTo>
                  <a:close/>
                  <a:moveTo>
                    <a:pt x="74" y="365"/>
                  </a:moveTo>
                  <a:lnTo>
                    <a:pt x="79" y="365"/>
                  </a:lnTo>
                  <a:lnTo>
                    <a:pt x="79" y="360"/>
                  </a:lnTo>
                  <a:cubicBezTo>
                    <a:pt x="79" y="360"/>
                    <a:pt x="79" y="363"/>
                    <a:pt x="77" y="363"/>
                  </a:cubicBezTo>
                  <a:cubicBezTo>
                    <a:pt x="77" y="363"/>
                    <a:pt x="74" y="363"/>
                    <a:pt x="74" y="365"/>
                  </a:cubicBezTo>
                  <a:close/>
                  <a:moveTo>
                    <a:pt x="74" y="357"/>
                  </a:moveTo>
                  <a:lnTo>
                    <a:pt x="79" y="357"/>
                  </a:lnTo>
                  <a:lnTo>
                    <a:pt x="79" y="354"/>
                  </a:lnTo>
                  <a:cubicBezTo>
                    <a:pt x="77" y="357"/>
                    <a:pt x="77" y="357"/>
                    <a:pt x="74" y="357"/>
                  </a:cubicBezTo>
                  <a:close/>
                  <a:moveTo>
                    <a:pt x="82" y="377"/>
                  </a:moveTo>
                  <a:cubicBezTo>
                    <a:pt x="82" y="374"/>
                    <a:pt x="79" y="374"/>
                    <a:pt x="79" y="374"/>
                  </a:cubicBezTo>
                  <a:lnTo>
                    <a:pt x="77" y="377"/>
                  </a:lnTo>
                  <a:lnTo>
                    <a:pt x="79" y="379"/>
                  </a:lnTo>
                  <a:lnTo>
                    <a:pt x="82" y="379"/>
                  </a:lnTo>
                  <a:lnTo>
                    <a:pt x="82" y="377"/>
                  </a:lnTo>
                  <a:close/>
                  <a:moveTo>
                    <a:pt x="91" y="39"/>
                  </a:moveTo>
                  <a:lnTo>
                    <a:pt x="88" y="45"/>
                  </a:lnTo>
                  <a:cubicBezTo>
                    <a:pt x="88" y="46"/>
                    <a:pt x="87" y="47"/>
                    <a:pt x="86" y="48"/>
                  </a:cubicBezTo>
                  <a:cubicBezTo>
                    <a:pt x="87" y="48"/>
                    <a:pt x="88" y="49"/>
                    <a:pt x="88" y="50"/>
                  </a:cubicBezTo>
                  <a:cubicBezTo>
                    <a:pt x="88" y="48"/>
                    <a:pt x="91" y="48"/>
                    <a:pt x="91" y="45"/>
                  </a:cubicBezTo>
                  <a:cubicBezTo>
                    <a:pt x="91" y="42"/>
                    <a:pt x="93" y="42"/>
                    <a:pt x="93" y="39"/>
                  </a:cubicBezTo>
                  <a:lnTo>
                    <a:pt x="91" y="39"/>
                  </a:lnTo>
                  <a:lnTo>
                    <a:pt x="88" y="34"/>
                  </a:lnTo>
                  <a:cubicBezTo>
                    <a:pt x="87" y="34"/>
                    <a:pt x="86" y="35"/>
                    <a:pt x="86" y="35"/>
                  </a:cubicBezTo>
                  <a:lnTo>
                    <a:pt x="85" y="33"/>
                  </a:lnTo>
                  <a:lnTo>
                    <a:pt x="82" y="36"/>
                  </a:lnTo>
                  <a:cubicBezTo>
                    <a:pt x="84" y="38"/>
                    <a:pt x="86" y="39"/>
                    <a:pt x="88" y="39"/>
                  </a:cubicBezTo>
                  <a:lnTo>
                    <a:pt x="88" y="39"/>
                  </a:lnTo>
                  <a:lnTo>
                    <a:pt x="88" y="39"/>
                  </a:lnTo>
                  <a:cubicBezTo>
                    <a:pt x="89" y="39"/>
                    <a:pt x="90" y="39"/>
                    <a:pt x="91" y="39"/>
                  </a:cubicBezTo>
                  <a:close/>
                  <a:moveTo>
                    <a:pt x="96" y="42"/>
                  </a:moveTo>
                  <a:lnTo>
                    <a:pt x="99" y="42"/>
                  </a:lnTo>
                  <a:lnTo>
                    <a:pt x="102" y="42"/>
                  </a:lnTo>
                  <a:lnTo>
                    <a:pt x="102" y="39"/>
                  </a:lnTo>
                  <a:lnTo>
                    <a:pt x="99" y="39"/>
                  </a:lnTo>
                  <a:lnTo>
                    <a:pt x="96" y="39"/>
                  </a:lnTo>
                  <a:lnTo>
                    <a:pt x="96" y="42"/>
                  </a:lnTo>
                  <a:close/>
                  <a:moveTo>
                    <a:pt x="88" y="39"/>
                  </a:moveTo>
                  <a:lnTo>
                    <a:pt x="88" y="39"/>
                  </a:lnTo>
                  <a:lnTo>
                    <a:pt x="86" y="35"/>
                  </a:lnTo>
                  <a:cubicBezTo>
                    <a:pt x="86" y="36"/>
                    <a:pt x="86" y="38"/>
                    <a:pt x="88" y="39"/>
                  </a:cubicBezTo>
                  <a:close/>
                  <a:moveTo>
                    <a:pt x="85" y="394"/>
                  </a:moveTo>
                  <a:cubicBezTo>
                    <a:pt x="82" y="394"/>
                    <a:pt x="82" y="396"/>
                    <a:pt x="82" y="396"/>
                  </a:cubicBezTo>
                  <a:lnTo>
                    <a:pt x="85" y="394"/>
                  </a:lnTo>
                  <a:close/>
                  <a:moveTo>
                    <a:pt x="88" y="430"/>
                  </a:moveTo>
                  <a:cubicBezTo>
                    <a:pt x="88" y="427"/>
                    <a:pt x="91" y="427"/>
                    <a:pt x="91" y="427"/>
                  </a:cubicBezTo>
                  <a:lnTo>
                    <a:pt x="85" y="422"/>
                  </a:lnTo>
                  <a:cubicBezTo>
                    <a:pt x="85" y="427"/>
                    <a:pt x="88" y="430"/>
                    <a:pt x="88" y="430"/>
                  </a:cubicBezTo>
                  <a:close/>
                  <a:moveTo>
                    <a:pt x="85" y="410"/>
                  </a:moveTo>
                  <a:lnTo>
                    <a:pt x="85" y="413"/>
                  </a:lnTo>
                  <a:cubicBezTo>
                    <a:pt x="91" y="413"/>
                    <a:pt x="91" y="410"/>
                    <a:pt x="85" y="410"/>
                  </a:cubicBezTo>
                  <a:close/>
                  <a:moveTo>
                    <a:pt x="91" y="45"/>
                  </a:moveTo>
                  <a:cubicBezTo>
                    <a:pt x="91" y="48"/>
                    <a:pt x="93" y="50"/>
                    <a:pt x="93" y="50"/>
                  </a:cubicBezTo>
                  <a:lnTo>
                    <a:pt x="93" y="53"/>
                  </a:lnTo>
                  <a:lnTo>
                    <a:pt x="93" y="56"/>
                  </a:lnTo>
                  <a:cubicBezTo>
                    <a:pt x="96" y="59"/>
                    <a:pt x="99" y="62"/>
                    <a:pt x="105" y="56"/>
                  </a:cubicBezTo>
                  <a:cubicBezTo>
                    <a:pt x="102" y="50"/>
                    <a:pt x="96" y="45"/>
                    <a:pt x="91" y="45"/>
                  </a:cubicBezTo>
                  <a:close/>
                  <a:moveTo>
                    <a:pt x="108" y="430"/>
                  </a:moveTo>
                  <a:cubicBezTo>
                    <a:pt x="105" y="433"/>
                    <a:pt x="102" y="433"/>
                    <a:pt x="99" y="436"/>
                  </a:cubicBezTo>
                  <a:lnTo>
                    <a:pt x="102" y="439"/>
                  </a:lnTo>
                  <a:cubicBezTo>
                    <a:pt x="102" y="441"/>
                    <a:pt x="102" y="441"/>
                    <a:pt x="105" y="444"/>
                  </a:cubicBezTo>
                  <a:cubicBezTo>
                    <a:pt x="105" y="441"/>
                    <a:pt x="105" y="439"/>
                    <a:pt x="108" y="430"/>
                  </a:cubicBezTo>
                  <a:close/>
                  <a:moveTo>
                    <a:pt x="110" y="450"/>
                  </a:moveTo>
                  <a:lnTo>
                    <a:pt x="108" y="450"/>
                  </a:lnTo>
                  <a:cubicBezTo>
                    <a:pt x="105" y="450"/>
                    <a:pt x="105" y="450"/>
                    <a:pt x="102" y="453"/>
                  </a:cubicBezTo>
                  <a:cubicBezTo>
                    <a:pt x="105" y="453"/>
                    <a:pt x="105" y="456"/>
                    <a:pt x="108" y="456"/>
                  </a:cubicBezTo>
                  <a:cubicBezTo>
                    <a:pt x="105" y="453"/>
                    <a:pt x="108" y="453"/>
                    <a:pt x="110" y="450"/>
                  </a:cubicBezTo>
                  <a:close/>
                  <a:moveTo>
                    <a:pt x="110" y="76"/>
                  </a:moveTo>
                  <a:cubicBezTo>
                    <a:pt x="108" y="76"/>
                    <a:pt x="108" y="76"/>
                    <a:pt x="105" y="79"/>
                  </a:cubicBezTo>
                  <a:cubicBezTo>
                    <a:pt x="105" y="81"/>
                    <a:pt x="108" y="81"/>
                    <a:pt x="110" y="81"/>
                  </a:cubicBezTo>
                  <a:lnTo>
                    <a:pt x="110" y="76"/>
                  </a:lnTo>
                  <a:close/>
                  <a:moveTo>
                    <a:pt x="113" y="439"/>
                  </a:moveTo>
                  <a:lnTo>
                    <a:pt x="110" y="439"/>
                  </a:lnTo>
                  <a:cubicBezTo>
                    <a:pt x="110" y="444"/>
                    <a:pt x="110" y="447"/>
                    <a:pt x="116" y="447"/>
                  </a:cubicBezTo>
                  <a:lnTo>
                    <a:pt x="113" y="439"/>
                  </a:lnTo>
                  <a:close/>
                  <a:moveTo>
                    <a:pt x="110" y="59"/>
                  </a:moveTo>
                  <a:lnTo>
                    <a:pt x="110" y="62"/>
                  </a:lnTo>
                  <a:lnTo>
                    <a:pt x="110" y="67"/>
                  </a:lnTo>
                  <a:lnTo>
                    <a:pt x="116" y="62"/>
                  </a:lnTo>
                  <a:cubicBezTo>
                    <a:pt x="113" y="62"/>
                    <a:pt x="110" y="59"/>
                    <a:pt x="110" y="59"/>
                  </a:cubicBezTo>
                  <a:close/>
                  <a:moveTo>
                    <a:pt x="119" y="79"/>
                  </a:moveTo>
                  <a:cubicBezTo>
                    <a:pt x="116" y="79"/>
                    <a:pt x="113" y="79"/>
                    <a:pt x="110" y="81"/>
                  </a:cubicBezTo>
                  <a:cubicBezTo>
                    <a:pt x="113" y="84"/>
                    <a:pt x="116" y="84"/>
                    <a:pt x="119" y="84"/>
                  </a:cubicBezTo>
                  <a:lnTo>
                    <a:pt x="119" y="79"/>
                  </a:lnTo>
                  <a:close/>
                  <a:moveTo>
                    <a:pt x="110" y="70"/>
                  </a:moveTo>
                  <a:cubicBezTo>
                    <a:pt x="113" y="73"/>
                    <a:pt x="116" y="76"/>
                    <a:pt x="116" y="79"/>
                  </a:cubicBezTo>
                  <a:lnTo>
                    <a:pt x="116" y="73"/>
                  </a:lnTo>
                  <a:cubicBezTo>
                    <a:pt x="116" y="73"/>
                    <a:pt x="116" y="70"/>
                    <a:pt x="110" y="70"/>
                  </a:cubicBezTo>
                  <a:close/>
                  <a:moveTo>
                    <a:pt x="116" y="104"/>
                  </a:moveTo>
                  <a:cubicBezTo>
                    <a:pt x="116" y="107"/>
                    <a:pt x="116" y="110"/>
                    <a:pt x="113" y="112"/>
                  </a:cubicBezTo>
                  <a:lnTo>
                    <a:pt x="116" y="112"/>
                  </a:lnTo>
                  <a:lnTo>
                    <a:pt x="122" y="112"/>
                  </a:lnTo>
                  <a:lnTo>
                    <a:pt x="125" y="112"/>
                  </a:lnTo>
                  <a:lnTo>
                    <a:pt x="116" y="104"/>
                  </a:lnTo>
                  <a:cubicBezTo>
                    <a:pt x="119" y="104"/>
                    <a:pt x="122" y="101"/>
                    <a:pt x="122" y="98"/>
                  </a:cubicBezTo>
                  <a:cubicBezTo>
                    <a:pt x="116" y="101"/>
                    <a:pt x="116" y="104"/>
                    <a:pt x="116" y="104"/>
                  </a:cubicBezTo>
                  <a:close/>
                  <a:moveTo>
                    <a:pt x="116" y="127"/>
                  </a:moveTo>
                  <a:cubicBezTo>
                    <a:pt x="119" y="127"/>
                    <a:pt x="119" y="129"/>
                    <a:pt x="119" y="129"/>
                  </a:cubicBezTo>
                  <a:lnTo>
                    <a:pt x="122" y="132"/>
                  </a:lnTo>
                  <a:cubicBezTo>
                    <a:pt x="119" y="135"/>
                    <a:pt x="122" y="138"/>
                    <a:pt x="122" y="138"/>
                  </a:cubicBezTo>
                  <a:cubicBezTo>
                    <a:pt x="122" y="138"/>
                    <a:pt x="122" y="141"/>
                    <a:pt x="125" y="141"/>
                  </a:cubicBezTo>
                  <a:lnTo>
                    <a:pt x="127" y="138"/>
                  </a:lnTo>
                  <a:cubicBezTo>
                    <a:pt x="127" y="138"/>
                    <a:pt x="125" y="135"/>
                    <a:pt x="125" y="132"/>
                  </a:cubicBezTo>
                  <a:lnTo>
                    <a:pt x="125" y="121"/>
                  </a:lnTo>
                  <a:lnTo>
                    <a:pt x="122" y="121"/>
                  </a:lnTo>
                  <a:lnTo>
                    <a:pt x="116" y="127"/>
                  </a:lnTo>
                  <a:close/>
                  <a:moveTo>
                    <a:pt x="119" y="152"/>
                  </a:moveTo>
                  <a:lnTo>
                    <a:pt x="122" y="155"/>
                  </a:lnTo>
                  <a:cubicBezTo>
                    <a:pt x="122" y="155"/>
                    <a:pt x="125" y="155"/>
                    <a:pt x="125" y="158"/>
                  </a:cubicBezTo>
                  <a:lnTo>
                    <a:pt x="122" y="160"/>
                  </a:lnTo>
                  <a:cubicBezTo>
                    <a:pt x="125" y="163"/>
                    <a:pt x="127" y="160"/>
                    <a:pt x="130" y="158"/>
                  </a:cubicBezTo>
                  <a:cubicBezTo>
                    <a:pt x="127" y="158"/>
                    <a:pt x="127" y="155"/>
                    <a:pt x="127" y="155"/>
                  </a:cubicBezTo>
                  <a:cubicBezTo>
                    <a:pt x="125" y="155"/>
                    <a:pt x="125" y="152"/>
                    <a:pt x="122" y="155"/>
                  </a:cubicBezTo>
                  <a:cubicBezTo>
                    <a:pt x="122" y="152"/>
                    <a:pt x="122" y="152"/>
                    <a:pt x="119" y="152"/>
                  </a:cubicBezTo>
                  <a:close/>
                  <a:moveTo>
                    <a:pt x="139" y="458"/>
                  </a:moveTo>
                  <a:lnTo>
                    <a:pt x="136" y="456"/>
                  </a:lnTo>
                  <a:lnTo>
                    <a:pt x="130" y="456"/>
                  </a:lnTo>
                  <a:lnTo>
                    <a:pt x="130" y="450"/>
                  </a:lnTo>
                  <a:lnTo>
                    <a:pt x="125" y="450"/>
                  </a:lnTo>
                  <a:lnTo>
                    <a:pt x="122" y="450"/>
                  </a:lnTo>
                  <a:lnTo>
                    <a:pt x="116" y="450"/>
                  </a:lnTo>
                  <a:lnTo>
                    <a:pt x="119" y="453"/>
                  </a:lnTo>
                  <a:lnTo>
                    <a:pt x="119" y="458"/>
                  </a:lnTo>
                  <a:lnTo>
                    <a:pt x="119" y="464"/>
                  </a:lnTo>
                  <a:cubicBezTo>
                    <a:pt x="122" y="461"/>
                    <a:pt x="125" y="461"/>
                    <a:pt x="127" y="461"/>
                  </a:cubicBezTo>
                  <a:cubicBezTo>
                    <a:pt x="133" y="456"/>
                    <a:pt x="136" y="456"/>
                    <a:pt x="139" y="458"/>
                  </a:cubicBezTo>
                  <a:close/>
                  <a:moveTo>
                    <a:pt x="119" y="84"/>
                  </a:moveTo>
                  <a:lnTo>
                    <a:pt x="125" y="90"/>
                  </a:lnTo>
                  <a:cubicBezTo>
                    <a:pt x="127" y="90"/>
                    <a:pt x="127" y="87"/>
                    <a:pt x="127" y="87"/>
                  </a:cubicBezTo>
                  <a:cubicBezTo>
                    <a:pt x="125" y="87"/>
                    <a:pt x="125" y="84"/>
                    <a:pt x="119" y="84"/>
                  </a:cubicBezTo>
                  <a:close/>
                  <a:moveTo>
                    <a:pt x="119" y="141"/>
                  </a:moveTo>
                  <a:cubicBezTo>
                    <a:pt x="119" y="143"/>
                    <a:pt x="119" y="143"/>
                    <a:pt x="122" y="143"/>
                  </a:cubicBezTo>
                  <a:lnTo>
                    <a:pt x="119" y="141"/>
                  </a:lnTo>
                  <a:close/>
                  <a:moveTo>
                    <a:pt x="125" y="436"/>
                  </a:moveTo>
                  <a:lnTo>
                    <a:pt x="122" y="436"/>
                  </a:lnTo>
                  <a:cubicBezTo>
                    <a:pt x="122" y="436"/>
                    <a:pt x="125" y="439"/>
                    <a:pt x="125" y="436"/>
                  </a:cubicBezTo>
                  <a:close/>
                  <a:moveTo>
                    <a:pt x="122" y="166"/>
                  </a:moveTo>
                  <a:lnTo>
                    <a:pt x="125" y="169"/>
                  </a:lnTo>
                  <a:cubicBezTo>
                    <a:pt x="127" y="163"/>
                    <a:pt x="125" y="163"/>
                    <a:pt x="122" y="166"/>
                  </a:cubicBezTo>
                  <a:close/>
                  <a:moveTo>
                    <a:pt x="122" y="121"/>
                  </a:moveTo>
                  <a:lnTo>
                    <a:pt x="127" y="118"/>
                  </a:lnTo>
                  <a:cubicBezTo>
                    <a:pt x="122" y="115"/>
                    <a:pt x="122" y="118"/>
                    <a:pt x="122" y="121"/>
                  </a:cubicBezTo>
                  <a:close/>
                  <a:moveTo>
                    <a:pt x="125" y="98"/>
                  </a:moveTo>
                  <a:cubicBezTo>
                    <a:pt x="122" y="98"/>
                    <a:pt x="122" y="98"/>
                    <a:pt x="122" y="101"/>
                  </a:cubicBezTo>
                  <a:cubicBezTo>
                    <a:pt x="122" y="101"/>
                    <a:pt x="125" y="101"/>
                    <a:pt x="125" y="104"/>
                  </a:cubicBezTo>
                  <a:lnTo>
                    <a:pt x="125" y="107"/>
                  </a:lnTo>
                  <a:lnTo>
                    <a:pt x="127" y="107"/>
                  </a:lnTo>
                  <a:lnTo>
                    <a:pt x="125" y="98"/>
                  </a:lnTo>
                  <a:close/>
                  <a:moveTo>
                    <a:pt x="127" y="183"/>
                  </a:moveTo>
                  <a:lnTo>
                    <a:pt x="127" y="189"/>
                  </a:lnTo>
                  <a:lnTo>
                    <a:pt x="130" y="189"/>
                  </a:lnTo>
                  <a:lnTo>
                    <a:pt x="133" y="186"/>
                  </a:lnTo>
                  <a:lnTo>
                    <a:pt x="133" y="183"/>
                  </a:lnTo>
                  <a:cubicBezTo>
                    <a:pt x="139" y="180"/>
                    <a:pt x="139" y="180"/>
                    <a:pt x="136" y="175"/>
                  </a:cubicBezTo>
                  <a:lnTo>
                    <a:pt x="127" y="183"/>
                  </a:lnTo>
                  <a:close/>
                  <a:moveTo>
                    <a:pt x="133" y="172"/>
                  </a:moveTo>
                  <a:cubicBezTo>
                    <a:pt x="133" y="172"/>
                    <a:pt x="130" y="172"/>
                    <a:pt x="130" y="169"/>
                  </a:cubicBezTo>
                  <a:lnTo>
                    <a:pt x="130" y="172"/>
                  </a:lnTo>
                  <a:lnTo>
                    <a:pt x="130" y="175"/>
                  </a:lnTo>
                  <a:cubicBezTo>
                    <a:pt x="133" y="175"/>
                    <a:pt x="133" y="175"/>
                    <a:pt x="133" y="172"/>
                  </a:cubicBezTo>
                  <a:close/>
                  <a:moveTo>
                    <a:pt x="133" y="439"/>
                  </a:moveTo>
                  <a:lnTo>
                    <a:pt x="130" y="439"/>
                  </a:lnTo>
                  <a:lnTo>
                    <a:pt x="130" y="441"/>
                  </a:lnTo>
                  <a:cubicBezTo>
                    <a:pt x="133" y="444"/>
                    <a:pt x="136" y="444"/>
                    <a:pt x="133" y="439"/>
                  </a:cubicBezTo>
                  <a:close/>
                  <a:moveTo>
                    <a:pt x="136" y="146"/>
                  </a:moveTo>
                  <a:cubicBezTo>
                    <a:pt x="133" y="146"/>
                    <a:pt x="133" y="149"/>
                    <a:pt x="130" y="149"/>
                  </a:cubicBezTo>
                  <a:cubicBezTo>
                    <a:pt x="139" y="152"/>
                    <a:pt x="136" y="149"/>
                    <a:pt x="136" y="146"/>
                  </a:cubicBezTo>
                  <a:close/>
                  <a:moveTo>
                    <a:pt x="136" y="255"/>
                  </a:moveTo>
                  <a:lnTo>
                    <a:pt x="136" y="251"/>
                  </a:lnTo>
                  <a:lnTo>
                    <a:pt x="133" y="251"/>
                  </a:lnTo>
                  <a:lnTo>
                    <a:pt x="130" y="251"/>
                  </a:lnTo>
                  <a:lnTo>
                    <a:pt x="136" y="255"/>
                  </a:lnTo>
                  <a:close/>
                  <a:moveTo>
                    <a:pt x="133" y="217"/>
                  </a:moveTo>
                  <a:lnTo>
                    <a:pt x="133" y="222"/>
                  </a:lnTo>
                  <a:lnTo>
                    <a:pt x="141" y="231"/>
                  </a:lnTo>
                  <a:cubicBezTo>
                    <a:pt x="144" y="231"/>
                    <a:pt x="144" y="228"/>
                    <a:pt x="147" y="225"/>
                  </a:cubicBezTo>
                  <a:lnTo>
                    <a:pt x="147" y="222"/>
                  </a:lnTo>
                  <a:lnTo>
                    <a:pt x="144" y="222"/>
                  </a:lnTo>
                  <a:lnTo>
                    <a:pt x="141" y="225"/>
                  </a:lnTo>
                  <a:lnTo>
                    <a:pt x="139" y="222"/>
                  </a:lnTo>
                  <a:lnTo>
                    <a:pt x="136" y="222"/>
                  </a:lnTo>
                  <a:lnTo>
                    <a:pt x="133" y="217"/>
                  </a:lnTo>
                  <a:close/>
                  <a:moveTo>
                    <a:pt x="133" y="231"/>
                  </a:moveTo>
                  <a:lnTo>
                    <a:pt x="133" y="234"/>
                  </a:lnTo>
                  <a:lnTo>
                    <a:pt x="136" y="234"/>
                  </a:lnTo>
                  <a:lnTo>
                    <a:pt x="133" y="231"/>
                  </a:lnTo>
                  <a:close/>
                  <a:moveTo>
                    <a:pt x="139" y="189"/>
                  </a:moveTo>
                  <a:lnTo>
                    <a:pt x="136" y="189"/>
                  </a:lnTo>
                  <a:lnTo>
                    <a:pt x="136" y="194"/>
                  </a:lnTo>
                  <a:lnTo>
                    <a:pt x="136" y="200"/>
                  </a:lnTo>
                  <a:lnTo>
                    <a:pt x="139" y="200"/>
                  </a:lnTo>
                  <a:lnTo>
                    <a:pt x="139" y="194"/>
                  </a:lnTo>
                  <a:cubicBezTo>
                    <a:pt x="139" y="194"/>
                    <a:pt x="139" y="191"/>
                    <a:pt x="139" y="189"/>
                  </a:cubicBezTo>
                  <a:close/>
                  <a:moveTo>
                    <a:pt x="141" y="447"/>
                  </a:moveTo>
                  <a:lnTo>
                    <a:pt x="139" y="436"/>
                  </a:lnTo>
                  <a:cubicBezTo>
                    <a:pt x="136" y="439"/>
                    <a:pt x="133" y="439"/>
                    <a:pt x="136" y="441"/>
                  </a:cubicBezTo>
                  <a:lnTo>
                    <a:pt x="136" y="447"/>
                  </a:lnTo>
                  <a:lnTo>
                    <a:pt x="141" y="447"/>
                  </a:lnTo>
                  <a:close/>
                  <a:moveTo>
                    <a:pt x="150" y="272"/>
                  </a:moveTo>
                  <a:lnTo>
                    <a:pt x="147" y="267"/>
                  </a:lnTo>
                  <a:cubicBezTo>
                    <a:pt x="147" y="264"/>
                    <a:pt x="150" y="264"/>
                    <a:pt x="150" y="264"/>
                  </a:cubicBezTo>
                  <a:cubicBezTo>
                    <a:pt x="150" y="258"/>
                    <a:pt x="147" y="255"/>
                    <a:pt x="144" y="255"/>
                  </a:cubicBezTo>
                  <a:lnTo>
                    <a:pt x="144" y="261"/>
                  </a:lnTo>
                  <a:cubicBezTo>
                    <a:pt x="144" y="261"/>
                    <a:pt x="141" y="261"/>
                    <a:pt x="141" y="258"/>
                  </a:cubicBezTo>
                  <a:lnTo>
                    <a:pt x="141" y="264"/>
                  </a:lnTo>
                  <a:lnTo>
                    <a:pt x="139" y="267"/>
                  </a:lnTo>
                  <a:cubicBezTo>
                    <a:pt x="141" y="267"/>
                    <a:pt x="144" y="269"/>
                    <a:pt x="144" y="269"/>
                  </a:cubicBezTo>
                  <a:cubicBezTo>
                    <a:pt x="144" y="269"/>
                    <a:pt x="147" y="272"/>
                    <a:pt x="150" y="272"/>
                  </a:cubicBezTo>
                  <a:close/>
                  <a:moveTo>
                    <a:pt x="141" y="208"/>
                  </a:moveTo>
                  <a:lnTo>
                    <a:pt x="141" y="206"/>
                  </a:lnTo>
                  <a:cubicBezTo>
                    <a:pt x="139" y="208"/>
                    <a:pt x="139" y="208"/>
                    <a:pt x="141" y="208"/>
                  </a:cubicBezTo>
                  <a:close/>
                  <a:moveTo>
                    <a:pt x="139" y="220"/>
                  </a:moveTo>
                  <a:cubicBezTo>
                    <a:pt x="141" y="222"/>
                    <a:pt x="141" y="220"/>
                    <a:pt x="139" y="220"/>
                  </a:cubicBezTo>
                  <a:close/>
                  <a:moveTo>
                    <a:pt x="141" y="186"/>
                  </a:moveTo>
                  <a:lnTo>
                    <a:pt x="141" y="180"/>
                  </a:lnTo>
                  <a:lnTo>
                    <a:pt x="139" y="180"/>
                  </a:lnTo>
                  <a:lnTo>
                    <a:pt x="141" y="186"/>
                  </a:lnTo>
                  <a:close/>
                  <a:moveTo>
                    <a:pt x="144" y="194"/>
                  </a:moveTo>
                  <a:cubicBezTo>
                    <a:pt x="141" y="191"/>
                    <a:pt x="141" y="194"/>
                    <a:pt x="141" y="194"/>
                  </a:cubicBezTo>
                  <a:lnTo>
                    <a:pt x="144" y="194"/>
                  </a:lnTo>
                  <a:close/>
                  <a:moveTo>
                    <a:pt x="153" y="444"/>
                  </a:moveTo>
                  <a:cubicBezTo>
                    <a:pt x="144" y="447"/>
                    <a:pt x="141" y="453"/>
                    <a:pt x="141" y="456"/>
                  </a:cubicBezTo>
                  <a:lnTo>
                    <a:pt x="144" y="456"/>
                  </a:lnTo>
                  <a:lnTo>
                    <a:pt x="144" y="450"/>
                  </a:lnTo>
                  <a:cubicBezTo>
                    <a:pt x="153" y="447"/>
                    <a:pt x="153" y="450"/>
                    <a:pt x="153" y="444"/>
                  </a:cubicBezTo>
                  <a:close/>
                  <a:moveTo>
                    <a:pt x="141" y="248"/>
                  </a:moveTo>
                  <a:lnTo>
                    <a:pt x="144" y="251"/>
                  </a:lnTo>
                  <a:cubicBezTo>
                    <a:pt x="144" y="248"/>
                    <a:pt x="147" y="248"/>
                    <a:pt x="147" y="245"/>
                  </a:cubicBezTo>
                  <a:lnTo>
                    <a:pt x="147" y="239"/>
                  </a:lnTo>
                  <a:cubicBezTo>
                    <a:pt x="147" y="242"/>
                    <a:pt x="144" y="242"/>
                    <a:pt x="144" y="242"/>
                  </a:cubicBezTo>
                  <a:lnTo>
                    <a:pt x="141" y="248"/>
                  </a:lnTo>
                  <a:close/>
                  <a:moveTo>
                    <a:pt x="158" y="430"/>
                  </a:moveTo>
                  <a:cubicBezTo>
                    <a:pt x="156" y="433"/>
                    <a:pt x="156" y="433"/>
                    <a:pt x="153" y="433"/>
                  </a:cubicBezTo>
                  <a:lnTo>
                    <a:pt x="147" y="436"/>
                  </a:lnTo>
                  <a:cubicBezTo>
                    <a:pt x="147" y="439"/>
                    <a:pt x="150" y="439"/>
                    <a:pt x="150" y="439"/>
                  </a:cubicBezTo>
                  <a:cubicBezTo>
                    <a:pt x="150" y="436"/>
                    <a:pt x="153" y="433"/>
                    <a:pt x="156" y="433"/>
                  </a:cubicBezTo>
                  <a:cubicBezTo>
                    <a:pt x="158" y="436"/>
                    <a:pt x="158" y="433"/>
                    <a:pt x="158" y="430"/>
                  </a:cubicBezTo>
                  <a:close/>
                  <a:moveTo>
                    <a:pt x="150" y="337"/>
                  </a:moveTo>
                  <a:cubicBezTo>
                    <a:pt x="153" y="337"/>
                    <a:pt x="153" y="334"/>
                    <a:pt x="153" y="334"/>
                  </a:cubicBezTo>
                  <a:lnTo>
                    <a:pt x="150" y="337"/>
                  </a:lnTo>
                  <a:close/>
                  <a:moveTo>
                    <a:pt x="167" y="306"/>
                  </a:moveTo>
                  <a:cubicBezTo>
                    <a:pt x="164" y="303"/>
                    <a:pt x="164" y="303"/>
                    <a:pt x="164" y="300"/>
                  </a:cubicBezTo>
                  <a:cubicBezTo>
                    <a:pt x="164" y="298"/>
                    <a:pt x="161" y="298"/>
                    <a:pt x="158" y="298"/>
                  </a:cubicBezTo>
                  <a:lnTo>
                    <a:pt x="157" y="296"/>
                  </a:lnTo>
                  <a:lnTo>
                    <a:pt x="156" y="298"/>
                  </a:lnTo>
                  <a:cubicBezTo>
                    <a:pt x="156" y="298"/>
                    <a:pt x="156" y="300"/>
                    <a:pt x="153" y="300"/>
                  </a:cubicBezTo>
                  <a:lnTo>
                    <a:pt x="158" y="300"/>
                  </a:lnTo>
                  <a:lnTo>
                    <a:pt x="158" y="303"/>
                  </a:lnTo>
                  <a:lnTo>
                    <a:pt x="153" y="303"/>
                  </a:lnTo>
                  <a:lnTo>
                    <a:pt x="153" y="306"/>
                  </a:lnTo>
                  <a:lnTo>
                    <a:pt x="164" y="309"/>
                  </a:lnTo>
                  <a:lnTo>
                    <a:pt x="164" y="312"/>
                  </a:lnTo>
                  <a:cubicBezTo>
                    <a:pt x="161" y="312"/>
                    <a:pt x="161" y="312"/>
                    <a:pt x="161" y="315"/>
                  </a:cubicBezTo>
                  <a:lnTo>
                    <a:pt x="164" y="317"/>
                  </a:lnTo>
                  <a:lnTo>
                    <a:pt x="164" y="315"/>
                  </a:lnTo>
                  <a:lnTo>
                    <a:pt x="167" y="306"/>
                  </a:lnTo>
                  <a:close/>
                  <a:moveTo>
                    <a:pt x="156" y="295"/>
                  </a:moveTo>
                  <a:lnTo>
                    <a:pt x="164" y="295"/>
                  </a:lnTo>
                  <a:lnTo>
                    <a:pt x="158" y="289"/>
                  </a:lnTo>
                  <a:cubicBezTo>
                    <a:pt x="158" y="292"/>
                    <a:pt x="156" y="292"/>
                    <a:pt x="156" y="289"/>
                  </a:cubicBezTo>
                  <a:cubicBezTo>
                    <a:pt x="153" y="289"/>
                    <a:pt x="153" y="289"/>
                    <a:pt x="153" y="292"/>
                  </a:cubicBezTo>
                  <a:lnTo>
                    <a:pt x="156" y="292"/>
                  </a:lnTo>
                  <a:lnTo>
                    <a:pt x="158" y="295"/>
                  </a:lnTo>
                  <a:lnTo>
                    <a:pt x="157" y="296"/>
                  </a:lnTo>
                  <a:lnTo>
                    <a:pt x="156" y="295"/>
                  </a:lnTo>
                  <a:close/>
                  <a:moveTo>
                    <a:pt x="156" y="331"/>
                  </a:moveTo>
                  <a:lnTo>
                    <a:pt x="156" y="326"/>
                  </a:lnTo>
                  <a:lnTo>
                    <a:pt x="153" y="326"/>
                  </a:lnTo>
                  <a:cubicBezTo>
                    <a:pt x="153" y="329"/>
                    <a:pt x="153" y="329"/>
                    <a:pt x="156" y="331"/>
                  </a:cubicBezTo>
                  <a:close/>
                  <a:moveTo>
                    <a:pt x="153" y="317"/>
                  </a:moveTo>
                  <a:lnTo>
                    <a:pt x="156" y="320"/>
                  </a:lnTo>
                  <a:lnTo>
                    <a:pt x="156" y="317"/>
                  </a:lnTo>
                  <a:lnTo>
                    <a:pt x="156" y="315"/>
                  </a:lnTo>
                  <a:cubicBezTo>
                    <a:pt x="156" y="312"/>
                    <a:pt x="153" y="312"/>
                    <a:pt x="153" y="312"/>
                  </a:cubicBezTo>
                  <a:lnTo>
                    <a:pt x="153" y="317"/>
                  </a:lnTo>
                  <a:close/>
                  <a:moveTo>
                    <a:pt x="170" y="329"/>
                  </a:moveTo>
                  <a:cubicBezTo>
                    <a:pt x="167" y="326"/>
                    <a:pt x="164" y="326"/>
                    <a:pt x="161" y="326"/>
                  </a:cubicBezTo>
                  <a:cubicBezTo>
                    <a:pt x="161" y="323"/>
                    <a:pt x="161" y="323"/>
                    <a:pt x="164" y="320"/>
                  </a:cubicBezTo>
                  <a:lnTo>
                    <a:pt x="156" y="320"/>
                  </a:lnTo>
                  <a:lnTo>
                    <a:pt x="156" y="323"/>
                  </a:lnTo>
                  <a:lnTo>
                    <a:pt x="161" y="323"/>
                  </a:lnTo>
                  <a:cubicBezTo>
                    <a:pt x="158" y="326"/>
                    <a:pt x="158" y="329"/>
                    <a:pt x="156" y="331"/>
                  </a:cubicBezTo>
                  <a:lnTo>
                    <a:pt x="156" y="337"/>
                  </a:lnTo>
                  <a:lnTo>
                    <a:pt x="156" y="340"/>
                  </a:lnTo>
                  <a:lnTo>
                    <a:pt x="153" y="340"/>
                  </a:lnTo>
                  <a:lnTo>
                    <a:pt x="153" y="348"/>
                  </a:lnTo>
                  <a:lnTo>
                    <a:pt x="156" y="348"/>
                  </a:lnTo>
                  <a:lnTo>
                    <a:pt x="158" y="346"/>
                  </a:lnTo>
                  <a:lnTo>
                    <a:pt x="161" y="337"/>
                  </a:lnTo>
                  <a:lnTo>
                    <a:pt x="158" y="334"/>
                  </a:lnTo>
                  <a:lnTo>
                    <a:pt x="156" y="331"/>
                  </a:lnTo>
                  <a:lnTo>
                    <a:pt x="161" y="331"/>
                  </a:lnTo>
                  <a:cubicBezTo>
                    <a:pt x="161" y="331"/>
                    <a:pt x="161" y="334"/>
                    <a:pt x="164" y="334"/>
                  </a:cubicBezTo>
                  <a:cubicBezTo>
                    <a:pt x="164" y="337"/>
                    <a:pt x="167" y="340"/>
                    <a:pt x="170" y="337"/>
                  </a:cubicBezTo>
                  <a:lnTo>
                    <a:pt x="172" y="337"/>
                  </a:lnTo>
                  <a:cubicBezTo>
                    <a:pt x="167" y="337"/>
                    <a:pt x="167" y="331"/>
                    <a:pt x="170" y="329"/>
                  </a:cubicBezTo>
                  <a:close/>
                  <a:moveTo>
                    <a:pt x="156" y="284"/>
                  </a:moveTo>
                  <a:cubicBezTo>
                    <a:pt x="158" y="284"/>
                    <a:pt x="158" y="284"/>
                    <a:pt x="161" y="281"/>
                  </a:cubicBezTo>
                  <a:cubicBezTo>
                    <a:pt x="161" y="278"/>
                    <a:pt x="158" y="278"/>
                    <a:pt x="156" y="278"/>
                  </a:cubicBezTo>
                  <a:lnTo>
                    <a:pt x="156" y="284"/>
                  </a:lnTo>
                  <a:close/>
                  <a:moveTo>
                    <a:pt x="161" y="360"/>
                  </a:moveTo>
                  <a:cubicBezTo>
                    <a:pt x="161" y="363"/>
                    <a:pt x="158" y="365"/>
                    <a:pt x="158" y="365"/>
                  </a:cubicBezTo>
                  <a:cubicBezTo>
                    <a:pt x="161" y="365"/>
                    <a:pt x="161" y="365"/>
                    <a:pt x="161" y="368"/>
                  </a:cubicBezTo>
                  <a:lnTo>
                    <a:pt x="161" y="371"/>
                  </a:lnTo>
                  <a:lnTo>
                    <a:pt x="161" y="374"/>
                  </a:lnTo>
                  <a:cubicBezTo>
                    <a:pt x="161" y="377"/>
                    <a:pt x="161" y="377"/>
                    <a:pt x="164" y="377"/>
                  </a:cubicBezTo>
                  <a:cubicBezTo>
                    <a:pt x="161" y="377"/>
                    <a:pt x="161" y="379"/>
                    <a:pt x="161" y="382"/>
                  </a:cubicBezTo>
                  <a:lnTo>
                    <a:pt x="164" y="385"/>
                  </a:lnTo>
                  <a:cubicBezTo>
                    <a:pt x="167" y="385"/>
                    <a:pt x="167" y="385"/>
                    <a:pt x="170" y="382"/>
                  </a:cubicBezTo>
                  <a:lnTo>
                    <a:pt x="172" y="382"/>
                  </a:lnTo>
                  <a:lnTo>
                    <a:pt x="175" y="385"/>
                  </a:lnTo>
                  <a:lnTo>
                    <a:pt x="175" y="379"/>
                  </a:lnTo>
                  <a:lnTo>
                    <a:pt x="175" y="377"/>
                  </a:lnTo>
                  <a:lnTo>
                    <a:pt x="170" y="377"/>
                  </a:lnTo>
                  <a:lnTo>
                    <a:pt x="164" y="377"/>
                  </a:lnTo>
                  <a:lnTo>
                    <a:pt x="164" y="368"/>
                  </a:lnTo>
                  <a:cubicBezTo>
                    <a:pt x="164" y="365"/>
                    <a:pt x="164" y="363"/>
                    <a:pt x="167" y="360"/>
                  </a:cubicBezTo>
                  <a:lnTo>
                    <a:pt x="164" y="360"/>
                  </a:lnTo>
                  <a:lnTo>
                    <a:pt x="164" y="351"/>
                  </a:lnTo>
                  <a:lnTo>
                    <a:pt x="161" y="351"/>
                  </a:lnTo>
                  <a:cubicBezTo>
                    <a:pt x="164" y="357"/>
                    <a:pt x="161" y="357"/>
                    <a:pt x="161" y="360"/>
                  </a:cubicBezTo>
                  <a:close/>
                  <a:moveTo>
                    <a:pt x="158" y="405"/>
                  </a:moveTo>
                  <a:lnTo>
                    <a:pt x="158" y="410"/>
                  </a:lnTo>
                  <a:lnTo>
                    <a:pt x="161" y="410"/>
                  </a:lnTo>
                  <a:cubicBezTo>
                    <a:pt x="161" y="410"/>
                    <a:pt x="158" y="408"/>
                    <a:pt x="158" y="405"/>
                  </a:cubicBezTo>
                  <a:close/>
                  <a:moveTo>
                    <a:pt x="172" y="430"/>
                  </a:moveTo>
                  <a:cubicBezTo>
                    <a:pt x="172" y="433"/>
                    <a:pt x="170" y="433"/>
                    <a:pt x="167" y="433"/>
                  </a:cubicBezTo>
                  <a:lnTo>
                    <a:pt x="158" y="433"/>
                  </a:lnTo>
                  <a:cubicBezTo>
                    <a:pt x="158" y="436"/>
                    <a:pt x="161" y="436"/>
                    <a:pt x="164" y="439"/>
                  </a:cubicBezTo>
                  <a:lnTo>
                    <a:pt x="167" y="439"/>
                  </a:lnTo>
                  <a:lnTo>
                    <a:pt x="170" y="441"/>
                  </a:lnTo>
                  <a:cubicBezTo>
                    <a:pt x="170" y="436"/>
                    <a:pt x="172" y="433"/>
                    <a:pt x="172" y="430"/>
                  </a:cubicBezTo>
                  <a:close/>
                  <a:moveTo>
                    <a:pt x="172" y="396"/>
                  </a:moveTo>
                  <a:lnTo>
                    <a:pt x="167" y="396"/>
                  </a:lnTo>
                  <a:lnTo>
                    <a:pt x="161" y="396"/>
                  </a:lnTo>
                  <a:lnTo>
                    <a:pt x="167" y="402"/>
                  </a:lnTo>
                  <a:lnTo>
                    <a:pt x="167" y="405"/>
                  </a:lnTo>
                  <a:cubicBezTo>
                    <a:pt x="167" y="405"/>
                    <a:pt x="167" y="408"/>
                    <a:pt x="164" y="408"/>
                  </a:cubicBezTo>
                  <a:cubicBezTo>
                    <a:pt x="167" y="408"/>
                    <a:pt x="167" y="405"/>
                    <a:pt x="170" y="405"/>
                  </a:cubicBezTo>
                  <a:lnTo>
                    <a:pt x="172" y="405"/>
                  </a:lnTo>
                  <a:lnTo>
                    <a:pt x="175" y="405"/>
                  </a:lnTo>
                  <a:lnTo>
                    <a:pt x="172" y="396"/>
                  </a:lnTo>
                  <a:close/>
                  <a:moveTo>
                    <a:pt x="172" y="419"/>
                  </a:moveTo>
                  <a:cubicBezTo>
                    <a:pt x="170" y="419"/>
                    <a:pt x="170" y="419"/>
                    <a:pt x="170" y="422"/>
                  </a:cubicBezTo>
                  <a:lnTo>
                    <a:pt x="172" y="425"/>
                  </a:lnTo>
                  <a:lnTo>
                    <a:pt x="170" y="425"/>
                  </a:lnTo>
                  <a:lnTo>
                    <a:pt x="167" y="425"/>
                  </a:lnTo>
                  <a:lnTo>
                    <a:pt x="167" y="427"/>
                  </a:lnTo>
                  <a:lnTo>
                    <a:pt x="167" y="430"/>
                  </a:lnTo>
                  <a:cubicBezTo>
                    <a:pt x="172" y="427"/>
                    <a:pt x="175" y="425"/>
                    <a:pt x="172" y="419"/>
                  </a:cubicBezTo>
                  <a:close/>
                  <a:moveTo>
                    <a:pt x="175" y="360"/>
                  </a:moveTo>
                  <a:cubicBezTo>
                    <a:pt x="175" y="357"/>
                    <a:pt x="172" y="357"/>
                    <a:pt x="172" y="354"/>
                  </a:cubicBezTo>
                  <a:cubicBezTo>
                    <a:pt x="170" y="357"/>
                    <a:pt x="170" y="357"/>
                    <a:pt x="170" y="360"/>
                  </a:cubicBezTo>
                  <a:lnTo>
                    <a:pt x="172" y="360"/>
                  </a:lnTo>
                  <a:lnTo>
                    <a:pt x="175" y="360"/>
                  </a:lnTo>
                  <a:close/>
                  <a:moveTo>
                    <a:pt x="172" y="374"/>
                  </a:moveTo>
                  <a:lnTo>
                    <a:pt x="172" y="368"/>
                  </a:lnTo>
                  <a:lnTo>
                    <a:pt x="170" y="368"/>
                  </a:lnTo>
                  <a:cubicBezTo>
                    <a:pt x="172" y="371"/>
                    <a:pt x="172" y="371"/>
                    <a:pt x="172" y="3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2" name="Freeform 1457"/>
            <p:cNvSpPr>
              <a:spLocks noChangeArrowheads="1"/>
            </p:cNvSpPr>
            <p:nvPr/>
          </p:nvSpPr>
          <p:spPr bwMode="auto">
            <a:xfrm>
              <a:off x="4022725" y="2471738"/>
              <a:ext cx="84138" cy="176212"/>
            </a:xfrm>
            <a:custGeom>
              <a:avLst/>
              <a:gdLst>
                <a:gd name="T0" fmla="*/ 175 w 232"/>
                <a:gd name="T1" fmla="*/ 459 h 491"/>
                <a:gd name="T2" fmla="*/ 124 w 232"/>
                <a:gd name="T3" fmla="*/ 323 h 491"/>
                <a:gd name="T4" fmla="*/ 121 w 232"/>
                <a:gd name="T5" fmla="*/ 433 h 491"/>
                <a:gd name="T6" fmla="*/ 70 w 232"/>
                <a:gd name="T7" fmla="*/ 436 h 491"/>
                <a:gd name="T8" fmla="*/ 62 w 232"/>
                <a:gd name="T9" fmla="*/ 363 h 491"/>
                <a:gd name="T10" fmla="*/ 33 w 232"/>
                <a:gd name="T11" fmla="*/ 203 h 491"/>
                <a:gd name="T12" fmla="*/ 22 w 232"/>
                <a:gd name="T13" fmla="*/ 141 h 491"/>
                <a:gd name="T14" fmla="*/ 45 w 232"/>
                <a:gd name="T15" fmla="*/ 14 h 491"/>
                <a:gd name="T16" fmla="*/ 67 w 232"/>
                <a:gd name="T17" fmla="*/ 101 h 491"/>
                <a:gd name="T18" fmla="*/ 84 w 232"/>
                <a:gd name="T19" fmla="*/ 172 h 491"/>
                <a:gd name="T20" fmla="*/ 141 w 232"/>
                <a:gd name="T21" fmla="*/ 0 h 491"/>
                <a:gd name="T22" fmla="*/ 135 w 232"/>
                <a:gd name="T23" fmla="*/ 115 h 491"/>
                <a:gd name="T24" fmla="*/ 149 w 232"/>
                <a:gd name="T25" fmla="*/ 242 h 491"/>
                <a:gd name="T26" fmla="*/ 191 w 232"/>
                <a:gd name="T27" fmla="*/ 377 h 491"/>
                <a:gd name="T28" fmla="*/ 22 w 232"/>
                <a:gd name="T29" fmla="*/ 42 h 491"/>
                <a:gd name="T30" fmla="*/ 39 w 232"/>
                <a:gd name="T31" fmla="*/ 84 h 491"/>
                <a:gd name="T32" fmla="*/ 33 w 232"/>
                <a:gd name="T33" fmla="*/ 90 h 491"/>
                <a:gd name="T34" fmla="*/ 36 w 232"/>
                <a:gd name="T35" fmla="*/ 144 h 491"/>
                <a:gd name="T36" fmla="*/ 50 w 232"/>
                <a:gd name="T37" fmla="*/ 149 h 491"/>
                <a:gd name="T38" fmla="*/ 56 w 232"/>
                <a:gd name="T39" fmla="*/ 152 h 491"/>
                <a:gd name="T40" fmla="*/ 146 w 232"/>
                <a:gd name="T41" fmla="*/ 315 h 491"/>
                <a:gd name="T42" fmla="*/ 135 w 232"/>
                <a:gd name="T43" fmla="*/ 289 h 491"/>
                <a:gd name="T44" fmla="*/ 115 w 232"/>
                <a:gd name="T45" fmla="*/ 285 h 491"/>
                <a:gd name="T46" fmla="*/ 127 w 232"/>
                <a:gd name="T47" fmla="*/ 276 h 491"/>
                <a:gd name="T48" fmla="*/ 112 w 232"/>
                <a:gd name="T49" fmla="*/ 256 h 491"/>
                <a:gd name="T50" fmla="*/ 118 w 232"/>
                <a:gd name="T51" fmla="*/ 251 h 491"/>
                <a:gd name="T52" fmla="*/ 101 w 232"/>
                <a:gd name="T53" fmla="*/ 228 h 491"/>
                <a:gd name="T54" fmla="*/ 79 w 232"/>
                <a:gd name="T55" fmla="*/ 200 h 491"/>
                <a:gd name="T56" fmla="*/ 101 w 232"/>
                <a:gd name="T57" fmla="*/ 225 h 491"/>
                <a:gd name="T58" fmla="*/ 74 w 232"/>
                <a:gd name="T59" fmla="*/ 217 h 491"/>
                <a:gd name="T60" fmla="*/ 64 w 232"/>
                <a:gd name="T61" fmla="*/ 251 h 491"/>
                <a:gd name="T62" fmla="*/ 81 w 232"/>
                <a:gd name="T63" fmla="*/ 262 h 491"/>
                <a:gd name="T64" fmla="*/ 93 w 232"/>
                <a:gd name="T65" fmla="*/ 282 h 491"/>
                <a:gd name="T66" fmla="*/ 129 w 232"/>
                <a:gd name="T67" fmla="*/ 288 h 491"/>
                <a:gd name="T68" fmla="*/ 91 w 232"/>
                <a:gd name="T69" fmla="*/ 288 h 491"/>
                <a:gd name="T70" fmla="*/ 70 w 232"/>
                <a:gd name="T71" fmla="*/ 279 h 491"/>
                <a:gd name="T72" fmla="*/ 90 w 232"/>
                <a:gd name="T73" fmla="*/ 298 h 491"/>
                <a:gd name="T74" fmla="*/ 118 w 232"/>
                <a:gd name="T75" fmla="*/ 312 h 491"/>
                <a:gd name="T76" fmla="*/ 89 w 232"/>
                <a:gd name="T77" fmla="*/ 227 h 491"/>
                <a:gd name="T78" fmla="*/ 79 w 232"/>
                <a:gd name="T79" fmla="*/ 206 h 491"/>
                <a:gd name="T80" fmla="*/ 62 w 232"/>
                <a:gd name="T81" fmla="*/ 206 h 491"/>
                <a:gd name="T82" fmla="*/ 45 w 232"/>
                <a:gd name="T83" fmla="*/ 194 h 491"/>
                <a:gd name="T84" fmla="*/ 53 w 232"/>
                <a:gd name="T85" fmla="*/ 217 h 491"/>
                <a:gd name="T86" fmla="*/ 59 w 232"/>
                <a:gd name="T87" fmla="*/ 231 h 491"/>
                <a:gd name="T88" fmla="*/ 62 w 232"/>
                <a:gd name="T89" fmla="*/ 172 h 491"/>
                <a:gd name="T90" fmla="*/ 81 w 232"/>
                <a:gd name="T91" fmla="*/ 306 h 491"/>
                <a:gd name="T92" fmla="*/ 87 w 232"/>
                <a:gd name="T93" fmla="*/ 332 h 491"/>
                <a:gd name="T94" fmla="*/ 79 w 232"/>
                <a:gd name="T95" fmla="*/ 349 h 491"/>
                <a:gd name="T96" fmla="*/ 87 w 232"/>
                <a:gd name="T97" fmla="*/ 391 h 491"/>
                <a:gd name="T98" fmla="*/ 98 w 232"/>
                <a:gd name="T99" fmla="*/ 428 h 491"/>
                <a:gd name="T100" fmla="*/ 98 w 232"/>
                <a:gd name="T101" fmla="*/ 169 h 491"/>
                <a:gd name="T102" fmla="*/ 112 w 232"/>
                <a:gd name="T103" fmla="*/ 200 h 491"/>
                <a:gd name="T104" fmla="*/ 132 w 232"/>
                <a:gd name="T105" fmla="*/ 279 h 491"/>
                <a:gd name="T106" fmla="*/ 135 w 232"/>
                <a:gd name="T107" fmla="*/ 256 h 491"/>
                <a:gd name="T108" fmla="*/ 146 w 232"/>
                <a:gd name="T109" fmla="*/ 321 h 491"/>
                <a:gd name="T110" fmla="*/ 158 w 232"/>
                <a:gd name="T111" fmla="*/ 334 h 491"/>
                <a:gd name="T112" fmla="*/ 149 w 232"/>
                <a:gd name="T113" fmla="*/ 326 h 491"/>
                <a:gd name="T114" fmla="*/ 175 w 232"/>
                <a:gd name="T115" fmla="*/ 363 h 491"/>
                <a:gd name="T116" fmla="*/ 186 w 232"/>
                <a:gd name="T117" fmla="*/ 411 h 491"/>
                <a:gd name="T118" fmla="*/ 197 w 232"/>
                <a:gd name="T119" fmla="*/ 428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2" h="491">
                  <a:moveTo>
                    <a:pt x="231" y="453"/>
                  </a:moveTo>
                  <a:cubicBezTo>
                    <a:pt x="228" y="456"/>
                    <a:pt x="228" y="461"/>
                    <a:pt x="225" y="467"/>
                  </a:cubicBezTo>
                  <a:lnTo>
                    <a:pt x="220" y="467"/>
                  </a:lnTo>
                  <a:cubicBezTo>
                    <a:pt x="217" y="467"/>
                    <a:pt x="214" y="467"/>
                    <a:pt x="214" y="470"/>
                  </a:cubicBezTo>
                  <a:lnTo>
                    <a:pt x="208" y="470"/>
                  </a:lnTo>
                  <a:cubicBezTo>
                    <a:pt x="206" y="470"/>
                    <a:pt x="206" y="470"/>
                    <a:pt x="203" y="473"/>
                  </a:cubicBezTo>
                  <a:lnTo>
                    <a:pt x="200" y="473"/>
                  </a:lnTo>
                  <a:lnTo>
                    <a:pt x="197" y="473"/>
                  </a:lnTo>
                  <a:lnTo>
                    <a:pt x="194" y="473"/>
                  </a:lnTo>
                  <a:lnTo>
                    <a:pt x="189" y="473"/>
                  </a:lnTo>
                  <a:cubicBezTo>
                    <a:pt x="186" y="473"/>
                    <a:pt x="183" y="470"/>
                    <a:pt x="180" y="467"/>
                  </a:cubicBezTo>
                  <a:cubicBezTo>
                    <a:pt x="177" y="464"/>
                    <a:pt x="177" y="461"/>
                    <a:pt x="175" y="459"/>
                  </a:cubicBezTo>
                  <a:cubicBezTo>
                    <a:pt x="175" y="456"/>
                    <a:pt x="175" y="456"/>
                    <a:pt x="177" y="453"/>
                  </a:cubicBezTo>
                  <a:cubicBezTo>
                    <a:pt x="175" y="450"/>
                    <a:pt x="175" y="447"/>
                    <a:pt x="175" y="444"/>
                  </a:cubicBezTo>
                  <a:cubicBezTo>
                    <a:pt x="175" y="442"/>
                    <a:pt x="175" y="439"/>
                    <a:pt x="172" y="436"/>
                  </a:cubicBezTo>
                  <a:cubicBezTo>
                    <a:pt x="166" y="430"/>
                    <a:pt x="163" y="422"/>
                    <a:pt x="163" y="413"/>
                  </a:cubicBezTo>
                  <a:cubicBezTo>
                    <a:pt x="160" y="408"/>
                    <a:pt x="158" y="402"/>
                    <a:pt x="158" y="397"/>
                  </a:cubicBezTo>
                  <a:cubicBezTo>
                    <a:pt x="155" y="391"/>
                    <a:pt x="155" y="385"/>
                    <a:pt x="152" y="382"/>
                  </a:cubicBezTo>
                  <a:lnTo>
                    <a:pt x="152" y="380"/>
                  </a:lnTo>
                  <a:cubicBezTo>
                    <a:pt x="144" y="377"/>
                    <a:pt x="144" y="371"/>
                    <a:pt x="144" y="368"/>
                  </a:cubicBezTo>
                  <a:cubicBezTo>
                    <a:pt x="144" y="365"/>
                    <a:pt x="141" y="360"/>
                    <a:pt x="141" y="357"/>
                  </a:cubicBezTo>
                  <a:cubicBezTo>
                    <a:pt x="138" y="351"/>
                    <a:pt x="135" y="346"/>
                    <a:pt x="135" y="340"/>
                  </a:cubicBezTo>
                  <a:cubicBezTo>
                    <a:pt x="132" y="334"/>
                    <a:pt x="129" y="332"/>
                    <a:pt x="127" y="326"/>
                  </a:cubicBezTo>
                  <a:cubicBezTo>
                    <a:pt x="127" y="326"/>
                    <a:pt x="127" y="323"/>
                    <a:pt x="124" y="323"/>
                  </a:cubicBezTo>
                  <a:lnTo>
                    <a:pt x="115" y="323"/>
                  </a:lnTo>
                  <a:cubicBezTo>
                    <a:pt x="112" y="326"/>
                    <a:pt x="110" y="329"/>
                    <a:pt x="110" y="334"/>
                  </a:cubicBezTo>
                  <a:lnTo>
                    <a:pt x="110" y="346"/>
                  </a:lnTo>
                  <a:lnTo>
                    <a:pt x="110" y="360"/>
                  </a:lnTo>
                  <a:lnTo>
                    <a:pt x="110" y="374"/>
                  </a:lnTo>
                  <a:lnTo>
                    <a:pt x="110" y="380"/>
                  </a:lnTo>
                  <a:cubicBezTo>
                    <a:pt x="110" y="382"/>
                    <a:pt x="110" y="385"/>
                    <a:pt x="112" y="385"/>
                  </a:cubicBezTo>
                  <a:cubicBezTo>
                    <a:pt x="115" y="388"/>
                    <a:pt x="115" y="391"/>
                    <a:pt x="112" y="394"/>
                  </a:cubicBezTo>
                  <a:lnTo>
                    <a:pt x="112" y="399"/>
                  </a:lnTo>
                  <a:lnTo>
                    <a:pt x="112" y="402"/>
                  </a:lnTo>
                  <a:lnTo>
                    <a:pt x="118" y="428"/>
                  </a:lnTo>
                  <a:cubicBezTo>
                    <a:pt x="118" y="430"/>
                    <a:pt x="118" y="430"/>
                    <a:pt x="121" y="433"/>
                  </a:cubicBezTo>
                  <a:cubicBezTo>
                    <a:pt x="121" y="436"/>
                    <a:pt x="121" y="436"/>
                    <a:pt x="118" y="439"/>
                  </a:cubicBezTo>
                  <a:lnTo>
                    <a:pt x="118" y="444"/>
                  </a:lnTo>
                  <a:cubicBezTo>
                    <a:pt x="124" y="447"/>
                    <a:pt x="121" y="453"/>
                    <a:pt x="121" y="459"/>
                  </a:cubicBezTo>
                  <a:lnTo>
                    <a:pt x="121" y="467"/>
                  </a:lnTo>
                  <a:lnTo>
                    <a:pt x="121" y="475"/>
                  </a:lnTo>
                  <a:cubicBezTo>
                    <a:pt x="118" y="475"/>
                    <a:pt x="118" y="478"/>
                    <a:pt x="115" y="478"/>
                  </a:cubicBezTo>
                  <a:lnTo>
                    <a:pt x="110" y="484"/>
                  </a:lnTo>
                  <a:lnTo>
                    <a:pt x="81" y="490"/>
                  </a:lnTo>
                  <a:lnTo>
                    <a:pt x="73" y="481"/>
                  </a:lnTo>
                  <a:cubicBezTo>
                    <a:pt x="70" y="473"/>
                    <a:pt x="70" y="461"/>
                    <a:pt x="73" y="453"/>
                  </a:cubicBezTo>
                  <a:lnTo>
                    <a:pt x="73" y="444"/>
                  </a:lnTo>
                  <a:cubicBezTo>
                    <a:pt x="70" y="442"/>
                    <a:pt x="70" y="439"/>
                    <a:pt x="70" y="436"/>
                  </a:cubicBezTo>
                  <a:lnTo>
                    <a:pt x="70" y="433"/>
                  </a:lnTo>
                  <a:cubicBezTo>
                    <a:pt x="70" y="430"/>
                    <a:pt x="67" y="428"/>
                    <a:pt x="70" y="428"/>
                  </a:cubicBezTo>
                  <a:cubicBezTo>
                    <a:pt x="70" y="425"/>
                    <a:pt x="70" y="422"/>
                    <a:pt x="67" y="422"/>
                  </a:cubicBezTo>
                  <a:lnTo>
                    <a:pt x="67" y="416"/>
                  </a:lnTo>
                  <a:lnTo>
                    <a:pt x="67" y="405"/>
                  </a:lnTo>
                  <a:cubicBezTo>
                    <a:pt x="67" y="402"/>
                    <a:pt x="64" y="402"/>
                    <a:pt x="64" y="399"/>
                  </a:cubicBezTo>
                  <a:lnTo>
                    <a:pt x="64" y="394"/>
                  </a:lnTo>
                  <a:lnTo>
                    <a:pt x="64" y="388"/>
                  </a:lnTo>
                  <a:lnTo>
                    <a:pt x="64" y="385"/>
                  </a:lnTo>
                  <a:lnTo>
                    <a:pt x="64" y="382"/>
                  </a:lnTo>
                  <a:cubicBezTo>
                    <a:pt x="62" y="380"/>
                    <a:pt x="62" y="374"/>
                    <a:pt x="62" y="371"/>
                  </a:cubicBezTo>
                  <a:lnTo>
                    <a:pt x="62" y="363"/>
                  </a:lnTo>
                  <a:lnTo>
                    <a:pt x="62" y="357"/>
                  </a:lnTo>
                  <a:cubicBezTo>
                    <a:pt x="62" y="351"/>
                    <a:pt x="59" y="346"/>
                    <a:pt x="59" y="337"/>
                  </a:cubicBezTo>
                  <a:cubicBezTo>
                    <a:pt x="59" y="332"/>
                    <a:pt x="56" y="326"/>
                    <a:pt x="56" y="318"/>
                  </a:cubicBezTo>
                  <a:cubicBezTo>
                    <a:pt x="56" y="315"/>
                    <a:pt x="56" y="312"/>
                    <a:pt x="53" y="309"/>
                  </a:cubicBezTo>
                  <a:cubicBezTo>
                    <a:pt x="50" y="303"/>
                    <a:pt x="50" y="298"/>
                    <a:pt x="48" y="292"/>
                  </a:cubicBezTo>
                  <a:lnTo>
                    <a:pt x="48" y="285"/>
                  </a:lnTo>
                  <a:cubicBezTo>
                    <a:pt x="48" y="282"/>
                    <a:pt x="48" y="282"/>
                    <a:pt x="45" y="279"/>
                  </a:cubicBezTo>
                  <a:cubicBezTo>
                    <a:pt x="45" y="279"/>
                    <a:pt x="42" y="276"/>
                    <a:pt x="45" y="276"/>
                  </a:cubicBezTo>
                  <a:cubicBezTo>
                    <a:pt x="45" y="268"/>
                    <a:pt x="45" y="259"/>
                    <a:pt x="42" y="251"/>
                  </a:cubicBezTo>
                  <a:cubicBezTo>
                    <a:pt x="39" y="242"/>
                    <a:pt x="39" y="234"/>
                    <a:pt x="36" y="225"/>
                  </a:cubicBezTo>
                  <a:lnTo>
                    <a:pt x="36" y="214"/>
                  </a:lnTo>
                  <a:cubicBezTo>
                    <a:pt x="36" y="211"/>
                    <a:pt x="36" y="209"/>
                    <a:pt x="33" y="203"/>
                  </a:cubicBezTo>
                  <a:lnTo>
                    <a:pt x="33" y="200"/>
                  </a:lnTo>
                  <a:lnTo>
                    <a:pt x="33" y="197"/>
                  </a:lnTo>
                  <a:cubicBezTo>
                    <a:pt x="33" y="194"/>
                    <a:pt x="31" y="194"/>
                    <a:pt x="31" y="192"/>
                  </a:cubicBezTo>
                  <a:cubicBezTo>
                    <a:pt x="31" y="189"/>
                    <a:pt x="31" y="186"/>
                    <a:pt x="28" y="183"/>
                  </a:cubicBezTo>
                  <a:cubicBezTo>
                    <a:pt x="28" y="180"/>
                    <a:pt x="25" y="177"/>
                    <a:pt x="22" y="175"/>
                  </a:cubicBezTo>
                  <a:lnTo>
                    <a:pt x="22" y="172"/>
                  </a:lnTo>
                  <a:lnTo>
                    <a:pt x="22" y="169"/>
                  </a:lnTo>
                  <a:lnTo>
                    <a:pt x="22" y="163"/>
                  </a:lnTo>
                  <a:lnTo>
                    <a:pt x="22" y="158"/>
                  </a:lnTo>
                  <a:lnTo>
                    <a:pt x="22" y="152"/>
                  </a:lnTo>
                  <a:lnTo>
                    <a:pt x="22" y="146"/>
                  </a:lnTo>
                  <a:lnTo>
                    <a:pt x="22" y="141"/>
                  </a:lnTo>
                  <a:lnTo>
                    <a:pt x="17" y="110"/>
                  </a:lnTo>
                  <a:lnTo>
                    <a:pt x="17" y="107"/>
                  </a:lnTo>
                  <a:cubicBezTo>
                    <a:pt x="17" y="107"/>
                    <a:pt x="17" y="104"/>
                    <a:pt x="14" y="104"/>
                  </a:cubicBezTo>
                  <a:cubicBezTo>
                    <a:pt x="8" y="96"/>
                    <a:pt x="8" y="87"/>
                    <a:pt x="8" y="79"/>
                  </a:cubicBezTo>
                  <a:lnTo>
                    <a:pt x="8" y="76"/>
                  </a:lnTo>
                  <a:lnTo>
                    <a:pt x="8" y="73"/>
                  </a:lnTo>
                  <a:lnTo>
                    <a:pt x="2" y="39"/>
                  </a:lnTo>
                  <a:lnTo>
                    <a:pt x="2" y="36"/>
                  </a:lnTo>
                  <a:cubicBezTo>
                    <a:pt x="2" y="36"/>
                    <a:pt x="2" y="34"/>
                    <a:pt x="0" y="34"/>
                  </a:cubicBezTo>
                  <a:lnTo>
                    <a:pt x="5" y="28"/>
                  </a:lnTo>
                  <a:cubicBezTo>
                    <a:pt x="8" y="25"/>
                    <a:pt x="8" y="22"/>
                    <a:pt x="11" y="20"/>
                  </a:cubicBezTo>
                  <a:lnTo>
                    <a:pt x="45" y="14"/>
                  </a:lnTo>
                  <a:lnTo>
                    <a:pt x="48" y="17"/>
                  </a:lnTo>
                  <a:lnTo>
                    <a:pt x="50" y="20"/>
                  </a:lnTo>
                  <a:cubicBezTo>
                    <a:pt x="53" y="25"/>
                    <a:pt x="53" y="28"/>
                    <a:pt x="56" y="34"/>
                  </a:cubicBezTo>
                  <a:cubicBezTo>
                    <a:pt x="59" y="39"/>
                    <a:pt x="59" y="45"/>
                    <a:pt x="59" y="51"/>
                  </a:cubicBezTo>
                  <a:cubicBezTo>
                    <a:pt x="59" y="53"/>
                    <a:pt x="62" y="53"/>
                    <a:pt x="62" y="56"/>
                  </a:cubicBezTo>
                  <a:lnTo>
                    <a:pt x="62" y="59"/>
                  </a:lnTo>
                  <a:lnTo>
                    <a:pt x="62" y="65"/>
                  </a:lnTo>
                  <a:cubicBezTo>
                    <a:pt x="62" y="67"/>
                    <a:pt x="62" y="73"/>
                    <a:pt x="64" y="76"/>
                  </a:cubicBezTo>
                  <a:lnTo>
                    <a:pt x="64" y="82"/>
                  </a:lnTo>
                  <a:cubicBezTo>
                    <a:pt x="64" y="84"/>
                    <a:pt x="64" y="87"/>
                    <a:pt x="67" y="90"/>
                  </a:cubicBezTo>
                  <a:lnTo>
                    <a:pt x="67" y="99"/>
                  </a:lnTo>
                  <a:lnTo>
                    <a:pt x="67" y="101"/>
                  </a:lnTo>
                  <a:cubicBezTo>
                    <a:pt x="67" y="104"/>
                    <a:pt x="70" y="107"/>
                    <a:pt x="70" y="107"/>
                  </a:cubicBezTo>
                  <a:cubicBezTo>
                    <a:pt x="70" y="110"/>
                    <a:pt x="73" y="113"/>
                    <a:pt x="73" y="113"/>
                  </a:cubicBezTo>
                  <a:cubicBezTo>
                    <a:pt x="73" y="118"/>
                    <a:pt x="73" y="121"/>
                    <a:pt x="76" y="127"/>
                  </a:cubicBezTo>
                  <a:lnTo>
                    <a:pt x="79" y="130"/>
                  </a:lnTo>
                  <a:lnTo>
                    <a:pt x="79" y="132"/>
                  </a:lnTo>
                  <a:lnTo>
                    <a:pt x="79" y="138"/>
                  </a:lnTo>
                  <a:lnTo>
                    <a:pt x="79" y="141"/>
                  </a:lnTo>
                  <a:cubicBezTo>
                    <a:pt x="81" y="144"/>
                    <a:pt x="81" y="149"/>
                    <a:pt x="81" y="152"/>
                  </a:cubicBezTo>
                  <a:lnTo>
                    <a:pt x="81" y="155"/>
                  </a:lnTo>
                  <a:lnTo>
                    <a:pt x="81" y="161"/>
                  </a:lnTo>
                  <a:cubicBezTo>
                    <a:pt x="81" y="161"/>
                    <a:pt x="84" y="163"/>
                    <a:pt x="84" y="166"/>
                  </a:cubicBezTo>
                  <a:lnTo>
                    <a:pt x="84" y="172"/>
                  </a:lnTo>
                  <a:lnTo>
                    <a:pt x="93" y="172"/>
                  </a:lnTo>
                  <a:cubicBezTo>
                    <a:pt x="96" y="169"/>
                    <a:pt x="96" y="163"/>
                    <a:pt x="96" y="158"/>
                  </a:cubicBezTo>
                  <a:lnTo>
                    <a:pt x="96" y="144"/>
                  </a:lnTo>
                  <a:cubicBezTo>
                    <a:pt x="98" y="135"/>
                    <a:pt x="98" y="127"/>
                    <a:pt x="98" y="118"/>
                  </a:cubicBezTo>
                  <a:lnTo>
                    <a:pt x="98" y="90"/>
                  </a:lnTo>
                  <a:lnTo>
                    <a:pt x="101" y="73"/>
                  </a:lnTo>
                  <a:cubicBezTo>
                    <a:pt x="101" y="65"/>
                    <a:pt x="101" y="59"/>
                    <a:pt x="104" y="51"/>
                  </a:cubicBezTo>
                  <a:lnTo>
                    <a:pt x="104" y="39"/>
                  </a:lnTo>
                  <a:cubicBezTo>
                    <a:pt x="104" y="31"/>
                    <a:pt x="104" y="25"/>
                    <a:pt x="107" y="17"/>
                  </a:cubicBezTo>
                  <a:cubicBezTo>
                    <a:pt x="110" y="14"/>
                    <a:pt x="110" y="11"/>
                    <a:pt x="112" y="8"/>
                  </a:cubicBezTo>
                  <a:lnTo>
                    <a:pt x="118" y="3"/>
                  </a:lnTo>
                  <a:lnTo>
                    <a:pt x="141" y="0"/>
                  </a:lnTo>
                  <a:lnTo>
                    <a:pt x="144" y="3"/>
                  </a:lnTo>
                  <a:lnTo>
                    <a:pt x="149" y="8"/>
                  </a:lnTo>
                  <a:cubicBezTo>
                    <a:pt x="149" y="14"/>
                    <a:pt x="152" y="17"/>
                    <a:pt x="149" y="22"/>
                  </a:cubicBezTo>
                  <a:lnTo>
                    <a:pt x="144" y="28"/>
                  </a:lnTo>
                  <a:cubicBezTo>
                    <a:pt x="141" y="39"/>
                    <a:pt x="141" y="53"/>
                    <a:pt x="141" y="65"/>
                  </a:cubicBezTo>
                  <a:cubicBezTo>
                    <a:pt x="141" y="67"/>
                    <a:pt x="141" y="70"/>
                    <a:pt x="138" y="73"/>
                  </a:cubicBezTo>
                  <a:cubicBezTo>
                    <a:pt x="135" y="76"/>
                    <a:pt x="135" y="79"/>
                    <a:pt x="135" y="82"/>
                  </a:cubicBezTo>
                  <a:cubicBezTo>
                    <a:pt x="138" y="84"/>
                    <a:pt x="138" y="87"/>
                    <a:pt x="138" y="90"/>
                  </a:cubicBezTo>
                  <a:cubicBezTo>
                    <a:pt x="135" y="93"/>
                    <a:pt x="135" y="96"/>
                    <a:pt x="138" y="99"/>
                  </a:cubicBezTo>
                  <a:lnTo>
                    <a:pt x="135" y="101"/>
                  </a:lnTo>
                  <a:lnTo>
                    <a:pt x="135" y="104"/>
                  </a:lnTo>
                  <a:lnTo>
                    <a:pt x="135" y="115"/>
                  </a:lnTo>
                  <a:cubicBezTo>
                    <a:pt x="135" y="118"/>
                    <a:pt x="132" y="124"/>
                    <a:pt x="132" y="127"/>
                  </a:cubicBezTo>
                  <a:cubicBezTo>
                    <a:pt x="132" y="130"/>
                    <a:pt x="131" y="135"/>
                    <a:pt x="129" y="138"/>
                  </a:cubicBezTo>
                  <a:cubicBezTo>
                    <a:pt x="126" y="141"/>
                    <a:pt x="127" y="146"/>
                    <a:pt x="127" y="149"/>
                  </a:cubicBezTo>
                  <a:cubicBezTo>
                    <a:pt x="124" y="152"/>
                    <a:pt x="124" y="152"/>
                    <a:pt x="127" y="155"/>
                  </a:cubicBezTo>
                  <a:lnTo>
                    <a:pt x="127" y="166"/>
                  </a:lnTo>
                  <a:lnTo>
                    <a:pt x="127" y="172"/>
                  </a:lnTo>
                  <a:cubicBezTo>
                    <a:pt x="129" y="175"/>
                    <a:pt x="129" y="177"/>
                    <a:pt x="129" y="180"/>
                  </a:cubicBezTo>
                  <a:lnTo>
                    <a:pt x="129" y="186"/>
                  </a:lnTo>
                  <a:cubicBezTo>
                    <a:pt x="129" y="189"/>
                    <a:pt x="129" y="189"/>
                    <a:pt x="132" y="192"/>
                  </a:cubicBezTo>
                  <a:cubicBezTo>
                    <a:pt x="132" y="197"/>
                    <a:pt x="132" y="200"/>
                    <a:pt x="135" y="206"/>
                  </a:cubicBezTo>
                  <a:cubicBezTo>
                    <a:pt x="141" y="214"/>
                    <a:pt x="144" y="223"/>
                    <a:pt x="146" y="231"/>
                  </a:cubicBezTo>
                  <a:lnTo>
                    <a:pt x="149" y="242"/>
                  </a:lnTo>
                  <a:cubicBezTo>
                    <a:pt x="149" y="245"/>
                    <a:pt x="149" y="245"/>
                    <a:pt x="152" y="248"/>
                  </a:cubicBezTo>
                  <a:cubicBezTo>
                    <a:pt x="152" y="251"/>
                    <a:pt x="155" y="256"/>
                    <a:pt x="155" y="259"/>
                  </a:cubicBezTo>
                  <a:lnTo>
                    <a:pt x="155" y="265"/>
                  </a:lnTo>
                  <a:cubicBezTo>
                    <a:pt x="155" y="271"/>
                    <a:pt x="158" y="279"/>
                    <a:pt x="163" y="285"/>
                  </a:cubicBezTo>
                  <a:cubicBezTo>
                    <a:pt x="166" y="288"/>
                    <a:pt x="166" y="289"/>
                    <a:pt x="166" y="292"/>
                  </a:cubicBezTo>
                  <a:cubicBezTo>
                    <a:pt x="166" y="298"/>
                    <a:pt x="169" y="303"/>
                    <a:pt x="169" y="309"/>
                  </a:cubicBezTo>
                  <a:cubicBezTo>
                    <a:pt x="172" y="315"/>
                    <a:pt x="175" y="320"/>
                    <a:pt x="175" y="326"/>
                  </a:cubicBezTo>
                  <a:cubicBezTo>
                    <a:pt x="175" y="329"/>
                    <a:pt x="174" y="334"/>
                    <a:pt x="177" y="337"/>
                  </a:cubicBezTo>
                  <a:cubicBezTo>
                    <a:pt x="179" y="340"/>
                    <a:pt x="180" y="343"/>
                    <a:pt x="180" y="349"/>
                  </a:cubicBezTo>
                  <a:cubicBezTo>
                    <a:pt x="183" y="351"/>
                    <a:pt x="186" y="357"/>
                    <a:pt x="186" y="360"/>
                  </a:cubicBezTo>
                  <a:lnTo>
                    <a:pt x="186" y="365"/>
                  </a:lnTo>
                  <a:cubicBezTo>
                    <a:pt x="186" y="371"/>
                    <a:pt x="189" y="374"/>
                    <a:pt x="191" y="377"/>
                  </a:cubicBezTo>
                  <a:cubicBezTo>
                    <a:pt x="191" y="380"/>
                    <a:pt x="194" y="382"/>
                    <a:pt x="191" y="382"/>
                  </a:cubicBezTo>
                  <a:cubicBezTo>
                    <a:pt x="194" y="382"/>
                    <a:pt x="194" y="385"/>
                    <a:pt x="194" y="388"/>
                  </a:cubicBezTo>
                  <a:cubicBezTo>
                    <a:pt x="194" y="391"/>
                    <a:pt x="194" y="394"/>
                    <a:pt x="197" y="394"/>
                  </a:cubicBezTo>
                  <a:cubicBezTo>
                    <a:pt x="197" y="397"/>
                    <a:pt x="197" y="399"/>
                    <a:pt x="200" y="402"/>
                  </a:cubicBezTo>
                  <a:cubicBezTo>
                    <a:pt x="203" y="405"/>
                    <a:pt x="203" y="408"/>
                    <a:pt x="203" y="411"/>
                  </a:cubicBezTo>
                  <a:cubicBezTo>
                    <a:pt x="203" y="416"/>
                    <a:pt x="206" y="422"/>
                    <a:pt x="208" y="425"/>
                  </a:cubicBezTo>
                  <a:lnTo>
                    <a:pt x="214" y="436"/>
                  </a:lnTo>
                  <a:cubicBezTo>
                    <a:pt x="214" y="439"/>
                    <a:pt x="217" y="444"/>
                    <a:pt x="217" y="447"/>
                  </a:cubicBezTo>
                  <a:lnTo>
                    <a:pt x="231" y="453"/>
                  </a:lnTo>
                  <a:close/>
                  <a:moveTo>
                    <a:pt x="19" y="45"/>
                  </a:moveTo>
                  <a:lnTo>
                    <a:pt x="22" y="45"/>
                  </a:lnTo>
                  <a:lnTo>
                    <a:pt x="22" y="42"/>
                  </a:lnTo>
                  <a:cubicBezTo>
                    <a:pt x="22" y="42"/>
                    <a:pt x="19" y="42"/>
                    <a:pt x="19" y="45"/>
                  </a:cubicBezTo>
                  <a:close/>
                  <a:moveTo>
                    <a:pt x="28" y="70"/>
                  </a:moveTo>
                  <a:lnTo>
                    <a:pt x="28" y="65"/>
                  </a:lnTo>
                  <a:lnTo>
                    <a:pt x="25" y="65"/>
                  </a:lnTo>
                  <a:cubicBezTo>
                    <a:pt x="25" y="67"/>
                    <a:pt x="28" y="70"/>
                    <a:pt x="28" y="70"/>
                  </a:cubicBezTo>
                  <a:close/>
                  <a:moveTo>
                    <a:pt x="25" y="56"/>
                  </a:moveTo>
                  <a:cubicBezTo>
                    <a:pt x="28" y="53"/>
                    <a:pt x="25" y="53"/>
                    <a:pt x="25" y="51"/>
                  </a:cubicBezTo>
                  <a:lnTo>
                    <a:pt x="25" y="56"/>
                  </a:lnTo>
                  <a:close/>
                  <a:moveTo>
                    <a:pt x="42" y="76"/>
                  </a:moveTo>
                  <a:lnTo>
                    <a:pt x="28" y="79"/>
                  </a:lnTo>
                  <a:lnTo>
                    <a:pt x="28" y="82"/>
                  </a:lnTo>
                  <a:cubicBezTo>
                    <a:pt x="31" y="82"/>
                    <a:pt x="33" y="82"/>
                    <a:pt x="39" y="84"/>
                  </a:cubicBezTo>
                  <a:lnTo>
                    <a:pt x="42" y="76"/>
                  </a:lnTo>
                  <a:close/>
                  <a:moveTo>
                    <a:pt x="33" y="62"/>
                  </a:moveTo>
                  <a:cubicBezTo>
                    <a:pt x="33" y="65"/>
                    <a:pt x="33" y="65"/>
                    <a:pt x="31" y="67"/>
                  </a:cubicBezTo>
                  <a:cubicBezTo>
                    <a:pt x="31" y="70"/>
                    <a:pt x="28" y="70"/>
                    <a:pt x="28" y="73"/>
                  </a:cubicBezTo>
                  <a:lnTo>
                    <a:pt x="31" y="76"/>
                  </a:lnTo>
                  <a:cubicBezTo>
                    <a:pt x="31" y="73"/>
                    <a:pt x="31" y="73"/>
                    <a:pt x="33" y="70"/>
                  </a:cubicBezTo>
                  <a:lnTo>
                    <a:pt x="36" y="65"/>
                  </a:lnTo>
                  <a:lnTo>
                    <a:pt x="33" y="62"/>
                  </a:lnTo>
                  <a:close/>
                  <a:moveTo>
                    <a:pt x="31" y="93"/>
                  </a:moveTo>
                  <a:lnTo>
                    <a:pt x="31" y="96"/>
                  </a:lnTo>
                  <a:lnTo>
                    <a:pt x="33" y="96"/>
                  </a:lnTo>
                  <a:lnTo>
                    <a:pt x="33" y="90"/>
                  </a:lnTo>
                  <a:cubicBezTo>
                    <a:pt x="33" y="90"/>
                    <a:pt x="33" y="93"/>
                    <a:pt x="31" y="93"/>
                  </a:cubicBezTo>
                  <a:close/>
                  <a:moveTo>
                    <a:pt x="42" y="101"/>
                  </a:moveTo>
                  <a:cubicBezTo>
                    <a:pt x="42" y="99"/>
                    <a:pt x="42" y="101"/>
                    <a:pt x="42" y="101"/>
                  </a:cubicBezTo>
                  <a:lnTo>
                    <a:pt x="36" y="101"/>
                  </a:lnTo>
                  <a:lnTo>
                    <a:pt x="36" y="107"/>
                  </a:lnTo>
                  <a:lnTo>
                    <a:pt x="42" y="101"/>
                  </a:lnTo>
                  <a:close/>
                  <a:moveTo>
                    <a:pt x="39" y="135"/>
                  </a:moveTo>
                  <a:cubicBezTo>
                    <a:pt x="39" y="135"/>
                    <a:pt x="42" y="135"/>
                    <a:pt x="39" y="135"/>
                  </a:cubicBezTo>
                  <a:cubicBezTo>
                    <a:pt x="42" y="132"/>
                    <a:pt x="45" y="132"/>
                    <a:pt x="45" y="130"/>
                  </a:cubicBezTo>
                  <a:lnTo>
                    <a:pt x="36" y="132"/>
                  </a:lnTo>
                  <a:lnTo>
                    <a:pt x="39" y="135"/>
                  </a:lnTo>
                  <a:close/>
                  <a:moveTo>
                    <a:pt x="36" y="144"/>
                  </a:moveTo>
                  <a:lnTo>
                    <a:pt x="39" y="144"/>
                  </a:lnTo>
                  <a:lnTo>
                    <a:pt x="39" y="141"/>
                  </a:lnTo>
                  <a:cubicBezTo>
                    <a:pt x="39" y="141"/>
                    <a:pt x="36" y="141"/>
                    <a:pt x="36" y="144"/>
                  </a:cubicBezTo>
                  <a:close/>
                  <a:moveTo>
                    <a:pt x="42" y="115"/>
                  </a:moveTo>
                  <a:lnTo>
                    <a:pt x="42" y="113"/>
                  </a:lnTo>
                  <a:cubicBezTo>
                    <a:pt x="42" y="113"/>
                    <a:pt x="42" y="115"/>
                    <a:pt x="39" y="115"/>
                  </a:cubicBezTo>
                  <a:lnTo>
                    <a:pt x="36" y="118"/>
                  </a:lnTo>
                  <a:lnTo>
                    <a:pt x="42" y="115"/>
                  </a:lnTo>
                  <a:close/>
                  <a:moveTo>
                    <a:pt x="39" y="152"/>
                  </a:moveTo>
                  <a:cubicBezTo>
                    <a:pt x="42" y="155"/>
                    <a:pt x="42" y="155"/>
                    <a:pt x="45" y="155"/>
                  </a:cubicBezTo>
                  <a:lnTo>
                    <a:pt x="48" y="152"/>
                  </a:lnTo>
                  <a:lnTo>
                    <a:pt x="50" y="149"/>
                  </a:lnTo>
                  <a:lnTo>
                    <a:pt x="48" y="149"/>
                  </a:lnTo>
                  <a:cubicBezTo>
                    <a:pt x="48" y="149"/>
                    <a:pt x="45" y="149"/>
                    <a:pt x="45" y="146"/>
                  </a:cubicBezTo>
                  <a:lnTo>
                    <a:pt x="42" y="146"/>
                  </a:lnTo>
                  <a:lnTo>
                    <a:pt x="39" y="149"/>
                  </a:lnTo>
                  <a:lnTo>
                    <a:pt x="39" y="152"/>
                  </a:lnTo>
                  <a:close/>
                  <a:moveTo>
                    <a:pt x="42" y="169"/>
                  </a:moveTo>
                  <a:lnTo>
                    <a:pt x="45" y="169"/>
                  </a:lnTo>
                  <a:lnTo>
                    <a:pt x="48" y="169"/>
                  </a:lnTo>
                  <a:lnTo>
                    <a:pt x="48" y="166"/>
                  </a:lnTo>
                  <a:lnTo>
                    <a:pt x="42" y="166"/>
                  </a:lnTo>
                  <a:lnTo>
                    <a:pt x="42" y="169"/>
                  </a:lnTo>
                  <a:close/>
                  <a:moveTo>
                    <a:pt x="56" y="152"/>
                  </a:moveTo>
                  <a:lnTo>
                    <a:pt x="53" y="158"/>
                  </a:lnTo>
                  <a:cubicBezTo>
                    <a:pt x="50" y="158"/>
                    <a:pt x="50" y="155"/>
                    <a:pt x="48" y="155"/>
                  </a:cubicBezTo>
                  <a:lnTo>
                    <a:pt x="48" y="158"/>
                  </a:lnTo>
                  <a:lnTo>
                    <a:pt x="50" y="158"/>
                  </a:lnTo>
                  <a:lnTo>
                    <a:pt x="53" y="158"/>
                  </a:lnTo>
                  <a:lnTo>
                    <a:pt x="56" y="158"/>
                  </a:lnTo>
                  <a:cubicBezTo>
                    <a:pt x="53" y="158"/>
                    <a:pt x="56" y="155"/>
                    <a:pt x="56" y="152"/>
                  </a:cubicBezTo>
                  <a:close/>
                  <a:moveTo>
                    <a:pt x="48" y="180"/>
                  </a:moveTo>
                  <a:cubicBezTo>
                    <a:pt x="50" y="180"/>
                    <a:pt x="50" y="177"/>
                    <a:pt x="50" y="177"/>
                  </a:cubicBezTo>
                  <a:cubicBezTo>
                    <a:pt x="50" y="177"/>
                    <a:pt x="50" y="175"/>
                    <a:pt x="48" y="175"/>
                  </a:cubicBezTo>
                  <a:lnTo>
                    <a:pt x="48" y="180"/>
                  </a:lnTo>
                  <a:close/>
                  <a:moveTo>
                    <a:pt x="146" y="315"/>
                  </a:moveTo>
                  <a:cubicBezTo>
                    <a:pt x="146" y="312"/>
                    <a:pt x="146" y="309"/>
                    <a:pt x="149" y="306"/>
                  </a:cubicBezTo>
                  <a:cubicBezTo>
                    <a:pt x="152" y="303"/>
                    <a:pt x="152" y="301"/>
                    <a:pt x="149" y="298"/>
                  </a:cubicBezTo>
                  <a:lnTo>
                    <a:pt x="144" y="298"/>
                  </a:lnTo>
                  <a:lnTo>
                    <a:pt x="139" y="298"/>
                  </a:lnTo>
                  <a:lnTo>
                    <a:pt x="138" y="301"/>
                  </a:lnTo>
                  <a:cubicBezTo>
                    <a:pt x="141" y="301"/>
                    <a:pt x="141" y="303"/>
                    <a:pt x="144" y="303"/>
                  </a:cubicBezTo>
                  <a:lnTo>
                    <a:pt x="146" y="301"/>
                  </a:lnTo>
                  <a:lnTo>
                    <a:pt x="146" y="309"/>
                  </a:lnTo>
                  <a:lnTo>
                    <a:pt x="144" y="312"/>
                  </a:lnTo>
                  <a:lnTo>
                    <a:pt x="144" y="315"/>
                  </a:lnTo>
                  <a:lnTo>
                    <a:pt x="146" y="315"/>
                  </a:lnTo>
                  <a:close/>
                  <a:moveTo>
                    <a:pt x="135" y="289"/>
                  </a:moveTo>
                  <a:cubicBezTo>
                    <a:pt x="134" y="290"/>
                    <a:pt x="134" y="290"/>
                    <a:pt x="134" y="291"/>
                  </a:cubicBezTo>
                  <a:cubicBezTo>
                    <a:pt x="134" y="291"/>
                    <a:pt x="134" y="292"/>
                    <a:pt x="135" y="292"/>
                  </a:cubicBezTo>
                  <a:lnTo>
                    <a:pt x="136" y="292"/>
                  </a:lnTo>
                  <a:lnTo>
                    <a:pt x="135" y="289"/>
                  </a:lnTo>
                  <a:close/>
                  <a:moveTo>
                    <a:pt x="129" y="288"/>
                  </a:moveTo>
                  <a:cubicBezTo>
                    <a:pt x="127" y="285"/>
                    <a:pt x="124" y="285"/>
                    <a:pt x="124" y="285"/>
                  </a:cubicBezTo>
                  <a:lnTo>
                    <a:pt x="124" y="282"/>
                  </a:lnTo>
                  <a:lnTo>
                    <a:pt x="124" y="279"/>
                  </a:lnTo>
                  <a:lnTo>
                    <a:pt x="121" y="279"/>
                  </a:lnTo>
                  <a:lnTo>
                    <a:pt x="121" y="285"/>
                  </a:lnTo>
                  <a:cubicBezTo>
                    <a:pt x="118" y="285"/>
                    <a:pt x="118" y="285"/>
                    <a:pt x="115" y="282"/>
                  </a:cubicBezTo>
                  <a:lnTo>
                    <a:pt x="115" y="285"/>
                  </a:lnTo>
                  <a:lnTo>
                    <a:pt x="112" y="288"/>
                  </a:lnTo>
                  <a:cubicBezTo>
                    <a:pt x="110" y="288"/>
                    <a:pt x="107" y="287"/>
                    <a:pt x="107" y="285"/>
                  </a:cubicBezTo>
                  <a:cubicBezTo>
                    <a:pt x="109" y="285"/>
                    <a:pt x="111" y="284"/>
                    <a:pt x="112" y="282"/>
                  </a:cubicBezTo>
                  <a:lnTo>
                    <a:pt x="107" y="282"/>
                  </a:lnTo>
                  <a:lnTo>
                    <a:pt x="101" y="279"/>
                  </a:lnTo>
                  <a:cubicBezTo>
                    <a:pt x="98" y="279"/>
                    <a:pt x="98" y="276"/>
                    <a:pt x="96" y="276"/>
                  </a:cubicBezTo>
                  <a:cubicBezTo>
                    <a:pt x="96" y="273"/>
                    <a:pt x="98" y="273"/>
                    <a:pt x="98" y="273"/>
                  </a:cubicBezTo>
                  <a:lnTo>
                    <a:pt x="101" y="276"/>
                  </a:lnTo>
                  <a:lnTo>
                    <a:pt x="101" y="273"/>
                  </a:lnTo>
                  <a:cubicBezTo>
                    <a:pt x="104" y="276"/>
                    <a:pt x="107" y="276"/>
                    <a:pt x="112" y="276"/>
                  </a:cubicBezTo>
                  <a:cubicBezTo>
                    <a:pt x="115" y="276"/>
                    <a:pt x="121" y="276"/>
                    <a:pt x="124" y="279"/>
                  </a:cubicBezTo>
                  <a:cubicBezTo>
                    <a:pt x="124" y="279"/>
                    <a:pt x="127" y="279"/>
                    <a:pt x="127" y="276"/>
                  </a:cubicBezTo>
                  <a:cubicBezTo>
                    <a:pt x="127" y="276"/>
                    <a:pt x="129" y="276"/>
                    <a:pt x="129" y="273"/>
                  </a:cubicBezTo>
                  <a:lnTo>
                    <a:pt x="127" y="271"/>
                  </a:lnTo>
                  <a:cubicBezTo>
                    <a:pt x="127" y="271"/>
                    <a:pt x="127" y="268"/>
                    <a:pt x="124" y="268"/>
                  </a:cubicBezTo>
                  <a:cubicBezTo>
                    <a:pt x="121" y="268"/>
                    <a:pt x="121" y="268"/>
                    <a:pt x="118" y="271"/>
                  </a:cubicBezTo>
                  <a:cubicBezTo>
                    <a:pt x="118" y="273"/>
                    <a:pt x="115" y="273"/>
                    <a:pt x="115" y="273"/>
                  </a:cubicBezTo>
                  <a:lnTo>
                    <a:pt x="118" y="271"/>
                  </a:lnTo>
                  <a:lnTo>
                    <a:pt x="121" y="268"/>
                  </a:lnTo>
                  <a:lnTo>
                    <a:pt x="115" y="268"/>
                  </a:lnTo>
                  <a:lnTo>
                    <a:pt x="110" y="268"/>
                  </a:lnTo>
                  <a:lnTo>
                    <a:pt x="107" y="262"/>
                  </a:lnTo>
                  <a:cubicBezTo>
                    <a:pt x="107" y="262"/>
                    <a:pt x="107" y="259"/>
                    <a:pt x="104" y="256"/>
                  </a:cubicBezTo>
                  <a:lnTo>
                    <a:pt x="112" y="256"/>
                  </a:lnTo>
                  <a:lnTo>
                    <a:pt x="112" y="251"/>
                  </a:lnTo>
                  <a:cubicBezTo>
                    <a:pt x="112" y="251"/>
                    <a:pt x="115" y="253"/>
                    <a:pt x="115" y="255"/>
                  </a:cubicBezTo>
                  <a:cubicBezTo>
                    <a:pt x="112" y="257"/>
                    <a:pt x="109" y="257"/>
                    <a:pt x="107" y="259"/>
                  </a:cubicBezTo>
                  <a:cubicBezTo>
                    <a:pt x="112" y="262"/>
                    <a:pt x="115" y="262"/>
                    <a:pt x="118" y="262"/>
                  </a:cubicBezTo>
                  <a:cubicBezTo>
                    <a:pt x="121" y="268"/>
                    <a:pt x="124" y="268"/>
                    <a:pt x="127" y="268"/>
                  </a:cubicBezTo>
                  <a:lnTo>
                    <a:pt x="127" y="265"/>
                  </a:lnTo>
                  <a:lnTo>
                    <a:pt x="124" y="265"/>
                  </a:lnTo>
                  <a:cubicBezTo>
                    <a:pt x="124" y="265"/>
                    <a:pt x="124" y="262"/>
                    <a:pt x="121" y="259"/>
                  </a:cubicBezTo>
                  <a:lnTo>
                    <a:pt x="118" y="262"/>
                  </a:lnTo>
                  <a:lnTo>
                    <a:pt x="118" y="256"/>
                  </a:lnTo>
                  <a:lnTo>
                    <a:pt x="118" y="254"/>
                  </a:lnTo>
                  <a:lnTo>
                    <a:pt x="118" y="251"/>
                  </a:lnTo>
                  <a:cubicBezTo>
                    <a:pt x="118" y="251"/>
                    <a:pt x="115" y="251"/>
                    <a:pt x="115" y="248"/>
                  </a:cubicBezTo>
                  <a:lnTo>
                    <a:pt x="112" y="245"/>
                  </a:lnTo>
                  <a:cubicBezTo>
                    <a:pt x="114" y="243"/>
                    <a:pt x="115" y="241"/>
                    <a:pt x="116" y="240"/>
                  </a:cubicBezTo>
                  <a:cubicBezTo>
                    <a:pt x="116" y="240"/>
                    <a:pt x="116" y="240"/>
                    <a:pt x="115" y="240"/>
                  </a:cubicBezTo>
                  <a:lnTo>
                    <a:pt x="118" y="237"/>
                  </a:lnTo>
                  <a:lnTo>
                    <a:pt x="118" y="234"/>
                  </a:lnTo>
                  <a:lnTo>
                    <a:pt x="115" y="225"/>
                  </a:lnTo>
                  <a:cubicBezTo>
                    <a:pt x="115" y="225"/>
                    <a:pt x="112" y="225"/>
                    <a:pt x="112" y="228"/>
                  </a:cubicBezTo>
                  <a:lnTo>
                    <a:pt x="107" y="228"/>
                  </a:lnTo>
                  <a:lnTo>
                    <a:pt x="107" y="231"/>
                  </a:lnTo>
                  <a:lnTo>
                    <a:pt x="101" y="231"/>
                  </a:lnTo>
                  <a:lnTo>
                    <a:pt x="101" y="228"/>
                  </a:lnTo>
                  <a:lnTo>
                    <a:pt x="101" y="225"/>
                  </a:lnTo>
                  <a:lnTo>
                    <a:pt x="104" y="225"/>
                  </a:lnTo>
                  <a:lnTo>
                    <a:pt x="101" y="223"/>
                  </a:lnTo>
                  <a:lnTo>
                    <a:pt x="98" y="220"/>
                  </a:lnTo>
                  <a:cubicBezTo>
                    <a:pt x="101" y="217"/>
                    <a:pt x="101" y="217"/>
                    <a:pt x="101" y="214"/>
                  </a:cubicBezTo>
                  <a:lnTo>
                    <a:pt x="104" y="211"/>
                  </a:lnTo>
                  <a:lnTo>
                    <a:pt x="101" y="209"/>
                  </a:lnTo>
                  <a:lnTo>
                    <a:pt x="98" y="209"/>
                  </a:lnTo>
                  <a:lnTo>
                    <a:pt x="93" y="209"/>
                  </a:lnTo>
                  <a:cubicBezTo>
                    <a:pt x="93" y="203"/>
                    <a:pt x="90" y="200"/>
                    <a:pt x="87" y="197"/>
                  </a:cubicBezTo>
                  <a:lnTo>
                    <a:pt x="79" y="200"/>
                  </a:lnTo>
                  <a:lnTo>
                    <a:pt x="79" y="200"/>
                  </a:lnTo>
                  <a:lnTo>
                    <a:pt x="79" y="200"/>
                  </a:lnTo>
                  <a:lnTo>
                    <a:pt x="81" y="206"/>
                  </a:lnTo>
                  <a:cubicBezTo>
                    <a:pt x="81" y="209"/>
                    <a:pt x="81" y="209"/>
                    <a:pt x="84" y="211"/>
                  </a:cubicBezTo>
                  <a:lnTo>
                    <a:pt x="84" y="214"/>
                  </a:lnTo>
                  <a:lnTo>
                    <a:pt x="87" y="214"/>
                  </a:lnTo>
                  <a:lnTo>
                    <a:pt x="90" y="214"/>
                  </a:lnTo>
                  <a:lnTo>
                    <a:pt x="93" y="211"/>
                  </a:lnTo>
                  <a:lnTo>
                    <a:pt x="96" y="211"/>
                  </a:lnTo>
                  <a:lnTo>
                    <a:pt x="98" y="211"/>
                  </a:lnTo>
                  <a:cubicBezTo>
                    <a:pt x="98" y="211"/>
                    <a:pt x="98" y="214"/>
                    <a:pt x="96" y="214"/>
                  </a:cubicBezTo>
                  <a:lnTo>
                    <a:pt x="98" y="220"/>
                  </a:lnTo>
                  <a:cubicBezTo>
                    <a:pt x="98" y="223"/>
                    <a:pt x="98" y="223"/>
                    <a:pt x="101" y="225"/>
                  </a:cubicBezTo>
                  <a:cubicBezTo>
                    <a:pt x="98" y="225"/>
                    <a:pt x="98" y="225"/>
                    <a:pt x="96" y="228"/>
                  </a:cubicBezTo>
                  <a:cubicBezTo>
                    <a:pt x="93" y="228"/>
                    <a:pt x="93" y="228"/>
                    <a:pt x="90" y="231"/>
                  </a:cubicBezTo>
                  <a:lnTo>
                    <a:pt x="90" y="228"/>
                  </a:lnTo>
                  <a:cubicBezTo>
                    <a:pt x="90" y="228"/>
                    <a:pt x="90" y="227"/>
                    <a:pt x="89" y="227"/>
                  </a:cubicBezTo>
                  <a:lnTo>
                    <a:pt x="93" y="228"/>
                  </a:lnTo>
                  <a:lnTo>
                    <a:pt x="90" y="220"/>
                  </a:lnTo>
                  <a:lnTo>
                    <a:pt x="87" y="220"/>
                  </a:lnTo>
                  <a:lnTo>
                    <a:pt x="84" y="220"/>
                  </a:lnTo>
                  <a:lnTo>
                    <a:pt x="84" y="223"/>
                  </a:lnTo>
                  <a:cubicBezTo>
                    <a:pt x="81" y="223"/>
                    <a:pt x="79" y="220"/>
                    <a:pt x="79" y="220"/>
                  </a:cubicBezTo>
                  <a:lnTo>
                    <a:pt x="73" y="223"/>
                  </a:lnTo>
                  <a:cubicBezTo>
                    <a:pt x="73" y="221"/>
                    <a:pt x="73" y="219"/>
                    <a:pt x="74" y="217"/>
                  </a:cubicBezTo>
                  <a:lnTo>
                    <a:pt x="73" y="217"/>
                  </a:lnTo>
                  <a:lnTo>
                    <a:pt x="73" y="217"/>
                  </a:lnTo>
                  <a:cubicBezTo>
                    <a:pt x="70" y="217"/>
                    <a:pt x="70" y="220"/>
                    <a:pt x="70" y="220"/>
                  </a:cubicBezTo>
                  <a:lnTo>
                    <a:pt x="67" y="223"/>
                  </a:lnTo>
                  <a:lnTo>
                    <a:pt x="70" y="225"/>
                  </a:lnTo>
                  <a:cubicBezTo>
                    <a:pt x="62" y="231"/>
                    <a:pt x="59" y="237"/>
                    <a:pt x="56" y="237"/>
                  </a:cubicBezTo>
                  <a:cubicBezTo>
                    <a:pt x="56" y="237"/>
                    <a:pt x="56" y="240"/>
                    <a:pt x="53" y="240"/>
                  </a:cubicBezTo>
                  <a:lnTo>
                    <a:pt x="53" y="245"/>
                  </a:lnTo>
                  <a:lnTo>
                    <a:pt x="59" y="245"/>
                  </a:lnTo>
                  <a:lnTo>
                    <a:pt x="64" y="245"/>
                  </a:lnTo>
                  <a:lnTo>
                    <a:pt x="64" y="248"/>
                  </a:lnTo>
                  <a:lnTo>
                    <a:pt x="64" y="251"/>
                  </a:lnTo>
                  <a:lnTo>
                    <a:pt x="67" y="251"/>
                  </a:lnTo>
                  <a:lnTo>
                    <a:pt x="70" y="251"/>
                  </a:lnTo>
                  <a:cubicBezTo>
                    <a:pt x="73" y="251"/>
                    <a:pt x="76" y="248"/>
                    <a:pt x="76" y="248"/>
                  </a:cubicBezTo>
                  <a:cubicBezTo>
                    <a:pt x="76" y="251"/>
                    <a:pt x="76" y="254"/>
                    <a:pt x="73" y="256"/>
                  </a:cubicBezTo>
                  <a:cubicBezTo>
                    <a:pt x="73" y="259"/>
                    <a:pt x="70" y="259"/>
                    <a:pt x="70" y="262"/>
                  </a:cubicBezTo>
                  <a:lnTo>
                    <a:pt x="62" y="262"/>
                  </a:lnTo>
                  <a:lnTo>
                    <a:pt x="62" y="265"/>
                  </a:lnTo>
                  <a:cubicBezTo>
                    <a:pt x="64" y="265"/>
                    <a:pt x="67" y="265"/>
                    <a:pt x="70" y="268"/>
                  </a:cubicBezTo>
                  <a:cubicBezTo>
                    <a:pt x="70" y="268"/>
                    <a:pt x="70" y="265"/>
                    <a:pt x="73" y="265"/>
                  </a:cubicBezTo>
                  <a:lnTo>
                    <a:pt x="76" y="268"/>
                  </a:lnTo>
                  <a:cubicBezTo>
                    <a:pt x="79" y="268"/>
                    <a:pt x="79" y="265"/>
                    <a:pt x="79" y="265"/>
                  </a:cubicBezTo>
                  <a:cubicBezTo>
                    <a:pt x="79" y="265"/>
                    <a:pt x="79" y="262"/>
                    <a:pt x="81" y="262"/>
                  </a:cubicBezTo>
                  <a:lnTo>
                    <a:pt x="81" y="265"/>
                  </a:lnTo>
                  <a:lnTo>
                    <a:pt x="81" y="268"/>
                  </a:lnTo>
                  <a:lnTo>
                    <a:pt x="81" y="271"/>
                  </a:lnTo>
                  <a:cubicBezTo>
                    <a:pt x="81" y="271"/>
                    <a:pt x="81" y="273"/>
                    <a:pt x="79" y="273"/>
                  </a:cubicBezTo>
                  <a:lnTo>
                    <a:pt x="81" y="276"/>
                  </a:lnTo>
                  <a:lnTo>
                    <a:pt x="81" y="273"/>
                  </a:lnTo>
                  <a:lnTo>
                    <a:pt x="81" y="271"/>
                  </a:lnTo>
                  <a:lnTo>
                    <a:pt x="87" y="271"/>
                  </a:lnTo>
                  <a:cubicBezTo>
                    <a:pt x="87" y="271"/>
                    <a:pt x="87" y="268"/>
                    <a:pt x="90" y="268"/>
                  </a:cubicBezTo>
                  <a:cubicBezTo>
                    <a:pt x="93" y="268"/>
                    <a:pt x="90" y="268"/>
                    <a:pt x="93" y="265"/>
                  </a:cubicBezTo>
                  <a:lnTo>
                    <a:pt x="93" y="273"/>
                  </a:lnTo>
                  <a:lnTo>
                    <a:pt x="93" y="282"/>
                  </a:lnTo>
                  <a:lnTo>
                    <a:pt x="96" y="282"/>
                  </a:lnTo>
                  <a:cubicBezTo>
                    <a:pt x="99" y="284"/>
                    <a:pt x="103" y="286"/>
                    <a:pt x="107" y="285"/>
                  </a:cubicBezTo>
                  <a:cubicBezTo>
                    <a:pt x="107" y="286"/>
                    <a:pt x="106" y="288"/>
                    <a:pt x="104" y="288"/>
                  </a:cubicBezTo>
                  <a:lnTo>
                    <a:pt x="104" y="292"/>
                  </a:lnTo>
                  <a:lnTo>
                    <a:pt x="110" y="295"/>
                  </a:lnTo>
                  <a:cubicBezTo>
                    <a:pt x="112" y="292"/>
                    <a:pt x="112" y="292"/>
                    <a:pt x="115" y="292"/>
                  </a:cubicBezTo>
                  <a:cubicBezTo>
                    <a:pt x="118" y="295"/>
                    <a:pt x="121" y="298"/>
                    <a:pt x="123" y="303"/>
                  </a:cubicBezTo>
                  <a:lnTo>
                    <a:pt x="127" y="298"/>
                  </a:lnTo>
                  <a:lnTo>
                    <a:pt x="127" y="289"/>
                  </a:lnTo>
                  <a:lnTo>
                    <a:pt x="124" y="289"/>
                  </a:lnTo>
                  <a:lnTo>
                    <a:pt x="121" y="289"/>
                  </a:lnTo>
                  <a:lnTo>
                    <a:pt x="129" y="288"/>
                  </a:lnTo>
                  <a:close/>
                  <a:moveTo>
                    <a:pt x="118" y="309"/>
                  </a:moveTo>
                  <a:cubicBezTo>
                    <a:pt x="115" y="309"/>
                    <a:pt x="115" y="309"/>
                    <a:pt x="112" y="306"/>
                  </a:cubicBezTo>
                  <a:lnTo>
                    <a:pt x="112" y="303"/>
                  </a:lnTo>
                  <a:lnTo>
                    <a:pt x="110" y="301"/>
                  </a:lnTo>
                  <a:cubicBezTo>
                    <a:pt x="110" y="301"/>
                    <a:pt x="110" y="298"/>
                    <a:pt x="107" y="298"/>
                  </a:cubicBezTo>
                  <a:lnTo>
                    <a:pt x="101" y="301"/>
                  </a:lnTo>
                  <a:lnTo>
                    <a:pt x="101" y="292"/>
                  </a:lnTo>
                  <a:cubicBezTo>
                    <a:pt x="98" y="292"/>
                    <a:pt x="96" y="292"/>
                    <a:pt x="96" y="289"/>
                  </a:cubicBezTo>
                  <a:lnTo>
                    <a:pt x="96" y="292"/>
                  </a:lnTo>
                  <a:lnTo>
                    <a:pt x="96" y="295"/>
                  </a:lnTo>
                  <a:lnTo>
                    <a:pt x="93" y="295"/>
                  </a:lnTo>
                  <a:lnTo>
                    <a:pt x="91" y="288"/>
                  </a:lnTo>
                  <a:lnTo>
                    <a:pt x="87" y="289"/>
                  </a:lnTo>
                  <a:lnTo>
                    <a:pt x="81" y="288"/>
                  </a:lnTo>
                  <a:lnTo>
                    <a:pt x="87" y="282"/>
                  </a:lnTo>
                  <a:cubicBezTo>
                    <a:pt x="87" y="279"/>
                    <a:pt x="90" y="279"/>
                    <a:pt x="90" y="276"/>
                  </a:cubicBezTo>
                  <a:lnTo>
                    <a:pt x="87" y="276"/>
                  </a:lnTo>
                  <a:cubicBezTo>
                    <a:pt x="84" y="279"/>
                    <a:pt x="81" y="276"/>
                    <a:pt x="79" y="276"/>
                  </a:cubicBezTo>
                  <a:lnTo>
                    <a:pt x="73" y="276"/>
                  </a:lnTo>
                  <a:lnTo>
                    <a:pt x="76" y="273"/>
                  </a:lnTo>
                  <a:cubicBezTo>
                    <a:pt x="76" y="271"/>
                    <a:pt x="76" y="271"/>
                    <a:pt x="79" y="268"/>
                  </a:cubicBezTo>
                  <a:lnTo>
                    <a:pt x="70" y="273"/>
                  </a:lnTo>
                  <a:cubicBezTo>
                    <a:pt x="67" y="276"/>
                    <a:pt x="64" y="279"/>
                    <a:pt x="62" y="279"/>
                  </a:cubicBezTo>
                  <a:lnTo>
                    <a:pt x="70" y="279"/>
                  </a:lnTo>
                  <a:lnTo>
                    <a:pt x="70" y="282"/>
                  </a:lnTo>
                  <a:lnTo>
                    <a:pt x="76" y="279"/>
                  </a:lnTo>
                  <a:lnTo>
                    <a:pt x="76" y="285"/>
                  </a:lnTo>
                  <a:cubicBezTo>
                    <a:pt x="73" y="285"/>
                    <a:pt x="73" y="288"/>
                    <a:pt x="73" y="288"/>
                  </a:cubicBezTo>
                  <a:cubicBezTo>
                    <a:pt x="81" y="288"/>
                    <a:pt x="81" y="288"/>
                    <a:pt x="84" y="295"/>
                  </a:cubicBezTo>
                  <a:cubicBezTo>
                    <a:pt x="81" y="292"/>
                    <a:pt x="76" y="292"/>
                    <a:pt x="70" y="295"/>
                  </a:cubicBezTo>
                  <a:lnTo>
                    <a:pt x="70" y="298"/>
                  </a:lnTo>
                  <a:lnTo>
                    <a:pt x="70" y="303"/>
                  </a:lnTo>
                  <a:lnTo>
                    <a:pt x="76" y="298"/>
                  </a:lnTo>
                  <a:lnTo>
                    <a:pt x="81" y="301"/>
                  </a:lnTo>
                  <a:lnTo>
                    <a:pt x="87" y="295"/>
                  </a:lnTo>
                  <a:cubicBezTo>
                    <a:pt x="90" y="295"/>
                    <a:pt x="90" y="298"/>
                    <a:pt x="90" y="298"/>
                  </a:cubicBezTo>
                  <a:lnTo>
                    <a:pt x="90" y="303"/>
                  </a:lnTo>
                  <a:cubicBezTo>
                    <a:pt x="90" y="303"/>
                    <a:pt x="93" y="301"/>
                    <a:pt x="96" y="301"/>
                  </a:cubicBezTo>
                  <a:lnTo>
                    <a:pt x="101" y="301"/>
                  </a:lnTo>
                  <a:lnTo>
                    <a:pt x="93" y="309"/>
                  </a:lnTo>
                  <a:lnTo>
                    <a:pt x="104" y="306"/>
                  </a:lnTo>
                  <a:lnTo>
                    <a:pt x="104" y="303"/>
                  </a:lnTo>
                  <a:cubicBezTo>
                    <a:pt x="104" y="303"/>
                    <a:pt x="104" y="301"/>
                    <a:pt x="107" y="301"/>
                  </a:cubicBezTo>
                  <a:lnTo>
                    <a:pt x="107" y="303"/>
                  </a:lnTo>
                  <a:lnTo>
                    <a:pt x="107" y="306"/>
                  </a:lnTo>
                  <a:cubicBezTo>
                    <a:pt x="107" y="306"/>
                    <a:pt x="107" y="309"/>
                    <a:pt x="110" y="309"/>
                  </a:cubicBezTo>
                  <a:lnTo>
                    <a:pt x="115" y="309"/>
                  </a:lnTo>
                  <a:lnTo>
                    <a:pt x="118" y="312"/>
                  </a:lnTo>
                  <a:lnTo>
                    <a:pt x="121" y="308"/>
                  </a:lnTo>
                  <a:cubicBezTo>
                    <a:pt x="120" y="309"/>
                    <a:pt x="119" y="309"/>
                    <a:pt x="118" y="309"/>
                  </a:cubicBezTo>
                  <a:close/>
                  <a:moveTo>
                    <a:pt x="115" y="256"/>
                  </a:moveTo>
                  <a:lnTo>
                    <a:pt x="118" y="254"/>
                  </a:lnTo>
                  <a:cubicBezTo>
                    <a:pt x="117" y="254"/>
                    <a:pt x="116" y="255"/>
                    <a:pt x="115" y="255"/>
                  </a:cubicBezTo>
                  <a:cubicBezTo>
                    <a:pt x="115" y="256"/>
                    <a:pt x="115" y="256"/>
                    <a:pt x="115" y="256"/>
                  </a:cubicBezTo>
                  <a:close/>
                  <a:moveTo>
                    <a:pt x="127" y="248"/>
                  </a:moveTo>
                  <a:lnTo>
                    <a:pt x="127" y="245"/>
                  </a:lnTo>
                  <a:lnTo>
                    <a:pt x="124" y="248"/>
                  </a:lnTo>
                  <a:lnTo>
                    <a:pt x="127" y="248"/>
                  </a:lnTo>
                  <a:close/>
                  <a:moveTo>
                    <a:pt x="87" y="225"/>
                  </a:moveTo>
                  <a:lnTo>
                    <a:pt x="89" y="227"/>
                  </a:lnTo>
                  <a:cubicBezTo>
                    <a:pt x="89" y="226"/>
                    <a:pt x="88" y="225"/>
                    <a:pt x="87" y="225"/>
                  </a:cubicBezTo>
                  <a:close/>
                  <a:moveTo>
                    <a:pt x="84" y="217"/>
                  </a:moveTo>
                  <a:lnTo>
                    <a:pt x="84" y="217"/>
                  </a:lnTo>
                  <a:lnTo>
                    <a:pt x="84" y="214"/>
                  </a:lnTo>
                  <a:cubicBezTo>
                    <a:pt x="81" y="211"/>
                    <a:pt x="81" y="211"/>
                    <a:pt x="79" y="211"/>
                  </a:cubicBezTo>
                  <a:lnTo>
                    <a:pt x="79" y="213"/>
                  </a:lnTo>
                  <a:cubicBezTo>
                    <a:pt x="80" y="214"/>
                    <a:pt x="82" y="215"/>
                    <a:pt x="84" y="217"/>
                  </a:cubicBezTo>
                  <a:lnTo>
                    <a:pt x="84" y="220"/>
                  </a:lnTo>
                  <a:lnTo>
                    <a:pt x="84" y="217"/>
                  </a:lnTo>
                  <a:close/>
                  <a:moveTo>
                    <a:pt x="76" y="209"/>
                  </a:moveTo>
                  <a:lnTo>
                    <a:pt x="79" y="206"/>
                  </a:lnTo>
                  <a:cubicBezTo>
                    <a:pt x="81" y="203"/>
                    <a:pt x="79" y="206"/>
                    <a:pt x="79" y="206"/>
                  </a:cubicBezTo>
                  <a:lnTo>
                    <a:pt x="76" y="203"/>
                  </a:lnTo>
                  <a:lnTo>
                    <a:pt x="73" y="200"/>
                  </a:lnTo>
                  <a:lnTo>
                    <a:pt x="70" y="204"/>
                  </a:lnTo>
                  <a:lnTo>
                    <a:pt x="70" y="206"/>
                  </a:lnTo>
                  <a:lnTo>
                    <a:pt x="70" y="211"/>
                  </a:lnTo>
                  <a:lnTo>
                    <a:pt x="76" y="211"/>
                  </a:lnTo>
                  <a:lnTo>
                    <a:pt x="76" y="209"/>
                  </a:lnTo>
                  <a:close/>
                  <a:moveTo>
                    <a:pt x="62" y="206"/>
                  </a:moveTo>
                  <a:lnTo>
                    <a:pt x="62" y="209"/>
                  </a:lnTo>
                  <a:lnTo>
                    <a:pt x="62" y="209"/>
                  </a:lnTo>
                  <a:cubicBezTo>
                    <a:pt x="64" y="209"/>
                    <a:pt x="64" y="209"/>
                    <a:pt x="64" y="207"/>
                  </a:cubicBezTo>
                  <a:cubicBezTo>
                    <a:pt x="64" y="206"/>
                    <a:pt x="63" y="206"/>
                    <a:pt x="62" y="206"/>
                  </a:cubicBezTo>
                  <a:close/>
                  <a:moveTo>
                    <a:pt x="59" y="206"/>
                  </a:moveTo>
                  <a:cubicBezTo>
                    <a:pt x="62" y="206"/>
                    <a:pt x="62" y="203"/>
                    <a:pt x="64" y="203"/>
                  </a:cubicBezTo>
                  <a:lnTo>
                    <a:pt x="64" y="200"/>
                  </a:lnTo>
                  <a:lnTo>
                    <a:pt x="67" y="200"/>
                  </a:lnTo>
                  <a:lnTo>
                    <a:pt x="62" y="200"/>
                  </a:lnTo>
                  <a:cubicBezTo>
                    <a:pt x="59" y="200"/>
                    <a:pt x="59" y="203"/>
                    <a:pt x="56" y="200"/>
                  </a:cubicBezTo>
                  <a:lnTo>
                    <a:pt x="53" y="203"/>
                  </a:lnTo>
                  <a:lnTo>
                    <a:pt x="50" y="203"/>
                  </a:lnTo>
                  <a:lnTo>
                    <a:pt x="48" y="203"/>
                  </a:lnTo>
                  <a:lnTo>
                    <a:pt x="45" y="200"/>
                  </a:lnTo>
                  <a:cubicBezTo>
                    <a:pt x="45" y="200"/>
                    <a:pt x="45" y="197"/>
                    <a:pt x="42" y="197"/>
                  </a:cubicBezTo>
                  <a:cubicBezTo>
                    <a:pt x="42" y="197"/>
                    <a:pt x="42" y="194"/>
                    <a:pt x="45" y="194"/>
                  </a:cubicBezTo>
                  <a:lnTo>
                    <a:pt x="45" y="189"/>
                  </a:lnTo>
                  <a:cubicBezTo>
                    <a:pt x="42" y="189"/>
                    <a:pt x="42" y="192"/>
                    <a:pt x="39" y="192"/>
                  </a:cubicBezTo>
                  <a:cubicBezTo>
                    <a:pt x="36" y="192"/>
                    <a:pt x="36" y="194"/>
                    <a:pt x="33" y="194"/>
                  </a:cubicBezTo>
                  <a:lnTo>
                    <a:pt x="39" y="197"/>
                  </a:lnTo>
                  <a:lnTo>
                    <a:pt x="39" y="203"/>
                  </a:lnTo>
                  <a:lnTo>
                    <a:pt x="45" y="203"/>
                  </a:lnTo>
                  <a:lnTo>
                    <a:pt x="45" y="206"/>
                  </a:lnTo>
                  <a:lnTo>
                    <a:pt x="39" y="206"/>
                  </a:lnTo>
                  <a:lnTo>
                    <a:pt x="39" y="211"/>
                  </a:lnTo>
                  <a:cubicBezTo>
                    <a:pt x="41" y="213"/>
                    <a:pt x="42" y="214"/>
                    <a:pt x="43" y="214"/>
                  </a:cubicBezTo>
                  <a:lnTo>
                    <a:pt x="51" y="210"/>
                  </a:lnTo>
                  <a:lnTo>
                    <a:pt x="53" y="217"/>
                  </a:lnTo>
                  <a:lnTo>
                    <a:pt x="59" y="214"/>
                  </a:lnTo>
                  <a:lnTo>
                    <a:pt x="59" y="206"/>
                  </a:lnTo>
                  <a:close/>
                  <a:moveTo>
                    <a:pt x="53" y="209"/>
                  </a:moveTo>
                  <a:lnTo>
                    <a:pt x="50" y="209"/>
                  </a:lnTo>
                  <a:lnTo>
                    <a:pt x="51" y="210"/>
                  </a:lnTo>
                  <a:lnTo>
                    <a:pt x="53" y="209"/>
                  </a:lnTo>
                  <a:close/>
                  <a:moveTo>
                    <a:pt x="64" y="282"/>
                  </a:moveTo>
                  <a:lnTo>
                    <a:pt x="64" y="285"/>
                  </a:lnTo>
                  <a:cubicBezTo>
                    <a:pt x="66" y="285"/>
                    <a:pt x="68" y="283"/>
                    <a:pt x="69" y="282"/>
                  </a:cubicBezTo>
                  <a:lnTo>
                    <a:pt x="64" y="282"/>
                  </a:lnTo>
                  <a:close/>
                  <a:moveTo>
                    <a:pt x="56" y="228"/>
                  </a:moveTo>
                  <a:lnTo>
                    <a:pt x="59" y="231"/>
                  </a:lnTo>
                  <a:cubicBezTo>
                    <a:pt x="59" y="225"/>
                    <a:pt x="56" y="225"/>
                    <a:pt x="50" y="225"/>
                  </a:cubicBezTo>
                  <a:cubicBezTo>
                    <a:pt x="53" y="225"/>
                    <a:pt x="53" y="225"/>
                    <a:pt x="56" y="228"/>
                  </a:cubicBezTo>
                  <a:close/>
                  <a:moveTo>
                    <a:pt x="59" y="163"/>
                  </a:moveTo>
                  <a:cubicBezTo>
                    <a:pt x="59" y="161"/>
                    <a:pt x="56" y="161"/>
                    <a:pt x="53" y="161"/>
                  </a:cubicBezTo>
                  <a:lnTo>
                    <a:pt x="53" y="166"/>
                  </a:lnTo>
                  <a:cubicBezTo>
                    <a:pt x="56" y="166"/>
                    <a:pt x="56" y="166"/>
                    <a:pt x="59" y="163"/>
                  </a:cubicBezTo>
                  <a:close/>
                  <a:moveTo>
                    <a:pt x="62" y="172"/>
                  </a:moveTo>
                  <a:lnTo>
                    <a:pt x="59" y="175"/>
                  </a:lnTo>
                  <a:lnTo>
                    <a:pt x="62" y="175"/>
                  </a:lnTo>
                  <a:lnTo>
                    <a:pt x="67" y="169"/>
                  </a:lnTo>
                  <a:cubicBezTo>
                    <a:pt x="67" y="169"/>
                    <a:pt x="64" y="169"/>
                    <a:pt x="64" y="166"/>
                  </a:cubicBezTo>
                  <a:cubicBezTo>
                    <a:pt x="64" y="172"/>
                    <a:pt x="64" y="172"/>
                    <a:pt x="62" y="172"/>
                  </a:cubicBezTo>
                  <a:close/>
                  <a:moveTo>
                    <a:pt x="67" y="180"/>
                  </a:moveTo>
                  <a:cubicBezTo>
                    <a:pt x="64" y="180"/>
                    <a:pt x="64" y="183"/>
                    <a:pt x="62" y="183"/>
                  </a:cubicBezTo>
                  <a:lnTo>
                    <a:pt x="62" y="186"/>
                  </a:lnTo>
                  <a:lnTo>
                    <a:pt x="67" y="180"/>
                  </a:lnTo>
                  <a:lnTo>
                    <a:pt x="70" y="186"/>
                  </a:lnTo>
                  <a:cubicBezTo>
                    <a:pt x="73" y="183"/>
                    <a:pt x="76" y="180"/>
                    <a:pt x="70" y="177"/>
                  </a:cubicBezTo>
                  <a:lnTo>
                    <a:pt x="67" y="180"/>
                  </a:lnTo>
                  <a:close/>
                  <a:moveTo>
                    <a:pt x="98" y="320"/>
                  </a:moveTo>
                  <a:cubicBezTo>
                    <a:pt x="96" y="318"/>
                    <a:pt x="96" y="315"/>
                    <a:pt x="93" y="312"/>
                  </a:cubicBezTo>
                  <a:cubicBezTo>
                    <a:pt x="90" y="309"/>
                    <a:pt x="90" y="306"/>
                    <a:pt x="87" y="306"/>
                  </a:cubicBezTo>
                  <a:lnTo>
                    <a:pt x="84" y="306"/>
                  </a:lnTo>
                  <a:lnTo>
                    <a:pt x="81" y="306"/>
                  </a:lnTo>
                  <a:lnTo>
                    <a:pt x="81" y="301"/>
                  </a:lnTo>
                  <a:lnTo>
                    <a:pt x="70" y="303"/>
                  </a:lnTo>
                  <a:cubicBezTo>
                    <a:pt x="73" y="306"/>
                    <a:pt x="73" y="306"/>
                    <a:pt x="76" y="306"/>
                  </a:cubicBezTo>
                  <a:lnTo>
                    <a:pt x="73" y="315"/>
                  </a:lnTo>
                  <a:lnTo>
                    <a:pt x="79" y="315"/>
                  </a:lnTo>
                  <a:cubicBezTo>
                    <a:pt x="81" y="320"/>
                    <a:pt x="87" y="320"/>
                    <a:pt x="87" y="315"/>
                  </a:cubicBezTo>
                  <a:cubicBezTo>
                    <a:pt x="90" y="315"/>
                    <a:pt x="90" y="318"/>
                    <a:pt x="90" y="320"/>
                  </a:cubicBezTo>
                  <a:lnTo>
                    <a:pt x="87" y="323"/>
                  </a:lnTo>
                  <a:cubicBezTo>
                    <a:pt x="84" y="323"/>
                    <a:pt x="81" y="323"/>
                    <a:pt x="81" y="320"/>
                  </a:cubicBezTo>
                  <a:cubicBezTo>
                    <a:pt x="81" y="318"/>
                    <a:pt x="79" y="318"/>
                    <a:pt x="76" y="320"/>
                  </a:cubicBezTo>
                  <a:cubicBezTo>
                    <a:pt x="79" y="323"/>
                    <a:pt x="81" y="323"/>
                    <a:pt x="87" y="326"/>
                  </a:cubicBezTo>
                  <a:lnTo>
                    <a:pt x="87" y="332"/>
                  </a:lnTo>
                  <a:lnTo>
                    <a:pt x="90" y="332"/>
                  </a:lnTo>
                  <a:lnTo>
                    <a:pt x="93" y="334"/>
                  </a:lnTo>
                  <a:lnTo>
                    <a:pt x="93" y="329"/>
                  </a:lnTo>
                  <a:lnTo>
                    <a:pt x="93" y="323"/>
                  </a:lnTo>
                  <a:cubicBezTo>
                    <a:pt x="93" y="320"/>
                    <a:pt x="96" y="320"/>
                    <a:pt x="98" y="320"/>
                  </a:cubicBezTo>
                  <a:close/>
                  <a:moveTo>
                    <a:pt x="73" y="332"/>
                  </a:moveTo>
                  <a:lnTo>
                    <a:pt x="79" y="332"/>
                  </a:lnTo>
                  <a:cubicBezTo>
                    <a:pt x="79" y="332"/>
                    <a:pt x="81" y="332"/>
                    <a:pt x="81" y="329"/>
                  </a:cubicBezTo>
                  <a:lnTo>
                    <a:pt x="79" y="326"/>
                  </a:lnTo>
                  <a:cubicBezTo>
                    <a:pt x="76" y="329"/>
                    <a:pt x="76" y="332"/>
                    <a:pt x="73" y="332"/>
                  </a:cubicBezTo>
                  <a:close/>
                  <a:moveTo>
                    <a:pt x="76" y="349"/>
                  </a:moveTo>
                  <a:cubicBezTo>
                    <a:pt x="79" y="351"/>
                    <a:pt x="79" y="351"/>
                    <a:pt x="79" y="349"/>
                  </a:cubicBezTo>
                  <a:lnTo>
                    <a:pt x="76" y="349"/>
                  </a:lnTo>
                  <a:close/>
                  <a:moveTo>
                    <a:pt x="79" y="368"/>
                  </a:moveTo>
                  <a:lnTo>
                    <a:pt x="84" y="368"/>
                  </a:lnTo>
                  <a:lnTo>
                    <a:pt x="84" y="363"/>
                  </a:lnTo>
                  <a:cubicBezTo>
                    <a:pt x="79" y="365"/>
                    <a:pt x="76" y="365"/>
                    <a:pt x="79" y="368"/>
                  </a:cubicBezTo>
                  <a:close/>
                  <a:moveTo>
                    <a:pt x="84" y="346"/>
                  </a:moveTo>
                  <a:lnTo>
                    <a:pt x="84" y="340"/>
                  </a:lnTo>
                  <a:lnTo>
                    <a:pt x="84" y="334"/>
                  </a:lnTo>
                  <a:cubicBezTo>
                    <a:pt x="79" y="340"/>
                    <a:pt x="79" y="340"/>
                    <a:pt x="84" y="346"/>
                  </a:cubicBezTo>
                  <a:close/>
                  <a:moveTo>
                    <a:pt x="90" y="394"/>
                  </a:moveTo>
                  <a:cubicBezTo>
                    <a:pt x="90" y="388"/>
                    <a:pt x="90" y="388"/>
                    <a:pt x="87" y="388"/>
                  </a:cubicBezTo>
                  <a:lnTo>
                    <a:pt x="87" y="391"/>
                  </a:lnTo>
                  <a:lnTo>
                    <a:pt x="87" y="392"/>
                  </a:lnTo>
                  <a:cubicBezTo>
                    <a:pt x="88" y="392"/>
                    <a:pt x="89" y="393"/>
                    <a:pt x="90" y="394"/>
                  </a:cubicBezTo>
                  <a:close/>
                  <a:moveTo>
                    <a:pt x="87" y="411"/>
                  </a:moveTo>
                  <a:cubicBezTo>
                    <a:pt x="90" y="411"/>
                    <a:pt x="90" y="413"/>
                    <a:pt x="93" y="413"/>
                  </a:cubicBezTo>
                  <a:cubicBezTo>
                    <a:pt x="90" y="405"/>
                    <a:pt x="90" y="405"/>
                    <a:pt x="84" y="405"/>
                  </a:cubicBezTo>
                  <a:cubicBezTo>
                    <a:pt x="84" y="408"/>
                    <a:pt x="84" y="411"/>
                    <a:pt x="87" y="411"/>
                  </a:cubicBezTo>
                  <a:close/>
                  <a:moveTo>
                    <a:pt x="87" y="399"/>
                  </a:moveTo>
                  <a:cubicBezTo>
                    <a:pt x="87" y="399"/>
                    <a:pt x="84" y="399"/>
                    <a:pt x="87" y="399"/>
                  </a:cubicBezTo>
                  <a:lnTo>
                    <a:pt x="87" y="405"/>
                  </a:lnTo>
                  <a:lnTo>
                    <a:pt x="90" y="405"/>
                  </a:lnTo>
                  <a:lnTo>
                    <a:pt x="87" y="399"/>
                  </a:lnTo>
                  <a:close/>
                  <a:moveTo>
                    <a:pt x="98" y="428"/>
                  </a:moveTo>
                  <a:lnTo>
                    <a:pt x="96" y="425"/>
                  </a:lnTo>
                  <a:lnTo>
                    <a:pt x="93" y="422"/>
                  </a:lnTo>
                  <a:lnTo>
                    <a:pt x="90" y="422"/>
                  </a:lnTo>
                  <a:lnTo>
                    <a:pt x="93" y="425"/>
                  </a:lnTo>
                  <a:cubicBezTo>
                    <a:pt x="93" y="425"/>
                    <a:pt x="93" y="428"/>
                    <a:pt x="96" y="428"/>
                  </a:cubicBezTo>
                  <a:cubicBezTo>
                    <a:pt x="96" y="430"/>
                    <a:pt x="96" y="430"/>
                    <a:pt x="98" y="428"/>
                  </a:cubicBezTo>
                  <a:close/>
                  <a:moveTo>
                    <a:pt x="90" y="175"/>
                  </a:moveTo>
                  <a:lnTo>
                    <a:pt x="96" y="180"/>
                  </a:lnTo>
                  <a:cubicBezTo>
                    <a:pt x="98" y="180"/>
                    <a:pt x="98" y="183"/>
                    <a:pt x="98" y="183"/>
                  </a:cubicBezTo>
                  <a:lnTo>
                    <a:pt x="101" y="180"/>
                  </a:lnTo>
                  <a:lnTo>
                    <a:pt x="104" y="177"/>
                  </a:lnTo>
                  <a:cubicBezTo>
                    <a:pt x="101" y="175"/>
                    <a:pt x="101" y="172"/>
                    <a:pt x="98" y="169"/>
                  </a:cubicBezTo>
                  <a:lnTo>
                    <a:pt x="96" y="172"/>
                  </a:lnTo>
                  <a:cubicBezTo>
                    <a:pt x="96" y="175"/>
                    <a:pt x="93" y="175"/>
                    <a:pt x="90" y="175"/>
                  </a:cubicBezTo>
                  <a:close/>
                  <a:moveTo>
                    <a:pt x="93" y="391"/>
                  </a:moveTo>
                  <a:cubicBezTo>
                    <a:pt x="93" y="392"/>
                    <a:pt x="93" y="392"/>
                    <a:pt x="94" y="393"/>
                  </a:cubicBezTo>
                  <a:cubicBezTo>
                    <a:pt x="93" y="392"/>
                    <a:pt x="93" y="391"/>
                    <a:pt x="93" y="391"/>
                  </a:cubicBezTo>
                  <a:close/>
                  <a:moveTo>
                    <a:pt x="107" y="309"/>
                  </a:moveTo>
                  <a:lnTo>
                    <a:pt x="104" y="309"/>
                  </a:lnTo>
                  <a:lnTo>
                    <a:pt x="104" y="315"/>
                  </a:lnTo>
                  <a:cubicBezTo>
                    <a:pt x="104" y="312"/>
                    <a:pt x="107" y="312"/>
                    <a:pt x="107" y="309"/>
                  </a:cubicBezTo>
                  <a:close/>
                  <a:moveTo>
                    <a:pt x="112" y="200"/>
                  </a:moveTo>
                  <a:lnTo>
                    <a:pt x="115" y="197"/>
                  </a:lnTo>
                  <a:cubicBezTo>
                    <a:pt x="115" y="197"/>
                    <a:pt x="112" y="197"/>
                    <a:pt x="112" y="200"/>
                  </a:cubicBezTo>
                  <a:close/>
                  <a:moveTo>
                    <a:pt x="121" y="217"/>
                  </a:moveTo>
                  <a:lnTo>
                    <a:pt x="118" y="214"/>
                  </a:lnTo>
                  <a:lnTo>
                    <a:pt x="118" y="217"/>
                  </a:lnTo>
                  <a:cubicBezTo>
                    <a:pt x="118" y="214"/>
                    <a:pt x="118" y="217"/>
                    <a:pt x="121" y="217"/>
                  </a:cubicBezTo>
                  <a:lnTo>
                    <a:pt x="118" y="223"/>
                  </a:lnTo>
                  <a:lnTo>
                    <a:pt x="121" y="223"/>
                  </a:lnTo>
                  <a:lnTo>
                    <a:pt x="124" y="223"/>
                  </a:lnTo>
                  <a:cubicBezTo>
                    <a:pt x="124" y="220"/>
                    <a:pt x="121" y="217"/>
                    <a:pt x="121" y="217"/>
                  </a:cubicBezTo>
                  <a:close/>
                  <a:moveTo>
                    <a:pt x="129" y="276"/>
                  </a:moveTo>
                  <a:cubicBezTo>
                    <a:pt x="129" y="276"/>
                    <a:pt x="129" y="279"/>
                    <a:pt x="127" y="279"/>
                  </a:cubicBezTo>
                  <a:lnTo>
                    <a:pt x="129" y="279"/>
                  </a:lnTo>
                  <a:lnTo>
                    <a:pt x="132" y="279"/>
                  </a:lnTo>
                  <a:cubicBezTo>
                    <a:pt x="132" y="276"/>
                    <a:pt x="132" y="276"/>
                    <a:pt x="135" y="273"/>
                  </a:cubicBezTo>
                  <a:cubicBezTo>
                    <a:pt x="138" y="276"/>
                    <a:pt x="138" y="279"/>
                    <a:pt x="141" y="279"/>
                  </a:cubicBezTo>
                  <a:cubicBezTo>
                    <a:pt x="141" y="279"/>
                    <a:pt x="141" y="276"/>
                    <a:pt x="138" y="273"/>
                  </a:cubicBezTo>
                  <a:lnTo>
                    <a:pt x="135" y="268"/>
                  </a:lnTo>
                  <a:cubicBezTo>
                    <a:pt x="132" y="268"/>
                    <a:pt x="129" y="271"/>
                    <a:pt x="129" y="276"/>
                  </a:cubicBezTo>
                  <a:close/>
                  <a:moveTo>
                    <a:pt x="138" y="268"/>
                  </a:moveTo>
                  <a:lnTo>
                    <a:pt x="141" y="268"/>
                  </a:lnTo>
                  <a:lnTo>
                    <a:pt x="141" y="265"/>
                  </a:lnTo>
                  <a:cubicBezTo>
                    <a:pt x="138" y="268"/>
                    <a:pt x="135" y="268"/>
                    <a:pt x="135" y="268"/>
                  </a:cubicBezTo>
                  <a:lnTo>
                    <a:pt x="138" y="268"/>
                  </a:lnTo>
                  <a:close/>
                  <a:moveTo>
                    <a:pt x="132" y="259"/>
                  </a:moveTo>
                  <a:cubicBezTo>
                    <a:pt x="132" y="259"/>
                    <a:pt x="135" y="259"/>
                    <a:pt x="135" y="256"/>
                  </a:cubicBezTo>
                  <a:cubicBezTo>
                    <a:pt x="132" y="256"/>
                    <a:pt x="132" y="254"/>
                    <a:pt x="129" y="254"/>
                  </a:cubicBezTo>
                  <a:cubicBezTo>
                    <a:pt x="129" y="256"/>
                    <a:pt x="129" y="259"/>
                    <a:pt x="132" y="259"/>
                  </a:cubicBezTo>
                  <a:cubicBezTo>
                    <a:pt x="129" y="262"/>
                    <a:pt x="132" y="265"/>
                    <a:pt x="132" y="265"/>
                  </a:cubicBezTo>
                  <a:lnTo>
                    <a:pt x="135" y="265"/>
                  </a:lnTo>
                  <a:cubicBezTo>
                    <a:pt x="135" y="265"/>
                    <a:pt x="135" y="262"/>
                    <a:pt x="132" y="259"/>
                  </a:cubicBezTo>
                  <a:close/>
                  <a:moveTo>
                    <a:pt x="149" y="320"/>
                  </a:moveTo>
                  <a:lnTo>
                    <a:pt x="149" y="318"/>
                  </a:lnTo>
                  <a:lnTo>
                    <a:pt x="146" y="320"/>
                  </a:lnTo>
                  <a:lnTo>
                    <a:pt x="146" y="321"/>
                  </a:lnTo>
                  <a:cubicBezTo>
                    <a:pt x="148" y="320"/>
                    <a:pt x="149" y="320"/>
                    <a:pt x="149" y="320"/>
                  </a:cubicBezTo>
                  <a:close/>
                  <a:moveTo>
                    <a:pt x="144" y="323"/>
                  </a:moveTo>
                  <a:cubicBezTo>
                    <a:pt x="144" y="322"/>
                    <a:pt x="145" y="322"/>
                    <a:pt x="146" y="321"/>
                  </a:cubicBezTo>
                  <a:lnTo>
                    <a:pt x="146" y="323"/>
                  </a:lnTo>
                  <a:lnTo>
                    <a:pt x="149" y="326"/>
                  </a:lnTo>
                  <a:lnTo>
                    <a:pt x="146" y="326"/>
                  </a:lnTo>
                  <a:cubicBezTo>
                    <a:pt x="148" y="326"/>
                    <a:pt x="149" y="326"/>
                    <a:pt x="149" y="326"/>
                  </a:cubicBezTo>
                  <a:cubicBezTo>
                    <a:pt x="146" y="332"/>
                    <a:pt x="146" y="335"/>
                    <a:pt x="146" y="340"/>
                  </a:cubicBezTo>
                  <a:cubicBezTo>
                    <a:pt x="155" y="337"/>
                    <a:pt x="158" y="337"/>
                    <a:pt x="160" y="340"/>
                  </a:cubicBezTo>
                  <a:cubicBezTo>
                    <a:pt x="160" y="343"/>
                    <a:pt x="163" y="346"/>
                    <a:pt x="163" y="349"/>
                  </a:cubicBezTo>
                  <a:cubicBezTo>
                    <a:pt x="163" y="346"/>
                    <a:pt x="166" y="343"/>
                    <a:pt x="166" y="340"/>
                  </a:cubicBezTo>
                  <a:lnTo>
                    <a:pt x="163" y="337"/>
                  </a:lnTo>
                  <a:lnTo>
                    <a:pt x="163" y="334"/>
                  </a:lnTo>
                  <a:lnTo>
                    <a:pt x="163" y="332"/>
                  </a:lnTo>
                  <a:cubicBezTo>
                    <a:pt x="163" y="332"/>
                    <a:pt x="160" y="334"/>
                    <a:pt x="158" y="334"/>
                  </a:cubicBezTo>
                  <a:lnTo>
                    <a:pt x="152" y="337"/>
                  </a:lnTo>
                  <a:lnTo>
                    <a:pt x="149" y="326"/>
                  </a:lnTo>
                  <a:lnTo>
                    <a:pt x="152" y="323"/>
                  </a:lnTo>
                  <a:lnTo>
                    <a:pt x="155" y="318"/>
                  </a:lnTo>
                  <a:lnTo>
                    <a:pt x="152" y="318"/>
                  </a:lnTo>
                  <a:lnTo>
                    <a:pt x="149" y="318"/>
                  </a:lnTo>
                  <a:lnTo>
                    <a:pt x="146" y="318"/>
                  </a:lnTo>
                  <a:lnTo>
                    <a:pt x="146" y="320"/>
                  </a:lnTo>
                  <a:lnTo>
                    <a:pt x="144" y="323"/>
                  </a:lnTo>
                  <a:close/>
                  <a:moveTo>
                    <a:pt x="149" y="329"/>
                  </a:moveTo>
                  <a:lnTo>
                    <a:pt x="149" y="326"/>
                  </a:lnTo>
                  <a:lnTo>
                    <a:pt x="149" y="326"/>
                  </a:lnTo>
                  <a:cubicBezTo>
                    <a:pt x="149" y="327"/>
                    <a:pt x="149" y="328"/>
                    <a:pt x="149" y="329"/>
                  </a:cubicBezTo>
                  <a:close/>
                  <a:moveTo>
                    <a:pt x="169" y="363"/>
                  </a:moveTo>
                  <a:lnTo>
                    <a:pt x="166" y="357"/>
                  </a:lnTo>
                  <a:cubicBezTo>
                    <a:pt x="166" y="357"/>
                    <a:pt x="166" y="360"/>
                    <a:pt x="163" y="360"/>
                  </a:cubicBezTo>
                  <a:lnTo>
                    <a:pt x="160" y="363"/>
                  </a:lnTo>
                  <a:lnTo>
                    <a:pt x="169" y="363"/>
                  </a:lnTo>
                  <a:close/>
                  <a:moveTo>
                    <a:pt x="175" y="363"/>
                  </a:moveTo>
                  <a:lnTo>
                    <a:pt x="172" y="360"/>
                  </a:lnTo>
                  <a:lnTo>
                    <a:pt x="172" y="368"/>
                  </a:lnTo>
                  <a:lnTo>
                    <a:pt x="175" y="368"/>
                  </a:lnTo>
                  <a:lnTo>
                    <a:pt x="177" y="368"/>
                  </a:lnTo>
                  <a:lnTo>
                    <a:pt x="175" y="363"/>
                  </a:lnTo>
                  <a:close/>
                  <a:moveTo>
                    <a:pt x="172" y="385"/>
                  </a:moveTo>
                  <a:lnTo>
                    <a:pt x="175" y="385"/>
                  </a:lnTo>
                  <a:lnTo>
                    <a:pt x="175" y="382"/>
                  </a:lnTo>
                  <a:lnTo>
                    <a:pt x="172" y="385"/>
                  </a:lnTo>
                  <a:close/>
                  <a:moveTo>
                    <a:pt x="180" y="394"/>
                  </a:moveTo>
                  <a:lnTo>
                    <a:pt x="177" y="394"/>
                  </a:lnTo>
                  <a:lnTo>
                    <a:pt x="177" y="399"/>
                  </a:lnTo>
                  <a:lnTo>
                    <a:pt x="180" y="394"/>
                  </a:lnTo>
                  <a:close/>
                  <a:moveTo>
                    <a:pt x="186" y="405"/>
                  </a:moveTo>
                  <a:lnTo>
                    <a:pt x="183" y="405"/>
                  </a:lnTo>
                  <a:lnTo>
                    <a:pt x="183" y="411"/>
                  </a:lnTo>
                  <a:lnTo>
                    <a:pt x="186" y="411"/>
                  </a:lnTo>
                  <a:lnTo>
                    <a:pt x="186" y="405"/>
                  </a:lnTo>
                  <a:close/>
                  <a:moveTo>
                    <a:pt x="189" y="405"/>
                  </a:moveTo>
                  <a:lnTo>
                    <a:pt x="189" y="408"/>
                  </a:lnTo>
                  <a:lnTo>
                    <a:pt x="191" y="408"/>
                  </a:lnTo>
                  <a:cubicBezTo>
                    <a:pt x="191" y="408"/>
                    <a:pt x="191" y="405"/>
                    <a:pt x="189" y="405"/>
                  </a:cubicBezTo>
                  <a:close/>
                  <a:moveTo>
                    <a:pt x="200" y="428"/>
                  </a:moveTo>
                  <a:cubicBezTo>
                    <a:pt x="200" y="428"/>
                    <a:pt x="197" y="428"/>
                    <a:pt x="197" y="425"/>
                  </a:cubicBezTo>
                  <a:cubicBezTo>
                    <a:pt x="197" y="425"/>
                    <a:pt x="194" y="425"/>
                    <a:pt x="194" y="422"/>
                  </a:cubicBezTo>
                  <a:lnTo>
                    <a:pt x="194" y="428"/>
                  </a:lnTo>
                  <a:cubicBezTo>
                    <a:pt x="194" y="428"/>
                    <a:pt x="194" y="430"/>
                    <a:pt x="191" y="430"/>
                  </a:cubicBezTo>
                  <a:lnTo>
                    <a:pt x="194" y="430"/>
                  </a:lnTo>
                  <a:lnTo>
                    <a:pt x="197" y="428"/>
                  </a:lnTo>
                  <a:lnTo>
                    <a:pt x="200" y="428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3" name="Freeform 1458"/>
            <p:cNvSpPr>
              <a:spLocks noChangeArrowheads="1"/>
            </p:cNvSpPr>
            <p:nvPr/>
          </p:nvSpPr>
          <p:spPr bwMode="auto">
            <a:xfrm>
              <a:off x="4090988" y="2455863"/>
              <a:ext cx="77787" cy="179387"/>
            </a:xfrm>
            <a:custGeom>
              <a:avLst/>
              <a:gdLst>
                <a:gd name="T0" fmla="*/ 154 w 214"/>
                <a:gd name="T1" fmla="*/ 425 h 500"/>
                <a:gd name="T2" fmla="*/ 140 w 214"/>
                <a:gd name="T3" fmla="*/ 341 h 500"/>
                <a:gd name="T4" fmla="*/ 100 w 214"/>
                <a:gd name="T5" fmla="*/ 294 h 500"/>
                <a:gd name="T6" fmla="*/ 112 w 214"/>
                <a:gd name="T7" fmla="*/ 374 h 500"/>
                <a:gd name="T8" fmla="*/ 120 w 214"/>
                <a:gd name="T9" fmla="*/ 487 h 500"/>
                <a:gd name="T10" fmla="*/ 73 w 214"/>
                <a:gd name="T11" fmla="*/ 462 h 500"/>
                <a:gd name="T12" fmla="*/ 62 w 214"/>
                <a:gd name="T13" fmla="*/ 366 h 500"/>
                <a:gd name="T14" fmla="*/ 45 w 214"/>
                <a:gd name="T15" fmla="*/ 285 h 500"/>
                <a:gd name="T16" fmla="*/ 39 w 214"/>
                <a:gd name="T17" fmla="*/ 243 h 500"/>
                <a:gd name="T18" fmla="*/ 8 w 214"/>
                <a:gd name="T19" fmla="*/ 93 h 500"/>
                <a:gd name="T20" fmla="*/ 39 w 214"/>
                <a:gd name="T21" fmla="*/ 14 h 500"/>
                <a:gd name="T22" fmla="*/ 56 w 214"/>
                <a:gd name="T23" fmla="*/ 57 h 500"/>
                <a:gd name="T24" fmla="*/ 70 w 214"/>
                <a:gd name="T25" fmla="*/ 139 h 500"/>
                <a:gd name="T26" fmla="*/ 84 w 214"/>
                <a:gd name="T27" fmla="*/ 215 h 500"/>
                <a:gd name="T28" fmla="*/ 109 w 214"/>
                <a:gd name="T29" fmla="*/ 161 h 500"/>
                <a:gd name="T30" fmla="*/ 93 w 214"/>
                <a:gd name="T31" fmla="*/ 54 h 500"/>
                <a:gd name="T32" fmla="*/ 137 w 214"/>
                <a:gd name="T33" fmla="*/ 51 h 500"/>
                <a:gd name="T34" fmla="*/ 145 w 214"/>
                <a:gd name="T35" fmla="*/ 105 h 500"/>
                <a:gd name="T36" fmla="*/ 154 w 214"/>
                <a:gd name="T37" fmla="*/ 158 h 500"/>
                <a:gd name="T38" fmla="*/ 182 w 214"/>
                <a:gd name="T39" fmla="*/ 313 h 500"/>
                <a:gd name="T40" fmla="*/ 202 w 214"/>
                <a:gd name="T41" fmla="*/ 414 h 500"/>
                <a:gd name="T42" fmla="*/ 28 w 214"/>
                <a:gd name="T43" fmla="*/ 65 h 500"/>
                <a:gd name="T44" fmla="*/ 34 w 214"/>
                <a:gd name="T45" fmla="*/ 99 h 500"/>
                <a:gd name="T46" fmla="*/ 39 w 214"/>
                <a:gd name="T47" fmla="*/ 91 h 500"/>
                <a:gd name="T48" fmla="*/ 31 w 214"/>
                <a:gd name="T49" fmla="*/ 119 h 500"/>
                <a:gd name="T50" fmla="*/ 39 w 214"/>
                <a:gd name="T51" fmla="*/ 141 h 500"/>
                <a:gd name="T52" fmla="*/ 56 w 214"/>
                <a:gd name="T53" fmla="*/ 164 h 500"/>
                <a:gd name="T54" fmla="*/ 53 w 214"/>
                <a:gd name="T55" fmla="*/ 175 h 500"/>
                <a:gd name="T56" fmla="*/ 59 w 214"/>
                <a:gd name="T57" fmla="*/ 195 h 500"/>
                <a:gd name="T58" fmla="*/ 67 w 214"/>
                <a:gd name="T59" fmla="*/ 229 h 500"/>
                <a:gd name="T60" fmla="*/ 65 w 214"/>
                <a:gd name="T61" fmla="*/ 251 h 500"/>
                <a:gd name="T62" fmla="*/ 67 w 214"/>
                <a:gd name="T63" fmla="*/ 265 h 500"/>
                <a:gd name="T64" fmla="*/ 73 w 214"/>
                <a:gd name="T65" fmla="*/ 282 h 500"/>
                <a:gd name="T66" fmla="*/ 76 w 214"/>
                <a:gd name="T67" fmla="*/ 268 h 500"/>
                <a:gd name="T68" fmla="*/ 79 w 214"/>
                <a:gd name="T69" fmla="*/ 277 h 500"/>
                <a:gd name="T70" fmla="*/ 73 w 214"/>
                <a:gd name="T71" fmla="*/ 305 h 500"/>
                <a:gd name="T72" fmla="*/ 73 w 214"/>
                <a:gd name="T73" fmla="*/ 294 h 500"/>
                <a:gd name="T74" fmla="*/ 76 w 214"/>
                <a:gd name="T75" fmla="*/ 335 h 500"/>
                <a:gd name="T76" fmla="*/ 73 w 214"/>
                <a:gd name="T77" fmla="*/ 349 h 500"/>
                <a:gd name="T78" fmla="*/ 81 w 214"/>
                <a:gd name="T79" fmla="*/ 229 h 500"/>
                <a:gd name="T80" fmla="*/ 79 w 214"/>
                <a:gd name="T81" fmla="*/ 366 h 500"/>
                <a:gd name="T82" fmla="*/ 103 w 214"/>
                <a:gd name="T83" fmla="*/ 246 h 500"/>
                <a:gd name="T84" fmla="*/ 87 w 214"/>
                <a:gd name="T85" fmla="*/ 260 h 500"/>
                <a:gd name="T86" fmla="*/ 100 w 214"/>
                <a:gd name="T87" fmla="*/ 254 h 500"/>
                <a:gd name="T88" fmla="*/ 112 w 214"/>
                <a:gd name="T89" fmla="*/ 251 h 500"/>
                <a:gd name="T90" fmla="*/ 90 w 214"/>
                <a:gd name="T91" fmla="*/ 414 h 500"/>
                <a:gd name="T92" fmla="*/ 97 w 214"/>
                <a:gd name="T93" fmla="*/ 434 h 500"/>
                <a:gd name="T94" fmla="*/ 137 w 214"/>
                <a:gd name="T95" fmla="*/ 257 h 500"/>
                <a:gd name="T96" fmla="*/ 120 w 214"/>
                <a:gd name="T97" fmla="*/ 249 h 500"/>
                <a:gd name="T98" fmla="*/ 131 w 214"/>
                <a:gd name="T99" fmla="*/ 232 h 500"/>
                <a:gd name="T100" fmla="*/ 134 w 214"/>
                <a:gd name="T101" fmla="*/ 124 h 500"/>
                <a:gd name="T102" fmla="*/ 143 w 214"/>
                <a:gd name="T103" fmla="*/ 257 h 500"/>
                <a:gd name="T104" fmla="*/ 140 w 214"/>
                <a:gd name="T105" fmla="*/ 263 h 500"/>
                <a:gd name="T106" fmla="*/ 148 w 214"/>
                <a:gd name="T107" fmla="*/ 234 h 500"/>
                <a:gd name="T108" fmla="*/ 143 w 214"/>
                <a:gd name="T109" fmla="*/ 189 h 500"/>
                <a:gd name="T110" fmla="*/ 159 w 214"/>
                <a:gd name="T111" fmla="*/ 274 h 500"/>
                <a:gd name="T112" fmla="*/ 168 w 214"/>
                <a:gd name="T113" fmla="*/ 360 h 500"/>
                <a:gd name="T114" fmla="*/ 182 w 214"/>
                <a:gd name="T115" fmla="*/ 389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4" h="500">
                  <a:moveTo>
                    <a:pt x="213" y="459"/>
                  </a:moveTo>
                  <a:lnTo>
                    <a:pt x="213" y="465"/>
                  </a:lnTo>
                  <a:cubicBezTo>
                    <a:pt x="213" y="468"/>
                    <a:pt x="210" y="470"/>
                    <a:pt x="207" y="470"/>
                  </a:cubicBezTo>
                  <a:cubicBezTo>
                    <a:pt x="205" y="473"/>
                    <a:pt x="202" y="473"/>
                    <a:pt x="199" y="476"/>
                  </a:cubicBezTo>
                  <a:cubicBezTo>
                    <a:pt x="196" y="476"/>
                    <a:pt x="193" y="479"/>
                    <a:pt x="191" y="479"/>
                  </a:cubicBezTo>
                  <a:cubicBezTo>
                    <a:pt x="188" y="479"/>
                    <a:pt x="185" y="482"/>
                    <a:pt x="182" y="484"/>
                  </a:cubicBezTo>
                  <a:cubicBezTo>
                    <a:pt x="176" y="484"/>
                    <a:pt x="168" y="479"/>
                    <a:pt x="162" y="476"/>
                  </a:cubicBezTo>
                  <a:cubicBezTo>
                    <a:pt x="159" y="473"/>
                    <a:pt x="157" y="470"/>
                    <a:pt x="157" y="468"/>
                  </a:cubicBezTo>
                  <a:lnTo>
                    <a:pt x="157" y="445"/>
                  </a:lnTo>
                  <a:cubicBezTo>
                    <a:pt x="154" y="439"/>
                    <a:pt x="154" y="434"/>
                    <a:pt x="154" y="425"/>
                  </a:cubicBezTo>
                  <a:lnTo>
                    <a:pt x="154" y="420"/>
                  </a:lnTo>
                  <a:lnTo>
                    <a:pt x="154" y="414"/>
                  </a:lnTo>
                  <a:lnTo>
                    <a:pt x="151" y="400"/>
                  </a:lnTo>
                  <a:cubicBezTo>
                    <a:pt x="151" y="400"/>
                    <a:pt x="151" y="397"/>
                    <a:pt x="154" y="397"/>
                  </a:cubicBezTo>
                  <a:cubicBezTo>
                    <a:pt x="151" y="391"/>
                    <a:pt x="148" y="386"/>
                    <a:pt x="148" y="380"/>
                  </a:cubicBezTo>
                  <a:cubicBezTo>
                    <a:pt x="148" y="374"/>
                    <a:pt x="148" y="369"/>
                    <a:pt x="145" y="363"/>
                  </a:cubicBezTo>
                  <a:lnTo>
                    <a:pt x="145" y="360"/>
                  </a:lnTo>
                  <a:lnTo>
                    <a:pt x="145" y="358"/>
                  </a:lnTo>
                  <a:cubicBezTo>
                    <a:pt x="143" y="355"/>
                    <a:pt x="143" y="352"/>
                    <a:pt x="140" y="349"/>
                  </a:cubicBezTo>
                  <a:lnTo>
                    <a:pt x="140" y="341"/>
                  </a:lnTo>
                  <a:lnTo>
                    <a:pt x="140" y="332"/>
                  </a:lnTo>
                  <a:lnTo>
                    <a:pt x="140" y="325"/>
                  </a:lnTo>
                  <a:cubicBezTo>
                    <a:pt x="140" y="316"/>
                    <a:pt x="137" y="311"/>
                    <a:pt x="137" y="302"/>
                  </a:cubicBezTo>
                  <a:cubicBezTo>
                    <a:pt x="137" y="299"/>
                    <a:pt x="134" y="294"/>
                    <a:pt x="134" y="291"/>
                  </a:cubicBezTo>
                  <a:lnTo>
                    <a:pt x="134" y="288"/>
                  </a:lnTo>
                  <a:cubicBezTo>
                    <a:pt x="134" y="285"/>
                    <a:pt x="128" y="282"/>
                    <a:pt x="120" y="277"/>
                  </a:cubicBezTo>
                  <a:lnTo>
                    <a:pt x="103" y="280"/>
                  </a:lnTo>
                  <a:lnTo>
                    <a:pt x="100" y="285"/>
                  </a:lnTo>
                  <a:lnTo>
                    <a:pt x="100" y="291"/>
                  </a:lnTo>
                  <a:lnTo>
                    <a:pt x="100" y="294"/>
                  </a:lnTo>
                  <a:cubicBezTo>
                    <a:pt x="103" y="296"/>
                    <a:pt x="103" y="296"/>
                    <a:pt x="100" y="299"/>
                  </a:cubicBezTo>
                  <a:cubicBezTo>
                    <a:pt x="97" y="302"/>
                    <a:pt x="97" y="302"/>
                    <a:pt x="100" y="305"/>
                  </a:cubicBezTo>
                  <a:lnTo>
                    <a:pt x="100" y="311"/>
                  </a:lnTo>
                  <a:lnTo>
                    <a:pt x="100" y="319"/>
                  </a:lnTo>
                  <a:cubicBezTo>
                    <a:pt x="103" y="322"/>
                    <a:pt x="103" y="328"/>
                    <a:pt x="103" y="329"/>
                  </a:cubicBezTo>
                  <a:lnTo>
                    <a:pt x="103" y="343"/>
                  </a:lnTo>
                  <a:cubicBezTo>
                    <a:pt x="106" y="346"/>
                    <a:pt x="106" y="352"/>
                    <a:pt x="109" y="358"/>
                  </a:cubicBezTo>
                  <a:lnTo>
                    <a:pt x="109" y="372"/>
                  </a:lnTo>
                  <a:lnTo>
                    <a:pt x="112" y="372"/>
                  </a:lnTo>
                  <a:lnTo>
                    <a:pt x="112" y="374"/>
                  </a:lnTo>
                  <a:lnTo>
                    <a:pt x="112" y="377"/>
                  </a:lnTo>
                  <a:lnTo>
                    <a:pt x="112" y="380"/>
                  </a:lnTo>
                  <a:cubicBezTo>
                    <a:pt x="109" y="383"/>
                    <a:pt x="109" y="386"/>
                    <a:pt x="112" y="389"/>
                  </a:cubicBezTo>
                  <a:cubicBezTo>
                    <a:pt x="114" y="391"/>
                    <a:pt x="114" y="394"/>
                    <a:pt x="114" y="397"/>
                  </a:cubicBezTo>
                  <a:cubicBezTo>
                    <a:pt x="114" y="400"/>
                    <a:pt x="114" y="403"/>
                    <a:pt x="117" y="408"/>
                  </a:cubicBezTo>
                  <a:lnTo>
                    <a:pt x="117" y="414"/>
                  </a:lnTo>
                  <a:cubicBezTo>
                    <a:pt x="117" y="422"/>
                    <a:pt x="120" y="434"/>
                    <a:pt x="120" y="442"/>
                  </a:cubicBezTo>
                  <a:lnTo>
                    <a:pt x="123" y="470"/>
                  </a:lnTo>
                  <a:lnTo>
                    <a:pt x="123" y="482"/>
                  </a:lnTo>
                  <a:cubicBezTo>
                    <a:pt x="123" y="484"/>
                    <a:pt x="120" y="484"/>
                    <a:pt x="120" y="487"/>
                  </a:cubicBezTo>
                  <a:cubicBezTo>
                    <a:pt x="117" y="487"/>
                    <a:pt x="114" y="487"/>
                    <a:pt x="114" y="490"/>
                  </a:cubicBezTo>
                  <a:cubicBezTo>
                    <a:pt x="112" y="490"/>
                    <a:pt x="112" y="493"/>
                    <a:pt x="109" y="493"/>
                  </a:cubicBezTo>
                  <a:cubicBezTo>
                    <a:pt x="106" y="493"/>
                    <a:pt x="103" y="493"/>
                    <a:pt x="103" y="496"/>
                  </a:cubicBezTo>
                  <a:cubicBezTo>
                    <a:pt x="100" y="499"/>
                    <a:pt x="96" y="499"/>
                    <a:pt x="93" y="493"/>
                  </a:cubicBezTo>
                  <a:lnTo>
                    <a:pt x="87" y="490"/>
                  </a:lnTo>
                  <a:cubicBezTo>
                    <a:pt x="84" y="490"/>
                    <a:pt x="84" y="487"/>
                    <a:pt x="81" y="487"/>
                  </a:cubicBezTo>
                  <a:lnTo>
                    <a:pt x="81" y="479"/>
                  </a:lnTo>
                  <a:cubicBezTo>
                    <a:pt x="81" y="476"/>
                    <a:pt x="81" y="476"/>
                    <a:pt x="79" y="473"/>
                  </a:cubicBezTo>
                  <a:cubicBezTo>
                    <a:pt x="76" y="473"/>
                    <a:pt x="76" y="471"/>
                    <a:pt x="76" y="468"/>
                  </a:cubicBezTo>
                  <a:cubicBezTo>
                    <a:pt x="76" y="466"/>
                    <a:pt x="76" y="465"/>
                    <a:pt x="73" y="462"/>
                  </a:cubicBezTo>
                  <a:cubicBezTo>
                    <a:pt x="73" y="462"/>
                    <a:pt x="70" y="459"/>
                    <a:pt x="73" y="459"/>
                  </a:cubicBezTo>
                  <a:lnTo>
                    <a:pt x="73" y="442"/>
                  </a:lnTo>
                  <a:cubicBezTo>
                    <a:pt x="70" y="437"/>
                    <a:pt x="70" y="431"/>
                    <a:pt x="70" y="425"/>
                  </a:cubicBezTo>
                  <a:lnTo>
                    <a:pt x="70" y="422"/>
                  </a:lnTo>
                  <a:lnTo>
                    <a:pt x="70" y="420"/>
                  </a:lnTo>
                  <a:cubicBezTo>
                    <a:pt x="67" y="417"/>
                    <a:pt x="67" y="414"/>
                    <a:pt x="67" y="411"/>
                  </a:cubicBezTo>
                  <a:cubicBezTo>
                    <a:pt x="67" y="408"/>
                    <a:pt x="65" y="408"/>
                    <a:pt x="65" y="405"/>
                  </a:cubicBezTo>
                  <a:cubicBezTo>
                    <a:pt x="62" y="403"/>
                    <a:pt x="62" y="400"/>
                    <a:pt x="65" y="400"/>
                  </a:cubicBezTo>
                  <a:cubicBezTo>
                    <a:pt x="67" y="394"/>
                    <a:pt x="67" y="389"/>
                    <a:pt x="65" y="383"/>
                  </a:cubicBezTo>
                  <a:cubicBezTo>
                    <a:pt x="62" y="377"/>
                    <a:pt x="62" y="372"/>
                    <a:pt x="62" y="366"/>
                  </a:cubicBezTo>
                  <a:cubicBezTo>
                    <a:pt x="62" y="363"/>
                    <a:pt x="62" y="363"/>
                    <a:pt x="59" y="360"/>
                  </a:cubicBezTo>
                  <a:lnTo>
                    <a:pt x="56" y="358"/>
                  </a:lnTo>
                  <a:lnTo>
                    <a:pt x="56" y="352"/>
                  </a:lnTo>
                  <a:lnTo>
                    <a:pt x="56" y="341"/>
                  </a:lnTo>
                  <a:lnTo>
                    <a:pt x="56" y="335"/>
                  </a:lnTo>
                  <a:lnTo>
                    <a:pt x="56" y="329"/>
                  </a:lnTo>
                  <a:cubicBezTo>
                    <a:pt x="53" y="327"/>
                    <a:pt x="53" y="325"/>
                    <a:pt x="53" y="319"/>
                  </a:cubicBezTo>
                  <a:cubicBezTo>
                    <a:pt x="53" y="316"/>
                    <a:pt x="53" y="313"/>
                    <a:pt x="50" y="308"/>
                  </a:cubicBezTo>
                  <a:cubicBezTo>
                    <a:pt x="50" y="305"/>
                    <a:pt x="48" y="298"/>
                    <a:pt x="48" y="296"/>
                  </a:cubicBezTo>
                  <a:cubicBezTo>
                    <a:pt x="48" y="293"/>
                    <a:pt x="48" y="288"/>
                    <a:pt x="45" y="285"/>
                  </a:cubicBezTo>
                  <a:lnTo>
                    <a:pt x="45" y="282"/>
                  </a:lnTo>
                  <a:cubicBezTo>
                    <a:pt x="45" y="282"/>
                    <a:pt x="48" y="280"/>
                    <a:pt x="45" y="277"/>
                  </a:cubicBezTo>
                  <a:lnTo>
                    <a:pt x="45" y="274"/>
                  </a:lnTo>
                  <a:cubicBezTo>
                    <a:pt x="48" y="271"/>
                    <a:pt x="48" y="271"/>
                    <a:pt x="45" y="271"/>
                  </a:cubicBezTo>
                  <a:cubicBezTo>
                    <a:pt x="42" y="271"/>
                    <a:pt x="42" y="268"/>
                    <a:pt x="42" y="268"/>
                  </a:cubicBezTo>
                  <a:lnTo>
                    <a:pt x="42" y="263"/>
                  </a:lnTo>
                  <a:lnTo>
                    <a:pt x="42" y="257"/>
                  </a:lnTo>
                  <a:lnTo>
                    <a:pt x="42" y="254"/>
                  </a:lnTo>
                  <a:cubicBezTo>
                    <a:pt x="39" y="254"/>
                    <a:pt x="39" y="251"/>
                    <a:pt x="39" y="249"/>
                  </a:cubicBezTo>
                  <a:lnTo>
                    <a:pt x="39" y="243"/>
                  </a:lnTo>
                  <a:cubicBezTo>
                    <a:pt x="39" y="237"/>
                    <a:pt x="36" y="232"/>
                    <a:pt x="34" y="226"/>
                  </a:cubicBezTo>
                  <a:cubicBezTo>
                    <a:pt x="31" y="220"/>
                    <a:pt x="28" y="215"/>
                    <a:pt x="28" y="209"/>
                  </a:cubicBezTo>
                  <a:lnTo>
                    <a:pt x="28" y="206"/>
                  </a:lnTo>
                  <a:lnTo>
                    <a:pt x="25" y="203"/>
                  </a:lnTo>
                  <a:lnTo>
                    <a:pt x="25" y="189"/>
                  </a:lnTo>
                  <a:lnTo>
                    <a:pt x="25" y="178"/>
                  </a:lnTo>
                  <a:cubicBezTo>
                    <a:pt x="25" y="175"/>
                    <a:pt x="22" y="170"/>
                    <a:pt x="22" y="167"/>
                  </a:cubicBezTo>
                  <a:cubicBezTo>
                    <a:pt x="14" y="150"/>
                    <a:pt x="11" y="136"/>
                    <a:pt x="11" y="119"/>
                  </a:cubicBezTo>
                  <a:cubicBezTo>
                    <a:pt x="11" y="110"/>
                    <a:pt x="11" y="105"/>
                    <a:pt x="8" y="96"/>
                  </a:cubicBezTo>
                  <a:lnTo>
                    <a:pt x="8" y="93"/>
                  </a:lnTo>
                  <a:lnTo>
                    <a:pt x="0" y="43"/>
                  </a:lnTo>
                  <a:lnTo>
                    <a:pt x="0" y="40"/>
                  </a:lnTo>
                  <a:lnTo>
                    <a:pt x="0" y="37"/>
                  </a:lnTo>
                  <a:lnTo>
                    <a:pt x="0" y="34"/>
                  </a:lnTo>
                  <a:lnTo>
                    <a:pt x="0" y="31"/>
                  </a:lnTo>
                  <a:cubicBezTo>
                    <a:pt x="0" y="20"/>
                    <a:pt x="8" y="17"/>
                    <a:pt x="17" y="17"/>
                  </a:cubicBezTo>
                  <a:cubicBezTo>
                    <a:pt x="19" y="17"/>
                    <a:pt x="25" y="17"/>
                    <a:pt x="28" y="14"/>
                  </a:cubicBezTo>
                  <a:cubicBezTo>
                    <a:pt x="28" y="14"/>
                    <a:pt x="31" y="12"/>
                    <a:pt x="31" y="14"/>
                  </a:cubicBezTo>
                  <a:lnTo>
                    <a:pt x="34" y="14"/>
                  </a:lnTo>
                  <a:lnTo>
                    <a:pt x="39" y="14"/>
                  </a:lnTo>
                  <a:cubicBezTo>
                    <a:pt x="42" y="14"/>
                    <a:pt x="45" y="14"/>
                    <a:pt x="48" y="17"/>
                  </a:cubicBezTo>
                  <a:cubicBezTo>
                    <a:pt x="50" y="17"/>
                    <a:pt x="50" y="20"/>
                    <a:pt x="53" y="20"/>
                  </a:cubicBezTo>
                  <a:lnTo>
                    <a:pt x="53" y="26"/>
                  </a:lnTo>
                  <a:lnTo>
                    <a:pt x="53" y="34"/>
                  </a:lnTo>
                  <a:cubicBezTo>
                    <a:pt x="53" y="37"/>
                    <a:pt x="53" y="37"/>
                    <a:pt x="56" y="37"/>
                  </a:cubicBezTo>
                  <a:lnTo>
                    <a:pt x="56" y="40"/>
                  </a:lnTo>
                  <a:cubicBezTo>
                    <a:pt x="53" y="43"/>
                    <a:pt x="53" y="43"/>
                    <a:pt x="56" y="45"/>
                  </a:cubicBezTo>
                  <a:cubicBezTo>
                    <a:pt x="59" y="45"/>
                    <a:pt x="59" y="48"/>
                    <a:pt x="56" y="48"/>
                  </a:cubicBezTo>
                  <a:lnTo>
                    <a:pt x="56" y="51"/>
                  </a:lnTo>
                  <a:lnTo>
                    <a:pt x="56" y="57"/>
                  </a:lnTo>
                  <a:lnTo>
                    <a:pt x="56" y="60"/>
                  </a:lnTo>
                  <a:lnTo>
                    <a:pt x="56" y="65"/>
                  </a:lnTo>
                  <a:lnTo>
                    <a:pt x="56" y="68"/>
                  </a:lnTo>
                  <a:cubicBezTo>
                    <a:pt x="56" y="68"/>
                    <a:pt x="56" y="71"/>
                    <a:pt x="59" y="71"/>
                  </a:cubicBezTo>
                  <a:cubicBezTo>
                    <a:pt x="62" y="74"/>
                    <a:pt x="62" y="79"/>
                    <a:pt x="62" y="85"/>
                  </a:cubicBezTo>
                  <a:lnTo>
                    <a:pt x="62" y="88"/>
                  </a:lnTo>
                  <a:lnTo>
                    <a:pt x="62" y="93"/>
                  </a:lnTo>
                  <a:cubicBezTo>
                    <a:pt x="62" y="99"/>
                    <a:pt x="65" y="104"/>
                    <a:pt x="65" y="110"/>
                  </a:cubicBezTo>
                  <a:cubicBezTo>
                    <a:pt x="65" y="115"/>
                    <a:pt x="67" y="122"/>
                    <a:pt x="67" y="127"/>
                  </a:cubicBezTo>
                  <a:cubicBezTo>
                    <a:pt x="67" y="130"/>
                    <a:pt x="70" y="136"/>
                    <a:pt x="70" y="139"/>
                  </a:cubicBezTo>
                  <a:cubicBezTo>
                    <a:pt x="70" y="141"/>
                    <a:pt x="73" y="147"/>
                    <a:pt x="73" y="150"/>
                  </a:cubicBezTo>
                  <a:lnTo>
                    <a:pt x="73" y="155"/>
                  </a:lnTo>
                  <a:cubicBezTo>
                    <a:pt x="73" y="158"/>
                    <a:pt x="73" y="161"/>
                    <a:pt x="76" y="161"/>
                  </a:cubicBezTo>
                  <a:lnTo>
                    <a:pt x="79" y="164"/>
                  </a:lnTo>
                  <a:lnTo>
                    <a:pt x="79" y="170"/>
                  </a:lnTo>
                  <a:cubicBezTo>
                    <a:pt x="76" y="172"/>
                    <a:pt x="76" y="175"/>
                    <a:pt x="79" y="178"/>
                  </a:cubicBezTo>
                  <a:lnTo>
                    <a:pt x="79" y="186"/>
                  </a:lnTo>
                  <a:cubicBezTo>
                    <a:pt x="76" y="189"/>
                    <a:pt x="79" y="192"/>
                    <a:pt x="79" y="192"/>
                  </a:cubicBezTo>
                  <a:cubicBezTo>
                    <a:pt x="81" y="195"/>
                    <a:pt x="81" y="198"/>
                    <a:pt x="81" y="203"/>
                  </a:cubicBezTo>
                  <a:cubicBezTo>
                    <a:pt x="81" y="206"/>
                    <a:pt x="81" y="212"/>
                    <a:pt x="84" y="215"/>
                  </a:cubicBezTo>
                  <a:lnTo>
                    <a:pt x="84" y="217"/>
                  </a:lnTo>
                  <a:lnTo>
                    <a:pt x="84" y="220"/>
                  </a:lnTo>
                  <a:cubicBezTo>
                    <a:pt x="93" y="226"/>
                    <a:pt x="100" y="226"/>
                    <a:pt x="109" y="223"/>
                  </a:cubicBezTo>
                  <a:lnTo>
                    <a:pt x="112" y="220"/>
                  </a:lnTo>
                  <a:lnTo>
                    <a:pt x="114" y="217"/>
                  </a:lnTo>
                  <a:lnTo>
                    <a:pt x="114" y="209"/>
                  </a:lnTo>
                  <a:lnTo>
                    <a:pt x="114" y="201"/>
                  </a:lnTo>
                  <a:lnTo>
                    <a:pt x="114" y="192"/>
                  </a:lnTo>
                  <a:lnTo>
                    <a:pt x="114" y="184"/>
                  </a:lnTo>
                  <a:cubicBezTo>
                    <a:pt x="109" y="178"/>
                    <a:pt x="109" y="170"/>
                    <a:pt x="109" y="161"/>
                  </a:cubicBezTo>
                  <a:cubicBezTo>
                    <a:pt x="106" y="158"/>
                    <a:pt x="103" y="153"/>
                    <a:pt x="106" y="150"/>
                  </a:cubicBezTo>
                  <a:lnTo>
                    <a:pt x="106" y="139"/>
                  </a:lnTo>
                  <a:cubicBezTo>
                    <a:pt x="103" y="133"/>
                    <a:pt x="103" y="127"/>
                    <a:pt x="103" y="122"/>
                  </a:cubicBezTo>
                  <a:lnTo>
                    <a:pt x="103" y="105"/>
                  </a:lnTo>
                  <a:cubicBezTo>
                    <a:pt x="103" y="102"/>
                    <a:pt x="103" y="99"/>
                    <a:pt x="100" y="96"/>
                  </a:cubicBezTo>
                  <a:cubicBezTo>
                    <a:pt x="100" y="93"/>
                    <a:pt x="97" y="91"/>
                    <a:pt x="97" y="88"/>
                  </a:cubicBezTo>
                  <a:cubicBezTo>
                    <a:pt x="96" y="82"/>
                    <a:pt x="96" y="76"/>
                    <a:pt x="96" y="74"/>
                  </a:cubicBezTo>
                  <a:lnTo>
                    <a:pt x="96" y="71"/>
                  </a:lnTo>
                  <a:lnTo>
                    <a:pt x="96" y="65"/>
                  </a:lnTo>
                  <a:cubicBezTo>
                    <a:pt x="97" y="62"/>
                    <a:pt x="96" y="57"/>
                    <a:pt x="93" y="54"/>
                  </a:cubicBezTo>
                  <a:cubicBezTo>
                    <a:pt x="90" y="48"/>
                    <a:pt x="90" y="43"/>
                    <a:pt x="90" y="34"/>
                  </a:cubicBezTo>
                  <a:cubicBezTo>
                    <a:pt x="90" y="28"/>
                    <a:pt x="90" y="23"/>
                    <a:pt x="84" y="17"/>
                  </a:cubicBezTo>
                  <a:cubicBezTo>
                    <a:pt x="87" y="9"/>
                    <a:pt x="93" y="6"/>
                    <a:pt x="100" y="3"/>
                  </a:cubicBezTo>
                  <a:cubicBezTo>
                    <a:pt x="109" y="0"/>
                    <a:pt x="117" y="0"/>
                    <a:pt x="123" y="3"/>
                  </a:cubicBezTo>
                  <a:cubicBezTo>
                    <a:pt x="123" y="6"/>
                    <a:pt x="126" y="9"/>
                    <a:pt x="128" y="9"/>
                  </a:cubicBezTo>
                  <a:cubicBezTo>
                    <a:pt x="131" y="12"/>
                    <a:pt x="131" y="14"/>
                    <a:pt x="128" y="17"/>
                  </a:cubicBezTo>
                  <a:lnTo>
                    <a:pt x="128" y="23"/>
                  </a:lnTo>
                  <a:cubicBezTo>
                    <a:pt x="128" y="26"/>
                    <a:pt x="128" y="25"/>
                    <a:pt x="131" y="28"/>
                  </a:cubicBezTo>
                  <a:cubicBezTo>
                    <a:pt x="135" y="30"/>
                    <a:pt x="134" y="34"/>
                    <a:pt x="134" y="40"/>
                  </a:cubicBezTo>
                  <a:cubicBezTo>
                    <a:pt x="134" y="43"/>
                    <a:pt x="134" y="48"/>
                    <a:pt x="137" y="51"/>
                  </a:cubicBezTo>
                  <a:lnTo>
                    <a:pt x="137" y="54"/>
                  </a:lnTo>
                  <a:lnTo>
                    <a:pt x="137" y="57"/>
                  </a:lnTo>
                  <a:cubicBezTo>
                    <a:pt x="137" y="60"/>
                    <a:pt x="137" y="60"/>
                    <a:pt x="140" y="62"/>
                  </a:cubicBezTo>
                  <a:lnTo>
                    <a:pt x="140" y="68"/>
                  </a:lnTo>
                  <a:cubicBezTo>
                    <a:pt x="137" y="71"/>
                    <a:pt x="137" y="74"/>
                    <a:pt x="140" y="76"/>
                  </a:cubicBezTo>
                  <a:cubicBezTo>
                    <a:pt x="140" y="79"/>
                    <a:pt x="143" y="82"/>
                    <a:pt x="143" y="85"/>
                  </a:cubicBezTo>
                  <a:lnTo>
                    <a:pt x="143" y="88"/>
                  </a:lnTo>
                  <a:cubicBezTo>
                    <a:pt x="143" y="91"/>
                    <a:pt x="143" y="91"/>
                    <a:pt x="145" y="91"/>
                  </a:cubicBezTo>
                  <a:lnTo>
                    <a:pt x="145" y="96"/>
                  </a:lnTo>
                  <a:lnTo>
                    <a:pt x="145" y="105"/>
                  </a:lnTo>
                  <a:cubicBezTo>
                    <a:pt x="145" y="107"/>
                    <a:pt x="148" y="110"/>
                    <a:pt x="148" y="116"/>
                  </a:cubicBezTo>
                  <a:lnTo>
                    <a:pt x="148" y="119"/>
                  </a:lnTo>
                  <a:lnTo>
                    <a:pt x="148" y="122"/>
                  </a:lnTo>
                  <a:lnTo>
                    <a:pt x="148" y="127"/>
                  </a:lnTo>
                  <a:cubicBezTo>
                    <a:pt x="148" y="130"/>
                    <a:pt x="148" y="130"/>
                    <a:pt x="151" y="133"/>
                  </a:cubicBezTo>
                  <a:lnTo>
                    <a:pt x="154" y="136"/>
                  </a:lnTo>
                  <a:lnTo>
                    <a:pt x="154" y="141"/>
                  </a:lnTo>
                  <a:lnTo>
                    <a:pt x="154" y="147"/>
                  </a:lnTo>
                  <a:lnTo>
                    <a:pt x="154" y="153"/>
                  </a:lnTo>
                  <a:lnTo>
                    <a:pt x="154" y="158"/>
                  </a:lnTo>
                  <a:lnTo>
                    <a:pt x="157" y="161"/>
                  </a:lnTo>
                  <a:lnTo>
                    <a:pt x="157" y="170"/>
                  </a:lnTo>
                  <a:lnTo>
                    <a:pt x="157" y="178"/>
                  </a:lnTo>
                  <a:cubicBezTo>
                    <a:pt x="157" y="189"/>
                    <a:pt x="159" y="203"/>
                    <a:pt x="162" y="215"/>
                  </a:cubicBezTo>
                  <a:cubicBezTo>
                    <a:pt x="162" y="217"/>
                    <a:pt x="162" y="220"/>
                    <a:pt x="165" y="220"/>
                  </a:cubicBezTo>
                  <a:cubicBezTo>
                    <a:pt x="168" y="226"/>
                    <a:pt x="168" y="229"/>
                    <a:pt x="165" y="234"/>
                  </a:cubicBezTo>
                  <a:cubicBezTo>
                    <a:pt x="171" y="243"/>
                    <a:pt x="171" y="251"/>
                    <a:pt x="171" y="257"/>
                  </a:cubicBezTo>
                  <a:cubicBezTo>
                    <a:pt x="171" y="263"/>
                    <a:pt x="171" y="268"/>
                    <a:pt x="174" y="274"/>
                  </a:cubicBezTo>
                  <a:cubicBezTo>
                    <a:pt x="176" y="277"/>
                    <a:pt x="176" y="280"/>
                    <a:pt x="176" y="282"/>
                  </a:cubicBezTo>
                  <a:cubicBezTo>
                    <a:pt x="179" y="294"/>
                    <a:pt x="182" y="305"/>
                    <a:pt x="182" y="313"/>
                  </a:cubicBezTo>
                  <a:lnTo>
                    <a:pt x="182" y="322"/>
                  </a:lnTo>
                  <a:cubicBezTo>
                    <a:pt x="182" y="328"/>
                    <a:pt x="182" y="335"/>
                    <a:pt x="188" y="341"/>
                  </a:cubicBezTo>
                  <a:cubicBezTo>
                    <a:pt x="191" y="346"/>
                    <a:pt x="191" y="352"/>
                    <a:pt x="188" y="355"/>
                  </a:cubicBezTo>
                  <a:lnTo>
                    <a:pt x="188" y="363"/>
                  </a:lnTo>
                  <a:lnTo>
                    <a:pt x="191" y="374"/>
                  </a:lnTo>
                  <a:cubicBezTo>
                    <a:pt x="193" y="374"/>
                    <a:pt x="196" y="374"/>
                    <a:pt x="193" y="377"/>
                  </a:cubicBezTo>
                  <a:lnTo>
                    <a:pt x="193" y="383"/>
                  </a:lnTo>
                  <a:cubicBezTo>
                    <a:pt x="196" y="386"/>
                    <a:pt x="196" y="389"/>
                    <a:pt x="199" y="391"/>
                  </a:cubicBezTo>
                  <a:cubicBezTo>
                    <a:pt x="199" y="394"/>
                    <a:pt x="199" y="397"/>
                    <a:pt x="202" y="403"/>
                  </a:cubicBezTo>
                  <a:lnTo>
                    <a:pt x="202" y="414"/>
                  </a:lnTo>
                  <a:lnTo>
                    <a:pt x="202" y="420"/>
                  </a:lnTo>
                  <a:cubicBezTo>
                    <a:pt x="202" y="422"/>
                    <a:pt x="202" y="422"/>
                    <a:pt x="199" y="425"/>
                  </a:cubicBezTo>
                  <a:lnTo>
                    <a:pt x="199" y="428"/>
                  </a:lnTo>
                  <a:cubicBezTo>
                    <a:pt x="202" y="434"/>
                    <a:pt x="202" y="437"/>
                    <a:pt x="205" y="442"/>
                  </a:cubicBezTo>
                  <a:cubicBezTo>
                    <a:pt x="205" y="445"/>
                    <a:pt x="207" y="445"/>
                    <a:pt x="207" y="448"/>
                  </a:cubicBezTo>
                  <a:cubicBezTo>
                    <a:pt x="210" y="453"/>
                    <a:pt x="213" y="456"/>
                    <a:pt x="213" y="459"/>
                  </a:cubicBezTo>
                  <a:close/>
                  <a:moveTo>
                    <a:pt x="22" y="68"/>
                  </a:moveTo>
                  <a:lnTo>
                    <a:pt x="25" y="71"/>
                  </a:lnTo>
                  <a:lnTo>
                    <a:pt x="28" y="74"/>
                  </a:lnTo>
                  <a:lnTo>
                    <a:pt x="28" y="65"/>
                  </a:lnTo>
                  <a:cubicBezTo>
                    <a:pt x="28" y="68"/>
                    <a:pt x="25" y="68"/>
                    <a:pt x="22" y="68"/>
                  </a:cubicBezTo>
                  <a:close/>
                  <a:moveTo>
                    <a:pt x="25" y="60"/>
                  </a:moveTo>
                  <a:cubicBezTo>
                    <a:pt x="28" y="60"/>
                    <a:pt x="28" y="62"/>
                    <a:pt x="28" y="62"/>
                  </a:cubicBezTo>
                  <a:cubicBezTo>
                    <a:pt x="28" y="60"/>
                    <a:pt x="28" y="60"/>
                    <a:pt x="31" y="57"/>
                  </a:cubicBezTo>
                  <a:lnTo>
                    <a:pt x="28" y="54"/>
                  </a:lnTo>
                  <a:cubicBezTo>
                    <a:pt x="28" y="54"/>
                    <a:pt x="25" y="54"/>
                    <a:pt x="25" y="51"/>
                  </a:cubicBezTo>
                  <a:lnTo>
                    <a:pt x="25" y="60"/>
                  </a:lnTo>
                  <a:close/>
                  <a:moveTo>
                    <a:pt x="28" y="105"/>
                  </a:moveTo>
                  <a:lnTo>
                    <a:pt x="31" y="102"/>
                  </a:lnTo>
                  <a:lnTo>
                    <a:pt x="34" y="99"/>
                  </a:lnTo>
                  <a:lnTo>
                    <a:pt x="36" y="96"/>
                  </a:lnTo>
                  <a:cubicBezTo>
                    <a:pt x="28" y="96"/>
                    <a:pt x="28" y="99"/>
                    <a:pt x="28" y="105"/>
                  </a:cubicBezTo>
                  <a:close/>
                  <a:moveTo>
                    <a:pt x="39" y="76"/>
                  </a:moveTo>
                  <a:cubicBezTo>
                    <a:pt x="36" y="76"/>
                    <a:pt x="31" y="76"/>
                    <a:pt x="31" y="82"/>
                  </a:cubicBezTo>
                  <a:lnTo>
                    <a:pt x="34" y="85"/>
                  </a:lnTo>
                  <a:cubicBezTo>
                    <a:pt x="34" y="85"/>
                    <a:pt x="34" y="88"/>
                    <a:pt x="36" y="88"/>
                  </a:cubicBezTo>
                  <a:cubicBezTo>
                    <a:pt x="36" y="88"/>
                    <a:pt x="39" y="88"/>
                    <a:pt x="39" y="91"/>
                  </a:cubicBezTo>
                  <a:lnTo>
                    <a:pt x="36" y="93"/>
                  </a:lnTo>
                  <a:lnTo>
                    <a:pt x="39" y="93"/>
                  </a:lnTo>
                  <a:lnTo>
                    <a:pt x="39" y="91"/>
                  </a:lnTo>
                  <a:lnTo>
                    <a:pt x="39" y="85"/>
                  </a:lnTo>
                  <a:lnTo>
                    <a:pt x="34" y="85"/>
                  </a:lnTo>
                  <a:lnTo>
                    <a:pt x="36" y="82"/>
                  </a:lnTo>
                  <a:cubicBezTo>
                    <a:pt x="36" y="79"/>
                    <a:pt x="36" y="79"/>
                    <a:pt x="39" y="76"/>
                  </a:cubicBezTo>
                  <a:close/>
                  <a:moveTo>
                    <a:pt x="34" y="62"/>
                  </a:moveTo>
                  <a:cubicBezTo>
                    <a:pt x="34" y="62"/>
                    <a:pt x="31" y="62"/>
                    <a:pt x="34" y="62"/>
                  </a:cubicBezTo>
                  <a:cubicBezTo>
                    <a:pt x="31" y="62"/>
                    <a:pt x="31" y="65"/>
                    <a:pt x="34" y="65"/>
                  </a:cubicBezTo>
                  <a:lnTo>
                    <a:pt x="36" y="68"/>
                  </a:lnTo>
                  <a:lnTo>
                    <a:pt x="34" y="62"/>
                  </a:lnTo>
                  <a:close/>
                  <a:moveTo>
                    <a:pt x="31" y="119"/>
                  </a:moveTo>
                  <a:cubicBezTo>
                    <a:pt x="31" y="122"/>
                    <a:pt x="31" y="122"/>
                    <a:pt x="34" y="122"/>
                  </a:cubicBezTo>
                  <a:lnTo>
                    <a:pt x="31" y="119"/>
                  </a:lnTo>
                  <a:close/>
                  <a:moveTo>
                    <a:pt x="34" y="130"/>
                  </a:moveTo>
                  <a:cubicBezTo>
                    <a:pt x="34" y="130"/>
                    <a:pt x="36" y="130"/>
                    <a:pt x="34" y="130"/>
                  </a:cubicBezTo>
                  <a:cubicBezTo>
                    <a:pt x="39" y="130"/>
                    <a:pt x="42" y="127"/>
                    <a:pt x="45" y="124"/>
                  </a:cubicBezTo>
                  <a:lnTo>
                    <a:pt x="34" y="124"/>
                  </a:lnTo>
                  <a:lnTo>
                    <a:pt x="34" y="130"/>
                  </a:lnTo>
                  <a:close/>
                  <a:moveTo>
                    <a:pt x="36" y="141"/>
                  </a:moveTo>
                  <a:lnTo>
                    <a:pt x="39" y="144"/>
                  </a:lnTo>
                  <a:lnTo>
                    <a:pt x="39" y="141"/>
                  </a:lnTo>
                  <a:lnTo>
                    <a:pt x="39" y="139"/>
                  </a:lnTo>
                  <a:lnTo>
                    <a:pt x="42" y="139"/>
                  </a:lnTo>
                  <a:lnTo>
                    <a:pt x="45" y="139"/>
                  </a:lnTo>
                  <a:lnTo>
                    <a:pt x="45" y="136"/>
                  </a:lnTo>
                  <a:cubicBezTo>
                    <a:pt x="42" y="136"/>
                    <a:pt x="39" y="133"/>
                    <a:pt x="36" y="130"/>
                  </a:cubicBezTo>
                  <a:lnTo>
                    <a:pt x="36" y="141"/>
                  </a:lnTo>
                  <a:close/>
                  <a:moveTo>
                    <a:pt x="48" y="130"/>
                  </a:moveTo>
                  <a:cubicBezTo>
                    <a:pt x="50" y="133"/>
                    <a:pt x="50" y="130"/>
                    <a:pt x="50" y="130"/>
                  </a:cubicBezTo>
                  <a:lnTo>
                    <a:pt x="48" y="130"/>
                  </a:lnTo>
                  <a:close/>
                  <a:moveTo>
                    <a:pt x="56" y="164"/>
                  </a:moveTo>
                  <a:lnTo>
                    <a:pt x="48" y="164"/>
                  </a:lnTo>
                  <a:lnTo>
                    <a:pt x="50" y="167"/>
                  </a:lnTo>
                  <a:lnTo>
                    <a:pt x="53" y="167"/>
                  </a:lnTo>
                  <a:lnTo>
                    <a:pt x="53" y="170"/>
                  </a:lnTo>
                  <a:lnTo>
                    <a:pt x="50" y="170"/>
                  </a:lnTo>
                  <a:lnTo>
                    <a:pt x="50" y="175"/>
                  </a:lnTo>
                  <a:lnTo>
                    <a:pt x="50" y="181"/>
                  </a:lnTo>
                  <a:lnTo>
                    <a:pt x="56" y="181"/>
                  </a:lnTo>
                  <a:lnTo>
                    <a:pt x="56" y="178"/>
                  </a:lnTo>
                  <a:cubicBezTo>
                    <a:pt x="56" y="175"/>
                    <a:pt x="56" y="175"/>
                    <a:pt x="53" y="175"/>
                  </a:cubicBezTo>
                  <a:cubicBezTo>
                    <a:pt x="53" y="172"/>
                    <a:pt x="56" y="172"/>
                    <a:pt x="56" y="170"/>
                  </a:cubicBezTo>
                  <a:lnTo>
                    <a:pt x="59" y="164"/>
                  </a:lnTo>
                  <a:lnTo>
                    <a:pt x="56" y="164"/>
                  </a:lnTo>
                  <a:close/>
                  <a:moveTo>
                    <a:pt x="53" y="189"/>
                  </a:moveTo>
                  <a:lnTo>
                    <a:pt x="56" y="186"/>
                  </a:lnTo>
                  <a:cubicBezTo>
                    <a:pt x="53" y="186"/>
                    <a:pt x="53" y="186"/>
                    <a:pt x="53" y="189"/>
                  </a:cubicBezTo>
                  <a:lnTo>
                    <a:pt x="50" y="189"/>
                  </a:lnTo>
                  <a:cubicBezTo>
                    <a:pt x="50" y="192"/>
                    <a:pt x="50" y="192"/>
                    <a:pt x="53" y="189"/>
                  </a:cubicBezTo>
                  <a:cubicBezTo>
                    <a:pt x="50" y="192"/>
                    <a:pt x="53" y="195"/>
                    <a:pt x="53" y="195"/>
                  </a:cubicBezTo>
                  <a:lnTo>
                    <a:pt x="59" y="195"/>
                  </a:lnTo>
                  <a:lnTo>
                    <a:pt x="59" y="192"/>
                  </a:lnTo>
                  <a:cubicBezTo>
                    <a:pt x="59" y="192"/>
                    <a:pt x="56" y="189"/>
                    <a:pt x="53" y="189"/>
                  </a:cubicBezTo>
                  <a:close/>
                  <a:moveTo>
                    <a:pt x="73" y="226"/>
                  </a:moveTo>
                  <a:cubicBezTo>
                    <a:pt x="70" y="226"/>
                    <a:pt x="67" y="226"/>
                    <a:pt x="65" y="223"/>
                  </a:cubicBezTo>
                  <a:lnTo>
                    <a:pt x="65" y="226"/>
                  </a:lnTo>
                  <a:lnTo>
                    <a:pt x="62" y="223"/>
                  </a:lnTo>
                  <a:lnTo>
                    <a:pt x="59" y="226"/>
                  </a:lnTo>
                  <a:cubicBezTo>
                    <a:pt x="59" y="229"/>
                    <a:pt x="56" y="229"/>
                    <a:pt x="56" y="232"/>
                  </a:cubicBezTo>
                  <a:cubicBezTo>
                    <a:pt x="59" y="234"/>
                    <a:pt x="62" y="234"/>
                    <a:pt x="65" y="234"/>
                  </a:cubicBezTo>
                  <a:cubicBezTo>
                    <a:pt x="67" y="232"/>
                    <a:pt x="67" y="232"/>
                    <a:pt x="67" y="229"/>
                  </a:cubicBezTo>
                  <a:cubicBezTo>
                    <a:pt x="70" y="229"/>
                    <a:pt x="73" y="226"/>
                    <a:pt x="73" y="226"/>
                  </a:cubicBezTo>
                  <a:close/>
                  <a:moveTo>
                    <a:pt x="84" y="265"/>
                  </a:moveTo>
                  <a:cubicBezTo>
                    <a:pt x="81" y="265"/>
                    <a:pt x="81" y="263"/>
                    <a:pt x="81" y="263"/>
                  </a:cubicBezTo>
                  <a:cubicBezTo>
                    <a:pt x="81" y="263"/>
                    <a:pt x="79" y="260"/>
                    <a:pt x="76" y="263"/>
                  </a:cubicBezTo>
                  <a:lnTo>
                    <a:pt x="73" y="263"/>
                  </a:lnTo>
                  <a:lnTo>
                    <a:pt x="70" y="260"/>
                  </a:lnTo>
                  <a:lnTo>
                    <a:pt x="70" y="257"/>
                  </a:lnTo>
                  <a:lnTo>
                    <a:pt x="65" y="257"/>
                  </a:lnTo>
                  <a:lnTo>
                    <a:pt x="67" y="254"/>
                  </a:lnTo>
                  <a:cubicBezTo>
                    <a:pt x="67" y="254"/>
                    <a:pt x="67" y="251"/>
                    <a:pt x="65" y="251"/>
                  </a:cubicBezTo>
                  <a:cubicBezTo>
                    <a:pt x="65" y="249"/>
                    <a:pt x="62" y="246"/>
                    <a:pt x="62" y="243"/>
                  </a:cubicBezTo>
                  <a:cubicBezTo>
                    <a:pt x="59" y="249"/>
                    <a:pt x="59" y="251"/>
                    <a:pt x="62" y="254"/>
                  </a:cubicBezTo>
                  <a:lnTo>
                    <a:pt x="65" y="254"/>
                  </a:lnTo>
                  <a:lnTo>
                    <a:pt x="62" y="257"/>
                  </a:lnTo>
                  <a:cubicBezTo>
                    <a:pt x="62" y="258"/>
                    <a:pt x="62" y="259"/>
                    <a:pt x="63" y="260"/>
                  </a:cubicBezTo>
                  <a:lnTo>
                    <a:pt x="62" y="260"/>
                  </a:lnTo>
                  <a:lnTo>
                    <a:pt x="62" y="265"/>
                  </a:lnTo>
                  <a:cubicBezTo>
                    <a:pt x="63" y="264"/>
                    <a:pt x="64" y="263"/>
                    <a:pt x="64" y="262"/>
                  </a:cubicBezTo>
                  <a:cubicBezTo>
                    <a:pt x="64" y="263"/>
                    <a:pt x="65" y="263"/>
                    <a:pt x="65" y="263"/>
                  </a:cubicBezTo>
                  <a:cubicBezTo>
                    <a:pt x="67" y="263"/>
                    <a:pt x="67" y="262"/>
                    <a:pt x="67" y="265"/>
                  </a:cubicBezTo>
                  <a:cubicBezTo>
                    <a:pt x="67" y="267"/>
                    <a:pt x="67" y="268"/>
                    <a:pt x="70" y="268"/>
                  </a:cubicBezTo>
                  <a:lnTo>
                    <a:pt x="70" y="274"/>
                  </a:lnTo>
                  <a:cubicBezTo>
                    <a:pt x="73" y="274"/>
                    <a:pt x="76" y="274"/>
                    <a:pt x="76" y="271"/>
                  </a:cubicBezTo>
                  <a:lnTo>
                    <a:pt x="76" y="276"/>
                  </a:lnTo>
                  <a:cubicBezTo>
                    <a:pt x="75" y="275"/>
                    <a:pt x="74" y="275"/>
                    <a:pt x="73" y="274"/>
                  </a:cubicBezTo>
                  <a:lnTo>
                    <a:pt x="67" y="277"/>
                  </a:lnTo>
                  <a:lnTo>
                    <a:pt x="70" y="277"/>
                  </a:lnTo>
                  <a:lnTo>
                    <a:pt x="73" y="277"/>
                  </a:lnTo>
                  <a:cubicBezTo>
                    <a:pt x="73" y="280"/>
                    <a:pt x="73" y="280"/>
                    <a:pt x="70" y="282"/>
                  </a:cubicBezTo>
                  <a:lnTo>
                    <a:pt x="73" y="282"/>
                  </a:lnTo>
                  <a:cubicBezTo>
                    <a:pt x="73" y="282"/>
                    <a:pt x="76" y="282"/>
                    <a:pt x="76" y="280"/>
                  </a:cubicBezTo>
                  <a:lnTo>
                    <a:pt x="79" y="280"/>
                  </a:lnTo>
                  <a:lnTo>
                    <a:pt x="79" y="282"/>
                  </a:lnTo>
                  <a:lnTo>
                    <a:pt x="70" y="291"/>
                  </a:lnTo>
                  <a:lnTo>
                    <a:pt x="87" y="288"/>
                  </a:lnTo>
                  <a:lnTo>
                    <a:pt x="84" y="282"/>
                  </a:lnTo>
                  <a:cubicBezTo>
                    <a:pt x="83" y="281"/>
                    <a:pt x="81" y="280"/>
                    <a:pt x="79" y="278"/>
                  </a:cubicBezTo>
                  <a:lnTo>
                    <a:pt x="84" y="265"/>
                  </a:lnTo>
                  <a:cubicBezTo>
                    <a:pt x="81" y="268"/>
                    <a:pt x="81" y="271"/>
                    <a:pt x="79" y="271"/>
                  </a:cubicBezTo>
                  <a:lnTo>
                    <a:pt x="76" y="268"/>
                  </a:lnTo>
                  <a:lnTo>
                    <a:pt x="84" y="265"/>
                  </a:lnTo>
                  <a:close/>
                  <a:moveTo>
                    <a:pt x="64" y="262"/>
                  </a:moveTo>
                  <a:cubicBezTo>
                    <a:pt x="65" y="262"/>
                    <a:pt x="65" y="261"/>
                    <a:pt x="65" y="260"/>
                  </a:cubicBezTo>
                  <a:lnTo>
                    <a:pt x="63" y="260"/>
                  </a:lnTo>
                  <a:cubicBezTo>
                    <a:pt x="63" y="261"/>
                    <a:pt x="64" y="262"/>
                    <a:pt x="64" y="262"/>
                  </a:cubicBezTo>
                  <a:close/>
                  <a:moveTo>
                    <a:pt x="76" y="277"/>
                  </a:moveTo>
                  <a:cubicBezTo>
                    <a:pt x="76" y="277"/>
                    <a:pt x="76" y="277"/>
                    <a:pt x="76" y="276"/>
                  </a:cubicBezTo>
                  <a:lnTo>
                    <a:pt x="76" y="276"/>
                  </a:lnTo>
                  <a:lnTo>
                    <a:pt x="76" y="277"/>
                  </a:lnTo>
                  <a:close/>
                  <a:moveTo>
                    <a:pt x="79" y="277"/>
                  </a:moveTo>
                  <a:lnTo>
                    <a:pt x="79" y="278"/>
                  </a:lnTo>
                  <a:cubicBezTo>
                    <a:pt x="78" y="278"/>
                    <a:pt x="77" y="277"/>
                    <a:pt x="76" y="276"/>
                  </a:cubicBezTo>
                  <a:cubicBezTo>
                    <a:pt x="79" y="274"/>
                    <a:pt x="79" y="277"/>
                    <a:pt x="79" y="277"/>
                  </a:cubicBezTo>
                  <a:close/>
                  <a:moveTo>
                    <a:pt x="79" y="280"/>
                  </a:moveTo>
                  <a:lnTo>
                    <a:pt x="79" y="278"/>
                  </a:lnTo>
                  <a:lnTo>
                    <a:pt x="79" y="278"/>
                  </a:lnTo>
                  <a:lnTo>
                    <a:pt x="79" y="280"/>
                  </a:lnTo>
                  <a:close/>
                  <a:moveTo>
                    <a:pt x="67" y="311"/>
                  </a:moveTo>
                  <a:lnTo>
                    <a:pt x="67" y="316"/>
                  </a:lnTo>
                  <a:cubicBezTo>
                    <a:pt x="67" y="313"/>
                    <a:pt x="70" y="308"/>
                    <a:pt x="73" y="305"/>
                  </a:cubicBezTo>
                  <a:cubicBezTo>
                    <a:pt x="73" y="305"/>
                    <a:pt x="70" y="305"/>
                    <a:pt x="70" y="302"/>
                  </a:cubicBezTo>
                  <a:lnTo>
                    <a:pt x="67" y="305"/>
                  </a:lnTo>
                  <a:cubicBezTo>
                    <a:pt x="65" y="308"/>
                    <a:pt x="65" y="311"/>
                    <a:pt x="67" y="311"/>
                  </a:cubicBezTo>
                  <a:close/>
                  <a:moveTo>
                    <a:pt x="73" y="243"/>
                  </a:moveTo>
                  <a:lnTo>
                    <a:pt x="73" y="237"/>
                  </a:lnTo>
                  <a:lnTo>
                    <a:pt x="73" y="232"/>
                  </a:lnTo>
                  <a:lnTo>
                    <a:pt x="70" y="237"/>
                  </a:lnTo>
                  <a:lnTo>
                    <a:pt x="67" y="240"/>
                  </a:lnTo>
                  <a:cubicBezTo>
                    <a:pt x="70" y="246"/>
                    <a:pt x="73" y="246"/>
                    <a:pt x="73" y="243"/>
                  </a:cubicBezTo>
                  <a:close/>
                  <a:moveTo>
                    <a:pt x="73" y="294"/>
                  </a:moveTo>
                  <a:cubicBezTo>
                    <a:pt x="70" y="294"/>
                    <a:pt x="67" y="296"/>
                    <a:pt x="67" y="296"/>
                  </a:cubicBezTo>
                  <a:cubicBezTo>
                    <a:pt x="70" y="299"/>
                    <a:pt x="73" y="299"/>
                    <a:pt x="73" y="302"/>
                  </a:cubicBezTo>
                  <a:lnTo>
                    <a:pt x="73" y="294"/>
                  </a:lnTo>
                  <a:close/>
                  <a:moveTo>
                    <a:pt x="76" y="322"/>
                  </a:moveTo>
                  <a:lnTo>
                    <a:pt x="70" y="322"/>
                  </a:lnTo>
                  <a:lnTo>
                    <a:pt x="70" y="325"/>
                  </a:lnTo>
                  <a:cubicBezTo>
                    <a:pt x="73" y="325"/>
                    <a:pt x="73" y="322"/>
                    <a:pt x="76" y="322"/>
                  </a:cubicBezTo>
                  <a:close/>
                  <a:moveTo>
                    <a:pt x="70" y="335"/>
                  </a:moveTo>
                  <a:lnTo>
                    <a:pt x="73" y="335"/>
                  </a:lnTo>
                  <a:lnTo>
                    <a:pt x="76" y="335"/>
                  </a:lnTo>
                  <a:lnTo>
                    <a:pt x="73" y="332"/>
                  </a:lnTo>
                  <a:lnTo>
                    <a:pt x="70" y="335"/>
                  </a:lnTo>
                  <a:close/>
                  <a:moveTo>
                    <a:pt x="84" y="352"/>
                  </a:moveTo>
                  <a:lnTo>
                    <a:pt x="81" y="341"/>
                  </a:lnTo>
                  <a:lnTo>
                    <a:pt x="76" y="341"/>
                  </a:lnTo>
                  <a:lnTo>
                    <a:pt x="73" y="341"/>
                  </a:lnTo>
                  <a:lnTo>
                    <a:pt x="67" y="341"/>
                  </a:lnTo>
                  <a:lnTo>
                    <a:pt x="70" y="343"/>
                  </a:lnTo>
                  <a:lnTo>
                    <a:pt x="73" y="343"/>
                  </a:lnTo>
                  <a:lnTo>
                    <a:pt x="73" y="349"/>
                  </a:lnTo>
                  <a:lnTo>
                    <a:pt x="73" y="355"/>
                  </a:lnTo>
                  <a:cubicBezTo>
                    <a:pt x="79" y="352"/>
                    <a:pt x="81" y="352"/>
                    <a:pt x="84" y="352"/>
                  </a:cubicBezTo>
                  <a:close/>
                  <a:moveTo>
                    <a:pt x="79" y="294"/>
                  </a:moveTo>
                  <a:cubicBezTo>
                    <a:pt x="76" y="296"/>
                    <a:pt x="76" y="299"/>
                    <a:pt x="76" y="299"/>
                  </a:cubicBezTo>
                  <a:lnTo>
                    <a:pt x="79" y="299"/>
                  </a:lnTo>
                  <a:lnTo>
                    <a:pt x="81" y="299"/>
                  </a:lnTo>
                  <a:lnTo>
                    <a:pt x="79" y="294"/>
                  </a:lnTo>
                  <a:close/>
                  <a:moveTo>
                    <a:pt x="79" y="232"/>
                  </a:moveTo>
                  <a:lnTo>
                    <a:pt x="79" y="237"/>
                  </a:lnTo>
                  <a:cubicBezTo>
                    <a:pt x="79" y="234"/>
                    <a:pt x="81" y="232"/>
                    <a:pt x="81" y="229"/>
                  </a:cubicBezTo>
                  <a:lnTo>
                    <a:pt x="76" y="229"/>
                  </a:lnTo>
                  <a:lnTo>
                    <a:pt x="79" y="232"/>
                  </a:lnTo>
                  <a:close/>
                  <a:moveTo>
                    <a:pt x="81" y="383"/>
                  </a:moveTo>
                  <a:cubicBezTo>
                    <a:pt x="81" y="383"/>
                    <a:pt x="84" y="383"/>
                    <a:pt x="81" y="383"/>
                  </a:cubicBezTo>
                  <a:lnTo>
                    <a:pt x="87" y="380"/>
                  </a:lnTo>
                  <a:lnTo>
                    <a:pt x="84" y="377"/>
                  </a:lnTo>
                  <a:lnTo>
                    <a:pt x="79" y="374"/>
                  </a:lnTo>
                  <a:cubicBezTo>
                    <a:pt x="79" y="377"/>
                    <a:pt x="81" y="380"/>
                    <a:pt x="81" y="383"/>
                  </a:cubicBezTo>
                  <a:close/>
                  <a:moveTo>
                    <a:pt x="79" y="363"/>
                  </a:moveTo>
                  <a:lnTo>
                    <a:pt x="79" y="366"/>
                  </a:lnTo>
                  <a:cubicBezTo>
                    <a:pt x="79" y="363"/>
                    <a:pt x="81" y="363"/>
                    <a:pt x="81" y="360"/>
                  </a:cubicBezTo>
                  <a:lnTo>
                    <a:pt x="79" y="363"/>
                  </a:lnTo>
                  <a:close/>
                  <a:moveTo>
                    <a:pt x="112" y="251"/>
                  </a:moveTo>
                  <a:lnTo>
                    <a:pt x="112" y="249"/>
                  </a:lnTo>
                  <a:lnTo>
                    <a:pt x="112" y="246"/>
                  </a:lnTo>
                  <a:lnTo>
                    <a:pt x="114" y="243"/>
                  </a:lnTo>
                  <a:cubicBezTo>
                    <a:pt x="114" y="243"/>
                    <a:pt x="114" y="240"/>
                    <a:pt x="117" y="240"/>
                  </a:cubicBezTo>
                  <a:cubicBezTo>
                    <a:pt x="114" y="240"/>
                    <a:pt x="114" y="243"/>
                    <a:pt x="112" y="243"/>
                  </a:cubicBezTo>
                  <a:lnTo>
                    <a:pt x="106" y="246"/>
                  </a:lnTo>
                  <a:lnTo>
                    <a:pt x="103" y="246"/>
                  </a:lnTo>
                  <a:lnTo>
                    <a:pt x="100" y="246"/>
                  </a:lnTo>
                  <a:cubicBezTo>
                    <a:pt x="100" y="246"/>
                    <a:pt x="100" y="249"/>
                    <a:pt x="97" y="249"/>
                  </a:cubicBezTo>
                  <a:cubicBezTo>
                    <a:pt x="97" y="251"/>
                    <a:pt x="96" y="251"/>
                    <a:pt x="96" y="254"/>
                  </a:cubicBezTo>
                  <a:lnTo>
                    <a:pt x="93" y="251"/>
                  </a:lnTo>
                  <a:lnTo>
                    <a:pt x="87" y="249"/>
                  </a:lnTo>
                  <a:cubicBezTo>
                    <a:pt x="87" y="251"/>
                    <a:pt x="83" y="251"/>
                    <a:pt x="81" y="251"/>
                  </a:cubicBezTo>
                  <a:cubicBezTo>
                    <a:pt x="78" y="251"/>
                    <a:pt x="79" y="254"/>
                    <a:pt x="79" y="257"/>
                  </a:cubicBezTo>
                  <a:lnTo>
                    <a:pt x="81" y="257"/>
                  </a:lnTo>
                  <a:cubicBezTo>
                    <a:pt x="81" y="257"/>
                    <a:pt x="84" y="257"/>
                    <a:pt x="84" y="260"/>
                  </a:cubicBezTo>
                  <a:lnTo>
                    <a:pt x="87" y="260"/>
                  </a:lnTo>
                  <a:lnTo>
                    <a:pt x="87" y="257"/>
                  </a:lnTo>
                  <a:lnTo>
                    <a:pt x="87" y="254"/>
                  </a:lnTo>
                  <a:lnTo>
                    <a:pt x="90" y="254"/>
                  </a:lnTo>
                  <a:lnTo>
                    <a:pt x="93" y="257"/>
                  </a:lnTo>
                  <a:cubicBezTo>
                    <a:pt x="96" y="254"/>
                    <a:pt x="95" y="254"/>
                    <a:pt x="97" y="254"/>
                  </a:cubicBezTo>
                  <a:cubicBezTo>
                    <a:pt x="100" y="254"/>
                    <a:pt x="103" y="251"/>
                    <a:pt x="106" y="249"/>
                  </a:cubicBezTo>
                  <a:lnTo>
                    <a:pt x="106" y="260"/>
                  </a:lnTo>
                  <a:lnTo>
                    <a:pt x="106" y="257"/>
                  </a:lnTo>
                  <a:cubicBezTo>
                    <a:pt x="103" y="257"/>
                    <a:pt x="103" y="254"/>
                    <a:pt x="103" y="251"/>
                  </a:cubicBezTo>
                  <a:lnTo>
                    <a:pt x="100" y="254"/>
                  </a:lnTo>
                  <a:lnTo>
                    <a:pt x="100" y="257"/>
                  </a:lnTo>
                  <a:lnTo>
                    <a:pt x="93" y="260"/>
                  </a:lnTo>
                  <a:lnTo>
                    <a:pt x="90" y="260"/>
                  </a:lnTo>
                  <a:lnTo>
                    <a:pt x="87" y="263"/>
                  </a:lnTo>
                  <a:lnTo>
                    <a:pt x="90" y="263"/>
                  </a:lnTo>
                  <a:lnTo>
                    <a:pt x="96" y="260"/>
                  </a:lnTo>
                  <a:cubicBezTo>
                    <a:pt x="97" y="263"/>
                    <a:pt x="103" y="263"/>
                    <a:pt x="106" y="260"/>
                  </a:cubicBezTo>
                  <a:lnTo>
                    <a:pt x="109" y="260"/>
                  </a:lnTo>
                  <a:lnTo>
                    <a:pt x="109" y="257"/>
                  </a:lnTo>
                  <a:cubicBezTo>
                    <a:pt x="112" y="251"/>
                    <a:pt x="109" y="251"/>
                    <a:pt x="112" y="251"/>
                  </a:cubicBezTo>
                  <a:close/>
                  <a:moveTo>
                    <a:pt x="90" y="377"/>
                  </a:moveTo>
                  <a:lnTo>
                    <a:pt x="90" y="369"/>
                  </a:lnTo>
                  <a:lnTo>
                    <a:pt x="87" y="369"/>
                  </a:lnTo>
                  <a:lnTo>
                    <a:pt x="87" y="377"/>
                  </a:lnTo>
                  <a:lnTo>
                    <a:pt x="90" y="377"/>
                  </a:lnTo>
                  <a:close/>
                  <a:moveTo>
                    <a:pt x="90" y="414"/>
                  </a:moveTo>
                  <a:cubicBezTo>
                    <a:pt x="90" y="417"/>
                    <a:pt x="90" y="420"/>
                    <a:pt x="87" y="422"/>
                  </a:cubicBezTo>
                  <a:lnTo>
                    <a:pt x="96" y="422"/>
                  </a:lnTo>
                  <a:lnTo>
                    <a:pt x="93" y="417"/>
                  </a:lnTo>
                  <a:cubicBezTo>
                    <a:pt x="93" y="414"/>
                    <a:pt x="93" y="414"/>
                    <a:pt x="90" y="414"/>
                  </a:cubicBezTo>
                  <a:cubicBezTo>
                    <a:pt x="93" y="411"/>
                    <a:pt x="93" y="408"/>
                    <a:pt x="93" y="408"/>
                  </a:cubicBezTo>
                  <a:lnTo>
                    <a:pt x="93" y="405"/>
                  </a:lnTo>
                  <a:cubicBezTo>
                    <a:pt x="90" y="408"/>
                    <a:pt x="87" y="408"/>
                    <a:pt x="87" y="411"/>
                  </a:cubicBezTo>
                  <a:cubicBezTo>
                    <a:pt x="87" y="411"/>
                    <a:pt x="87" y="414"/>
                    <a:pt x="90" y="414"/>
                  </a:cubicBezTo>
                  <a:close/>
                  <a:moveTo>
                    <a:pt x="84" y="237"/>
                  </a:moveTo>
                  <a:lnTo>
                    <a:pt x="84" y="243"/>
                  </a:lnTo>
                  <a:lnTo>
                    <a:pt x="87" y="243"/>
                  </a:lnTo>
                  <a:lnTo>
                    <a:pt x="87" y="237"/>
                  </a:lnTo>
                  <a:lnTo>
                    <a:pt x="84" y="237"/>
                  </a:lnTo>
                  <a:close/>
                  <a:moveTo>
                    <a:pt x="97" y="434"/>
                  </a:moveTo>
                  <a:lnTo>
                    <a:pt x="96" y="437"/>
                  </a:lnTo>
                  <a:cubicBezTo>
                    <a:pt x="97" y="437"/>
                    <a:pt x="97" y="434"/>
                    <a:pt x="97" y="434"/>
                  </a:cubicBezTo>
                  <a:close/>
                  <a:moveTo>
                    <a:pt x="96" y="448"/>
                  </a:moveTo>
                  <a:lnTo>
                    <a:pt x="100" y="448"/>
                  </a:lnTo>
                  <a:lnTo>
                    <a:pt x="100" y="445"/>
                  </a:lnTo>
                  <a:cubicBezTo>
                    <a:pt x="100" y="448"/>
                    <a:pt x="97" y="448"/>
                    <a:pt x="96" y="448"/>
                  </a:cubicBezTo>
                  <a:close/>
                  <a:moveTo>
                    <a:pt x="97" y="465"/>
                  </a:moveTo>
                  <a:cubicBezTo>
                    <a:pt x="100" y="468"/>
                    <a:pt x="100" y="468"/>
                    <a:pt x="103" y="468"/>
                  </a:cubicBezTo>
                  <a:cubicBezTo>
                    <a:pt x="103" y="462"/>
                    <a:pt x="103" y="465"/>
                    <a:pt x="97" y="465"/>
                  </a:cubicBezTo>
                  <a:close/>
                  <a:moveTo>
                    <a:pt x="137" y="257"/>
                  </a:moveTo>
                  <a:lnTo>
                    <a:pt x="131" y="251"/>
                  </a:lnTo>
                  <a:lnTo>
                    <a:pt x="128" y="249"/>
                  </a:lnTo>
                  <a:cubicBezTo>
                    <a:pt x="131" y="246"/>
                    <a:pt x="131" y="246"/>
                    <a:pt x="131" y="243"/>
                  </a:cubicBezTo>
                  <a:cubicBezTo>
                    <a:pt x="128" y="243"/>
                    <a:pt x="128" y="240"/>
                    <a:pt x="128" y="240"/>
                  </a:cubicBezTo>
                  <a:lnTo>
                    <a:pt x="123" y="240"/>
                  </a:lnTo>
                  <a:lnTo>
                    <a:pt x="128" y="246"/>
                  </a:lnTo>
                  <a:cubicBezTo>
                    <a:pt x="126" y="249"/>
                    <a:pt x="126" y="251"/>
                    <a:pt x="123" y="251"/>
                  </a:cubicBezTo>
                  <a:lnTo>
                    <a:pt x="123" y="254"/>
                  </a:lnTo>
                  <a:cubicBezTo>
                    <a:pt x="123" y="254"/>
                    <a:pt x="123" y="251"/>
                    <a:pt x="120" y="251"/>
                  </a:cubicBezTo>
                  <a:cubicBezTo>
                    <a:pt x="120" y="251"/>
                    <a:pt x="117" y="249"/>
                    <a:pt x="120" y="249"/>
                  </a:cubicBezTo>
                  <a:lnTo>
                    <a:pt x="120" y="246"/>
                  </a:lnTo>
                  <a:lnTo>
                    <a:pt x="117" y="246"/>
                  </a:lnTo>
                  <a:lnTo>
                    <a:pt x="117" y="257"/>
                  </a:lnTo>
                  <a:lnTo>
                    <a:pt x="123" y="257"/>
                  </a:lnTo>
                  <a:lnTo>
                    <a:pt x="128" y="263"/>
                  </a:lnTo>
                  <a:lnTo>
                    <a:pt x="131" y="260"/>
                  </a:lnTo>
                  <a:lnTo>
                    <a:pt x="131" y="257"/>
                  </a:lnTo>
                  <a:cubicBezTo>
                    <a:pt x="131" y="254"/>
                    <a:pt x="134" y="254"/>
                    <a:pt x="137" y="257"/>
                  </a:cubicBezTo>
                  <a:close/>
                  <a:moveTo>
                    <a:pt x="126" y="232"/>
                  </a:moveTo>
                  <a:cubicBezTo>
                    <a:pt x="128" y="234"/>
                    <a:pt x="128" y="234"/>
                    <a:pt x="131" y="232"/>
                  </a:cubicBezTo>
                  <a:lnTo>
                    <a:pt x="131" y="234"/>
                  </a:lnTo>
                  <a:cubicBezTo>
                    <a:pt x="134" y="234"/>
                    <a:pt x="137" y="234"/>
                    <a:pt x="137" y="237"/>
                  </a:cubicBezTo>
                  <a:lnTo>
                    <a:pt x="137" y="232"/>
                  </a:lnTo>
                  <a:lnTo>
                    <a:pt x="131" y="232"/>
                  </a:lnTo>
                  <a:lnTo>
                    <a:pt x="128" y="232"/>
                  </a:lnTo>
                  <a:lnTo>
                    <a:pt x="126" y="232"/>
                  </a:lnTo>
                  <a:close/>
                  <a:moveTo>
                    <a:pt x="131" y="127"/>
                  </a:moveTo>
                  <a:lnTo>
                    <a:pt x="137" y="127"/>
                  </a:lnTo>
                  <a:lnTo>
                    <a:pt x="137" y="124"/>
                  </a:lnTo>
                  <a:lnTo>
                    <a:pt x="134" y="124"/>
                  </a:lnTo>
                  <a:cubicBezTo>
                    <a:pt x="134" y="127"/>
                    <a:pt x="131" y="127"/>
                    <a:pt x="131" y="127"/>
                  </a:cubicBezTo>
                  <a:close/>
                  <a:moveTo>
                    <a:pt x="134" y="226"/>
                  </a:moveTo>
                  <a:lnTo>
                    <a:pt x="137" y="226"/>
                  </a:lnTo>
                  <a:lnTo>
                    <a:pt x="137" y="223"/>
                  </a:lnTo>
                  <a:cubicBezTo>
                    <a:pt x="137" y="226"/>
                    <a:pt x="134" y="226"/>
                    <a:pt x="134" y="226"/>
                  </a:cubicBezTo>
                  <a:close/>
                  <a:moveTo>
                    <a:pt x="143" y="249"/>
                  </a:moveTo>
                  <a:lnTo>
                    <a:pt x="143" y="251"/>
                  </a:lnTo>
                  <a:cubicBezTo>
                    <a:pt x="140" y="251"/>
                    <a:pt x="140" y="251"/>
                    <a:pt x="140" y="249"/>
                  </a:cubicBezTo>
                  <a:cubicBezTo>
                    <a:pt x="139" y="249"/>
                    <a:pt x="138" y="249"/>
                    <a:pt x="137" y="249"/>
                  </a:cubicBezTo>
                  <a:cubicBezTo>
                    <a:pt x="140" y="254"/>
                    <a:pt x="143" y="257"/>
                    <a:pt x="143" y="257"/>
                  </a:cubicBezTo>
                  <a:cubicBezTo>
                    <a:pt x="145" y="254"/>
                    <a:pt x="143" y="254"/>
                    <a:pt x="145" y="251"/>
                  </a:cubicBezTo>
                  <a:lnTo>
                    <a:pt x="145" y="246"/>
                  </a:lnTo>
                  <a:lnTo>
                    <a:pt x="148" y="246"/>
                  </a:lnTo>
                  <a:cubicBezTo>
                    <a:pt x="148" y="243"/>
                    <a:pt x="148" y="243"/>
                    <a:pt x="148" y="246"/>
                  </a:cubicBezTo>
                  <a:lnTo>
                    <a:pt x="145" y="246"/>
                  </a:lnTo>
                  <a:cubicBezTo>
                    <a:pt x="145" y="246"/>
                    <a:pt x="145" y="249"/>
                    <a:pt x="143" y="249"/>
                  </a:cubicBezTo>
                  <a:cubicBezTo>
                    <a:pt x="143" y="240"/>
                    <a:pt x="143" y="240"/>
                    <a:pt x="137" y="240"/>
                  </a:cubicBezTo>
                  <a:cubicBezTo>
                    <a:pt x="137" y="243"/>
                    <a:pt x="140" y="246"/>
                    <a:pt x="143" y="249"/>
                  </a:cubicBezTo>
                  <a:close/>
                  <a:moveTo>
                    <a:pt x="134" y="263"/>
                  </a:moveTo>
                  <a:lnTo>
                    <a:pt x="140" y="263"/>
                  </a:lnTo>
                  <a:lnTo>
                    <a:pt x="137" y="260"/>
                  </a:lnTo>
                  <a:lnTo>
                    <a:pt x="137" y="257"/>
                  </a:lnTo>
                  <a:cubicBezTo>
                    <a:pt x="137" y="257"/>
                    <a:pt x="137" y="260"/>
                    <a:pt x="134" y="263"/>
                  </a:cubicBezTo>
                  <a:close/>
                  <a:moveTo>
                    <a:pt x="137" y="217"/>
                  </a:moveTo>
                  <a:lnTo>
                    <a:pt x="140" y="217"/>
                  </a:lnTo>
                  <a:lnTo>
                    <a:pt x="140" y="215"/>
                  </a:lnTo>
                  <a:lnTo>
                    <a:pt x="137" y="217"/>
                  </a:lnTo>
                  <a:close/>
                  <a:moveTo>
                    <a:pt x="140" y="226"/>
                  </a:moveTo>
                  <a:lnTo>
                    <a:pt x="143" y="234"/>
                  </a:lnTo>
                  <a:lnTo>
                    <a:pt x="148" y="234"/>
                  </a:lnTo>
                  <a:lnTo>
                    <a:pt x="148" y="232"/>
                  </a:lnTo>
                  <a:cubicBezTo>
                    <a:pt x="148" y="229"/>
                    <a:pt x="151" y="229"/>
                    <a:pt x="151" y="229"/>
                  </a:cubicBezTo>
                  <a:cubicBezTo>
                    <a:pt x="145" y="223"/>
                    <a:pt x="143" y="223"/>
                    <a:pt x="140" y="226"/>
                  </a:cubicBezTo>
                  <a:close/>
                  <a:moveTo>
                    <a:pt x="145" y="263"/>
                  </a:moveTo>
                  <a:lnTo>
                    <a:pt x="151" y="263"/>
                  </a:lnTo>
                  <a:cubicBezTo>
                    <a:pt x="154" y="263"/>
                    <a:pt x="154" y="260"/>
                    <a:pt x="151" y="257"/>
                  </a:cubicBezTo>
                  <a:cubicBezTo>
                    <a:pt x="148" y="257"/>
                    <a:pt x="145" y="260"/>
                    <a:pt x="143" y="260"/>
                  </a:cubicBezTo>
                  <a:cubicBezTo>
                    <a:pt x="143" y="263"/>
                    <a:pt x="145" y="263"/>
                    <a:pt x="145" y="263"/>
                  </a:cubicBezTo>
                  <a:close/>
                  <a:moveTo>
                    <a:pt x="148" y="189"/>
                  </a:moveTo>
                  <a:lnTo>
                    <a:pt x="143" y="189"/>
                  </a:lnTo>
                  <a:lnTo>
                    <a:pt x="143" y="192"/>
                  </a:lnTo>
                  <a:cubicBezTo>
                    <a:pt x="145" y="192"/>
                    <a:pt x="148" y="189"/>
                    <a:pt x="148" y="189"/>
                  </a:cubicBezTo>
                  <a:close/>
                  <a:moveTo>
                    <a:pt x="148" y="243"/>
                  </a:moveTo>
                  <a:cubicBezTo>
                    <a:pt x="151" y="240"/>
                    <a:pt x="151" y="240"/>
                    <a:pt x="146" y="240"/>
                  </a:cubicBezTo>
                  <a:cubicBezTo>
                    <a:pt x="147" y="241"/>
                    <a:pt x="147" y="242"/>
                    <a:pt x="148" y="243"/>
                  </a:cubicBezTo>
                  <a:close/>
                  <a:moveTo>
                    <a:pt x="159" y="274"/>
                  </a:moveTo>
                  <a:cubicBezTo>
                    <a:pt x="154" y="268"/>
                    <a:pt x="154" y="268"/>
                    <a:pt x="148" y="274"/>
                  </a:cubicBezTo>
                  <a:lnTo>
                    <a:pt x="154" y="274"/>
                  </a:lnTo>
                  <a:cubicBezTo>
                    <a:pt x="154" y="274"/>
                    <a:pt x="157" y="274"/>
                    <a:pt x="157" y="277"/>
                  </a:cubicBezTo>
                  <a:lnTo>
                    <a:pt x="159" y="274"/>
                  </a:lnTo>
                  <a:close/>
                  <a:moveTo>
                    <a:pt x="159" y="338"/>
                  </a:moveTo>
                  <a:lnTo>
                    <a:pt x="162" y="341"/>
                  </a:lnTo>
                  <a:lnTo>
                    <a:pt x="165" y="341"/>
                  </a:lnTo>
                  <a:cubicBezTo>
                    <a:pt x="165" y="338"/>
                    <a:pt x="165" y="338"/>
                    <a:pt x="159" y="338"/>
                  </a:cubicBezTo>
                  <a:close/>
                  <a:moveTo>
                    <a:pt x="171" y="294"/>
                  </a:moveTo>
                  <a:cubicBezTo>
                    <a:pt x="168" y="291"/>
                    <a:pt x="168" y="291"/>
                    <a:pt x="165" y="291"/>
                  </a:cubicBezTo>
                  <a:lnTo>
                    <a:pt x="165" y="294"/>
                  </a:lnTo>
                  <a:lnTo>
                    <a:pt x="171" y="294"/>
                  </a:lnTo>
                  <a:close/>
                  <a:moveTo>
                    <a:pt x="165" y="363"/>
                  </a:moveTo>
                  <a:cubicBezTo>
                    <a:pt x="171" y="363"/>
                    <a:pt x="171" y="363"/>
                    <a:pt x="168" y="360"/>
                  </a:cubicBezTo>
                  <a:lnTo>
                    <a:pt x="165" y="363"/>
                  </a:lnTo>
                  <a:close/>
                  <a:moveTo>
                    <a:pt x="165" y="386"/>
                  </a:moveTo>
                  <a:cubicBezTo>
                    <a:pt x="168" y="386"/>
                    <a:pt x="171" y="386"/>
                    <a:pt x="171" y="389"/>
                  </a:cubicBezTo>
                  <a:cubicBezTo>
                    <a:pt x="171" y="386"/>
                    <a:pt x="171" y="380"/>
                    <a:pt x="165" y="386"/>
                  </a:cubicBezTo>
                  <a:close/>
                  <a:moveTo>
                    <a:pt x="182" y="374"/>
                  </a:moveTo>
                  <a:lnTo>
                    <a:pt x="176" y="374"/>
                  </a:lnTo>
                  <a:lnTo>
                    <a:pt x="176" y="377"/>
                  </a:lnTo>
                  <a:cubicBezTo>
                    <a:pt x="179" y="374"/>
                    <a:pt x="179" y="374"/>
                    <a:pt x="182" y="374"/>
                  </a:cubicBezTo>
                  <a:close/>
                  <a:moveTo>
                    <a:pt x="179" y="389"/>
                  </a:moveTo>
                  <a:lnTo>
                    <a:pt x="182" y="389"/>
                  </a:lnTo>
                  <a:lnTo>
                    <a:pt x="182" y="386"/>
                  </a:lnTo>
                  <a:cubicBezTo>
                    <a:pt x="182" y="386"/>
                    <a:pt x="179" y="386"/>
                    <a:pt x="179" y="389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4" name="Freeform 1459"/>
            <p:cNvSpPr>
              <a:spLocks noChangeArrowheads="1"/>
            </p:cNvSpPr>
            <p:nvPr/>
          </p:nvSpPr>
          <p:spPr bwMode="auto">
            <a:xfrm>
              <a:off x="4159250" y="2447925"/>
              <a:ext cx="74613" cy="176213"/>
            </a:xfrm>
            <a:custGeom>
              <a:avLst/>
              <a:gdLst>
                <a:gd name="T0" fmla="*/ 191 w 209"/>
                <a:gd name="T1" fmla="*/ 453 h 488"/>
                <a:gd name="T2" fmla="*/ 59 w 209"/>
                <a:gd name="T3" fmla="*/ 428 h 488"/>
                <a:gd name="T4" fmla="*/ 45 w 209"/>
                <a:gd name="T5" fmla="*/ 333 h 488"/>
                <a:gd name="T6" fmla="*/ 16 w 209"/>
                <a:gd name="T7" fmla="*/ 197 h 488"/>
                <a:gd name="T8" fmla="*/ 25 w 209"/>
                <a:gd name="T9" fmla="*/ 14 h 488"/>
                <a:gd name="T10" fmla="*/ 129 w 209"/>
                <a:gd name="T11" fmla="*/ 56 h 488"/>
                <a:gd name="T12" fmla="*/ 135 w 209"/>
                <a:gd name="T13" fmla="*/ 113 h 488"/>
                <a:gd name="T14" fmla="*/ 158 w 209"/>
                <a:gd name="T15" fmla="*/ 195 h 488"/>
                <a:gd name="T16" fmla="*/ 180 w 209"/>
                <a:gd name="T17" fmla="*/ 316 h 488"/>
                <a:gd name="T18" fmla="*/ 39 w 209"/>
                <a:gd name="T19" fmla="*/ 65 h 488"/>
                <a:gd name="T20" fmla="*/ 42 w 209"/>
                <a:gd name="T21" fmla="*/ 56 h 488"/>
                <a:gd name="T22" fmla="*/ 45 w 209"/>
                <a:gd name="T23" fmla="*/ 130 h 488"/>
                <a:gd name="T24" fmla="*/ 45 w 209"/>
                <a:gd name="T25" fmla="*/ 37 h 488"/>
                <a:gd name="T26" fmla="*/ 47 w 209"/>
                <a:gd name="T27" fmla="*/ 42 h 488"/>
                <a:gd name="T28" fmla="*/ 121 w 209"/>
                <a:gd name="T29" fmla="*/ 419 h 488"/>
                <a:gd name="T30" fmla="*/ 129 w 209"/>
                <a:gd name="T31" fmla="*/ 288 h 488"/>
                <a:gd name="T32" fmla="*/ 118 w 209"/>
                <a:gd name="T33" fmla="*/ 214 h 488"/>
                <a:gd name="T34" fmla="*/ 101 w 209"/>
                <a:gd name="T35" fmla="*/ 118 h 488"/>
                <a:gd name="T36" fmla="*/ 62 w 209"/>
                <a:gd name="T37" fmla="*/ 99 h 488"/>
                <a:gd name="T38" fmla="*/ 87 w 209"/>
                <a:gd name="T39" fmla="*/ 245 h 488"/>
                <a:gd name="T40" fmla="*/ 110 w 209"/>
                <a:gd name="T41" fmla="*/ 357 h 488"/>
                <a:gd name="T42" fmla="*/ 62 w 209"/>
                <a:gd name="T43" fmla="*/ 268 h 488"/>
                <a:gd name="T44" fmla="*/ 64 w 209"/>
                <a:gd name="T45" fmla="*/ 31 h 488"/>
                <a:gd name="T46" fmla="*/ 76 w 209"/>
                <a:gd name="T47" fmla="*/ 320 h 488"/>
                <a:gd name="T48" fmla="*/ 73 w 209"/>
                <a:gd name="T49" fmla="*/ 42 h 488"/>
                <a:gd name="T50" fmla="*/ 70 w 209"/>
                <a:gd name="T51" fmla="*/ 363 h 488"/>
                <a:gd name="T52" fmla="*/ 73 w 209"/>
                <a:gd name="T53" fmla="*/ 34 h 488"/>
                <a:gd name="T54" fmla="*/ 84 w 209"/>
                <a:gd name="T55" fmla="*/ 366 h 488"/>
                <a:gd name="T56" fmla="*/ 87 w 209"/>
                <a:gd name="T57" fmla="*/ 380 h 488"/>
                <a:gd name="T58" fmla="*/ 93 w 209"/>
                <a:gd name="T59" fmla="*/ 39 h 488"/>
                <a:gd name="T60" fmla="*/ 87 w 209"/>
                <a:gd name="T61" fmla="*/ 397 h 488"/>
                <a:gd name="T62" fmla="*/ 101 w 209"/>
                <a:gd name="T63" fmla="*/ 53 h 488"/>
                <a:gd name="T64" fmla="*/ 107 w 209"/>
                <a:gd name="T65" fmla="*/ 450 h 488"/>
                <a:gd name="T66" fmla="*/ 115 w 209"/>
                <a:gd name="T67" fmla="*/ 59 h 488"/>
                <a:gd name="T68" fmla="*/ 124 w 209"/>
                <a:gd name="T69" fmla="*/ 73 h 488"/>
                <a:gd name="T70" fmla="*/ 124 w 209"/>
                <a:gd name="T71" fmla="*/ 130 h 488"/>
                <a:gd name="T72" fmla="*/ 129 w 209"/>
                <a:gd name="T73" fmla="*/ 158 h 488"/>
                <a:gd name="T74" fmla="*/ 124 w 209"/>
                <a:gd name="T75" fmla="*/ 453 h 488"/>
                <a:gd name="T76" fmla="*/ 129 w 209"/>
                <a:gd name="T77" fmla="*/ 144 h 488"/>
                <a:gd name="T78" fmla="*/ 129 w 209"/>
                <a:gd name="T79" fmla="*/ 121 h 488"/>
                <a:gd name="T80" fmla="*/ 141 w 209"/>
                <a:gd name="T81" fmla="*/ 186 h 488"/>
                <a:gd name="T82" fmla="*/ 138 w 209"/>
                <a:gd name="T83" fmla="*/ 442 h 488"/>
                <a:gd name="T84" fmla="*/ 141 w 209"/>
                <a:gd name="T85" fmla="*/ 223 h 488"/>
                <a:gd name="T86" fmla="*/ 143 w 209"/>
                <a:gd name="T87" fmla="*/ 234 h 488"/>
                <a:gd name="T88" fmla="*/ 143 w 209"/>
                <a:gd name="T89" fmla="*/ 442 h 488"/>
                <a:gd name="T90" fmla="*/ 152 w 209"/>
                <a:gd name="T91" fmla="*/ 271 h 488"/>
                <a:gd name="T92" fmla="*/ 158 w 209"/>
                <a:gd name="T93" fmla="*/ 445 h 488"/>
                <a:gd name="T94" fmla="*/ 158 w 209"/>
                <a:gd name="T95" fmla="*/ 433 h 488"/>
                <a:gd name="T96" fmla="*/ 165 w 209"/>
                <a:gd name="T97" fmla="*/ 297 h 488"/>
                <a:gd name="T98" fmla="*/ 172 w 209"/>
                <a:gd name="T99" fmla="*/ 296 h 488"/>
                <a:gd name="T100" fmla="*/ 160 w 209"/>
                <a:gd name="T101" fmla="*/ 333 h 488"/>
                <a:gd name="T102" fmla="*/ 163 w 209"/>
                <a:gd name="T103" fmla="*/ 324 h 488"/>
                <a:gd name="T104" fmla="*/ 163 w 209"/>
                <a:gd name="T105" fmla="*/ 333 h 488"/>
                <a:gd name="T106" fmla="*/ 163 w 209"/>
                <a:gd name="T107" fmla="*/ 366 h 488"/>
                <a:gd name="T108" fmla="*/ 180 w 209"/>
                <a:gd name="T109" fmla="*/ 377 h 488"/>
                <a:gd name="T110" fmla="*/ 169 w 209"/>
                <a:gd name="T111" fmla="*/ 411 h 488"/>
                <a:gd name="T112" fmla="*/ 172 w 209"/>
                <a:gd name="T113" fmla="*/ 313 h 488"/>
                <a:gd name="T114" fmla="*/ 177 w 209"/>
                <a:gd name="T115" fmla="*/ 397 h 488"/>
                <a:gd name="T116" fmla="*/ 177 w 209"/>
                <a:gd name="T117" fmla="*/ 360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9" h="488">
                  <a:moveTo>
                    <a:pt x="200" y="344"/>
                  </a:moveTo>
                  <a:cubicBezTo>
                    <a:pt x="200" y="352"/>
                    <a:pt x="203" y="357"/>
                    <a:pt x="203" y="366"/>
                  </a:cubicBezTo>
                  <a:lnTo>
                    <a:pt x="203" y="371"/>
                  </a:lnTo>
                  <a:lnTo>
                    <a:pt x="203" y="383"/>
                  </a:lnTo>
                  <a:lnTo>
                    <a:pt x="203" y="388"/>
                  </a:lnTo>
                  <a:cubicBezTo>
                    <a:pt x="208" y="394"/>
                    <a:pt x="206" y="397"/>
                    <a:pt x="203" y="402"/>
                  </a:cubicBezTo>
                  <a:lnTo>
                    <a:pt x="203" y="416"/>
                  </a:lnTo>
                  <a:lnTo>
                    <a:pt x="203" y="430"/>
                  </a:lnTo>
                  <a:lnTo>
                    <a:pt x="203" y="436"/>
                  </a:lnTo>
                  <a:cubicBezTo>
                    <a:pt x="203" y="439"/>
                    <a:pt x="200" y="439"/>
                    <a:pt x="200" y="442"/>
                  </a:cubicBezTo>
                  <a:cubicBezTo>
                    <a:pt x="197" y="445"/>
                    <a:pt x="194" y="450"/>
                    <a:pt x="191" y="453"/>
                  </a:cubicBezTo>
                  <a:lnTo>
                    <a:pt x="186" y="462"/>
                  </a:lnTo>
                  <a:cubicBezTo>
                    <a:pt x="180" y="467"/>
                    <a:pt x="172" y="473"/>
                    <a:pt x="163" y="478"/>
                  </a:cubicBezTo>
                  <a:cubicBezTo>
                    <a:pt x="160" y="481"/>
                    <a:pt x="158" y="481"/>
                    <a:pt x="152" y="481"/>
                  </a:cubicBezTo>
                  <a:cubicBezTo>
                    <a:pt x="149" y="481"/>
                    <a:pt x="146" y="481"/>
                    <a:pt x="141" y="484"/>
                  </a:cubicBezTo>
                  <a:cubicBezTo>
                    <a:pt x="138" y="481"/>
                    <a:pt x="138" y="481"/>
                    <a:pt x="135" y="481"/>
                  </a:cubicBezTo>
                  <a:cubicBezTo>
                    <a:pt x="132" y="481"/>
                    <a:pt x="132" y="484"/>
                    <a:pt x="129" y="484"/>
                  </a:cubicBezTo>
                  <a:cubicBezTo>
                    <a:pt x="115" y="487"/>
                    <a:pt x="104" y="481"/>
                    <a:pt x="93" y="473"/>
                  </a:cubicBezTo>
                  <a:cubicBezTo>
                    <a:pt x="87" y="470"/>
                    <a:pt x="84" y="467"/>
                    <a:pt x="81" y="462"/>
                  </a:cubicBezTo>
                  <a:cubicBezTo>
                    <a:pt x="81" y="459"/>
                    <a:pt x="79" y="456"/>
                    <a:pt x="76" y="456"/>
                  </a:cubicBezTo>
                  <a:cubicBezTo>
                    <a:pt x="73" y="453"/>
                    <a:pt x="70" y="453"/>
                    <a:pt x="67" y="450"/>
                  </a:cubicBezTo>
                  <a:cubicBezTo>
                    <a:pt x="67" y="442"/>
                    <a:pt x="64" y="433"/>
                    <a:pt x="59" y="428"/>
                  </a:cubicBezTo>
                  <a:lnTo>
                    <a:pt x="59" y="422"/>
                  </a:lnTo>
                  <a:lnTo>
                    <a:pt x="59" y="419"/>
                  </a:lnTo>
                  <a:cubicBezTo>
                    <a:pt x="59" y="416"/>
                    <a:pt x="56" y="414"/>
                    <a:pt x="56" y="411"/>
                  </a:cubicBezTo>
                  <a:cubicBezTo>
                    <a:pt x="53" y="405"/>
                    <a:pt x="50" y="399"/>
                    <a:pt x="53" y="394"/>
                  </a:cubicBezTo>
                  <a:lnTo>
                    <a:pt x="53" y="385"/>
                  </a:lnTo>
                  <a:cubicBezTo>
                    <a:pt x="53" y="383"/>
                    <a:pt x="50" y="377"/>
                    <a:pt x="50" y="374"/>
                  </a:cubicBezTo>
                  <a:lnTo>
                    <a:pt x="47" y="368"/>
                  </a:lnTo>
                  <a:cubicBezTo>
                    <a:pt x="45" y="366"/>
                    <a:pt x="47" y="366"/>
                    <a:pt x="47" y="360"/>
                  </a:cubicBezTo>
                  <a:lnTo>
                    <a:pt x="47" y="354"/>
                  </a:lnTo>
                  <a:lnTo>
                    <a:pt x="47" y="347"/>
                  </a:lnTo>
                  <a:cubicBezTo>
                    <a:pt x="45" y="341"/>
                    <a:pt x="45" y="338"/>
                    <a:pt x="45" y="333"/>
                  </a:cubicBezTo>
                  <a:cubicBezTo>
                    <a:pt x="45" y="327"/>
                    <a:pt x="42" y="324"/>
                    <a:pt x="42" y="319"/>
                  </a:cubicBezTo>
                  <a:cubicBezTo>
                    <a:pt x="39" y="316"/>
                    <a:pt x="39" y="313"/>
                    <a:pt x="39" y="310"/>
                  </a:cubicBezTo>
                  <a:cubicBezTo>
                    <a:pt x="39" y="307"/>
                    <a:pt x="39" y="307"/>
                    <a:pt x="36" y="305"/>
                  </a:cubicBezTo>
                  <a:cubicBezTo>
                    <a:pt x="36" y="302"/>
                    <a:pt x="33" y="302"/>
                    <a:pt x="33" y="299"/>
                  </a:cubicBezTo>
                  <a:lnTo>
                    <a:pt x="33" y="293"/>
                  </a:lnTo>
                  <a:lnTo>
                    <a:pt x="31" y="271"/>
                  </a:lnTo>
                  <a:cubicBezTo>
                    <a:pt x="31" y="265"/>
                    <a:pt x="28" y="257"/>
                    <a:pt x="28" y="251"/>
                  </a:cubicBezTo>
                  <a:lnTo>
                    <a:pt x="28" y="242"/>
                  </a:lnTo>
                  <a:lnTo>
                    <a:pt x="25" y="226"/>
                  </a:lnTo>
                  <a:cubicBezTo>
                    <a:pt x="22" y="220"/>
                    <a:pt x="22" y="214"/>
                    <a:pt x="19" y="206"/>
                  </a:cubicBezTo>
                  <a:cubicBezTo>
                    <a:pt x="19" y="203"/>
                    <a:pt x="16" y="200"/>
                    <a:pt x="16" y="197"/>
                  </a:cubicBezTo>
                  <a:cubicBezTo>
                    <a:pt x="16" y="195"/>
                    <a:pt x="16" y="192"/>
                    <a:pt x="14" y="189"/>
                  </a:cubicBezTo>
                  <a:cubicBezTo>
                    <a:pt x="11" y="186"/>
                    <a:pt x="8" y="180"/>
                    <a:pt x="11" y="175"/>
                  </a:cubicBezTo>
                  <a:lnTo>
                    <a:pt x="11" y="161"/>
                  </a:lnTo>
                  <a:cubicBezTo>
                    <a:pt x="11" y="158"/>
                    <a:pt x="8" y="152"/>
                    <a:pt x="8" y="149"/>
                  </a:cubicBezTo>
                  <a:cubicBezTo>
                    <a:pt x="8" y="141"/>
                    <a:pt x="8" y="135"/>
                    <a:pt x="5" y="127"/>
                  </a:cubicBezTo>
                  <a:cubicBezTo>
                    <a:pt x="2" y="116"/>
                    <a:pt x="0" y="101"/>
                    <a:pt x="0" y="90"/>
                  </a:cubicBezTo>
                  <a:lnTo>
                    <a:pt x="0" y="65"/>
                  </a:lnTo>
                  <a:lnTo>
                    <a:pt x="0" y="56"/>
                  </a:lnTo>
                  <a:cubicBezTo>
                    <a:pt x="0" y="45"/>
                    <a:pt x="5" y="31"/>
                    <a:pt x="14" y="22"/>
                  </a:cubicBezTo>
                  <a:lnTo>
                    <a:pt x="22" y="14"/>
                  </a:lnTo>
                  <a:lnTo>
                    <a:pt x="25" y="14"/>
                  </a:lnTo>
                  <a:cubicBezTo>
                    <a:pt x="28" y="14"/>
                    <a:pt x="31" y="11"/>
                    <a:pt x="33" y="11"/>
                  </a:cubicBezTo>
                  <a:lnTo>
                    <a:pt x="42" y="8"/>
                  </a:lnTo>
                  <a:cubicBezTo>
                    <a:pt x="45" y="8"/>
                    <a:pt x="47" y="6"/>
                    <a:pt x="50" y="6"/>
                  </a:cubicBezTo>
                  <a:cubicBezTo>
                    <a:pt x="53" y="6"/>
                    <a:pt x="56" y="3"/>
                    <a:pt x="59" y="3"/>
                  </a:cubicBezTo>
                  <a:cubicBezTo>
                    <a:pt x="62" y="3"/>
                    <a:pt x="64" y="0"/>
                    <a:pt x="64" y="3"/>
                  </a:cubicBezTo>
                  <a:lnTo>
                    <a:pt x="81" y="6"/>
                  </a:lnTo>
                  <a:cubicBezTo>
                    <a:pt x="93" y="8"/>
                    <a:pt x="104" y="11"/>
                    <a:pt x="110" y="20"/>
                  </a:cubicBezTo>
                  <a:cubicBezTo>
                    <a:pt x="112" y="25"/>
                    <a:pt x="118" y="31"/>
                    <a:pt x="121" y="34"/>
                  </a:cubicBezTo>
                  <a:cubicBezTo>
                    <a:pt x="124" y="37"/>
                    <a:pt x="124" y="39"/>
                    <a:pt x="124" y="39"/>
                  </a:cubicBezTo>
                  <a:cubicBezTo>
                    <a:pt x="124" y="42"/>
                    <a:pt x="124" y="45"/>
                    <a:pt x="127" y="48"/>
                  </a:cubicBezTo>
                  <a:lnTo>
                    <a:pt x="129" y="56"/>
                  </a:lnTo>
                  <a:cubicBezTo>
                    <a:pt x="129" y="59"/>
                    <a:pt x="132" y="62"/>
                    <a:pt x="132" y="65"/>
                  </a:cubicBezTo>
                  <a:lnTo>
                    <a:pt x="132" y="70"/>
                  </a:lnTo>
                  <a:cubicBezTo>
                    <a:pt x="129" y="76"/>
                    <a:pt x="132" y="82"/>
                    <a:pt x="132" y="85"/>
                  </a:cubicBezTo>
                  <a:cubicBezTo>
                    <a:pt x="132" y="85"/>
                    <a:pt x="132" y="87"/>
                    <a:pt x="135" y="87"/>
                  </a:cubicBezTo>
                  <a:lnTo>
                    <a:pt x="135" y="93"/>
                  </a:lnTo>
                  <a:lnTo>
                    <a:pt x="135" y="96"/>
                  </a:lnTo>
                  <a:cubicBezTo>
                    <a:pt x="135" y="96"/>
                    <a:pt x="138" y="99"/>
                    <a:pt x="135" y="99"/>
                  </a:cubicBezTo>
                  <a:lnTo>
                    <a:pt x="135" y="101"/>
                  </a:lnTo>
                  <a:lnTo>
                    <a:pt x="135" y="107"/>
                  </a:lnTo>
                  <a:lnTo>
                    <a:pt x="135" y="110"/>
                  </a:lnTo>
                  <a:lnTo>
                    <a:pt x="135" y="113"/>
                  </a:lnTo>
                  <a:cubicBezTo>
                    <a:pt x="138" y="116"/>
                    <a:pt x="138" y="116"/>
                    <a:pt x="138" y="118"/>
                  </a:cubicBezTo>
                  <a:cubicBezTo>
                    <a:pt x="138" y="121"/>
                    <a:pt x="141" y="124"/>
                    <a:pt x="141" y="130"/>
                  </a:cubicBezTo>
                  <a:cubicBezTo>
                    <a:pt x="141" y="132"/>
                    <a:pt x="141" y="138"/>
                    <a:pt x="143" y="141"/>
                  </a:cubicBezTo>
                  <a:lnTo>
                    <a:pt x="143" y="144"/>
                  </a:lnTo>
                  <a:lnTo>
                    <a:pt x="143" y="147"/>
                  </a:lnTo>
                  <a:lnTo>
                    <a:pt x="146" y="149"/>
                  </a:lnTo>
                  <a:cubicBezTo>
                    <a:pt x="146" y="152"/>
                    <a:pt x="146" y="155"/>
                    <a:pt x="149" y="158"/>
                  </a:cubicBezTo>
                  <a:lnTo>
                    <a:pt x="149" y="169"/>
                  </a:lnTo>
                  <a:cubicBezTo>
                    <a:pt x="149" y="169"/>
                    <a:pt x="149" y="172"/>
                    <a:pt x="152" y="175"/>
                  </a:cubicBezTo>
                  <a:cubicBezTo>
                    <a:pt x="155" y="180"/>
                    <a:pt x="155" y="186"/>
                    <a:pt x="155" y="192"/>
                  </a:cubicBezTo>
                  <a:lnTo>
                    <a:pt x="158" y="195"/>
                  </a:lnTo>
                  <a:lnTo>
                    <a:pt x="158" y="200"/>
                  </a:lnTo>
                  <a:lnTo>
                    <a:pt x="160" y="220"/>
                  </a:lnTo>
                  <a:lnTo>
                    <a:pt x="160" y="226"/>
                  </a:lnTo>
                  <a:lnTo>
                    <a:pt x="160" y="237"/>
                  </a:lnTo>
                  <a:lnTo>
                    <a:pt x="160" y="242"/>
                  </a:lnTo>
                  <a:cubicBezTo>
                    <a:pt x="160" y="245"/>
                    <a:pt x="160" y="251"/>
                    <a:pt x="163" y="254"/>
                  </a:cubicBezTo>
                  <a:cubicBezTo>
                    <a:pt x="166" y="259"/>
                    <a:pt x="169" y="268"/>
                    <a:pt x="169" y="274"/>
                  </a:cubicBezTo>
                  <a:cubicBezTo>
                    <a:pt x="169" y="276"/>
                    <a:pt x="169" y="279"/>
                    <a:pt x="172" y="285"/>
                  </a:cubicBezTo>
                  <a:cubicBezTo>
                    <a:pt x="174" y="288"/>
                    <a:pt x="174" y="293"/>
                    <a:pt x="177" y="299"/>
                  </a:cubicBezTo>
                  <a:cubicBezTo>
                    <a:pt x="177" y="305"/>
                    <a:pt x="177" y="307"/>
                    <a:pt x="180" y="313"/>
                  </a:cubicBezTo>
                  <a:lnTo>
                    <a:pt x="180" y="316"/>
                  </a:lnTo>
                  <a:lnTo>
                    <a:pt x="180" y="321"/>
                  </a:lnTo>
                  <a:lnTo>
                    <a:pt x="180" y="324"/>
                  </a:lnTo>
                  <a:cubicBezTo>
                    <a:pt x="197" y="327"/>
                    <a:pt x="200" y="336"/>
                    <a:pt x="200" y="344"/>
                  </a:cubicBezTo>
                  <a:close/>
                  <a:moveTo>
                    <a:pt x="28" y="99"/>
                  </a:moveTo>
                  <a:cubicBezTo>
                    <a:pt x="31" y="101"/>
                    <a:pt x="31" y="101"/>
                    <a:pt x="33" y="101"/>
                  </a:cubicBezTo>
                  <a:lnTo>
                    <a:pt x="33" y="96"/>
                  </a:lnTo>
                  <a:lnTo>
                    <a:pt x="28" y="99"/>
                  </a:lnTo>
                  <a:close/>
                  <a:moveTo>
                    <a:pt x="39" y="68"/>
                  </a:moveTo>
                  <a:cubicBezTo>
                    <a:pt x="42" y="68"/>
                    <a:pt x="42" y="68"/>
                    <a:pt x="45" y="65"/>
                  </a:cubicBezTo>
                  <a:lnTo>
                    <a:pt x="42" y="65"/>
                  </a:lnTo>
                  <a:lnTo>
                    <a:pt x="39" y="65"/>
                  </a:lnTo>
                  <a:cubicBezTo>
                    <a:pt x="36" y="65"/>
                    <a:pt x="33" y="68"/>
                    <a:pt x="31" y="68"/>
                  </a:cubicBezTo>
                  <a:lnTo>
                    <a:pt x="31" y="70"/>
                  </a:lnTo>
                  <a:lnTo>
                    <a:pt x="39" y="68"/>
                  </a:lnTo>
                  <a:close/>
                  <a:moveTo>
                    <a:pt x="33" y="132"/>
                  </a:moveTo>
                  <a:lnTo>
                    <a:pt x="36" y="132"/>
                  </a:lnTo>
                  <a:cubicBezTo>
                    <a:pt x="36" y="132"/>
                    <a:pt x="36" y="130"/>
                    <a:pt x="33" y="127"/>
                  </a:cubicBezTo>
                  <a:lnTo>
                    <a:pt x="33" y="132"/>
                  </a:lnTo>
                  <a:close/>
                  <a:moveTo>
                    <a:pt x="36" y="59"/>
                  </a:moveTo>
                  <a:lnTo>
                    <a:pt x="42" y="59"/>
                  </a:lnTo>
                  <a:cubicBezTo>
                    <a:pt x="42" y="62"/>
                    <a:pt x="45" y="62"/>
                    <a:pt x="47" y="59"/>
                  </a:cubicBezTo>
                  <a:cubicBezTo>
                    <a:pt x="45" y="59"/>
                    <a:pt x="45" y="56"/>
                    <a:pt x="42" y="56"/>
                  </a:cubicBezTo>
                  <a:cubicBezTo>
                    <a:pt x="39" y="56"/>
                    <a:pt x="39" y="53"/>
                    <a:pt x="36" y="53"/>
                  </a:cubicBezTo>
                  <a:lnTo>
                    <a:pt x="36" y="59"/>
                  </a:lnTo>
                  <a:close/>
                  <a:moveTo>
                    <a:pt x="42" y="172"/>
                  </a:moveTo>
                  <a:lnTo>
                    <a:pt x="39" y="169"/>
                  </a:lnTo>
                  <a:cubicBezTo>
                    <a:pt x="36" y="175"/>
                    <a:pt x="39" y="175"/>
                    <a:pt x="42" y="172"/>
                  </a:cubicBezTo>
                  <a:close/>
                  <a:moveTo>
                    <a:pt x="39" y="48"/>
                  </a:moveTo>
                  <a:cubicBezTo>
                    <a:pt x="42" y="48"/>
                    <a:pt x="42" y="45"/>
                    <a:pt x="45" y="45"/>
                  </a:cubicBezTo>
                  <a:cubicBezTo>
                    <a:pt x="42" y="45"/>
                    <a:pt x="42" y="42"/>
                    <a:pt x="39" y="39"/>
                  </a:cubicBezTo>
                  <a:lnTo>
                    <a:pt x="39" y="48"/>
                  </a:lnTo>
                  <a:close/>
                  <a:moveTo>
                    <a:pt x="47" y="135"/>
                  </a:moveTo>
                  <a:cubicBezTo>
                    <a:pt x="47" y="135"/>
                    <a:pt x="47" y="132"/>
                    <a:pt x="45" y="130"/>
                  </a:cubicBezTo>
                  <a:lnTo>
                    <a:pt x="42" y="135"/>
                  </a:lnTo>
                  <a:lnTo>
                    <a:pt x="47" y="135"/>
                  </a:lnTo>
                  <a:close/>
                  <a:moveTo>
                    <a:pt x="45" y="186"/>
                  </a:moveTo>
                  <a:lnTo>
                    <a:pt x="47" y="186"/>
                  </a:lnTo>
                  <a:lnTo>
                    <a:pt x="47" y="183"/>
                  </a:lnTo>
                  <a:cubicBezTo>
                    <a:pt x="47" y="183"/>
                    <a:pt x="45" y="183"/>
                    <a:pt x="45" y="186"/>
                  </a:cubicBezTo>
                  <a:close/>
                  <a:moveTo>
                    <a:pt x="45" y="172"/>
                  </a:moveTo>
                  <a:lnTo>
                    <a:pt x="47" y="172"/>
                  </a:lnTo>
                  <a:lnTo>
                    <a:pt x="47" y="169"/>
                  </a:lnTo>
                  <a:lnTo>
                    <a:pt x="45" y="172"/>
                  </a:lnTo>
                  <a:close/>
                  <a:moveTo>
                    <a:pt x="45" y="37"/>
                  </a:moveTo>
                  <a:lnTo>
                    <a:pt x="47" y="39"/>
                  </a:lnTo>
                  <a:lnTo>
                    <a:pt x="50" y="39"/>
                  </a:lnTo>
                  <a:lnTo>
                    <a:pt x="47" y="37"/>
                  </a:lnTo>
                  <a:lnTo>
                    <a:pt x="45" y="37"/>
                  </a:lnTo>
                  <a:close/>
                  <a:moveTo>
                    <a:pt x="47" y="42"/>
                  </a:moveTo>
                  <a:cubicBezTo>
                    <a:pt x="50" y="45"/>
                    <a:pt x="50" y="48"/>
                    <a:pt x="53" y="51"/>
                  </a:cubicBezTo>
                  <a:cubicBezTo>
                    <a:pt x="56" y="48"/>
                    <a:pt x="56" y="46"/>
                    <a:pt x="58" y="41"/>
                  </a:cubicBezTo>
                  <a:cubicBezTo>
                    <a:pt x="58" y="42"/>
                    <a:pt x="58" y="42"/>
                    <a:pt x="59" y="42"/>
                  </a:cubicBezTo>
                  <a:lnTo>
                    <a:pt x="64" y="37"/>
                  </a:lnTo>
                  <a:cubicBezTo>
                    <a:pt x="58" y="37"/>
                    <a:pt x="57" y="38"/>
                    <a:pt x="57" y="40"/>
                  </a:cubicBezTo>
                  <a:lnTo>
                    <a:pt x="47" y="42"/>
                  </a:lnTo>
                  <a:close/>
                  <a:moveTo>
                    <a:pt x="59" y="39"/>
                  </a:moveTo>
                  <a:lnTo>
                    <a:pt x="57" y="40"/>
                  </a:lnTo>
                  <a:lnTo>
                    <a:pt x="58" y="41"/>
                  </a:lnTo>
                  <a:cubicBezTo>
                    <a:pt x="58" y="41"/>
                    <a:pt x="58" y="40"/>
                    <a:pt x="59" y="39"/>
                  </a:cubicBezTo>
                  <a:close/>
                  <a:moveTo>
                    <a:pt x="56" y="209"/>
                  </a:moveTo>
                  <a:lnTo>
                    <a:pt x="50" y="209"/>
                  </a:lnTo>
                  <a:lnTo>
                    <a:pt x="50" y="211"/>
                  </a:lnTo>
                  <a:lnTo>
                    <a:pt x="53" y="211"/>
                  </a:lnTo>
                  <a:lnTo>
                    <a:pt x="56" y="209"/>
                  </a:lnTo>
                  <a:close/>
                  <a:moveTo>
                    <a:pt x="115" y="414"/>
                  </a:moveTo>
                  <a:lnTo>
                    <a:pt x="121" y="419"/>
                  </a:lnTo>
                  <a:cubicBezTo>
                    <a:pt x="124" y="422"/>
                    <a:pt x="127" y="422"/>
                    <a:pt x="127" y="425"/>
                  </a:cubicBezTo>
                  <a:lnTo>
                    <a:pt x="138" y="422"/>
                  </a:lnTo>
                  <a:cubicBezTo>
                    <a:pt x="143" y="414"/>
                    <a:pt x="146" y="402"/>
                    <a:pt x="143" y="391"/>
                  </a:cubicBezTo>
                  <a:lnTo>
                    <a:pt x="143" y="385"/>
                  </a:lnTo>
                  <a:lnTo>
                    <a:pt x="143" y="380"/>
                  </a:lnTo>
                  <a:cubicBezTo>
                    <a:pt x="143" y="368"/>
                    <a:pt x="144" y="369"/>
                    <a:pt x="141" y="363"/>
                  </a:cubicBezTo>
                  <a:cubicBezTo>
                    <a:pt x="139" y="358"/>
                    <a:pt x="138" y="353"/>
                    <a:pt x="138" y="350"/>
                  </a:cubicBezTo>
                  <a:lnTo>
                    <a:pt x="138" y="336"/>
                  </a:lnTo>
                  <a:cubicBezTo>
                    <a:pt x="135" y="333"/>
                    <a:pt x="135" y="327"/>
                    <a:pt x="135" y="324"/>
                  </a:cubicBezTo>
                  <a:cubicBezTo>
                    <a:pt x="135" y="321"/>
                    <a:pt x="135" y="316"/>
                    <a:pt x="132" y="313"/>
                  </a:cubicBezTo>
                  <a:lnTo>
                    <a:pt x="129" y="288"/>
                  </a:lnTo>
                  <a:lnTo>
                    <a:pt x="129" y="282"/>
                  </a:lnTo>
                  <a:lnTo>
                    <a:pt x="129" y="276"/>
                  </a:lnTo>
                  <a:lnTo>
                    <a:pt x="129" y="271"/>
                  </a:lnTo>
                  <a:cubicBezTo>
                    <a:pt x="129" y="268"/>
                    <a:pt x="127" y="268"/>
                    <a:pt x="127" y="265"/>
                  </a:cubicBezTo>
                  <a:lnTo>
                    <a:pt x="124" y="254"/>
                  </a:lnTo>
                  <a:lnTo>
                    <a:pt x="124" y="251"/>
                  </a:lnTo>
                  <a:lnTo>
                    <a:pt x="124" y="248"/>
                  </a:lnTo>
                  <a:lnTo>
                    <a:pt x="118" y="242"/>
                  </a:lnTo>
                  <a:lnTo>
                    <a:pt x="118" y="237"/>
                  </a:lnTo>
                  <a:lnTo>
                    <a:pt x="118" y="226"/>
                  </a:lnTo>
                  <a:lnTo>
                    <a:pt x="118" y="214"/>
                  </a:lnTo>
                  <a:cubicBezTo>
                    <a:pt x="118" y="211"/>
                    <a:pt x="118" y="206"/>
                    <a:pt x="115" y="203"/>
                  </a:cubicBezTo>
                  <a:cubicBezTo>
                    <a:pt x="112" y="200"/>
                    <a:pt x="110" y="195"/>
                    <a:pt x="110" y="192"/>
                  </a:cubicBezTo>
                  <a:lnTo>
                    <a:pt x="110" y="186"/>
                  </a:lnTo>
                  <a:lnTo>
                    <a:pt x="110" y="172"/>
                  </a:lnTo>
                  <a:lnTo>
                    <a:pt x="110" y="166"/>
                  </a:lnTo>
                  <a:cubicBezTo>
                    <a:pt x="110" y="164"/>
                    <a:pt x="110" y="164"/>
                    <a:pt x="107" y="161"/>
                  </a:cubicBezTo>
                  <a:cubicBezTo>
                    <a:pt x="107" y="158"/>
                    <a:pt x="104" y="155"/>
                    <a:pt x="101" y="152"/>
                  </a:cubicBezTo>
                  <a:cubicBezTo>
                    <a:pt x="98" y="149"/>
                    <a:pt x="98" y="147"/>
                    <a:pt x="101" y="144"/>
                  </a:cubicBezTo>
                  <a:lnTo>
                    <a:pt x="101" y="135"/>
                  </a:lnTo>
                  <a:lnTo>
                    <a:pt x="101" y="127"/>
                  </a:lnTo>
                  <a:cubicBezTo>
                    <a:pt x="104" y="124"/>
                    <a:pt x="101" y="121"/>
                    <a:pt x="101" y="118"/>
                  </a:cubicBezTo>
                  <a:cubicBezTo>
                    <a:pt x="98" y="118"/>
                    <a:pt x="98" y="116"/>
                    <a:pt x="98" y="113"/>
                  </a:cubicBezTo>
                  <a:lnTo>
                    <a:pt x="98" y="107"/>
                  </a:lnTo>
                  <a:lnTo>
                    <a:pt x="95" y="93"/>
                  </a:lnTo>
                  <a:cubicBezTo>
                    <a:pt x="95" y="87"/>
                    <a:pt x="93" y="82"/>
                    <a:pt x="90" y="76"/>
                  </a:cubicBezTo>
                  <a:cubicBezTo>
                    <a:pt x="90" y="73"/>
                    <a:pt x="87" y="73"/>
                    <a:pt x="84" y="70"/>
                  </a:cubicBezTo>
                  <a:cubicBezTo>
                    <a:pt x="81" y="70"/>
                    <a:pt x="81" y="68"/>
                    <a:pt x="79" y="65"/>
                  </a:cubicBezTo>
                  <a:lnTo>
                    <a:pt x="67" y="68"/>
                  </a:lnTo>
                  <a:lnTo>
                    <a:pt x="64" y="70"/>
                  </a:lnTo>
                  <a:lnTo>
                    <a:pt x="62" y="73"/>
                  </a:lnTo>
                  <a:cubicBezTo>
                    <a:pt x="62" y="76"/>
                    <a:pt x="62" y="82"/>
                    <a:pt x="59" y="85"/>
                  </a:cubicBezTo>
                  <a:cubicBezTo>
                    <a:pt x="56" y="90"/>
                    <a:pt x="59" y="93"/>
                    <a:pt x="62" y="99"/>
                  </a:cubicBezTo>
                  <a:lnTo>
                    <a:pt x="70" y="144"/>
                  </a:lnTo>
                  <a:lnTo>
                    <a:pt x="70" y="161"/>
                  </a:lnTo>
                  <a:cubicBezTo>
                    <a:pt x="70" y="164"/>
                    <a:pt x="70" y="166"/>
                    <a:pt x="73" y="166"/>
                  </a:cubicBezTo>
                  <a:cubicBezTo>
                    <a:pt x="76" y="172"/>
                    <a:pt x="79" y="178"/>
                    <a:pt x="76" y="180"/>
                  </a:cubicBezTo>
                  <a:cubicBezTo>
                    <a:pt x="76" y="183"/>
                    <a:pt x="76" y="189"/>
                    <a:pt x="79" y="192"/>
                  </a:cubicBezTo>
                  <a:lnTo>
                    <a:pt x="79" y="197"/>
                  </a:lnTo>
                  <a:cubicBezTo>
                    <a:pt x="81" y="203"/>
                    <a:pt x="84" y="211"/>
                    <a:pt x="81" y="220"/>
                  </a:cubicBezTo>
                  <a:cubicBezTo>
                    <a:pt x="81" y="226"/>
                    <a:pt x="81" y="231"/>
                    <a:pt x="84" y="234"/>
                  </a:cubicBezTo>
                  <a:lnTo>
                    <a:pt x="84" y="237"/>
                  </a:lnTo>
                  <a:lnTo>
                    <a:pt x="84" y="240"/>
                  </a:lnTo>
                  <a:cubicBezTo>
                    <a:pt x="84" y="242"/>
                    <a:pt x="87" y="242"/>
                    <a:pt x="87" y="245"/>
                  </a:cubicBezTo>
                  <a:cubicBezTo>
                    <a:pt x="87" y="248"/>
                    <a:pt x="90" y="254"/>
                    <a:pt x="90" y="257"/>
                  </a:cubicBezTo>
                  <a:cubicBezTo>
                    <a:pt x="90" y="259"/>
                    <a:pt x="90" y="262"/>
                    <a:pt x="93" y="262"/>
                  </a:cubicBezTo>
                  <a:cubicBezTo>
                    <a:pt x="95" y="268"/>
                    <a:pt x="95" y="274"/>
                    <a:pt x="93" y="279"/>
                  </a:cubicBezTo>
                  <a:cubicBezTo>
                    <a:pt x="95" y="282"/>
                    <a:pt x="95" y="288"/>
                    <a:pt x="98" y="290"/>
                  </a:cubicBezTo>
                  <a:lnTo>
                    <a:pt x="98" y="296"/>
                  </a:lnTo>
                  <a:lnTo>
                    <a:pt x="98" y="302"/>
                  </a:lnTo>
                  <a:cubicBezTo>
                    <a:pt x="98" y="305"/>
                    <a:pt x="101" y="305"/>
                    <a:pt x="101" y="307"/>
                  </a:cubicBezTo>
                  <a:cubicBezTo>
                    <a:pt x="101" y="313"/>
                    <a:pt x="104" y="316"/>
                    <a:pt x="104" y="319"/>
                  </a:cubicBezTo>
                  <a:lnTo>
                    <a:pt x="104" y="321"/>
                  </a:lnTo>
                  <a:lnTo>
                    <a:pt x="104" y="324"/>
                  </a:lnTo>
                  <a:cubicBezTo>
                    <a:pt x="104" y="336"/>
                    <a:pt x="104" y="347"/>
                    <a:pt x="110" y="357"/>
                  </a:cubicBezTo>
                  <a:cubicBezTo>
                    <a:pt x="110" y="360"/>
                    <a:pt x="112" y="366"/>
                    <a:pt x="112" y="368"/>
                  </a:cubicBezTo>
                  <a:lnTo>
                    <a:pt x="112" y="380"/>
                  </a:lnTo>
                  <a:cubicBezTo>
                    <a:pt x="110" y="385"/>
                    <a:pt x="112" y="391"/>
                    <a:pt x="112" y="397"/>
                  </a:cubicBezTo>
                  <a:cubicBezTo>
                    <a:pt x="115" y="399"/>
                    <a:pt x="115" y="405"/>
                    <a:pt x="115" y="408"/>
                  </a:cubicBezTo>
                  <a:cubicBezTo>
                    <a:pt x="112" y="405"/>
                    <a:pt x="115" y="408"/>
                    <a:pt x="115" y="414"/>
                  </a:cubicBezTo>
                  <a:close/>
                  <a:moveTo>
                    <a:pt x="56" y="259"/>
                  </a:moveTo>
                  <a:lnTo>
                    <a:pt x="59" y="257"/>
                  </a:lnTo>
                  <a:lnTo>
                    <a:pt x="59" y="254"/>
                  </a:lnTo>
                  <a:lnTo>
                    <a:pt x="59" y="251"/>
                  </a:lnTo>
                  <a:cubicBezTo>
                    <a:pt x="59" y="254"/>
                    <a:pt x="56" y="254"/>
                    <a:pt x="56" y="259"/>
                  </a:cubicBezTo>
                  <a:close/>
                  <a:moveTo>
                    <a:pt x="62" y="268"/>
                  </a:moveTo>
                  <a:cubicBezTo>
                    <a:pt x="62" y="271"/>
                    <a:pt x="64" y="274"/>
                    <a:pt x="67" y="274"/>
                  </a:cubicBezTo>
                  <a:cubicBezTo>
                    <a:pt x="67" y="271"/>
                    <a:pt x="64" y="268"/>
                    <a:pt x="62" y="268"/>
                  </a:cubicBezTo>
                  <a:cubicBezTo>
                    <a:pt x="64" y="265"/>
                    <a:pt x="64" y="265"/>
                    <a:pt x="64" y="262"/>
                  </a:cubicBezTo>
                  <a:lnTo>
                    <a:pt x="64" y="257"/>
                  </a:lnTo>
                  <a:cubicBezTo>
                    <a:pt x="62" y="259"/>
                    <a:pt x="59" y="259"/>
                    <a:pt x="59" y="262"/>
                  </a:cubicBezTo>
                  <a:cubicBezTo>
                    <a:pt x="62" y="262"/>
                    <a:pt x="62" y="265"/>
                    <a:pt x="62" y="268"/>
                  </a:cubicBezTo>
                  <a:close/>
                  <a:moveTo>
                    <a:pt x="67" y="299"/>
                  </a:moveTo>
                  <a:cubicBezTo>
                    <a:pt x="64" y="296"/>
                    <a:pt x="64" y="299"/>
                    <a:pt x="62" y="299"/>
                  </a:cubicBezTo>
                  <a:lnTo>
                    <a:pt x="67" y="299"/>
                  </a:lnTo>
                  <a:close/>
                  <a:moveTo>
                    <a:pt x="64" y="31"/>
                  </a:moveTo>
                  <a:cubicBezTo>
                    <a:pt x="64" y="31"/>
                    <a:pt x="67" y="31"/>
                    <a:pt x="64" y="31"/>
                  </a:cubicBezTo>
                  <a:lnTo>
                    <a:pt x="70" y="31"/>
                  </a:lnTo>
                  <a:lnTo>
                    <a:pt x="70" y="28"/>
                  </a:lnTo>
                  <a:lnTo>
                    <a:pt x="70" y="25"/>
                  </a:lnTo>
                  <a:cubicBezTo>
                    <a:pt x="67" y="25"/>
                    <a:pt x="67" y="28"/>
                    <a:pt x="67" y="28"/>
                  </a:cubicBezTo>
                  <a:cubicBezTo>
                    <a:pt x="67" y="28"/>
                    <a:pt x="64" y="28"/>
                    <a:pt x="64" y="31"/>
                  </a:cubicBezTo>
                  <a:close/>
                  <a:moveTo>
                    <a:pt x="67" y="279"/>
                  </a:moveTo>
                  <a:cubicBezTo>
                    <a:pt x="70" y="282"/>
                    <a:pt x="70" y="282"/>
                    <a:pt x="70" y="285"/>
                  </a:cubicBezTo>
                  <a:cubicBezTo>
                    <a:pt x="73" y="288"/>
                    <a:pt x="73" y="290"/>
                    <a:pt x="73" y="293"/>
                  </a:cubicBezTo>
                  <a:cubicBezTo>
                    <a:pt x="73" y="285"/>
                    <a:pt x="73" y="282"/>
                    <a:pt x="67" y="279"/>
                  </a:cubicBezTo>
                  <a:close/>
                  <a:moveTo>
                    <a:pt x="73" y="319"/>
                  </a:moveTo>
                  <a:cubicBezTo>
                    <a:pt x="73" y="319"/>
                    <a:pt x="75" y="319"/>
                    <a:pt x="76" y="320"/>
                  </a:cubicBezTo>
                  <a:lnTo>
                    <a:pt x="73" y="305"/>
                  </a:lnTo>
                  <a:lnTo>
                    <a:pt x="70" y="305"/>
                  </a:lnTo>
                  <a:lnTo>
                    <a:pt x="67" y="305"/>
                  </a:lnTo>
                  <a:lnTo>
                    <a:pt x="70" y="307"/>
                  </a:lnTo>
                  <a:cubicBezTo>
                    <a:pt x="70" y="307"/>
                    <a:pt x="70" y="310"/>
                    <a:pt x="73" y="310"/>
                  </a:cubicBezTo>
                  <a:cubicBezTo>
                    <a:pt x="70" y="313"/>
                    <a:pt x="70" y="313"/>
                    <a:pt x="67" y="313"/>
                  </a:cubicBezTo>
                  <a:lnTo>
                    <a:pt x="73" y="319"/>
                  </a:lnTo>
                  <a:close/>
                  <a:moveTo>
                    <a:pt x="67" y="34"/>
                  </a:moveTo>
                  <a:lnTo>
                    <a:pt x="67" y="39"/>
                  </a:lnTo>
                  <a:cubicBezTo>
                    <a:pt x="70" y="39"/>
                    <a:pt x="72" y="39"/>
                    <a:pt x="75" y="42"/>
                  </a:cubicBezTo>
                  <a:cubicBezTo>
                    <a:pt x="74" y="42"/>
                    <a:pt x="74" y="42"/>
                    <a:pt x="73" y="42"/>
                  </a:cubicBezTo>
                  <a:lnTo>
                    <a:pt x="79" y="48"/>
                  </a:lnTo>
                  <a:cubicBezTo>
                    <a:pt x="79" y="45"/>
                    <a:pt x="81" y="45"/>
                    <a:pt x="81" y="42"/>
                  </a:cubicBezTo>
                  <a:cubicBezTo>
                    <a:pt x="84" y="42"/>
                    <a:pt x="84" y="39"/>
                    <a:pt x="84" y="37"/>
                  </a:cubicBezTo>
                  <a:lnTo>
                    <a:pt x="79" y="39"/>
                  </a:lnTo>
                  <a:cubicBezTo>
                    <a:pt x="77" y="39"/>
                    <a:pt x="77" y="40"/>
                    <a:pt x="76" y="41"/>
                  </a:cubicBezTo>
                  <a:cubicBezTo>
                    <a:pt x="76" y="41"/>
                    <a:pt x="75" y="41"/>
                    <a:pt x="75" y="42"/>
                  </a:cubicBezTo>
                  <a:cubicBezTo>
                    <a:pt x="75" y="42"/>
                    <a:pt x="75" y="42"/>
                    <a:pt x="76" y="42"/>
                  </a:cubicBezTo>
                  <a:cubicBezTo>
                    <a:pt x="76" y="41"/>
                    <a:pt x="76" y="40"/>
                    <a:pt x="76" y="41"/>
                  </a:cubicBezTo>
                  <a:lnTo>
                    <a:pt x="76" y="39"/>
                  </a:lnTo>
                  <a:cubicBezTo>
                    <a:pt x="76" y="39"/>
                    <a:pt x="73" y="34"/>
                    <a:pt x="67" y="34"/>
                  </a:cubicBezTo>
                  <a:close/>
                  <a:moveTo>
                    <a:pt x="70" y="363"/>
                  </a:moveTo>
                  <a:cubicBezTo>
                    <a:pt x="73" y="366"/>
                    <a:pt x="73" y="366"/>
                    <a:pt x="73" y="368"/>
                  </a:cubicBezTo>
                  <a:lnTo>
                    <a:pt x="73" y="366"/>
                  </a:lnTo>
                  <a:lnTo>
                    <a:pt x="70" y="363"/>
                  </a:lnTo>
                  <a:close/>
                  <a:moveTo>
                    <a:pt x="73" y="380"/>
                  </a:moveTo>
                  <a:lnTo>
                    <a:pt x="76" y="380"/>
                  </a:lnTo>
                  <a:cubicBezTo>
                    <a:pt x="76" y="377"/>
                    <a:pt x="73" y="377"/>
                    <a:pt x="73" y="380"/>
                  </a:cubicBezTo>
                  <a:close/>
                  <a:moveTo>
                    <a:pt x="73" y="34"/>
                  </a:moveTo>
                  <a:cubicBezTo>
                    <a:pt x="76" y="34"/>
                    <a:pt x="79" y="37"/>
                    <a:pt x="84" y="37"/>
                  </a:cubicBezTo>
                  <a:lnTo>
                    <a:pt x="84" y="34"/>
                  </a:lnTo>
                  <a:lnTo>
                    <a:pt x="76" y="31"/>
                  </a:lnTo>
                  <a:lnTo>
                    <a:pt x="73" y="34"/>
                  </a:lnTo>
                  <a:close/>
                  <a:moveTo>
                    <a:pt x="81" y="336"/>
                  </a:moveTo>
                  <a:lnTo>
                    <a:pt x="76" y="336"/>
                  </a:lnTo>
                  <a:lnTo>
                    <a:pt x="76" y="338"/>
                  </a:lnTo>
                  <a:cubicBezTo>
                    <a:pt x="79" y="338"/>
                    <a:pt x="81" y="338"/>
                    <a:pt x="81" y="336"/>
                  </a:cubicBezTo>
                  <a:close/>
                  <a:moveTo>
                    <a:pt x="84" y="391"/>
                  </a:moveTo>
                  <a:lnTo>
                    <a:pt x="79" y="391"/>
                  </a:lnTo>
                  <a:lnTo>
                    <a:pt x="76" y="394"/>
                  </a:lnTo>
                  <a:cubicBezTo>
                    <a:pt x="76" y="397"/>
                    <a:pt x="79" y="397"/>
                    <a:pt x="79" y="399"/>
                  </a:cubicBezTo>
                  <a:cubicBezTo>
                    <a:pt x="81" y="397"/>
                    <a:pt x="84" y="394"/>
                    <a:pt x="84" y="391"/>
                  </a:cubicBezTo>
                  <a:close/>
                  <a:moveTo>
                    <a:pt x="79" y="366"/>
                  </a:moveTo>
                  <a:lnTo>
                    <a:pt x="84" y="366"/>
                  </a:lnTo>
                  <a:lnTo>
                    <a:pt x="84" y="360"/>
                  </a:lnTo>
                  <a:cubicBezTo>
                    <a:pt x="84" y="360"/>
                    <a:pt x="84" y="363"/>
                    <a:pt x="81" y="363"/>
                  </a:cubicBezTo>
                  <a:cubicBezTo>
                    <a:pt x="81" y="363"/>
                    <a:pt x="81" y="363"/>
                    <a:pt x="79" y="366"/>
                  </a:cubicBezTo>
                  <a:close/>
                  <a:moveTo>
                    <a:pt x="81" y="357"/>
                  </a:moveTo>
                  <a:lnTo>
                    <a:pt x="87" y="357"/>
                  </a:lnTo>
                  <a:lnTo>
                    <a:pt x="87" y="354"/>
                  </a:lnTo>
                  <a:cubicBezTo>
                    <a:pt x="84" y="357"/>
                    <a:pt x="81" y="357"/>
                    <a:pt x="81" y="357"/>
                  </a:cubicBezTo>
                  <a:close/>
                  <a:moveTo>
                    <a:pt x="90" y="377"/>
                  </a:moveTo>
                  <a:cubicBezTo>
                    <a:pt x="90" y="374"/>
                    <a:pt x="87" y="374"/>
                    <a:pt x="87" y="374"/>
                  </a:cubicBezTo>
                  <a:lnTo>
                    <a:pt x="84" y="377"/>
                  </a:lnTo>
                  <a:lnTo>
                    <a:pt x="87" y="380"/>
                  </a:lnTo>
                  <a:lnTo>
                    <a:pt x="90" y="380"/>
                  </a:lnTo>
                  <a:lnTo>
                    <a:pt x="90" y="377"/>
                  </a:lnTo>
                  <a:close/>
                  <a:moveTo>
                    <a:pt x="95" y="39"/>
                  </a:moveTo>
                  <a:lnTo>
                    <a:pt x="93" y="45"/>
                  </a:lnTo>
                  <a:cubicBezTo>
                    <a:pt x="93" y="47"/>
                    <a:pt x="92" y="47"/>
                    <a:pt x="91" y="48"/>
                  </a:cubicBezTo>
                  <a:cubicBezTo>
                    <a:pt x="92" y="48"/>
                    <a:pt x="93" y="49"/>
                    <a:pt x="93" y="51"/>
                  </a:cubicBezTo>
                  <a:cubicBezTo>
                    <a:pt x="93" y="48"/>
                    <a:pt x="95" y="48"/>
                    <a:pt x="95" y="45"/>
                  </a:cubicBezTo>
                  <a:cubicBezTo>
                    <a:pt x="95" y="42"/>
                    <a:pt x="98" y="42"/>
                    <a:pt x="98" y="39"/>
                  </a:cubicBezTo>
                  <a:lnTo>
                    <a:pt x="95" y="39"/>
                  </a:lnTo>
                  <a:lnTo>
                    <a:pt x="93" y="34"/>
                  </a:lnTo>
                  <a:cubicBezTo>
                    <a:pt x="90" y="35"/>
                    <a:pt x="90" y="37"/>
                    <a:pt x="93" y="39"/>
                  </a:cubicBezTo>
                  <a:lnTo>
                    <a:pt x="92" y="40"/>
                  </a:lnTo>
                  <a:cubicBezTo>
                    <a:pt x="93" y="39"/>
                    <a:pt x="94" y="39"/>
                    <a:pt x="95" y="39"/>
                  </a:cubicBezTo>
                  <a:close/>
                  <a:moveTo>
                    <a:pt x="101" y="42"/>
                  </a:moveTo>
                  <a:lnTo>
                    <a:pt x="104" y="42"/>
                  </a:lnTo>
                  <a:lnTo>
                    <a:pt x="107" y="42"/>
                  </a:lnTo>
                  <a:lnTo>
                    <a:pt x="107" y="39"/>
                  </a:lnTo>
                  <a:lnTo>
                    <a:pt x="104" y="39"/>
                  </a:lnTo>
                  <a:lnTo>
                    <a:pt x="101" y="39"/>
                  </a:lnTo>
                  <a:lnTo>
                    <a:pt x="101" y="42"/>
                  </a:lnTo>
                  <a:close/>
                  <a:moveTo>
                    <a:pt x="90" y="394"/>
                  </a:moveTo>
                  <a:cubicBezTo>
                    <a:pt x="87" y="394"/>
                    <a:pt x="87" y="397"/>
                    <a:pt x="87" y="397"/>
                  </a:cubicBezTo>
                  <a:lnTo>
                    <a:pt x="90" y="394"/>
                  </a:lnTo>
                  <a:close/>
                  <a:moveTo>
                    <a:pt x="93" y="430"/>
                  </a:moveTo>
                  <a:cubicBezTo>
                    <a:pt x="93" y="428"/>
                    <a:pt x="95" y="428"/>
                    <a:pt x="95" y="428"/>
                  </a:cubicBezTo>
                  <a:lnTo>
                    <a:pt x="90" y="422"/>
                  </a:lnTo>
                  <a:cubicBezTo>
                    <a:pt x="93" y="428"/>
                    <a:pt x="93" y="430"/>
                    <a:pt x="93" y="430"/>
                  </a:cubicBezTo>
                  <a:close/>
                  <a:moveTo>
                    <a:pt x="93" y="408"/>
                  </a:moveTo>
                  <a:lnTo>
                    <a:pt x="93" y="411"/>
                  </a:lnTo>
                  <a:cubicBezTo>
                    <a:pt x="95" y="414"/>
                    <a:pt x="98" y="411"/>
                    <a:pt x="93" y="408"/>
                  </a:cubicBezTo>
                  <a:close/>
                  <a:moveTo>
                    <a:pt x="98" y="45"/>
                  </a:moveTo>
                  <a:cubicBezTo>
                    <a:pt x="98" y="48"/>
                    <a:pt x="101" y="51"/>
                    <a:pt x="101" y="51"/>
                  </a:cubicBezTo>
                  <a:lnTo>
                    <a:pt x="101" y="53"/>
                  </a:lnTo>
                  <a:lnTo>
                    <a:pt x="101" y="56"/>
                  </a:lnTo>
                  <a:cubicBezTo>
                    <a:pt x="104" y="59"/>
                    <a:pt x="107" y="62"/>
                    <a:pt x="112" y="56"/>
                  </a:cubicBezTo>
                  <a:cubicBezTo>
                    <a:pt x="110" y="51"/>
                    <a:pt x="104" y="45"/>
                    <a:pt x="98" y="45"/>
                  </a:cubicBezTo>
                  <a:close/>
                  <a:moveTo>
                    <a:pt x="112" y="430"/>
                  </a:moveTo>
                  <a:cubicBezTo>
                    <a:pt x="110" y="433"/>
                    <a:pt x="107" y="433"/>
                    <a:pt x="104" y="436"/>
                  </a:cubicBezTo>
                  <a:lnTo>
                    <a:pt x="107" y="439"/>
                  </a:lnTo>
                  <a:cubicBezTo>
                    <a:pt x="107" y="442"/>
                    <a:pt x="107" y="442"/>
                    <a:pt x="110" y="445"/>
                  </a:cubicBezTo>
                  <a:cubicBezTo>
                    <a:pt x="112" y="442"/>
                    <a:pt x="112" y="436"/>
                    <a:pt x="112" y="430"/>
                  </a:cubicBezTo>
                  <a:close/>
                  <a:moveTo>
                    <a:pt x="115" y="447"/>
                  </a:moveTo>
                  <a:lnTo>
                    <a:pt x="112" y="447"/>
                  </a:lnTo>
                  <a:cubicBezTo>
                    <a:pt x="110" y="447"/>
                    <a:pt x="110" y="447"/>
                    <a:pt x="107" y="450"/>
                  </a:cubicBezTo>
                  <a:cubicBezTo>
                    <a:pt x="110" y="450"/>
                    <a:pt x="110" y="453"/>
                    <a:pt x="112" y="453"/>
                  </a:cubicBezTo>
                  <a:cubicBezTo>
                    <a:pt x="112" y="453"/>
                    <a:pt x="115" y="450"/>
                    <a:pt x="115" y="447"/>
                  </a:cubicBezTo>
                  <a:close/>
                  <a:moveTo>
                    <a:pt x="115" y="73"/>
                  </a:moveTo>
                  <a:cubicBezTo>
                    <a:pt x="112" y="73"/>
                    <a:pt x="112" y="73"/>
                    <a:pt x="110" y="76"/>
                  </a:cubicBezTo>
                  <a:cubicBezTo>
                    <a:pt x="110" y="79"/>
                    <a:pt x="112" y="79"/>
                    <a:pt x="115" y="79"/>
                  </a:cubicBezTo>
                  <a:lnTo>
                    <a:pt x="115" y="73"/>
                  </a:lnTo>
                  <a:close/>
                  <a:moveTo>
                    <a:pt x="118" y="439"/>
                  </a:moveTo>
                  <a:lnTo>
                    <a:pt x="115" y="439"/>
                  </a:lnTo>
                  <a:cubicBezTo>
                    <a:pt x="115" y="445"/>
                    <a:pt x="115" y="447"/>
                    <a:pt x="121" y="447"/>
                  </a:cubicBezTo>
                  <a:lnTo>
                    <a:pt x="118" y="439"/>
                  </a:lnTo>
                  <a:close/>
                  <a:moveTo>
                    <a:pt x="115" y="59"/>
                  </a:moveTo>
                  <a:lnTo>
                    <a:pt x="115" y="62"/>
                  </a:lnTo>
                  <a:lnTo>
                    <a:pt x="115" y="68"/>
                  </a:lnTo>
                  <a:lnTo>
                    <a:pt x="121" y="62"/>
                  </a:lnTo>
                  <a:cubicBezTo>
                    <a:pt x="121" y="62"/>
                    <a:pt x="118" y="59"/>
                    <a:pt x="115" y="59"/>
                  </a:cubicBezTo>
                  <a:close/>
                  <a:moveTo>
                    <a:pt x="127" y="79"/>
                  </a:moveTo>
                  <a:cubicBezTo>
                    <a:pt x="124" y="79"/>
                    <a:pt x="121" y="79"/>
                    <a:pt x="118" y="82"/>
                  </a:cubicBezTo>
                  <a:cubicBezTo>
                    <a:pt x="121" y="85"/>
                    <a:pt x="124" y="85"/>
                    <a:pt x="127" y="85"/>
                  </a:cubicBezTo>
                  <a:lnTo>
                    <a:pt x="127" y="79"/>
                  </a:lnTo>
                  <a:close/>
                  <a:moveTo>
                    <a:pt x="118" y="70"/>
                  </a:moveTo>
                  <a:cubicBezTo>
                    <a:pt x="121" y="73"/>
                    <a:pt x="124" y="76"/>
                    <a:pt x="124" y="79"/>
                  </a:cubicBezTo>
                  <a:lnTo>
                    <a:pt x="124" y="73"/>
                  </a:lnTo>
                  <a:cubicBezTo>
                    <a:pt x="124" y="73"/>
                    <a:pt x="121" y="70"/>
                    <a:pt x="118" y="70"/>
                  </a:cubicBezTo>
                  <a:close/>
                  <a:moveTo>
                    <a:pt x="121" y="104"/>
                  </a:moveTo>
                  <a:cubicBezTo>
                    <a:pt x="121" y="107"/>
                    <a:pt x="121" y="110"/>
                    <a:pt x="118" y="113"/>
                  </a:cubicBezTo>
                  <a:lnTo>
                    <a:pt x="121" y="113"/>
                  </a:lnTo>
                  <a:lnTo>
                    <a:pt x="127" y="113"/>
                  </a:lnTo>
                  <a:lnTo>
                    <a:pt x="129" y="113"/>
                  </a:lnTo>
                  <a:lnTo>
                    <a:pt x="121" y="104"/>
                  </a:lnTo>
                  <a:cubicBezTo>
                    <a:pt x="124" y="104"/>
                    <a:pt x="127" y="101"/>
                    <a:pt x="127" y="99"/>
                  </a:cubicBezTo>
                  <a:lnTo>
                    <a:pt x="121" y="104"/>
                  </a:lnTo>
                  <a:close/>
                  <a:moveTo>
                    <a:pt x="121" y="127"/>
                  </a:moveTo>
                  <a:cubicBezTo>
                    <a:pt x="124" y="127"/>
                    <a:pt x="124" y="130"/>
                    <a:pt x="124" y="130"/>
                  </a:cubicBezTo>
                  <a:lnTo>
                    <a:pt x="129" y="132"/>
                  </a:lnTo>
                  <a:cubicBezTo>
                    <a:pt x="127" y="135"/>
                    <a:pt x="129" y="138"/>
                    <a:pt x="129" y="138"/>
                  </a:cubicBezTo>
                  <a:cubicBezTo>
                    <a:pt x="129" y="138"/>
                    <a:pt x="129" y="141"/>
                    <a:pt x="132" y="141"/>
                  </a:cubicBezTo>
                  <a:lnTo>
                    <a:pt x="135" y="138"/>
                  </a:lnTo>
                  <a:cubicBezTo>
                    <a:pt x="135" y="138"/>
                    <a:pt x="132" y="135"/>
                    <a:pt x="132" y="132"/>
                  </a:cubicBezTo>
                  <a:lnTo>
                    <a:pt x="132" y="121"/>
                  </a:lnTo>
                  <a:lnTo>
                    <a:pt x="129" y="121"/>
                  </a:lnTo>
                  <a:lnTo>
                    <a:pt x="121" y="127"/>
                  </a:lnTo>
                  <a:close/>
                  <a:moveTo>
                    <a:pt x="124" y="152"/>
                  </a:moveTo>
                  <a:lnTo>
                    <a:pt x="127" y="155"/>
                  </a:lnTo>
                  <a:cubicBezTo>
                    <a:pt x="127" y="155"/>
                    <a:pt x="129" y="155"/>
                    <a:pt x="129" y="158"/>
                  </a:cubicBezTo>
                  <a:cubicBezTo>
                    <a:pt x="132" y="161"/>
                    <a:pt x="135" y="158"/>
                    <a:pt x="138" y="155"/>
                  </a:cubicBezTo>
                  <a:cubicBezTo>
                    <a:pt x="135" y="155"/>
                    <a:pt x="135" y="152"/>
                    <a:pt x="135" y="152"/>
                  </a:cubicBezTo>
                  <a:cubicBezTo>
                    <a:pt x="132" y="152"/>
                    <a:pt x="132" y="149"/>
                    <a:pt x="129" y="152"/>
                  </a:cubicBezTo>
                  <a:cubicBezTo>
                    <a:pt x="129" y="149"/>
                    <a:pt x="127" y="152"/>
                    <a:pt x="124" y="152"/>
                  </a:cubicBezTo>
                  <a:close/>
                  <a:moveTo>
                    <a:pt x="141" y="456"/>
                  </a:moveTo>
                  <a:lnTo>
                    <a:pt x="135" y="456"/>
                  </a:lnTo>
                  <a:lnTo>
                    <a:pt x="135" y="450"/>
                  </a:lnTo>
                  <a:lnTo>
                    <a:pt x="129" y="450"/>
                  </a:lnTo>
                  <a:lnTo>
                    <a:pt x="127" y="450"/>
                  </a:lnTo>
                  <a:lnTo>
                    <a:pt x="121" y="450"/>
                  </a:lnTo>
                  <a:lnTo>
                    <a:pt x="124" y="453"/>
                  </a:lnTo>
                  <a:lnTo>
                    <a:pt x="124" y="459"/>
                  </a:lnTo>
                  <a:lnTo>
                    <a:pt x="124" y="464"/>
                  </a:lnTo>
                  <a:cubicBezTo>
                    <a:pt x="127" y="462"/>
                    <a:pt x="129" y="462"/>
                    <a:pt x="132" y="462"/>
                  </a:cubicBezTo>
                  <a:cubicBezTo>
                    <a:pt x="137" y="458"/>
                    <a:pt x="140" y="457"/>
                    <a:pt x="142" y="457"/>
                  </a:cubicBezTo>
                  <a:lnTo>
                    <a:pt x="141" y="456"/>
                  </a:lnTo>
                  <a:close/>
                  <a:moveTo>
                    <a:pt x="124" y="85"/>
                  </a:moveTo>
                  <a:lnTo>
                    <a:pt x="129" y="90"/>
                  </a:lnTo>
                  <a:cubicBezTo>
                    <a:pt x="132" y="90"/>
                    <a:pt x="132" y="87"/>
                    <a:pt x="132" y="87"/>
                  </a:cubicBezTo>
                  <a:cubicBezTo>
                    <a:pt x="129" y="87"/>
                    <a:pt x="129" y="85"/>
                    <a:pt x="124" y="85"/>
                  </a:cubicBezTo>
                  <a:close/>
                  <a:moveTo>
                    <a:pt x="127" y="141"/>
                  </a:moveTo>
                  <a:cubicBezTo>
                    <a:pt x="127" y="144"/>
                    <a:pt x="127" y="144"/>
                    <a:pt x="129" y="144"/>
                  </a:cubicBezTo>
                  <a:lnTo>
                    <a:pt x="127" y="141"/>
                  </a:lnTo>
                  <a:close/>
                  <a:moveTo>
                    <a:pt x="129" y="436"/>
                  </a:moveTo>
                  <a:lnTo>
                    <a:pt x="127" y="436"/>
                  </a:lnTo>
                  <a:cubicBezTo>
                    <a:pt x="127" y="436"/>
                    <a:pt x="132" y="439"/>
                    <a:pt x="129" y="436"/>
                  </a:cubicBezTo>
                  <a:close/>
                  <a:moveTo>
                    <a:pt x="129" y="166"/>
                  </a:moveTo>
                  <a:lnTo>
                    <a:pt x="132" y="169"/>
                  </a:lnTo>
                  <a:cubicBezTo>
                    <a:pt x="132" y="164"/>
                    <a:pt x="129" y="164"/>
                    <a:pt x="129" y="166"/>
                  </a:cubicBezTo>
                  <a:close/>
                  <a:moveTo>
                    <a:pt x="129" y="121"/>
                  </a:moveTo>
                  <a:lnTo>
                    <a:pt x="135" y="118"/>
                  </a:lnTo>
                  <a:cubicBezTo>
                    <a:pt x="127" y="116"/>
                    <a:pt x="129" y="118"/>
                    <a:pt x="129" y="121"/>
                  </a:cubicBezTo>
                  <a:close/>
                  <a:moveTo>
                    <a:pt x="129" y="121"/>
                  </a:moveTo>
                  <a:cubicBezTo>
                    <a:pt x="129" y="118"/>
                    <a:pt x="132" y="118"/>
                    <a:pt x="129" y="121"/>
                  </a:cubicBezTo>
                  <a:close/>
                  <a:moveTo>
                    <a:pt x="132" y="99"/>
                  </a:moveTo>
                  <a:cubicBezTo>
                    <a:pt x="129" y="99"/>
                    <a:pt x="129" y="99"/>
                    <a:pt x="129" y="101"/>
                  </a:cubicBezTo>
                  <a:cubicBezTo>
                    <a:pt x="129" y="101"/>
                    <a:pt x="132" y="101"/>
                    <a:pt x="132" y="104"/>
                  </a:cubicBezTo>
                  <a:lnTo>
                    <a:pt x="132" y="107"/>
                  </a:lnTo>
                  <a:lnTo>
                    <a:pt x="135" y="107"/>
                  </a:lnTo>
                  <a:lnTo>
                    <a:pt x="132" y="99"/>
                  </a:lnTo>
                  <a:close/>
                  <a:moveTo>
                    <a:pt x="135" y="183"/>
                  </a:moveTo>
                  <a:lnTo>
                    <a:pt x="135" y="189"/>
                  </a:lnTo>
                  <a:lnTo>
                    <a:pt x="138" y="189"/>
                  </a:lnTo>
                  <a:lnTo>
                    <a:pt x="141" y="186"/>
                  </a:lnTo>
                  <a:lnTo>
                    <a:pt x="141" y="183"/>
                  </a:lnTo>
                  <a:cubicBezTo>
                    <a:pt x="146" y="180"/>
                    <a:pt x="146" y="180"/>
                    <a:pt x="143" y="175"/>
                  </a:cubicBezTo>
                  <a:lnTo>
                    <a:pt x="135" y="183"/>
                  </a:lnTo>
                  <a:close/>
                  <a:moveTo>
                    <a:pt x="141" y="172"/>
                  </a:moveTo>
                  <a:cubicBezTo>
                    <a:pt x="141" y="172"/>
                    <a:pt x="138" y="172"/>
                    <a:pt x="138" y="169"/>
                  </a:cubicBezTo>
                  <a:lnTo>
                    <a:pt x="138" y="172"/>
                  </a:lnTo>
                  <a:lnTo>
                    <a:pt x="138" y="175"/>
                  </a:lnTo>
                  <a:cubicBezTo>
                    <a:pt x="138" y="175"/>
                    <a:pt x="141" y="175"/>
                    <a:pt x="141" y="172"/>
                  </a:cubicBezTo>
                  <a:close/>
                  <a:moveTo>
                    <a:pt x="141" y="439"/>
                  </a:moveTo>
                  <a:lnTo>
                    <a:pt x="138" y="439"/>
                  </a:lnTo>
                  <a:lnTo>
                    <a:pt x="138" y="442"/>
                  </a:lnTo>
                  <a:cubicBezTo>
                    <a:pt x="141" y="445"/>
                    <a:pt x="141" y="442"/>
                    <a:pt x="141" y="439"/>
                  </a:cubicBezTo>
                  <a:close/>
                  <a:moveTo>
                    <a:pt x="138" y="149"/>
                  </a:moveTo>
                  <a:cubicBezTo>
                    <a:pt x="143" y="152"/>
                    <a:pt x="143" y="149"/>
                    <a:pt x="143" y="147"/>
                  </a:cubicBezTo>
                  <a:cubicBezTo>
                    <a:pt x="141" y="147"/>
                    <a:pt x="141" y="149"/>
                    <a:pt x="138" y="149"/>
                  </a:cubicBezTo>
                  <a:close/>
                  <a:moveTo>
                    <a:pt x="143" y="257"/>
                  </a:moveTo>
                  <a:lnTo>
                    <a:pt x="143" y="251"/>
                  </a:lnTo>
                  <a:lnTo>
                    <a:pt x="141" y="251"/>
                  </a:lnTo>
                  <a:lnTo>
                    <a:pt x="138" y="251"/>
                  </a:lnTo>
                  <a:cubicBezTo>
                    <a:pt x="141" y="254"/>
                    <a:pt x="141" y="257"/>
                    <a:pt x="143" y="257"/>
                  </a:cubicBezTo>
                  <a:close/>
                  <a:moveTo>
                    <a:pt x="141" y="217"/>
                  </a:moveTo>
                  <a:lnTo>
                    <a:pt x="141" y="223"/>
                  </a:lnTo>
                  <a:lnTo>
                    <a:pt x="138" y="223"/>
                  </a:lnTo>
                  <a:cubicBezTo>
                    <a:pt x="143" y="226"/>
                    <a:pt x="146" y="228"/>
                    <a:pt x="146" y="231"/>
                  </a:cubicBezTo>
                  <a:cubicBezTo>
                    <a:pt x="149" y="231"/>
                    <a:pt x="149" y="228"/>
                    <a:pt x="152" y="226"/>
                  </a:cubicBezTo>
                  <a:lnTo>
                    <a:pt x="152" y="223"/>
                  </a:lnTo>
                  <a:lnTo>
                    <a:pt x="149" y="223"/>
                  </a:lnTo>
                  <a:lnTo>
                    <a:pt x="146" y="226"/>
                  </a:lnTo>
                  <a:lnTo>
                    <a:pt x="143" y="223"/>
                  </a:lnTo>
                  <a:lnTo>
                    <a:pt x="141" y="217"/>
                  </a:lnTo>
                  <a:close/>
                  <a:moveTo>
                    <a:pt x="141" y="231"/>
                  </a:moveTo>
                  <a:lnTo>
                    <a:pt x="141" y="234"/>
                  </a:lnTo>
                  <a:lnTo>
                    <a:pt x="143" y="234"/>
                  </a:lnTo>
                  <a:cubicBezTo>
                    <a:pt x="141" y="234"/>
                    <a:pt x="141" y="234"/>
                    <a:pt x="141" y="231"/>
                  </a:cubicBezTo>
                  <a:close/>
                  <a:moveTo>
                    <a:pt x="146" y="189"/>
                  </a:moveTo>
                  <a:lnTo>
                    <a:pt x="141" y="189"/>
                  </a:lnTo>
                  <a:lnTo>
                    <a:pt x="141" y="195"/>
                  </a:lnTo>
                  <a:lnTo>
                    <a:pt x="141" y="200"/>
                  </a:lnTo>
                  <a:lnTo>
                    <a:pt x="143" y="200"/>
                  </a:lnTo>
                  <a:lnTo>
                    <a:pt x="143" y="195"/>
                  </a:lnTo>
                  <a:cubicBezTo>
                    <a:pt x="143" y="195"/>
                    <a:pt x="146" y="192"/>
                    <a:pt x="146" y="189"/>
                  </a:cubicBezTo>
                  <a:close/>
                  <a:moveTo>
                    <a:pt x="149" y="447"/>
                  </a:moveTo>
                  <a:lnTo>
                    <a:pt x="146" y="436"/>
                  </a:lnTo>
                  <a:cubicBezTo>
                    <a:pt x="143" y="439"/>
                    <a:pt x="141" y="439"/>
                    <a:pt x="143" y="442"/>
                  </a:cubicBezTo>
                  <a:lnTo>
                    <a:pt x="143" y="447"/>
                  </a:lnTo>
                  <a:lnTo>
                    <a:pt x="149" y="447"/>
                  </a:lnTo>
                  <a:close/>
                  <a:moveTo>
                    <a:pt x="158" y="274"/>
                  </a:moveTo>
                  <a:lnTo>
                    <a:pt x="155" y="268"/>
                  </a:lnTo>
                  <a:cubicBezTo>
                    <a:pt x="155" y="265"/>
                    <a:pt x="158" y="265"/>
                    <a:pt x="158" y="265"/>
                  </a:cubicBezTo>
                  <a:cubicBezTo>
                    <a:pt x="158" y="259"/>
                    <a:pt x="155" y="257"/>
                    <a:pt x="152" y="257"/>
                  </a:cubicBezTo>
                  <a:lnTo>
                    <a:pt x="152" y="262"/>
                  </a:lnTo>
                  <a:cubicBezTo>
                    <a:pt x="152" y="262"/>
                    <a:pt x="149" y="262"/>
                    <a:pt x="149" y="259"/>
                  </a:cubicBezTo>
                  <a:lnTo>
                    <a:pt x="149" y="265"/>
                  </a:lnTo>
                  <a:lnTo>
                    <a:pt x="146" y="268"/>
                  </a:lnTo>
                  <a:cubicBezTo>
                    <a:pt x="149" y="268"/>
                    <a:pt x="152" y="271"/>
                    <a:pt x="152" y="271"/>
                  </a:cubicBezTo>
                  <a:cubicBezTo>
                    <a:pt x="152" y="271"/>
                    <a:pt x="155" y="274"/>
                    <a:pt x="158" y="274"/>
                  </a:cubicBezTo>
                  <a:close/>
                  <a:moveTo>
                    <a:pt x="146" y="220"/>
                  </a:moveTo>
                  <a:cubicBezTo>
                    <a:pt x="146" y="223"/>
                    <a:pt x="149" y="220"/>
                    <a:pt x="146" y="220"/>
                  </a:cubicBezTo>
                  <a:close/>
                  <a:moveTo>
                    <a:pt x="152" y="195"/>
                  </a:moveTo>
                  <a:cubicBezTo>
                    <a:pt x="149" y="192"/>
                    <a:pt x="149" y="195"/>
                    <a:pt x="149" y="195"/>
                  </a:cubicBezTo>
                  <a:lnTo>
                    <a:pt x="152" y="195"/>
                  </a:lnTo>
                  <a:close/>
                  <a:moveTo>
                    <a:pt x="158" y="445"/>
                  </a:moveTo>
                  <a:cubicBezTo>
                    <a:pt x="149" y="447"/>
                    <a:pt x="146" y="453"/>
                    <a:pt x="146" y="456"/>
                  </a:cubicBezTo>
                  <a:lnTo>
                    <a:pt x="149" y="456"/>
                  </a:lnTo>
                  <a:lnTo>
                    <a:pt x="149" y="450"/>
                  </a:lnTo>
                  <a:cubicBezTo>
                    <a:pt x="158" y="447"/>
                    <a:pt x="158" y="450"/>
                    <a:pt x="158" y="445"/>
                  </a:cubicBezTo>
                  <a:close/>
                  <a:moveTo>
                    <a:pt x="149" y="248"/>
                  </a:moveTo>
                  <a:lnTo>
                    <a:pt x="152" y="251"/>
                  </a:lnTo>
                  <a:cubicBezTo>
                    <a:pt x="152" y="248"/>
                    <a:pt x="155" y="248"/>
                    <a:pt x="155" y="245"/>
                  </a:cubicBezTo>
                  <a:lnTo>
                    <a:pt x="155" y="240"/>
                  </a:lnTo>
                  <a:cubicBezTo>
                    <a:pt x="155" y="242"/>
                    <a:pt x="152" y="242"/>
                    <a:pt x="152" y="242"/>
                  </a:cubicBezTo>
                  <a:lnTo>
                    <a:pt x="149" y="248"/>
                  </a:lnTo>
                  <a:close/>
                  <a:moveTo>
                    <a:pt x="158" y="307"/>
                  </a:moveTo>
                  <a:cubicBezTo>
                    <a:pt x="158" y="305"/>
                    <a:pt x="155" y="305"/>
                    <a:pt x="158" y="307"/>
                  </a:cubicBezTo>
                  <a:close/>
                  <a:moveTo>
                    <a:pt x="163" y="430"/>
                  </a:moveTo>
                  <a:cubicBezTo>
                    <a:pt x="163" y="430"/>
                    <a:pt x="160" y="430"/>
                    <a:pt x="163" y="430"/>
                  </a:cubicBezTo>
                  <a:cubicBezTo>
                    <a:pt x="160" y="433"/>
                    <a:pt x="160" y="433"/>
                    <a:pt x="158" y="433"/>
                  </a:cubicBezTo>
                  <a:lnTo>
                    <a:pt x="152" y="436"/>
                  </a:lnTo>
                  <a:cubicBezTo>
                    <a:pt x="152" y="439"/>
                    <a:pt x="155" y="439"/>
                    <a:pt x="155" y="439"/>
                  </a:cubicBezTo>
                  <a:cubicBezTo>
                    <a:pt x="155" y="436"/>
                    <a:pt x="158" y="433"/>
                    <a:pt x="160" y="433"/>
                  </a:cubicBezTo>
                  <a:cubicBezTo>
                    <a:pt x="163" y="436"/>
                    <a:pt x="166" y="433"/>
                    <a:pt x="163" y="430"/>
                  </a:cubicBezTo>
                  <a:close/>
                  <a:moveTo>
                    <a:pt x="155" y="338"/>
                  </a:moveTo>
                  <a:cubicBezTo>
                    <a:pt x="158" y="338"/>
                    <a:pt x="158" y="336"/>
                    <a:pt x="158" y="336"/>
                  </a:cubicBezTo>
                  <a:lnTo>
                    <a:pt x="155" y="338"/>
                  </a:lnTo>
                  <a:close/>
                  <a:moveTo>
                    <a:pt x="174" y="307"/>
                  </a:moveTo>
                  <a:cubicBezTo>
                    <a:pt x="172" y="305"/>
                    <a:pt x="172" y="305"/>
                    <a:pt x="172" y="302"/>
                  </a:cubicBezTo>
                  <a:cubicBezTo>
                    <a:pt x="172" y="299"/>
                    <a:pt x="169" y="299"/>
                    <a:pt x="166" y="299"/>
                  </a:cubicBezTo>
                  <a:lnTo>
                    <a:pt x="165" y="297"/>
                  </a:lnTo>
                  <a:lnTo>
                    <a:pt x="163" y="299"/>
                  </a:lnTo>
                  <a:cubicBezTo>
                    <a:pt x="163" y="299"/>
                    <a:pt x="163" y="302"/>
                    <a:pt x="160" y="302"/>
                  </a:cubicBezTo>
                  <a:lnTo>
                    <a:pt x="166" y="302"/>
                  </a:lnTo>
                  <a:lnTo>
                    <a:pt x="166" y="305"/>
                  </a:lnTo>
                  <a:lnTo>
                    <a:pt x="158" y="302"/>
                  </a:lnTo>
                  <a:lnTo>
                    <a:pt x="158" y="305"/>
                  </a:lnTo>
                  <a:lnTo>
                    <a:pt x="169" y="307"/>
                  </a:lnTo>
                  <a:lnTo>
                    <a:pt x="169" y="313"/>
                  </a:lnTo>
                  <a:cubicBezTo>
                    <a:pt x="169" y="313"/>
                    <a:pt x="172" y="307"/>
                    <a:pt x="174" y="307"/>
                  </a:cubicBezTo>
                  <a:close/>
                  <a:moveTo>
                    <a:pt x="163" y="296"/>
                  </a:moveTo>
                  <a:lnTo>
                    <a:pt x="172" y="296"/>
                  </a:lnTo>
                  <a:lnTo>
                    <a:pt x="166" y="290"/>
                  </a:lnTo>
                  <a:cubicBezTo>
                    <a:pt x="166" y="293"/>
                    <a:pt x="163" y="293"/>
                    <a:pt x="163" y="290"/>
                  </a:cubicBezTo>
                  <a:cubicBezTo>
                    <a:pt x="160" y="290"/>
                    <a:pt x="160" y="290"/>
                    <a:pt x="160" y="293"/>
                  </a:cubicBezTo>
                  <a:lnTo>
                    <a:pt x="163" y="293"/>
                  </a:lnTo>
                  <a:lnTo>
                    <a:pt x="166" y="296"/>
                  </a:lnTo>
                  <a:lnTo>
                    <a:pt x="165" y="297"/>
                  </a:lnTo>
                  <a:lnTo>
                    <a:pt x="163" y="296"/>
                  </a:lnTo>
                  <a:close/>
                  <a:moveTo>
                    <a:pt x="160" y="333"/>
                  </a:moveTo>
                  <a:lnTo>
                    <a:pt x="160" y="327"/>
                  </a:lnTo>
                  <a:lnTo>
                    <a:pt x="158" y="327"/>
                  </a:lnTo>
                  <a:cubicBezTo>
                    <a:pt x="158" y="330"/>
                    <a:pt x="160" y="330"/>
                    <a:pt x="160" y="333"/>
                  </a:cubicBezTo>
                  <a:close/>
                  <a:moveTo>
                    <a:pt x="158" y="319"/>
                  </a:moveTo>
                  <a:lnTo>
                    <a:pt x="160" y="321"/>
                  </a:lnTo>
                  <a:lnTo>
                    <a:pt x="160" y="319"/>
                  </a:lnTo>
                  <a:lnTo>
                    <a:pt x="160" y="316"/>
                  </a:lnTo>
                  <a:cubicBezTo>
                    <a:pt x="160" y="313"/>
                    <a:pt x="158" y="313"/>
                    <a:pt x="158" y="313"/>
                  </a:cubicBezTo>
                  <a:lnTo>
                    <a:pt x="158" y="319"/>
                  </a:lnTo>
                  <a:close/>
                  <a:moveTo>
                    <a:pt x="177" y="330"/>
                  </a:moveTo>
                  <a:cubicBezTo>
                    <a:pt x="174" y="327"/>
                    <a:pt x="172" y="327"/>
                    <a:pt x="169" y="327"/>
                  </a:cubicBezTo>
                  <a:cubicBezTo>
                    <a:pt x="169" y="324"/>
                    <a:pt x="169" y="324"/>
                    <a:pt x="172" y="321"/>
                  </a:cubicBezTo>
                  <a:lnTo>
                    <a:pt x="163" y="321"/>
                  </a:lnTo>
                  <a:lnTo>
                    <a:pt x="163" y="324"/>
                  </a:lnTo>
                  <a:lnTo>
                    <a:pt x="169" y="324"/>
                  </a:lnTo>
                  <a:cubicBezTo>
                    <a:pt x="166" y="327"/>
                    <a:pt x="166" y="330"/>
                    <a:pt x="163" y="333"/>
                  </a:cubicBezTo>
                  <a:lnTo>
                    <a:pt x="163" y="338"/>
                  </a:lnTo>
                  <a:lnTo>
                    <a:pt x="163" y="341"/>
                  </a:lnTo>
                  <a:lnTo>
                    <a:pt x="160" y="341"/>
                  </a:lnTo>
                  <a:lnTo>
                    <a:pt x="160" y="350"/>
                  </a:lnTo>
                  <a:lnTo>
                    <a:pt x="163" y="350"/>
                  </a:lnTo>
                  <a:lnTo>
                    <a:pt x="166" y="347"/>
                  </a:lnTo>
                  <a:lnTo>
                    <a:pt x="169" y="338"/>
                  </a:lnTo>
                  <a:lnTo>
                    <a:pt x="166" y="336"/>
                  </a:lnTo>
                  <a:lnTo>
                    <a:pt x="163" y="333"/>
                  </a:lnTo>
                  <a:lnTo>
                    <a:pt x="169" y="333"/>
                  </a:lnTo>
                  <a:cubicBezTo>
                    <a:pt x="169" y="333"/>
                    <a:pt x="169" y="336"/>
                    <a:pt x="172" y="336"/>
                  </a:cubicBezTo>
                  <a:cubicBezTo>
                    <a:pt x="172" y="338"/>
                    <a:pt x="174" y="341"/>
                    <a:pt x="177" y="338"/>
                  </a:cubicBezTo>
                  <a:lnTo>
                    <a:pt x="180" y="338"/>
                  </a:lnTo>
                  <a:cubicBezTo>
                    <a:pt x="174" y="338"/>
                    <a:pt x="174" y="333"/>
                    <a:pt x="177" y="330"/>
                  </a:cubicBezTo>
                  <a:close/>
                  <a:moveTo>
                    <a:pt x="163" y="285"/>
                  </a:moveTo>
                  <a:cubicBezTo>
                    <a:pt x="166" y="285"/>
                    <a:pt x="166" y="285"/>
                    <a:pt x="169" y="282"/>
                  </a:cubicBezTo>
                  <a:cubicBezTo>
                    <a:pt x="169" y="279"/>
                    <a:pt x="166" y="279"/>
                    <a:pt x="163" y="279"/>
                  </a:cubicBezTo>
                  <a:lnTo>
                    <a:pt x="163" y="285"/>
                  </a:lnTo>
                  <a:close/>
                  <a:moveTo>
                    <a:pt x="166" y="360"/>
                  </a:moveTo>
                  <a:cubicBezTo>
                    <a:pt x="166" y="363"/>
                    <a:pt x="163" y="366"/>
                    <a:pt x="163" y="366"/>
                  </a:cubicBezTo>
                  <a:cubicBezTo>
                    <a:pt x="166" y="366"/>
                    <a:pt x="166" y="366"/>
                    <a:pt x="166" y="368"/>
                  </a:cubicBezTo>
                  <a:lnTo>
                    <a:pt x="166" y="371"/>
                  </a:lnTo>
                  <a:lnTo>
                    <a:pt x="166" y="374"/>
                  </a:lnTo>
                  <a:cubicBezTo>
                    <a:pt x="166" y="377"/>
                    <a:pt x="166" y="377"/>
                    <a:pt x="169" y="377"/>
                  </a:cubicBezTo>
                  <a:cubicBezTo>
                    <a:pt x="166" y="377"/>
                    <a:pt x="166" y="380"/>
                    <a:pt x="166" y="383"/>
                  </a:cubicBezTo>
                  <a:lnTo>
                    <a:pt x="169" y="385"/>
                  </a:lnTo>
                  <a:cubicBezTo>
                    <a:pt x="172" y="385"/>
                    <a:pt x="172" y="385"/>
                    <a:pt x="174" y="383"/>
                  </a:cubicBezTo>
                  <a:lnTo>
                    <a:pt x="177" y="383"/>
                  </a:lnTo>
                  <a:cubicBezTo>
                    <a:pt x="177" y="383"/>
                    <a:pt x="180" y="383"/>
                    <a:pt x="180" y="385"/>
                  </a:cubicBezTo>
                  <a:lnTo>
                    <a:pt x="180" y="380"/>
                  </a:lnTo>
                  <a:lnTo>
                    <a:pt x="180" y="377"/>
                  </a:lnTo>
                  <a:lnTo>
                    <a:pt x="174" y="377"/>
                  </a:lnTo>
                  <a:lnTo>
                    <a:pt x="169" y="377"/>
                  </a:lnTo>
                  <a:lnTo>
                    <a:pt x="169" y="368"/>
                  </a:lnTo>
                  <a:cubicBezTo>
                    <a:pt x="169" y="366"/>
                    <a:pt x="169" y="363"/>
                    <a:pt x="172" y="360"/>
                  </a:cubicBezTo>
                  <a:lnTo>
                    <a:pt x="169" y="360"/>
                  </a:lnTo>
                  <a:lnTo>
                    <a:pt x="169" y="353"/>
                  </a:lnTo>
                  <a:lnTo>
                    <a:pt x="166" y="353"/>
                  </a:lnTo>
                  <a:cubicBezTo>
                    <a:pt x="169" y="357"/>
                    <a:pt x="169" y="357"/>
                    <a:pt x="166" y="360"/>
                  </a:cubicBezTo>
                  <a:close/>
                  <a:moveTo>
                    <a:pt x="166" y="405"/>
                  </a:moveTo>
                  <a:lnTo>
                    <a:pt x="166" y="411"/>
                  </a:lnTo>
                  <a:lnTo>
                    <a:pt x="169" y="411"/>
                  </a:lnTo>
                  <a:cubicBezTo>
                    <a:pt x="169" y="411"/>
                    <a:pt x="166" y="408"/>
                    <a:pt x="166" y="405"/>
                  </a:cubicBezTo>
                  <a:close/>
                  <a:moveTo>
                    <a:pt x="174" y="433"/>
                  </a:moveTo>
                  <a:lnTo>
                    <a:pt x="166" y="433"/>
                  </a:lnTo>
                  <a:cubicBezTo>
                    <a:pt x="166" y="436"/>
                    <a:pt x="169" y="436"/>
                    <a:pt x="172" y="439"/>
                  </a:cubicBezTo>
                  <a:lnTo>
                    <a:pt x="174" y="439"/>
                  </a:lnTo>
                  <a:lnTo>
                    <a:pt x="177" y="442"/>
                  </a:lnTo>
                  <a:cubicBezTo>
                    <a:pt x="177" y="438"/>
                    <a:pt x="177" y="435"/>
                    <a:pt x="178" y="433"/>
                  </a:cubicBezTo>
                  <a:cubicBezTo>
                    <a:pt x="177" y="433"/>
                    <a:pt x="176" y="433"/>
                    <a:pt x="174" y="433"/>
                  </a:cubicBezTo>
                  <a:close/>
                  <a:moveTo>
                    <a:pt x="169" y="316"/>
                  </a:moveTo>
                  <a:lnTo>
                    <a:pt x="172" y="319"/>
                  </a:lnTo>
                  <a:lnTo>
                    <a:pt x="172" y="313"/>
                  </a:lnTo>
                  <a:cubicBezTo>
                    <a:pt x="169" y="313"/>
                    <a:pt x="169" y="313"/>
                    <a:pt x="169" y="316"/>
                  </a:cubicBezTo>
                  <a:close/>
                  <a:moveTo>
                    <a:pt x="177" y="397"/>
                  </a:moveTo>
                  <a:lnTo>
                    <a:pt x="172" y="397"/>
                  </a:lnTo>
                  <a:lnTo>
                    <a:pt x="166" y="397"/>
                  </a:lnTo>
                  <a:lnTo>
                    <a:pt x="172" y="402"/>
                  </a:lnTo>
                  <a:lnTo>
                    <a:pt x="172" y="405"/>
                  </a:lnTo>
                  <a:cubicBezTo>
                    <a:pt x="172" y="405"/>
                    <a:pt x="172" y="408"/>
                    <a:pt x="169" y="408"/>
                  </a:cubicBezTo>
                  <a:cubicBezTo>
                    <a:pt x="172" y="408"/>
                    <a:pt x="172" y="405"/>
                    <a:pt x="174" y="405"/>
                  </a:cubicBezTo>
                  <a:lnTo>
                    <a:pt x="177" y="405"/>
                  </a:lnTo>
                  <a:lnTo>
                    <a:pt x="180" y="405"/>
                  </a:lnTo>
                  <a:lnTo>
                    <a:pt x="177" y="397"/>
                  </a:lnTo>
                  <a:close/>
                  <a:moveTo>
                    <a:pt x="180" y="419"/>
                  </a:moveTo>
                  <a:cubicBezTo>
                    <a:pt x="177" y="419"/>
                    <a:pt x="177" y="419"/>
                    <a:pt x="177" y="422"/>
                  </a:cubicBezTo>
                  <a:lnTo>
                    <a:pt x="180" y="425"/>
                  </a:lnTo>
                  <a:lnTo>
                    <a:pt x="177" y="425"/>
                  </a:lnTo>
                  <a:lnTo>
                    <a:pt x="174" y="425"/>
                  </a:lnTo>
                  <a:lnTo>
                    <a:pt x="174" y="428"/>
                  </a:lnTo>
                  <a:lnTo>
                    <a:pt x="174" y="430"/>
                  </a:lnTo>
                  <a:cubicBezTo>
                    <a:pt x="180" y="428"/>
                    <a:pt x="183" y="425"/>
                    <a:pt x="180" y="419"/>
                  </a:cubicBezTo>
                  <a:close/>
                  <a:moveTo>
                    <a:pt x="183" y="360"/>
                  </a:moveTo>
                  <a:cubicBezTo>
                    <a:pt x="183" y="357"/>
                    <a:pt x="180" y="357"/>
                    <a:pt x="180" y="354"/>
                  </a:cubicBezTo>
                  <a:cubicBezTo>
                    <a:pt x="177" y="357"/>
                    <a:pt x="177" y="357"/>
                    <a:pt x="177" y="360"/>
                  </a:cubicBezTo>
                  <a:lnTo>
                    <a:pt x="180" y="360"/>
                  </a:lnTo>
                  <a:lnTo>
                    <a:pt x="183" y="360"/>
                  </a:lnTo>
                  <a:close/>
                  <a:moveTo>
                    <a:pt x="180" y="374"/>
                  </a:moveTo>
                  <a:lnTo>
                    <a:pt x="180" y="368"/>
                  </a:lnTo>
                  <a:lnTo>
                    <a:pt x="177" y="368"/>
                  </a:lnTo>
                  <a:cubicBezTo>
                    <a:pt x="180" y="371"/>
                    <a:pt x="180" y="371"/>
                    <a:pt x="180" y="3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5" name="Freeform 1460"/>
            <p:cNvSpPr>
              <a:spLocks noChangeArrowheads="1"/>
            </p:cNvSpPr>
            <p:nvPr/>
          </p:nvSpPr>
          <p:spPr bwMode="auto">
            <a:xfrm>
              <a:off x="4225925" y="2436813"/>
              <a:ext cx="73025" cy="173037"/>
            </a:xfrm>
            <a:custGeom>
              <a:avLst/>
              <a:gdLst>
                <a:gd name="T0" fmla="*/ 183 w 204"/>
                <a:gd name="T1" fmla="*/ 304 h 479"/>
                <a:gd name="T2" fmla="*/ 200 w 204"/>
                <a:gd name="T3" fmla="*/ 394 h 479"/>
                <a:gd name="T4" fmla="*/ 158 w 204"/>
                <a:gd name="T5" fmla="*/ 473 h 479"/>
                <a:gd name="T6" fmla="*/ 96 w 204"/>
                <a:gd name="T7" fmla="*/ 461 h 479"/>
                <a:gd name="T8" fmla="*/ 73 w 204"/>
                <a:gd name="T9" fmla="*/ 385 h 479"/>
                <a:gd name="T10" fmla="*/ 59 w 204"/>
                <a:gd name="T11" fmla="*/ 296 h 479"/>
                <a:gd name="T12" fmla="*/ 54 w 204"/>
                <a:gd name="T13" fmla="*/ 251 h 479"/>
                <a:gd name="T14" fmla="*/ 42 w 204"/>
                <a:gd name="T15" fmla="*/ 175 h 479"/>
                <a:gd name="T16" fmla="*/ 3 w 204"/>
                <a:gd name="T17" fmla="*/ 45 h 479"/>
                <a:gd name="T18" fmla="*/ 59 w 204"/>
                <a:gd name="T19" fmla="*/ 45 h 479"/>
                <a:gd name="T20" fmla="*/ 82 w 204"/>
                <a:gd name="T21" fmla="*/ 127 h 479"/>
                <a:gd name="T22" fmla="*/ 87 w 204"/>
                <a:gd name="T23" fmla="*/ 180 h 479"/>
                <a:gd name="T24" fmla="*/ 99 w 204"/>
                <a:gd name="T25" fmla="*/ 254 h 479"/>
                <a:gd name="T26" fmla="*/ 113 w 204"/>
                <a:gd name="T27" fmla="*/ 355 h 479"/>
                <a:gd name="T28" fmla="*/ 135 w 204"/>
                <a:gd name="T29" fmla="*/ 416 h 479"/>
                <a:gd name="T30" fmla="*/ 158 w 204"/>
                <a:gd name="T31" fmla="*/ 372 h 479"/>
                <a:gd name="T32" fmla="*/ 144 w 204"/>
                <a:gd name="T33" fmla="*/ 302 h 479"/>
                <a:gd name="T34" fmla="*/ 127 w 204"/>
                <a:gd name="T35" fmla="*/ 228 h 479"/>
                <a:gd name="T36" fmla="*/ 110 w 204"/>
                <a:gd name="T37" fmla="*/ 144 h 479"/>
                <a:gd name="T38" fmla="*/ 102 w 204"/>
                <a:gd name="T39" fmla="*/ 84 h 479"/>
                <a:gd name="T40" fmla="*/ 118 w 204"/>
                <a:gd name="T41" fmla="*/ 0 h 479"/>
                <a:gd name="T42" fmla="*/ 141 w 204"/>
                <a:gd name="T43" fmla="*/ 87 h 479"/>
                <a:gd name="T44" fmla="*/ 161 w 204"/>
                <a:gd name="T45" fmla="*/ 180 h 479"/>
                <a:gd name="T46" fmla="*/ 25 w 204"/>
                <a:gd name="T47" fmla="*/ 36 h 479"/>
                <a:gd name="T48" fmla="*/ 39 w 204"/>
                <a:gd name="T49" fmla="*/ 76 h 479"/>
                <a:gd name="T50" fmla="*/ 34 w 204"/>
                <a:gd name="T51" fmla="*/ 79 h 479"/>
                <a:gd name="T52" fmla="*/ 34 w 204"/>
                <a:gd name="T53" fmla="*/ 39 h 479"/>
                <a:gd name="T54" fmla="*/ 39 w 204"/>
                <a:gd name="T55" fmla="*/ 96 h 479"/>
                <a:gd name="T56" fmla="*/ 42 w 204"/>
                <a:gd name="T57" fmla="*/ 129 h 479"/>
                <a:gd name="T58" fmla="*/ 45 w 204"/>
                <a:gd name="T59" fmla="*/ 113 h 479"/>
                <a:gd name="T60" fmla="*/ 48 w 204"/>
                <a:gd name="T61" fmla="*/ 146 h 479"/>
                <a:gd name="T62" fmla="*/ 54 w 204"/>
                <a:gd name="T63" fmla="*/ 107 h 479"/>
                <a:gd name="T64" fmla="*/ 62 w 204"/>
                <a:gd name="T65" fmla="*/ 160 h 479"/>
                <a:gd name="T66" fmla="*/ 51 w 204"/>
                <a:gd name="T67" fmla="*/ 169 h 479"/>
                <a:gd name="T68" fmla="*/ 54 w 204"/>
                <a:gd name="T69" fmla="*/ 186 h 479"/>
                <a:gd name="T70" fmla="*/ 62 w 204"/>
                <a:gd name="T71" fmla="*/ 192 h 479"/>
                <a:gd name="T72" fmla="*/ 65 w 204"/>
                <a:gd name="T73" fmla="*/ 279 h 479"/>
                <a:gd name="T74" fmla="*/ 70 w 204"/>
                <a:gd name="T75" fmla="*/ 254 h 479"/>
                <a:gd name="T76" fmla="*/ 79 w 204"/>
                <a:gd name="T77" fmla="*/ 279 h 479"/>
                <a:gd name="T78" fmla="*/ 85 w 204"/>
                <a:gd name="T79" fmla="*/ 313 h 479"/>
                <a:gd name="T80" fmla="*/ 85 w 204"/>
                <a:gd name="T81" fmla="*/ 352 h 479"/>
                <a:gd name="T82" fmla="*/ 79 w 204"/>
                <a:gd name="T83" fmla="*/ 341 h 479"/>
                <a:gd name="T84" fmla="*/ 87 w 204"/>
                <a:gd name="T85" fmla="*/ 316 h 479"/>
                <a:gd name="T86" fmla="*/ 90 w 204"/>
                <a:gd name="T87" fmla="*/ 333 h 479"/>
                <a:gd name="T88" fmla="*/ 98 w 204"/>
                <a:gd name="T89" fmla="*/ 409 h 479"/>
                <a:gd name="T90" fmla="*/ 104 w 204"/>
                <a:gd name="T91" fmla="*/ 405 h 479"/>
                <a:gd name="T92" fmla="*/ 93 w 204"/>
                <a:gd name="T93" fmla="*/ 385 h 479"/>
                <a:gd name="T94" fmla="*/ 93 w 204"/>
                <a:gd name="T95" fmla="*/ 399 h 479"/>
                <a:gd name="T96" fmla="*/ 102 w 204"/>
                <a:gd name="T97" fmla="*/ 419 h 479"/>
                <a:gd name="T98" fmla="*/ 110 w 204"/>
                <a:gd name="T99" fmla="*/ 422 h 479"/>
                <a:gd name="T100" fmla="*/ 113 w 204"/>
                <a:gd name="T101" fmla="*/ 439 h 479"/>
                <a:gd name="T102" fmla="*/ 118 w 204"/>
                <a:gd name="T103" fmla="*/ 442 h 479"/>
                <a:gd name="T104" fmla="*/ 121 w 204"/>
                <a:gd name="T105" fmla="*/ 430 h 479"/>
                <a:gd name="T106" fmla="*/ 130 w 204"/>
                <a:gd name="T107" fmla="*/ 439 h 479"/>
                <a:gd name="T108" fmla="*/ 144 w 204"/>
                <a:gd name="T109" fmla="*/ 447 h 479"/>
                <a:gd name="T110" fmla="*/ 135 w 204"/>
                <a:gd name="T111" fmla="*/ 158 h 479"/>
                <a:gd name="T112" fmla="*/ 161 w 204"/>
                <a:gd name="T113" fmla="*/ 44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4" h="479">
                  <a:moveTo>
                    <a:pt x="175" y="228"/>
                  </a:moveTo>
                  <a:lnTo>
                    <a:pt x="175" y="231"/>
                  </a:lnTo>
                  <a:lnTo>
                    <a:pt x="175" y="237"/>
                  </a:lnTo>
                  <a:lnTo>
                    <a:pt x="175" y="242"/>
                  </a:lnTo>
                  <a:lnTo>
                    <a:pt x="175" y="248"/>
                  </a:lnTo>
                  <a:lnTo>
                    <a:pt x="175" y="254"/>
                  </a:lnTo>
                  <a:cubicBezTo>
                    <a:pt x="175" y="259"/>
                    <a:pt x="175" y="265"/>
                    <a:pt x="178" y="270"/>
                  </a:cubicBezTo>
                  <a:cubicBezTo>
                    <a:pt x="181" y="282"/>
                    <a:pt x="183" y="293"/>
                    <a:pt x="183" y="304"/>
                  </a:cubicBezTo>
                  <a:lnTo>
                    <a:pt x="183" y="307"/>
                  </a:lnTo>
                  <a:cubicBezTo>
                    <a:pt x="189" y="316"/>
                    <a:pt x="189" y="324"/>
                    <a:pt x="189" y="335"/>
                  </a:cubicBezTo>
                  <a:cubicBezTo>
                    <a:pt x="192" y="338"/>
                    <a:pt x="195" y="341"/>
                    <a:pt x="192" y="347"/>
                  </a:cubicBezTo>
                  <a:lnTo>
                    <a:pt x="192" y="355"/>
                  </a:lnTo>
                  <a:lnTo>
                    <a:pt x="192" y="364"/>
                  </a:lnTo>
                  <a:lnTo>
                    <a:pt x="195" y="381"/>
                  </a:lnTo>
                  <a:cubicBezTo>
                    <a:pt x="195" y="382"/>
                    <a:pt x="197" y="385"/>
                    <a:pt x="197" y="385"/>
                  </a:cubicBezTo>
                  <a:cubicBezTo>
                    <a:pt x="197" y="388"/>
                    <a:pt x="197" y="391"/>
                    <a:pt x="200" y="394"/>
                  </a:cubicBezTo>
                  <a:cubicBezTo>
                    <a:pt x="203" y="396"/>
                    <a:pt x="203" y="402"/>
                    <a:pt x="203" y="405"/>
                  </a:cubicBezTo>
                  <a:lnTo>
                    <a:pt x="203" y="411"/>
                  </a:lnTo>
                  <a:lnTo>
                    <a:pt x="203" y="416"/>
                  </a:lnTo>
                  <a:cubicBezTo>
                    <a:pt x="203" y="427"/>
                    <a:pt x="200" y="439"/>
                    <a:pt x="195" y="450"/>
                  </a:cubicBezTo>
                  <a:cubicBezTo>
                    <a:pt x="195" y="453"/>
                    <a:pt x="192" y="453"/>
                    <a:pt x="189" y="453"/>
                  </a:cubicBezTo>
                  <a:cubicBezTo>
                    <a:pt x="183" y="456"/>
                    <a:pt x="178" y="461"/>
                    <a:pt x="172" y="467"/>
                  </a:cubicBezTo>
                  <a:cubicBezTo>
                    <a:pt x="169" y="470"/>
                    <a:pt x="167" y="473"/>
                    <a:pt x="164" y="473"/>
                  </a:cubicBezTo>
                  <a:cubicBezTo>
                    <a:pt x="162" y="473"/>
                    <a:pt x="158" y="475"/>
                    <a:pt x="158" y="473"/>
                  </a:cubicBezTo>
                  <a:cubicBezTo>
                    <a:pt x="155" y="473"/>
                    <a:pt x="152" y="475"/>
                    <a:pt x="149" y="475"/>
                  </a:cubicBezTo>
                  <a:cubicBezTo>
                    <a:pt x="144" y="478"/>
                    <a:pt x="138" y="478"/>
                    <a:pt x="133" y="475"/>
                  </a:cubicBezTo>
                  <a:lnTo>
                    <a:pt x="127" y="475"/>
                  </a:lnTo>
                  <a:lnTo>
                    <a:pt x="118" y="475"/>
                  </a:lnTo>
                  <a:lnTo>
                    <a:pt x="116" y="473"/>
                  </a:lnTo>
                  <a:cubicBezTo>
                    <a:pt x="113" y="473"/>
                    <a:pt x="113" y="470"/>
                    <a:pt x="113" y="470"/>
                  </a:cubicBezTo>
                  <a:cubicBezTo>
                    <a:pt x="110" y="470"/>
                    <a:pt x="104" y="467"/>
                    <a:pt x="104" y="467"/>
                  </a:cubicBezTo>
                  <a:lnTo>
                    <a:pt x="96" y="461"/>
                  </a:lnTo>
                  <a:cubicBezTo>
                    <a:pt x="90" y="456"/>
                    <a:pt x="85" y="450"/>
                    <a:pt x="82" y="442"/>
                  </a:cubicBezTo>
                  <a:cubicBezTo>
                    <a:pt x="79" y="436"/>
                    <a:pt x="79" y="433"/>
                    <a:pt x="76" y="427"/>
                  </a:cubicBezTo>
                  <a:cubicBezTo>
                    <a:pt x="76" y="425"/>
                    <a:pt x="73" y="422"/>
                    <a:pt x="76" y="419"/>
                  </a:cubicBezTo>
                  <a:lnTo>
                    <a:pt x="76" y="411"/>
                  </a:lnTo>
                  <a:cubicBezTo>
                    <a:pt x="76" y="408"/>
                    <a:pt x="73" y="405"/>
                    <a:pt x="76" y="405"/>
                  </a:cubicBezTo>
                  <a:cubicBezTo>
                    <a:pt x="76" y="402"/>
                    <a:pt x="73" y="402"/>
                    <a:pt x="73" y="399"/>
                  </a:cubicBezTo>
                  <a:cubicBezTo>
                    <a:pt x="73" y="396"/>
                    <a:pt x="70" y="394"/>
                    <a:pt x="73" y="391"/>
                  </a:cubicBezTo>
                  <a:lnTo>
                    <a:pt x="73" y="385"/>
                  </a:lnTo>
                  <a:lnTo>
                    <a:pt x="73" y="381"/>
                  </a:lnTo>
                  <a:cubicBezTo>
                    <a:pt x="73" y="375"/>
                    <a:pt x="70" y="369"/>
                    <a:pt x="70" y="364"/>
                  </a:cubicBezTo>
                  <a:cubicBezTo>
                    <a:pt x="70" y="358"/>
                    <a:pt x="68" y="352"/>
                    <a:pt x="68" y="347"/>
                  </a:cubicBezTo>
                  <a:cubicBezTo>
                    <a:pt x="65" y="341"/>
                    <a:pt x="65" y="335"/>
                    <a:pt x="65" y="327"/>
                  </a:cubicBezTo>
                  <a:lnTo>
                    <a:pt x="65" y="318"/>
                  </a:lnTo>
                  <a:cubicBezTo>
                    <a:pt x="65" y="316"/>
                    <a:pt x="62" y="313"/>
                    <a:pt x="62" y="310"/>
                  </a:cubicBezTo>
                  <a:lnTo>
                    <a:pt x="62" y="302"/>
                  </a:lnTo>
                  <a:cubicBezTo>
                    <a:pt x="62" y="299"/>
                    <a:pt x="59" y="296"/>
                    <a:pt x="59" y="296"/>
                  </a:cubicBezTo>
                  <a:cubicBezTo>
                    <a:pt x="59" y="296"/>
                    <a:pt x="56" y="296"/>
                    <a:pt x="59" y="293"/>
                  </a:cubicBezTo>
                  <a:lnTo>
                    <a:pt x="59" y="285"/>
                  </a:lnTo>
                  <a:lnTo>
                    <a:pt x="59" y="282"/>
                  </a:lnTo>
                  <a:cubicBezTo>
                    <a:pt x="56" y="279"/>
                    <a:pt x="54" y="276"/>
                    <a:pt x="56" y="273"/>
                  </a:cubicBezTo>
                  <a:cubicBezTo>
                    <a:pt x="59" y="270"/>
                    <a:pt x="59" y="270"/>
                    <a:pt x="59" y="268"/>
                  </a:cubicBezTo>
                  <a:cubicBezTo>
                    <a:pt x="59" y="268"/>
                    <a:pt x="59" y="265"/>
                    <a:pt x="56" y="262"/>
                  </a:cubicBezTo>
                  <a:cubicBezTo>
                    <a:pt x="56" y="259"/>
                    <a:pt x="56" y="256"/>
                    <a:pt x="54" y="256"/>
                  </a:cubicBezTo>
                  <a:cubicBezTo>
                    <a:pt x="51" y="254"/>
                    <a:pt x="51" y="251"/>
                    <a:pt x="54" y="251"/>
                  </a:cubicBezTo>
                  <a:lnTo>
                    <a:pt x="54" y="245"/>
                  </a:lnTo>
                  <a:cubicBezTo>
                    <a:pt x="54" y="242"/>
                    <a:pt x="51" y="242"/>
                    <a:pt x="51" y="239"/>
                  </a:cubicBezTo>
                  <a:cubicBezTo>
                    <a:pt x="48" y="234"/>
                    <a:pt x="48" y="231"/>
                    <a:pt x="48" y="225"/>
                  </a:cubicBezTo>
                  <a:cubicBezTo>
                    <a:pt x="48" y="223"/>
                    <a:pt x="45" y="220"/>
                    <a:pt x="45" y="217"/>
                  </a:cubicBezTo>
                  <a:cubicBezTo>
                    <a:pt x="42" y="211"/>
                    <a:pt x="39" y="203"/>
                    <a:pt x="42" y="194"/>
                  </a:cubicBezTo>
                  <a:cubicBezTo>
                    <a:pt x="42" y="192"/>
                    <a:pt x="42" y="186"/>
                    <a:pt x="45" y="183"/>
                  </a:cubicBezTo>
                  <a:cubicBezTo>
                    <a:pt x="45" y="180"/>
                    <a:pt x="45" y="180"/>
                    <a:pt x="42" y="177"/>
                  </a:cubicBezTo>
                  <a:lnTo>
                    <a:pt x="42" y="175"/>
                  </a:lnTo>
                  <a:cubicBezTo>
                    <a:pt x="39" y="160"/>
                    <a:pt x="39" y="146"/>
                    <a:pt x="34" y="132"/>
                  </a:cubicBezTo>
                  <a:cubicBezTo>
                    <a:pt x="31" y="118"/>
                    <a:pt x="28" y="107"/>
                    <a:pt x="25" y="93"/>
                  </a:cubicBezTo>
                  <a:lnTo>
                    <a:pt x="25" y="90"/>
                  </a:lnTo>
                  <a:lnTo>
                    <a:pt x="25" y="84"/>
                  </a:lnTo>
                  <a:cubicBezTo>
                    <a:pt x="25" y="81"/>
                    <a:pt x="23" y="79"/>
                    <a:pt x="23" y="79"/>
                  </a:cubicBezTo>
                  <a:cubicBezTo>
                    <a:pt x="25" y="73"/>
                    <a:pt x="23" y="67"/>
                    <a:pt x="20" y="62"/>
                  </a:cubicBezTo>
                  <a:cubicBezTo>
                    <a:pt x="3" y="59"/>
                    <a:pt x="3" y="53"/>
                    <a:pt x="3" y="48"/>
                  </a:cubicBezTo>
                  <a:lnTo>
                    <a:pt x="3" y="45"/>
                  </a:lnTo>
                  <a:cubicBezTo>
                    <a:pt x="0" y="36"/>
                    <a:pt x="0" y="25"/>
                    <a:pt x="6" y="17"/>
                  </a:cubicBezTo>
                  <a:cubicBezTo>
                    <a:pt x="8" y="11"/>
                    <a:pt x="15" y="11"/>
                    <a:pt x="20" y="11"/>
                  </a:cubicBezTo>
                  <a:cubicBezTo>
                    <a:pt x="26" y="11"/>
                    <a:pt x="28" y="8"/>
                    <a:pt x="34" y="5"/>
                  </a:cubicBezTo>
                  <a:cubicBezTo>
                    <a:pt x="39" y="5"/>
                    <a:pt x="45" y="8"/>
                    <a:pt x="48" y="11"/>
                  </a:cubicBezTo>
                  <a:cubicBezTo>
                    <a:pt x="51" y="14"/>
                    <a:pt x="54" y="17"/>
                    <a:pt x="59" y="19"/>
                  </a:cubicBezTo>
                  <a:lnTo>
                    <a:pt x="59" y="31"/>
                  </a:lnTo>
                  <a:lnTo>
                    <a:pt x="59" y="42"/>
                  </a:lnTo>
                  <a:lnTo>
                    <a:pt x="59" y="45"/>
                  </a:lnTo>
                  <a:lnTo>
                    <a:pt x="59" y="50"/>
                  </a:lnTo>
                  <a:lnTo>
                    <a:pt x="59" y="56"/>
                  </a:lnTo>
                  <a:cubicBezTo>
                    <a:pt x="59" y="59"/>
                    <a:pt x="59" y="59"/>
                    <a:pt x="62" y="62"/>
                  </a:cubicBezTo>
                  <a:cubicBezTo>
                    <a:pt x="65" y="65"/>
                    <a:pt x="65" y="67"/>
                    <a:pt x="68" y="70"/>
                  </a:cubicBezTo>
                  <a:lnTo>
                    <a:pt x="68" y="81"/>
                  </a:lnTo>
                  <a:cubicBezTo>
                    <a:pt x="70" y="87"/>
                    <a:pt x="70" y="96"/>
                    <a:pt x="73" y="101"/>
                  </a:cubicBezTo>
                  <a:cubicBezTo>
                    <a:pt x="73" y="107"/>
                    <a:pt x="76" y="115"/>
                    <a:pt x="79" y="121"/>
                  </a:cubicBezTo>
                  <a:cubicBezTo>
                    <a:pt x="79" y="124"/>
                    <a:pt x="79" y="127"/>
                    <a:pt x="82" y="127"/>
                  </a:cubicBezTo>
                  <a:lnTo>
                    <a:pt x="82" y="135"/>
                  </a:lnTo>
                  <a:lnTo>
                    <a:pt x="82" y="144"/>
                  </a:lnTo>
                  <a:lnTo>
                    <a:pt x="82" y="152"/>
                  </a:lnTo>
                  <a:lnTo>
                    <a:pt x="82" y="155"/>
                  </a:lnTo>
                  <a:lnTo>
                    <a:pt x="82" y="160"/>
                  </a:lnTo>
                  <a:lnTo>
                    <a:pt x="82" y="163"/>
                  </a:lnTo>
                  <a:cubicBezTo>
                    <a:pt x="85" y="163"/>
                    <a:pt x="85" y="166"/>
                    <a:pt x="85" y="166"/>
                  </a:cubicBezTo>
                  <a:cubicBezTo>
                    <a:pt x="85" y="172"/>
                    <a:pt x="85" y="177"/>
                    <a:pt x="87" y="180"/>
                  </a:cubicBezTo>
                  <a:cubicBezTo>
                    <a:pt x="90" y="186"/>
                    <a:pt x="90" y="192"/>
                    <a:pt x="90" y="194"/>
                  </a:cubicBezTo>
                  <a:lnTo>
                    <a:pt x="90" y="200"/>
                  </a:lnTo>
                  <a:lnTo>
                    <a:pt x="90" y="206"/>
                  </a:lnTo>
                  <a:lnTo>
                    <a:pt x="93" y="217"/>
                  </a:lnTo>
                  <a:cubicBezTo>
                    <a:pt x="93" y="220"/>
                    <a:pt x="96" y="223"/>
                    <a:pt x="93" y="223"/>
                  </a:cubicBezTo>
                  <a:cubicBezTo>
                    <a:pt x="93" y="225"/>
                    <a:pt x="93" y="228"/>
                    <a:pt x="96" y="228"/>
                  </a:cubicBezTo>
                  <a:lnTo>
                    <a:pt x="96" y="231"/>
                  </a:lnTo>
                  <a:cubicBezTo>
                    <a:pt x="93" y="239"/>
                    <a:pt x="96" y="248"/>
                    <a:pt x="99" y="254"/>
                  </a:cubicBezTo>
                  <a:cubicBezTo>
                    <a:pt x="102" y="262"/>
                    <a:pt x="102" y="270"/>
                    <a:pt x="102" y="276"/>
                  </a:cubicBezTo>
                  <a:cubicBezTo>
                    <a:pt x="102" y="282"/>
                    <a:pt x="102" y="290"/>
                    <a:pt x="104" y="296"/>
                  </a:cubicBezTo>
                  <a:cubicBezTo>
                    <a:pt x="104" y="299"/>
                    <a:pt x="107" y="304"/>
                    <a:pt x="107" y="307"/>
                  </a:cubicBezTo>
                  <a:lnTo>
                    <a:pt x="107" y="318"/>
                  </a:lnTo>
                  <a:lnTo>
                    <a:pt x="107" y="321"/>
                  </a:lnTo>
                  <a:lnTo>
                    <a:pt x="107" y="324"/>
                  </a:lnTo>
                  <a:cubicBezTo>
                    <a:pt x="113" y="333"/>
                    <a:pt x="113" y="341"/>
                    <a:pt x="113" y="352"/>
                  </a:cubicBezTo>
                  <a:lnTo>
                    <a:pt x="113" y="355"/>
                  </a:lnTo>
                  <a:lnTo>
                    <a:pt x="116" y="361"/>
                  </a:lnTo>
                  <a:lnTo>
                    <a:pt x="116" y="364"/>
                  </a:lnTo>
                  <a:lnTo>
                    <a:pt x="116" y="375"/>
                  </a:lnTo>
                  <a:cubicBezTo>
                    <a:pt x="116" y="381"/>
                    <a:pt x="116" y="382"/>
                    <a:pt x="118" y="385"/>
                  </a:cubicBezTo>
                  <a:cubicBezTo>
                    <a:pt x="121" y="389"/>
                    <a:pt x="121" y="391"/>
                    <a:pt x="121" y="396"/>
                  </a:cubicBezTo>
                  <a:cubicBezTo>
                    <a:pt x="121" y="399"/>
                    <a:pt x="121" y="402"/>
                    <a:pt x="124" y="405"/>
                  </a:cubicBezTo>
                  <a:lnTo>
                    <a:pt x="127" y="411"/>
                  </a:lnTo>
                  <a:cubicBezTo>
                    <a:pt x="127" y="413"/>
                    <a:pt x="133" y="419"/>
                    <a:pt x="135" y="416"/>
                  </a:cubicBezTo>
                  <a:lnTo>
                    <a:pt x="138" y="416"/>
                  </a:lnTo>
                  <a:cubicBezTo>
                    <a:pt x="138" y="416"/>
                    <a:pt x="138" y="419"/>
                    <a:pt x="141" y="419"/>
                  </a:cubicBezTo>
                  <a:cubicBezTo>
                    <a:pt x="144" y="416"/>
                    <a:pt x="149" y="416"/>
                    <a:pt x="152" y="416"/>
                  </a:cubicBezTo>
                  <a:lnTo>
                    <a:pt x="155" y="413"/>
                  </a:lnTo>
                  <a:cubicBezTo>
                    <a:pt x="155" y="411"/>
                    <a:pt x="158" y="411"/>
                    <a:pt x="158" y="411"/>
                  </a:cubicBezTo>
                  <a:lnTo>
                    <a:pt x="158" y="396"/>
                  </a:lnTo>
                  <a:lnTo>
                    <a:pt x="158" y="382"/>
                  </a:lnTo>
                  <a:lnTo>
                    <a:pt x="158" y="372"/>
                  </a:lnTo>
                  <a:cubicBezTo>
                    <a:pt x="158" y="369"/>
                    <a:pt x="155" y="364"/>
                    <a:pt x="152" y="361"/>
                  </a:cubicBezTo>
                  <a:cubicBezTo>
                    <a:pt x="152" y="361"/>
                    <a:pt x="152" y="358"/>
                    <a:pt x="149" y="355"/>
                  </a:cubicBezTo>
                  <a:lnTo>
                    <a:pt x="149" y="347"/>
                  </a:lnTo>
                  <a:lnTo>
                    <a:pt x="149" y="338"/>
                  </a:lnTo>
                  <a:cubicBezTo>
                    <a:pt x="149" y="338"/>
                    <a:pt x="149" y="335"/>
                    <a:pt x="152" y="335"/>
                  </a:cubicBezTo>
                  <a:cubicBezTo>
                    <a:pt x="149" y="335"/>
                    <a:pt x="149" y="333"/>
                    <a:pt x="149" y="333"/>
                  </a:cubicBezTo>
                  <a:cubicBezTo>
                    <a:pt x="149" y="327"/>
                    <a:pt x="147" y="321"/>
                    <a:pt x="144" y="316"/>
                  </a:cubicBezTo>
                  <a:cubicBezTo>
                    <a:pt x="147" y="316"/>
                    <a:pt x="144" y="310"/>
                    <a:pt x="144" y="302"/>
                  </a:cubicBezTo>
                  <a:lnTo>
                    <a:pt x="144" y="296"/>
                  </a:lnTo>
                  <a:cubicBezTo>
                    <a:pt x="144" y="293"/>
                    <a:pt x="144" y="293"/>
                    <a:pt x="141" y="290"/>
                  </a:cubicBezTo>
                  <a:cubicBezTo>
                    <a:pt x="141" y="287"/>
                    <a:pt x="138" y="287"/>
                    <a:pt x="138" y="285"/>
                  </a:cubicBezTo>
                  <a:cubicBezTo>
                    <a:pt x="138" y="282"/>
                    <a:pt x="138" y="282"/>
                    <a:pt x="135" y="279"/>
                  </a:cubicBezTo>
                  <a:cubicBezTo>
                    <a:pt x="133" y="273"/>
                    <a:pt x="133" y="268"/>
                    <a:pt x="135" y="262"/>
                  </a:cubicBezTo>
                  <a:cubicBezTo>
                    <a:pt x="133" y="259"/>
                    <a:pt x="133" y="254"/>
                    <a:pt x="130" y="251"/>
                  </a:cubicBezTo>
                  <a:cubicBezTo>
                    <a:pt x="127" y="248"/>
                    <a:pt x="127" y="242"/>
                    <a:pt x="130" y="237"/>
                  </a:cubicBezTo>
                  <a:cubicBezTo>
                    <a:pt x="127" y="234"/>
                    <a:pt x="127" y="231"/>
                    <a:pt x="127" y="228"/>
                  </a:cubicBezTo>
                  <a:cubicBezTo>
                    <a:pt x="127" y="225"/>
                    <a:pt x="127" y="223"/>
                    <a:pt x="124" y="220"/>
                  </a:cubicBezTo>
                  <a:cubicBezTo>
                    <a:pt x="127" y="220"/>
                    <a:pt x="127" y="217"/>
                    <a:pt x="127" y="214"/>
                  </a:cubicBezTo>
                  <a:cubicBezTo>
                    <a:pt x="127" y="211"/>
                    <a:pt x="124" y="211"/>
                    <a:pt x="124" y="208"/>
                  </a:cubicBezTo>
                  <a:cubicBezTo>
                    <a:pt x="121" y="200"/>
                    <a:pt x="121" y="194"/>
                    <a:pt x="118" y="186"/>
                  </a:cubicBezTo>
                  <a:lnTo>
                    <a:pt x="113" y="163"/>
                  </a:lnTo>
                  <a:cubicBezTo>
                    <a:pt x="113" y="160"/>
                    <a:pt x="113" y="158"/>
                    <a:pt x="110" y="158"/>
                  </a:cubicBezTo>
                  <a:lnTo>
                    <a:pt x="110" y="152"/>
                  </a:lnTo>
                  <a:lnTo>
                    <a:pt x="110" y="144"/>
                  </a:lnTo>
                  <a:lnTo>
                    <a:pt x="110" y="138"/>
                  </a:lnTo>
                  <a:cubicBezTo>
                    <a:pt x="113" y="135"/>
                    <a:pt x="113" y="132"/>
                    <a:pt x="110" y="129"/>
                  </a:cubicBezTo>
                  <a:cubicBezTo>
                    <a:pt x="107" y="127"/>
                    <a:pt x="107" y="127"/>
                    <a:pt x="107" y="124"/>
                  </a:cubicBezTo>
                  <a:lnTo>
                    <a:pt x="107" y="118"/>
                  </a:lnTo>
                  <a:cubicBezTo>
                    <a:pt x="107" y="115"/>
                    <a:pt x="104" y="113"/>
                    <a:pt x="104" y="113"/>
                  </a:cubicBezTo>
                  <a:cubicBezTo>
                    <a:pt x="104" y="110"/>
                    <a:pt x="105" y="110"/>
                    <a:pt x="102" y="107"/>
                  </a:cubicBezTo>
                  <a:cubicBezTo>
                    <a:pt x="100" y="104"/>
                    <a:pt x="99" y="98"/>
                    <a:pt x="102" y="96"/>
                  </a:cubicBezTo>
                  <a:lnTo>
                    <a:pt x="102" y="84"/>
                  </a:lnTo>
                  <a:lnTo>
                    <a:pt x="102" y="79"/>
                  </a:lnTo>
                  <a:cubicBezTo>
                    <a:pt x="99" y="76"/>
                    <a:pt x="99" y="73"/>
                    <a:pt x="99" y="70"/>
                  </a:cubicBezTo>
                  <a:cubicBezTo>
                    <a:pt x="99" y="67"/>
                    <a:pt x="99" y="65"/>
                    <a:pt x="96" y="62"/>
                  </a:cubicBezTo>
                  <a:cubicBezTo>
                    <a:pt x="96" y="59"/>
                    <a:pt x="93" y="59"/>
                    <a:pt x="93" y="56"/>
                  </a:cubicBezTo>
                  <a:cubicBezTo>
                    <a:pt x="93" y="56"/>
                    <a:pt x="90" y="53"/>
                    <a:pt x="93" y="53"/>
                  </a:cubicBezTo>
                  <a:lnTo>
                    <a:pt x="93" y="39"/>
                  </a:lnTo>
                  <a:cubicBezTo>
                    <a:pt x="87" y="28"/>
                    <a:pt x="90" y="14"/>
                    <a:pt x="99" y="5"/>
                  </a:cubicBezTo>
                  <a:cubicBezTo>
                    <a:pt x="104" y="0"/>
                    <a:pt x="110" y="0"/>
                    <a:pt x="118" y="0"/>
                  </a:cubicBezTo>
                  <a:lnTo>
                    <a:pt x="121" y="0"/>
                  </a:lnTo>
                  <a:lnTo>
                    <a:pt x="124" y="3"/>
                  </a:lnTo>
                  <a:lnTo>
                    <a:pt x="127" y="5"/>
                  </a:lnTo>
                  <a:lnTo>
                    <a:pt x="133" y="42"/>
                  </a:lnTo>
                  <a:cubicBezTo>
                    <a:pt x="133" y="45"/>
                    <a:pt x="133" y="48"/>
                    <a:pt x="135" y="50"/>
                  </a:cubicBezTo>
                  <a:cubicBezTo>
                    <a:pt x="138" y="56"/>
                    <a:pt x="138" y="62"/>
                    <a:pt x="138" y="67"/>
                  </a:cubicBezTo>
                  <a:cubicBezTo>
                    <a:pt x="141" y="70"/>
                    <a:pt x="144" y="76"/>
                    <a:pt x="141" y="81"/>
                  </a:cubicBezTo>
                  <a:lnTo>
                    <a:pt x="141" y="87"/>
                  </a:lnTo>
                  <a:cubicBezTo>
                    <a:pt x="141" y="90"/>
                    <a:pt x="141" y="90"/>
                    <a:pt x="144" y="93"/>
                  </a:cubicBezTo>
                  <a:cubicBezTo>
                    <a:pt x="147" y="93"/>
                    <a:pt x="147" y="96"/>
                    <a:pt x="147" y="98"/>
                  </a:cubicBezTo>
                  <a:lnTo>
                    <a:pt x="147" y="107"/>
                  </a:lnTo>
                  <a:cubicBezTo>
                    <a:pt x="147" y="110"/>
                    <a:pt x="149" y="113"/>
                    <a:pt x="149" y="115"/>
                  </a:cubicBezTo>
                  <a:lnTo>
                    <a:pt x="149" y="124"/>
                  </a:lnTo>
                  <a:lnTo>
                    <a:pt x="152" y="138"/>
                  </a:lnTo>
                  <a:cubicBezTo>
                    <a:pt x="152" y="144"/>
                    <a:pt x="152" y="146"/>
                    <a:pt x="155" y="152"/>
                  </a:cubicBezTo>
                  <a:cubicBezTo>
                    <a:pt x="161" y="160"/>
                    <a:pt x="161" y="171"/>
                    <a:pt x="161" y="180"/>
                  </a:cubicBezTo>
                  <a:cubicBezTo>
                    <a:pt x="161" y="188"/>
                    <a:pt x="161" y="194"/>
                    <a:pt x="164" y="203"/>
                  </a:cubicBezTo>
                  <a:cubicBezTo>
                    <a:pt x="164" y="211"/>
                    <a:pt x="166" y="217"/>
                    <a:pt x="166" y="225"/>
                  </a:cubicBezTo>
                  <a:lnTo>
                    <a:pt x="166" y="231"/>
                  </a:lnTo>
                  <a:cubicBezTo>
                    <a:pt x="172" y="225"/>
                    <a:pt x="172" y="228"/>
                    <a:pt x="175" y="228"/>
                  </a:cubicBezTo>
                  <a:close/>
                  <a:moveTo>
                    <a:pt x="25" y="56"/>
                  </a:moveTo>
                  <a:cubicBezTo>
                    <a:pt x="25" y="59"/>
                    <a:pt x="28" y="59"/>
                    <a:pt x="28" y="59"/>
                  </a:cubicBezTo>
                  <a:lnTo>
                    <a:pt x="25" y="56"/>
                  </a:lnTo>
                  <a:close/>
                  <a:moveTo>
                    <a:pt x="25" y="36"/>
                  </a:moveTo>
                  <a:lnTo>
                    <a:pt x="28" y="36"/>
                  </a:lnTo>
                  <a:lnTo>
                    <a:pt x="28" y="34"/>
                  </a:lnTo>
                  <a:cubicBezTo>
                    <a:pt x="28" y="34"/>
                    <a:pt x="28" y="36"/>
                    <a:pt x="25" y="36"/>
                  </a:cubicBezTo>
                  <a:close/>
                  <a:moveTo>
                    <a:pt x="31" y="70"/>
                  </a:moveTo>
                  <a:cubicBezTo>
                    <a:pt x="34" y="70"/>
                    <a:pt x="37" y="73"/>
                    <a:pt x="37" y="76"/>
                  </a:cubicBezTo>
                  <a:cubicBezTo>
                    <a:pt x="37" y="79"/>
                    <a:pt x="39" y="79"/>
                    <a:pt x="42" y="79"/>
                  </a:cubicBezTo>
                  <a:lnTo>
                    <a:pt x="42" y="76"/>
                  </a:lnTo>
                  <a:lnTo>
                    <a:pt x="39" y="76"/>
                  </a:lnTo>
                  <a:lnTo>
                    <a:pt x="39" y="73"/>
                  </a:lnTo>
                  <a:lnTo>
                    <a:pt x="34" y="70"/>
                  </a:lnTo>
                  <a:lnTo>
                    <a:pt x="34" y="65"/>
                  </a:lnTo>
                  <a:lnTo>
                    <a:pt x="31" y="70"/>
                  </a:lnTo>
                  <a:close/>
                  <a:moveTo>
                    <a:pt x="34" y="87"/>
                  </a:moveTo>
                  <a:cubicBezTo>
                    <a:pt x="37" y="87"/>
                    <a:pt x="37" y="87"/>
                    <a:pt x="39" y="84"/>
                  </a:cubicBezTo>
                  <a:cubicBezTo>
                    <a:pt x="39" y="84"/>
                    <a:pt x="42" y="84"/>
                    <a:pt x="42" y="81"/>
                  </a:cubicBezTo>
                  <a:cubicBezTo>
                    <a:pt x="39" y="81"/>
                    <a:pt x="37" y="79"/>
                    <a:pt x="34" y="79"/>
                  </a:cubicBezTo>
                  <a:lnTo>
                    <a:pt x="34" y="87"/>
                  </a:lnTo>
                  <a:close/>
                  <a:moveTo>
                    <a:pt x="37" y="48"/>
                  </a:moveTo>
                  <a:cubicBezTo>
                    <a:pt x="31" y="50"/>
                    <a:pt x="31" y="56"/>
                    <a:pt x="34" y="59"/>
                  </a:cubicBezTo>
                  <a:cubicBezTo>
                    <a:pt x="34" y="56"/>
                    <a:pt x="34" y="53"/>
                    <a:pt x="37" y="48"/>
                  </a:cubicBezTo>
                  <a:lnTo>
                    <a:pt x="39" y="48"/>
                  </a:lnTo>
                  <a:lnTo>
                    <a:pt x="39" y="42"/>
                  </a:lnTo>
                  <a:lnTo>
                    <a:pt x="39" y="36"/>
                  </a:lnTo>
                  <a:cubicBezTo>
                    <a:pt x="37" y="36"/>
                    <a:pt x="37" y="39"/>
                    <a:pt x="34" y="39"/>
                  </a:cubicBezTo>
                  <a:lnTo>
                    <a:pt x="31" y="42"/>
                  </a:lnTo>
                  <a:cubicBezTo>
                    <a:pt x="34" y="45"/>
                    <a:pt x="34" y="48"/>
                    <a:pt x="37" y="48"/>
                  </a:cubicBezTo>
                  <a:close/>
                  <a:moveTo>
                    <a:pt x="34" y="98"/>
                  </a:moveTo>
                  <a:lnTo>
                    <a:pt x="42" y="101"/>
                  </a:lnTo>
                  <a:cubicBezTo>
                    <a:pt x="48" y="93"/>
                    <a:pt x="48" y="93"/>
                    <a:pt x="48" y="84"/>
                  </a:cubicBezTo>
                  <a:lnTo>
                    <a:pt x="42" y="84"/>
                  </a:lnTo>
                  <a:cubicBezTo>
                    <a:pt x="42" y="87"/>
                    <a:pt x="39" y="90"/>
                    <a:pt x="39" y="90"/>
                  </a:cubicBezTo>
                  <a:lnTo>
                    <a:pt x="39" y="96"/>
                  </a:lnTo>
                  <a:lnTo>
                    <a:pt x="37" y="96"/>
                  </a:lnTo>
                  <a:cubicBezTo>
                    <a:pt x="37" y="98"/>
                    <a:pt x="37" y="98"/>
                    <a:pt x="34" y="98"/>
                  </a:cubicBezTo>
                  <a:close/>
                  <a:moveTo>
                    <a:pt x="39" y="113"/>
                  </a:moveTo>
                  <a:lnTo>
                    <a:pt x="42" y="113"/>
                  </a:lnTo>
                  <a:lnTo>
                    <a:pt x="42" y="110"/>
                  </a:lnTo>
                  <a:lnTo>
                    <a:pt x="39" y="113"/>
                  </a:lnTo>
                  <a:close/>
                  <a:moveTo>
                    <a:pt x="39" y="132"/>
                  </a:moveTo>
                  <a:cubicBezTo>
                    <a:pt x="42" y="132"/>
                    <a:pt x="42" y="132"/>
                    <a:pt x="42" y="129"/>
                  </a:cubicBezTo>
                  <a:cubicBezTo>
                    <a:pt x="42" y="129"/>
                    <a:pt x="39" y="129"/>
                    <a:pt x="39" y="132"/>
                  </a:cubicBezTo>
                  <a:close/>
                  <a:moveTo>
                    <a:pt x="48" y="127"/>
                  </a:moveTo>
                  <a:cubicBezTo>
                    <a:pt x="51" y="124"/>
                    <a:pt x="51" y="124"/>
                    <a:pt x="54" y="124"/>
                  </a:cubicBezTo>
                  <a:lnTo>
                    <a:pt x="54" y="115"/>
                  </a:lnTo>
                  <a:lnTo>
                    <a:pt x="51" y="115"/>
                  </a:lnTo>
                  <a:cubicBezTo>
                    <a:pt x="51" y="115"/>
                    <a:pt x="48" y="115"/>
                    <a:pt x="48" y="118"/>
                  </a:cubicBezTo>
                  <a:lnTo>
                    <a:pt x="48" y="115"/>
                  </a:lnTo>
                  <a:lnTo>
                    <a:pt x="45" y="113"/>
                  </a:lnTo>
                  <a:cubicBezTo>
                    <a:pt x="42" y="115"/>
                    <a:pt x="42" y="118"/>
                    <a:pt x="39" y="118"/>
                  </a:cubicBezTo>
                  <a:lnTo>
                    <a:pt x="48" y="118"/>
                  </a:lnTo>
                  <a:cubicBezTo>
                    <a:pt x="48" y="121"/>
                    <a:pt x="48" y="124"/>
                    <a:pt x="45" y="124"/>
                  </a:cubicBezTo>
                  <a:lnTo>
                    <a:pt x="39" y="124"/>
                  </a:lnTo>
                  <a:lnTo>
                    <a:pt x="42" y="129"/>
                  </a:lnTo>
                  <a:cubicBezTo>
                    <a:pt x="45" y="129"/>
                    <a:pt x="48" y="129"/>
                    <a:pt x="48" y="127"/>
                  </a:cubicBezTo>
                  <a:close/>
                  <a:moveTo>
                    <a:pt x="45" y="144"/>
                  </a:moveTo>
                  <a:lnTo>
                    <a:pt x="48" y="146"/>
                  </a:lnTo>
                  <a:lnTo>
                    <a:pt x="56" y="138"/>
                  </a:lnTo>
                  <a:lnTo>
                    <a:pt x="56" y="135"/>
                  </a:lnTo>
                  <a:lnTo>
                    <a:pt x="54" y="135"/>
                  </a:lnTo>
                  <a:lnTo>
                    <a:pt x="45" y="144"/>
                  </a:lnTo>
                  <a:close/>
                  <a:moveTo>
                    <a:pt x="48" y="110"/>
                  </a:moveTo>
                  <a:cubicBezTo>
                    <a:pt x="51" y="113"/>
                    <a:pt x="51" y="113"/>
                    <a:pt x="54" y="113"/>
                  </a:cubicBezTo>
                  <a:lnTo>
                    <a:pt x="54" y="110"/>
                  </a:lnTo>
                  <a:lnTo>
                    <a:pt x="54" y="107"/>
                  </a:lnTo>
                  <a:lnTo>
                    <a:pt x="48" y="110"/>
                  </a:lnTo>
                  <a:close/>
                  <a:moveTo>
                    <a:pt x="51" y="135"/>
                  </a:moveTo>
                  <a:lnTo>
                    <a:pt x="54" y="135"/>
                  </a:lnTo>
                  <a:cubicBezTo>
                    <a:pt x="54" y="129"/>
                    <a:pt x="51" y="129"/>
                    <a:pt x="48" y="132"/>
                  </a:cubicBezTo>
                  <a:lnTo>
                    <a:pt x="51" y="135"/>
                  </a:lnTo>
                  <a:close/>
                  <a:moveTo>
                    <a:pt x="54" y="158"/>
                  </a:moveTo>
                  <a:cubicBezTo>
                    <a:pt x="54" y="158"/>
                    <a:pt x="52" y="158"/>
                    <a:pt x="52" y="157"/>
                  </a:cubicBezTo>
                  <a:cubicBezTo>
                    <a:pt x="55" y="163"/>
                    <a:pt x="59" y="163"/>
                    <a:pt x="62" y="160"/>
                  </a:cubicBezTo>
                  <a:lnTo>
                    <a:pt x="62" y="155"/>
                  </a:lnTo>
                  <a:lnTo>
                    <a:pt x="56" y="160"/>
                  </a:lnTo>
                  <a:lnTo>
                    <a:pt x="54" y="158"/>
                  </a:lnTo>
                  <a:close/>
                  <a:moveTo>
                    <a:pt x="51" y="169"/>
                  </a:moveTo>
                  <a:lnTo>
                    <a:pt x="54" y="169"/>
                  </a:lnTo>
                  <a:lnTo>
                    <a:pt x="54" y="166"/>
                  </a:lnTo>
                  <a:lnTo>
                    <a:pt x="54" y="163"/>
                  </a:lnTo>
                  <a:cubicBezTo>
                    <a:pt x="54" y="163"/>
                    <a:pt x="51" y="166"/>
                    <a:pt x="51" y="169"/>
                  </a:cubicBezTo>
                  <a:close/>
                  <a:moveTo>
                    <a:pt x="65" y="183"/>
                  </a:moveTo>
                  <a:lnTo>
                    <a:pt x="62" y="180"/>
                  </a:lnTo>
                  <a:cubicBezTo>
                    <a:pt x="62" y="177"/>
                    <a:pt x="59" y="177"/>
                    <a:pt x="56" y="175"/>
                  </a:cubicBezTo>
                  <a:lnTo>
                    <a:pt x="51" y="175"/>
                  </a:lnTo>
                  <a:cubicBezTo>
                    <a:pt x="59" y="177"/>
                    <a:pt x="62" y="180"/>
                    <a:pt x="65" y="183"/>
                  </a:cubicBezTo>
                  <a:close/>
                  <a:moveTo>
                    <a:pt x="56" y="183"/>
                  </a:moveTo>
                  <a:lnTo>
                    <a:pt x="54" y="183"/>
                  </a:lnTo>
                  <a:lnTo>
                    <a:pt x="54" y="186"/>
                  </a:lnTo>
                  <a:lnTo>
                    <a:pt x="56" y="183"/>
                  </a:lnTo>
                  <a:close/>
                  <a:moveTo>
                    <a:pt x="54" y="214"/>
                  </a:moveTo>
                  <a:cubicBezTo>
                    <a:pt x="59" y="217"/>
                    <a:pt x="59" y="217"/>
                    <a:pt x="59" y="214"/>
                  </a:cubicBezTo>
                  <a:lnTo>
                    <a:pt x="54" y="214"/>
                  </a:lnTo>
                  <a:close/>
                  <a:moveTo>
                    <a:pt x="62" y="192"/>
                  </a:moveTo>
                  <a:cubicBezTo>
                    <a:pt x="62" y="189"/>
                    <a:pt x="62" y="189"/>
                    <a:pt x="59" y="186"/>
                  </a:cubicBezTo>
                  <a:lnTo>
                    <a:pt x="59" y="189"/>
                  </a:lnTo>
                  <a:lnTo>
                    <a:pt x="62" y="192"/>
                  </a:lnTo>
                  <a:close/>
                  <a:moveTo>
                    <a:pt x="62" y="208"/>
                  </a:moveTo>
                  <a:lnTo>
                    <a:pt x="62" y="214"/>
                  </a:lnTo>
                  <a:lnTo>
                    <a:pt x="65" y="208"/>
                  </a:lnTo>
                  <a:lnTo>
                    <a:pt x="62" y="208"/>
                  </a:lnTo>
                  <a:close/>
                  <a:moveTo>
                    <a:pt x="68" y="217"/>
                  </a:moveTo>
                  <a:lnTo>
                    <a:pt x="65" y="214"/>
                  </a:lnTo>
                  <a:cubicBezTo>
                    <a:pt x="62" y="214"/>
                    <a:pt x="65" y="217"/>
                    <a:pt x="68" y="217"/>
                  </a:cubicBezTo>
                  <a:close/>
                  <a:moveTo>
                    <a:pt x="65" y="279"/>
                  </a:moveTo>
                  <a:lnTo>
                    <a:pt x="68" y="282"/>
                  </a:lnTo>
                  <a:cubicBezTo>
                    <a:pt x="70" y="279"/>
                    <a:pt x="70" y="279"/>
                    <a:pt x="65" y="279"/>
                  </a:cubicBezTo>
                  <a:close/>
                  <a:moveTo>
                    <a:pt x="70" y="248"/>
                  </a:moveTo>
                  <a:lnTo>
                    <a:pt x="65" y="248"/>
                  </a:lnTo>
                  <a:lnTo>
                    <a:pt x="65" y="251"/>
                  </a:lnTo>
                  <a:lnTo>
                    <a:pt x="65" y="254"/>
                  </a:lnTo>
                  <a:lnTo>
                    <a:pt x="68" y="254"/>
                  </a:lnTo>
                  <a:lnTo>
                    <a:pt x="70" y="254"/>
                  </a:lnTo>
                  <a:lnTo>
                    <a:pt x="70" y="248"/>
                  </a:lnTo>
                  <a:close/>
                  <a:moveTo>
                    <a:pt x="68" y="245"/>
                  </a:moveTo>
                  <a:cubicBezTo>
                    <a:pt x="68" y="245"/>
                    <a:pt x="70" y="245"/>
                    <a:pt x="70" y="242"/>
                  </a:cubicBezTo>
                  <a:lnTo>
                    <a:pt x="68" y="245"/>
                  </a:lnTo>
                  <a:close/>
                  <a:moveTo>
                    <a:pt x="79" y="279"/>
                  </a:moveTo>
                  <a:lnTo>
                    <a:pt x="76" y="276"/>
                  </a:lnTo>
                  <a:cubicBezTo>
                    <a:pt x="73" y="276"/>
                    <a:pt x="73" y="279"/>
                    <a:pt x="70" y="279"/>
                  </a:cubicBezTo>
                  <a:lnTo>
                    <a:pt x="79" y="279"/>
                  </a:lnTo>
                  <a:close/>
                  <a:moveTo>
                    <a:pt x="73" y="335"/>
                  </a:moveTo>
                  <a:lnTo>
                    <a:pt x="79" y="335"/>
                  </a:lnTo>
                  <a:lnTo>
                    <a:pt x="79" y="333"/>
                  </a:lnTo>
                  <a:lnTo>
                    <a:pt x="79" y="330"/>
                  </a:lnTo>
                  <a:cubicBezTo>
                    <a:pt x="76" y="333"/>
                    <a:pt x="73" y="333"/>
                    <a:pt x="73" y="335"/>
                  </a:cubicBezTo>
                  <a:close/>
                  <a:moveTo>
                    <a:pt x="76" y="316"/>
                  </a:moveTo>
                  <a:cubicBezTo>
                    <a:pt x="79" y="313"/>
                    <a:pt x="82" y="313"/>
                    <a:pt x="82" y="313"/>
                  </a:cubicBezTo>
                  <a:lnTo>
                    <a:pt x="85" y="313"/>
                  </a:lnTo>
                  <a:cubicBezTo>
                    <a:pt x="82" y="313"/>
                    <a:pt x="82" y="310"/>
                    <a:pt x="82" y="310"/>
                  </a:cubicBezTo>
                  <a:lnTo>
                    <a:pt x="76" y="307"/>
                  </a:lnTo>
                  <a:lnTo>
                    <a:pt x="76" y="313"/>
                  </a:lnTo>
                  <a:cubicBezTo>
                    <a:pt x="76" y="311"/>
                    <a:pt x="76" y="311"/>
                    <a:pt x="76" y="313"/>
                  </a:cubicBezTo>
                  <a:lnTo>
                    <a:pt x="76" y="316"/>
                  </a:lnTo>
                  <a:close/>
                  <a:moveTo>
                    <a:pt x="76" y="352"/>
                  </a:moveTo>
                  <a:lnTo>
                    <a:pt x="82" y="355"/>
                  </a:lnTo>
                  <a:lnTo>
                    <a:pt x="85" y="352"/>
                  </a:lnTo>
                  <a:lnTo>
                    <a:pt x="87" y="352"/>
                  </a:lnTo>
                  <a:lnTo>
                    <a:pt x="90" y="355"/>
                  </a:lnTo>
                  <a:cubicBezTo>
                    <a:pt x="90" y="355"/>
                    <a:pt x="90" y="358"/>
                    <a:pt x="93" y="358"/>
                  </a:cubicBezTo>
                  <a:lnTo>
                    <a:pt x="93" y="352"/>
                  </a:lnTo>
                  <a:lnTo>
                    <a:pt x="93" y="347"/>
                  </a:lnTo>
                  <a:lnTo>
                    <a:pt x="85" y="349"/>
                  </a:lnTo>
                  <a:lnTo>
                    <a:pt x="76" y="352"/>
                  </a:lnTo>
                  <a:close/>
                  <a:moveTo>
                    <a:pt x="79" y="341"/>
                  </a:moveTo>
                  <a:lnTo>
                    <a:pt x="87" y="341"/>
                  </a:lnTo>
                  <a:cubicBezTo>
                    <a:pt x="87" y="341"/>
                    <a:pt x="87" y="338"/>
                    <a:pt x="85" y="338"/>
                  </a:cubicBezTo>
                  <a:cubicBezTo>
                    <a:pt x="85" y="338"/>
                    <a:pt x="82" y="338"/>
                    <a:pt x="82" y="335"/>
                  </a:cubicBezTo>
                  <a:cubicBezTo>
                    <a:pt x="82" y="338"/>
                    <a:pt x="79" y="338"/>
                    <a:pt x="79" y="341"/>
                  </a:cubicBezTo>
                  <a:close/>
                  <a:moveTo>
                    <a:pt x="87" y="282"/>
                  </a:moveTo>
                  <a:cubicBezTo>
                    <a:pt x="85" y="282"/>
                    <a:pt x="85" y="279"/>
                    <a:pt x="82" y="279"/>
                  </a:cubicBezTo>
                  <a:cubicBezTo>
                    <a:pt x="82" y="285"/>
                    <a:pt x="82" y="285"/>
                    <a:pt x="87" y="282"/>
                  </a:cubicBezTo>
                  <a:close/>
                  <a:moveTo>
                    <a:pt x="87" y="316"/>
                  </a:moveTo>
                  <a:lnTo>
                    <a:pt x="85" y="321"/>
                  </a:lnTo>
                  <a:lnTo>
                    <a:pt x="85" y="330"/>
                  </a:lnTo>
                  <a:cubicBezTo>
                    <a:pt x="85" y="327"/>
                    <a:pt x="87" y="324"/>
                    <a:pt x="87" y="324"/>
                  </a:cubicBezTo>
                  <a:lnTo>
                    <a:pt x="87" y="316"/>
                  </a:lnTo>
                  <a:close/>
                  <a:moveTo>
                    <a:pt x="87" y="361"/>
                  </a:moveTo>
                  <a:cubicBezTo>
                    <a:pt x="87" y="358"/>
                    <a:pt x="87" y="358"/>
                    <a:pt x="85" y="358"/>
                  </a:cubicBezTo>
                  <a:lnTo>
                    <a:pt x="87" y="361"/>
                  </a:lnTo>
                  <a:close/>
                  <a:moveTo>
                    <a:pt x="90" y="333"/>
                  </a:moveTo>
                  <a:cubicBezTo>
                    <a:pt x="87" y="335"/>
                    <a:pt x="90" y="335"/>
                    <a:pt x="90" y="338"/>
                  </a:cubicBezTo>
                  <a:lnTo>
                    <a:pt x="90" y="333"/>
                  </a:lnTo>
                  <a:close/>
                  <a:moveTo>
                    <a:pt x="93" y="391"/>
                  </a:moveTo>
                  <a:lnTo>
                    <a:pt x="90" y="391"/>
                  </a:lnTo>
                  <a:lnTo>
                    <a:pt x="90" y="394"/>
                  </a:lnTo>
                  <a:lnTo>
                    <a:pt x="93" y="391"/>
                  </a:lnTo>
                  <a:close/>
                  <a:moveTo>
                    <a:pt x="96" y="411"/>
                  </a:moveTo>
                  <a:cubicBezTo>
                    <a:pt x="96" y="411"/>
                    <a:pt x="98" y="411"/>
                    <a:pt x="98" y="409"/>
                  </a:cubicBezTo>
                  <a:cubicBezTo>
                    <a:pt x="98" y="408"/>
                    <a:pt x="95" y="408"/>
                    <a:pt x="93" y="408"/>
                  </a:cubicBezTo>
                  <a:lnTo>
                    <a:pt x="96" y="411"/>
                  </a:lnTo>
                  <a:cubicBezTo>
                    <a:pt x="90" y="411"/>
                    <a:pt x="90" y="411"/>
                    <a:pt x="93" y="413"/>
                  </a:cubicBezTo>
                  <a:lnTo>
                    <a:pt x="96" y="411"/>
                  </a:lnTo>
                  <a:close/>
                  <a:moveTo>
                    <a:pt x="102" y="411"/>
                  </a:moveTo>
                  <a:lnTo>
                    <a:pt x="102" y="413"/>
                  </a:lnTo>
                  <a:lnTo>
                    <a:pt x="104" y="413"/>
                  </a:lnTo>
                  <a:lnTo>
                    <a:pt x="104" y="405"/>
                  </a:lnTo>
                  <a:lnTo>
                    <a:pt x="104" y="396"/>
                  </a:lnTo>
                  <a:lnTo>
                    <a:pt x="102" y="396"/>
                  </a:lnTo>
                  <a:lnTo>
                    <a:pt x="102" y="399"/>
                  </a:lnTo>
                  <a:lnTo>
                    <a:pt x="102" y="402"/>
                  </a:lnTo>
                  <a:lnTo>
                    <a:pt x="102" y="405"/>
                  </a:lnTo>
                  <a:cubicBezTo>
                    <a:pt x="102" y="407"/>
                    <a:pt x="102" y="408"/>
                    <a:pt x="99" y="410"/>
                  </a:cubicBezTo>
                  <a:cubicBezTo>
                    <a:pt x="100" y="410"/>
                    <a:pt x="101" y="411"/>
                    <a:pt x="102" y="411"/>
                  </a:cubicBezTo>
                  <a:close/>
                  <a:moveTo>
                    <a:pt x="93" y="385"/>
                  </a:moveTo>
                  <a:cubicBezTo>
                    <a:pt x="96" y="382"/>
                    <a:pt x="96" y="382"/>
                    <a:pt x="96" y="380"/>
                  </a:cubicBezTo>
                  <a:lnTo>
                    <a:pt x="96" y="378"/>
                  </a:lnTo>
                  <a:lnTo>
                    <a:pt x="93" y="375"/>
                  </a:lnTo>
                  <a:cubicBezTo>
                    <a:pt x="93" y="375"/>
                    <a:pt x="91" y="375"/>
                    <a:pt x="90" y="373"/>
                  </a:cubicBezTo>
                  <a:lnTo>
                    <a:pt x="93" y="385"/>
                  </a:lnTo>
                  <a:close/>
                  <a:moveTo>
                    <a:pt x="90" y="402"/>
                  </a:moveTo>
                  <a:lnTo>
                    <a:pt x="93" y="402"/>
                  </a:lnTo>
                  <a:lnTo>
                    <a:pt x="93" y="399"/>
                  </a:lnTo>
                  <a:cubicBezTo>
                    <a:pt x="93" y="402"/>
                    <a:pt x="93" y="402"/>
                    <a:pt x="90" y="402"/>
                  </a:cubicBezTo>
                  <a:close/>
                  <a:moveTo>
                    <a:pt x="99" y="388"/>
                  </a:moveTo>
                  <a:lnTo>
                    <a:pt x="104" y="388"/>
                  </a:lnTo>
                  <a:lnTo>
                    <a:pt x="107" y="385"/>
                  </a:lnTo>
                  <a:lnTo>
                    <a:pt x="104" y="385"/>
                  </a:lnTo>
                  <a:lnTo>
                    <a:pt x="99" y="388"/>
                  </a:lnTo>
                  <a:close/>
                  <a:moveTo>
                    <a:pt x="102" y="419"/>
                  </a:moveTo>
                  <a:cubicBezTo>
                    <a:pt x="104" y="416"/>
                    <a:pt x="102" y="416"/>
                    <a:pt x="102" y="419"/>
                  </a:cubicBezTo>
                  <a:close/>
                  <a:moveTo>
                    <a:pt x="110" y="442"/>
                  </a:moveTo>
                  <a:cubicBezTo>
                    <a:pt x="110" y="444"/>
                    <a:pt x="107" y="447"/>
                    <a:pt x="104" y="450"/>
                  </a:cubicBezTo>
                  <a:lnTo>
                    <a:pt x="107" y="450"/>
                  </a:lnTo>
                  <a:lnTo>
                    <a:pt x="110" y="450"/>
                  </a:lnTo>
                  <a:lnTo>
                    <a:pt x="110" y="442"/>
                  </a:lnTo>
                  <a:close/>
                  <a:moveTo>
                    <a:pt x="107" y="416"/>
                  </a:moveTo>
                  <a:cubicBezTo>
                    <a:pt x="107" y="419"/>
                    <a:pt x="107" y="425"/>
                    <a:pt x="104" y="427"/>
                  </a:cubicBezTo>
                  <a:lnTo>
                    <a:pt x="110" y="422"/>
                  </a:lnTo>
                  <a:lnTo>
                    <a:pt x="107" y="416"/>
                  </a:lnTo>
                  <a:close/>
                  <a:moveTo>
                    <a:pt x="124" y="444"/>
                  </a:moveTo>
                  <a:cubicBezTo>
                    <a:pt x="124" y="444"/>
                    <a:pt x="124" y="442"/>
                    <a:pt x="124" y="444"/>
                  </a:cubicBezTo>
                  <a:lnTo>
                    <a:pt x="121" y="444"/>
                  </a:lnTo>
                  <a:cubicBezTo>
                    <a:pt x="124" y="447"/>
                    <a:pt x="124" y="444"/>
                    <a:pt x="124" y="444"/>
                  </a:cubicBezTo>
                  <a:close/>
                  <a:moveTo>
                    <a:pt x="118" y="442"/>
                  </a:moveTo>
                  <a:lnTo>
                    <a:pt x="116" y="439"/>
                  </a:lnTo>
                  <a:lnTo>
                    <a:pt x="113" y="439"/>
                  </a:lnTo>
                  <a:lnTo>
                    <a:pt x="110" y="436"/>
                  </a:lnTo>
                  <a:cubicBezTo>
                    <a:pt x="110" y="433"/>
                    <a:pt x="107" y="433"/>
                    <a:pt x="104" y="433"/>
                  </a:cubicBezTo>
                  <a:lnTo>
                    <a:pt x="104" y="436"/>
                  </a:lnTo>
                  <a:lnTo>
                    <a:pt x="110" y="436"/>
                  </a:lnTo>
                  <a:lnTo>
                    <a:pt x="110" y="439"/>
                  </a:lnTo>
                  <a:lnTo>
                    <a:pt x="113" y="442"/>
                  </a:lnTo>
                  <a:lnTo>
                    <a:pt x="116" y="442"/>
                  </a:lnTo>
                  <a:lnTo>
                    <a:pt x="118" y="442"/>
                  </a:lnTo>
                  <a:cubicBezTo>
                    <a:pt x="118" y="442"/>
                    <a:pt x="118" y="444"/>
                    <a:pt x="116" y="444"/>
                  </a:cubicBezTo>
                  <a:cubicBezTo>
                    <a:pt x="116" y="447"/>
                    <a:pt x="113" y="447"/>
                    <a:pt x="113" y="450"/>
                  </a:cubicBezTo>
                  <a:cubicBezTo>
                    <a:pt x="116" y="450"/>
                    <a:pt x="116" y="450"/>
                    <a:pt x="118" y="447"/>
                  </a:cubicBezTo>
                  <a:lnTo>
                    <a:pt x="118" y="444"/>
                  </a:lnTo>
                  <a:lnTo>
                    <a:pt x="118" y="442"/>
                  </a:lnTo>
                  <a:close/>
                  <a:moveTo>
                    <a:pt x="116" y="427"/>
                  </a:moveTo>
                  <a:lnTo>
                    <a:pt x="116" y="436"/>
                  </a:lnTo>
                  <a:lnTo>
                    <a:pt x="121" y="430"/>
                  </a:lnTo>
                  <a:cubicBezTo>
                    <a:pt x="121" y="430"/>
                    <a:pt x="118" y="430"/>
                    <a:pt x="118" y="427"/>
                  </a:cubicBezTo>
                  <a:lnTo>
                    <a:pt x="116" y="427"/>
                  </a:lnTo>
                  <a:close/>
                  <a:moveTo>
                    <a:pt x="127" y="453"/>
                  </a:moveTo>
                  <a:cubicBezTo>
                    <a:pt x="127" y="450"/>
                    <a:pt x="124" y="450"/>
                    <a:pt x="121" y="453"/>
                  </a:cubicBezTo>
                  <a:lnTo>
                    <a:pt x="124" y="453"/>
                  </a:lnTo>
                  <a:lnTo>
                    <a:pt x="127" y="453"/>
                  </a:lnTo>
                  <a:close/>
                  <a:moveTo>
                    <a:pt x="130" y="442"/>
                  </a:moveTo>
                  <a:lnTo>
                    <a:pt x="130" y="439"/>
                  </a:lnTo>
                  <a:cubicBezTo>
                    <a:pt x="130" y="439"/>
                    <a:pt x="127" y="436"/>
                    <a:pt x="127" y="433"/>
                  </a:cubicBezTo>
                  <a:lnTo>
                    <a:pt x="127" y="439"/>
                  </a:lnTo>
                  <a:cubicBezTo>
                    <a:pt x="127" y="439"/>
                    <a:pt x="127" y="442"/>
                    <a:pt x="130" y="442"/>
                  </a:cubicBezTo>
                  <a:close/>
                  <a:moveTo>
                    <a:pt x="144" y="447"/>
                  </a:moveTo>
                  <a:cubicBezTo>
                    <a:pt x="141" y="447"/>
                    <a:pt x="141" y="447"/>
                    <a:pt x="138" y="450"/>
                  </a:cubicBezTo>
                  <a:cubicBezTo>
                    <a:pt x="135" y="453"/>
                    <a:pt x="133" y="453"/>
                    <a:pt x="133" y="453"/>
                  </a:cubicBezTo>
                  <a:lnTo>
                    <a:pt x="141" y="453"/>
                  </a:lnTo>
                  <a:cubicBezTo>
                    <a:pt x="144" y="453"/>
                    <a:pt x="141" y="453"/>
                    <a:pt x="144" y="447"/>
                  </a:cubicBezTo>
                  <a:close/>
                  <a:moveTo>
                    <a:pt x="149" y="444"/>
                  </a:moveTo>
                  <a:lnTo>
                    <a:pt x="144" y="436"/>
                  </a:lnTo>
                  <a:cubicBezTo>
                    <a:pt x="141" y="439"/>
                    <a:pt x="138" y="439"/>
                    <a:pt x="138" y="442"/>
                  </a:cubicBezTo>
                  <a:cubicBezTo>
                    <a:pt x="141" y="442"/>
                    <a:pt x="141" y="444"/>
                    <a:pt x="141" y="444"/>
                  </a:cubicBezTo>
                  <a:cubicBezTo>
                    <a:pt x="141" y="447"/>
                    <a:pt x="144" y="447"/>
                    <a:pt x="147" y="444"/>
                  </a:cubicBezTo>
                  <a:lnTo>
                    <a:pt x="149" y="444"/>
                  </a:lnTo>
                  <a:close/>
                  <a:moveTo>
                    <a:pt x="141" y="155"/>
                  </a:moveTo>
                  <a:cubicBezTo>
                    <a:pt x="138" y="158"/>
                    <a:pt x="138" y="158"/>
                    <a:pt x="135" y="158"/>
                  </a:cubicBezTo>
                  <a:lnTo>
                    <a:pt x="141" y="160"/>
                  </a:lnTo>
                  <a:lnTo>
                    <a:pt x="141" y="155"/>
                  </a:lnTo>
                  <a:close/>
                  <a:moveTo>
                    <a:pt x="158" y="442"/>
                  </a:moveTo>
                  <a:cubicBezTo>
                    <a:pt x="155" y="442"/>
                    <a:pt x="152" y="444"/>
                    <a:pt x="152" y="444"/>
                  </a:cubicBezTo>
                  <a:cubicBezTo>
                    <a:pt x="152" y="444"/>
                    <a:pt x="155" y="447"/>
                    <a:pt x="155" y="450"/>
                  </a:cubicBezTo>
                  <a:cubicBezTo>
                    <a:pt x="155" y="444"/>
                    <a:pt x="158" y="442"/>
                    <a:pt x="158" y="442"/>
                  </a:cubicBezTo>
                  <a:close/>
                  <a:moveTo>
                    <a:pt x="158" y="442"/>
                  </a:moveTo>
                  <a:cubicBezTo>
                    <a:pt x="159" y="442"/>
                    <a:pt x="160" y="441"/>
                    <a:pt x="161" y="440"/>
                  </a:cubicBezTo>
                  <a:lnTo>
                    <a:pt x="158" y="442"/>
                  </a:lnTo>
                  <a:close/>
                  <a:moveTo>
                    <a:pt x="178" y="427"/>
                  </a:moveTo>
                  <a:lnTo>
                    <a:pt x="175" y="427"/>
                  </a:lnTo>
                  <a:cubicBezTo>
                    <a:pt x="175" y="430"/>
                    <a:pt x="175" y="430"/>
                    <a:pt x="178" y="427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6" name="Freeform 1461"/>
            <p:cNvSpPr>
              <a:spLocks noChangeArrowheads="1"/>
            </p:cNvSpPr>
            <p:nvPr/>
          </p:nvSpPr>
          <p:spPr bwMode="auto">
            <a:xfrm>
              <a:off x="4291013" y="2427288"/>
              <a:ext cx="69850" cy="173037"/>
            </a:xfrm>
            <a:custGeom>
              <a:avLst/>
              <a:gdLst>
                <a:gd name="T0" fmla="*/ 150 w 193"/>
                <a:gd name="T1" fmla="*/ 150 h 480"/>
                <a:gd name="T2" fmla="*/ 99 w 193"/>
                <a:gd name="T3" fmla="*/ 142 h 480"/>
                <a:gd name="T4" fmla="*/ 85 w 193"/>
                <a:gd name="T5" fmla="*/ 60 h 480"/>
                <a:gd name="T6" fmla="*/ 68 w 193"/>
                <a:gd name="T7" fmla="*/ 142 h 480"/>
                <a:gd name="T8" fmla="*/ 119 w 193"/>
                <a:gd name="T9" fmla="*/ 232 h 480"/>
                <a:gd name="T10" fmla="*/ 175 w 193"/>
                <a:gd name="T11" fmla="*/ 328 h 480"/>
                <a:gd name="T12" fmla="*/ 172 w 193"/>
                <a:gd name="T13" fmla="*/ 462 h 480"/>
                <a:gd name="T14" fmla="*/ 68 w 193"/>
                <a:gd name="T15" fmla="*/ 442 h 480"/>
                <a:gd name="T16" fmla="*/ 48 w 193"/>
                <a:gd name="T17" fmla="*/ 384 h 480"/>
                <a:gd name="T18" fmla="*/ 88 w 193"/>
                <a:gd name="T19" fmla="*/ 325 h 480"/>
                <a:gd name="T20" fmla="*/ 93 w 193"/>
                <a:gd name="T21" fmla="*/ 384 h 480"/>
                <a:gd name="T22" fmla="*/ 130 w 193"/>
                <a:gd name="T23" fmla="*/ 373 h 480"/>
                <a:gd name="T24" fmla="*/ 105 w 193"/>
                <a:gd name="T25" fmla="*/ 305 h 480"/>
                <a:gd name="T26" fmla="*/ 43 w 193"/>
                <a:gd name="T27" fmla="*/ 209 h 480"/>
                <a:gd name="T28" fmla="*/ 14 w 193"/>
                <a:gd name="T29" fmla="*/ 139 h 480"/>
                <a:gd name="T30" fmla="*/ 3 w 193"/>
                <a:gd name="T31" fmla="*/ 91 h 480"/>
                <a:gd name="T32" fmla="*/ 37 w 193"/>
                <a:gd name="T33" fmla="*/ 12 h 480"/>
                <a:gd name="T34" fmla="*/ 122 w 193"/>
                <a:gd name="T35" fmla="*/ 23 h 480"/>
                <a:gd name="T36" fmla="*/ 147 w 193"/>
                <a:gd name="T37" fmla="*/ 74 h 480"/>
                <a:gd name="T38" fmla="*/ 34 w 193"/>
                <a:gd name="T39" fmla="*/ 79 h 480"/>
                <a:gd name="T40" fmla="*/ 26 w 193"/>
                <a:gd name="T41" fmla="*/ 65 h 480"/>
                <a:gd name="T42" fmla="*/ 31 w 193"/>
                <a:gd name="T43" fmla="*/ 48 h 480"/>
                <a:gd name="T44" fmla="*/ 37 w 193"/>
                <a:gd name="T45" fmla="*/ 116 h 480"/>
                <a:gd name="T46" fmla="*/ 37 w 193"/>
                <a:gd name="T47" fmla="*/ 58 h 480"/>
                <a:gd name="T48" fmla="*/ 37 w 193"/>
                <a:gd name="T49" fmla="*/ 43 h 480"/>
                <a:gd name="T50" fmla="*/ 45 w 193"/>
                <a:gd name="T51" fmla="*/ 130 h 480"/>
                <a:gd name="T52" fmla="*/ 43 w 193"/>
                <a:gd name="T53" fmla="*/ 150 h 480"/>
                <a:gd name="T54" fmla="*/ 57 w 193"/>
                <a:gd name="T55" fmla="*/ 158 h 480"/>
                <a:gd name="T56" fmla="*/ 57 w 193"/>
                <a:gd name="T57" fmla="*/ 173 h 480"/>
                <a:gd name="T58" fmla="*/ 68 w 193"/>
                <a:gd name="T59" fmla="*/ 23 h 480"/>
                <a:gd name="T60" fmla="*/ 68 w 193"/>
                <a:gd name="T61" fmla="*/ 192 h 480"/>
                <a:gd name="T62" fmla="*/ 79 w 193"/>
                <a:gd name="T63" fmla="*/ 206 h 480"/>
                <a:gd name="T64" fmla="*/ 77 w 193"/>
                <a:gd name="T65" fmla="*/ 23 h 480"/>
                <a:gd name="T66" fmla="*/ 74 w 193"/>
                <a:gd name="T67" fmla="*/ 34 h 480"/>
                <a:gd name="T68" fmla="*/ 91 w 193"/>
                <a:gd name="T69" fmla="*/ 226 h 480"/>
                <a:gd name="T70" fmla="*/ 85 w 193"/>
                <a:gd name="T71" fmla="*/ 232 h 480"/>
                <a:gd name="T72" fmla="*/ 93 w 193"/>
                <a:gd name="T73" fmla="*/ 223 h 480"/>
                <a:gd name="T74" fmla="*/ 99 w 193"/>
                <a:gd name="T75" fmla="*/ 32 h 480"/>
                <a:gd name="T76" fmla="*/ 113 w 193"/>
                <a:gd name="T77" fmla="*/ 54 h 480"/>
                <a:gd name="T78" fmla="*/ 105 w 193"/>
                <a:gd name="T79" fmla="*/ 54 h 480"/>
                <a:gd name="T80" fmla="*/ 113 w 193"/>
                <a:gd name="T81" fmla="*/ 85 h 480"/>
                <a:gd name="T82" fmla="*/ 110 w 193"/>
                <a:gd name="T83" fmla="*/ 437 h 480"/>
                <a:gd name="T84" fmla="*/ 110 w 193"/>
                <a:gd name="T85" fmla="*/ 431 h 480"/>
                <a:gd name="T86" fmla="*/ 122 w 193"/>
                <a:gd name="T87" fmla="*/ 96 h 480"/>
                <a:gd name="T88" fmla="*/ 122 w 193"/>
                <a:gd name="T89" fmla="*/ 68 h 480"/>
                <a:gd name="T90" fmla="*/ 119 w 193"/>
                <a:gd name="T91" fmla="*/ 122 h 480"/>
                <a:gd name="T92" fmla="*/ 122 w 193"/>
                <a:gd name="T93" fmla="*/ 116 h 480"/>
                <a:gd name="T94" fmla="*/ 124 w 193"/>
                <a:gd name="T95" fmla="*/ 283 h 480"/>
                <a:gd name="T96" fmla="*/ 122 w 193"/>
                <a:gd name="T97" fmla="*/ 437 h 480"/>
                <a:gd name="T98" fmla="*/ 130 w 193"/>
                <a:gd name="T99" fmla="*/ 440 h 480"/>
                <a:gd name="T100" fmla="*/ 133 w 193"/>
                <a:gd name="T101" fmla="*/ 451 h 480"/>
                <a:gd name="T102" fmla="*/ 153 w 193"/>
                <a:gd name="T103" fmla="*/ 434 h 480"/>
                <a:gd name="T104" fmla="*/ 161 w 193"/>
                <a:gd name="T105" fmla="*/ 440 h 480"/>
                <a:gd name="T106" fmla="*/ 147 w 193"/>
                <a:gd name="T107" fmla="*/ 319 h 480"/>
                <a:gd name="T108" fmla="*/ 147 w 193"/>
                <a:gd name="T109" fmla="*/ 342 h 480"/>
                <a:gd name="T110" fmla="*/ 156 w 193"/>
                <a:gd name="T111" fmla="*/ 345 h 480"/>
                <a:gd name="T112" fmla="*/ 170 w 193"/>
                <a:gd name="T113" fmla="*/ 425 h 480"/>
                <a:gd name="T114" fmla="*/ 175 w 193"/>
                <a:gd name="T115" fmla="*/ 414 h 480"/>
                <a:gd name="T116" fmla="*/ 167 w 193"/>
                <a:gd name="T117" fmla="*/ 414 h 480"/>
                <a:gd name="T118" fmla="*/ 164 w 193"/>
                <a:gd name="T119" fmla="*/ 376 h 480"/>
                <a:gd name="T120" fmla="*/ 172 w 193"/>
                <a:gd name="T121" fmla="*/ 387 h 480"/>
                <a:gd name="T122" fmla="*/ 172 w 193"/>
                <a:gd name="T123" fmla="*/ 39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3" h="480">
                  <a:moveTo>
                    <a:pt x="150" y="99"/>
                  </a:moveTo>
                  <a:cubicBezTo>
                    <a:pt x="150" y="102"/>
                    <a:pt x="153" y="105"/>
                    <a:pt x="150" y="108"/>
                  </a:cubicBezTo>
                  <a:cubicBezTo>
                    <a:pt x="150" y="110"/>
                    <a:pt x="147" y="116"/>
                    <a:pt x="150" y="119"/>
                  </a:cubicBezTo>
                  <a:lnTo>
                    <a:pt x="150" y="130"/>
                  </a:lnTo>
                  <a:lnTo>
                    <a:pt x="150" y="136"/>
                  </a:lnTo>
                  <a:cubicBezTo>
                    <a:pt x="150" y="139"/>
                    <a:pt x="153" y="142"/>
                    <a:pt x="153" y="144"/>
                  </a:cubicBezTo>
                  <a:cubicBezTo>
                    <a:pt x="153" y="147"/>
                    <a:pt x="150" y="147"/>
                    <a:pt x="150" y="150"/>
                  </a:cubicBezTo>
                  <a:cubicBezTo>
                    <a:pt x="147" y="153"/>
                    <a:pt x="147" y="156"/>
                    <a:pt x="147" y="156"/>
                  </a:cubicBezTo>
                  <a:cubicBezTo>
                    <a:pt x="144" y="156"/>
                    <a:pt x="144" y="156"/>
                    <a:pt x="141" y="158"/>
                  </a:cubicBezTo>
                  <a:cubicBezTo>
                    <a:pt x="139" y="158"/>
                    <a:pt x="139" y="158"/>
                    <a:pt x="136" y="161"/>
                  </a:cubicBezTo>
                  <a:lnTo>
                    <a:pt x="127" y="161"/>
                  </a:lnTo>
                  <a:cubicBezTo>
                    <a:pt x="124" y="161"/>
                    <a:pt x="122" y="164"/>
                    <a:pt x="116" y="164"/>
                  </a:cubicBezTo>
                  <a:cubicBezTo>
                    <a:pt x="110" y="161"/>
                    <a:pt x="105" y="156"/>
                    <a:pt x="102" y="150"/>
                  </a:cubicBezTo>
                  <a:cubicBezTo>
                    <a:pt x="102" y="147"/>
                    <a:pt x="99" y="144"/>
                    <a:pt x="99" y="142"/>
                  </a:cubicBezTo>
                  <a:cubicBezTo>
                    <a:pt x="99" y="133"/>
                    <a:pt x="96" y="125"/>
                    <a:pt x="96" y="119"/>
                  </a:cubicBezTo>
                  <a:cubicBezTo>
                    <a:pt x="93" y="113"/>
                    <a:pt x="93" y="113"/>
                    <a:pt x="93" y="108"/>
                  </a:cubicBezTo>
                  <a:lnTo>
                    <a:pt x="93" y="105"/>
                  </a:lnTo>
                  <a:lnTo>
                    <a:pt x="93" y="102"/>
                  </a:lnTo>
                  <a:lnTo>
                    <a:pt x="93" y="96"/>
                  </a:lnTo>
                  <a:lnTo>
                    <a:pt x="91" y="77"/>
                  </a:lnTo>
                  <a:cubicBezTo>
                    <a:pt x="88" y="71"/>
                    <a:pt x="88" y="65"/>
                    <a:pt x="85" y="60"/>
                  </a:cubicBezTo>
                  <a:lnTo>
                    <a:pt x="68" y="51"/>
                  </a:lnTo>
                  <a:cubicBezTo>
                    <a:pt x="62" y="54"/>
                    <a:pt x="57" y="60"/>
                    <a:pt x="54" y="68"/>
                  </a:cubicBezTo>
                  <a:lnTo>
                    <a:pt x="54" y="79"/>
                  </a:lnTo>
                  <a:lnTo>
                    <a:pt x="54" y="91"/>
                  </a:lnTo>
                  <a:lnTo>
                    <a:pt x="60" y="116"/>
                  </a:lnTo>
                  <a:cubicBezTo>
                    <a:pt x="60" y="119"/>
                    <a:pt x="62" y="125"/>
                    <a:pt x="62" y="127"/>
                  </a:cubicBezTo>
                  <a:cubicBezTo>
                    <a:pt x="65" y="130"/>
                    <a:pt x="68" y="136"/>
                    <a:pt x="68" y="142"/>
                  </a:cubicBezTo>
                  <a:cubicBezTo>
                    <a:pt x="68" y="144"/>
                    <a:pt x="68" y="150"/>
                    <a:pt x="71" y="153"/>
                  </a:cubicBezTo>
                  <a:cubicBezTo>
                    <a:pt x="74" y="156"/>
                    <a:pt x="74" y="158"/>
                    <a:pt x="77" y="164"/>
                  </a:cubicBezTo>
                  <a:cubicBezTo>
                    <a:pt x="77" y="167"/>
                    <a:pt x="79" y="170"/>
                    <a:pt x="82" y="173"/>
                  </a:cubicBezTo>
                  <a:lnTo>
                    <a:pt x="91" y="189"/>
                  </a:lnTo>
                  <a:cubicBezTo>
                    <a:pt x="91" y="192"/>
                    <a:pt x="93" y="195"/>
                    <a:pt x="96" y="198"/>
                  </a:cubicBezTo>
                  <a:cubicBezTo>
                    <a:pt x="102" y="206"/>
                    <a:pt x="108" y="212"/>
                    <a:pt x="113" y="221"/>
                  </a:cubicBezTo>
                  <a:cubicBezTo>
                    <a:pt x="116" y="223"/>
                    <a:pt x="116" y="226"/>
                    <a:pt x="119" y="232"/>
                  </a:cubicBezTo>
                  <a:cubicBezTo>
                    <a:pt x="122" y="235"/>
                    <a:pt x="122" y="240"/>
                    <a:pt x="124" y="243"/>
                  </a:cubicBezTo>
                  <a:cubicBezTo>
                    <a:pt x="124" y="246"/>
                    <a:pt x="127" y="246"/>
                    <a:pt x="127" y="249"/>
                  </a:cubicBezTo>
                  <a:cubicBezTo>
                    <a:pt x="130" y="249"/>
                    <a:pt x="130" y="252"/>
                    <a:pt x="133" y="252"/>
                  </a:cubicBezTo>
                  <a:cubicBezTo>
                    <a:pt x="141" y="263"/>
                    <a:pt x="150" y="277"/>
                    <a:pt x="156" y="291"/>
                  </a:cubicBezTo>
                  <a:cubicBezTo>
                    <a:pt x="161" y="299"/>
                    <a:pt x="167" y="311"/>
                    <a:pt x="170" y="322"/>
                  </a:cubicBezTo>
                  <a:lnTo>
                    <a:pt x="172" y="325"/>
                  </a:lnTo>
                  <a:cubicBezTo>
                    <a:pt x="172" y="325"/>
                    <a:pt x="172" y="328"/>
                    <a:pt x="175" y="328"/>
                  </a:cubicBezTo>
                  <a:cubicBezTo>
                    <a:pt x="178" y="333"/>
                    <a:pt x="181" y="339"/>
                    <a:pt x="181" y="345"/>
                  </a:cubicBezTo>
                  <a:cubicBezTo>
                    <a:pt x="181" y="347"/>
                    <a:pt x="184" y="350"/>
                    <a:pt x="184" y="353"/>
                  </a:cubicBezTo>
                  <a:cubicBezTo>
                    <a:pt x="187" y="359"/>
                    <a:pt x="187" y="364"/>
                    <a:pt x="189" y="370"/>
                  </a:cubicBezTo>
                  <a:cubicBezTo>
                    <a:pt x="189" y="373"/>
                    <a:pt x="189" y="373"/>
                    <a:pt x="192" y="376"/>
                  </a:cubicBezTo>
                  <a:lnTo>
                    <a:pt x="192" y="404"/>
                  </a:lnTo>
                  <a:lnTo>
                    <a:pt x="192" y="434"/>
                  </a:lnTo>
                  <a:cubicBezTo>
                    <a:pt x="189" y="445"/>
                    <a:pt x="181" y="454"/>
                    <a:pt x="172" y="462"/>
                  </a:cubicBezTo>
                  <a:cubicBezTo>
                    <a:pt x="167" y="468"/>
                    <a:pt x="161" y="471"/>
                    <a:pt x="156" y="471"/>
                  </a:cubicBezTo>
                  <a:cubicBezTo>
                    <a:pt x="153" y="471"/>
                    <a:pt x="153" y="471"/>
                    <a:pt x="150" y="473"/>
                  </a:cubicBezTo>
                  <a:cubicBezTo>
                    <a:pt x="147" y="476"/>
                    <a:pt x="141" y="476"/>
                    <a:pt x="139" y="476"/>
                  </a:cubicBezTo>
                  <a:cubicBezTo>
                    <a:pt x="136" y="476"/>
                    <a:pt x="136" y="479"/>
                    <a:pt x="133" y="479"/>
                  </a:cubicBezTo>
                  <a:lnTo>
                    <a:pt x="127" y="479"/>
                  </a:lnTo>
                  <a:cubicBezTo>
                    <a:pt x="108" y="476"/>
                    <a:pt x="91" y="471"/>
                    <a:pt x="77" y="456"/>
                  </a:cubicBezTo>
                  <a:cubicBezTo>
                    <a:pt x="74" y="451"/>
                    <a:pt x="71" y="448"/>
                    <a:pt x="68" y="442"/>
                  </a:cubicBezTo>
                  <a:cubicBezTo>
                    <a:pt x="62" y="437"/>
                    <a:pt x="60" y="428"/>
                    <a:pt x="60" y="417"/>
                  </a:cubicBezTo>
                  <a:lnTo>
                    <a:pt x="60" y="411"/>
                  </a:lnTo>
                  <a:cubicBezTo>
                    <a:pt x="60" y="409"/>
                    <a:pt x="57" y="407"/>
                    <a:pt x="54" y="404"/>
                  </a:cubicBezTo>
                  <a:cubicBezTo>
                    <a:pt x="51" y="401"/>
                    <a:pt x="51" y="398"/>
                    <a:pt x="48" y="395"/>
                  </a:cubicBezTo>
                  <a:lnTo>
                    <a:pt x="48" y="390"/>
                  </a:lnTo>
                  <a:lnTo>
                    <a:pt x="48" y="387"/>
                  </a:lnTo>
                  <a:lnTo>
                    <a:pt x="48" y="384"/>
                  </a:lnTo>
                  <a:lnTo>
                    <a:pt x="45" y="356"/>
                  </a:lnTo>
                  <a:cubicBezTo>
                    <a:pt x="45" y="347"/>
                    <a:pt x="43" y="336"/>
                    <a:pt x="40" y="328"/>
                  </a:cubicBezTo>
                  <a:cubicBezTo>
                    <a:pt x="45" y="322"/>
                    <a:pt x="51" y="316"/>
                    <a:pt x="57" y="314"/>
                  </a:cubicBezTo>
                  <a:lnTo>
                    <a:pt x="65" y="314"/>
                  </a:lnTo>
                  <a:cubicBezTo>
                    <a:pt x="68" y="314"/>
                    <a:pt x="74" y="316"/>
                    <a:pt x="79" y="316"/>
                  </a:cubicBezTo>
                  <a:cubicBezTo>
                    <a:pt x="79" y="319"/>
                    <a:pt x="82" y="319"/>
                    <a:pt x="85" y="319"/>
                  </a:cubicBezTo>
                  <a:cubicBezTo>
                    <a:pt x="85" y="322"/>
                    <a:pt x="88" y="322"/>
                    <a:pt x="88" y="325"/>
                  </a:cubicBezTo>
                  <a:cubicBezTo>
                    <a:pt x="88" y="325"/>
                    <a:pt x="88" y="328"/>
                    <a:pt x="85" y="328"/>
                  </a:cubicBezTo>
                  <a:cubicBezTo>
                    <a:pt x="85" y="331"/>
                    <a:pt x="85" y="336"/>
                    <a:pt x="88" y="339"/>
                  </a:cubicBezTo>
                  <a:lnTo>
                    <a:pt x="88" y="350"/>
                  </a:lnTo>
                  <a:cubicBezTo>
                    <a:pt x="88" y="353"/>
                    <a:pt x="88" y="353"/>
                    <a:pt x="91" y="356"/>
                  </a:cubicBezTo>
                  <a:cubicBezTo>
                    <a:pt x="91" y="359"/>
                    <a:pt x="91" y="362"/>
                    <a:pt x="88" y="362"/>
                  </a:cubicBezTo>
                  <a:lnTo>
                    <a:pt x="88" y="367"/>
                  </a:lnTo>
                  <a:cubicBezTo>
                    <a:pt x="91" y="373"/>
                    <a:pt x="93" y="378"/>
                    <a:pt x="93" y="384"/>
                  </a:cubicBezTo>
                  <a:cubicBezTo>
                    <a:pt x="93" y="390"/>
                    <a:pt x="96" y="395"/>
                    <a:pt x="96" y="404"/>
                  </a:cubicBezTo>
                  <a:cubicBezTo>
                    <a:pt x="105" y="414"/>
                    <a:pt x="105" y="414"/>
                    <a:pt x="116" y="420"/>
                  </a:cubicBezTo>
                  <a:lnTo>
                    <a:pt x="127" y="417"/>
                  </a:lnTo>
                  <a:cubicBezTo>
                    <a:pt x="130" y="414"/>
                    <a:pt x="133" y="411"/>
                    <a:pt x="133" y="407"/>
                  </a:cubicBezTo>
                  <a:cubicBezTo>
                    <a:pt x="133" y="404"/>
                    <a:pt x="133" y="398"/>
                    <a:pt x="136" y="395"/>
                  </a:cubicBezTo>
                  <a:cubicBezTo>
                    <a:pt x="136" y="393"/>
                    <a:pt x="136" y="387"/>
                    <a:pt x="133" y="384"/>
                  </a:cubicBezTo>
                  <a:lnTo>
                    <a:pt x="130" y="373"/>
                  </a:lnTo>
                  <a:cubicBezTo>
                    <a:pt x="127" y="364"/>
                    <a:pt x="124" y="359"/>
                    <a:pt x="122" y="353"/>
                  </a:cubicBezTo>
                  <a:cubicBezTo>
                    <a:pt x="122" y="350"/>
                    <a:pt x="119" y="347"/>
                    <a:pt x="122" y="347"/>
                  </a:cubicBezTo>
                  <a:cubicBezTo>
                    <a:pt x="122" y="345"/>
                    <a:pt x="119" y="342"/>
                    <a:pt x="119" y="342"/>
                  </a:cubicBezTo>
                  <a:cubicBezTo>
                    <a:pt x="119" y="339"/>
                    <a:pt x="119" y="336"/>
                    <a:pt x="116" y="333"/>
                  </a:cubicBezTo>
                  <a:cubicBezTo>
                    <a:pt x="113" y="331"/>
                    <a:pt x="113" y="328"/>
                    <a:pt x="113" y="328"/>
                  </a:cubicBezTo>
                  <a:cubicBezTo>
                    <a:pt x="110" y="322"/>
                    <a:pt x="110" y="319"/>
                    <a:pt x="108" y="314"/>
                  </a:cubicBezTo>
                  <a:cubicBezTo>
                    <a:pt x="105" y="311"/>
                    <a:pt x="105" y="308"/>
                    <a:pt x="105" y="305"/>
                  </a:cubicBezTo>
                  <a:cubicBezTo>
                    <a:pt x="105" y="299"/>
                    <a:pt x="102" y="297"/>
                    <a:pt x="99" y="294"/>
                  </a:cubicBezTo>
                  <a:cubicBezTo>
                    <a:pt x="93" y="291"/>
                    <a:pt x="91" y="283"/>
                    <a:pt x="91" y="277"/>
                  </a:cubicBezTo>
                  <a:cubicBezTo>
                    <a:pt x="85" y="274"/>
                    <a:pt x="82" y="268"/>
                    <a:pt x="79" y="263"/>
                  </a:cubicBezTo>
                  <a:cubicBezTo>
                    <a:pt x="77" y="260"/>
                    <a:pt x="77" y="257"/>
                    <a:pt x="74" y="254"/>
                  </a:cubicBezTo>
                  <a:cubicBezTo>
                    <a:pt x="65" y="246"/>
                    <a:pt x="60" y="237"/>
                    <a:pt x="54" y="226"/>
                  </a:cubicBezTo>
                  <a:cubicBezTo>
                    <a:pt x="51" y="223"/>
                    <a:pt x="51" y="221"/>
                    <a:pt x="48" y="218"/>
                  </a:cubicBezTo>
                  <a:cubicBezTo>
                    <a:pt x="45" y="215"/>
                    <a:pt x="45" y="212"/>
                    <a:pt x="43" y="209"/>
                  </a:cubicBezTo>
                  <a:cubicBezTo>
                    <a:pt x="37" y="198"/>
                    <a:pt x="31" y="189"/>
                    <a:pt x="26" y="181"/>
                  </a:cubicBezTo>
                  <a:cubicBezTo>
                    <a:pt x="26" y="178"/>
                    <a:pt x="23" y="178"/>
                    <a:pt x="23" y="175"/>
                  </a:cubicBezTo>
                  <a:cubicBezTo>
                    <a:pt x="23" y="167"/>
                    <a:pt x="20" y="158"/>
                    <a:pt x="14" y="153"/>
                  </a:cubicBezTo>
                  <a:lnTo>
                    <a:pt x="14" y="150"/>
                  </a:lnTo>
                  <a:lnTo>
                    <a:pt x="14" y="147"/>
                  </a:lnTo>
                  <a:lnTo>
                    <a:pt x="14" y="142"/>
                  </a:lnTo>
                  <a:lnTo>
                    <a:pt x="14" y="139"/>
                  </a:lnTo>
                  <a:cubicBezTo>
                    <a:pt x="14" y="136"/>
                    <a:pt x="12" y="133"/>
                    <a:pt x="12" y="130"/>
                  </a:cubicBezTo>
                  <a:lnTo>
                    <a:pt x="12" y="127"/>
                  </a:lnTo>
                  <a:lnTo>
                    <a:pt x="9" y="125"/>
                  </a:lnTo>
                  <a:cubicBezTo>
                    <a:pt x="9" y="122"/>
                    <a:pt x="9" y="119"/>
                    <a:pt x="6" y="116"/>
                  </a:cubicBezTo>
                  <a:lnTo>
                    <a:pt x="6" y="108"/>
                  </a:lnTo>
                  <a:lnTo>
                    <a:pt x="6" y="102"/>
                  </a:lnTo>
                  <a:cubicBezTo>
                    <a:pt x="3" y="96"/>
                    <a:pt x="3" y="94"/>
                    <a:pt x="3" y="91"/>
                  </a:cubicBezTo>
                  <a:lnTo>
                    <a:pt x="3" y="82"/>
                  </a:lnTo>
                  <a:cubicBezTo>
                    <a:pt x="0" y="77"/>
                    <a:pt x="0" y="74"/>
                    <a:pt x="0" y="68"/>
                  </a:cubicBezTo>
                  <a:lnTo>
                    <a:pt x="0" y="54"/>
                  </a:lnTo>
                  <a:lnTo>
                    <a:pt x="9" y="37"/>
                  </a:lnTo>
                  <a:cubicBezTo>
                    <a:pt x="12" y="32"/>
                    <a:pt x="14" y="26"/>
                    <a:pt x="17" y="23"/>
                  </a:cubicBezTo>
                  <a:cubicBezTo>
                    <a:pt x="20" y="23"/>
                    <a:pt x="23" y="23"/>
                    <a:pt x="26" y="20"/>
                  </a:cubicBezTo>
                  <a:cubicBezTo>
                    <a:pt x="29" y="17"/>
                    <a:pt x="31" y="15"/>
                    <a:pt x="37" y="12"/>
                  </a:cubicBezTo>
                  <a:cubicBezTo>
                    <a:pt x="45" y="9"/>
                    <a:pt x="51" y="6"/>
                    <a:pt x="57" y="3"/>
                  </a:cubicBezTo>
                  <a:cubicBezTo>
                    <a:pt x="60" y="3"/>
                    <a:pt x="62" y="0"/>
                    <a:pt x="65" y="3"/>
                  </a:cubicBezTo>
                  <a:lnTo>
                    <a:pt x="77" y="3"/>
                  </a:lnTo>
                  <a:cubicBezTo>
                    <a:pt x="82" y="3"/>
                    <a:pt x="91" y="3"/>
                    <a:pt x="96" y="6"/>
                  </a:cubicBezTo>
                  <a:cubicBezTo>
                    <a:pt x="99" y="9"/>
                    <a:pt x="99" y="9"/>
                    <a:pt x="102" y="9"/>
                  </a:cubicBezTo>
                  <a:cubicBezTo>
                    <a:pt x="108" y="9"/>
                    <a:pt x="110" y="12"/>
                    <a:pt x="113" y="15"/>
                  </a:cubicBezTo>
                  <a:lnTo>
                    <a:pt x="122" y="23"/>
                  </a:lnTo>
                  <a:cubicBezTo>
                    <a:pt x="127" y="29"/>
                    <a:pt x="133" y="37"/>
                    <a:pt x="136" y="46"/>
                  </a:cubicBezTo>
                  <a:cubicBezTo>
                    <a:pt x="136" y="46"/>
                    <a:pt x="136" y="48"/>
                    <a:pt x="139" y="48"/>
                  </a:cubicBezTo>
                  <a:lnTo>
                    <a:pt x="139" y="54"/>
                  </a:lnTo>
                  <a:cubicBezTo>
                    <a:pt x="141" y="54"/>
                    <a:pt x="141" y="57"/>
                    <a:pt x="141" y="57"/>
                  </a:cubicBezTo>
                  <a:lnTo>
                    <a:pt x="141" y="63"/>
                  </a:lnTo>
                  <a:cubicBezTo>
                    <a:pt x="141" y="65"/>
                    <a:pt x="144" y="68"/>
                    <a:pt x="144" y="71"/>
                  </a:cubicBezTo>
                  <a:cubicBezTo>
                    <a:pt x="144" y="71"/>
                    <a:pt x="144" y="74"/>
                    <a:pt x="147" y="74"/>
                  </a:cubicBezTo>
                  <a:cubicBezTo>
                    <a:pt x="147" y="77"/>
                    <a:pt x="153" y="79"/>
                    <a:pt x="150" y="85"/>
                  </a:cubicBezTo>
                  <a:lnTo>
                    <a:pt x="150" y="96"/>
                  </a:lnTo>
                  <a:cubicBezTo>
                    <a:pt x="150" y="96"/>
                    <a:pt x="150" y="95"/>
                    <a:pt x="150" y="96"/>
                  </a:cubicBezTo>
                  <a:lnTo>
                    <a:pt x="150" y="99"/>
                  </a:lnTo>
                  <a:close/>
                  <a:moveTo>
                    <a:pt x="23" y="82"/>
                  </a:moveTo>
                  <a:lnTo>
                    <a:pt x="29" y="82"/>
                  </a:lnTo>
                  <a:cubicBezTo>
                    <a:pt x="31" y="82"/>
                    <a:pt x="31" y="82"/>
                    <a:pt x="34" y="79"/>
                  </a:cubicBezTo>
                  <a:cubicBezTo>
                    <a:pt x="31" y="79"/>
                    <a:pt x="29" y="79"/>
                    <a:pt x="29" y="77"/>
                  </a:cubicBezTo>
                  <a:cubicBezTo>
                    <a:pt x="29" y="79"/>
                    <a:pt x="26" y="82"/>
                    <a:pt x="23" y="82"/>
                  </a:cubicBezTo>
                  <a:close/>
                  <a:moveTo>
                    <a:pt x="26" y="65"/>
                  </a:moveTo>
                  <a:lnTo>
                    <a:pt x="29" y="65"/>
                  </a:lnTo>
                  <a:cubicBezTo>
                    <a:pt x="31" y="65"/>
                    <a:pt x="31" y="65"/>
                    <a:pt x="29" y="60"/>
                  </a:cubicBezTo>
                  <a:lnTo>
                    <a:pt x="23" y="60"/>
                  </a:lnTo>
                  <a:lnTo>
                    <a:pt x="26" y="65"/>
                  </a:lnTo>
                  <a:close/>
                  <a:moveTo>
                    <a:pt x="31" y="48"/>
                  </a:moveTo>
                  <a:lnTo>
                    <a:pt x="29" y="48"/>
                  </a:lnTo>
                  <a:lnTo>
                    <a:pt x="26" y="48"/>
                  </a:lnTo>
                  <a:cubicBezTo>
                    <a:pt x="26" y="51"/>
                    <a:pt x="29" y="51"/>
                    <a:pt x="29" y="51"/>
                  </a:cubicBezTo>
                  <a:cubicBezTo>
                    <a:pt x="29" y="51"/>
                    <a:pt x="29" y="54"/>
                    <a:pt x="31" y="54"/>
                  </a:cubicBezTo>
                  <a:cubicBezTo>
                    <a:pt x="34" y="57"/>
                    <a:pt x="34" y="54"/>
                    <a:pt x="40" y="54"/>
                  </a:cubicBezTo>
                  <a:cubicBezTo>
                    <a:pt x="37" y="51"/>
                    <a:pt x="34" y="51"/>
                    <a:pt x="31" y="48"/>
                  </a:cubicBezTo>
                  <a:close/>
                  <a:moveTo>
                    <a:pt x="29" y="99"/>
                  </a:moveTo>
                  <a:cubicBezTo>
                    <a:pt x="26" y="96"/>
                    <a:pt x="26" y="99"/>
                    <a:pt x="29" y="99"/>
                  </a:cubicBezTo>
                  <a:close/>
                  <a:moveTo>
                    <a:pt x="37" y="116"/>
                  </a:moveTo>
                  <a:cubicBezTo>
                    <a:pt x="37" y="110"/>
                    <a:pt x="37" y="108"/>
                    <a:pt x="34" y="108"/>
                  </a:cubicBezTo>
                  <a:lnTo>
                    <a:pt x="31" y="108"/>
                  </a:lnTo>
                  <a:cubicBezTo>
                    <a:pt x="31" y="108"/>
                    <a:pt x="29" y="108"/>
                    <a:pt x="29" y="110"/>
                  </a:cubicBezTo>
                  <a:cubicBezTo>
                    <a:pt x="31" y="110"/>
                    <a:pt x="34" y="113"/>
                    <a:pt x="37" y="116"/>
                  </a:cubicBezTo>
                  <a:close/>
                  <a:moveTo>
                    <a:pt x="34" y="68"/>
                  </a:moveTo>
                  <a:cubicBezTo>
                    <a:pt x="34" y="68"/>
                    <a:pt x="37" y="71"/>
                    <a:pt x="37" y="74"/>
                  </a:cubicBezTo>
                  <a:lnTo>
                    <a:pt x="34" y="77"/>
                  </a:lnTo>
                  <a:cubicBezTo>
                    <a:pt x="43" y="74"/>
                    <a:pt x="43" y="74"/>
                    <a:pt x="40" y="65"/>
                  </a:cubicBezTo>
                  <a:lnTo>
                    <a:pt x="34" y="68"/>
                  </a:lnTo>
                  <a:close/>
                  <a:moveTo>
                    <a:pt x="34" y="60"/>
                  </a:moveTo>
                  <a:cubicBezTo>
                    <a:pt x="36" y="60"/>
                    <a:pt x="36" y="59"/>
                    <a:pt x="37" y="58"/>
                  </a:cubicBezTo>
                  <a:lnTo>
                    <a:pt x="34" y="60"/>
                  </a:lnTo>
                  <a:close/>
                  <a:moveTo>
                    <a:pt x="37" y="102"/>
                  </a:moveTo>
                  <a:cubicBezTo>
                    <a:pt x="37" y="99"/>
                    <a:pt x="37" y="96"/>
                    <a:pt x="40" y="96"/>
                  </a:cubicBezTo>
                  <a:cubicBezTo>
                    <a:pt x="34" y="96"/>
                    <a:pt x="31" y="96"/>
                    <a:pt x="37" y="102"/>
                  </a:cubicBezTo>
                  <a:close/>
                  <a:moveTo>
                    <a:pt x="40" y="51"/>
                  </a:moveTo>
                  <a:cubicBezTo>
                    <a:pt x="43" y="48"/>
                    <a:pt x="43" y="46"/>
                    <a:pt x="43" y="43"/>
                  </a:cubicBezTo>
                  <a:lnTo>
                    <a:pt x="37" y="43"/>
                  </a:lnTo>
                  <a:cubicBezTo>
                    <a:pt x="37" y="43"/>
                    <a:pt x="37" y="46"/>
                    <a:pt x="40" y="46"/>
                  </a:cubicBezTo>
                  <a:lnTo>
                    <a:pt x="40" y="51"/>
                  </a:lnTo>
                  <a:close/>
                  <a:moveTo>
                    <a:pt x="45" y="144"/>
                  </a:moveTo>
                  <a:lnTo>
                    <a:pt x="37" y="136"/>
                  </a:lnTo>
                  <a:cubicBezTo>
                    <a:pt x="40" y="142"/>
                    <a:pt x="43" y="142"/>
                    <a:pt x="45" y="144"/>
                  </a:cubicBezTo>
                  <a:close/>
                  <a:moveTo>
                    <a:pt x="40" y="127"/>
                  </a:moveTo>
                  <a:cubicBezTo>
                    <a:pt x="43" y="127"/>
                    <a:pt x="45" y="130"/>
                    <a:pt x="45" y="130"/>
                  </a:cubicBezTo>
                  <a:lnTo>
                    <a:pt x="43" y="127"/>
                  </a:lnTo>
                  <a:cubicBezTo>
                    <a:pt x="43" y="125"/>
                    <a:pt x="43" y="125"/>
                    <a:pt x="40" y="127"/>
                  </a:cubicBezTo>
                  <a:close/>
                  <a:moveTo>
                    <a:pt x="43" y="150"/>
                  </a:moveTo>
                  <a:lnTo>
                    <a:pt x="45" y="150"/>
                  </a:lnTo>
                  <a:lnTo>
                    <a:pt x="48" y="150"/>
                  </a:lnTo>
                  <a:cubicBezTo>
                    <a:pt x="48" y="147"/>
                    <a:pt x="45" y="147"/>
                    <a:pt x="45" y="147"/>
                  </a:cubicBezTo>
                  <a:lnTo>
                    <a:pt x="43" y="150"/>
                  </a:lnTo>
                  <a:close/>
                  <a:moveTo>
                    <a:pt x="48" y="26"/>
                  </a:moveTo>
                  <a:cubicBezTo>
                    <a:pt x="45" y="26"/>
                    <a:pt x="43" y="29"/>
                    <a:pt x="45" y="32"/>
                  </a:cubicBezTo>
                  <a:lnTo>
                    <a:pt x="48" y="32"/>
                  </a:lnTo>
                  <a:lnTo>
                    <a:pt x="48" y="26"/>
                  </a:lnTo>
                  <a:close/>
                  <a:moveTo>
                    <a:pt x="51" y="158"/>
                  </a:moveTo>
                  <a:cubicBezTo>
                    <a:pt x="51" y="164"/>
                    <a:pt x="54" y="164"/>
                    <a:pt x="57" y="161"/>
                  </a:cubicBezTo>
                  <a:lnTo>
                    <a:pt x="57" y="158"/>
                  </a:lnTo>
                  <a:lnTo>
                    <a:pt x="51" y="158"/>
                  </a:lnTo>
                  <a:close/>
                  <a:moveTo>
                    <a:pt x="57" y="26"/>
                  </a:moveTo>
                  <a:cubicBezTo>
                    <a:pt x="54" y="26"/>
                    <a:pt x="54" y="29"/>
                    <a:pt x="51" y="29"/>
                  </a:cubicBezTo>
                  <a:cubicBezTo>
                    <a:pt x="54" y="32"/>
                    <a:pt x="57" y="32"/>
                    <a:pt x="57" y="26"/>
                  </a:cubicBezTo>
                  <a:close/>
                  <a:moveTo>
                    <a:pt x="57" y="173"/>
                  </a:moveTo>
                  <a:cubicBezTo>
                    <a:pt x="54" y="173"/>
                    <a:pt x="54" y="170"/>
                    <a:pt x="51" y="170"/>
                  </a:cubicBezTo>
                  <a:cubicBezTo>
                    <a:pt x="51" y="175"/>
                    <a:pt x="51" y="175"/>
                    <a:pt x="57" y="173"/>
                  </a:cubicBezTo>
                  <a:close/>
                  <a:moveTo>
                    <a:pt x="57" y="34"/>
                  </a:moveTo>
                  <a:cubicBezTo>
                    <a:pt x="54" y="37"/>
                    <a:pt x="57" y="37"/>
                    <a:pt x="57" y="34"/>
                  </a:cubicBezTo>
                  <a:close/>
                  <a:moveTo>
                    <a:pt x="68" y="34"/>
                  </a:moveTo>
                  <a:lnTo>
                    <a:pt x="68" y="32"/>
                  </a:lnTo>
                  <a:lnTo>
                    <a:pt x="65" y="32"/>
                  </a:lnTo>
                  <a:cubicBezTo>
                    <a:pt x="62" y="37"/>
                    <a:pt x="62" y="37"/>
                    <a:pt x="68" y="34"/>
                  </a:cubicBezTo>
                  <a:close/>
                  <a:moveTo>
                    <a:pt x="68" y="23"/>
                  </a:moveTo>
                  <a:lnTo>
                    <a:pt x="65" y="23"/>
                  </a:lnTo>
                  <a:lnTo>
                    <a:pt x="65" y="26"/>
                  </a:lnTo>
                  <a:cubicBezTo>
                    <a:pt x="65" y="23"/>
                    <a:pt x="65" y="23"/>
                    <a:pt x="68" y="23"/>
                  </a:cubicBezTo>
                  <a:close/>
                  <a:moveTo>
                    <a:pt x="65" y="189"/>
                  </a:moveTo>
                  <a:lnTo>
                    <a:pt x="65" y="192"/>
                  </a:lnTo>
                  <a:lnTo>
                    <a:pt x="65" y="195"/>
                  </a:lnTo>
                  <a:lnTo>
                    <a:pt x="68" y="192"/>
                  </a:lnTo>
                  <a:lnTo>
                    <a:pt x="71" y="189"/>
                  </a:lnTo>
                  <a:lnTo>
                    <a:pt x="71" y="187"/>
                  </a:lnTo>
                  <a:lnTo>
                    <a:pt x="68" y="187"/>
                  </a:lnTo>
                  <a:cubicBezTo>
                    <a:pt x="68" y="189"/>
                    <a:pt x="65" y="189"/>
                    <a:pt x="65" y="189"/>
                  </a:cubicBezTo>
                  <a:close/>
                  <a:moveTo>
                    <a:pt x="74" y="204"/>
                  </a:moveTo>
                  <a:cubicBezTo>
                    <a:pt x="74" y="206"/>
                    <a:pt x="77" y="206"/>
                    <a:pt x="74" y="204"/>
                  </a:cubicBezTo>
                  <a:cubicBezTo>
                    <a:pt x="77" y="206"/>
                    <a:pt x="79" y="206"/>
                    <a:pt x="79" y="206"/>
                  </a:cubicBezTo>
                  <a:lnTo>
                    <a:pt x="85" y="201"/>
                  </a:lnTo>
                  <a:lnTo>
                    <a:pt x="82" y="198"/>
                  </a:lnTo>
                  <a:lnTo>
                    <a:pt x="79" y="198"/>
                  </a:lnTo>
                  <a:cubicBezTo>
                    <a:pt x="77" y="198"/>
                    <a:pt x="77" y="201"/>
                    <a:pt x="74" y="204"/>
                  </a:cubicBezTo>
                  <a:close/>
                  <a:moveTo>
                    <a:pt x="74" y="26"/>
                  </a:moveTo>
                  <a:lnTo>
                    <a:pt x="79" y="26"/>
                  </a:lnTo>
                  <a:cubicBezTo>
                    <a:pt x="79" y="23"/>
                    <a:pt x="79" y="23"/>
                    <a:pt x="77" y="23"/>
                  </a:cubicBezTo>
                  <a:lnTo>
                    <a:pt x="74" y="23"/>
                  </a:lnTo>
                  <a:lnTo>
                    <a:pt x="74" y="26"/>
                  </a:lnTo>
                  <a:close/>
                  <a:moveTo>
                    <a:pt x="91" y="37"/>
                  </a:moveTo>
                  <a:lnTo>
                    <a:pt x="88" y="37"/>
                  </a:lnTo>
                  <a:cubicBezTo>
                    <a:pt x="88" y="37"/>
                    <a:pt x="85" y="34"/>
                    <a:pt x="85" y="32"/>
                  </a:cubicBezTo>
                  <a:cubicBezTo>
                    <a:pt x="85" y="32"/>
                    <a:pt x="85" y="34"/>
                    <a:pt x="82" y="34"/>
                  </a:cubicBezTo>
                  <a:lnTo>
                    <a:pt x="74" y="34"/>
                  </a:lnTo>
                  <a:lnTo>
                    <a:pt x="77" y="37"/>
                  </a:lnTo>
                  <a:lnTo>
                    <a:pt x="79" y="40"/>
                  </a:lnTo>
                  <a:cubicBezTo>
                    <a:pt x="79" y="40"/>
                    <a:pt x="79" y="43"/>
                    <a:pt x="82" y="43"/>
                  </a:cubicBezTo>
                  <a:cubicBezTo>
                    <a:pt x="88" y="40"/>
                    <a:pt x="91" y="40"/>
                    <a:pt x="91" y="37"/>
                  </a:cubicBezTo>
                  <a:close/>
                  <a:moveTo>
                    <a:pt x="85" y="232"/>
                  </a:moveTo>
                  <a:lnTo>
                    <a:pt x="88" y="226"/>
                  </a:lnTo>
                  <a:lnTo>
                    <a:pt x="91" y="226"/>
                  </a:lnTo>
                  <a:lnTo>
                    <a:pt x="91" y="221"/>
                  </a:lnTo>
                  <a:lnTo>
                    <a:pt x="88" y="218"/>
                  </a:lnTo>
                  <a:lnTo>
                    <a:pt x="82" y="212"/>
                  </a:lnTo>
                  <a:lnTo>
                    <a:pt x="82" y="218"/>
                  </a:lnTo>
                  <a:lnTo>
                    <a:pt x="82" y="221"/>
                  </a:lnTo>
                  <a:lnTo>
                    <a:pt x="85" y="223"/>
                  </a:lnTo>
                  <a:cubicBezTo>
                    <a:pt x="82" y="226"/>
                    <a:pt x="82" y="229"/>
                    <a:pt x="85" y="232"/>
                  </a:cubicBezTo>
                  <a:close/>
                  <a:moveTo>
                    <a:pt x="88" y="235"/>
                  </a:moveTo>
                  <a:lnTo>
                    <a:pt x="88" y="243"/>
                  </a:lnTo>
                  <a:cubicBezTo>
                    <a:pt x="88" y="243"/>
                    <a:pt x="88" y="240"/>
                    <a:pt x="91" y="240"/>
                  </a:cubicBezTo>
                  <a:lnTo>
                    <a:pt x="93" y="237"/>
                  </a:lnTo>
                  <a:cubicBezTo>
                    <a:pt x="91" y="232"/>
                    <a:pt x="88" y="232"/>
                    <a:pt x="88" y="235"/>
                  </a:cubicBezTo>
                  <a:close/>
                  <a:moveTo>
                    <a:pt x="91" y="229"/>
                  </a:moveTo>
                  <a:cubicBezTo>
                    <a:pt x="91" y="226"/>
                    <a:pt x="93" y="226"/>
                    <a:pt x="93" y="223"/>
                  </a:cubicBezTo>
                  <a:cubicBezTo>
                    <a:pt x="91" y="223"/>
                    <a:pt x="91" y="223"/>
                    <a:pt x="91" y="229"/>
                  </a:cubicBezTo>
                  <a:close/>
                  <a:moveTo>
                    <a:pt x="99" y="246"/>
                  </a:moveTo>
                  <a:cubicBezTo>
                    <a:pt x="96" y="246"/>
                    <a:pt x="96" y="249"/>
                    <a:pt x="96" y="249"/>
                  </a:cubicBezTo>
                  <a:lnTo>
                    <a:pt x="96" y="252"/>
                  </a:lnTo>
                  <a:lnTo>
                    <a:pt x="102" y="252"/>
                  </a:lnTo>
                  <a:cubicBezTo>
                    <a:pt x="102" y="252"/>
                    <a:pt x="99" y="249"/>
                    <a:pt x="99" y="246"/>
                  </a:cubicBezTo>
                  <a:close/>
                  <a:moveTo>
                    <a:pt x="99" y="32"/>
                  </a:moveTo>
                  <a:cubicBezTo>
                    <a:pt x="99" y="32"/>
                    <a:pt x="102" y="32"/>
                    <a:pt x="99" y="32"/>
                  </a:cubicBezTo>
                  <a:lnTo>
                    <a:pt x="99" y="26"/>
                  </a:lnTo>
                  <a:cubicBezTo>
                    <a:pt x="96" y="32"/>
                    <a:pt x="99" y="32"/>
                    <a:pt x="99" y="32"/>
                  </a:cubicBezTo>
                  <a:close/>
                  <a:moveTo>
                    <a:pt x="105" y="54"/>
                  </a:moveTo>
                  <a:lnTo>
                    <a:pt x="108" y="57"/>
                  </a:lnTo>
                  <a:lnTo>
                    <a:pt x="110" y="54"/>
                  </a:lnTo>
                  <a:lnTo>
                    <a:pt x="113" y="54"/>
                  </a:lnTo>
                  <a:lnTo>
                    <a:pt x="116" y="54"/>
                  </a:lnTo>
                  <a:lnTo>
                    <a:pt x="116" y="51"/>
                  </a:lnTo>
                  <a:lnTo>
                    <a:pt x="113" y="48"/>
                  </a:lnTo>
                  <a:lnTo>
                    <a:pt x="110" y="46"/>
                  </a:lnTo>
                  <a:lnTo>
                    <a:pt x="108" y="48"/>
                  </a:lnTo>
                  <a:cubicBezTo>
                    <a:pt x="105" y="48"/>
                    <a:pt x="105" y="46"/>
                    <a:pt x="102" y="46"/>
                  </a:cubicBezTo>
                  <a:lnTo>
                    <a:pt x="105" y="54"/>
                  </a:lnTo>
                  <a:close/>
                  <a:moveTo>
                    <a:pt x="102" y="249"/>
                  </a:moveTo>
                  <a:cubicBezTo>
                    <a:pt x="108" y="249"/>
                    <a:pt x="108" y="246"/>
                    <a:pt x="108" y="243"/>
                  </a:cubicBezTo>
                  <a:cubicBezTo>
                    <a:pt x="105" y="243"/>
                    <a:pt x="105" y="246"/>
                    <a:pt x="102" y="249"/>
                  </a:cubicBezTo>
                  <a:close/>
                  <a:moveTo>
                    <a:pt x="113" y="79"/>
                  </a:moveTo>
                  <a:lnTo>
                    <a:pt x="110" y="79"/>
                  </a:lnTo>
                  <a:cubicBezTo>
                    <a:pt x="110" y="79"/>
                    <a:pt x="110" y="79"/>
                    <a:pt x="113" y="79"/>
                  </a:cubicBezTo>
                  <a:cubicBezTo>
                    <a:pt x="110" y="82"/>
                    <a:pt x="110" y="85"/>
                    <a:pt x="113" y="85"/>
                  </a:cubicBezTo>
                  <a:lnTo>
                    <a:pt x="113" y="79"/>
                  </a:lnTo>
                  <a:close/>
                  <a:moveTo>
                    <a:pt x="127" y="448"/>
                  </a:moveTo>
                  <a:cubicBezTo>
                    <a:pt x="124" y="445"/>
                    <a:pt x="122" y="445"/>
                    <a:pt x="122" y="442"/>
                  </a:cubicBezTo>
                  <a:lnTo>
                    <a:pt x="124" y="440"/>
                  </a:lnTo>
                  <a:lnTo>
                    <a:pt x="122" y="440"/>
                  </a:lnTo>
                  <a:lnTo>
                    <a:pt x="119" y="440"/>
                  </a:lnTo>
                  <a:cubicBezTo>
                    <a:pt x="116" y="440"/>
                    <a:pt x="113" y="440"/>
                    <a:pt x="110" y="437"/>
                  </a:cubicBezTo>
                  <a:cubicBezTo>
                    <a:pt x="113" y="440"/>
                    <a:pt x="116" y="445"/>
                    <a:pt x="119" y="448"/>
                  </a:cubicBezTo>
                  <a:lnTo>
                    <a:pt x="127" y="448"/>
                  </a:lnTo>
                  <a:close/>
                  <a:moveTo>
                    <a:pt x="110" y="431"/>
                  </a:moveTo>
                  <a:cubicBezTo>
                    <a:pt x="110" y="434"/>
                    <a:pt x="110" y="434"/>
                    <a:pt x="113" y="434"/>
                  </a:cubicBezTo>
                  <a:lnTo>
                    <a:pt x="116" y="434"/>
                  </a:lnTo>
                  <a:lnTo>
                    <a:pt x="116" y="431"/>
                  </a:lnTo>
                  <a:lnTo>
                    <a:pt x="110" y="431"/>
                  </a:lnTo>
                  <a:close/>
                  <a:moveTo>
                    <a:pt x="124" y="102"/>
                  </a:moveTo>
                  <a:lnTo>
                    <a:pt x="124" y="105"/>
                  </a:lnTo>
                  <a:cubicBezTo>
                    <a:pt x="127" y="102"/>
                    <a:pt x="127" y="102"/>
                    <a:pt x="127" y="99"/>
                  </a:cubicBezTo>
                  <a:cubicBezTo>
                    <a:pt x="124" y="94"/>
                    <a:pt x="122" y="91"/>
                    <a:pt x="113" y="88"/>
                  </a:cubicBezTo>
                  <a:lnTo>
                    <a:pt x="113" y="91"/>
                  </a:lnTo>
                  <a:lnTo>
                    <a:pt x="113" y="94"/>
                  </a:lnTo>
                  <a:cubicBezTo>
                    <a:pt x="116" y="94"/>
                    <a:pt x="119" y="96"/>
                    <a:pt x="122" y="96"/>
                  </a:cubicBezTo>
                  <a:cubicBezTo>
                    <a:pt x="122" y="99"/>
                    <a:pt x="124" y="99"/>
                    <a:pt x="124" y="102"/>
                  </a:cubicBezTo>
                  <a:close/>
                  <a:moveTo>
                    <a:pt x="116" y="274"/>
                  </a:moveTo>
                  <a:cubicBezTo>
                    <a:pt x="119" y="274"/>
                    <a:pt x="119" y="277"/>
                    <a:pt x="122" y="277"/>
                  </a:cubicBezTo>
                  <a:cubicBezTo>
                    <a:pt x="122" y="271"/>
                    <a:pt x="122" y="271"/>
                    <a:pt x="116" y="274"/>
                  </a:cubicBezTo>
                  <a:close/>
                  <a:moveTo>
                    <a:pt x="122" y="68"/>
                  </a:moveTo>
                  <a:cubicBezTo>
                    <a:pt x="122" y="65"/>
                    <a:pt x="122" y="65"/>
                    <a:pt x="116" y="65"/>
                  </a:cubicBezTo>
                  <a:cubicBezTo>
                    <a:pt x="119" y="68"/>
                    <a:pt x="119" y="68"/>
                    <a:pt x="122" y="68"/>
                  </a:cubicBezTo>
                  <a:close/>
                  <a:moveTo>
                    <a:pt x="119" y="263"/>
                  </a:moveTo>
                  <a:cubicBezTo>
                    <a:pt x="119" y="260"/>
                    <a:pt x="119" y="260"/>
                    <a:pt x="116" y="257"/>
                  </a:cubicBezTo>
                  <a:cubicBezTo>
                    <a:pt x="116" y="263"/>
                    <a:pt x="116" y="263"/>
                    <a:pt x="119" y="263"/>
                  </a:cubicBezTo>
                  <a:close/>
                  <a:moveTo>
                    <a:pt x="130" y="130"/>
                  </a:moveTo>
                  <a:lnTo>
                    <a:pt x="124" y="125"/>
                  </a:lnTo>
                  <a:lnTo>
                    <a:pt x="122" y="122"/>
                  </a:lnTo>
                  <a:lnTo>
                    <a:pt x="119" y="122"/>
                  </a:lnTo>
                  <a:cubicBezTo>
                    <a:pt x="122" y="127"/>
                    <a:pt x="122" y="127"/>
                    <a:pt x="124" y="127"/>
                  </a:cubicBezTo>
                  <a:cubicBezTo>
                    <a:pt x="127" y="127"/>
                    <a:pt x="127" y="130"/>
                    <a:pt x="127" y="133"/>
                  </a:cubicBezTo>
                  <a:lnTo>
                    <a:pt x="130" y="130"/>
                  </a:lnTo>
                  <a:close/>
                  <a:moveTo>
                    <a:pt x="133" y="119"/>
                  </a:moveTo>
                  <a:cubicBezTo>
                    <a:pt x="130" y="116"/>
                    <a:pt x="127" y="116"/>
                    <a:pt x="127" y="116"/>
                  </a:cubicBezTo>
                  <a:lnTo>
                    <a:pt x="124" y="119"/>
                  </a:lnTo>
                  <a:cubicBezTo>
                    <a:pt x="124" y="119"/>
                    <a:pt x="124" y="116"/>
                    <a:pt x="122" y="116"/>
                  </a:cubicBezTo>
                  <a:lnTo>
                    <a:pt x="119" y="113"/>
                  </a:lnTo>
                  <a:lnTo>
                    <a:pt x="116" y="113"/>
                  </a:lnTo>
                  <a:cubicBezTo>
                    <a:pt x="116" y="116"/>
                    <a:pt x="119" y="119"/>
                    <a:pt x="122" y="119"/>
                  </a:cubicBezTo>
                  <a:cubicBezTo>
                    <a:pt x="124" y="119"/>
                    <a:pt x="127" y="119"/>
                    <a:pt x="127" y="122"/>
                  </a:cubicBezTo>
                  <a:lnTo>
                    <a:pt x="133" y="119"/>
                  </a:lnTo>
                  <a:close/>
                  <a:moveTo>
                    <a:pt x="127" y="283"/>
                  </a:moveTo>
                  <a:lnTo>
                    <a:pt x="124" y="283"/>
                  </a:lnTo>
                  <a:lnTo>
                    <a:pt x="122" y="283"/>
                  </a:lnTo>
                  <a:lnTo>
                    <a:pt x="122" y="285"/>
                  </a:lnTo>
                  <a:cubicBezTo>
                    <a:pt x="124" y="288"/>
                    <a:pt x="127" y="288"/>
                    <a:pt x="130" y="291"/>
                  </a:cubicBezTo>
                  <a:cubicBezTo>
                    <a:pt x="133" y="288"/>
                    <a:pt x="133" y="285"/>
                    <a:pt x="136" y="285"/>
                  </a:cubicBezTo>
                  <a:lnTo>
                    <a:pt x="136" y="283"/>
                  </a:lnTo>
                  <a:lnTo>
                    <a:pt x="127" y="283"/>
                  </a:lnTo>
                  <a:close/>
                  <a:moveTo>
                    <a:pt x="122" y="437"/>
                  </a:moveTo>
                  <a:lnTo>
                    <a:pt x="127" y="437"/>
                  </a:lnTo>
                  <a:lnTo>
                    <a:pt x="127" y="434"/>
                  </a:lnTo>
                  <a:cubicBezTo>
                    <a:pt x="124" y="434"/>
                    <a:pt x="122" y="437"/>
                    <a:pt x="122" y="437"/>
                  </a:cubicBezTo>
                  <a:close/>
                  <a:moveTo>
                    <a:pt x="133" y="442"/>
                  </a:moveTo>
                  <a:cubicBezTo>
                    <a:pt x="133" y="442"/>
                    <a:pt x="133" y="440"/>
                    <a:pt x="136" y="440"/>
                  </a:cubicBezTo>
                  <a:cubicBezTo>
                    <a:pt x="133" y="440"/>
                    <a:pt x="130" y="440"/>
                    <a:pt x="130" y="437"/>
                  </a:cubicBezTo>
                  <a:lnTo>
                    <a:pt x="130" y="440"/>
                  </a:lnTo>
                  <a:cubicBezTo>
                    <a:pt x="127" y="442"/>
                    <a:pt x="130" y="442"/>
                    <a:pt x="133" y="442"/>
                  </a:cubicBezTo>
                  <a:close/>
                  <a:moveTo>
                    <a:pt x="127" y="299"/>
                  </a:moveTo>
                  <a:cubicBezTo>
                    <a:pt x="130" y="297"/>
                    <a:pt x="127" y="297"/>
                    <a:pt x="127" y="299"/>
                  </a:cubicBezTo>
                  <a:close/>
                  <a:moveTo>
                    <a:pt x="144" y="451"/>
                  </a:moveTo>
                  <a:lnTo>
                    <a:pt x="139" y="448"/>
                  </a:lnTo>
                  <a:cubicBezTo>
                    <a:pt x="136" y="448"/>
                    <a:pt x="136" y="445"/>
                    <a:pt x="133" y="445"/>
                  </a:cubicBezTo>
                  <a:lnTo>
                    <a:pt x="133" y="451"/>
                  </a:lnTo>
                  <a:cubicBezTo>
                    <a:pt x="139" y="456"/>
                    <a:pt x="141" y="456"/>
                    <a:pt x="144" y="451"/>
                  </a:cubicBezTo>
                  <a:close/>
                  <a:moveTo>
                    <a:pt x="136" y="299"/>
                  </a:moveTo>
                  <a:cubicBezTo>
                    <a:pt x="136" y="299"/>
                    <a:pt x="139" y="299"/>
                    <a:pt x="136" y="299"/>
                  </a:cubicBezTo>
                  <a:lnTo>
                    <a:pt x="141" y="299"/>
                  </a:lnTo>
                  <a:cubicBezTo>
                    <a:pt x="139" y="297"/>
                    <a:pt x="136" y="299"/>
                    <a:pt x="136" y="299"/>
                  </a:cubicBezTo>
                  <a:close/>
                  <a:moveTo>
                    <a:pt x="161" y="440"/>
                  </a:moveTo>
                  <a:cubicBezTo>
                    <a:pt x="158" y="437"/>
                    <a:pt x="156" y="437"/>
                    <a:pt x="153" y="434"/>
                  </a:cubicBezTo>
                  <a:lnTo>
                    <a:pt x="153" y="440"/>
                  </a:lnTo>
                  <a:lnTo>
                    <a:pt x="141" y="440"/>
                  </a:lnTo>
                  <a:lnTo>
                    <a:pt x="141" y="442"/>
                  </a:lnTo>
                  <a:cubicBezTo>
                    <a:pt x="144" y="442"/>
                    <a:pt x="147" y="442"/>
                    <a:pt x="150" y="445"/>
                  </a:cubicBezTo>
                  <a:lnTo>
                    <a:pt x="153" y="442"/>
                  </a:lnTo>
                  <a:lnTo>
                    <a:pt x="156" y="442"/>
                  </a:lnTo>
                  <a:lnTo>
                    <a:pt x="161" y="440"/>
                  </a:lnTo>
                  <a:close/>
                  <a:moveTo>
                    <a:pt x="147" y="305"/>
                  </a:moveTo>
                  <a:lnTo>
                    <a:pt x="150" y="305"/>
                  </a:lnTo>
                  <a:lnTo>
                    <a:pt x="150" y="302"/>
                  </a:lnTo>
                  <a:lnTo>
                    <a:pt x="150" y="299"/>
                  </a:lnTo>
                  <a:lnTo>
                    <a:pt x="147" y="299"/>
                  </a:lnTo>
                  <a:lnTo>
                    <a:pt x="147" y="305"/>
                  </a:lnTo>
                  <a:close/>
                  <a:moveTo>
                    <a:pt x="147" y="319"/>
                  </a:moveTo>
                  <a:lnTo>
                    <a:pt x="150" y="319"/>
                  </a:lnTo>
                  <a:cubicBezTo>
                    <a:pt x="150" y="316"/>
                    <a:pt x="150" y="316"/>
                    <a:pt x="147" y="314"/>
                  </a:cubicBezTo>
                  <a:lnTo>
                    <a:pt x="147" y="319"/>
                  </a:lnTo>
                  <a:close/>
                  <a:moveTo>
                    <a:pt x="147" y="342"/>
                  </a:moveTo>
                  <a:lnTo>
                    <a:pt x="153" y="342"/>
                  </a:lnTo>
                  <a:lnTo>
                    <a:pt x="153" y="339"/>
                  </a:lnTo>
                  <a:lnTo>
                    <a:pt x="147" y="342"/>
                  </a:lnTo>
                  <a:close/>
                  <a:moveTo>
                    <a:pt x="161" y="353"/>
                  </a:moveTo>
                  <a:cubicBezTo>
                    <a:pt x="158" y="350"/>
                    <a:pt x="156" y="350"/>
                    <a:pt x="153" y="350"/>
                  </a:cubicBezTo>
                  <a:lnTo>
                    <a:pt x="156" y="353"/>
                  </a:lnTo>
                  <a:lnTo>
                    <a:pt x="161" y="353"/>
                  </a:lnTo>
                  <a:close/>
                  <a:moveTo>
                    <a:pt x="158" y="342"/>
                  </a:moveTo>
                  <a:lnTo>
                    <a:pt x="156" y="342"/>
                  </a:lnTo>
                  <a:lnTo>
                    <a:pt x="156" y="345"/>
                  </a:lnTo>
                  <a:lnTo>
                    <a:pt x="158" y="342"/>
                  </a:lnTo>
                  <a:close/>
                  <a:moveTo>
                    <a:pt x="161" y="359"/>
                  </a:moveTo>
                  <a:lnTo>
                    <a:pt x="158" y="356"/>
                  </a:lnTo>
                  <a:lnTo>
                    <a:pt x="158" y="362"/>
                  </a:lnTo>
                  <a:lnTo>
                    <a:pt x="161" y="364"/>
                  </a:lnTo>
                  <a:lnTo>
                    <a:pt x="161" y="359"/>
                  </a:lnTo>
                  <a:close/>
                  <a:moveTo>
                    <a:pt x="170" y="425"/>
                  </a:moveTo>
                  <a:cubicBezTo>
                    <a:pt x="167" y="423"/>
                    <a:pt x="164" y="423"/>
                    <a:pt x="161" y="423"/>
                  </a:cubicBezTo>
                  <a:cubicBezTo>
                    <a:pt x="158" y="423"/>
                    <a:pt x="158" y="425"/>
                    <a:pt x="156" y="428"/>
                  </a:cubicBezTo>
                  <a:cubicBezTo>
                    <a:pt x="164" y="431"/>
                    <a:pt x="164" y="431"/>
                    <a:pt x="167" y="434"/>
                  </a:cubicBezTo>
                  <a:lnTo>
                    <a:pt x="170" y="431"/>
                  </a:lnTo>
                  <a:lnTo>
                    <a:pt x="167" y="428"/>
                  </a:lnTo>
                  <a:lnTo>
                    <a:pt x="170" y="425"/>
                  </a:lnTo>
                  <a:close/>
                  <a:moveTo>
                    <a:pt x="175" y="414"/>
                  </a:moveTo>
                  <a:cubicBezTo>
                    <a:pt x="175" y="411"/>
                    <a:pt x="172" y="411"/>
                    <a:pt x="172" y="409"/>
                  </a:cubicBezTo>
                  <a:cubicBezTo>
                    <a:pt x="170" y="409"/>
                    <a:pt x="164" y="410"/>
                    <a:pt x="161" y="407"/>
                  </a:cubicBezTo>
                  <a:lnTo>
                    <a:pt x="161" y="409"/>
                  </a:lnTo>
                  <a:cubicBezTo>
                    <a:pt x="164" y="409"/>
                    <a:pt x="167" y="409"/>
                    <a:pt x="167" y="411"/>
                  </a:cubicBezTo>
                  <a:cubicBezTo>
                    <a:pt x="170" y="411"/>
                    <a:pt x="172" y="411"/>
                    <a:pt x="175" y="414"/>
                  </a:cubicBezTo>
                  <a:close/>
                  <a:moveTo>
                    <a:pt x="167" y="417"/>
                  </a:moveTo>
                  <a:lnTo>
                    <a:pt x="167" y="414"/>
                  </a:lnTo>
                  <a:lnTo>
                    <a:pt x="164" y="414"/>
                  </a:lnTo>
                  <a:lnTo>
                    <a:pt x="164" y="420"/>
                  </a:lnTo>
                  <a:cubicBezTo>
                    <a:pt x="164" y="417"/>
                    <a:pt x="167" y="417"/>
                    <a:pt x="167" y="417"/>
                  </a:cubicBezTo>
                  <a:close/>
                  <a:moveTo>
                    <a:pt x="164" y="381"/>
                  </a:moveTo>
                  <a:lnTo>
                    <a:pt x="170" y="381"/>
                  </a:lnTo>
                  <a:cubicBezTo>
                    <a:pt x="172" y="381"/>
                    <a:pt x="172" y="381"/>
                    <a:pt x="170" y="376"/>
                  </a:cubicBezTo>
                  <a:lnTo>
                    <a:pt x="164" y="376"/>
                  </a:lnTo>
                  <a:lnTo>
                    <a:pt x="164" y="381"/>
                  </a:lnTo>
                  <a:close/>
                  <a:moveTo>
                    <a:pt x="172" y="387"/>
                  </a:moveTo>
                  <a:cubicBezTo>
                    <a:pt x="170" y="387"/>
                    <a:pt x="170" y="387"/>
                    <a:pt x="167" y="390"/>
                  </a:cubicBezTo>
                  <a:lnTo>
                    <a:pt x="164" y="390"/>
                  </a:lnTo>
                  <a:lnTo>
                    <a:pt x="167" y="393"/>
                  </a:lnTo>
                  <a:cubicBezTo>
                    <a:pt x="167" y="393"/>
                    <a:pt x="167" y="390"/>
                    <a:pt x="170" y="390"/>
                  </a:cubicBezTo>
                  <a:lnTo>
                    <a:pt x="172" y="387"/>
                  </a:lnTo>
                  <a:close/>
                  <a:moveTo>
                    <a:pt x="167" y="370"/>
                  </a:moveTo>
                  <a:lnTo>
                    <a:pt x="167" y="373"/>
                  </a:lnTo>
                  <a:lnTo>
                    <a:pt x="170" y="373"/>
                  </a:lnTo>
                  <a:lnTo>
                    <a:pt x="167" y="370"/>
                  </a:lnTo>
                  <a:close/>
                  <a:moveTo>
                    <a:pt x="167" y="364"/>
                  </a:moveTo>
                  <a:cubicBezTo>
                    <a:pt x="170" y="362"/>
                    <a:pt x="167" y="362"/>
                    <a:pt x="167" y="364"/>
                  </a:cubicBezTo>
                  <a:close/>
                  <a:moveTo>
                    <a:pt x="172" y="395"/>
                  </a:moveTo>
                  <a:cubicBezTo>
                    <a:pt x="170" y="395"/>
                    <a:pt x="170" y="398"/>
                    <a:pt x="172" y="39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7" name="Freeform 1462"/>
            <p:cNvSpPr>
              <a:spLocks noChangeArrowheads="1"/>
            </p:cNvSpPr>
            <p:nvPr/>
          </p:nvSpPr>
          <p:spPr bwMode="auto">
            <a:xfrm>
              <a:off x="4356100" y="2414588"/>
              <a:ext cx="69850" cy="176212"/>
            </a:xfrm>
            <a:custGeom>
              <a:avLst/>
              <a:gdLst>
                <a:gd name="T0" fmla="*/ 133 w 196"/>
                <a:gd name="T1" fmla="*/ 481 h 491"/>
                <a:gd name="T2" fmla="*/ 79 w 196"/>
                <a:gd name="T3" fmla="*/ 467 h 491"/>
                <a:gd name="T4" fmla="*/ 59 w 196"/>
                <a:gd name="T5" fmla="*/ 372 h 491"/>
                <a:gd name="T6" fmla="*/ 45 w 196"/>
                <a:gd name="T7" fmla="*/ 304 h 491"/>
                <a:gd name="T8" fmla="*/ 31 w 196"/>
                <a:gd name="T9" fmla="*/ 209 h 491"/>
                <a:gd name="T10" fmla="*/ 6 w 196"/>
                <a:gd name="T11" fmla="*/ 79 h 491"/>
                <a:gd name="T12" fmla="*/ 31 w 196"/>
                <a:gd name="T13" fmla="*/ 14 h 491"/>
                <a:gd name="T14" fmla="*/ 93 w 196"/>
                <a:gd name="T15" fmla="*/ 0 h 491"/>
                <a:gd name="T16" fmla="*/ 121 w 196"/>
                <a:gd name="T17" fmla="*/ 42 h 491"/>
                <a:gd name="T18" fmla="*/ 68 w 196"/>
                <a:gd name="T19" fmla="*/ 68 h 491"/>
                <a:gd name="T20" fmla="*/ 73 w 196"/>
                <a:gd name="T21" fmla="*/ 155 h 491"/>
                <a:gd name="T22" fmla="*/ 85 w 196"/>
                <a:gd name="T23" fmla="*/ 206 h 491"/>
                <a:gd name="T24" fmla="*/ 116 w 196"/>
                <a:gd name="T25" fmla="*/ 273 h 491"/>
                <a:gd name="T26" fmla="*/ 107 w 196"/>
                <a:gd name="T27" fmla="*/ 381 h 491"/>
                <a:gd name="T28" fmla="*/ 127 w 196"/>
                <a:gd name="T29" fmla="*/ 426 h 491"/>
                <a:gd name="T30" fmla="*/ 175 w 196"/>
                <a:gd name="T31" fmla="*/ 417 h 491"/>
                <a:gd name="T32" fmla="*/ 28 w 196"/>
                <a:gd name="T33" fmla="*/ 51 h 491"/>
                <a:gd name="T34" fmla="*/ 28 w 196"/>
                <a:gd name="T35" fmla="*/ 56 h 491"/>
                <a:gd name="T36" fmla="*/ 45 w 196"/>
                <a:gd name="T37" fmla="*/ 73 h 491"/>
                <a:gd name="T38" fmla="*/ 28 w 196"/>
                <a:gd name="T39" fmla="*/ 73 h 491"/>
                <a:gd name="T40" fmla="*/ 31 w 196"/>
                <a:gd name="T41" fmla="*/ 107 h 491"/>
                <a:gd name="T42" fmla="*/ 59 w 196"/>
                <a:gd name="T43" fmla="*/ 53 h 491"/>
                <a:gd name="T44" fmla="*/ 45 w 196"/>
                <a:gd name="T45" fmla="*/ 39 h 491"/>
                <a:gd name="T46" fmla="*/ 42 w 196"/>
                <a:gd name="T47" fmla="*/ 118 h 491"/>
                <a:gd name="T48" fmla="*/ 45 w 196"/>
                <a:gd name="T49" fmla="*/ 132 h 491"/>
                <a:gd name="T50" fmla="*/ 42 w 196"/>
                <a:gd name="T51" fmla="*/ 73 h 491"/>
                <a:gd name="T52" fmla="*/ 42 w 196"/>
                <a:gd name="T53" fmla="*/ 101 h 491"/>
                <a:gd name="T54" fmla="*/ 51 w 196"/>
                <a:gd name="T55" fmla="*/ 192 h 491"/>
                <a:gd name="T56" fmla="*/ 54 w 196"/>
                <a:gd name="T57" fmla="*/ 172 h 491"/>
                <a:gd name="T58" fmla="*/ 45 w 196"/>
                <a:gd name="T59" fmla="*/ 166 h 491"/>
                <a:gd name="T60" fmla="*/ 51 w 196"/>
                <a:gd name="T61" fmla="*/ 214 h 491"/>
                <a:gd name="T62" fmla="*/ 68 w 196"/>
                <a:gd name="T63" fmla="*/ 42 h 491"/>
                <a:gd name="T64" fmla="*/ 62 w 196"/>
                <a:gd name="T65" fmla="*/ 36 h 491"/>
                <a:gd name="T66" fmla="*/ 59 w 196"/>
                <a:gd name="T67" fmla="*/ 225 h 491"/>
                <a:gd name="T68" fmla="*/ 65 w 196"/>
                <a:gd name="T69" fmla="*/ 251 h 491"/>
                <a:gd name="T70" fmla="*/ 65 w 196"/>
                <a:gd name="T71" fmla="*/ 254 h 491"/>
                <a:gd name="T72" fmla="*/ 65 w 196"/>
                <a:gd name="T73" fmla="*/ 259 h 491"/>
                <a:gd name="T74" fmla="*/ 65 w 196"/>
                <a:gd name="T75" fmla="*/ 211 h 491"/>
                <a:gd name="T76" fmla="*/ 76 w 196"/>
                <a:gd name="T77" fmla="*/ 304 h 491"/>
                <a:gd name="T78" fmla="*/ 76 w 196"/>
                <a:gd name="T79" fmla="*/ 313 h 491"/>
                <a:gd name="T80" fmla="*/ 68 w 196"/>
                <a:gd name="T81" fmla="*/ 302 h 491"/>
                <a:gd name="T82" fmla="*/ 73 w 196"/>
                <a:gd name="T83" fmla="*/ 338 h 491"/>
                <a:gd name="T84" fmla="*/ 70 w 196"/>
                <a:gd name="T85" fmla="*/ 276 h 491"/>
                <a:gd name="T86" fmla="*/ 70 w 196"/>
                <a:gd name="T87" fmla="*/ 285 h 491"/>
                <a:gd name="T88" fmla="*/ 85 w 196"/>
                <a:gd name="T89" fmla="*/ 36 h 491"/>
                <a:gd name="T90" fmla="*/ 73 w 196"/>
                <a:gd name="T91" fmla="*/ 28 h 491"/>
                <a:gd name="T92" fmla="*/ 76 w 196"/>
                <a:gd name="T93" fmla="*/ 245 h 491"/>
                <a:gd name="T94" fmla="*/ 96 w 196"/>
                <a:gd name="T95" fmla="*/ 237 h 491"/>
                <a:gd name="T96" fmla="*/ 85 w 196"/>
                <a:gd name="T97" fmla="*/ 347 h 491"/>
                <a:gd name="T98" fmla="*/ 87 w 196"/>
                <a:gd name="T99" fmla="*/ 431 h 491"/>
                <a:gd name="T100" fmla="*/ 93 w 196"/>
                <a:gd name="T101" fmla="*/ 381 h 491"/>
                <a:gd name="T102" fmla="*/ 87 w 196"/>
                <a:gd name="T103" fmla="*/ 257 h 491"/>
                <a:gd name="T104" fmla="*/ 93 w 196"/>
                <a:gd name="T105" fmla="*/ 400 h 491"/>
                <a:gd name="T106" fmla="*/ 99 w 196"/>
                <a:gd name="T107" fmla="*/ 250 h 491"/>
                <a:gd name="T108" fmla="*/ 96 w 196"/>
                <a:gd name="T109" fmla="*/ 445 h 491"/>
                <a:gd name="T110" fmla="*/ 100 w 196"/>
                <a:gd name="T111" fmla="*/ 438 h 491"/>
                <a:gd name="T112" fmla="*/ 110 w 196"/>
                <a:gd name="T113" fmla="*/ 446 h 491"/>
                <a:gd name="T114" fmla="*/ 116 w 196"/>
                <a:gd name="T115" fmla="*/ 459 h 491"/>
                <a:gd name="T116" fmla="*/ 118 w 196"/>
                <a:gd name="T117" fmla="*/ 447 h 491"/>
                <a:gd name="T118" fmla="*/ 138 w 196"/>
                <a:gd name="T119" fmla="*/ 445 h 491"/>
                <a:gd name="T120" fmla="*/ 155 w 196"/>
                <a:gd name="T121" fmla="*/ 453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6" h="491">
                  <a:moveTo>
                    <a:pt x="192" y="434"/>
                  </a:moveTo>
                  <a:cubicBezTo>
                    <a:pt x="189" y="437"/>
                    <a:pt x="189" y="443"/>
                    <a:pt x="192" y="445"/>
                  </a:cubicBezTo>
                  <a:cubicBezTo>
                    <a:pt x="192" y="450"/>
                    <a:pt x="195" y="453"/>
                    <a:pt x="195" y="459"/>
                  </a:cubicBezTo>
                  <a:cubicBezTo>
                    <a:pt x="192" y="464"/>
                    <a:pt x="189" y="467"/>
                    <a:pt x="186" y="473"/>
                  </a:cubicBezTo>
                  <a:cubicBezTo>
                    <a:pt x="183" y="473"/>
                    <a:pt x="178" y="473"/>
                    <a:pt x="175" y="476"/>
                  </a:cubicBezTo>
                  <a:lnTo>
                    <a:pt x="164" y="476"/>
                  </a:lnTo>
                  <a:cubicBezTo>
                    <a:pt x="158" y="476"/>
                    <a:pt x="152" y="476"/>
                    <a:pt x="147" y="478"/>
                  </a:cubicBezTo>
                  <a:cubicBezTo>
                    <a:pt x="141" y="481"/>
                    <a:pt x="139" y="481"/>
                    <a:pt x="133" y="481"/>
                  </a:cubicBezTo>
                  <a:cubicBezTo>
                    <a:pt x="128" y="481"/>
                    <a:pt x="121" y="481"/>
                    <a:pt x="118" y="484"/>
                  </a:cubicBezTo>
                  <a:lnTo>
                    <a:pt x="116" y="484"/>
                  </a:lnTo>
                  <a:lnTo>
                    <a:pt x="113" y="484"/>
                  </a:lnTo>
                  <a:cubicBezTo>
                    <a:pt x="110" y="487"/>
                    <a:pt x="107" y="487"/>
                    <a:pt x="104" y="487"/>
                  </a:cubicBezTo>
                  <a:cubicBezTo>
                    <a:pt x="102" y="487"/>
                    <a:pt x="99" y="487"/>
                    <a:pt x="93" y="490"/>
                  </a:cubicBezTo>
                  <a:cubicBezTo>
                    <a:pt x="85" y="487"/>
                    <a:pt x="85" y="487"/>
                    <a:pt x="79" y="478"/>
                  </a:cubicBezTo>
                  <a:lnTo>
                    <a:pt x="79" y="473"/>
                  </a:lnTo>
                  <a:lnTo>
                    <a:pt x="79" y="467"/>
                  </a:lnTo>
                  <a:cubicBezTo>
                    <a:pt x="76" y="464"/>
                    <a:pt x="76" y="459"/>
                    <a:pt x="73" y="456"/>
                  </a:cubicBezTo>
                  <a:cubicBezTo>
                    <a:pt x="70" y="453"/>
                    <a:pt x="70" y="447"/>
                    <a:pt x="73" y="446"/>
                  </a:cubicBezTo>
                  <a:lnTo>
                    <a:pt x="73" y="443"/>
                  </a:lnTo>
                  <a:lnTo>
                    <a:pt x="73" y="440"/>
                  </a:lnTo>
                  <a:cubicBezTo>
                    <a:pt x="73" y="437"/>
                    <a:pt x="70" y="434"/>
                    <a:pt x="70" y="431"/>
                  </a:cubicBezTo>
                  <a:cubicBezTo>
                    <a:pt x="68" y="429"/>
                    <a:pt x="68" y="426"/>
                    <a:pt x="70" y="423"/>
                  </a:cubicBezTo>
                  <a:cubicBezTo>
                    <a:pt x="65" y="412"/>
                    <a:pt x="62" y="403"/>
                    <a:pt x="62" y="395"/>
                  </a:cubicBezTo>
                  <a:cubicBezTo>
                    <a:pt x="62" y="386"/>
                    <a:pt x="62" y="378"/>
                    <a:pt x="59" y="372"/>
                  </a:cubicBezTo>
                  <a:cubicBezTo>
                    <a:pt x="59" y="369"/>
                    <a:pt x="59" y="367"/>
                    <a:pt x="56" y="367"/>
                  </a:cubicBezTo>
                  <a:cubicBezTo>
                    <a:pt x="54" y="364"/>
                    <a:pt x="54" y="358"/>
                    <a:pt x="54" y="352"/>
                  </a:cubicBezTo>
                  <a:cubicBezTo>
                    <a:pt x="54" y="350"/>
                    <a:pt x="54" y="347"/>
                    <a:pt x="51" y="347"/>
                  </a:cubicBezTo>
                  <a:cubicBezTo>
                    <a:pt x="48" y="344"/>
                    <a:pt x="48" y="341"/>
                    <a:pt x="51" y="338"/>
                  </a:cubicBezTo>
                  <a:cubicBezTo>
                    <a:pt x="54" y="335"/>
                    <a:pt x="54" y="333"/>
                    <a:pt x="51" y="330"/>
                  </a:cubicBezTo>
                  <a:cubicBezTo>
                    <a:pt x="51" y="327"/>
                    <a:pt x="48" y="324"/>
                    <a:pt x="48" y="321"/>
                  </a:cubicBezTo>
                  <a:lnTo>
                    <a:pt x="48" y="313"/>
                  </a:lnTo>
                  <a:cubicBezTo>
                    <a:pt x="48" y="310"/>
                    <a:pt x="45" y="307"/>
                    <a:pt x="45" y="304"/>
                  </a:cubicBezTo>
                  <a:lnTo>
                    <a:pt x="45" y="299"/>
                  </a:lnTo>
                  <a:lnTo>
                    <a:pt x="45" y="276"/>
                  </a:lnTo>
                  <a:cubicBezTo>
                    <a:pt x="42" y="268"/>
                    <a:pt x="42" y="262"/>
                    <a:pt x="39" y="254"/>
                  </a:cubicBezTo>
                  <a:lnTo>
                    <a:pt x="39" y="248"/>
                  </a:lnTo>
                  <a:lnTo>
                    <a:pt x="39" y="242"/>
                  </a:lnTo>
                  <a:cubicBezTo>
                    <a:pt x="42" y="242"/>
                    <a:pt x="39" y="237"/>
                    <a:pt x="39" y="237"/>
                  </a:cubicBezTo>
                  <a:cubicBezTo>
                    <a:pt x="37" y="231"/>
                    <a:pt x="34" y="225"/>
                    <a:pt x="34" y="223"/>
                  </a:cubicBezTo>
                  <a:cubicBezTo>
                    <a:pt x="34" y="217"/>
                    <a:pt x="34" y="211"/>
                    <a:pt x="31" y="209"/>
                  </a:cubicBezTo>
                  <a:lnTo>
                    <a:pt x="25" y="183"/>
                  </a:lnTo>
                  <a:cubicBezTo>
                    <a:pt x="25" y="180"/>
                    <a:pt x="26" y="180"/>
                    <a:pt x="23" y="178"/>
                  </a:cubicBezTo>
                  <a:cubicBezTo>
                    <a:pt x="21" y="175"/>
                    <a:pt x="20" y="169"/>
                    <a:pt x="23" y="166"/>
                  </a:cubicBezTo>
                  <a:lnTo>
                    <a:pt x="23" y="161"/>
                  </a:lnTo>
                  <a:cubicBezTo>
                    <a:pt x="23" y="152"/>
                    <a:pt x="20" y="144"/>
                    <a:pt x="17" y="135"/>
                  </a:cubicBezTo>
                  <a:cubicBezTo>
                    <a:pt x="14" y="127"/>
                    <a:pt x="11" y="115"/>
                    <a:pt x="11" y="104"/>
                  </a:cubicBezTo>
                  <a:cubicBezTo>
                    <a:pt x="11" y="101"/>
                    <a:pt x="11" y="99"/>
                    <a:pt x="8" y="96"/>
                  </a:cubicBezTo>
                  <a:cubicBezTo>
                    <a:pt x="6" y="90"/>
                    <a:pt x="6" y="84"/>
                    <a:pt x="6" y="79"/>
                  </a:cubicBezTo>
                  <a:cubicBezTo>
                    <a:pt x="6" y="73"/>
                    <a:pt x="6" y="65"/>
                    <a:pt x="3" y="59"/>
                  </a:cubicBezTo>
                  <a:cubicBezTo>
                    <a:pt x="3" y="56"/>
                    <a:pt x="0" y="51"/>
                    <a:pt x="0" y="48"/>
                  </a:cubicBezTo>
                  <a:lnTo>
                    <a:pt x="0" y="36"/>
                  </a:lnTo>
                  <a:lnTo>
                    <a:pt x="0" y="31"/>
                  </a:lnTo>
                  <a:lnTo>
                    <a:pt x="0" y="28"/>
                  </a:lnTo>
                  <a:cubicBezTo>
                    <a:pt x="3" y="22"/>
                    <a:pt x="8" y="20"/>
                    <a:pt x="14" y="17"/>
                  </a:cubicBezTo>
                  <a:lnTo>
                    <a:pt x="23" y="14"/>
                  </a:lnTo>
                  <a:lnTo>
                    <a:pt x="31" y="14"/>
                  </a:lnTo>
                  <a:cubicBezTo>
                    <a:pt x="34" y="14"/>
                    <a:pt x="37" y="14"/>
                    <a:pt x="37" y="11"/>
                  </a:cubicBezTo>
                  <a:lnTo>
                    <a:pt x="42" y="11"/>
                  </a:lnTo>
                  <a:lnTo>
                    <a:pt x="48" y="8"/>
                  </a:lnTo>
                  <a:cubicBezTo>
                    <a:pt x="51" y="5"/>
                    <a:pt x="54" y="5"/>
                    <a:pt x="59" y="5"/>
                  </a:cubicBezTo>
                  <a:cubicBezTo>
                    <a:pt x="62" y="8"/>
                    <a:pt x="65" y="8"/>
                    <a:pt x="68" y="5"/>
                  </a:cubicBezTo>
                  <a:lnTo>
                    <a:pt x="76" y="5"/>
                  </a:lnTo>
                  <a:cubicBezTo>
                    <a:pt x="79" y="8"/>
                    <a:pt x="82" y="5"/>
                    <a:pt x="87" y="3"/>
                  </a:cubicBezTo>
                  <a:cubicBezTo>
                    <a:pt x="87" y="0"/>
                    <a:pt x="90" y="0"/>
                    <a:pt x="93" y="0"/>
                  </a:cubicBezTo>
                  <a:lnTo>
                    <a:pt x="102" y="0"/>
                  </a:lnTo>
                  <a:lnTo>
                    <a:pt x="113" y="0"/>
                  </a:lnTo>
                  <a:lnTo>
                    <a:pt x="121" y="11"/>
                  </a:lnTo>
                  <a:lnTo>
                    <a:pt x="118" y="14"/>
                  </a:lnTo>
                  <a:lnTo>
                    <a:pt x="118" y="20"/>
                  </a:lnTo>
                  <a:lnTo>
                    <a:pt x="118" y="25"/>
                  </a:lnTo>
                  <a:lnTo>
                    <a:pt x="118" y="31"/>
                  </a:lnTo>
                  <a:cubicBezTo>
                    <a:pt x="124" y="34"/>
                    <a:pt x="124" y="39"/>
                    <a:pt x="121" y="42"/>
                  </a:cubicBezTo>
                  <a:cubicBezTo>
                    <a:pt x="118" y="45"/>
                    <a:pt x="118" y="51"/>
                    <a:pt x="118" y="53"/>
                  </a:cubicBezTo>
                  <a:lnTo>
                    <a:pt x="113" y="53"/>
                  </a:lnTo>
                  <a:lnTo>
                    <a:pt x="110" y="53"/>
                  </a:lnTo>
                  <a:cubicBezTo>
                    <a:pt x="107" y="56"/>
                    <a:pt x="105" y="56"/>
                    <a:pt x="102" y="56"/>
                  </a:cubicBezTo>
                  <a:cubicBezTo>
                    <a:pt x="100" y="56"/>
                    <a:pt x="96" y="56"/>
                    <a:pt x="93" y="59"/>
                  </a:cubicBezTo>
                  <a:cubicBezTo>
                    <a:pt x="87" y="62"/>
                    <a:pt x="85" y="65"/>
                    <a:pt x="79" y="65"/>
                  </a:cubicBezTo>
                  <a:lnTo>
                    <a:pt x="73" y="65"/>
                  </a:lnTo>
                  <a:cubicBezTo>
                    <a:pt x="73" y="68"/>
                    <a:pt x="70" y="68"/>
                    <a:pt x="68" y="68"/>
                  </a:cubicBezTo>
                  <a:cubicBezTo>
                    <a:pt x="65" y="68"/>
                    <a:pt x="65" y="70"/>
                    <a:pt x="65" y="70"/>
                  </a:cubicBezTo>
                  <a:cubicBezTo>
                    <a:pt x="65" y="73"/>
                    <a:pt x="65" y="76"/>
                    <a:pt x="62" y="79"/>
                  </a:cubicBezTo>
                  <a:lnTo>
                    <a:pt x="62" y="87"/>
                  </a:lnTo>
                  <a:cubicBezTo>
                    <a:pt x="62" y="90"/>
                    <a:pt x="65" y="93"/>
                    <a:pt x="65" y="99"/>
                  </a:cubicBezTo>
                  <a:cubicBezTo>
                    <a:pt x="65" y="101"/>
                    <a:pt x="68" y="107"/>
                    <a:pt x="68" y="110"/>
                  </a:cubicBezTo>
                  <a:cubicBezTo>
                    <a:pt x="70" y="115"/>
                    <a:pt x="70" y="121"/>
                    <a:pt x="68" y="127"/>
                  </a:cubicBezTo>
                  <a:cubicBezTo>
                    <a:pt x="68" y="132"/>
                    <a:pt x="68" y="138"/>
                    <a:pt x="70" y="141"/>
                  </a:cubicBezTo>
                  <a:cubicBezTo>
                    <a:pt x="73" y="146"/>
                    <a:pt x="73" y="152"/>
                    <a:pt x="73" y="155"/>
                  </a:cubicBezTo>
                  <a:lnTo>
                    <a:pt x="73" y="158"/>
                  </a:lnTo>
                  <a:lnTo>
                    <a:pt x="73" y="161"/>
                  </a:lnTo>
                  <a:cubicBezTo>
                    <a:pt x="76" y="163"/>
                    <a:pt x="76" y="166"/>
                    <a:pt x="76" y="169"/>
                  </a:cubicBezTo>
                  <a:cubicBezTo>
                    <a:pt x="76" y="172"/>
                    <a:pt x="76" y="175"/>
                    <a:pt x="79" y="178"/>
                  </a:cubicBezTo>
                  <a:cubicBezTo>
                    <a:pt x="82" y="180"/>
                    <a:pt x="82" y="183"/>
                    <a:pt x="82" y="186"/>
                  </a:cubicBezTo>
                  <a:lnTo>
                    <a:pt x="82" y="192"/>
                  </a:lnTo>
                  <a:cubicBezTo>
                    <a:pt x="82" y="194"/>
                    <a:pt x="85" y="197"/>
                    <a:pt x="82" y="200"/>
                  </a:cubicBezTo>
                  <a:cubicBezTo>
                    <a:pt x="85" y="200"/>
                    <a:pt x="85" y="203"/>
                    <a:pt x="85" y="206"/>
                  </a:cubicBezTo>
                  <a:lnTo>
                    <a:pt x="85" y="211"/>
                  </a:lnTo>
                  <a:cubicBezTo>
                    <a:pt x="87" y="217"/>
                    <a:pt x="96" y="223"/>
                    <a:pt x="104" y="220"/>
                  </a:cubicBezTo>
                  <a:lnTo>
                    <a:pt x="110" y="220"/>
                  </a:lnTo>
                  <a:lnTo>
                    <a:pt x="116" y="220"/>
                  </a:lnTo>
                  <a:cubicBezTo>
                    <a:pt x="118" y="220"/>
                    <a:pt x="118" y="223"/>
                    <a:pt x="121" y="223"/>
                  </a:cubicBezTo>
                  <a:lnTo>
                    <a:pt x="127" y="228"/>
                  </a:lnTo>
                  <a:lnTo>
                    <a:pt x="133" y="262"/>
                  </a:lnTo>
                  <a:cubicBezTo>
                    <a:pt x="130" y="268"/>
                    <a:pt x="124" y="273"/>
                    <a:pt x="116" y="273"/>
                  </a:cubicBezTo>
                  <a:cubicBezTo>
                    <a:pt x="110" y="273"/>
                    <a:pt x="104" y="276"/>
                    <a:pt x="99" y="279"/>
                  </a:cubicBezTo>
                  <a:cubicBezTo>
                    <a:pt x="96" y="282"/>
                    <a:pt x="96" y="288"/>
                    <a:pt x="96" y="290"/>
                  </a:cubicBezTo>
                  <a:lnTo>
                    <a:pt x="96" y="310"/>
                  </a:lnTo>
                  <a:lnTo>
                    <a:pt x="96" y="316"/>
                  </a:lnTo>
                  <a:cubicBezTo>
                    <a:pt x="99" y="319"/>
                    <a:pt x="99" y="319"/>
                    <a:pt x="99" y="321"/>
                  </a:cubicBezTo>
                  <a:lnTo>
                    <a:pt x="104" y="352"/>
                  </a:lnTo>
                  <a:lnTo>
                    <a:pt x="102" y="355"/>
                  </a:lnTo>
                  <a:cubicBezTo>
                    <a:pt x="104" y="364"/>
                    <a:pt x="107" y="372"/>
                    <a:pt x="107" y="381"/>
                  </a:cubicBezTo>
                  <a:lnTo>
                    <a:pt x="107" y="383"/>
                  </a:lnTo>
                  <a:lnTo>
                    <a:pt x="107" y="386"/>
                  </a:lnTo>
                  <a:cubicBezTo>
                    <a:pt x="107" y="389"/>
                    <a:pt x="107" y="392"/>
                    <a:pt x="110" y="392"/>
                  </a:cubicBezTo>
                  <a:cubicBezTo>
                    <a:pt x="113" y="395"/>
                    <a:pt x="113" y="398"/>
                    <a:pt x="110" y="400"/>
                  </a:cubicBezTo>
                  <a:lnTo>
                    <a:pt x="110" y="409"/>
                  </a:lnTo>
                  <a:cubicBezTo>
                    <a:pt x="110" y="414"/>
                    <a:pt x="113" y="417"/>
                    <a:pt x="113" y="423"/>
                  </a:cubicBezTo>
                  <a:lnTo>
                    <a:pt x="118" y="423"/>
                  </a:lnTo>
                  <a:cubicBezTo>
                    <a:pt x="121" y="423"/>
                    <a:pt x="124" y="423"/>
                    <a:pt x="127" y="426"/>
                  </a:cubicBezTo>
                  <a:cubicBezTo>
                    <a:pt x="130" y="429"/>
                    <a:pt x="133" y="429"/>
                    <a:pt x="138" y="429"/>
                  </a:cubicBezTo>
                  <a:lnTo>
                    <a:pt x="141" y="429"/>
                  </a:lnTo>
                  <a:lnTo>
                    <a:pt x="144" y="429"/>
                  </a:lnTo>
                  <a:cubicBezTo>
                    <a:pt x="147" y="429"/>
                    <a:pt x="147" y="429"/>
                    <a:pt x="149" y="426"/>
                  </a:cubicBezTo>
                  <a:cubicBezTo>
                    <a:pt x="152" y="426"/>
                    <a:pt x="152" y="426"/>
                    <a:pt x="155" y="423"/>
                  </a:cubicBezTo>
                  <a:cubicBezTo>
                    <a:pt x="158" y="423"/>
                    <a:pt x="158" y="423"/>
                    <a:pt x="161" y="420"/>
                  </a:cubicBezTo>
                  <a:cubicBezTo>
                    <a:pt x="164" y="420"/>
                    <a:pt x="164" y="420"/>
                    <a:pt x="166" y="417"/>
                  </a:cubicBezTo>
                  <a:cubicBezTo>
                    <a:pt x="169" y="414"/>
                    <a:pt x="172" y="414"/>
                    <a:pt x="175" y="417"/>
                  </a:cubicBezTo>
                  <a:lnTo>
                    <a:pt x="181" y="417"/>
                  </a:lnTo>
                  <a:lnTo>
                    <a:pt x="186" y="417"/>
                  </a:lnTo>
                  <a:lnTo>
                    <a:pt x="195" y="426"/>
                  </a:lnTo>
                  <a:cubicBezTo>
                    <a:pt x="192" y="431"/>
                    <a:pt x="192" y="431"/>
                    <a:pt x="192" y="434"/>
                  </a:cubicBezTo>
                  <a:close/>
                  <a:moveTo>
                    <a:pt x="20" y="42"/>
                  </a:moveTo>
                  <a:lnTo>
                    <a:pt x="23" y="48"/>
                  </a:lnTo>
                  <a:cubicBezTo>
                    <a:pt x="23" y="51"/>
                    <a:pt x="23" y="51"/>
                    <a:pt x="25" y="53"/>
                  </a:cubicBezTo>
                  <a:cubicBezTo>
                    <a:pt x="25" y="53"/>
                    <a:pt x="28" y="53"/>
                    <a:pt x="28" y="51"/>
                  </a:cubicBezTo>
                  <a:lnTo>
                    <a:pt x="31" y="48"/>
                  </a:lnTo>
                  <a:lnTo>
                    <a:pt x="31" y="39"/>
                  </a:lnTo>
                  <a:lnTo>
                    <a:pt x="31" y="31"/>
                  </a:lnTo>
                  <a:lnTo>
                    <a:pt x="25" y="36"/>
                  </a:lnTo>
                  <a:lnTo>
                    <a:pt x="20" y="42"/>
                  </a:lnTo>
                  <a:close/>
                  <a:moveTo>
                    <a:pt x="37" y="59"/>
                  </a:moveTo>
                  <a:lnTo>
                    <a:pt x="34" y="56"/>
                  </a:lnTo>
                  <a:lnTo>
                    <a:pt x="28" y="56"/>
                  </a:lnTo>
                  <a:lnTo>
                    <a:pt x="31" y="70"/>
                  </a:lnTo>
                  <a:lnTo>
                    <a:pt x="34" y="70"/>
                  </a:lnTo>
                  <a:lnTo>
                    <a:pt x="37" y="73"/>
                  </a:lnTo>
                  <a:cubicBezTo>
                    <a:pt x="38" y="75"/>
                    <a:pt x="40" y="74"/>
                    <a:pt x="42" y="74"/>
                  </a:cubicBezTo>
                  <a:lnTo>
                    <a:pt x="42" y="73"/>
                  </a:lnTo>
                  <a:lnTo>
                    <a:pt x="42" y="74"/>
                  </a:lnTo>
                  <a:lnTo>
                    <a:pt x="43" y="74"/>
                  </a:lnTo>
                  <a:cubicBezTo>
                    <a:pt x="44" y="73"/>
                    <a:pt x="44" y="73"/>
                    <a:pt x="45" y="73"/>
                  </a:cubicBezTo>
                  <a:lnTo>
                    <a:pt x="45" y="72"/>
                  </a:lnTo>
                  <a:cubicBezTo>
                    <a:pt x="45" y="72"/>
                    <a:pt x="45" y="72"/>
                    <a:pt x="45" y="70"/>
                  </a:cubicBezTo>
                  <a:lnTo>
                    <a:pt x="45" y="68"/>
                  </a:lnTo>
                  <a:lnTo>
                    <a:pt x="42" y="70"/>
                  </a:lnTo>
                  <a:cubicBezTo>
                    <a:pt x="42" y="70"/>
                    <a:pt x="39" y="70"/>
                    <a:pt x="39" y="73"/>
                  </a:cubicBezTo>
                  <a:lnTo>
                    <a:pt x="39" y="70"/>
                  </a:lnTo>
                  <a:cubicBezTo>
                    <a:pt x="37" y="65"/>
                    <a:pt x="37" y="65"/>
                    <a:pt x="37" y="59"/>
                  </a:cubicBezTo>
                  <a:close/>
                  <a:moveTo>
                    <a:pt x="28" y="73"/>
                  </a:moveTo>
                  <a:lnTo>
                    <a:pt x="28" y="76"/>
                  </a:lnTo>
                  <a:lnTo>
                    <a:pt x="31" y="76"/>
                  </a:lnTo>
                  <a:lnTo>
                    <a:pt x="34" y="76"/>
                  </a:lnTo>
                  <a:lnTo>
                    <a:pt x="28" y="73"/>
                  </a:lnTo>
                  <a:close/>
                  <a:moveTo>
                    <a:pt x="28" y="84"/>
                  </a:moveTo>
                  <a:cubicBezTo>
                    <a:pt x="34" y="84"/>
                    <a:pt x="34" y="82"/>
                    <a:pt x="31" y="79"/>
                  </a:cubicBezTo>
                  <a:lnTo>
                    <a:pt x="28" y="84"/>
                  </a:lnTo>
                  <a:close/>
                  <a:moveTo>
                    <a:pt x="31" y="107"/>
                  </a:moveTo>
                  <a:lnTo>
                    <a:pt x="34" y="107"/>
                  </a:lnTo>
                  <a:lnTo>
                    <a:pt x="34" y="104"/>
                  </a:lnTo>
                  <a:cubicBezTo>
                    <a:pt x="34" y="104"/>
                    <a:pt x="31" y="104"/>
                    <a:pt x="31" y="107"/>
                  </a:cubicBezTo>
                  <a:close/>
                  <a:moveTo>
                    <a:pt x="31" y="48"/>
                  </a:moveTo>
                  <a:lnTo>
                    <a:pt x="31" y="53"/>
                  </a:lnTo>
                  <a:lnTo>
                    <a:pt x="39" y="59"/>
                  </a:lnTo>
                  <a:lnTo>
                    <a:pt x="48" y="56"/>
                  </a:lnTo>
                  <a:cubicBezTo>
                    <a:pt x="51" y="56"/>
                    <a:pt x="54" y="53"/>
                    <a:pt x="59" y="53"/>
                  </a:cubicBezTo>
                  <a:lnTo>
                    <a:pt x="59" y="51"/>
                  </a:lnTo>
                  <a:lnTo>
                    <a:pt x="59" y="48"/>
                  </a:lnTo>
                  <a:cubicBezTo>
                    <a:pt x="56" y="45"/>
                    <a:pt x="56" y="45"/>
                    <a:pt x="56" y="48"/>
                  </a:cubicBezTo>
                  <a:cubicBezTo>
                    <a:pt x="54" y="51"/>
                    <a:pt x="54" y="51"/>
                    <a:pt x="54" y="48"/>
                  </a:cubicBezTo>
                  <a:lnTo>
                    <a:pt x="45" y="53"/>
                  </a:lnTo>
                  <a:lnTo>
                    <a:pt x="45" y="48"/>
                  </a:lnTo>
                  <a:lnTo>
                    <a:pt x="45" y="42"/>
                  </a:lnTo>
                  <a:lnTo>
                    <a:pt x="45" y="39"/>
                  </a:lnTo>
                  <a:lnTo>
                    <a:pt x="37" y="39"/>
                  </a:lnTo>
                  <a:lnTo>
                    <a:pt x="37" y="48"/>
                  </a:lnTo>
                  <a:lnTo>
                    <a:pt x="31" y="48"/>
                  </a:lnTo>
                  <a:close/>
                  <a:moveTo>
                    <a:pt x="37" y="107"/>
                  </a:moveTo>
                  <a:lnTo>
                    <a:pt x="39" y="104"/>
                  </a:lnTo>
                  <a:cubicBezTo>
                    <a:pt x="37" y="104"/>
                    <a:pt x="37" y="104"/>
                    <a:pt x="37" y="107"/>
                  </a:cubicBezTo>
                  <a:close/>
                  <a:moveTo>
                    <a:pt x="39" y="118"/>
                  </a:moveTo>
                  <a:lnTo>
                    <a:pt x="42" y="118"/>
                  </a:lnTo>
                  <a:lnTo>
                    <a:pt x="42" y="115"/>
                  </a:lnTo>
                  <a:lnTo>
                    <a:pt x="39" y="118"/>
                  </a:lnTo>
                  <a:close/>
                  <a:moveTo>
                    <a:pt x="51" y="124"/>
                  </a:moveTo>
                  <a:cubicBezTo>
                    <a:pt x="48" y="121"/>
                    <a:pt x="48" y="121"/>
                    <a:pt x="45" y="124"/>
                  </a:cubicBezTo>
                  <a:cubicBezTo>
                    <a:pt x="42" y="127"/>
                    <a:pt x="42" y="127"/>
                    <a:pt x="39" y="127"/>
                  </a:cubicBezTo>
                  <a:lnTo>
                    <a:pt x="42" y="130"/>
                  </a:lnTo>
                  <a:cubicBezTo>
                    <a:pt x="42" y="130"/>
                    <a:pt x="45" y="132"/>
                    <a:pt x="45" y="135"/>
                  </a:cubicBezTo>
                  <a:lnTo>
                    <a:pt x="45" y="132"/>
                  </a:lnTo>
                  <a:cubicBezTo>
                    <a:pt x="48" y="127"/>
                    <a:pt x="48" y="127"/>
                    <a:pt x="51" y="124"/>
                  </a:cubicBezTo>
                  <a:close/>
                  <a:moveTo>
                    <a:pt x="39" y="34"/>
                  </a:moveTo>
                  <a:lnTo>
                    <a:pt x="48" y="39"/>
                  </a:lnTo>
                  <a:cubicBezTo>
                    <a:pt x="48" y="36"/>
                    <a:pt x="51" y="36"/>
                    <a:pt x="51" y="34"/>
                  </a:cubicBezTo>
                  <a:cubicBezTo>
                    <a:pt x="51" y="31"/>
                    <a:pt x="51" y="31"/>
                    <a:pt x="54" y="28"/>
                  </a:cubicBezTo>
                  <a:lnTo>
                    <a:pt x="48" y="31"/>
                  </a:lnTo>
                  <a:lnTo>
                    <a:pt x="39" y="34"/>
                  </a:lnTo>
                  <a:close/>
                  <a:moveTo>
                    <a:pt x="42" y="73"/>
                  </a:moveTo>
                  <a:cubicBezTo>
                    <a:pt x="43" y="74"/>
                    <a:pt x="43" y="74"/>
                    <a:pt x="43" y="74"/>
                  </a:cubicBezTo>
                  <a:lnTo>
                    <a:pt x="45" y="76"/>
                  </a:lnTo>
                  <a:cubicBezTo>
                    <a:pt x="48" y="76"/>
                    <a:pt x="48" y="73"/>
                    <a:pt x="48" y="70"/>
                  </a:cubicBezTo>
                  <a:lnTo>
                    <a:pt x="45" y="72"/>
                  </a:lnTo>
                  <a:lnTo>
                    <a:pt x="42" y="73"/>
                  </a:lnTo>
                  <a:close/>
                  <a:moveTo>
                    <a:pt x="48" y="99"/>
                  </a:moveTo>
                  <a:lnTo>
                    <a:pt x="42" y="99"/>
                  </a:lnTo>
                  <a:lnTo>
                    <a:pt x="42" y="101"/>
                  </a:lnTo>
                  <a:cubicBezTo>
                    <a:pt x="45" y="101"/>
                    <a:pt x="45" y="99"/>
                    <a:pt x="48" y="99"/>
                  </a:cubicBezTo>
                  <a:close/>
                  <a:moveTo>
                    <a:pt x="45" y="65"/>
                  </a:moveTo>
                  <a:cubicBezTo>
                    <a:pt x="45" y="68"/>
                    <a:pt x="48" y="68"/>
                    <a:pt x="51" y="65"/>
                  </a:cubicBezTo>
                  <a:cubicBezTo>
                    <a:pt x="48" y="65"/>
                    <a:pt x="48" y="62"/>
                    <a:pt x="48" y="62"/>
                  </a:cubicBezTo>
                  <a:cubicBezTo>
                    <a:pt x="48" y="59"/>
                    <a:pt x="45" y="59"/>
                    <a:pt x="42" y="62"/>
                  </a:cubicBezTo>
                  <a:lnTo>
                    <a:pt x="45" y="65"/>
                  </a:lnTo>
                  <a:close/>
                  <a:moveTo>
                    <a:pt x="45" y="189"/>
                  </a:moveTo>
                  <a:cubicBezTo>
                    <a:pt x="45" y="189"/>
                    <a:pt x="48" y="192"/>
                    <a:pt x="51" y="192"/>
                  </a:cubicBezTo>
                  <a:lnTo>
                    <a:pt x="48" y="183"/>
                  </a:lnTo>
                  <a:cubicBezTo>
                    <a:pt x="48" y="183"/>
                    <a:pt x="48" y="186"/>
                    <a:pt x="45" y="186"/>
                  </a:cubicBezTo>
                  <a:lnTo>
                    <a:pt x="45" y="189"/>
                  </a:lnTo>
                  <a:close/>
                  <a:moveTo>
                    <a:pt x="45" y="25"/>
                  </a:moveTo>
                  <a:cubicBezTo>
                    <a:pt x="45" y="28"/>
                    <a:pt x="45" y="28"/>
                    <a:pt x="48" y="28"/>
                  </a:cubicBezTo>
                  <a:lnTo>
                    <a:pt x="45" y="25"/>
                  </a:lnTo>
                  <a:close/>
                  <a:moveTo>
                    <a:pt x="59" y="175"/>
                  </a:moveTo>
                  <a:cubicBezTo>
                    <a:pt x="56" y="172"/>
                    <a:pt x="56" y="172"/>
                    <a:pt x="54" y="172"/>
                  </a:cubicBezTo>
                  <a:cubicBezTo>
                    <a:pt x="51" y="172"/>
                    <a:pt x="51" y="172"/>
                    <a:pt x="48" y="175"/>
                  </a:cubicBezTo>
                  <a:lnTo>
                    <a:pt x="48" y="180"/>
                  </a:lnTo>
                  <a:lnTo>
                    <a:pt x="51" y="178"/>
                  </a:lnTo>
                  <a:lnTo>
                    <a:pt x="59" y="175"/>
                  </a:lnTo>
                  <a:close/>
                  <a:moveTo>
                    <a:pt x="51" y="146"/>
                  </a:moveTo>
                  <a:lnTo>
                    <a:pt x="45" y="146"/>
                  </a:lnTo>
                  <a:cubicBezTo>
                    <a:pt x="51" y="149"/>
                    <a:pt x="51" y="149"/>
                    <a:pt x="51" y="146"/>
                  </a:cubicBezTo>
                  <a:close/>
                  <a:moveTo>
                    <a:pt x="45" y="166"/>
                  </a:moveTo>
                  <a:cubicBezTo>
                    <a:pt x="45" y="169"/>
                    <a:pt x="48" y="172"/>
                    <a:pt x="48" y="172"/>
                  </a:cubicBezTo>
                  <a:cubicBezTo>
                    <a:pt x="48" y="172"/>
                    <a:pt x="48" y="169"/>
                    <a:pt x="51" y="169"/>
                  </a:cubicBezTo>
                  <a:cubicBezTo>
                    <a:pt x="51" y="169"/>
                    <a:pt x="54" y="166"/>
                    <a:pt x="51" y="166"/>
                  </a:cubicBezTo>
                  <a:cubicBezTo>
                    <a:pt x="48" y="163"/>
                    <a:pt x="48" y="166"/>
                    <a:pt x="45" y="166"/>
                  </a:cubicBezTo>
                  <a:close/>
                  <a:moveTo>
                    <a:pt x="51" y="214"/>
                  </a:moveTo>
                  <a:lnTo>
                    <a:pt x="51" y="220"/>
                  </a:lnTo>
                  <a:lnTo>
                    <a:pt x="54" y="220"/>
                  </a:lnTo>
                  <a:lnTo>
                    <a:pt x="51" y="214"/>
                  </a:lnTo>
                  <a:close/>
                  <a:moveTo>
                    <a:pt x="51" y="203"/>
                  </a:moveTo>
                  <a:lnTo>
                    <a:pt x="51" y="211"/>
                  </a:lnTo>
                  <a:cubicBezTo>
                    <a:pt x="54" y="211"/>
                    <a:pt x="54" y="211"/>
                    <a:pt x="56" y="209"/>
                  </a:cubicBezTo>
                  <a:lnTo>
                    <a:pt x="51" y="203"/>
                  </a:lnTo>
                  <a:close/>
                  <a:moveTo>
                    <a:pt x="56" y="42"/>
                  </a:moveTo>
                  <a:cubicBezTo>
                    <a:pt x="59" y="39"/>
                    <a:pt x="59" y="39"/>
                    <a:pt x="62" y="39"/>
                  </a:cubicBezTo>
                  <a:lnTo>
                    <a:pt x="65" y="42"/>
                  </a:lnTo>
                  <a:lnTo>
                    <a:pt x="68" y="42"/>
                  </a:lnTo>
                  <a:cubicBezTo>
                    <a:pt x="68" y="42"/>
                    <a:pt x="70" y="42"/>
                    <a:pt x="70" y="39"/>
                  </a:cubicBezTo>
                  <a:lnTo>
                    <a:pt x="70" y="48"/>
                  </a:lnTo>
                  <a:lnTo>
                    <a:pt x="76" y="48"/>
                  </a:lnTo>
                  <a:lnTo>
                    <a:pt x="76" y="42"/>
                  </a:lnTo>
                  <a:cubicBezTo>
                    <a:pt x="76" y="39"/>
                    <a:pt x="73" y="39"/>
                    <a:pt x="70" y="39"/>
                  </a:cubicBezTo>
                  <a:lnTo>
                    <a:pt x="68" y="39"/>
                  </a:lnTo>
                  <a:lnTo>
                    <a:pt x="65" y="39"/>
                  </a:lnTo>
                  <a:cubicBezTo>
                    <a:pt x="62" y="39"/>
                    <a:pt x="62" y="36"/>
                    <a:pt x="62" y="36"/>
                  </a:cubicBezTo>
                  <a:lnTo>
                    <a:pt x="59" y="34"/>
                  </a:lnTo>
                  <a:cubicBezTo>
                    <a:pt x="56" y="36"/>
                    <a:pt x="56" y="39"/>
                    <a:pt x="56" y="42"/>
                  </a:cubicBezTo>
                  <a:close/>
                  <a:moveTo>
                    <a:pt x="62" y="209"/>
                  </a:moveTo>
                  <a:cubicBezTo>
                    <a:pt x="62" y="209"/>
                    <a:pt x="62" y="211"/>
                    <a:pt x="59" y="211"/>
                  </a:cubicBezTo>
                  <a:lnTo>
                    <a:pt x="56" y="214"/>
                  </a:lnTo>
                  <a:cubicBezTo>
                    <a:pt x="56" y="214"/>
                    <a:pt x="59" y="217"/>
                    <a:pt x="62" y="217"/>
                  </a:cubicBezTo>
                  <a:lnTo>
                    <a:pt x="62" y="209"/>
                  </a:lnTo>
                  <a:close/>
                  <a:moveTo>
                    <a:pt x="59" y="225"/>
                  </a:moveTo>
                  <a:cubicBezTo>
                    <a:pt x="62" y="228"/>
                    <a:pt x="62" y="228"/>
                    <a:pt x="65" y="228"/>
                  </a:cubicBezTo>
                  <a:cubicBezTo>
                    <a:pt x="65" y="223"/>
                    <a:pt x="65" y="223"/>
                    <a:pt x="59" y="225"/>
                  </a:cubicBezTo>
                  <a:close/>
                  <a:moveTo>
                    <a:pt x="76" y="240"/>
                  </a:moveTo>
                  <a:lnTo>
                    <a:pt x="68" y="240"/>
                  </a:lnTo>
                  <a:cubicBezTo>
                    <a:pt x="65" y="237"/>
                    <a:pt x="62" y="240"/>
                    <a:pt x="59" y="242"/>
                  </a:cubicBezTo>
                  <a:lnTo>
                    <a:pt x="59" y="251"/>
                  </a:lnTo>
                  <a:lnTo>
                    <a:pt x="62" y="251"/>
                  </a:lnTo>
                  <a:lnTo>
                    <a:pt x="65" y="251"/>
                  </a:lnTo>
                  <a:lnTo>
                    <a:pt x="62" y="248"/>
                  </a:lnTo>
                  <a:lnTo>
                    <a:pt x="68" y="248"/>
                  </a:lnTo>
                  <a:lnTo>
                    <a:pt x="70" y="248"/>
                  </a:lnTo>
                  <a:cubicBezTo>
                    <a:pt x="73" y="248"/>
                    <a:pt x="73" y="248"/>
                    <a:pt x="76" y="245"/>
                  </a:cubicBezTo>
                  <a:cubicBezTo>
                    <a:pt x="73" y="242"/>
                    <a:pt x="76" y="240"/>
                    <a:pt x="76" y="240"/>
                  </a:cubicBezTo>
                  <a:close/>
                  <a:moveTo>
                    <a:pt x="65" y="257"/>
                  </a:moveTo>
                  <a:cubicBezTo>
                    <a:pt x="65" y="257"/>
                    <a:pt x="65" y="254"/>
                    <a:pt x="68" y="254"/>
                  </a:cubicBezTo>
                  <a:lnTo>
                    <a:pt x="65" y="254"/>
                  </a:lnTo>
                  <a:lnTo>
                    <a:pt x="62" y="254"/>
                  </a:lnTo>
                  <a:lnTo>
                    <a:pt x="62" y="262"/>
                  </a:lnTo>
                  <a:cubicBezTo>
                    <a:pt x="65" y="259"/>
                    <a:pt x="65" y="257"/>
                    <a:pt x="65" y="257"/>
                  </a:cubicBezTo>
                  <a:close/>
                  <a:moveTo>
                    <a:pt x="76" y="262"/>
                  </a:moveTo>
                  <a:lnTo>
                    <a:pt x="73" y="262"/>
                  </a:lnTo>
                  <a:lnTo>
                    <a:pt x="70" y="259"/>
                  </a:lnTo>
                  <a:lnTo>
                    <a:pt x="68" y="257"/>
                  </a:lnTo>
                  <a:cubicBezTo>
                    <a:pt x="68" y="257"/>
                    <a:pt x="68" y="259"/>
                    <a:pt x="65" y="259"/>
                  </a:cubicBezTo>
                  <a:lnTo>
                    <a:pt x="62" y="262"/>
                  </a:lnTo>
                  <a:lnTo>
                    <a:pt x="59" y="265"/>
                  </a:lnTo>
                  <a:cubicBezTo>
                    <a:pt x="59" y="265"/>
                    <a:pt x="62" y="265"/>
                    <a:pt x="62" y="268"/>
                  </a:cubicBezTo>
                  <a:cubicBezTo>
                    <a:pt x="65" y="268"/>
                    <a:pt x="65" y="271"/>
                    <a:pt x="68" y="273"/>
                  </a:cubicBezTo>
                  <a:cubicBezTo>
                    <a:pt x="73" y="268"/>
                    <a:pt x="73" y="265"/>
                    <a:pt x="76" y="262"/>
                  </a:cubicBezTo>
                  <a:close/>
                  <a:moveTo>
                    <a:pt x="65" y="211"/>
                  </a:moveTo>
                  <a:cubicBezTo>
                    <a:pt x="70" y="214"/>
                    <a:pt x="70" y="211"/>
                    <a:pt x="68" y="209"/>
                  </a:cubicBezTo>
                  <a:cubicBezTo>
                    <a:pt x="68" y="209"/>
                    <a:pt x="68" y="211"/>
                    <a:pt x="65" y="211"/>
                  </a:cubicBezTo>
                  <a:close/>
                  <a:moveTo>
                    <a:pt x="73" y="234"/>
                  </a:moveTo>
                  <a:cubicBezTo>
                    <a:pt x="70" y="231"/>
                    <a:pt x="70" y="231"/>
                    <a:pt x="68" y="231"/>
                  </a:cubicBezTo>
                  <a:lnTo>
                    <a:pt x="68" y="234"/>
                  </a:lnTo>
                  <a:lnTo>
                    <a:pt x="68" y="237"/>
                  </a:lnTo>
                  <a:cubicBezTo>
                    <a:pt x="70" y="237"/>
                    <a:pt x="70" y="234"/>
                    <a:pt x="73" y="234"/>
                  </a:cubicBezTo>
                  <a:close/>
                  <a:moveTo>
                    <a:pt x="76" y="313"/>
                  </a:moveTo>
                  <a:cubicBezTo>
                    <a:pt x="79" y="313"/>
                    <a:pt x="79" y="310"/>
                    <a:pt x="82" y="310"/>
                  </a:cubicBezTo>
                  <a:cubicBezTo>
                    <a:pt x="79" y="307"/>
                    <a:pt x="79" y="304"/>
                    <a:pt x="76" y="304"/>
                  </a:cubicBezTo>
                  <a:cubicBezTo>
                    <a:pt x="76" y="304"/>
                    <a:pt x="76" y="307"/>
                    <a:pt x="73" y="307"/>
                  </a:cubicBezTo>
                  <a:lnTo>
                    <a:pt x="70" y="313"/>
                  </a:lnTo>
                  <a:cubicBezTo>
                    <a:pt x="68" y="313"/>
                    <a:pt x="68" y="310"/>
                    <a:pt x="65" y="310"/>
                  </a:cubicBezTo>
                  <a:lnTo>
                    <a:pt x="65" y="313"/>
                  </a:lnTo>
                  <a:cubicBezTo>
                    <a:pt x="68" y="313"/>
                    <a:pt x="68" y="316"/>
                    <a:pt x="70" y="316"/>
                  </a:cubicBezTo>
                  <a:lnTo>
                    <a:pt x="73" y="316"/>
                  </a:lnTo>
                  <a:lnTo>
                    <a:pt x="79" y="316"/>
                  </a:lnTo>
                  <a:lnTo>
                    <a:pt x="76" y="313"/>
                  </a:lnTo>
                  <a:close/>
                  <a:moveTo>
                    <a:pt x="73" y="290"/>
                  </a:moveTo>
                  <a:lnTo>
                    <a:pt x="70" y="290"/>
                  </a:lnTo>
                  <a:lnTo>
                    <a:pt x="70" y="293"/>
                  </a:lnTo>
                  <a:cubicBezTo>
                    <a:pt x="73" y="293"/>
                    <a:pt x="73" y="290"/>
                    <a:pt x="73" y="290"/>
                  </a:cubicBezTo>
                  <a:close/>
                  <a:moveTo>
                    <a:pt x="68" y="302"/>
                  </a:moveTo>
                  <a:lnTo>
                    <a:pt x="70" y="302"/>
                  </a:lnTo>
                  <a:lnTo>
                    <a:pt x="70" y="296"/>
                  </a:lnTo>
                  <a:cubicBezTo>
                    <a:pt x="70" y="299"/>
                    <a:pt x="70" y="302"/>
                    <a:pt x="68" y="302"/>
                  </a:cubicBezTo>
                  <a:close/>
                  <a:moveTo>
                    <a:pt x="82" y="225"/>
                  </a:moveTo>
                  <a:lnTo>
                    <a:pt x="79" y="225"/>
                  </a:lnTo>
                  <a:cubicBezTo>
                    <a:pt x="76" y="225"/>
                    <a:pt x="73" y="223"/>
                    <a:pt x="70" y="223"/>
                  </a:cubicBezTo>
                  <a:lnTo>
                    <a:pt x="70" y="225"/>
                  </a:lnTo>
                  <a:lnTo>
                    <a:pt x="76" y="228"/>
                  </a:lnTo>
                  <a:cubicBezTo>
                    <a:pt x="79" y="225"/>
                    <a:pt x="79" y="225"/>
                    <a:pt x="82" y="225"/>
                  </a:cubicBezTo>
                  <a:close/>
                  <a:moveTo>
                    <a:pt x="70" y="338"/>
                  </a:moveTo>
                  <a:lnTo>
                    <a:pt x="73" y="338"/>
                  </a:lnTo>
                  <a:lnTo>
                    <a:pt x="73" y="333"/>
                  </a:lnTo>
                  <a:lnTo>
                    <a:pt x="73" y="330"/>
                  </a:lnTo>
                  <a:lnTo>
                    <a:pt x="73" y="327"/>
                  </a:lnTo>
                  <a:cubicBezTo>
                    <a:pt x="70" y="327"/>
                    <a:pt x="70" y="330"/>
                    <a:pt x="70" y="330"/>
                  </a:cubicBezTo>
                  <a:lnTo>
                    <a:pt x="68" y="330"/>
                  </a:lnTo>
                  <a:lnTo>
                    <a:pt x="70" y="338"/>
                  </a:lnTo>
                  <a:close/>
                  <a:moveTo>
                    <a:pt x="70" y="273"/>
                  </a:moveTo>
                  <a:lnTo>
                    <a:pt x="70" y="276"/>
                  </a:lnTo>
                  <a:cubicBezTo>
                    <a:pt x="73" y="276"/>
                    <a:pt x="73" y="276"/>
                    <a:pt x="73" y="273"/>
                  </a:cubicBezTo>
                  <a:cubicBezTo>
                    <a:pt x="73" y="273"/>
                    <a:pt x="70" y="271"/>
                    <a:pt x="70" y="273"/>
                  </a:cubicBezTo>
                  <a:close/>
                  <a:moveTo>
                    <a:pt x="82" y="288"/>
                  </a:moveTo>
                  <a:cubicBezTo>
                    <a:pt x="79" y="288"/>
                    <a:pt x="79" y="288"/>
                    <a:pt x="79" y="285"/>
                  </a:cubicBezTo>
                  <a:lnTo>
                    <a:pt x="76" y="285"/>
                  </a:lnTo>
                  <a:cubicBezTo>
                    <a:pt x="79" y="282"/>
                    <a:pt x="76" y="282"/>
                    <a:pt x="73" y="282"/>
                  </a:cubicBezTo>
                  <a:lnTo>
                    <a:pt x="70" y="282"/>
                  </a:lnTo>
                  <a:lnTo>
                    <a:pt x="70" y="285"/>
                  </a:lnTo>
                  <a:lnTo>
                    <a:pt x="73" y="285"/>
                  </a:lnTo>
                  <a:lnTo>
                    <a:pt x="73" y="288"/>
                  </a:lnTo>
                  <a:lnTo>
                    <a:pt x="82" y="288"/>
                  </a:lnTo>
                  <a:close/>
                  <a:moveTo>
                    <a:pt x="73" y="28"/>
                  </a:moveTo>
                  <a:cubicBezTo>
                    <a:pt x="76" y="34"/>
                    <a:pt x="79" y="36"/>
                    <a:pt x="79" y="39"/>
                  </a:cubicBezTo>
                  <a:lnTo>
                    <a:pt x="82" y="39"/>
                  </a:lnTo>
                  <a:lnTo>
                    <a:pt x="85" y="42"/>
                  </a:lnTo>
                  <a:lnTo>
                    <a:pt x="85" y="36"/>
                  </a:lnTo>
                  <a:lnTo>
                    <a:pt x="85" y="31"/>
                  </a:lnTo>
                  <a:lnTo>
                    <a:pt x="82" y="28"/>
                  </a:lnTo>
                  <a:lnTo>
                    <a:pt x="79" y="25"/>
                  </a:lnTo>
                  <a:cubicBezTo>
                    <a:pt x="79" y="22"/>
                    <a:pt x="82" y="22"/>
                    <a:pt x="82" y="20"/>
                  </a:cubicBezTo>
                  <a:lnTo>
                    <a:pt x="79" y="22"/>
                  </a:lnTo>
                  <a:cubicBezTo>
                    <a:pt x="79" y="22"/>
                    <a:pt x="76" y="22"/>
                    <a:pt x="76" y="25"/>
                  </a:cubicBezTo>
                  <a:lnTo>
                    <a:pt x="73" y="25"/>
                  </a:lnTo>
                  <a:lnTo>
                    <a:pt x="73" y="28"/>
                  </a:lnTo>
                  <a:close/>
                  <a:moveTo>
                    <a:pt x="76" y="327"/>
                  </a:moveTo>
                  <a:cubicBezTo>
                    <a:pt x="76" y="330"/>
                    <a:pt x="79" y="330"/>
                    <a:pt x="82" y="327"/>
                  </a:cubicBezTo>
                  <a:cubicBezTo>
                    <a:pt x="79" y="327"/>
                    <a:pt x="79" y="324"/>
                    <a:pt x="79" y="324"/>
                  </a:cubicBezTo>
                  <a:cubicBezTo>
                    <a:pt x="79" y="321"/>
                    <a:pt x="76" y="321"/>
                    <a:pt x="73" y="324"/>
                  </a:cubicBezTo>
                  <a:cubicBezTo>
                    <a:pt x="76" y="324"/>
                    <a:pt x="76" y="324"/>
                    <a:pt x="76" y="327"/>
                  </a:cubicBezTo>
                  <a:close/>
                  <a:moveTo>
                    <a:pt x="85" y="248"/>
                  </a:moveTo>
                  <a:lnTo>
                    <a:pt x="85" y="245"/>
                  </a:lnTo>
                  <a:lnTo>
                    <a:pt x="76" y="245"/>
                  </a:lnTo>
                  <a:cubicBezTo>
                    <a:pt x="76" y="248"/>
                    <a:pt x="79" y="251"/>
                    <a:pt x="79" y="251"/>
                  </a:cubicBezTo>
                  <a:cubicBezTo>
                    <a:pt x="82" y="251"/>
                    <a:pt x="85" y="251"/>
                    <a:pt x="85" y="254"/>
                  </a:cubicBezTo>
                  <a:lnTo>
                    <a:pt x="85" y="248"/>
                  </a:lnTo>
                  <a:close/>
                  <a:moveTo>
                    <a:pt x="79" y="237"/>
                  </a:moveTo>
                  <a:lnTo>
                    <a:pt x="79" y="240"/>
                  </a:lnTo>
                  <a:cubicBezTo>
                    <a:pt x="79" y="240"/>
                    <a:pt x="79" y="242"/>
                    <a:pt x="82" y="242"/>
                  </a:cubicBezTo>
                  <a:cubicBezTo>
                    <a:pt x="85" y="240"/>
                    <a:pt x="87" y="240"/>
                    <a:pt x="90" y="240"/>
                  </a:cubicBezTo>
                  <a:cubicBezTo>
                    <a:pt x="93" y="240"/>
                    <a:pt x="93" y="240"/>
                    <a:pt x="96" y="237"/>
                  </a:cubicBezTo>
                  <a:lnTo>
                    <a:pt x="87" y="234"/>
                  </a:lnTo>
                  <a:cubicBezTo>
                    <a:pt x="85" y="234"/>
                    <a:pt x="82" y="237"/>
                    <a:pt x="79" y="237"/>
                  </a:cubicBezTo>
                  <a:close/>
                  <a:moveTo>
                    <a:pt x="82" y="352"/>
                  </a:moveTo>
                  <a:cubicBezTo>
                    <a:pt x="82" y="352"/>
                    <a:pt x="85" y="355"/>
                    <a:pt x="85" y="358"/>
                  </a:cubicBezTo>
                  <a:lnTo>
                    <a:pt x="87" y="355"/>
                  </a:lnTo>
                  <a:lnTo>
                    <a:pt x="85" y="352"/>
                  </a:lnTo>
                  <a:lnTo>
                    <a:pt x="82" y="350"/>
                  </a:lnTo>
                  <a:lnTo>
                    <a:pt x="85" y="347"/>
                  </a:lnTo>
                  <a:lnTo>
                    <a:pt x="82" y="347"/>
                  </a:lnTo>
                  <a:cubicBezTo>
                    <a:pt x="82" y="347"/>
                    <a:pt x="82" y="349"/>
                    <a:pt x="80" y="349"/>
                  </a:cubicBezTo>
                  <a:cubicBezTo>
                    <a:pt x="81" y="350"/>
                    <a:pt x="82" y="351"/>
                    <a:pt x="82" y="352"/>
                  </a:cubicBezTo>
                  <a:close/>
                  <a:moveTo>
                    <a:pt x="82" y="420"/>
                  </a:moveTo>
                  <a:lnTo>
                    <a:pt x="87" y="426"/>
                  </a:lnTo>
                  <a:lnTo>
                    <a:pt x="87" y="420"/>
                  </a:lnTo>
                  <a:lnTo>
                    <a:pt x="82" y="420"/>
                  </a:lnTo>
                  <a:close/>
                  <a:moveTo>
                    <a:pt x="87" y="431"/>
                  </a:moveTo>
                  <a:lnTo>
                    <a:pt x="90" y="431"/>
                  </a:lnTo>
                  <a:lnTo>
                    <a:pt x="90" y="429"/>
                  </a:lnTo>
                  <a:lnTo>
                    <a:pt x="82" y="429"/>
                  </a:lnTo>
                  <a:lnTo>
                    <a:pt x="87" y="431"/>
                  </a:lnTo>
                  <a:close/>
                  <a:moveTo>
                    <a:pt x="93" y="381"/>
                  </a:moveTo>
                  <a:cubicBezTo>
                    <a:pt x="93" y="378"/>
                    <a:pt x="90" y="378"/>
                    <a:pt x="90" y="378"/>
                  </a:cubicBezTo>
                  <a:lnTo>
                    <a:pt x="85" y="381"/>
                  </a:lnTo>
                  <a:lnTo>
                    <a:pt x="93" y="381"/>
                  </a:lnTo>
                  <a:close/>
                  <a:moveTo>
                    <a:pt x="90" y="245"/>
                  </a:moveTo>
                  <a:cubicBezTo>
                    <a:pt x="87" y="248"/>
                    <a:pt x="90" y="251"/>
                    <a:pt x="90" y="251"/>
                  </a:cubicBezTo>
                  <a:lnTo>
                    <a:pt x="90" y="245"/>
                  </a:lnTo>
                  <a:close/>
                  <a:moveTo>
                    <a:pt x="87" y="31"/>
                  </a:moveTo>
                  <a:cubicBezTo>
                    <a:pt x="90" y="31"/>
                    <a:pt x="90" y="31"/>
                    <a:pt x="90" y="28"/>
                  </a:cubicBezTo>
                  <a:lnTo>
                    <a:pt x="87" y="31"/>
                  </a:lnTo>
                  <a:close/>
                  <a:moveTo>
                    <a:pt x="90" y="254"/>
                  </a:moveTo>
                  <a:cubicBezTo>
                    <a:pt x="87" y="254"/>
                    <a:pt x="87" y="257"/>
                    <a:pt x="87" y="257"/>
                  </a:cubicBezTo>
                  <a:cubicBezTo>
                    <a:pt x="90" y="257"/>
                    <a:pt x="90" y="257"/>
                    <a:pt x="90" y="254"/>
                  </a:cubicBezTo>
                  <a:close/>
                  <a:moveTo>
                    <a:pt x="90" y="447"/>
                  </a:moveTo>
                  <a:lnTo>
                    <a:pt x="90" y="450"/>
                  </a:lnTo>
                  <a:lnTo>
                    <a:pt x="93" y="450"/>
                  </a:lnTo>
                  <a:lnTo>
                    <a:pt x="93" y="447"/>
                  </a:lnTo>
                  <a:lnTo>
                    <a:pt x="90" y="447"/>
                  </a:lnTo>
                  <a:close/>
                  <a:moveTo>
                    <a:pt x="93" y="406"/>
                  </a:moveTo>
                  <a:lnTo>
                    <a:pt x="93" y="400"/>
                  </a:lnTo>
                  <a:lnTo>
                    <a:pt x="90" y="400"/>
                  </a:lnTo>
                  <a:cubicBezTo>
                    <a:pt x="93" y="403"/>
                    <a:pt x="93" y="406"/>
                    <a:pt x="93" y="406"/>
                  </a:cubicBezTo>
                  <a:close/>
                  <a:moveTo>
                    <a:pt x="102" y="254"/>
                  </a:moveTo>
                  <a:cubicBezTo>
                    <a:pt x="102" y="251"/>
                    <a:pt x="102" y="251"/>
                    <a:pt x="100" y="251"/>
                  </a:cubicBezTo>
                  <a:cubicBezTo>
                    <a:pt x="99" y="254"/>
                    <a:pt x="99" y="254"/>
                    <a:pt x="102" y="254"/>
                  </a:cubicBezTo>
                  <a:close/>
                  <a:moveTo>
                    <a:pt x="99" y="245"/>
                  </a:moveTo>
                  <a:lnTo>
                    <a:pt x="96" y="245"/>
                  </a:lnTo>
                  <a:cubicBezTo>
                    <a:pt x="93" y="248"/>
                    <a:pt x="93" y="252"/>
                    <a:pt x="99" y="250"/>
                  </a:cubicBezTo>
                  <a:lnTo>
                    <a:pt x="99" y="245"/>
                  </a:lnTo>
                  <a:close/>
                  <a:moveTo>
                    <a:pt x="99" y="456"/>
                  </a:moveTo>
                  <a:cubicBezTo>
                    <a:pt x="96" y="456"/>
                    <a:pt x="93" y="459"/>
                    <a:pt x="93" y="459"/>
                  </a:cubicBezTo>
                  <a:lnTo>
                    <a:pt x="99" y="459"/>
                  </a:lnTo>
                  <a:lnTo>
                    <a:pt x="99" y="456"/>
                  </a:lnTo>
                  <a:close/>
                  <a:moveTo>
                    <a:pt x="99" y="445"/>
                  </a:moveTo>
                  <a:cubicBezTo>
                    <a:pt x="99" y="445"/>
                    <a:pt x="96" y="446"/>
                    <a:pt x="96" y="443"/>
                  </a:cubicBezTo>
                  <a:lnTo>
                    <a:pt x="96" y="445"/>
                  </a:lnTo>
                  <a:cubicBezTo>
                    <a:pt x="96" y="447"/>
                    <a:pt x="99" y="447"/>
                    <a:pt x="99" y="445"/>
                  </a:cubicBezTo>
                  <a:close/>
                  <a:moveTo>
                    <a:pt x="102" y="440"/>
                  </a:moveTo>
                  <a:lnTo>
                    <a:pt x="99" y="443"/>
                  </a:lnTo>
                  <a:lnTo>
                    <a:pt x="102" y="446"/>
                  </a:lnTo>
                  <a:cubicBezTo>
                    <a:pt x="102" y="443"/>
                    <a:pt x="104" y="443"/>
                    <a:pt x="104" y="440"/>
                  </a:cubicBezTo>
                  <a:cubicBezTo>
                    <a:pt x="104" y="437"/>
                    <a:pt x="107" y="437"/>
                    <a:pt x="107" y="434"/>
                  </a:cubicBezTo>
                  <a:lnTo>
                    <a:pt x="99" y="434"/>
                  </a:lnTo>
                  <a:lnTo>
                    <a:pt x="100" y="438"/>
                  </a:lnTo>
                  <a:cubicBezTo>
                    <a:pt x="101" y="438"/>
                    <a:pt x="102" y="438"/>
                    <a:pt x="102" y="440"/>
                  </a:cubicBezTo>
                  <a:close/>
                  <a:moveTo>
                    <a:pt x="107" y="447"/>
                  </a:moveTo>
                  <a:lnTo>
                    <a:pt x="102" y="447"/>
                  </a:lnTo>
                  <a:lnTo>
                    <a:pt x="102" y="450"/>
                  </a:lnTo>
                  <a:lnTo>
                    <a:pt x="107" y="447"/>
                  </a:lnTo>
                  <a:close/>
                  <a:moveTo>
                    <a:pt x="104" y="443"/>
                  </a:moveTo>
                  <a:lnTo>
                    <a:pt x="110" y="447"/>
                  </a:lnTo>
                  <a:lnTo>
                    <a:pt x="110" y="446"/>
                  </a:lnTo>
                  <a:lnTo>
                    <a:pt x="110" y="443"/>
                  </a:lnTo>
                  <a:cubicBezTo>
                    <a:pt x="107" y="440"/>
                    <a:pt x="107" y="443"/>
                    <a:pt x="104" y="443"/>
                  </a:cubicBezTo>
                  <a:close/>
                  <a:moveTo>
                    <a:pt x="121" y="456"/>
                  </a:moveTo>
                  <a:lnTo>
                    <a:pt x="121" y="459"/>
                  </a:lnTo>
                  <a:cubicBezTo>
                    <a:pt x="118" y="456"/>
                    <a:pt x="113" y="453"/>
                    <a:pt x="110" y="450"/>
                  </a:cubicBezTo>
                  <a:cubicBezTo>
                    <a:pt x="110" y="450"/>
                    <a:pt x="110" y="453"/>
                    <a:pt x="113" y="453"/>
                  </a:cubicBezTo>
                  <a:lnTo>
                    <a:pt x="113" y="461"/>
                  </a:lnTo>
                  <a:cubicBezTo>
                    <a:pt x="113" y="459"/>
                    <a:pt x="116" y="459"/>
                    <a:pt x="116" y="459"/>
                  </a:cubicBezTo>
                  <a:lnTo>
                    <a:pt x="116" y="456"/>
                  </a:lnTo>
                  <a:cubicBezTo>
                    <a:pt x="116" y="456"/>
                    <a:pt x="118" y="456"/>
                    <a:pt x="121" y="459"/>
                  </a:cubicBezTo>
                  <a:cubicBezTo>
                    <a:pt x="124" y="461"/>
                    <a:pt x="127" y="459"/>
                    <a:pt x="127" y="456"/>
                  </a:cubicBezTo>
                  <a:lnTo>
                    <a:pt x="121" y="456"/>
                  </a:lnTo>
                  <a:close/>
                  <a:moveTo>
                    <a:pt x="118" y="443"/>
                  </a:moveTo>
                  <a:lnTo>
                    <a:pt x="116" y="443"/>
                  </a:lnTo>
                  <a:cubicBezTo>
                    <a:pt x="116" y="445"/>
                    <a:pt x="116" y="445"/>
                    <a:pt x="118" y="443"/>
                  </a:cubicBezTo>
                  <a:cubicBezTo>
                    <a:pt x="116" y="446"/>
                    <a:pt x="118" y="445"/>
                    <a:pt x="118" y="447"/>
                  </a:cubicBezTo>
                  <a:lnTo>
                    <a:pt x="116" y="447"/>
                  </a:lnTo>
                  <a:lnTo>
                    <a:pt x="113" y="447"/>
                  </a:lnTo>
                  <a:lnTo>
                    <a:pt x="116" y="450"/>
                  </a:lnTo>
                  <a:cubicBezTo>
                    <a:pt x="121" y="450"/>
                    <a:pt x="121" y="445"/>
                    <a:pt x="118" y="443"/>
                  </a:cubicBezTo>
                  <a:close/>
                  <a:moveTo>
                    <a:pt x="138" y="445"/>
                  </a:moveTo>
                  <a:cubicBezTo>
                    <a:pt x="138" y="445"/>
                    <a:pt x="135" y="445"/>
                    <a:pt x="138" y="445"/>
                  </a:cubicBezTo>
                  <a:lnTo>
                    <a:pt x="135" y="450"/>
                  </a:lnTo>
                  <a:cubicBezTo>
                    <a:pt x="141" y="450"/>
                    <a:pt x="138" y="447"/>
                    <a:pt x="138" y="445"/>
                  </a:cubicBezTo>
                  <a:close/>
                  <a:moveTo>
                    <a:pt x="144" y="445"/>
                  </a:moveTo>
                  <a:cubicBezTo>
                    <a:pt x="144" y="450"/>
                    <a:pt x="147" y="453"/>
                    <a:pt x="149" y="456"/>
                  </a:cubicBezTo>
                  <a:cubicBezTo>
                    <a:pt x="152" y="450"/>
                    <a:pt x="149" y="447"/>
                    <a:pt x="144" y="445"/>
                  </a:cubicBezTo>
                  <a:close/>
                  <a:moveTo>
                    <a:pt x="164" y="445"/>
                  </a:moveTo>
                  <a:lnTo>
                    <a:pt x="158" y="445"/>
                  </a:lnTo>
                  <a:lnTo>
                    <a:pt x="158" y="447"/>
                  </a:lnTo>
                  <a:lnTo>
                    <a:pt x="158" y="450"/>
                  </a:lnTo>
                  <a:lnTo>
                    <a:pt x="155" y="453"/>
                  </a:lnTo>
                  <a:cubicBezTo>
                    <a:pt x="158" y="453"/>
                    <a:pt x="158" y="456"/>
                    <a:pt x="161" y="456"/>
                  </a:cubicBezTo>
                  <a:cubicBezTo>
                    <a:pt x="161" y="450"/>
                    <a:pt x="161" y="447"/>
                    <a:pt x="164" y="44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721962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brick back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0" y="1709739"/>
            <a:ext cx="10515600" cy="2317317"/>
          </a:xfrm>
        </p:spPr>
        <p:txBody>
          <a:bodyPr anchor="b">
            <a:normAutofit/>
          </a:bodyPr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048220"/>
            <a:ext cx="10515600" cy="1136072"/>
          </a:xfrm>
        </p:spPr>
        <p:txBody>
          <a:bodyPr>
            <a:normAutofit/>
          </a:bodyPr>
          <a:lstStyle>
            <a:lvl1pPr marL="0" indent="0" algn="ctr">
              <a:buNone/>
              <a:defRPr sz="4399">
                <a:solidFill>
                  <a:schemeClr val="accent3"/>
                </a:solidFill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049" b="22472"/>
          <a:stretch/>
        </p:blipFill>
        <p:spPr>
          <a:xfrm>
            <a:off x="10212900" y="4760756"/>
            <a:ext cx="1988727" cy="2105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69338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sk charcoal backg BIG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591126" y="1644074"/>
            <a:ext cx="10515600" cy="1558929"/>
          </a:xfrm>
        </p:spPr>
        <p:txBody>
          <a:bodyPr anchor="b">
            <a:normAutofit/>
          </a:bodyPr>
          <a:lstStyle>
            <a:lvl1pPr marL="0" indent="0" algn="l">
              <a:buNone/>
              <a:defRPr sz="3999" b="0" i="0">
                <a:solidFill>
                  <a:schemeClr val="accent3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91126" y="3823857"/>
            <a:ext cx="8701088" cy="2466109"/>
          </a:xfrm>
        </p:spPr>
        <p:txBody>
          <a:bodyPr>
            <a:normAutofit/>
          </a:bodyPr>
          <a:lstStyle>
            <a:lvl1pPr marL="0" indent="0">
              <a:buNone/>
              <a:defRPr sz="2399" b="0" i="0">
                <a:latin typeface="Calibri Light" charset="0"/>
                <a:ea typeface="Calibri Light" charset="0"/>
                <a:cs typeface="Calibri Light" charset="0"/>
              </a:defRPr>
            </a:lvl1pPr>
            <a:lvl2pPr marL="457063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2pPr>
            <a:lvl3pPr marL="914126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3pPr>
            <a:lvl4pPr marL="1371189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4pPr>
            <a:lvl5pPr marL="1828251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049" b="22472"/>
          <a:stretch/>
        </p:blipFill>
        <p:spPr>
          <a:xfrm>
            <a:off x="10212900" y="4760756"/>
            <a:ext cx="1988727" cy="2105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23606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sk brick backg BIG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591126" y="1644074"/>
            <a:ext cx="10515600" cy="1558929"/>
          </a:xfrm>
        </p:spPr>
        <p:txBody>
          <a:bodyPr anchor="b">
            <a:normAutofit/>
          </a:bodyPr>
          <a:lstStyle>
            <a:lvl1pPr marL="0" indent="0" algn="l">
              <a:buNone/>
              <a:defRPr sz="3999" b="0" i="0">
                <a:solidFill>
                  <a:schemeClr val="accent3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91126" y="3823857"/>
            <a:ext cx="8701088" cy="2466109"/>
          </a:xfrm>
        </p:spPr>
        <p:txBody>
          <a:bodyPr>
            <a:normAutofit/>
          </a:bodyPr>
          <a:lstStyle>
            <a:lvl1pPr marL="0" indent="0">
              <a:buNone/>
              <a:defRPr sz="2399" b="0" i="0">
                <a:latin typeface="Calibri Light" charset="0"/>
                <a:ea typeface="Calibri Light" charset="0"/>
                <a:cs typeface="Calibri Light" charset="0"/>
              </a:defRPr>
            </a:lvl1pPr>
            <a:lvl2pPr marL="457063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2pPr>
            <a:lvl3pPr marL="914126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3pPr>
            <a:lvl4pPr marL="1371189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4pPr>
            <a:lvl5pPr marL="1828251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5400000">
            <a:off x="11122799" y="948631"/>
            <a:ext cx="1499468" cy="240099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accent6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FFFFFF"/>
                </a:solidFill>
              </a:rPr>
              <a:t>© </a:t>
            </a:r>
            <a:r>
              <a:rPr lang="en-US" sz="900" b="1">
                <a:solidFill>
                  <a:srgbClr val="FFFFFF"/>
                </a:solidFill>
              </a:rPr>
              <a:t>COOKHOUSE LAB </a:t>
            </a:r>
            <a:r>
              <a:rPr lang="en-US" sz="900">
                <a:solidFill>
                  <a:srgbClr val="FFF200"/>
                </a:solidFill>
              </a:rPr>
              <a:t>2019</a:t>
            </a:r>
            <a:r>
              <a:rPr lang="en-US" sz="900">
                <a:solidFill>
                  <a:srgbClr val="00546F"/>
                </a:solidFill>
              </a:rPr>
              <a:t>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049" b="22472"/>
          <a:stretch/>
        </p:blipFill>
        <p:spPr>
          <a:xfrm>
            <a:off x="9548264" y="4057195"/>
            <a:ext cx="2653364" cy="280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1545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56701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3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72491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2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31951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399" b="1">
                <a:solidFill>
                  <a:schemeClr val="bg2"/>
                </a:solidFill>
              </a:defRPr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99" b="1">
                <a:solidFill>
                  <a:schemeClr val="bg2"/>
                </a:solidFill>
              </a:defRPr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91126" y="324000"/>
            <a:ext cx="10762673" cy="47538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989601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Summary big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>
          <a:xfrm>
            <a:off x="6099585" y="0"/>
            <a:ext cx="6091684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>
              <a:solidFill>
                <a:srgbClr val="E7E6E6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91126" y="324000"/>
            <a:ext cx="10762673" cy="47538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91129" y="852495"/>
            <a:ext cx="5884978" cy="2841746"/>
          </a:xfrm>
        </p:spPr>
        <p:txBody>
          <a:bodyPr lIns="0" anchor="b">
            <a:noAutofit/>
          </a:bodyPr>
          <a:lstStyle>
            <a:lvl1pPr marL="0" indent="0">
              <a:lnSpc>
                <a:spcPts val="4619"/>
              </a:lnSpc>
              <a:buNone/>
              <a:defRPr sz="3599" b="1">
                <a:solidFill>
                  <a:schemeClr val="bg1"/>
                </a:solidFill>
              </a:defRPr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91126" y="3943010"/>
            <a:ext cx="5884979" cy="234695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799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063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2pPr>
            <a:lvl3pPr marL="914126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3pPr>
            <a:lvl4pPr marL="1371189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4pPr>
            <a:lvl5pPr marL="1828251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049" b="22472"/>
          <a:stretch/>
        </p:blipFill>
        <p:spPr>
          <a:xfrm>
            <a:off x="10827028" y="5410850"/>
            <a:ext cx="1374599" cy="1455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33131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8199" y="2893123"/>
            <a:ext cx="10515600" cy="1136072"/>
          </a:xfrm>
        </p:spPr>
        <p:txBody>
          <a:bodyPr>
            <a:normAutofit/>
          </a:bodyPr>
          <a:lstStyle>
            <a:lvl1pPr marL="0" indent="0" algn="ctr">
              <a:buNone/>
              <a:defRPr sz="4799">
                <a:solidFill>
                  <a:schemeClr val="bg1"/>
                </a:solidFill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12418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aboration dar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/>
          <p:cNvGrpSpPr>
            <a:grpSpLocks noChangeAspect="1"/>
          </p:cNvGrpSpPr>
          <p:nvPr userDrawn="1"/>
        </p:nvGrpSpPr>
        <p:grpSpPr>
          <a:xfrm>
            <a:off x="6274351" y="2297397"/>
            <a:ext cx="2614820" cy="2603251"/>
            <a:chOff x="3587750" y="2038350"/>
            <a:chExt cx="1076325" cy="1071563"/>
          </a:xfrm>
        </p:grpSpPr>
        <p:sp>
          <p:nvSpPr>
            <p:cNvPr id="43" name="Freeform 1"/>
            <p:cNvSpPr>
              <a:spLocks noChangeArrowheads="1"/>
            </p:cNvSpPr>
            <p:nvPr/>
          </p:nvSpPr>
          <p:spPr bwMode="auto">
            <a:xfrm>
              <a:off x="4298950" y="2070100"/>
              <a:ext cx="3175" cy="4763"/>
            </a:xfrm>
            <a:custGeom>
              <a:avLst/>
              <a:gdLst>
                <a:gd name="T0" fmla="*/ 9 w 10"/>
                <a:gd name="T1" fmla="*/ 12 h 15"/>
                <a:gd name="T2" fmla="*/ 9 w 10"/>
                <a:gd name="T3" fmla="*/ 6 h 15"/>
                <a:gd name="T4" fmla="*/ 0 w 10"/>
                <a:gd name="T5" fmla="*/ 0 h 15"/>
                <a:gd name="T6" fmla="*/ 9 w 10"/>
                <a:gd name="T7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5">
                  <a:moveTo>
                    <a:pt x="9" y="12"/>
                  </a:moveTo>
                  <a:cubicBezTo>
                    <a:pt x="9" y="9"/>
                    <a:pt x="9" y="9"/>
                    <a:pt x="9" y="6"/>
                  </a:cubicBezTo>
                  <a:cubicBezTo>
                    <a:pt x="6" y="3"/>
                    <a:pt x="3" y="0"/>
                    <a:pt x="0" y="0"/>
                  </a:cubicBezTo>
                  <a:cubicBezTo>
                    <a:pt x="3" y="9"/>
                    <a:pt x="3" y="14"/>
                    <a:pt x="9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" name="Freeform 2"/>
            <p:cNvSpPr>
              <a:spLocks noChangeArrowheads="1"/>
            </p:cNvSpPr>
            <p:nvPr/>
          </p:nvSpPr>
          <p:spPr bwMode="auto">
            <a:xfrm>
              <a:off x="3590925" y="2038350"/>
              <a:ext cx="1073150" cy="1071563"/>
            </a:xfrm>
            <a:custGeom>
              <a:avLst/>
              <a:gdLst>
                <a:gd name="T0" fmla="*/ 2858 w 2983"/>
                <a:gd name="T1" fmla="*/ 985 h 2976"/>
                <a:gd name="T2" fmla="*/ 2787 w 2983"/>
                <a:gd name="T3" fmla="*/ 815 h 2976"/>
                <a:gd name="T4" fmla="*/ 2612 w 2983"/>
                <a:gd name="T5" fmla="*/ 561 h 2976"/>
                <a:gd name="T6" fmla="*/ 2423 w 2983"/>
                <a:gd name="T7" fmla="*/ 367 h 2976"/>
                <a:gd name="T8" fmla="*/ 2118 w 2983"/>
                <a:gd name="T9" fmla="*/ 167 h 2976"/>
                <a:gd name="T10" fmla="*/ 1867 w 2983"/>
                <a:gd name="T11" fmla="*/ 82 h 2976"/>
                <a:gd name="T12" fmla="*/ 1625 w 2983"/>
                <a:gd name="T13" fmla="*/ 17 h 2976"/>
                <a:gd name="T14" fmla="*/ 1321 w 2983"/>
                <a:gd name="T15" fmla="*/ 11 h 2976"/>
                <a:gd name="T16" fmla="*/ 934 w 2983"/>
                <a:gd name="T17" fmla="*/ 150 h 2976"/>
                <a:gd name="T18" fmla="*/ 737 w 2983"/>
                <a:gd name="T19" fmla="*/ 246 h 2976"/>
                <a:gd name="T20" fmla="*/ 464 w 2983"/>
                <a:gd name="T21" fmla="*/ 462 h 2976"/>
                <a:gd name="T22" fmla="*/ 378 w 2983"/>
                <a:gd name="T23" fmla="*/ 553 h 2976"/>
                <a:gd name="T24" fmla="*/ 204 w 2983"/>
                <a:gd name="T25" fmla="*/ 796 h 2976"/>
                <a:gd name="T26" fmla="*/ 127 w 2983"/>
                <a:gd name="T27" fmla="*/ 965 h 2976"/>
                <a:gd name="T28" fmla="*/ 40 w 2983"/>
                <a:gd name="T29" fmla="*/ 1298 h 2976"/>
                <a:gd name="T30" fmla="*/ 29 w 2983"/>
                <a:gd name="T31" fmla="*/ 1547 h 2976"/>
                <a:gd name="T32" fmla="*/ 29 w 2983"/>
                <a:gd name="T33" fmla="*/ 1796 h 2976"/>
                <a:gd name="T34" fmla="*/ 119 w 2983"/>
                <a:gd name="T35" fmla="*/ 2002 h 2976"/>
                <a:gd name="T36" fmla="*/ 195 w 2983"/>
                <a:gd name="T37" fmla="*/ 2180 h 2976"/>
                <a:gd name="T38" fmla="*/ 266 w 2983"/>
                <a:gd name="T39" fmla="*/ 2284 h 2976"/>
                <a:gd name="T40" fmla="*/ 336 w 2983"/>
                <a:gd name="T41" fmla="*/ 2405 h 2976"/>
                <a:gd name="T42" fmla="*/ 460 w 2983"/>
                <a:gd name="T43" fmla="*/ 2543 h 2976"/>
                <a:gd name="T44" fmla="*/ 700 w 2983"/>
                <a:gd name="T45" fmla="*/ 2718 h 2976"/>
                <a:gd name="T46" fmla="*/ 884 w 2983"/>
                <a:gd name="T47" fmla="*/ 2848 h 2976"/>
                <a:gd name="T48" fmla="*/ 1109 w 2983"/>
                <a:gd name="T49" fmla="*/ 2907 h 2976"/>
                <a:gd name="T50" fmla="*/ 1462 w 2983"/>
                <a:gd name="T51" fmla="*/ 2964 h 2976"/>
                <a:gd name="T52" fmla="*/ 1673 w 2983"/>
                <a:gd name="T53" fmla="*/ 2953 h 2976"/>
                <a:gd name="T54" fmla="*/ 2008 w 2983"/>
                <a:gd name="T55" fmla="*/ 2868 h 2976"/>
                <a:gd name="T56" fmla="*/ 2324 w 2983"/>
                <a:gd name="T57" fmla="*/ 2704 h 2976"/>
                <a:gd name="T58" fmla="*/ 2513 w 2983"/>
                <a:gd name="T59" fmla="*/ 2543 h 2976"/>
                <a:gd name="T60" fmla="*/ 2632 w 2983"/>
                <a:gd name="T61" fmla="*/ 2405 h 2976"/>
                <a:gd name="T62" fmla="*/ 2846 w 2983"/>
                <a:gd name="T63" fmla="*/ 2072 h 2976"/>
                <a:gd name="T64" fmla="*/ 2897 w 2983"/>
                <a:gd name="T65" fmla="*/ 1923 h 2976"/>
                <a:gd name="T66" fmla="*/ 2920 w 2983"/>
                <a:gd name="T67" fmla="*/ 1816 h 2976"/>
                <a:gd name="T68" fmla="*/ 2934 w 2983"/>
                <a:gd name="T69" fmla="*/ 1607 h 2976"/>
                <a:gd name="T70" fmla="*/ 2859 w 2983"/>
                <a:gd name="T71" fmla="*/ 971 h 2976"/>
                <a:gd name="T72" fmla="*/ 464 w 2983"/>
                <a:gd name="T73" fmla="*/ 462 h 2976"/>
                <a:gd name="T74" fmla="*/ 184 w 2983"/>
                <a:gd name="T75" fmla="*/ 832 h 2976"/>
                <a:gd name="T76" fmla="*/ 23 w 2983"/>
                <a:gd name="T77" fmla="*/ 1542 h 2976"/>
                <a:gd name="T78" fmla="*/ 6 w 2983"/>
                <a:gd name="T79" fmla="*/ 1627 h 2976"/>
                <a:gd name="T80" fmla="*/ 283 w 2983"/>
                <a:gd name="T81" fmla="*/ 2354 h 2976"/>
                <a:gd name="T82" fmla="*/ 1687 w 2983"/>
                <a:gd name="T83" fmla="*/ 2953 h 2976"/>
                <a:gd name="T84" fmla="*/ 2930 w 2983"/>
                <a:gd name="T85" fmla="*/ 1823 h 2976"/>
                <a:gd name="T86" fmla="*/ 85 w 2983"/>
                <a:gd name="T87" fmla="*/ 1824 h 2976"/>
                <a:gd name="T88" fmla="*/ 297 w 2983"/>
                <a:gd name="T89" fmla="*/ 649 h 2976"/>
                <a:gd name="T90" fmla="*/ 57 w 2983"/>
                <a:gd name="T91" fmla="*/ 1576 h 2976"/>
                <a:gd name="T92" fmla="*/ 277 w 2983"/>
                <a:gd name="T93" fmla="*/ 2222 h 2976"/>
                <a:gd name="T94" fmla="*/ 915 w 2983"/>
                <a:gd name="T95" fmla="*/ 2828 h 2976"/>
                <a:gd name="T96" fmla="*/ 2869 w 2983"/>
                <a:gd name="T97" fmla="*/ 1979 h 2976"/>
                <a:gd name="T98" fmla="*/ 2561 w 2983"/>
                <a:gd name="T99" fmla="*/ 494 h 2976"/>
                <a:gd name="T100" fmla="*/ 2550 w 2983"/>
                <a:gd name="T101" fmla="*/ 488 h 2976"/>
                <a:gd name="T102" fmla="*/ 1817 w 2983"/>
                <a:gd name="T103" fmla="*/ 59 h 2976"/>
                <a:gd name="T104" fmla="*/ 1372 w 2983"/>
                <a:gd name="T105" fmla="*/ 34 h 2976"/>
                <a:gd name="T106" fmla="*/ 537 w 2983"/>
                <a:gd name="T107" fmla="*/ 381 h 2976"/>
                <a:gd name="T108" fmla="*/ 283 w 2983"/>
                <a:gd name="T109" fmla="*/ 638 h 2976"/>
                <a:gd name="T110" fmla="*/ 62 w 2983"/>
                <a:gd name="T111" fmla="*/ 1151 h 2976"/>
                <a:gd name="T112" fmla="*/ 99 w 2983"/>
                <a:gd name="T113" fmla="*/ 1968 h 2976"/>
                <a:gd name="T114" fmla="*/ 305 w 2983"/>
                <a:gd name="T115" fmla="*/ 2366 h 2976"/>
                <a:gd name="T116" fmla="*/ 573 w 2983"/>
                <a:gd name="T117" fmla="*/ 2656 h 2976"/>
                <a:gd name="T118" fmla="*/ 855 w 2983"/>
                <a:gd name="T119" fmla="*/ 2823 h 2976"/>
                <a:gd name="T120" fmla="*/ 2488 w 2983"/>
                <a:gd name="T121" fmla="*/ 2575 h 2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83" h="2976">
                  <a:moveTo>
                    <a:pt x="2982" y="1467"/>
                  </a:moveTo>
                  <a:cubicBezTo>
                    <a:pt x="2979" y="1456"/>
                    <a:pt x="2976" y="1444"/>
                    <a:pt x="2971" y="1436"/>
                  </a:cubicBezTo>
                  <a:cubicBezTo>
                    <a:pt x="2968" y="1427"/>
                    <a:pt x="2962" y="1422"/>
                    <a:pt x="2956" y="1416"/>
                  </a:cubicBezTo>
                  <a:lnTo>
                    <a:pt x="2956" y="1408"/>
                  </a:lnTo>
                  <a:cubicBezTo>
                    <a:pt x="2959" y="1399"/>
                    <a:pt x="2965" y="1391"/>
                    <a:pt x="2965" y="1382"/>
                  </a:cubicBezTo>
                  <a:cubicBezTo>
                    <a:pt x="2976" y="1354"/>
                    <a:pt x="2973" y="1320"/>
                    <a:pt x="2956" y="1295"/>
                  </a:cubicBezTo>
                  <a:cubicBezTo>
                    <a:pt x="2948" y="1286"/>
                    <a:pt x="2940" y="1278"/>
                    <a:pt x="2928" y="1269"/>
                  </a:cubicBezTo>
                  <a:cubicBezTo>
                    <a:pt x="2931" y="1269"/>
                    <a:pt x="2934" y="1264"/>
                    <a:pt x="2934" y="1261"/>
                  </a:cubicBezTo>
                  <a:cubicBezTo>
                    <a:pt x="2934" y="1258"/>
                    <a:pt x="2931" y="1255"/>
                    <a:pt x="2931" y="1253"/>
                  </a:cubicBezTo>
                  <a:cubicBezTo>
                    <a:pt x="2928" y="1247"/>
                    <a:pt x="2925" y="1241"/>
                    <a:pt x="2925" y="1236"/>
                  </a:cubicBezTo>
                  <a:cubicBezTo>
                    <a:pt x="2923" y="1227"/>
                    <a:pt x="2925" y="1219"/>
                    <a:pt x="2925" y="1210"/>
                  </a:cubicBezTo>
                  <a:cubicBezTo>
                    <a:pt x="2925" y="1205"/>
                    <a:pt x="2925" y="1199"/>
                    <a:pt x="2923" y="1193"/>
                  </a:cubicBezTo>
                  <a:cubicBezTo>
                    <a:pt x="2923" y="1185"/>
                    <a:pt x="2917" y="1174"/>
                    <a:pt x="2911" y="1168"/>
                  </a:cubicBezTo>
                  <a:cubicBezTo>
                    <a:pt x="2909" y="1159"/>
                    <a:pt x="2911" y="1151"/>
                    <a:pt x="2909" y="1143"/>
                  </a:cubicBezTo>
                  <a:cubicBezTo>
                    <a:pt x="2906" y="1131"/>
                    <a:pt x="2900" y="1120"/>
                    <a:pt x="2894" y="1109"/>
                  </a:cubicBezTo>
                  <a:cubicBezTo>
                    <a:pt x="2892" y="1103"/>
                    <a:pt x="2894" y="1095"/>
                    <a:pt x="2892" y="1089"/>
                  </a:cubicBezTo>
                  <a:cubicBezTo>
                    <a:pt x="2897" y="1075"/>
                    <a:pt x="2897" y="1064"/>
                    <a:pt x="2897" y="1049"/>
                  </a:cubicBezTo>
                  <a:cubicBezTo>
                    <a:pt x="2894" y="1035"/>
                    <a:pt x="2892" y="1021"/>
                    <a:pt x="2883" y="1010"/>
                  </a:cubicBezTo>
                  <a:cubicBezTo>
                    <a:pt x="2877" y="999"/>
                    <a:pt x="2866" y="990"/>
                    <a:pt x="2858" y="985"/>
                  </a:cubicBezTo>
                  <a:cubicBezTo>
                    <a:pt x="2858" y="982"/>
                    <a:pt x="2852" y="979"/>
                    <a:pt x="2852" y="976"/>
                  </a:cubicBezTo>
                  <a:lnTo>
                    <a:pt x="2852" y="968"/>
                  </a:lnTo>
                  <a:cubicBezTo>
                    <a:pt x="2855" y="969"/>
                    <a:pt x="2857" y="970"/>
                    <a:pt x="2859" y="971"/>
                  </a:cubicBezTo>
                  <a:cubicBezTo>
                    <a:pt x="2856" y="969"/>
                    <a:pt x="2853" y="967"/>
                    <a:pt x="2849" y="965"/>
                  </a:cubicBezTo>
                  <a:cubicBezTo>
                    <a:pt x="2846" y="956"/>
                    <a:pt x="2844" y="951"/>
                    <a:pt x="2841" y="942"/>
                  </a:cubicBezTo>
                  <a:cubicBezTo>
                    <a:pt x="2835" y="931"/>
                    <a:pt x="2835" y="920"/>
                    <a:pt x="2832" y="911"/>
                  </a:cubicBezTo>
                  <a:cubicBezTo>
                    <a:pt x="2832" y="897"/>
                    <a:pt x="2824" y="883"/>
                    <a:pt x="2815" y="875"/>
                  </a:cubicBezTo>
                  <a:lnTo>
                    <a:pt x="2807" y="858"/>
                  </a:lnTo>
                  <a:cubicBezTo>
                    <a:pt x="2804" y="858"/>
                    <a:pt x="2801" y="863"/>
                    <a:pt x="2796" y="866"/>
                  </a:cubicBezTo>
                  <a:lnTo>
                    <a:pt x="2793" y="860"/>
                  </a:lnTo>
                  <a:lnTo>
                    <a:pt x="2790" y="863"/>
                  </a:lnTo>
                  <a:lnTo>
                    <a:pt x="2787" y="863"/>
                  </a:lnTo>
                  <a:lnTo>
                    <a:pt x="2787" y="860"/>
                  </a:lnTo>
                  <a:cubicBezTo>
                    <a:pt x="2787" y="855"/>
                    <a:pt x="2793" y="846"/>
                    <a:pt x="2798" y="846"/>
                  </a:cubicBezTo>
                  <a:lnTo>
                    <a:pt x="2798" y="844"/>
                  </a:lnTo>
                  <a:cubicBezTo>
                    <a:pt x="2798" y="844"/>
                    <a:pt x="2796" y="844"/>
                    <a:pt x="2796" y="846"/>
                  </a:cubicBezTo>
                  <a:cubicBezTo>
                    <a:pt x="2793" y="844"/>
                    <a:pt x="2793" y="844"/>
                    <a:pt x="2796" y="841"/>
                  </a:cubicBezTo>
                  <a:cubicBezTo>
                    <a:pt x="2793" y="832"/>
                    <a:pt x="2787" y="824"/>
                    <a:pt x="2784" y="815"/>
                  </a:cubicBezTo>
                  <a:lnTo>
                    <a:pt x="2787" y="815"/>
                  </a:lnTo>
                  <a:cubicBezTo>
                    <a:pt x="2790" y="798"/>
                    <a:pt x="2787" y="781"/>
                    <a:pt x="2782" y="767"/>
                  </a:cubicBezTo>
                  <a:cubicBezTo>
                    <a:pt x="2779" y="753"/>
                    <a:pt x="2773" y="739"/>
                    <a:pt x="2762" y="728"/>
                  </a:cubicBezTo>
                  <a:cubicBezTo>
                    <a:pt x="2751" y="719"/>
                    <a:pt x="2739" y="711"/>
                    <a:pt x="2728" y="708"/>
                  </a:cubicBezTo>
                  <a:cubicBezTo>
                    <a:pt x="2725" y="705"/>
                    <a:pt x="2722" y="702"/>
                    <a:pt x="2719" y="702"/>
                  </a:cubicBezTo>
                  <a:cubicBezTo>
                    <a:pt x="2719" y="700"/>
                    <a:pt x="2717" y="700"/>
                    <a:pt x="2717" y="697"/>
                  </a:cubicBezTo>
                  <a:lnTo>
                    <a:pt x="2714" y="697"/>
                  </a:lnTo>
                  <a:cubicBezTo>
                    <a:pt x="2708" y="694"/>
                    <a:pt x="2708" y="694"/>
                    <a:pt x="2711" y="691"/>
                  </a:cubicBezTo>
                  <a:cubicBezTo>
                    <a:pt x="2705" y="683"/>
                    <a:pt x="2700" y="674"/>
                    <a:pt x="2691" y="666"/>
                  </a:cubicBezTo>
                  <a:cubicBezTo>
                    <a:pt x="2688" y="663"/>
                    <a:pt x="2688" y="657"/>
                    <a:pt x="2686" y="655"/>
                  </a:cubicBezTo>
                  <a:lnTo>
                    <a:pt x="2683" y="657"/>
                  </a:lnTo>
                  <a:cubicBezTo>
                    <a:pt x="2680" y="640"/>
                    <a:pt x="2669" y="624"/>
                    <a:pt x="2655" y="615"/>
                  </a:cubicBezTo>
                  <a:cubicBezTo>
                    <a:pt x="2652" y="612"/>
                    <a:pt x="2652" y="609"/>
                    <a:pt x="2649" y="609"/>
                  </a:cubicBezTo>
                  <a:cubicBezTo>
                    <a:pt x="2640" y="601"/>
                    <a:pt x="2635" y="590"/>
                    <a:pt x="2629" y="578"/>
                  </a:cubicBezTo>
                  <a:cubicBezTo>
                    <a:pt x="2626" y="576"/>
                    <a:pt x="2624" y="576"/>
                    <a:pt x="2621" y="573"/>
                  </a:cubicBezTo>
                  <a:cubicBezTo>
                    <a:pt x="2621" y="578"/>
                    <a:pt x="2621" y="584"/>
                    <a:pt x="2618" y="590"/>
                  </a:cubicBezTo>
                  <a:cubicBezTo>
                    <a:pt x="2615" y="584"/>
                    <a:pt x="2609" y="578"/>
                    <a:pt x="2609" y="573"/>
                  </a:cubicBezTo>
                  <a:cubicBezTo>
                    <a:pt x="2609" y="570"/>
                    <a:pt x="2612" y="567"/>
                    <a:pt x="2612" y="564"/>
                  </a:cubicBezTo>
                  <a:lnTo>
                    <a:pt x="2615" y="561"/>
                  </a:lnTo>
                  <a:lnTo>
                    <a:pt x="2612" y="561"/>
                  </a:lnTo>
                  <a:cubicBezTo>
                    <a:pt x="2612" y="553"/>
                    <a:pt x="2612" y="545"/>
                    <a:pt x="2609" y="539"/>
                  </a:cubicBezTo>
                  <a:cubicBezTo>
                    <a:pt x="2607" y="525"/>
                    <a:pt x="2604" y="510"/>
                    <a:pt x="2595" y="499"/>
                  </a:cubicBezTo>
                  <a:cubicBezTo>
                    <a:pt x="2587" y="487"/>
                    <a:pt x="2573" y="480"/>
                    <a:pt x="2561" y="474"/>
                  </a:cubicBezTo>
                  <a:cubicBezTo>
                    <a:pt x="2555" y="471"/>
                    <a:pt x="2547" y="468"/>
                    <a:pt x="2540" y="467"/>
                  </a:cubicBezTo>
                  <a:cubicBezTo>
                    <a:pt x="2541" y="469"/>
                    <a:pt x="2542" y="472"/>
                    <a:pt x="2542" y="474"/>
                  </a:cubicBezTo>
                  <a:cubicBezTo>
                    <a:pt x="2545" y="477"/>
                    <a:pt x="2542" y="480"/>
                    <a:pt x="2542" y="480"/>
                  </a:cubicBezTo>
                  <a:cubicBezTo>
                    <a:pt x="2539" y="474"/>
                    <a:pt x="2533" y="471"/>
                    <a:pt x="2528" y="466"/>
                  </a:cubicBezTo>
                  <a:cubicBezTo>
                    <a:pt x="2527" y="466"/>
                    <a:pt x="2526" y="466"/>
                    <a:pt x="2525" y="466"/>
                  </a:cubicBezTo>
                  <a:cubicBezTo>
                    <a:pt x="2519" y="460"/>
                    <a:pt x="2511" y="451"/>
                    <a:pt x="2505" y="443"/>
                  </a:cubicBezTo>
                  <a:cubicBezTo>
                    <a:pt x="2499" y="437"/>
                    <a:pt x="2494" y="435"/>
                    <a:pt x="2488" y="429"/>
                  </a:cubicBezTo>
                  <a:lnTo>
                    <a:pt x="2488" y="420"/>
                  </a:lnTo>
                  <a:cubicBezTo>
                    <a:pt x="2487" y="419"/>
                    <a:pt x="2487" y="417"/>
                    <a:pt x="2486" y="416"/>
                  </a:cubicBezTo>
                  <a:cubicBezTo>
                    <a:pt x="2486" y="415"/>
                    <a:pt x="2486" y="415"/>
                    <a:pt x="2485" y="415"/>
                  </a:cubicBezTo>
                  <a:cubicBezTo>
                    <a:pt x="2485" y="415"/>
                    <a:pt x="2485" y="415"/>
                    <a:pt x="2486" y="415"/>
                  </a:cubicBezTo>
                  <a:cubicBezTo>
                    <a:pt x="2480" y="404"/>
                    <a:pt x="2472" y="397"/>
                    <a:pt x="2463" y="389"/>
                  </a:cubicBezTo>
                  <a:cubicBezTo>
                    <a:pt x="2474" y="395"/>
                    <a:pt x="2482" y="403"/>
                    <a:pt x="2488" y="415"/>
                  </a:cubicBezTo>
                  <a:lnTo>
                    <a:pt x="2491" y="418"/>
                  </a:lnTo>
                  <a:cubicBezTo>
                    <a:pt x="2482" y="401"/>
                    <a:pt x="2468" y="387"/>
                    <a:pt x="2449" y="384"/>
                  </a:cubicBezTo>
                  <a:lnTo>
                    <a:pt x="2423" y="367"/>
                  </a:lnTo>
                  <a:cubicBezTo>
                    <a:pt x="2415" y="358"/>
                    <a:pt x="2406" y="350"/>
                    <a:pt x="2395" y="341"/>
                  </a:cubicBezTo>
                  <a:cubicBezTo>
                    <a:pt x="2392" y="330"/>
                    <a:pt x="2387" y="319"/>
                    <a:pt x="2381" y="308"/>
                  </a:cubicBezTo>
                  <a:cubicBezTo>
                    <a:pt x="2375" y="296"/>
                    <a:pt x="2364" y="285"/>
                    <a:pt x="2353" y="277"/>
                  </a:cubicBezTo>
                  <a:cubicBezTo>
                    <a:pt x="2333" y="265"/>
                    <a:pt x="2310" y="262"/>
                    <a:pt x="2288" y="265"/>
                  </a:cubicBezTo>
                  <a:cubicBezTo>
                    <a:pt x="2282" y="262"/>
                    <a:pt x="2276" y="262"/>
                    <a:pt x="2271" y="260"/>
                  </a:cubicBezTo>
                  <a:cubicBezTo>
                    <a:pt x="2265" y="257"/>
                    <a:pt x="2260" y="248"/>
                    <a:pt x="2254" y="243"/>
                  </a:cubicBezTo>
                  <a:cubicBezTo>
                    <a:pt x="2248" y="229"/>
                    <a:pt x="2237" y="220"/>
                    <a:pt x="2226" y="212"/>
                  </a:cubicBezTo>
                  <a:cubicBezTo>
                    <a:pt x="2220" y="209"/>
                    <a:pt x="2217" y="206"/>
                    <a:pt x="2212" y="203"/>
                  </a:cubicBezTo>
                  <a:cubicBezTo>
                    <a:pt x="2212" y="209"/>
                    <a:pt x="2214" y="214"/>
                    <a:pt x="2214" y="220"/>
                  </a:cubicBezTo>
                  <a:cubicBezTo>
                    <a:pt x="2214" y="220"/>
                    <a:pt x="2209" y="220"/>
                    <a:pt x="2209" y="217"/>
                  </a:cubicBezTo>
                  <a:cubicBezTo>
                    <a:pt x="2203" y="214"/>
                    <a:pt x="2203" y="212"/>
                    <a:pt x="2197" y="209"/>
                  </a:cubicBezTo>
                  <a:lnTo>
                    <a:pt x="2197" y="206"/>
                  </a:lnTo>
                  <a:cubicBezTo>
                    <a:pt x="2195" y="206"/>
                    <a:pt x="2192" y="203"/>
                    <a:pt x="2189" y="203"/>
                  </a:cubicBezTo>
                  <a:cubicBezTo>
                    <a:pt x="2186" y="203"/>
                    <a:pt x="2186" y="206"/>
                    <a:pt x="2183" y="206"/>
                  </a:cubicBezTo>
                  <a:cubicBezTo>
                    <a:pt x="2181" y="203"/>
                    <a:pt x="2178" y="200"/>
                    <a:pt x="2175" y="200"/>
                  </a:cubicBezTo>
                  <a:lnTo>
                    <a:pt x="2141" y="183"/>
                  </a:lnTo>
                  <a:cubicBezTo>
                    <a:pt x="2138" y="183"/>
                    <a:pt x="2138" y="181"/>
                    <a:pt x="2135" y="181"/>
                  </a:cubicBezTo>
                  <a:lnTo>
                    <a:pt x="2127" y="164"/>
                  </a:lnTo>
                  <a:cubicBezTo>
                    <a:pt x="2124" y="167"/>
                    <a:pt x="2121" y="164"/>
                    <a:pt x="2118" y="167"/>
                  </a:cubicBezTo>
                  <a:cubicBezTo>
                    <a:pt x="2116" y="167"/>
                    <a:pt x="2116" y="164"/>
                    <a:pt x="2113" y="164"/>
                  </a:cubicBezTo>
                  <a:cubicBezTo>
                    <a:pt x="2113" y="158"/>
                    <a:pt x="2116" y="152"/>
                    <a:pt x="2118" y="150"/>
                  </a:cubicBezTo>
                  <a:cubicBezTo>
                    <a:pt x="2116" y="144"/>
                    <a:pt x="2110" y="141"/>
                    <a:pt x="2104" y="136"/>
                  </a:cubicBezTo>
                  <a:cubicBezTo>
                    <a:pt x="2093" y="127"/>
                    <a:pt x="2079" y="124"/>
                    <a:pt x="2065" y="121"/>
                  </a:cubicBezTo>
                  <a:cubicBezTo>
                    <a:pt x="2059" y="121"/>
                    <a:pt x="2056" y="124"/>
                    <a:pt x="2051" y="124"/>
                  </a:cubicBezTo>
                  <a:cubicBezTo>
                    <a:pt x="2048" y="130"/>
                    <a:pt x="2039" y="130"/>
                    <a:pt x="2042" y="138"/>
                  </a:cubicBezTo>
                  <a:cubicBezTo>
                    <a:pt x="2037" y="138"/>
                    <a:pt x="2031" y="136"/>
                    <a:pt x="2025" y="136"/>
                  </a:cubicBezTo>
                  <a:cubicBezTo>
                    <a:pt x="2025" y="133"/>
                    <a:pt x="2028" y="130"/>
                    <a:pt x="2028" y="127"/>
                  </a:cubicBezTo>
                  <a:cubicBezTo>
                    <a:pt x="2025" y="127"/>
                    <a:pt x="2025" y="124"/>
                    <a:pt x="2025" y="124"/>
                  </a:cubicBezTo>
                  <a:cubicBezTo>
                    <a:pt x="2020" y="124"/>
                    <a:pt x="2017" y="130"/>
                    <a:pt x="2011" y="133"/>
                  </a:cubicBezTo>
                  <a:cubicBezTo>
                    <a:pt x="2008" y="133"/>
                    <a:pt x="2006" y="133"/>
                    <a:pt x="2006" y="130"/>
                  </a:cubicBezTo>
                  <a:cubicBezTo>
                    <a:pt x="2003" y="130"/>
                    <a:pt x="2003" y="127"/>
                    <a:pt x="2000" y="127"/>
                  </a:cubicBezTo>
                  <a:lnTo>
                    <a:pt x="2000" y="136"/>
                  </a:lnTo>
                  <a:cubicBezTo>
                    <a:pt x="1994" y="133"/>
                    <a:pt x="1989" y="136"/>
                    <a:pt x="1986" y="138"/>
                  </a:cubicBezTo>
                  <a:cubicBezTo>
                    <a:pt x="1980" y="133"/>
                    <a:pt x="1991" y="130"/>
                    <a:pt x="1994" y="127"/>
                  </a:cubicBezTo>
                  <a:cubicBezTo>
                    <a:pt x="1986" y="124"/>
                    <a:pt x="1980" y="119"/>
                    <a:pt x="1972" y="116"/>
                  </a:cubicBezTo>
                  <a:cubicBezTo>
                    <a:pt x="1960" y="113"/>
                    <a:pt x="1949" y="106"/>
                    <a:pt x="1938" y="104"/>
                  </a:cubicBezTo>
                  <a:cubicBezTo>
                    <a:pt x="1927" y="101"/>
                    <a:pt x="1915" y="96"/>
                    <a:pt x="1904" y="93"/>
                  </a:cubicBezTo>
                  <a:cubicBezTo>
                    <a:pt x="1893" y="90"/>
                    <a:pt x="1879" y="85"/>
                    <a:pt x="1867" y="82"/>
                  </a:cubicBezTo>
                  <a:cubicBezTo>
                    <a:pt x="1859" y="79"/>
                    <a:pt x="1848" y="76"/>
                    <a:pt x="1839" y="73"/>
                  </a:cubicBezTo>
                  <a:cubicBezTo>
                    <a:pt x="1839" y="71"/>
                    <a:pt x="1836" y="68"/>
                    <a:pt x="1836" y="65"/>
                  </a:cubicBezTo>
                  <a:cubicBezTo>
                    <a:pt x="1833" y="59"/>
                    <a:pt x="1828" y="57"/>
                    <a:pt x="1825" y="51"/>
                  </a:cubicBezTo>
                  <a:cubicBezTo>
                    <a:pt x="1814" y="42"/>
                    <a:pt x="1802" y="37"/>
                    <a:pt x="1788" y="37"/>
                  </a:cubicBezTo>
                  <a:cubicBezTo>
                    <a:pt x="1777" y="34"/>
                    <a:pt x="1763" y="31"/>
                    <a:pt x="1749" y="34"/>
                  </a:cubicBezTo>
                  <a:lnTo>
                    <a:pt x="1749" y="37"/>
                  </a:lnTo>
                  <a:lnTo>
                    <a:pt x="1746" y="37"/>
                  </a:lnTo>
                  <a:cubicBezTo>
                    <a:pt x="1746" y="37"/>
                    <a:pt x="1743" y="37"/>
                    <a:pt x="1743" y="34"/>
                  </a:cubicBezTo>
                  <a:cubicBezTo>
                    <a:pt x="1732" y="37"/>
                    <a:pt x="1721" y="42"/>
                    <a:pt x="1712" y="48"/>
                  </a:cubicBezTo>
                  <a:lnTo>
                    <a:pt x="1695" y="48"/>
                  </a:lnTo>
                  <a:lnTo>
                    <a:pt x="1694" y="47"/>
                  </a:lnTo>
                  <a:cubicBezTo>
                    <a:pt x="1694" y="47"/>
                    <a:pt x="1695" y="47"/>
                    <a:pt x="1695" y="48"/>
                  </a:cubicBezTo>
                  <a:lnTo>
                    <a:pt x="1692" y="48"/>
                  </a:lnTo>
                  <a:cubicBezTo>
                    <a:pt x="1692" y="48"/>
                    <a:pt x="1693" y="47"/>
                    <a:pt x="1694" y="47"/>
                  </a:cubicBezTo>
                  <a:cubicBezTo>
                    <a:pt x="1689" y="44"/>
                    <a:pt x="1686" y="39"/>
                    <a:pt x="1681" y="37"/>
                  </a:cubicBezTo>
                  <a:cubicBezTo>
                    <a:pt x="1670" y="28"/>
                    <a:pt x="1656" y="23"/>
                    <a:pt x="1642" y="20"/>
                  </a:cubicBezTo>
                  <a:cubicBezTo>
                    <a:pt x="1630" y="20"/>
                    <a:pt x="1618" y="24"/>
                    <a:pt x="1606" y="30"/>
                  </a:cubicBezTo>
                  <a:cubicBezTo>
                    <a:pt x="1606" y="30"/>
                    <a:pt x="1607" y="29"/>
                    <a:pt x="1608" y="28"/>
                  </a:cubicBezTo>
                  <a:cubicBezTo>
                    <a:pt x="1611" y="23"/>
                    <a:pt x="1619" y="20"/>
                    <a:pt x="1625" y="17"/>
                  </a:cubicBezTo>
                  <a:cubicBezTo>
                    <a:pt x="1608" y="20"/>
                    <a:pt x="1594" y="28"/>
                    <a:pt x="1582" y="37"/>
                  </a:cubicBezTo>
                  <a:lnTo>
                    <a:pt x="1548" y="37"/>
                  </a:lnTo>
                  <a:cubicBezTo>
                    <a:pt x="1543" y="37"/>
                    <a:pt x="1540" y="34"/>
                    <a:pt x="1534" y="34"/>
                  </a:cubicBezTo>
                  <a:cubicBezTo>
                    <a:pt x="1534" y="37"/>
                    <a:pt x="1532" y="37"/>
                    <a:pt x="1532" y="34"/>
                  </a:cubicBezTo>
                  <a:cubicBezTo>
                    <a:pt x="1526" y="34"/>
                    <a:pt x="1520" y="37"/>
                    <a:pt x="1515" y="37"/>
                  </a:cubicBezTo>
                  <a:cubicBezTo>
                    <a:pt x="1503" y="37"/>
                    <a:pt x="1492" y="40"/>
                    <a:pt x="1479" y="40"/>
                  </a:cubicBezTo>
                  <a:cubicBezTo>
                    <a:pt x="1473" y="40"/>
                    <a:pt x="1468" y="37"/>
                    <a:pt x="1462" y="37"/>
                  </a:cubicBezTo>
                  <a:lnTo>
                    <a:pt x="1462" y="34"/>
                  </a:lnTo>
                  <a:cubicBezTo>
                    <a:pt x="1459" y="34"/>
                    <a:pt x="1459" y="31"/>
                    <a:pt x="1456" y="34"/>
                  </a:cubicBezTo>
                  <a:cubicBezTo>
                    <a:pt x="1454" y="34"/>
                    <a:pt x="1448" y="37"/>
                    <a:pt x="1445" y="37"/>
                  </a:cubicBezTo>
                  <a:lnTo>
                    <a:pt x="1414" y="37"/>
                  </a:lnTo>
                  <a:cubicBezTo>
                    <a:pt x="1428" y="23"/>
                    <a:pt x="1442" y="14"/>
                    <a:pt x="1462" y="9"/>
                  </a:cubicBezTo>
                  <a:cubicBezTo>
                    <a:pt x="1468" y="3"/>
                    <a:pt x="1465" y="0"/>
                    <a:pt x="1456" y="0"/>
                  </a:cubicBezTo>
                  <a:cubicBezTo>
                    <a:pt x="1445" y="3"/>
                    <a:pt x="1434" y="9"/>
                    <a:pt x="1425" y="14"/>
                  </a:cubicBezTo>
                  <a:cubicBezTo>
                    <a:pt x="1417" y="20"/>
                    <a:pt x="1408" y="28"/>
                    <a:pt x="1403" y="37"/>
                  </a:cubicBezTo>
                  <a:lnTo>
                    <a:pt x="1403" y="34"/>
                  </a:lnTo>
                  <a:cubicBezTo>
                    <a:pt x="1400" y="31"/>
                    <a:pt x="1397" y="28"/>
                    <a:pt x="1391" y="25"/>
                  </a:cubicBezTo>
                  <a:cubicBezTo>
                    <a:pt x="1380" y="20"/>
                    <a:pt x="1369" y="17"/>
                    <a:pt x="1358" y="14"/>
                  </a:cubicBezTo>
                  <a:cubicBezTo>
                    <a:pt x="1346" y="11"/>
                    <a:pt x="1332" y="11"/>
                    <a:pt x="1321" y="11"/>
                  </a:cubicBezTo>
                  <a:cubicBezTo>
                    <a:pt x="1301" y="17"/>
                    <a:pt x="1287" y="28"/>
                    <a:pt x="1276" y="45"/>
                  </a:cubicBezTo>
                  <a:lnTo>
                    <a:pt x="1270" y="45"/>
                  </a:lnTo>
                  <a:cubicBezTo>
                    <a:pt x="1259" y="51"/>
                    <a:pt x="1248" y="54"/>
                    <a:pt x="1236" y="57"/>
                  </a:cubicBezTo>
                  <a:lnTo>
                    <a:pt x="1202" y="65"/>
                  </a:lnTo>
                  <a:lnTo>
                    <a:pt x="1200" y="62"/>
                  </a:lnTo>
                  <a:cubicBezTo>
                    <a:pt x="1185" y="57"/>
                    <a:pt x="1169" y="59"/>
                    <a:pt x="1154" y="68"/>
                  </a:cubicBezTo>
                  <a:lnTo>
                    <a:pt x="1154" y="73"/>
                  </a:lnTo>
                  <a:lnTo>
                    <a:pt x="1157" y="76"/>
                  </a:lnTo>
                  <a:cubicBezTo>
                    <a:pt x="1149" y="79"/>
                    <a:pt x="1143" y="79"/>
                    <a:pt x="1135" y="79"/>
                  </a:cubicBezTo>
                  <a:cubicBezTo>
                    <a:pt x="1126" y="82"/>
                    <a:pt x="1115" y="82"/>
                    <a:pt x="1106" y="85"/>
                  </a:cubicBezTo>
                  <a:cubicBezTo>
                    <a:pt x="1104" y="82"/>
                    <a:pt x="1098" y="82"/>
                    <a:pt x="1095" y="79"/>
                  </a:cubicBezTo>
                  <a:cubicBezTo>
                    <a:pt x="1084" y="73"/>
                    <a:pt x="1073" y="73"/>
                    <a:pt x="1061" y="73"/>
                  </a:cubicBezTo>
                  <a:lnTo>
                    <a:pt x="1047" y="73"/>
                  </a:lnTo>
                  <a:lnTo>
                    <a:pt x="1047" y="76"/>
                  </a:lnTo>
                  <a:lnTo>
                    <a:pt x="1044" y="76"/>
                  </a:lnTo>
                  <a:cubicBezTo>
                    <a:pt x="1036" y="76"/>
                    <a:pt x="1030" y="79"/>
                    <a:pt x="1022" y="79"/>
                  </a:cubicBezTo>
                  <a:cubicBezTo>
                    <a:pt x="1002" y="90"/>
                    <a:pt x="988" y="110"/>
                    <a:pt x="982" y="130"/>
                  </a:cubicBezTo>
                  <a:cubicBezTo>
                    <a:pt x="977" y="133"/>
                    <a:pt x="971" y="133"/>
                    <a:pt x="965" y="136"/>
                  </a:cubicBezTo>
                  <a:cubicBezTo>
                    <a:pt x="954" y="138"/>
                    <a:pt x="946" y="147"/>
                    <a:pt x="934" y="150"/>
                  </a:cubicBezTo>
                  <a:cubicBezTo>
                    <a:pt x="932" y="152"/>
                    <a:pt x="926" y="150"/>
                    <a:pt x="923" y="150"/>
                  </a:cubicBezTo>
                  <a:cubicBezTo>
                    <a:pt x="923" y="152"/>
                    <a:pt x="920" y="155"/>
                    <a:pt x="917" y="152"/>
                  </a:cubicBezTo>
                  <a:cubicBezTo>
                    <a:pt x="917" y="152"/>
                    <a:pt x="915" y="155"/>
                    <a:pt x="912" y="155"/>
                  </a:cubicBezTo>
                  <a:cubicBezTo>
                    <a:pt x="892" y="152"/>
                    <a:pt x="869" y="161"/>
                    <a:pt x="855" y="178"/>
                  </a:cubicBezTo>
                  <a:lnTo>
                    <a:pt x="855" y="181"/>
                  </a:lnTo>
                  <a:cubicBezTo>
                    <a:pt x="847" y="183"/>
                    <a:pt x="841" y="186"/>
                    <a:pt x="833" y="189"/>
                  </a:cubicBezTo>
                  <a:cubicBezTo>
                    <a:pt x="827" y="192"/>
                    <a:pt x="824" y="198"/>
                    <a:pt x="819" y="198"/>
                  </a:cubicBezTo>
                  <a:lnTo>
                    <a:pt x="807" y="198"/>
                  </a:lnTo>
                  <a:cubicBezTo>
                    <a:pt x="796" y="195"/>
                    <a:pt x="785" y="192"/>
                    <a:pt x="774" y="195"/>
                  </a:cubicBezTo>
                  <a:cubicBezTo>
                    <a:pt x="771" y="195"/>
                    <a:pt x="771" y="198"/>
                    <a:pt x="768" y="198"/>
                  </a:cubicBezTo>
                  <a:cubicBezTo>
                    <a:pt x="768" y="199"/>
                    <a:pt x="769" y="204"/>
                    <a:pt x="769" y="208"/>
                  </a:cubicBezTo>
                  <a:cubicBezTo>
                    <a:pt x="777" y="205"/>
                    <a:pt x="786" y="203"/>
                    <a:pt x="793" y="203"/>
                  </a:cubicBezTo>
                  <a:cubicBezTo>
                    <a:pt x="799" y="203"/>
                    <a:pt x="802" y="203"/>
                    <a:pt x="807" y="206"/>
                  </a:cubicBezTo>
                  <a:lnTo>
                    <a:pt x="805" y="206"/>
                  </a:lnTo>
                  <a:cubicBezTo>
                    <a:pt x="799" y="209"/>
                    <a:pt x="796" y="214"/>
                    <a:pt x="790" y="217"/>
                  </a:cubicBezTo>
                  <a:cubicBezTo>
                    <a:pt x="785" y="217"/>
                    <a:pt x="776" y="217"/>
                    <a:pt x="771" y="220"/>
                  </a:cubicBezTo>
                  <a:cubicBezTo>
                    <a:pt x="771" y="223"/>
                    <a:pt x="771" y="223"/>
                    <a:pt x="774" y="223"/>
                  </a:cubicBezTo>
                  <a:cubicBezTo>
                    <a:pt x="762" y="229"/>
                    <a:pt x="754" y="237"/>
                    <a:pt x="745" y="243"/>
                  </a:cubicBezTo>
                  <a:cubicBezTo>
                    <a:pt x="742" y="246"/>
                    <a:pt x="740" y="243"/>
                    <a:pt x="737" y="246"/>
                  </a:cubicBezTo>
                  <a:cubicBezTo>
                    <a:pt x="737" y="240"/>
                    <a:pt x="740" y="237"/>
                    <a:pt x="742" y="231"/>
                  </a:cubicBezTo>
                  <a:lnTo>
                    <a:pt x="740" y="231"/>
                  </a:lnTo>
                  <a:lnTo>
                    <a:pt x="740" y="223"/>
                  </a:lnTo>
                  <a:cubicBezTo>
                    <a:pt x="731" y="231"/>
                    <a:pt x="728" y="243"/>
                    <a:pt x="723" y="254"/>
                  </a:cubicBezTo>
                  <a:lnTo>
                    <a:pt x="720" y="254"/>
                  </a:lnTo>
                  <a:cubicBezTo>
                    <a:pt x="717" y="254"/>
                    <a:pt x="717" y="260"/>
                    <a:pt x="717" y="260"/>
                  </a:cubicBezTo>
                  <a:cubicBezTo>
                    <a:pt x="706" y="265"/>
                    <a:pt x="697" y="270"/>
                    <a:pt x="686" y="279"/>
                  </a:cubicBezTo>
                  <a:cubicBezTo>
                    <a:pt x="675" y="287"/>
                    <a:pt x="666" y="293"/>
                    <a:pt x="655" y="299"/>
                  </a:cubicBezTo>
                  <a:lnTo>
                    <a:pt x="652" y="302"/>
                  </a:lnTo>
                  <a:cubicBezTo>
                    <a:pt x="630" y="302"/>
                    <a:pt x="607" y="316"/>
                    <a:pt x="601" y="339"/>
                  </a:cubicBezTo>
                  <a:lnTo>
                    <a:pt x="596" y="339"/>
                  </a:lnTo>
                  <a:cubicBezTo>
                    <a:pt x="587" y="344"/>
                    <a:pt x="582" y="353"/>
                    <a:pt x="576" y="358"/>
                  </a:cubicBezTo>
                  <a:cubicBezTo>
                    <a:pt x="568" y="356"/>
                    <a:pt x="559" y="356"/>
                    <a:pt x="551" y="356"/>
                  </a:cubicBezTo>
                  <a:cubicBezTo>
                    <a:pt x="531" y="356"/>
                    <a:pt x="514" y="364"/>
                    <a:pt x="500" y="375"/>
                  </a:cubicBezTo>
                  <a:cubicBezTo>
                    <a:pt x="491" y="384"/>
                    <a:pt x="494" y="387"/>
                    <a:pt x="505" y="381"/>
                  </a:cubicBezTo>
                  <a:cubicBezTo>
                    <a:pt x="494" y="387"/>
                    <a:pt x="486" y="398"/>
                    <a:pt x="480" y="409"/>
                  </a:cubicBezTo>
                  <a:cubicBezTo>
                    <a:pt x="474" y="418"/>
                    <a:pt x="469" y="429"/>
                    <a:pt x="466" y="440"/>
                  </a:cubicBezTo>
                  <a:cubicBezTo>
                    <a:pt x="466" y="443"/>
                    <a:pt x="469" y="449"/>
                    <a:pt x="472" y="451"/>
                  </a:cubicBezTo>
                  <a:cubicBezTo>
                    <a:pt x="469" y="454"/>
                    <a:pt x="466" y="457"/>
                    <a:pt x="464" y="462"/>
                  </a:cubicBezTo>
                  <a:cubicBezTo>
                    <a:pt x="466" y="462"/>
                    <a:pt x="470" y="464"/>
                    <a:pt x="472" y="466"/>
                  </a:cubicBezTo>
                  <a:lnTo>
                    <a:pt x="472" y="477"/>
                  </a:lnTo>
                  <a:lnTo>
                    <a:pt x="446" y="485"/>
                  </a:lnTo>
                  <a:cubicBezTo>
                    <a:pt x="446" y="482"/>
                    <a:pt x="446" y="477"/>
                    <a:pt x="449" y="474"/>
                  </a:cubicBezTo>
                  <a:cubicBezTo>
                    <a:pt x="443" y="480"/>
                    <a:pt x="441" y="485"/>
                    <a:pt x="435" y="491"/>
                  </a:cubicBezTo>
                  <a:cubicBezTo>
                    <a:pt x="432" y="494"/>
                    <a:pt x="432" y="497"/>
                    <a:pt x="429" y="499"/>
                  </a:cubicBezTo>
                  <a:cubicBezTo>
                    <a:pt x="427" y="499"/>
                    <a:pt x="424" y="500"/>
                    <a:pt x="422" y="501"/>
                  </a:cubicBezTo>
                  <a:lnTo>
                    <a:pt x="421" y="499"/>
                  </a:lnTo>
                  <a:lnTo>
                    <a:pt x="422" y="501"/>
                  </a:lnTo>
                  <a:lnTo>
                    <a:pt x="421" y="501"/>
                  </a:lnTo>
                  <a:lnTo>
                    <a:pt x="421" y="502"/>
                  </a:lnTo>
                  <a:cubicBezTo>
                    <a:pt x="418" y="505"/>
                    <a:pt x="418" y="508"/>
                    <a:pt x="418" y="508"/>
                  </a:cubicBezTo>
                  <a:cubicBezTo>
                    <a:pt x="418" y="511"/>
                    <a:pt x="415" y="513"/>
                    <a:pt x="410" y="513"/>
                  </a:cubicBezTo>
                  <a:lnTo>
                    <a:pt x="407" y="516"/>
                  </a:lnTo>
                  <a:cubicBezTo>
                    <a:pt x="405" y="512"/>
                    <a:pt x="406" y="508"/>
                    <a:pt x="408" y="505"/>
                  </a:cubicBezTo>
                  <a:cubicBezTo>
                    <a:pt x="398" y="510"/>
                    <a:pt x="389" y="518"/>
                    <a:pt x="384" y="528"/>
                  </a:cubicBezTo>
                  <a:cubicBezTo>
                    <a:pt x="390" y="516"/>
                    <a:pt x="398" y="508"/>
                    <a:pt x="407" y="505"/>
                  </a:cubicBezTo>
                  <a:lnTo>
                    <a:pt x="410" y="502"/>
                  </a:lnTo>
                  <a:cubicBezTo>
                    <a:pt x="390" y="511"/>
                    <a:pt x="378" y="530"/>
                    <a:pt x="378" y="553"/>
                  </a:cubicBezTo>
                  <a:cubicBezTo>
                    <a:pt x="373" y="559"/>
                    <a:pt x="364" y="564"/>
                    <a:pt x="359" y="573"/>
                  </a:cubicBezTo>
                  <a:lnTo>
                    <a:pt x="353" y="578"/>
                  </a:lnTo>
                  <a:cubicBezTo>
                    <a:pt x="353" y="578"/>
                    <a:pt x="353" y="581"/>
                    <a:pt x="350" y="581"/>
                  </a:cubicBezTo>
                  <a:cubicBezTo>
                    <a:pt x="345" y="581"/>
                    <a:pt x="339" y="578"/>
                    <a:pt x="333" y="581"/>
                  </a:cubicBezTo>
                  <a:cubicBezTo>
                    <a:pt x="314" y="587"/>
                    <a:pt x="294" y="595"/>
                    <a:pt x="283" y="612"/>
                  </a:cubicBezTo>
                  <a:cubicBezTo>
                    <a:pt x="271" y="629"/>
                    <a:pt x="266" y="649"/>
                    <a:pt x="268" y="671"/>
                  </a:cubicBezTo>
                  <a:cubicBezTo>
                    <a:pt x="268" y="680"/>
                    <a:pt x="268" y="686"/>
                    <a:pt x="271" y="694"/>
                  </a:cubicBezTo>
                  <a:cubicBezTo>
                    <a:pt x="271" y="694"/>
                    <a:pt x="271" y="697"/>
                    <a:pt x="268" y="697"/>
                  </a:cubicBezTo>
                  <a:cubicBezTo>
                    <a:pt x="263" y="705"/>
                    <a:pt x="260" y="714"/>
                    <a:pt x="257" y="722"/>
                  </a:cubicBezTo>
                  <a:lnTo>
                    <a:pt x="254" y="722"/>
                  </a:lnTo>
                  <a:cubicBezTo>
                    <a:pt x="254" y="725"/>
                    <a:pt x="254" y="725"/>
                    <a:pt x="252" y="725"/>
                  </a:cubicBezTo>
                  <a:cubicBezTo>
                    <a:pt x="252" y="728"/>
                    <a:pt x="249" y="728"/>
                    <a:pt x="249" y="731"/>
                  </a:cubicBezTo>
                  <a:cubicBezTo>
                    <a:pt x="246" y="734"/>
                    <a:pt x="240" y="736"/>
                    <a:pt x="237" y="739"/>
                  </a:cubicBezTo>
                  <a:cubicBezTo>
                    <a:pt x="235" y="739"/>
                    <a:pt x="235" y="745"/>
                    <a:pt x="232" y="745"/>
                  </a:cubicBezTo>
                  <a:cubicBezTo>
                    <a:pt x="218" y="748"/>
                    <a:pt x="206" y="756"/>
                    <a:pt x="198" y="770"/>
                  </a:cubicBezTo>
                  <a:cubicBezTo>
                    <a:pt x="197" y="772"/>
                    <a:pt x="196" y="774"/>
                    <a:pt x="195" y="776"/>
                  </a:cubicBezTo>
                  <a:lnTo>
                    <a:pt x="212" y="776"/>
                  </a:lnTo>
                  <a:cubicBezTo>
                    <a:pt x="209" y="779"/>
                    <a:pt x="212" y="781"/>
                    <a:pt x="209" y="784"/>
                  </a:cubicBezTo>
                  <a:cubicBezTo>
                    <a:pt x="206" y="787"/>
                    <a:pt x="204" y="790"/>
                    <a:pt x="204" y="796"/>
                  </a:cubicBezTo>
                  <a:cubicBezTo>
                    <a:pt x="201" y="796"/>
                    <a:pt x="198" y="793"/>
                    <a:pt x="195" y="787"/>
                  </a:cubicBezTo>
                  <a:lnTo>
                    <a:pt x="192" y="787"/>
                  </a:lnTo>
                  <a:cubicBezTo>
                    <a:pt x="192" y="786"/>
                    <a:pt x="192" y="786"/>
                    <a:pt x="192" y="785"/>
                  </a:cubicBezTo>
                  <a:cubicBezTo>
                    <a:pt x="190" y="792"/>
                    <a:pt x="189" y="800"/>
                    <a:pt x="189" y="807"/>
                  </a:cubicBezTo>
                  <a:cubicBezTo>
                    <a:pt x="189" y="813"/>
                    <a:pt x="192" y="815"/>
                    <a:pt x="192" y="821"/>
                  </a:cubicBezTo>
                  <a:cubicBezTo>
                    <a:pt x="192" y="824"/>
                    <a:pt x="189" y="824"/>
                    <a:pt x="187" y="827"/>
                  </a:cubicBezTo>
                  <a:cubicBezTo>
                    <a:pt x="187" y="829"/>
                    <a:pt x="187" y="829"/>
                    <a:pt x="185" y="831"/>
                  </a:cubicBezTo>
                  <a:cubicBezTo>
                    <a:pt x="186" y="832"/>
                    <a:pt x="187" y="834"/>
                    <a:pt x="187" y="835"/>
                  </a:cubicBezTo>
                  <a:cubicBezTo>
                    <a:pt x="177" y="837"/>
                    <a:pt x="169" y="840"/>
                    <a:pt x="161" y="844"/>
                  </a:cubicBezTo>
                  <a:cubicBezTo>
                    <a:pt x="155" y="849"/>
                    <a:pt x="150" y="854"/>
                    <a:pt x="144" y="860"/>
                  </a:cubicBezTo>
                  <a:cubicBezTo>
                    <a:pt x="148" y="856"/>
                    <a:pt x="152" y="852"/>
                    <a:pt x="156" y="848"/>
                  </a:cubicBezTo>
                  <a:cubicBezTo>
                    <a:pt x="152" y="851"/>
                    <a:pt x="148" y="854"/>
                    <a:pt x="144" y="858"/>
                  </a:cubicBezTo>
                  <a:cubicBezTo>
                    <a:pt x="133" y="869"/>
                    <a:pt x="125" y="880"/>
                    <a:pt x="122" y="894"/>
                  </a:cubicBezTo>
                  <a:lnTo>
                    <a:pt x="122" y="911"/>
                  </a:lnTo>
                  <a:cubicBezTo>
                    <a:pt x="122" y="908"/>
                    <a:pt x="125" y="906"/>
                    <a:pt x="125" y="903"/>
                  </a:cubicBezTo>
                  <a:cubicBezTo>
                    <a:pt x="130" y="903"/>
                    <a:pt x="127" y="914"/>
                    <a:pt x="125" y="917"/>
                  </a:cubicBezTo>
                  <a:cubicBezTo>
                    <a:pt x="122" y="917"/>
                    <a:pt x="122" y="914"/>
                    <a:pt x="122" y="911"/>
                  </a:cubicBezTo>
                  <a:cubicBezTo>
                    <a:pt x="119" y="920"/>
                    <a:pt x="119" y="928"/>
                    <a:pt x="119" y="937"/>
                  </a:cubicBezTo>
                  <a:cubicBezTo>
                    <a:pt x="122" y="945"/>
                    <a:pt x="125" y="956"/>
                    <a:pt x="127" y="965"/>
                  </a:cubicBezTo>
                  <a:cubicBezTo>
                    <a:pt x="122" y="976"/>
                    <a:pt x="122" y="987"/>
                    <a:pt x="116" y="996"/>
                  </a:cubicBezTo>
                  <a:cubicBezTo>
                    <a:pt x="110" y="1007"/>
                    <a:pt x="108" y="1018"/>
                    <a:pt x="102" y="1030"/>
                  </a:cubicBezTo>
                  <a:lnTo>
                    <a:pt x="96" y="1041"/>
                  </a:lnTo>
                  <a:cubicBezTo>
                    <a:pt x="94" y="1038"/>
                    <a:pt x="96" y="1035"/>
                    <a:pt x="96" y="1033"/>
                  </a:cubicBezTo>
                  <a:cubicBezTo>
                    <a:pt x="96" y="1033"/>
                    <a:pt x="94" y="1030"/>
                    <a:pt x="94" y="1027"/>
                  </a:cubicBezTo>
                  <a:cubicBezTo>
                    <a:pt x="88" y="1033"/>
                    <a:pt x="85" y="1041"/>
                    <a:pt x="82" y="1049"/>
                  </a:cubicBezTo>
                  <a:cubicBezTo>
                    <a:pt x="88" y="1047"/>
                    <a:pt x="94" y="1044"/>
                    <a:pt x="102" y="1044"/>
                  </a:cubicBezTo>
                  <a:cubicBezTo>
                    <a:pt x="99" y="1049"/>
                    <a:pt x="94" y="1058"/>
                    <a:pt x="91" y="1064"/>
                  </a:cubicBezTo>
                  <a:cubicBezTo>
                    <a:pt x="88" y="1075"/>
                    <a:pt x="88" y="1089"/>
                    <a:pt x="85" y="1100"/>
                  </a:cubicBezTo>
                  <a:cubicBezTo>
                    <a:pt x="82" y="1109"/>
                    <a:pt x="77" y="1114"/>
                    <a:pt x="74" y="1123"/>
                  </a:cubicBezTo>
                  <a:cubicBezTo>
                    <a:pt x="65" y="1128"/>
                    <a:pt x="60" y="1137"/>
                    <a:pt x="60" y="1148"/>
                  </a:cubicBezTo>
                  <a:cubicBezTo>
                    <a:pt x="46" y="1145"/>
                    <a:pt x="37" y="1157"/>
                    <a:pt x="34" y="1171"/>
                  </a:cubicBezTo>
                  <a:cubicBezTo>
                    <a:pt x="29" y="1181"/>
                    <a:pt x="27" y="1193"/>
                    <a:pt x="28" y="1204"/>
                  </a:cubicBezTo>
                  <a:cubicBezTo>
                    <a:pt x="30" y="1204"/>
                    <a:pt x="31" y="1202"/>
                    <a:pt x="31" y="1202"/>
                  </a:cubicBezTo>
                  <a:cubicBezTo>
                    <a:pt x="40" y="1210"/>
                    <a:pt x="35" y="1213"/>
                    <a:pt x="29" y="1218"/>
                  </a:cubicBezTo>
                  <a:cubicBezTo>
                    <a:pt x="30" y="1221"/>
                    <a:pt x="30" y="1224"/>
                    <a:pt x="31" y="1227"/>
                  </a:cubicBezTo>
                  <a:cubicBezTo>
                    <a:pt x="37" y="1236"/>
                    <a:pt x="43" y="1241"/>
                    <a:pt x="48" y="1250"/>
                  </a:cubicBezTo>
                  <a:cubicBezTo>
                    <a:pt x="48" y="1253"/>
                    <a:pt x="46" y="1258"/>
                    <a:pt x="46" y="1264"/>
                  </a:cubicBezTo>
                  <a:cubicBezTo>
                    <a:pt x="43" y="1275"/>
                    <a:pt x="43" y="1286"/>
                    <a:pt x="40" y="1298"/>
                  </a:cubicBezTo>
                  <a:lnTo>
                    <a:pt x="40" y="1306"/>
                  </a:lnTo>
                  <a:cubicBezTo>
                    <a:pt x="34" y="1309"/>
                    <a:pt x="31" y="1315"/>
                    <a:pt x="26" y="1320"/>
                  </a:cubicBezTo>
                  <a:cubicBezTo>
                    <a:pt x="29" y="1312"/>
                    <a:pt x="34" y="1303"/>
                    <a:pt x="40" y="1298"/>
                  </a:cubicBezTo>
                  <a:cubicBezTo>
                    <a:pt x="37" y="1295"/>
                    <a:pt x="37" y="1292"/>
                    <a:pt x="34" y="1289"/>
                  </a:cubicBezTo>
                  <a:cubicBezTo>
                    <a:pt x="29" y="1292"/>
                    <a:pt x="26" y="1298"/>
                    <a:pt x="23" y="1301"/>
                  </a:cubicBezTo>
                  <a:cubicBezTo>
                    <a:pt x="15" y="1312"/>
                    <a:pt x="9" y="1326"/>
                    <a:pt x="9" y="1340"/>
                  </a:cubicBezTo>
                  <a:cubicBezTo>
                    <a:pt x="9" y="1353"/>
                    <a:pt x="11" y="1365"/>
                    <a:pt x="18" y="1376"/>
                  </a:cubicBezTo>
                  <a:cubicBezTo>
                    <a:pt x="16" y="1374"/>
                    <a:pt x="14" y="1374"/>
                    <a:pt x="12" y="1374"/>
                  </a:cubicBezTo>
                  <a:cubicBezTo>
                    <a:pt x="11" y="1373"/>
                    <a:pt x="10" y="1372"/>
                    <a:pt x="9" y="1370"/>
                  </a:cubicBezTo>
                  <a:cubicBezTo>
                    <a:pt x="14" y="1381"/>
                    <a:pt x="20" y="1391"/>
                    <a:pt x="29" y="1399"/>
                  </a:cubicBezTo>
                  <a:lnTo>
                    <a:pt x="29" y="1405"/>
                  </a:lnTo>
                  <a:cubicBezTo>
                    <a:pt x="29" y="1411"/>
                    <a:pt x="26" y="1416"/>
                    <a:pt x="26" y="1422"/>
                  </a:cubicBezTo>
                  <a:cubicBezTo>
                    <a:pt x="20" y="1427"/>
                    <a:pt x="15" y="1436"/>
                    <a:pt x="12" y="1444"/>
                  </a:cubicBezTo>
                  <a:cubicBezTo>
                    <a:pt x="20" y="1439"/>
                    <a:pt x="15" y="1442"/>
                    <a:pt x="12" y="1456"/>
                  </a:cubicBezTo>
                  <a:cubicBezTo>
                    <a:pt x="9" y="1464"/>
                    <a:pt x="9" y="1473"/>
                    <a:pt x="9" y="1484"/>
                  </a:cubicBezTo>
                  <a:cubicBezTo>
                    <a:pt x="9" y="1494"/>
                    <a:pt x="12" y="1505"/>
                    <a:pt x="17" y="1517"/>
                  </a:cubicBezTo>
                  <a:cubicBezTo>
                    <a:pt x="20" y="1525"/>
                    <a:pt x="26" y="1534"/>
                    <a:pt x="34" y="1539"/>
                  </a:cubicBezTo>
                  <a:lnTo>
                    <a:pt x="29" y="1539"/>
                  </a:lnTo>
                  <a:lnTo>
                    <a:pt x="29" y="1547"/>
                  </a:lnTo>
                  <a:cubicBezTo>
                    <a:pt x="30" y="1548"/>
                    <a:pt x="32" y="1549"/>
                    <a:pt x="34" y="1551"/>
                  </a:cubicBezTo>
                  <a:cubicBezTo>
                    <a:pt x="34" y="1555"/>
                    <a:pt x="33" y="1561"/>
                    <a:pt x="32" y="1566"/>
                  </a:cubicBezTo>
                  <a:cubicBezTo>
                    <a:pt x="32" y="1565"/>
                    <a:pt x="33" y="1563"/>
                    <a:pt x="34" y="1562"/>
                  </a:cubicBezTo>
                  <a:cubicBezTo>
                    <a:pt x="40" y="1562"/>
                    <a:pt x="43" y="1562"/>
                    <a:pt x="48" y="1565"/>
                  </a:cubicBezTo>
                  <a:cubicBezTo>
                    <a:pt x="48" y="1565"/>
                    <a:pt x="46" y="1565"/>
                    <a:pt x="46" y="1567"/>
                  </a:cubicBezTo>
                  <a:lnTo>
                    <a:pt x="51" y="1573"/>
                  </a:lnTo>
                  <a:cubicBezTo>
                    <a:pt x="34" y="1584"/>
                    <a:pt x="20" y="1604"/>
                    <a:pt x="15" y="1624"/>
                  </a:cubicBezTo>
                  <a:cubicBezTo>
                    <a:pt x="18" y="1618"/>
                    <a:pt x="22" y="1613"/>
                    <a:pt x="27" y="1607"/>
                  </a:cubicBezTo>
                  <a:cubicBezTo>
                    <a:pt x="12" y="1628"/>
                    <a:pt x="14" y="1658"/>
                    <a:pt x="31" y="1675"/>
                  </a:cubicBezTo>
                  <a:cubicBezTo>
                    <a:pt x="31" y="1677"/>
                    <a:pt x="34" y="1680"/>
                    <a:pt x="34" y="1683"/>
                  </a:cubicBezTo>
                  <a:cubicBezTo>
                    <a:pt x="34" y="1685"/>
                    <a:pt x="33" y="1687"/>
                    <a:pt x="32" y="1688"/>
                  </a:cubicBezTo>
                  <a:cubicBezTo>
                    <a:pt x="38" y="1695"/>
                    <a:pt x="44" y="1701"/>
                    <a:pt x="51" y="1706"/>
                  </a:cubicBezTo>
                  <a:cubicBezTo>
                    <a:pt x="51" y="1708"/>
                    <a:pt x="53" y="1710"/>
                    <a:pt x="53" y="1712"/>
                  </a:cubicBezTo>
                  <a:cubicBezTo>
                    <a:pt x="52" y="1712"/>
                    <a:pt x="51" y="1712"/>
                    <a:pt x="50" y="1712"/>
                  </a:cubicBezTo>
                  <a:cubicBezTo>
                    <a:pt x="50" y="1712"/>
                    <a:pt x="49" y="1711"/>
                    <a:pt x="48" y="1711"/>
                  </a:cubicBezTo>
                  <a:cubicBezTo>
                    <a:pt x="49" y="1712"/>
                    <a:pt x="49" y="1712"/>
                    <a:pt x="49" y="1712"/>
                  </a:cubicBezTo>
                  <a:cubicBezTo>
                    <a:pt x="45" y="1713"/>
                    <a:pt x="45" y="1715"/>
                    <a:pt x="43" y="1717"/>
                  </a:cubicBezTo>
                  <a:cubicBezTo>
                    <a:pt x="34" y="1728"/>
                    <a:pt x="29" y="1742"/>
                    <a:pt x="26" y="1754"/>
                  </a:cubicBezTo>
                  <a:cubicBezTo>
                    <a:pt x="23" y="1768"/>
                    <a:pt x="23" y="1782"/>
                    <a:pt x="29" y="1796"/>
                  </a:cubicBezTo>
                  <a:cubicBezTo>
                    <a:pt x="34" y="1816"/>
                    <a:pt x="48" y="1833"/>
                    <a:pt x="65" y="1844"/>
                  </a:cubicBezTo>
                  <a:cubicBezTo>
                    <a:pt x="65" y="1847"/>
                    <a:pt x="68" y="1850"/>
                    <a:pt x="71" y="1852"/>
                  </a:cubicBezTo>
                  <a:lnTo>
                    <a:pt x="71" y="1850"/>
                  </a:lnTo>
                  <a:lnTo>
                    <a:pt x="85" y="1857"/>
                  </a:lnTo>
                  <a:cubicBezTo>
                    <a:pt x="85" y="1857"/>
                    <a:pt x="85" y="1857"/>
                    <a:pt x="85" y="1858"/>
                  </a:cubicBezTo>
                  <a:lnTo>
                    <a:pt x="82" y="1858"/>
                  </a:lnTo>
                  <a:lnTo>
                    <a:pt x="88" y="1861"/>
                  </a:lnTo>
                  <a:lnTo>
                    <a:pt x="82" y="1864"/>
                  </a:lnTo>
                  <a:cubicBezTo>
                    <a:pt x="80" y="1861"/>
                    <a:pt x="77" y="1856"/>
                    <a:pt x="72" y="1855"/>
                  </a:cubicBezTo>
                  <a:cubicBezTo>
                    <a:pt x="75" y="1861"/>
                    <a:pt x="77" y="1867"/>
                    <a:pt x="77" y="1872"/>
                  </a:cubicBezTo>
                  <a:cubicBezTo>
                    <a:pt x="74" y="1881"/>
                    <a:pt x="65" y="1883"/>
                    <a:pt x="65" y="1889"/>
                  </a:cubicBezTo>
                  <a:cubicBezTo>
                    <a:pt x="62" y="1900"/>
                    <a:pt x="60" y="1912"/>
                    <a:pt x="60" y="1923"/>
                  </a:cubicBezTo>
                  <a:lnTo>
                    <a:pt x="60" y="1934"/>
                  </a:lnTo>
                  <a:lnTo>
                    <a:pt x="60" y="1937"/>
                  </a:lnTo>
                  <a:cubicBezTo>
                    <a:pt x="62" y="1945"/>
                    <a:pt x="65" y="1951"/>
                    <a:pt x="68" y="1957"/>
                  </a:cubicBezTo>
                  <a:cubicBezTo>
                    <a:pt x="77" y="1977"/>
                    <a:pt x="94" y="1991"/>
                    <a:pt x="113" y="2002"/>
                  </a:cubicBezTo>
                  <a:lnTo>
                    <a:pt x="113" y="2005"/>
                  </a:lnTo>
                  <a:lnTo>
                    <a:pt x="116" y="2005"/>
                  </a:lnTo>
                  <a:lnTo>
                    <a:pt x="119" y="2002"/>
                  </a:lnTo>
                  <a:cubicBezTo>
                    <a:pt x="119" y="2005"/>
                    <a:pt x="113" y="2008"/>
                    <a:pt x="113" y="2008"/>
                  </a:cubicBezTo>
                  <a:cubicBezTo>
                    <a:pt x="116" y="2013"/>
                    <a:pt x="122" y="2016"/>
                    <a:pt x="125" y="2022"/>
                  </a:cubicBezTo>
                  <a:cubicBezTo>
                    <a:pt x="125" y="2024"/>
                    <a:pt x="122" y="2024"/>
                    <a:pt x="122" y="2027"/>
                  </a:cubicBezTo>
                  <a:cubicBezTo>
                    <a:pt x="119" y="2047"/>
                    <a:pt x="122" y="2067"/>
                    <a:pt x="130" y="2084"/>
                  </a:cubicBezTo>
                  <a:cubicBezTo>
                    <a:pt x="136" y="2101"/>
                    <a:pt x="150" y="2115"/>
                    <a:pt x="167" y="2126"/>
                  </a:cubicBezTo>
                  <a:cubicBezTo>
                    <a:pt x="173" y="2134"/>
                    <a:pt x="175" y="2146"/>
                    <a:pt x="181" y="2154"/>
                  </a:cubicBezTo>
                  <a:cubicBezTo>
                    <a:pt x="181" y="2157"/>
                    <a:pt x="184" y="2160"/>
                    <a:pt x="187" y="2163"/>
                  </a:cubicBezTo>
                  <a:lnTo>
                    <a:pt x="192" y="2160"/>
                  </a:lnTo>
                  <a:cubicBezTo>
                    <a:pt x="195" y="2160"/>
                    <a:pt x="198" y="2163"/>
                    <a:pt x="198" y="2171"/>
                  </a:cubicBezTo>
                  <a:cubicBezTo>
                    <a:pt x="195" y="2168"/>
                    <a:pt x="192" y="2171"/>
                    <a:pt x="189" y="2171"/>
                  </a:cubicBezTo>
                  <a:cubicBezTo>
                    <a:pt x="189" y="2168"/>
                    <a:pt x="192" y="2163"/>
                    <a:pt x="192" y="2160"/>
                  </a:cubicBezTo>
                  <a:cubicBezTo>
                    <a:pt x="192" y="2163"/>
                    <a:pt x="187" y="2168"/>
                    <a:pt x="184" y="2171"/>
                  </a:cubicBezTo>
                  <a:cubicBezTo>
                    <a:pt x="181" y="2182"/>
                    <a:pt x="181" y="2194"/>
                    <a:pt x="184" y="2205"/>
                  </a:cubicBezTo>
                  <a:cubicBezTo>
                    <a:pt x="184" y="2208"/>
                    <a:pt x="187" y="2208"/>
                    <a:pt x="187" y="2211"/>
                  </a:cubicBezTo>
                  <a:cubicBezTo>
                    <a:pt x="189" y="2211"/>
                    <a:pt x="195" y="2213"/>
                    <a:pt x="198" y="2213"/>
                  </a:cubicBezTo>
                  <a:lnTo>
                    <a:pt x="201" y="2213"/>
                  </a:lnTo>
                  <a:cubicBezTo>
                    <a:pt x="195" y="2205"/>
                    <a:pt x="192" y="2197"/>
                    <a:pt x="192" y="2185"/>
                  </a:cubicBezTo>
                  <a:lnTo>
                    <a:pt x="192" y="2177"/>
                  </a:lnTo>
                  <a:cubicBezTo>
                    <a:pt x="192" y="2177"/>
                    <a:pt x="192" y="2180"/>
                    <a:pt x="195" y="2180"/>
                  </a:cubicBezTo>
                  <a:lnTo>
                    <a:pt x="204" y="2171"/>
                  </a:lnTo>
                  <a:cubicBezTo>
                    <a:pt x="204" y="2177"/>
                    <a:pt x="204" y="2180"/>
                    <a:pt x="201" y="2185"/>
                  </a:cubicBezTo>
                  <a:cubicBezTo>
                    <a:pt x="198" y="2185"/>
                    <a:pt x="201" y="2185"/>
                    <a:pt x="201" y="2188"/>
                  </a:cubicBezTo>
                  <a:cubicBezTo>
                    <a:pt x="201" y="2191"/>
                    <a:pt x="201" y="2191"/>
                    <a:pt x="204" y="2194"/>
                  </a:cubicBezTo>
                  <a:lnTo>
                    <a:pt x="204" y="2211"/>
                  </a:lnTo>
                  <a:cubicBezTo>
                    <a:pt x="204" y="2211"/>
                    <a:pt x="206" y="2211"/>
                    <a:pt x="206" y="2208"/>
                  </a:cubicBezTo>
                  <a:cubicBezTo>
                    <a:pt x="206" y="2211"/>
                    <a:pt x="212" y="2211"/>
                    <a:pt x="212" y="2213"/>
                  </a:cubicBezTo>
                  <a:cubicBezTo>
                    <a:pt x="218" y="2222"/>
                    <a:pt x="218" y="2236"/>
                    <a:pt x="223" y="2244"/>
                  </a:cubicBezTo>
                  <a:cubicBezTo>
                    <a:pt x="220" y="2242"/>
                    <a:pt x="218" y="2242"/>
                    <a:pt x="218" y="2239"/>
                  </a:cubicBezTo>
                  <a:lnTo>
                    <a:pt x="218" y="2236"/>
                  </a:lnTo>
                  <a:cubicBezTo>
                    <a:pt x="215" y="2236"/>
                    <a:pt x="212" y="2242"/>
                    <a:pt x="209" y="2244"/>
                  </a:cubicBezTo>
                  <a:cubicBezTo>
                    <a:pt x="218" y="2250"/>
                    <a:pt x="229" y="2256"/>
                    <a:pt x="237" y="2259"/>
                  </a:cubicBezTo>
                  <a:lnTo>
                    <a:pt x="235" y="2261"/>
                  </a:lnTo>
                  <a:lnTo>
                    <a:pt x="237" y="2261"/>
                  </a:lnTo>
                  <a:cubicBezTo>
                    <a:pt x="237" y="2261"/>
                    <a:pt x="240" y="2261"/>
                    <a:pt x="240" y="2259"/>
                  </a:cubicBezTo>
                  <a:cubicBezTo>
                    <a:pt x="257" y="2264"/>
                    <a:pt x="271" y="2264"/>
                    <a:pt x="266" y="2267"/>
                  </a:cubicBezTo>
                  <a:cubicBezTo>
                    <a:pt x="263" y="2267"/>
                    <a:pt x="257" y="2273"/>
                    <a:pt x="254" y="2273"/>
                  </a:cubicBezTo>
                  <a:cubicBezTo>
                    <a:pt x="260" y="2273"/>
                    <a:pt x="268" y="2270"/>
                    <a:pt x="271" y="2270"/>
                  </a:cubicBezTo>
                  <a:cubicBezTo>
                    <a:pt x="266" y="2273"/>
                    <a:pt x="263" y="2278"/>
                    <a:pt x="266" y="2284"/>
                  </a:cubicBezTo>
                  <a:cubicBezTo>
                    <a:pt x="257" y="2284"/>
                    <a:pt x="252" y="2278"/>
                    <a:pt x="246" y="2278"/>
                  </a:cubicBezTo>
                  <a:lnTo>
                    <a:pt x="254" y="2295"/>
                  </a:lnTo>
                  <a:lnTo>
                    <a:pt x="257" y="2295"/>
                  </a:lnTo>
                  <a:cubicBezTo>
                    <a:pt x="271" y="2292"/>
                    <a:pt x="257" y="2304"/>
                    <a:pt x="266" y="2307"/>
                  </a:cubicBezTo>
                  <a:lnTo>
                    <a:pt x="271" y="2307"/>
                  </a:lnTo>
                  <a:lnTo>
                    <a:pt x="271" y="2309"/>
                  </a:lnTo>
                  <a:cubicBezTo>
                    <a:pt x="274" y="2309"/>
                    <a:pt x="277" y="2312"/>
                    <a:pt x="277" y="2312"/>
                  </a:cubicBezTo>
                  <a:lnTo>
                    <a:pt x="277" y="2309"/>
                  </a:lnTo>
                  <a:lnTo>
                    <a:pt x="280" y="2309"/>
                  </a:lnTo>
                  <a:cubicBezTo>
                    <a:pt x="280" y="2312"/>
                    <a:pt x="283" y="2315"/>
                    <a:pt x="285" y="2318"/>
                  </a:cubicBezTo>
                  <a:cubicBezTo>
                    <a:pt x="283" y="2321"/>
                    <a:pt x="280" y="2321"/>
                    <a:pt x="277" y="2323"/>
                  </a:cubicBezTo>
                  <a:lnTo>
                    <a:pt x="277" y="2318"/>
                  </a:lnTo>
                  <a:cubicBezTo>
                    <a:pt x="277" y="2321"/>
                    <a:pt x="274" y="2323"/>
                    <a:pt x="274" y="2326"/>
                  </a:cubicBezTo>
                  <a:cubicBezTo>
                    <a:pt x="274" y="2329"/>
                    <a:pt x="271" y="2329"/>
                    <a:pt x="274" y="2332"/>
                  </a:cubicBezTo>
                  <a:cubicBezTo>
                    <a:pt x="280" y="2346"/>
                    <a:pt x="288" y="2360"/>
                    <a:pt x="302" y="2371"/>
                  </a:cubicBezTo>
                  <a:cubicBezTo>
                    <a:pt x="308" y="2377"/>
                    <a:pt x="314" y="2380"/>
                    <a:pt x="322" y="2383"/>
                  </a:cubicBezTo>
                  <a:cubicBezTo>
                    <a:pt x="324" y="2385"/>
                    <a:pt x="325" y="2389"/>
                    <a:pt x="325" y="2391"/>
                  </a:cubicBezTo>
                  <a:cubicBezTo>
                    <a:pt x="326" y="2391"/>
                    <a:pt x="327" y="2391"/>
                    <a:pt x="328" y="2391"/>
                  </a:cubicBezTo>
                  <a:cubicBezTo>
                    <a:pt x="331" y="2394"/>
                    <a:pt x="331" y="2402"/>
                    <a:pt x="336" y="2405"/>
                  </a:cubicBezTo>
                  <a:cubicBezTo>
                    <a:pt x="336" y="2405"/>
                    <a:pt x="339" y="2405"/>
                    <a:pt x="342" y="2402"/>
                  </a:cubicBezTo>
                  <a:cubicBezTo>
                    <a:pt x="345" y="2402"/>
                    <a:pt x="342" y="2402"/>
                    <a:pt x="342" y="2402"/>
                  </a:cubicBezTo>
                  <a:cubicBezTo>
                    <a:pt x="342" y="2405"/>
                    <a:pt x="345" y="2405"/>
                    <a:pt x="345" y="2408"/>
                  </a:cubicBezTo>
                  <a:lnTo>
                    <a:pt x="336" y="2408"/>
                  </a:lnTo>
                  <a:lnTo>
                    <a:pt x="342" y="2411"/>
                  </a:lnTo>
                  <a:cubicBezTo>
                    <a:pt x="342" y="2417"/>
                    <a:pt x="339" y="2425"/>
                    <a:pt x="339" y="2431"/>
                  </a:cubicBezTo>
                  <a:cubicBezTo>
                    <a:pt x="339" y="2450"/>
                    <a:pt x="347" y="2467"/>
                    <a:pt x="359" y="2481"/>
                  </a:cubicBezTo>
                  <a:cubicBezTo>
                    <a:pt x="367" y="2490"/>
                    <a:pt x="373" y="2490"/>
                    <a:pt x="367" y="2479"/>
                  </a:cubicBezTo>
                  <a:cubicBezTo>
                    <a:pt x="373" y="2487"/>
                    <a:pt x="384" y="2496"/>
                    <a:pt x="393" y="2498"/>
                  </a:cubicBezTo>
                  <a:cubicBezTo>
                    <a:pt x="401" y="2504"/>
                    <a:pt x="412" y="2510"/>
                    <a:pt x="424" y="2515"/>
                  </a:cubicBezTo>
                  <a:lnTo>
                    <a:pt x="429" y="2515"/>
                  </a:lnTo>
                  <a:cubicBezTo>
                    <a:pt x="432" y="2518"/>
                    <a:pt x="435" y="2524"/>
                    <a:pt x="438" y="2527"/>
                  </a:cubicBezTo>
                  <a:cubicBezTo>
                    <a:pt x="443" y="2529"/>
                    <a:pt x="443" y="2527"/>
                    <a:pt x="443" y="2529"/>
                  </a:cubicBezTo>
                  <a:cubicBezTo>
                    <a:pt x="443" y="2529"/>
                    <a:pt x="443" y="2532"/>
                    <a:pt x="446" y="2532"/>
                  </a:cubicBezTo>
                  <a:lnTo>
                    <a:pt x="446" y="2535"/>
                  </a:lnTo>
                  <a:lnTo>
                    <a:pt x="449" y="2535"/>
                  </a:lnTo>
                  <a:lnTo>
                    <a:pt x="455" y="2535"/>
                  </a:lnTo>
                  <a:cubicBezTo>
                    <a:pt x="455" y="2537"/>
                    <a:pt x="456" y="2539"/>
                    <a:pt x="458" y="2541"/>
                  </a:cubicBezTo>
                  <a:lnTo>
                    <a:pt x="460" y="2543"/>
                  </a:lnTo>
                  <a:lnTo>
                    <a:pt x="463" y="2543"/>
                  </a:lnTo>
                  <a:cubicBezTo>
                    <a:pt x="466" y="2560"/>
                    <a:pt x="472" y="2575"/>
                    <a:pt x="480" y="2589"/>
                  </a:cubicBezTo>
                  <a:cubicBezTo>
                    <a:pt x="491" y="2597"/>
                    <a:pt x="503" y="2606"/>
                    <a:pt x="517" y="2608"/>
                  </a:cubicBezTo>
                  <a:cubicBezTo>
                    <a:pt x="522" y="2608"/>
                    <a:pt x="528" y="2606"/>
                    <a:pt x="534" y="2606"/>
                  </a:cubicBezTo>
                  <a:lnTo>
                    <a:pt x="534" y="2611"/>
                  </a:lnTo>
                  <a:cubicBezTo>
                    <a:pt x="542" y="2617"/>
                    <a:pt x="548" y="2625"/>
                    <a:pt x="556" y="2634"/>
                  </a:cubicBezTo>
                  <a:lnTo>
                    <a:pt x="562" y="2634"/>
                  </a:lnTo>
                  <a:cubicBezTo>
                    <a:pt x="562" y="2637"/>
                    <a:pt x="565" y="2639"/>
                    <a:pt x="565" y="2645"/>
                  </a:cubicBezTo>
                  <a:cubicBezTo>
                    <a:pt x="568" y="2665"/>
                    <a:pt x="579" y="2682"/>
                    <a:pt x="593" y="2696"/>
                  </a:cubicBezTo>
                  <a:cubicBezTo>
                    <a:pt x="610" y="2707"/>
                    <a:pt x="630" y="2713"/>
                    <a:pt x="649" y="2710"/>
                  </a:cubicBezTo>
                  <a:lnTo>
                    <a:pt x="666" y="2710"/>
                  </a:lnTo>
                  <a:lnTo>
                    <a:pt x="666" y="2713"/>
                  </a:lnTo>
                  <a:cubicBezTo>
                    <a:pt x="669" y="2713"/>
                    <a:pt x="672" y="2716"/>
                    <a:pt x="675" y="2716"/>
                  </a:cubicBezTo>
                  <a:cubicBezTo>
                    <a:pt x="675" y="2713"/>
                    <a:pt x="675" y="2707"/>
                    <a:pt x="678" y="2704"/>
                  </a:cubicBezTo>
                  <a:cubicBezTo>
                    <a:pt x="683" y="2704"/>
                    <a:pt x="686" y="2704"/>
                    <a:pt x="692" y="2701"/>
                  </a:cubicBezTo>
                  <a:cubicBezTo>
                    <a:pt x="692" y="2704"/>
                    <a:pt x="695" y="2704"/>
                    <a:pt x="695" y="2704"/>
                  </a:cubicBezTo>
                  <a:cubicBezTo>
                    <a:pt x="692" y="2707"/>
                    <a:pt x="689" y="2710"/>
                    <a:pt x="683" y="2713"/>
                  </a:cubicBezTo>
                  <a:cubicBezTo>
                    <a:pt x="686" y="2713"/>
                    <a:pt x="689" y="2716"/>
                    <a:pt x="695" y="2716"/>
                  </a:cubicBezTo>
                  <a:cubicBezTo>
                    <a:pt x="695" y="2718"/>
                    <a:pt x="700" y="2718"/>
                    <a:pt x="700" y="2718"/>
                  </a:cubicBezTo>
                  <a:cubicBezTo>
                    <a:pt x="700" y="2721"/>
                    <a:pt x="695" y="2724"/>
                    <a:pt x="692" y="2724"/>
                  </a:cubicBezTo>
                  <a:lnTo>
                    <a:pt x="695" y="2724"/>
                  </a:lnTo>
                  <a:lnTo>
                    <a:pt x="697" y="2724"/>
                  </a:lnTo>
                  <a:cubicBezTo>
                    <a:pt x="697" y="2727"/>
                    <a:pt x="697" y="2727"/>
                    <a:pt x="700" y="2730"/>
                  </a:cubicBezTo>
                  <a:cubicBezTo>
                    <a:pt x="709" y="2747"/>
                    <a:pt x="723" y="2761"/>
                    <a:pt x="742" y="2769"/>
                  </a:cubicBezTo>
                  <a:cubicBezTo>
                    <a:pt x="745" y="2772"/>
                    <a:pt x="745" y="2775"/>
                    <a:pt x="742" y="2772"/>
                  </a:cubicBezTo>
                  <a:lnTo>
                    <a:pt x="740" y="2772"/>
                  </a:lnTo>
                  <a:cubicBezTo>
                    <a:pt x="751" y="2780"/>
                    <a:pt x="762" y="2786"/>
                    <a:pt x="774" y="2789"/>
                  </a:cubicBezTo>
                  <a:lnTo>
                    <a:pt x="802" y="2789"/>
                  </a:lnTo>
                  <a:cubicBezTo>
                    <a:pt x="805" y="2789"/>
                    <a:pt x="805" y="2792"/>
                    <a:pt x="807" y="2795"/>
                  </a:cubicBezTo>
                  <a:cubicBezTo>
                    <a:pt x="810" y="2797"/>
                    <a:pt x="816" y="2797"/>
                    <a:pt x="819" y="2797"/>
                  </a:cubicBezTo>
                  <a:cubicBezTo>
                    <a:pt x="820" y="2800"/>
                    <a:pt x="822" y="2803"/>
                    <a:pt x="823" y="2806"/>
                  </a:cubicBezTo>
                  <a:cubicBezTo>
                    <a:pt x="824" y="2806"/>
                    <a:pt x="825" y="2806"/>
                    <a:pt x="827" y="2809"/>
                  </a:cubicBezTo>
                  <a:cubicBezTo>
                    <a:pt x="832" y="2816"/>
                    <a:pt x="838" y="2824"/>
                    <a:pt x="845" y="2831"/>
                  </a:cubicBezTo>
                  <a:cubicBezTo>
                    <a:pt x="838" y="2825"/>
                    <a:pt x="832" y="2819"/>
                    <a:pt x="826" y="2812"/>
                  </a:cubicBezTo>
                  <a:cubicBezTo>
                    <a:pt x="830" y="2818"/>
                    <a:pt x="834" y="2824"/>
                    <a:pt x="838" y="2828"/>
                  </a:cubicBezTo>
                  <a:cubicBezTo>
                    <a:pt x="850" y="2840"/>
                    <a:pt x="861" y="2848"/>
                    <a:pt x="875" y="2854"/>
                  </a:cubicBezTo>
                  <a:lnTo>
                    <a:pt x="892" y="2854"/>
                  </a:lnTo>
                  <a:cubicBezTo>
                    <a:pt x="889" y="2854"/>
                    <a:pt x="886" y="2851"/>
                    <a:pt x="884" y="2848"/>
                  </a:cubicBezTo>
                  <a:cubicBezTo>
                    <a:pt x="884" y="2842"/>
                    <a:pt x="901" y="2845"/>
                    <a:pt x="901" y="2848"/>
                  </a:cubicBezTo>
                  <a:cubicBezTo>
                    <a:pt x="901" y="2851"/>
                    <a:pt x="895" y="2854"/>
                    <a:pt x="892" y="2854"/>
                  </a:cubicBezTo>
                  <a:cubicBezTo>
                    <a:pt x="901" y="2854"/>
                    <a:pt x="909" y="2851"/>
                    <a:pt x="915" y="2851"/>
                  </a:cubicBezTo>
                  <a:cubicBezTo>
                    <a:pt x="920" y="2851"/>
                    <a:pt x="926" y="2848"/>
                    <a:pt x="929" y="2848"/>
                  </a:cubicBezTo>
                  <a:lnTo>
                    <a:pt x="932" y="2851"/>
                  </a:lnTo>
                  <a:cubicBezTo>
                    <a:pt x="932" y="2851"/>
                    <a:pt x="929" y="2848"/>
                    <a:pt x="929" y="2845"/>
                  </a:cubicBezTo>
                  <a:lnTo>
                    <a:pt x="937" y="2845"/>
                  </a:lnTo>
                  <a:cubicBezTo>
                    <a:pt x="937" y="2848"/>
                    <a:pt x="934" y="2851"/>
                    <a:pt x="934" y="2854"/>
                  </a:cubicBezTo>
                  <a:lnTo>
                    <a:pt x="937" y="2854"/>
                  </a:lnTo>
                  <a:cubicBezTo>
                    <a:pt x="948" y="2857"/>
                    <a:pt x="957" y="2862"/>
                    <a:pt x="968" y="2865"/>
                  </a:cubicBezTo>
                  <a:cubicBezTo>
                    <a:pt x="974" y="2874"/>
                    <a:pt x="982" y="2882"/>
                    <a:pt x="988" y="2890"/>
                  </a:cubicBezTo>
                  <a:cubicBezTo>
                    <a:pt x="991" y="2893"/>
                    <a:pt x="994" y="2893"/>
                    <a:pt x="996" y="2896"/>
                  </a:cubicBezTo>
                  <a:cubicBezTo>
                    <a:pt x="996" y="2893"/>
                    <a:pt x="994" y="2890"/>
                    <a:pt x="994" y="2885"/>
                  </a:cubicBezTo>
                  <a:cubicBezTo>
                    <a:pt x="996" y="2882"/>
                    <a:pt x="999" y="2882"/>
                    <a:pt x="999" y="2882"/>
                  </a:cubicBezTo>
                  <a:cubicBezTo>
                    <a:pt x="1002" y="2885"/>
                    <a:pt x="1002" y="2893"/>
                    <a:pt x="996" y="2893"/>
                  </a:cubicBezTo>
                  <a:cubicBezTo>
                    <a:pt x="1013" y="2905"/>
                    <a:pt x="1033" y="2910"/>
                    <a:pt x="1050" y="2910"/>
                  </a:cubicBezTo>
                  <a:cubicBezTo>
                    <a:pt x="1061" y="2910"/>
                    <a:pt x="1070" y="2907"/>
                    <a:pt x="1081" y="2905"/>
                  </a:cubicBezTo>
                  <a:cubicBezTo>
                    <a:pt x="1090" y="2907"/>
                    <a:pt x="1098" y="2905"/>
                    <a:pt x="1106" y="2907"/>
                  </a:cubicBezTo>
                  <a:lnTo>
                    <a:pt x="1109" y="2907"/>
                  </a:lnTo>
                  <a:cubicBezTo>
                    <a:pt x="1112" y="2910"/>
                    <a:pt x="1118" y="2913"/>
                    <a:pt x="1118" y="2913"/>
                  </a:cubicBezTo>
                  <a:cubicBezTo>
                    <a:pt x="1126" y="2927"/>
                    <a:pt x="1138" y="2936"/>
                    <a:pt x="1152" y="2941"/>
                  </a:cubicBezTo>
                  <a:cubicBezTo>
                    <a:pt x="1164" y="2945"/>
                    <a:pt x="1177" y="2945"/>
                    <a:pt x="1190" y="2943"/>
                  </a:cubicBezTo>
                  <a:cubicBezTo>
                    <a:pt x="1192" y="2942"/>
                    <a:pt x="1193" y="2942"/>
                    <a:pt x="1195" y="2942"/>
                  </a:cubicBezTo>
                  <a:cubicBezTo>
                    <a:pt x="1200" y="2941"/>
                    <a:pt x="1206" y="2940"/>
                    <a:pt x="1211" y="2938"/>
                  </a:cubicBezTo>
                  <a:cubicBezTo>
                    <a:pt x="1214" y="2938"/>
                    <a:pt x="1217" y="2933"/>
                    <a:pt x="1219" y="2933"/>
                  </a:cubicBezTo>
                  <a:cubicBezTo>
                    <a:pt x="1228" y="2936"/>
                    <a:pt x="1236" y="2938"/>
                    <a:pt x="1245" y="2938"/>
                  </a:cubicBezTo>
                  <a:cubicBezTo>
                    <a:pt x="1256" y="2941"/>
                    <a:pt x="1267" y="2941"/>
                    <a:pt x="1279" y="2944"/>
                  </a:cubicBezTo>
                  <a:cubicBezTo>
                    <a:pt x="1290" y="2947"/>
                    <a:pt x="1301" y="2947"/>
                    <a:pt x="1315" y="2947"/>
                  </a:cubicBezTo>
                  <a:cubicBezTo>
                    <a:pt x="1315" y="2947"/>
                    <a:pt x="1315" y="2950"/>
                    <a:pt x="1318" y="2950"/>
                  </a:cubicBezTo>
                  <a:cubicBezTo>
                    <a:pt x="1321" y="2950"/>
                    <a:pt x="1327" y="2953"/>
                    <a:pt x="1329" y="2953"/>
                  </a:cubicBezTo>
                  <a:lnTo>
                    <a:pt x="1352" y="2953"/>
                  </a:lnTo>
                  <a:cubicBezTo>
                    <a:pt x="1363" y="2953"/>
                    <a:pt x="1375" y="2955"/>
                    <a:pt x="1386" y="2955"/>
                  </a:cubicBezTo>
                  <a:cubicBezTo>
                    <a:pt x="1397" y="2955"/>
                    <a:pt x="1408" y="2958"/>
                    <a:pt x="1417" y="2958"/>
                  </a:cubicBezTo>
                  <a:cubicBezTo>
                    <a:pt x="1420" y="2958"/>
                    <a:pt x="1423" y="2964"/>
                    <a:pt x="1423" y="2964"/>
                  </a:cubicBezTo>
                  <a:cubicBezTo>
                    <a:pt x="1423" y="2961"/>
                    <a:pt x="1420" y="2961"/>
                    <a:pt x="1420" y="2958"/>
                  </a:cubicBezTo>
                  <a:lnTo>
                    <a:pt x="1425" y="2958"/>
                  </a:lnTo>
                  <a:cubicBezTo>
                    <a:pt x="1428" y="2958"/>
                    <a:pt x="1431" y="2961"/>
                    <a:pt x="1434" y="2964"/>
                  </a:cubicBezTo>
                  <a:lnTo>
                    <a:pt x="1462" y="2964"/>
                  </a:lnTo>
                  <a:cubicBezTo>
                    <a:pt x="1473" y="2964"/>
                    <a:pt x="1485" y="2964"/>
                    <a:pt x="1495" y="2958"/>
                  </a:cubicBezTo>
                  <a:lnTo>
                    <a:pt x="1498" y="2955"/>
                  </a:lnTo>
                  <a:lnTo>
                    <a:pt x="1517" y="2955"/>
                  </a:lnTo>
                  <a:lnTo>
                    <a:pt x="1517" y="2955"/>
                  </a:lnTo>
                  <a:lnTo>
                    <a:pt x="1520" y="2955"/>
                  </a:lnTo>
                  <a:lnTo>
                    <a:pt x="1520" y="2956"/>
                  </a:lnTo>
                  <a:cubicBezTo>
                    <a:pt x="1521" y="2957"/>
                    <a:pt x="1521" y="2958"/>
                    <a:pt x="1523" y="2958"/>
                  </a:cubicBezTo>
                  <a:lnTo>
                    <a:pt x="1526" y="2958"/>
                  </a:lnTo>
                  <a:lnTo>
                    <a:pt x="1526" y="2955"/>
                  </a:lnTo>
                  <a:lnTo>
                    <a:pt x="1563" y="2955"/>
                  </a:lnTo>
                  <a:cubicBezTo>
                    <a:pt x="1565" y="2955"/>
                    <a:pt x="1571" y="2953"/>
                    <a:pt x="1574" y="2953"/>
                  </a:cubicBezTo>
                  <a:cubicBezTo>
                    <a:pt x="1580" y="2955"/>
                    <a:pt x="1585" y="2961"/>
                    <a:pt x="1594" y="2964"/>
                  </a:cubicBezTo>
                  <a:cubicBezTo>
                    <a:pt x="1598" y="2965"/>
                    <a:pt x="1602" y="2967"/>
                    <a:pt x="1607" y="2968"/>
                  </a:cubicBezTo>
                  <a:cubicBezTo>
                    <a:pt x="1601" y="2965"/>
                    <a:pt x="1596" y="2962"/>
                    <a:pt x="1591" y="2958"/>
                  </a:cubicBezTo>
                  <a:cubicBezTo>
                    <a:pt x="1596" y="2958"/>
                    <a:pt x="1599" y="2961"/>
                    <a:pt x="1605" y="2961"/>
                  </a:cubicBezTo>
                  <a:cubicBezTo>
                    <a:pt x="1605" y="2958"/>
                    <a:pt x="1605" y="2955"/>
                    <a:pt x="1599" y="2955"/>
                  </a:cubicBezTo>
                  <a:cubicBezTo>
                    <a:pt x="1602" y="2953"/>
                    <a:pt x="1608" y="2953"/>
                    <a:pt x="1608" y="2958"/>
                  </a:cubicBezTo>
                  <a:lnTo>
                    <a:pt x="1639" y="2958"/>
                  </a:lnTo>
                  <a:cubicBezTo>
                    <a:pt x="1650" y="2958"/>
                    <a:pt x="1661" y="2953"/>
                    <a:pt x="1673" y="2953"/>
                  </a:cubicBezTo>
                  <a:cubicBezTo>
                    <a:pt x="1676" y="2953"/>
                    <a:pt x="1679" y="2954"/>
                    <a:pt x="1682" y="2954"/>
                  </a:cubicBezTo>
                  <a:cubicBezTo>
                    <a:pt x="1683" y="2953"/>
                    <a:pt x="1683" y="2953"/>
                    <a:pt x="1684" y="2953"/>
                  </a:cubicBezTo>
                  <a:cubicBezTo>
                    <a:pt x="1690" y="2950"/>
                    <a:pt x="1698" y="2947"/>
                    <a:pt x="1701" y="2944"/>
                  </a:cubicBezTo>
                  <a:lnTo>
                    <a:pt x="1704" y="2944"/>
                  </a:lnTo>
                  <a:cubicBezTo>
                    <a:pt x="1709" y="2944"/>
                    <a:pt x="1715" y="2938"/>
                    <a:pt x="1723" y="2938"/>
                  </a:cubicBezTo>
                  <a:cubicBezTo>
                    <a:pt x="1729" y="2941"/>
                    <a:pt x="1738" y="2944"/>
                    <a:pt x="1743" y="2947"/>
                  </a:cubicBezTo>
                  <a:cubicBezTo>
                    <a:pt x="1757" y="2950"/>
                    <a:pt x="1771" y="2950"/>
                    <a:pt x="1786" y="2944"/>
                  </a:cubicBezTo>
                  <a:cubicBezTo>
                    <a:pt x="1800" y="2941"/>
                    <a:pt x="1814" y="2933"/>
                    <a:pt x="1825" y="2919"/>
                  </a:cubicBezTo>
                  <a:cubicBezTo>
                    <a:pt x="1831" y="2919"/>
                    <a:pt x="1836" y="2916"/>
                    <a:pt x="1842" y="2916"/>
                  </a:cubicBezTo>
                  <a:lnTo>
                    <a:pt x="1876" y="2907"/>
                  </a:lnTo>
                  <a:cubicBezTo>
                    <a:pt x="1884" y="2905"/>
                    <a:pt x="1890" y="2902"/>
                    <a:pt x="1898" y="2902"/>
                  </a:cubicBezTo>
                  <a:cubicBezTo>
                    <a:pt x="1907" y="2905"/>
                    <a:pt x="1918" y="2907"/>
                    <a:pt x="1927" y="2907"/>
                  </a:cubicBezTo>
                  <a:cubicBezTo>
                    <a:pt x="1941" y="2905"/>
                    <a:pt x="1955" y="2899"/>
                    <a:pt x="1966" y="2890"/>
                  </a:cubicBezTo>
                  <a:cubicBezTo>
                    <a:pt x="1975" y="2888"/>
                    <a:pt x="1980" y="2882"/>
                    <a:pt x="1989" y="2876"/>
                  </a:cubicBezTo>
                  <a:cubicBezTo>
                    <a:pt x="1994" y="2874"/>
                    <a:pt x="2000" y="2868"/>
                    <a:pt x="2006" y="2868"/>
                  </a:cubicBezTo>
                  <a:cubicBezTo>
                    <a:pt x="2003" y="2874"/>
                    <a:pt x="2000" y="2876"/>
                    <a:pt x="1997" y="2882"/>
                  </a:cubicBezTo>
                  <a:cubicBezTo>
                    <a:pt x="1977" y="2902"/>
                    <a:pt x="1952" y="2916"/>
                    <a:pt x="1921" y="2919"/>
                  </a:cubicBezTo>
                  <a:cubicBezTo>
                    <a:pt x="1946" y="2919"/>
                    <a:pt x="1972" y="2907"/>
                    <a:pt x="1991" y="2890"/>
                  </a:cubicBezTo>
                  <a:cubicBezTo>
                    <a:pt x="1997" y="2885"/>
                    <a:pt x="2003" y="2876"/>
                    <a:pt x="2008" y="2868"/>
                  </a:cubicBezTo>
                  <a:lnTo>
                    <a:pt x="2011" y="2868"/>
                  </a:lnTo>
                  <a:cubicBezTo>
                    <a:pt x="2020" y="2865"/>
                    <a:pt x="2025" y="2862"/>
                    <a:pt x="2034" y="2859"/>
                  </a:cubicBezTo>
                  <a:cubicBezTo>
                    <a:pt x="2048" y="2859"/>
                    <a:pt x="2059" y="2857"/>
                    <a:pt x="2073" y="2851"/>
                  </a:cubicBezTo>
                  <a:cubicBezTo>
                    <a:pt x="2087" y="2845"/>
                    <a:pt x="2099" y="2840"/>
                    <a:pt x="2107" y="2828"/>
                  </a:cubicBezTo>
                  <a:lnTo>
                    <a:pt x="2110" y="2828"/>
                  </a:lnTo>
                  <a:cubicBezTo>
                    <a:pt x="2121" y="2823"/>
                    <a:pt x="2130" y="2815"/>
                    <a:pt x="2141" y="2809"/>
                  </a:cubicBezTo>
                  <a:cubicBezTo>
                    <a:pt x="2152" y="2804"/>
                    <a:pt x="2164" y="2800"/>
                    <a:pt x="2172" y="2795"/>
                  </a:cubicBezTo>
                  <a:lnTo>
                    <a:pt x="2178" y="2795"/>
                  </a:lnTo>
                  <a:cubicBezTo>
                    <a:pt x="2192" y="2797"/>
                    <a:pt x="2206" y="2797"/>
                    <a:pt x="2217" y="2795"/>
                  </a:cubicBezTo>
                  <a:cubicBezTo>
                    <a:pt x="2231" y="2789"/>
                    <a:pt x="2245" y="2780"/>
                    <a:pt x="2254" y="2772"/>
                  </a:cubicBezTo>
                  <a:cubicBezTo>
                    <a:pt x="2265" y="2764"/>
                    <a:pt x="2274" y="2752"/>
                    <a:pt x="2279" y="2738"/>
                  </a:cubicBezTo>
                  <a:lnTo>
                    <a:pt x="2276" y="2735"/>
                  </a:lnTo>
                  <a:cubicBezTo>
                    <a:pt x="2282" y="2732"/>
                    <a:pt x="2291" y="2730"/>
                    <a:pt x="2296" y="2724"/>
                  </a:cubicBezTo>
                  <a:lnTo>
                    <a:pt x="2299" y="2721"/>
                  </a:lnTo>
                  <a:cubicBezTo>
                    <a:pt x="2293" y="2721"/>
                    <a:pt x="2291" y="2713"/>
                    <a:pt x="2291" y="2707"/>
                  </a:cubicBezTo>
                  <a:lnTo>
                    <a:pt x="2299" y="2707"/>
                  </a:lnTo>
                  <a:lnTo>
                    <a:pt x="2299" y="2721"/>
                  </a:lnTo>
                  <a:cubicBezTo>
                    <a:pt x="2308" y="2716"/>
                    <a:pt x="2313" y="2707"/>
                    <a:pt x="2322" y="2701"/>
                  </a:cubicBezTo>
                  <a:lnTo>
                    <a:pt x="2324" y="2704"/>
                  </a:lnTo>
                  <a:cubicBezTo>
                    <a:pt x="2339" y="2699"/>
                    <a:pt x="2347" y="2690"/>
                    <a:pt x="2355" y="2679"/>
                  </a:cubicBezTo>
                  <a:cubicBezTo>
                    <a:pt x="2361" y="2676"/>
                    <a:pt x="2364" y="2670"/>
                    <a:pt x="2370" y="2668"/>
                  </a:cubicBezTo>
                  <a:lnTo>
                    <a:pt x="2370" y="2670"/>
                  </a:lnTo>
                  <a:cubicBezTo>
                    <a:pt x="2364" y="2682"/>
                    <a:pt x="2355" y="2693"/>
                    <a:pt x="2344" y="2699"/>
                  </a:cubicBezTo>
                  <a:cubicBezTo>
                    <a:pt x="2358" y="2693"/>
                    <a:pt x="2370" y="2682"/>
                    <a:pt x="2375" y="2668"/>
                  </a:cubicBezTo>
                  <a:lnTo>
                    <a:pt x="2378" y="2665"/>
                  </a:lnTo>
                  <a:lnTo>
                    <a:pt x="2381" y="2665"/>
                  </a:lnTo>
                  <a:cubicBezTo>
                    <a:pt x="2384" y="2665"/>
                    <a:pt x="2387" y="2662"/>
                    <a:pt x="2387" y="2662"/>
                  </a:cubicBezTo>
                  <a:cubicBezTo>
                    <a:pt x="2395" y="2656"/>
                    <a:pt x="2401" y="2648"/>
                    <a:pt x="2409" y="2642"/>
                  </a:cubicBezTo>
                  <a:cubicBezTo>
                    <a:pt x="2415" y="2637"/>
                    <a:pt x="2418" y="2631"/>
                    <a:pt x="2426" y="2625"/>
                  </a:cubicBezTo>
                  <a:cubicBezTo>
                    <a:pt x="2426" y="2625"/>
                    <a:pt x="2429" y="2628"/>
                    <a:pt x="2429" y="2625"/>
                  </a:cubicBezTo>
                  <a:cubicBezTo>
                    <a:pt x="2434" y="2625"/>
                    <a:pt x="2440" y="2622"/>
                    <a:pt x="2446" y="2622"/>
                  </a:cubicBezTo>
                  <a:cubicBezTo>
                    <a:pt x="2460" y="2620"/>
                    <a:pt x="2471" y="2614"/>
                    <a:pt x="2482" y="2606"/>
                  </a:cubicBezTo>
                  <a:cubicBezTo>
                    <a:pt x="2494" y="2597"/>
                    <a:pt x="2502" y="2586"/>
                    <a:pt x="2505" y="2572"/>
                  </a:cubicBezTo>
                  <a:cubicBezTo>
                    <a:pt x="2507" y="2565"/>
                    <a:pt x="2511" y="2558"/>
                    <a:pt x="2513" y="2552"/>
                  </a:cubicBezTo>
                  <a:cubicBezTo>
                    <a:pt x="2512" y="2552"/>
                    <a:pt x="2511" y="2552"/>
                    <a:pt x="2511" y="2552"/>
                  </a:cubicBezTo>
                  <a:cubicBezTo>
                    <a:pt x="2511" y="2551"/>
                    <a:pt x="2512" y="2551"/>
                    <a:pt x="2513" y="2550"/>
                  </a:cubicBezTo>
                  <a:cubicBezTo>
                    <a:pt x="2513" y="2549"/>
                    <a:pt x="2513" y="2547"/>
                    <a:pt x="2513" y="2546"/>
                  </a:cubicBezTo>
                  <a:lnTo>
                    <a:pt x="2513" y="2543"/>
                  </a:lnTo>
                  <a:cubicBezTo>
                    <a:pt x="2516" y="2541"/>
                    <a:pt x="2519" y="2541"/>
                    <a:pt x="2522" y="2538"/>
                  </a:cubicBezTo>
                  <a:lnTo>
                    <a:pt x="2519" y="2538"/>
                  </a:lnTo>
                  <a:cubicBezTo>
                    <a:pt x="2519" y="2535"/>
                    <a:pt x="2522" y="2535"/>
                    <a:pt x="2522" y="2538"/>
                  </a:cubicBezTo>
                  <a:cubicBezTo>
                    <a:pt x="2528" y="2532"/>
                    <a:pt x="2533" y="2527"/>
                    <a:pt x="2536" y="2521"/>
                  </a:cubicBezTo>
                  <a:cubicBezTo>
                    <a:pt x="2547" y="2518"/>
                    <a:pt x="2559" y="2510"/>
                    <a:pt x="2570" y="2501"/>
                  </a:cubicBezTo>
                  <a:cubicBezTo>
                    <a:pt x="2578" y="2490"/>
                    <a:pt x="2587" y="2479"/>
                    <a:pt x="2590" y="2467"/>
                  </a:cubicBezTo>
                  <a:cubicBezTo>
                    <a:pt x="2590" y="2465"/>
                    <a:pt x="2593" y="2465"/>
                    <a:pt x="2593" y="2462"/>
                  </a:cubicBezTo>
                  <a:lnTo>
                    <a:pt x="2593" y="2459"/>
                  </a:lnTo>
                  <a:lnTo>
                    <a:pt x="2587" y="2456"/>
                  </a:lnTo>
                  <a:cubicBezTo>
                    <a:pt x="2590" y="2448"/>
                    <a:pt x="2590" y="2439"/>
                    <a:pt x="2590" y="2431"/>
                  </a:cubicBezTo>
                  <a:cubicBezTo>
                    <a:pt x="2590" y="2422"/>
                    <a:pt x="2587" y="2414"/>
                    <a:pt x="2584" y="2405"/>
                  </a:cubicBezTo>
                  <a:cubicBezTo>
                    <a:pt x="2587" y="2405"/>
                    <a:pt x="2595" y="2408"/>
                    <a:pt x="2598" y="2408"/>
                  </a:cubicBezTo>
                  <a:lnTo>
                    <a:pt x="2601" y="2408"/>
                  </a:lnTo>
                  <a:cubicBezTo>
                    <a:pt x="2601" y="2411"/>
                    <a:pt x="2598" y="2414"/>
                    <a:pt x="2598" y="2417"/>
                  </a:cubicBezTo>
                  <a:lnTo>
                    <a:pt x="2604" y="2417"/>
                  </a:lnTo>
                  <a:cubicBezTo>
                    <a:pt x="2604" y="2419"/>
                    <a:pt x="2601" y="2419"/>
                    <a:pt x="2598" y="2422"/>
                  </a:cubicBezTo>
                  <a:lnTo>
                    <a:pt x="2598" y="2450"/>
                  </a:lnTo>
                  <a:cubicBezTo>
                    <a:pt x="2601" y="2445"/>
                    <a:pt x="2609" y="2442"/>
                    <a:pt x="2612" y="2436"/>
                  </a:cubicBezTo>
                  <a:cubicBezTo>
                    <a:pt x="2621" y="2428"/>
                    <a:pt x="2624" y="2414"/>
                    <a:pt x="2632" y="2405"/>
                  </a:cubicBezTo>
                  <a:lnTo>
                    <a:pt x="2638" y="2405"/>
                  </a:lnTo>
                  <a:cubicBezTo>
                    <a:pt x="2646" y="2402"/>
                    <a:pt x="2657" y="2397"/>
                    <a:pt x="2663" y="2391"/>
                  </a:cubicBezTo>
                  <a:cubicBezTo>
                    <a:pt x="2674" y="2386"/>
                    <a:pt x="2686" y="2374"/>
                    <a:pt x="2694" y="2363"/>
                  </a:cubicBezTo>
                  <a:cubicBezTo>
                    <a:pt x="2703" y="2346"/>
                    <a:pt x="2708" y="2326"/>
                    <a:pt x="2705" y="2307"/>
                  </a:cubicBezTo>
                  <a:cubicBezTo>
                    <a:pt x="2711" y="2298"/>
                    <a:pt x="2711" y="2290"/>
                    <a:pt x="2717" y="2284"/>
                  </a:cubicBezTo>
                  <a:lnTo>
                    <a:pt x="2719" y="2287"/>
                  </a:lnTo>
                  <a:cubicBezTo>
                    <a:pt x="2736" y="2278"/>
                    <a:pt x="2748" y="2264"/>
                    <a:pt x="2756" y="2247"/>
                  </a:cubicBezTo>
                  <a:cubicBezTo>
                    <a:pt x="2758" y="2245"/>
                    <a:pt x="2763" y="2245"/>
                    <a:pt x="2763" y="2248"/>
                  </a:cubicBezTo>
                  <a:cubicBezTo>
                    <a:pt x="2768" y="2238"/>
                    <a:pt x="2771" y="2228"/>
                    <a:pt x="2773" y="2216"/>
                  </a:cubicBezTo>
                  <a:cubicBezTo>
                    <a:pt x="2776" y="2208"/>
                    <a:pt x="2776" y="2199"/>
                    <a:pt x="2776" y="2188"/>
                  </a:cubicBezTo>
                  <a:lnTo>
                    <a:pt x="2793" y="2154"/>
                  </a:lnTo>
                  <a:cubicBezTo>
                    <a:pt x="2796" y="2151"/>
                    <a:pt x="2793" y="2143"/>
                    <a:pt x="2796" y="2140"/>
                  </a:cubicBezTo>
                  <a:cubicBezTo>
                    <a:pt x="2798" y="2140"/>
                    <a:pt x="2804" y="2137"/>
                    <a:pt x="2807" y="2134"/>
                  </a:cubicBezTo>
                  <a:cubicBezTo>
                    <a:pt x="2804" y="2134"/>
                    <a:pt x="2804" y="2132"/>
                    <a:pt x="2801" y="2129"/>
                  </a:cubicBezTo>
                  <a:cubicBezTo>
                    <a:pt x="2801" y="2126"/>
                    <a:pt x="2807" y="2123"/>
                    <a:pt x="2807" y="2120"/>
                  </a:cubicBezTo>
                  <a:lnTo>
                    <a:pt x="2804" y="2118"/>
                  </a:lnTo>
                  <a:cubicBezTo>
                    <a:pt x="2813" y="2115"/>
                    <a:pt x="2818" y="2118"/>
                    <a:pt x="2824" y="2126"/>
                  </a:cubicBezTo>
                  <a:cubicBezTo>
                    <a:pt x="2830" y="2120"/>
                    <a:pt x="2832" y="2118"/>
                    <a:pt x="2835" y="2112"/>
                  </a:cubicBezTo>
                  <a:cubicBezTo>
                    <a:pt x="2844" y="2101"/>
                    <a:pt x="2846" y="2087"/>
                    <a:pt x="2846" y="2072"/>
                  </a:cubicBezTo>
                  <a:cubicBezTo>
                    <a:pt x="2848" y="2069"/>
                    <a:pt x="2849" y="2066"/>
                    <a:pt x="2849" y="2063"/>
                  </a:cubicBezTo>
                  <a:cubicBezTo>
                    <a:pt x="2848" y="2064"/>
                    <a:pt x="2846" y="2064"/>
                    <a:pt x="2844" y="2064"/>
                  </a:cubicBezTo>
                  <a:cubicBezTo>
                    <a:pt x="2844" y="2061"/>
                    <a:pt x="2846" y="2058"/>
                    <a:pt x="2846" y="2056"/>
                  </a:cubicBezTo>
                  <a:cubicBezTo>
                    <a:pt x="2843" y="2053"/>
                    <a:pt x="2839" y="2051"/>
                    <a:pt x="2835" y="2053"/>
                  </a:cubicBezTo>
                  <a:cubicBezTo>
                    <a:pt x="2838" y="2047"/>
                    <a:pt x="2838" y="2041"/>
                    <a:pt x="2838" y="2039"/>
                  </a:cubicBezTo>
                  <a:cubicBezTo>
                    <a:pt x="2841" y="2039"/>
                    <a:pt x="2844" y="2041"/>
                    <a:pt x="2846" y="2041"/>
                  </a:cubicBezTo>
                  <a:cubicBezTo>
                    <a:pt x="2846" y="2039"/>
                    <a:pt x="2846" y="2039"/>
                    <a:pt x="2844" y="2036"/>
                  </a:cubicBezTo>
                  <a:lnTo>
                    <a:pt x="2844" y="2030"/>
                  </a:lnTo>
                  <a:cubicBezTo>
                    <a:pt x="2844" y="2027"/>
                    <a:pt x="2844" y="2022"/>
                    <a:pt x="2846" y="2019"/>
                  </a:cubicBezTo>
                  <a:cubicBezTo>
                    <a:pt x="2846" y="2016"/>
                    <a:pt x="2849" y="2016"/>
                    <a:pt x="2849" y="2013"/>
                  </a:cubicBezTo>
                  <a:cubicBezTo>
                    <a:pt x="2858" y="2008"/>
                    <a:pt x="2866" y="1999"/>
                    <a:pt x="2875" y="1991"/>
                  </a:cubicBezTo>
                  <a:cubicBezTo>
                    <a:pt x="2877" y="1988"/>
                    <a:pt x="2875" y="1985"/>
                    <a:pt x="2877" y="1982"/>
                  </a:cubicBezTo>
                  <a:lnTo>
                    <a:pt x="2869" y="1982"/>
                  </a:lnTo>
                  <a:cubicBezTo>
                    <a:pt x="2866" y="1979"/>
                    <a:pt x="2866" y="1977"/>
                    <a:pt x="2866" y="1974"/>
                  </a:cubicBezTo>
                  <a:cubicBezTo>
                    <a:pt x="2868" y="1972"/>
                    <a:pt x="2874" y="1971"/>
                    <a:pt x="2877" y="1973"/>
                  </a:cubicBezTo>
                  <a:lnTo>
                    <a:pt x="2877" y="1974"/>
                  </a:lnTo>
                  <a:lnTo>
                    <a:pt x="2877" y="1973"/>
                  </a:lnTo>
                  <a:cubicBezTo>
                    <a:pt x="2879" y="1973"/>
                    <a:pt x="2880" y="1975"/>
                    <a:pt x="2880" y="1977"/>
                  </a:cubicBezTo>
                  <a:cubicBezTo>
                    <a:pt x="2892" y="1960"/>
                    <a:pt x="2897" y="1943"/>
                    <a:pt x="2897" y="1923"/>
                  </a:cubicBezTo>
                  <a:cubicBezTo>
                    <a:pt x="2897" y="1912"/>
                    <a:pt x="2892" y="1900"/>
                    <a:pt x="2889" y="1892"/>
                  </a:cubicBezTo>
                  <a:cubicBezTo>
                    <a:pt x="2889" y="1886"/>
                    <a:pt x="2892" y="1883"/>
                    <a:pt x="2894" y="1878"/>
                  </a:cubicBezTo>
                  <a:lnTo>
                    <a:pt x="2894" y="1875"/>
                  </a:lnTo>
                  <a:lnTo>
                    <a:pt x="2886" y="1883"/>
                  </a:lnTo>
                  <a:cubicBezTo>
                    <a:pt x="2883" y="1883"/>
                    <a:pt x="2880" y="1883"/>
                    <a:pt x="2880" y="1886"/>
                  </a:cubicBezTo>
                  <a:cubicBezTo>
                    <a:pt x="2880" y="1884"/>
                    <a:pt x="2882" y="1884"/>
                    <a:pt x="2884" y="1882"/>
                  </a:cubicBezTo>
                  <a:lnTo>
                    <a:pt x="2886" y="1883"/>
                  </a:lnTo>
                  <a:lnTo>
                    <a:pt x="2884" y="1882"/>
                  </a:lnTo>
                  <a:cubicBezTo>
                    <a:pt x="2885" y="1882"/>
                    <a:pt x="2885" y="1881"/>
                    <a:pt x="2886" y="1881"/>
                  </a:cubicBezTo>
                  <a:cubicBezTo>
                    <a:pt x="2886" y="1878"/>
                    <a:pt x="2880" y="1875"/>
                    <a:pt x="2880" y="1872"/>
                  </a:cubicBezTo>
                  <a:cubicBezTo>
                    <a:pt x="2886" y="1869"/>
                    <a:pt x="2894" y="1864"/>
                    <a:pt x="2894" y="1861"/>
                  </a:cubicBezTo>
                  <a:cubicBezTo>
                    <a:pt x="2894" y="1861"/>
                    <a:pt x="2897" y="1864"/>
                    <a:pt x="2897" y="1866"/>
                  </a:cubicBezTo>
                  <a:cubicBezTo>
                    <a:pt x="2900" y="1861"/>
                    <a:pt x="2897" y="1852"/>
                    <a:pt x="2900" y="1847"/>
                  </a:cubicBezTo>
                  <a:lnTo>
                    <a:pt x="2909" y="1847"/>
                  </a:lnTo>
                  <a:cubicBezTo>
                    <a:pt x="2914" y="1844"/>
                    <a:pt x="2917" y="1841"/>
                    <a:pt x="2923" y="1835"/>
                  </a:cubicBezTo>
                  <a:cubicBezTo>
                    <a:pt x="2924" y="1833"/>
                    <a:pt x="2926" y="1831"/>
                    <a:pt x="2927" y="1829"/>
                  </a:cubicBezTo>
                  <a:cubicBezTo>
                    <a:pt x="2923" y="1830"/>
                    <a:pt x="2919" y="1830"/>
                    <a:pt x="2917" y="1833"/>
                  </a:cubicBezTo>
                  <a:cubicBezTo>
                    <a:pt x="2917" y="1827"/>
                    <a:pt x="2920" y="1821"/>
                    <a:pt x="2923" y="1816"/>
                  </a:cubicBezTo>
                  <a:cubicBezTo>
                    <a:pt x="2920" y="1819"/>
                    <a:pt x="2920" y="1816"/>
                    <a:pt x="2920" y="1816"/>
                  </a:cubicBezTo>
                  <a:cubicBezTo>
                    <a:pt x="2914" y="1813"/>
                    <a:pt x="2920" y="1813"/>
                    <a:pt x="2923" y="1813"/>
                  </a:cubicBezTo>
                  <a:cubicBezTo>
                    <a:pt x="2920" y="1804"/>
                    <a:pt x="2909" y="1796"/>
                    <a:pt x="2923" y="1790"/>
                  </a:cubicBezTo>
                  <a:lnTo>
                    <a:pt x="2925" y="1793"/>
                  </a:lnTo>
                  <a:lnTo>
                    <a:pt x="2923" y="1793"/>
                  </a:lnTo>
                  <a:lnTo>
                    <a:pt x="2930" y="1823"/>
                  </a:lnTo>
                  <a:cubicBezTo>
                    <a:pt x="2933" y="1815"/>
                    <a:pt x="2935" y="1808"/>
                    <a:pt x="2937" y="1799"/>
                  </a:cubicBezTo>
                  <a:cubicBezTo>
                    <a:pt x="2942" y="1788"/>
                    <a:pt x="2942" y="1773"/>
                    <a:pt x="2940" y="1759"/>
                  </a:cubicBezTo>
                  <a:lnTo>
                    <a:pt x="2934" y="1759"/>
                  </a:lnTo>
                  <a:cubicBezTo>
                    <a:pt x="2934" y="1759"/>
                    <a:pt x="2937" y="1756"/>
                    <a:pt x="2934" y="1756"/>
                  </a:cubicBezTo>
                  <a:lnTo>
                    <a:pt x="2934" y="1754"/>
                  </a:lnTo>
                  <a:cubicBezTo>
                    <a:pt x="2931" y="1745"/>
                    <a:pt x="2925" y="1737"/>
                    <a:pt x="2920" y="1728"/>
                  </a:cubicBezTo>
                  <a:cubicBezTo>
                    <a:pt x="2920" y="1720"/>
                    <a:pt x="2923" y="1711"/>
                    <a:pt x="2923" y="1703"/>
                  </a:cubicBezTo>
                  <a:cubicBezTo>
                    <a:pt x="2923" y="1697"/>
                    <a:pt x="2928" y="1692"/>
                    <a:pt x="2928" y="1683"/>
                  </a:cubicBezTo>
                  <a:lnTo>
                    <a:pt x="2928" y="1680"/>
                  </a:lnTo>
                  <a:lnTo>
                    <a:pt x="2928" y="1675"/>
                  </a:lnTo>
                  <a:cubicBezTo>
                    <a:pt x="2934" y="1661"/>
                    <a:pt x="2934" y="1646"/>
                    <a:pt x="2931" y="1632"/>
                  </a:cubicBezTo>
                  <a:lnTo>
                    <a:pt x="2928" y="1632"/>
                  </a:lnTo>
                  <a:cubicBezTo>
                    <a:pt x="2928" y="1627"/>
                    <a:pt x="2931" y="1618"/>
                    <a:pt x="2931" y="1613"/>
                  </a:cubicBezTo>
                  <a:cubicBezTo>
                    <a:pt x="2931" y="1610"/>
                    <a:pt x="2934" y="1610"/>
                    <a:pt x="2934" y="1607"/>
                  </a:cubicBezTo>
                  <a:lnTo>
                    <a:pt x="2934" y="1599"/>
                  </a:lnTo>
                  <a:lnTo>
                    <a:pt x="2934" y="1573"/>
                  </a:lnTo>
                  <a:cubicBezTo>
                    <a:pt x="2931" y="1576"/>
                    <a:pt x="2928" y="1576"/>
                    <a:pt x="2925" y="1573"/>
                  </a:cubicBezTo>
                  <a:cubicBezTo>
                    <a:pt x="2928" y="1565"/>
                    <a:pt x="2931" y="1567"/>
                    <a:pt x="2934" y="1562"/>
                  </a:cubicBezTo>
                  <a:lnTo>
                    <a:pt x="2931" y="1562"/>
                  </a:lnTo>
                  <a:lnTo>
                    <a:pt x="2931" y="1531"/>
                  </a:lnTo>
                  <a:lnTo>
                    <a:pt x="2931" y="1500"/>
                  </a:lnTo>
                  <a:cubicBezTo>
                    <a:pt x="2931" y="1497"/>
                    <a:pt x="2931" y="1494"/>
                    <a:pt x="2934" y="1494"/>
                  </a:cubicBezTo>
                  <a:lnTo>
                    <a:pt x="2934" y="1461"/>
                  </a:lnTo>
                  <a:cubicBezTo>
                    <a:pt x="2934" y="1453"/>
                    <a:pt x="2937" y="1447"/>
                    <a:pt x="2934" y="1439"/>
                  </a:cubicBezTo>
                  <a:cubicBezTo>
                    <a:pt x="2928" y="1442"/>
                    <a:pt x="2925" y="1442"/>
                    <a:pt x="2920" y="1442"/>
                  </a:cubicBezTo>
                  <a:cubicBezTo>
                    <a:pt x="2920" y="1433"/>
                    <a:pt x="2925" y="1433"/>
                    <a:pt x="2928" y="1433"/>
                  </a:cubicBezTo>
                  <a:cubicBezTo>
                    <a:pt x="2962" y="1439"/>
                    <a:pt x="2973" y="1453"/>
                    <a:pt x="2982" y="1467"/>
                  </a:cubicBezTo>
                  <a:close/>
                  <a:moveTo>
                    <a:pt x="2875" y="982"/>
                  </a:moveTo>
                  <a:cubicBezTo>
                    <a:pt x="2886" y="993"/>
                    <a:pt x="2897" y="1007"/>
                    <a:pt x="2903" y="1021"/>
                  </a:cubicBezTo>
                  <a:cubicBezTo>
                    <a:pt x="2906" y="1033"/>
                    <a:pt x="2909" y="1044"/>
                    <a:pt x="2909" y="1055"/>
                  </a:cubicBezTo>
                  <a:cubicBezTo>
                    <a:pt x="2909" y="1044"/>
                    <a:pt x="2906" y="1033"/>
                    <a:pt x="2900" y="1021"/>
                  </a:cubicBezTo>
                  <a:cubicBezTo>
                    <a:pt x="2894" y="1007"/>
                    <a:pt x="2886" y="996"/>
                    <a:pt x="2877" y="987"/>
                  </a:cubicBezTo>
                  <a:cubicBezTo>
                    <a:pt x="2872" y="982"/>
                    <a:pt x="2866" y="976"/>
                    <a:pt x="2859" y="971"/>
                  </a:cubicBezTo>
                  <a:cubicBezTo>
                    <a:pt x="2864" y="974"/>
                    <a:pt x="2869" y="978"/>
                    <a:pt x="2875" y="982"/>
                  </a:cubicBezTo>
                  <a:close/>
                  <a:moveTo>
                    <a:pt x="2528" y="466"/>
                  </a:moveTo>
                  <a:lnTo>
                    <a:pt x="2528" y="466"/>
                  </a:lnTo>
                  <a:cubicBezTo>
                    <a:pt x="2530" y="466"/>
                    <a:pt x="2530" y="466"/>
                    <a:pt x="2533" y="463"/>
                  </a:cubicBezTo>
                  <a:cubicBezTo>
                    <a:pt x="2536" y="463"/>
                    <a:pt x="2539" y="464"/>
                    <a:pt x="2540" y="467"/>
                  </a:cubicBezTo>
                  <a:cubicBezTo>
                    <a:pt x="2536" y="466"/>
                    <a:pt x="2532" y="466"/>
                    <a:pt x="2528" y="466"/>
                  </a:cubicBezTo>
                  <a:close/>
                  <a:moveTo>
                    <a:pt x="2486" y="415"/>
                  </a:moveTo>
                  <a:cubicBezTo>
                    <a:pt x="2488" y="415"/>
                    <a:pt x="2488" y="418"/>
                    <a:pt x="2491" y="418"/>
                  </a:cubicBezTo>
                  <a:lnTo>
                    <a:pt x="2491" y="426"/>
                  </a:lnTo>
                  <a:cubicBezTo>
                    <a:pt x="2490" y="425"/>
                    <a:pt x="2489" y="423"/>
                    <a:pt x="2488" y="420"/>
                  </a:cubicBezTo>
                  <a:cubicBezTo>
                    <a:pt x="2488" y="419"/>
                    <a:pt x="2487" y="417"/>
                    <a:pt x="2486" y="416"/>
                  </a:cubicBezTo>
                  <a:cubicBezTo>
                    <a:pt x="2486" y="415"/>
                    <a:pt x="2486" y="415"/>
                    <a:pt x="2486" y="415"/>
                  </a:cubicBezTo>
                  <a:close/>
                  <a:moveTo>
                    <a:pt x="768" y="212"/>
                  </a:moveTo>
                  <a:lnTo>
                    <a:pt x="765" y="209"/>
                  </a:lnTo>
                  <a:cubicBezTo>
                    <a:pt x="766" y="208"/>
                    <a:pt x="768" y="208"/>
                    <a:pt x="769" y="208"/>
                  </a:cubicBezTo>
                  <a:cubicBezTo>
                    <a:pt x="769" y="209"/>
                    <a:pt x="769" y="211"/>
                    <a:pt x="768" y="212"/>
                  </a:cubicBezTo>
                  <a:close/>
                  <a:moveTo>
                    <a:pt x="463" y="463"/>
                  </a:moveTo>
                  <a:lnTo>
                    <a:pt x="460" y="463"/>
                  </a:lnTo>
                  <a:cubicBezTo>
                    <a:pt x="461" y="462"/>
                    <a:pt x="462" y="461"/>
                    <a:pt x="464" y="462"/>
                  </a:cubicBezTo>
                  <a:cubicBezTo>
                    <a:pt x="464" y="462"/>
                    <a:pt x="463" y="462"/>
                    <a:pt x="463" y="463"/>
                  </a:cubicBezTo>
                  <a:close/>
                  <a:moveTo>
                    <a:pt x="412" y="502"/>
                  </a:moveTo>
                  <a:cubicBezTo>
                    <a:pt x="411" y="503"/>
                    <a:pt x="409" y="504"/>
                    <a:pt x="408" y="505"/>
                  </a:cubicBezTo>
                  <a:cubicBezTo>
                    <a:pt x="408" y="504"/>
                    <a:pt x="409" y="503"/>
                    <a:pt x="410" y="502"/>
                  </a:cubicBezTo>
                  <a:cubicBezTo>
                    <a:pt x="412" y="499"/>
                    <a:pt x="415" y="499"/>
                    <a:pt x="421" y="499"/>
                  </a:cubicBezTo>
                  <a:lnTo>
                    <a:pt x="421" y="501"/>
                  </a:lnTo>
                  <a:cubicBezTo>
                    <a:pt x="418" y="502"/>
                    <a:pt x="415" y="502"/>
                    <a:pt x="412" y="502"/>
                  </a:cubicBezTo>
                  <a:close/>
                  <a:moveTo>
                    <a:pt x="195" y="777"/>
                  </a:moveTo>
                  <a:cubicBezTo>
                    <a:pt x="195" y="776"/>
                    <a:pt x="195" y="776"/>
                    <a:pt x="195" y="776"/>
                  </a:cubicBezTo>
                  <a:lnTo>
                    <a:pt x="195" y="776"/>
                  </a:lnTo>
                  <a:cubicBezTo>
                    <a:pt x="195" y="776"/>
                    <a:pt x="195" y="776"/>
                    <a:pt x="195" y="777"/>
                  </a:cubicBezTo>
                  <a:close/>
                  <a:moveTo>
                    <a:pt x="193" y="783"/>
                  </a:moveTo>
                  <a:cubicBezTo>
                    <a:pt x="194" y="781"/>
                    <a:pt x="195" y="780"/>
                    <a:pt x="195" y="777"/>
                  </a:cubicBezTo>
                  <a:cubicBezTo>
                    <a:pt x="194" y="779"/>
                    <a:pt x="194" y="781"/>
                    <a:pt x="193" y="783"/>
                  </a:cubicBezTo>
                  <a:close/>
                  <a:moveTo>
                    <a:pt x="192" y="785"/>
                  </a:moveTo>
                  <a:cubicBezTo>
                    <a:pt x="193" y="784"/>
                    <a:pt x="193" y="784"/>
                    <a:pt x="193" y="783"/>
                  </a:cubicBezTo>
                  <a:cubicBezTo>
                    <a:pt x="193" y="784"/>
                    <a:pt x="193" y="784"/>
                    <a:pt x="192" y="785"/>
                  </a:cubicBezTo>
                  <a:close/>
                  <a:moveTo>
                    <a:pt x="185" y="831"/>
                  </a:moveTo>
                  <a:cubicBezTo>
                    <a:pt x="185" y="831"/>
                    <a:pt x="185" y="832"/>
                    <a:pt x="184" y="832"/>
                  </a:cubicBezTo>
                  <a:cubicBezTo>
                    <a:pt x="176" y="835"/>
                    <a:pt x="169" y="839"/>
                    <a:pt x="161" y="844"/>
                  </a:cubicBezTo>
                  <a:cubicBezTo>
                    <a:pt x="160" y="845"/>
                    <a:pt x="158" y="846"/>
                    <a:pt x="156" y="848"/>
                  </a:cubicBezTo>
                  <a:cubicBezTo>
                    <a:pt x="165" y="839"/>
                    <a:pt x="175" y="832"/>
                    <a:pt x="187" y="827"/>
                  </a:cubicBezTo>
                  <a:cubicBezTo>
                    <a:pt x="185" y="828"/>
                    <a:pt x="185" y="829"/>
                    <a:pt x="185" y="831"/>
                  </a:cubicBezTo>
                  <a:close/>
                  <a:moveTo>
                    <a:pt x="29" y="1218"/>
                  </a:moveTo>
                  <a:lnTo>
                    <a:pt x="29" y="1219"/>
                  </a:lnTo>
                  <a:cubicBezTo>
                    <a:pt x="26" y="1213"/>
                    <a:pt x="26" y="1207"/>
                    <a:pt x="26" y="1205"/>
                  </a:cubicBezTo>
                  <a:cubicBezTo>
                    <a:pt x="26" y="1205"/>
                    <a:pt x="27" y="1204"/>
                    <a:pt x="28" y="1204"/>
                  </a:cubicBezTo>
                  <a:cubicBezTo>
                    <a:pt x="28" y="1209"/>
                    <a:pt x="28" y="1214"/>
                    <a:pt x="29" y="1218"/>
                  </a:cubicBezTo>
                  <a:close/>
                  <a:moveTo>
                    <a:pt x="3" y="1357"/>
                  </a:moveTo>
                  <a:cubicBezTo>
                    <a:pt x="5" y="1362"/>
                    <a:pt x="7" y="1366"/>
                    <a:pt x="9" y="1370"/>
                  </a:cubicBezTo>
                  <a:cubicBezTo>
                    <a:pt x="5" y="1366"/>
                    <a:pt x="3" y="1361"/>
                    <a:pt x="3" y="1357"/>
                  </a:cubicBezTo>
                  <a:close/>
                  <a:moveTo>
                    <a:pt x="29" y="1548"/>
                  </a:moveTo>
                  <a:lnTo>
                    <a:pt x="31" y="1551"/>
                  </a:lnTo>
                  <a:lnTo>
                    <a:pt x="24" y="1543"/>
                  </a:lnTo>
                  <a:lnTo>
                    <a:pt x="24" y="1543"/>
                  </a:lnTo>
                  <a:cubicBezTo>
                    <a:pt x="25" y="1544"/>
                    <a:pt x="27" y="1546"/>
                    <a:pt x="29" y="1547"/>
                  </a:cubicBezTo>
                  <a:lnTo>
                    <a:pt x="29" y="1548"/>
                  </a:lnTo>
                  <a:close/>
                  <a:moveTo>
                    <a:pt x="23" y="1542"/>
                  </a:moveTo>
                  <a:lnTo>
                    <a:pt x="20" y="1545"/>
                  </a:lnTo>
                  <a:cubicBezTo>
                    <a:pt x="20" y="1545"/>
                    <a:pt x="22" y="1544"/>
                    <a:pt x="24" y="1543"/>
                  </a:cubicBezTo>
                  <a:lnTo>
                    <a:pt x="23" y="1542"/>
                  </a:lnTo>
                  <a:close/>
                  <a:moveTo>
                    <a:pt x="26" y="1539"/>
                  </a:moveTo>
                  <a:lnTo>
                    <a:pt x="20" y="1534"/>
                  </a:lnTo>
                  <a:lnTo>
                    <a:pt x="20" y="1539"/>
                  </a:lnTo>
                  <a:cubicBezTo>
                    <a:pt x="21" y="1541"/>
                    <a:pt x="23" y="1542"/>
                    <a:pt x="24" y="1543"/>
                  </a:cubicBezTo>
                  <a:cubicBezTo>
                    <a:pt x="25" y="1542"/>
                    <a:pt x="26" y="1540"/>
                    <a:pt x="26" y="1539"/>
                  </a:cubicBezTo>
                  <a:close/>
                  <a:moveTo>
                    <a:pt x="31" y="1570"/>
                  </a:moveTo>
                  <a:cubicBezTo>
                    <a:pt x="31" y="1569"/>
                    <a:pt x="31" y="1567"/>
                    <a:pt x="32" y="1566"/>
                  </a:cubicBezTo>
                  <a:cubicBezTo>
                    <a:pt x="32" y="1567"/>
                    <a:pt x="31" y="1569"/>
                    <a:pt x="31" y="1570"/>
                  </a:cubicBezTo>
                  <a:close/>
                  <a:moveTo>
                    <a:pt x="26" y="1593"/>
                  </a:moveTo>
                  <a:cubicBezTo>
                    <a:pt x="20" y="1601"/>
                    <a:pt x="15" y="1613"/>
                    <a:pt x="15" y="1624"/>
                  </a:cubicBezTo>
                  <a:cubicBezTo>
                    <a:pt x="12" y="1635"/>
                    <a:pt x="12" y="1646"/>
                    <a:pt x="17" y="1658"/>
                  </a:cubicBezTo>
                  <a:cubicBezTo>
                    <a:pt x="21" y="1669"/>
                    <a:pt x="26" y="1679"/>
                    <a:pt x="32" y="1688"/>
                  </a:cubicBezTo>
                  <a:cubicBezTo>
                    <a:pt x="32" y="1689"/>
                    <a:pt x="31" y="1690"/>
                    <a:pt x="31" y="1692"/>
                  </a:cubicBezTo>
                  <a:cubicBezTo>
                    <a:pt x="26" y="1686"/>
                    <a:pt x="23" y="1675"/>
                    <a:pt x="17" y="1666"/>
                  </a:cubicBezTo>
                  <a:cubicBezTo>
                    <a:pt x="12" y="1666"/>
                    <a:pt x="9" y="1663"/>
                    <a:pt x="3" y="1661"/>
                  </a:cubicBezTo>
                  <a:cubicBezTo>
                    <a:pt x="0" y="1649"/>
                    <a:pt x="3" y="1638"/>
                    <a:pt x="6" y="1627"/>
                  </a:cubicBezTo>
                  <a:cubicBezTo>
                    <a:pt x="9" y="1615"/>
                    <a:pt x="15" y="1604"/>
                    <a:pt x="20" y="1596"/>
                  </a:cubicBezTo>
                  <a:cubicBezTo>
                    <a:pt x="29" y="1584"/>
                    <a:pt x="37" y="1576"/>
                    <a:pt x="46" y="1567"/>
                  </a:cubicBezTo>
                  <a:cubicBezTo>
                    <a:pt x="37" y="1576"/>
                    <a:pt x="31" y="1582"/>
                    <a:pt x="26" y="1593"/>
                  </a:cubicBezTo>
                  <a:close/>
                  <a:moveTo>
                    <a:pt x="72" y="1855"/>
                  </a:moveTo>
                  <a:lnTo>
                    <a:pt x="71" y="1855"/>
                  </a:lnTo>
                  <a:lnTo>
                    <a:pt x="71" y="1852"/>
                  </a:lnTo>
                  <a:cubicBezTo>
                    <a:pt x="71" y="1853"/>
                    <a:pt x="72" y="1854"/>
                    <a:pt x="72" y="1855"/>
                  </a:cubicBezTo>
                  <a:close/>
                  <a:moveTo>
                    <a:pt x="325" y="2391"/>
                  </a:moveTo>
                  <a:cubicBezTo>
                    <a:pt x="323" y="2390"/>
                    <a:pt x="321" y="2389"/>
                    <a:pt x="319" y="2388"/>
                  </a:cubicBezTo>
                  <a:cubicBezTo>
                    <a:pt x="321" y="2389"/>
                    <a:pt x="323" y="2390"/>
                    <a:pt x="325" y="2391"/>
                  </a:cubicBezTo>
                  <a:close/>
                  <a:moveTo>
                    <a:pt x="311" y="2383"/>
                  </a:moveTo>
                  <a:cubicBezTo>
                    <a:pt x="310" y="2382"/>
                    <a:pt x="308" y="2381"/>
                    <a:pt x="307" y="2381"/>
                  </a:cubicBezTo>
                  <a:cubicBezTo>
                    <a:pt x="309" y="2382"/>
                    <a:pt x="311" y="2384"/>
                    <a:pt x="314" y="2386"/>
                  </a:cubicBezTo>
                  <a:cubicBezTo>
                    <a:pt x="316" y="2386"/>
                    <a:pt x="317" y="2387"/>
                    <a:pt x="319" y="2388"/>
                  </a:cubicBezTo>
                  <a:cubicBezTo>
                    <a:pt x="316" y="2386"/>
                    <a:pt x="313" y="2385"/>
                    <a:pt x="311" y="2383"/>
                  </a:cubicBezTo>
                  <a:close/>
                  <a:moveTo>
                    <a:pt x="296" y="2371"/>
                  </a:moveTo>
                  <a:cubicBezTo>
                    <a:pt x="300" y="2375"/>
                    <a:pt x="303" y="2378"/>
                    <a:pt x="307" y="2381"/>
                  </a:cubicBezTo>
                  <a:cubicBezTo>
                    <a:pt x="303" y="2378"/>
                    <a:pt x="300" y="2375"/>
                    <a:pt x="296" y="2371"/>
                  </a:cubicBezTo>
                  <a:close/>
                  <a:moveTo>
                    <a:pt x="283" y="2354"/>
                  </a:moveTo>
                  <a:cubicBezTo>
                    <a:pt x="287" y="2361"/>
                    <a:pt x="291" y="2367"/>
                    <a:pt x="296" y="2371"/>
                  </a:cubicBezTo>
                  <a:cubicBezTo>
                    <a:pt x="291" y="2366"/>
                    <a:pt x="287" y="2360"/>
                    <a:pt x="283" y="2354"/>
                  </a:cubicBezTo>
                  <a:close/>
                  <a:moveTo>
                    <a:pt x="826" y="2812"/>
                  </a:moveTo>
                  <a:cubicBezTo>
                    <a:pt x="825" y="2810"/>
                    <a:pt x="823" y="2808"/>
                    <a:pt x="821" y="2806"/>
                  </a:cubicBezTo>
                  <a:cubicBezTo>
                    <a:pt x="822" y="2806"/>
                    <a:pt x="823" y="2806"/>
                    <a:pt x="823" y="2806"/>
                  </a:cubicBezTo>
                  <a:cubicBezTo>
                    <a:pt x="824" y="2808"/>
                    <a:pt x="825" y="2810"/>
                    <a:pt x="826" y="2812"/>
                  </a:cubicBezTo>
                  <a:close/>
                  <a:moveTo>
                    <a:pt x="1195" y="2942"/>
                  </a:moveTo>
                  <a:cubicBezTo>
                    <a:pt x="1199" y="2943"/>
                    <a:pt x="1201" y="2948"/>
                    <a:pt x="1205" y="2950"/>
                  </a:cubicBezTo>
                  <a:cubicBezTo>
                    <a:pt x="1202" y="2950"/>
                    <a:pt x="1200" y="2950"/>
                    <a:pt x="1194" y="2953"/>
                  </a:cubicBezTo>
                  <a:cubicBezTo>
                    <a:pt x="1191" y="2950"/>
                    <a:pt x="1191" y="2947"/>
                    <a:pt x="1188" y="2944"/>
                  </a:cubicBezTo>
                  <a:cubicBezTo>
                    <a:pt x="1189" y="2944"/>
                    <a:pt x="1189" y="2943"/>
                    <a:pt x="1190" y="2943"/>
                  </a:cubicBezTo>
                  <a:cubicBezTo>
                    <a:pt x="1192" y="2943"/>
                    <a:pt x="1193" y="2943"/>
                    <a:pt x="1195" y="2942"/>
                  </a:cubicBezTo>
                  <a:close/>
                  <a:moveTo>
                    <a:pt x="1517" y="2958"/>
                  </a:moveTo>
                  <a:lnTo>
                    <a:pt x="1517" y="2955"/>
                  </a:lnTo>
                  <a:cubicBezTo>
                    <a:pt x="1518" y="2955"/>
                    <a:pt x="1519" y="2956"/>
                    <a:pt x="1520" y="2956"/>
                  </a:cubicBezTo>
                  <a:lnTo>
                    <a:pt x="1517" y="2958"/>
                  </a:lnTo>
                  <a:close/>
                  <a:moveTo>
                    <a:pt x="1642" y="2969"/>
                  </a:moveTo>
                  <a:cubicBezTo>
                    <a:pt x="1655" y="2967"/>
                    <a:pt x="1668" y="2962"/>
                    <a:pt x="1682" y="2954"/>
                  </a:cubicBezTo>
                  <a:cubicBezTo>
                    <a:pt x="1683" y="2954"/>
                    <a:pt x="1685" y="2953"/>
                    <a:pt x="1687" y="2953"/>
                  </a:cubicBezTo>
                  <a:cubicBezTo>
                    <a:pt x="1692" y="2953"/>
                    <a:pt x="1692" y="2953"/>
                    <a:pt x="1684" y="2961"/>
                  </a:cubicBezTo>
                  <a:cubicBezTo>
                    <a:pt x="1673" y="2969"/>
                    <a:pt x="1659" y="2975"/>
                    <a:pt x="1642" y="2975"/>
                  </a:cubicBezTo>
                  <a:cubicBezTo>
                    <a:pt x="1629" y="2975"/>
                    <a:pt x="1617" y="2973"/>
                    <a:pt x="1607" y="2968"/>
                  </a:cubicBezTo>
                  <a:cubicBezTo>
                    <a:pt x="1618" y="2971"/>
                    <a:pt x="1630" y="2971"/>
                    <a:pt x="1642" y="2969"/>
                  </a:cubicBezTo>
                  <a:close/>
                  <a:moveTo>
                    <a:pt x="2513" y="2550"/>
                  </a:moveTo>
                  <a:cubicBezTo>
                    <a:pt x="2516" y="2548"/>
                    <a:pt x="2520" y="2546"/>
                    <a:pt x="2522" y="2543"/>
                  </a:cubicBezTo>
                  <a:cubicBezTo>
                    <a:pt x="2520" y="2548"/>
                    <a:pt x="2517" y="2551"/>
                    <a:pt x="2513" y="2552"/>
                  </a:cubicBezTo>
                  <a:cubicBezTo>
                    <a:pt x="2513" y="2551"/>
                    <a:pt x="2513" y="2551"/>
                    <a:pt x="2513" y="2550"/>
                  </a:cubicBezTo>
                  <a:close/>
                  <a:moveTo>
                    <a:pt x="2762" y="2250"/>
                  </a:moveTo>
                  <a:lnTo>
                    <a:pt x="2759" y="2253"/>
                  </a:lnTo>
                  <a:cubicBezTo>
                    <a:pt x="2760" y="2251"/>
                    <a:pt x="2761" y="2249"/>
                    <a:pt x="2763" y="2248"/>
                  </a:cubicBezTo>
                  <a:cubicBezTo>
                    <a:pt x="2763" y="2248"/>
                    <a:pt x="2762" y="2249"/>
                    <a:pt x="2762" y="2250"/>
                  </a:cubicBezTo>
                  <a:close/>
                  <a:moveTo>
                    <a:pt x="2849" y="2058"/>
                  </a:moveTo>
                  <a:cubicBezTo>
                    <a:pt x="2849" y="2058"/>
                    <a:pt x="2848" y="2057"/>
                    <a:pt x="2846" y="2056"/>
                  </a:cubicBezTo>
                  <a:cubicBezTo>
                    <a:pt x="2846" y="2056"/>
                    <a:pt x="2846" y="2056"/>
                    <a:pt x="2846" y="2055"/>
                  </a:cubicBezTo>
                  <a:lnTo>
                    <a:pt x="2852" y="2055"/>
                  </a:lnTo>
                  <a:cubicBezTo>
                    <a:pt x="2852" y="2061"/>
                    <a:pt x="2851" y="2063"/>
                    <a:pt x="2849" y="2063"/>
                  </a:cubicBezTo>
                  <a:cubicBezTo>
                    <a:pt x="2849" y="2061"/>
                    <a:pt x="2849" y="2060"/>
                    <a:pt x="2849" y="2058"/>
                  </a:cubicBezTo>
                  <a:close/>
                  <a:moveTo>
                    <a:pt x="2930" y="1823"/>
                  </a:moveTo>
                  <a:lnTo>
                    <a:pt x="2931" y="1827"/>
                  </a:lnTo>
                  <a:cubicBezTo>
                    <a:pt x="2930" y="1828"/>
                    <a:pt x="2928" y="1828"/>
                    <a:pt x="2927" y="1829"/>
                  </a:cubicBezTo>
                  <a:cubicBezTo>
                    <a:pt x="2928" y="1827"/>
                    <a:pt x="2929" y="1825"/>
                    <a:pt x="2930" y="1823"/>
                  </a:cubicBezTo>
                  <a:close/>
                  <a:moveTo>
                    <a:pt x="316" y="2371"/>
                  </a:moveTo>
                  <a:cubicBezTo>
                    <a:pt x="319" y="2369"/>
                    <a:pt x="322" y="2369"/>
                    <a:pt x="325" y="2369"/>
                  </a:cubicBezTo>
                  <a:cubicBezTo>
                    <a:pt x="325" y="2371"/>
                    <a:pt x="325" y="2369"/>
                    <a:pt x="322" y="2374"/>
                  </a:cubicBezTo>
                  <a:lnTo>
                    <a:pt x="325" y="2374"/>
                  </a:lnTo>
                  <a:lnTo>
                    <a:pt x="322" y="2377"/>
                  </a:lnTo>
                  <a:cubicBezTo>
                    <a:pt x="319" y="2377"/>
                    <a:pt x="319" y="2374"/>
                    <a:pt x="316" y="2371"/>
                  </a:cubicBezTo>
                  <a:close/>
                  <a:moveTo>
                    <a:pt x="74" y="1830"/>
                  </a:moveTo>
                  <a:lnTo>
                    <a:pt x="77" y="1830"/>
                  </a:lnTo>
                  <a:lnTo>
                    <a:pt x="77" y="1824"/>
                  </a:lnTo>
                  <a:cubicBezTo>
                    <a:pt x="77" y="1824"/>
                    <a:pt x="74" y="1827"/>
                    <a:pt x="74" y="1830"/>
                  </a:cubicBezTo>
                  <a:cubicBezTo>
                    <a:pt x="74" y="1827"/>
                    <a:pt x="71" y="1830"/>
                    <a:pt x="71" y="1827"/>
                  </a:cubicBezTo>
                  <a:lnTo>
                    <a:pt x="71" y="1824"/>
                  </a:lnTo>
                  <a:cubicBezTo>
                    <a:pt x="68" y="1824"/>
                    <a:pt x="68" y="1821"/>
                    <a:pt x="68" y="1821"/>
                  </a:cubicBezTo>
                  <a:lnTo>
                    <a:pt x="62" y="1816"/>
                  </a:lnTo>
                  <a:cubicBezTo>
                    <a:pt x="65" y="1813"/>
                    <a:pt x="65" y="1816"/>
                    <a:pt x="68" y="1816"/>
                  </a:cubicBezTo>
                  <a:lnTo>
                    <a:pt x="85" y="1824"/>
                  </a:lnTo>
                  <a:lnTo>
                    <a:pt x="88" y="1824"/>
                  </a:lnTo>
                  <a:cubicBezTo>
                    <a:pt x="91" y="1827"/>
                    <a:pt x="88" y="1833"/>
                    <a:pt x="88" y="1838"/>
                  </a:cubicBezTo>
                  <a:cubicBezTo>
                    <a:pt x="85" y="1838"/>
                    <a:pt x="85" y="1835"/>
                    <a:pt x="82" y="1835"/>
                  </a:cubicBezTo>
                  <a:cubicBezTo>
                    <a:pt x="79" y="1838"/>
                    <a:pt x="77" y="1838"/>
                    <a:pt x="71" y="1841"/>
                  </a:cubicBezTo>
                  <a:cubicBezTo>
                    <a:pt x="71" y="1838"/>
                    <a:pt x="74" y="1835"/>
                    <a:pt x="74" y="1833"/>
                  </a:cubicBezTo>
                  <a:cubicBezTo>
                    <a:pt x="77" y="1830"/>
                    <a:pt x="74" y="1830"/>
                    <a:pt x="74" y="1830"/>
                  </a:cubicBezTo>
                  <a:close/>
                  <a:moveTo>
                    <a:pt x="74" y="1841"/>
                  </a:moveTo>
                  <a:cubicBezTo>
                    <a:pt x="74" y="1844"/>
                    <a:pt x="74" y="1847"/>
                    <a:pt x="71" y="1850"/>
                  </a:cubicBezTo>
                  <a:cubicBezTo>
                    <a:pt x="71" y="1844"/>
                    <a:pt x="71" y="1841"/>
                    <a:pt x="74" y="1841"/>
                  </a:cubicBezTo>
                  <a:close/>
                  <a:moveTo>
                    <a:pt x="299" y="638"/>
                  </a:moveTo>
                  <a:cubicBezTo>
                    <a:pt x="299" y="636"/>
                    <a:pt x="300" y="636"/>
                    <a:pt x="301" y="636"/>
                  </a:cubicBezTo>
                  <a:cubicBezTo>
                    <a:pt x="300" y="637"/>
                    <a:pt x="300" y="637"/>
                    <a:pt x="300" y="638"/>
                  </a:cubicBezTo>
                  <a:cubicBezTo>
                    <a:pt x="300" y="638"/>
                    <a:pt x="300" y="638"/>
                    <a:pt x="299" y="638"/>
                  </a:cubicBezTo>
                  <a:close/>
                  <a:moveTo>
                    <a:pt x="302" y="638"/>
                  </a:moveTo>
                  <a:lnTo>
                    <a:pt x="305" y="638"/>
                  </a:lnTo>
                  <a:lnTo>
                    <a:pt x="308" y="638"/>
                  </a:lnTo>
                  <a:lnTo>
                    <a:pt x="305" y="640"/>
                  </a:lnTo>
                  <a:cubicBezTo>
                    <a:pt x="303" y="638"/>
                    <a:pt x="302" y="638"/>
                    <a:pt x="300" y="638"/>
                  </a:cubicBezTo>
                  <a:cubicBezTo>
                    <a:pt x="299" y="641"/>
                    <a:pt x="297" y="645"/>
                    <a:pt x="297" y="649"/>
                  </a:cubicBezTo>
                  <a:cubicBezTo>
                    <a:pt x="294" y="655"/>
                    <a:pt x="291" y="657"/>
                    <a:pt x="288" y="663"/>
                  </a:cubicBezTo>
                  <a:lnTo>
                    <a:pt x="285" y="663"/>
                  </a:lnTo>
                  <a:cubicBezTo>
                    <a:pt x="288" y="655"/>
                    <a:pt x="288" y="652"/>
                    <a:pt x="288" y="646"/>
                  </a:cubicBezTo>
                  <a:cubicBezTo>
                    <a:pt x="294" y="629"/>
                    <a:pt x="302" y="618"/>
                    <a:pt x="319" y="612"/>
                  </a:cubicBezTo>
                  <a:cubicBezTo>
                    <a:pt x="322" y="612"/>
                    <a:pt x="322" y="615"/>
                    <a:pt x="322" y="615"/>
                  </a:cubicBezTo>
                  <a:lnTo>
                    <a:pt x="319" y="612"/>
                  </a:lnTo>
                  <a:cubicBezTo>
                    <a:pt x="311" y="618"/>
                    <a:pt x="305" y="627"/>
                    <a:pt x="301" y="636"/>
                  </a:cubicBezTo>
                  <a:cubicBezTo>
                    <a:pt x="301" y="637"/>
                    <a:pt x="302" y="638"/>
                    <a:pt x="302" y="638"/>
                  </a:cubicBezTo>
                  <a:close/>
                  <a:moveTo>
                    <a:pt x="384" y="542"/>
                  </a:moveTo>
                  <a:lnTo>
                    <a:pt x="384" y="539"/>
                  </a:lnTo>
                  <a:lnTo>
                    <a:pt x="387" y="539"/>
                  </a:lnTo>
                  <a:cubicBezTo>
                    <a:pt x="387" y="539"/>
                    <a:pt x="387" y="542"/>
                    <a:pt x="384" y="542"/>
                  </a:cubicBezTo>
                  <a:close/>
                  <a:moveTo>
                    <a:pt x="71" y="1703"/>
                  </a:moveTo>
                  <a:lnTo>
                    <a:pt x="68" y="1703"/>
                  </a:lnTo>
                  <a:cubicBezTo>
                    <a:pt x="71" y="1703"/>
                    <a:pt x="71" y="1700"/>
                    <a:pt x="71" y="1703"/>
                  </a:cubicBezTo>
                  <a:close/>
                  <a:moveTo>
                    <a:pt x="57" y="1703"/>
                  </a:moveTo>
                  <a:lnTo>
                    <a:pt x="57" y="1706"/>
                  </a:lnTo>
                  <a:cubicBezTo>
                    <a:pt x="54" y="1706"/>
                    <a:pt x="57" y="1706"/>
                    <a:pt x="57" y="1703"/>
                  </a:cubicBezTo>
                  <a:close/>
                  <a:moveTo>
                    <a:pt x="57" y="1576"/>
                  </a:moveTo>
                  <a:cubicBezTo>
                    <a:pt x="53" y="1580"/>
                    <a:pt x="49" y="1584"/>
                    <a:pt x="44" y="1587"/>
                  </a:cubicBezTo>
                  <a:cubicBezTo>
                    <a:pt x="48" y="1581"/>
                    <a:pt x="50" y="1577"/>
                    <a:pt x="54" y="1573"/>
                  </a:cubicBezTo>
                  <a:cubicBezTo>
                    <a:pt x="54" y="1573"/>
                    <a:pt x="57" y="1573"/>
                    <a:pt x="57" y="1576"/>
                  </a:cubicBezTo>
                  <a:close/>
                  <a:moveTo>
                    <a:pt x="96" y="1875"/>
                  </a:moveTo>
                  <a:cubicBezTo>
                    <a:pt x="96" y="1875"/>
                    <a:pt x="99" y="1872"/>
                    <a:pt x="99" y="1869"/>
                  </a:cubicBezTo>
                  <a:cubicBezTo>
                    <a:pt x="99" y="1869"/>
                    <a:pt x="102" y="1872"/>
                    <a:pt x="99" y="1872"/>
                  </a:cubicBezTo>
                  <a:cubicBezTo>
                    <a:pt x="102" y="1875"/>
                    <a:pt x="99" y="1875"/>
                    <a:pt x="96" y="1875"/>
                  </a:cubicBezTo>
                  <a:close/>
                  <a:moveTo>
                    <a:pt x="277" y="2253"/>
                  </a:moveTo>
                  <a:lnTo>
                    <a:pt x="283" y="2253"/>
                  </a:lnTo>
                  <a:cubicBezTo>
                    <a:pt x="283" y="2253"/>
                    <a:pt x="285" y="2253"/>
                    <a:pt x="283" y="2253"/>
                  </a:cubicBezTo>
                  <a:cubicBezTo>
                    <a:pt x="280" y="2253"/>
                    <a:pt x="277" y="2256"/>
                    <a:pt x="274" y="2256"/>
                  </a:cubicBezTo>
                  <a:cubicBezTo>
                    <a:pt x="277" y="2256"/>
                    <a:pt x="277" y="2253"/>
                    <a:pt x="277" y="2253"/>
                  </a:cubicBezTo>
                  <a:close/>
                  <a:moveTo>
                    <a:pt x="277" y="2222"/>
                  </a:moveTo>
                  <a:lnTo>
                    <a:pt x="277" y="2213"/>
                  </a:lnTo>
                  <a:lnTo>
                    <a:pt x="288" y="2213"/>
                  </a:lnTo>
                  <a:lnTo>
                    <a:pt x="288" y="2242"/>
                  </a:lnTo>
                  <a:lnTo>
                    <a:pt x="299" y="2242"/>
                  </a:lnTo>
                  <a:cubicBezTo>
                    <a:pt x="299" y="2247"/>
                    <a:pt x="299" y="2250"/>
                    <a:pt x="297" y="2256"/>
                  </a:cubicBezTo>
                  <a:cubicBezTo>
                    <a:pt x="288" y="2247"/>
                    <a:pt x="283" y="2233"/>
                    <a:pt x="277" y="2222"/>
                  </a:cubicBezTo>
                  <a:close/>
                  <a:moveTo>
                    <a:pt x="367" y="2439"/>
                  </a:moveTo>
                  <a:cubicBezTo>
                    <a:pt x="367" y="2436"/>
                    <a:pt x="364" y="2433"/>
                    <a:pt x="364" y="2433"/>
                  </a:cubicBezTo>
                  <a:cubicBezTo>
                    <a:pt x="367" y="2433"/>
                    <a:pt x="367" y="2436"/>
                    <a:pt x="367" y="2439"/>
                  </a:cubicBezTo>
                  <a:close/>
                  <a:moveTo>
                    <a:pt x="395" y="2439"/>
                  </a:moveTo>
                  <a:lnTo>
                    <a:pt x="398" y="2445"/>
                  </a:lnTo>
                  <a:cubicBezTo>
                    <a:pt x="401" y="2445"/>
                    <a:pt x="404" y="2442"/>
                    <a:pt x="407" y="2442"/>
                  </a:cubicBezTo>
                  <a:lnTo>
                    <a:pt x="410" y="2445"/>
                  </a:lnTo>
                  <a:cubicBezTo>
                    <a:pt x="407" y="2448"/>
                    <a:pt x="407" y="2450"/>
                    <a:pt x="407" y="2453"/>
                  </a:cubicBezTo>
                  <a:cubicBezTo>
                    <a:pt x="398" y="2456"/>
                    <a:pt x="393" y="2450"/>
                    <a:pt x="384" y="2448"/>
                  </a:cubicBezTo>
                  <a:cubicBezTo>
                    <a:pt x="387" y="2445"/>
                    <a:pt x="390" y="2439"/>
                    <a:pt x="395" y="2439"/>
                  </a:cubicBezTo>
                  <a:close/>
                  <a:moveTo>
                    <a:pt x="915" y="2828"/>
                  </a:moveTo>
                  <a:cubicBezTo>
                    <a:pt x="920" y="2828"/>
                    <a:pt x="926" y="2826"/>
                    <a:pt x="932" y="2823"/>
                  </a:cubicBezTo>
                  <a:cubicBezTo>
                    <a:pt x="934" y="2820"/>
                    <a:pt x="934" y="2820"/>
                    <a:pt x="937" y="2823"/>
                  </a:cubicBezTo>
                  <a:lnTo>
                    <a:pt x="940" y="2820"/>
                  </a:lnTo>
                  <a:cubicBezTo>
                    <a:pt x="940" y="2823"/>
                    <a:pt x="937" y="2826"/>
                    <a:pt x="937" y="2828"/>
                  </a:cubicBezTo>
                  <a:lnTo>
                    <a:pt x="934" y="2826"/>
                  </a:lnTo>
                  <a:lnTo>
                    <a:pt x="934" y="2828"/>
                  </a:lnTo>
                  <a:cubicBezTo>
                    <a:pt x="929" y="2831"/>
                    <a:pt x="920" y="2831"/>
                    <a:pt x="915" y="2831"/>
                  </a:cubicBezTo>
                  <a:cubicBezTo>
                    <a:pt x="915" y="2831"/>
                    <a:pt x="915" y="2831"/>
                    <a:pt x="915" y="2828"/>
                  </a:cubicBezTo>
                  <a:close/>
                  <a:moveTo>
                    <a:pt x="934" y="2834"/>
                  </a:moveTo>
                  <a:cubicBezTo>
                    <a:pt x="932" y="2834"/>
                    <a:pt x="929" y="2837"/>
                    <a:pt x="926" y="2837"/>
                  </a:cubicBezTo>
                  <a:cubicBezTo>
                    <a:pt x="921" y="2837"/>
                    <a:pt x="927" y="2837"/>
                    <a:pt x="934" y="2833"/>
                  </a:cubicBezTo>
                  <a:lnTo>
                    <a:pt x="934" y="2834"/>
                  </a:lnTo>
                  <a:close/>
                  <a:moveTo>
                    <a:pt x="2759" y="779"/>
                  </a:moveTo>
                  <a:cubicBezTo>
                    <a:pt x="2762" y="781"/>
                    <a:pt x="2759" y="784"/>
                    <a:pt x="2759" y="787"/>
                  </a:cubicBezTo>
                  <a:lnTo>
                    <a:pt x="2759" y="779"/>
                  </a:lnTo>
                  <a:close/>
                  <a:moveTo>
                    <a:pt x="2917" y="1275"/>
                  </a:moveTo>
                  <a:cubicBezTo>
                    <a:pt x="2909" y="1278"/>
                    <a:pt x="2911" y="1269"/>
                    <a:pt x="2906" y="1269"/>
                  </a:cubicBezTo>
                  <a:cubicBezTo>
                    <a:pt x="2906" y="1267"/>
                    <a:pt x="2909" y="1269"/>
                    <a:pt x="2909" y="1267"/>
                  </a:cubicBezTo>
                  <a:cubicBezTo>
                    <a:pt x="2911" y="1264"/>
                    <a:pt x="2911" y="1264"/>
                    <a:pt x="2917" y="1261"/>
                  </a:cubicBezTo>
                  <a:cubicBezTo>
                    <a:pt x="2920" y="1267"/>
                    <a:pt x="2920" y="1272"/>
                    <a:pt x="2917" y="1275"/>
                  </a:cubicBezTo>
                  <a:close/>
                  <a:moveTo>
                    <a:pt x="2900" y="1275"/>
                  </a:moveTo>
                  <a:cubicBezTo>
                    <a:pt x="2900" y="1275"/>
                    <a:pt x="2900" y="1272"/>
                    <a:pt x="2900" y="1275"/>
                  </a:cubicBezTo>
                  <a:cubicBezTo>
                    <a:pt x="2906" y="1275"/>
                    <a:pt x="2911" y="1278"/>
                    <a:pt x="2914" y="1281"/>
                  </a:cubicBezTo>
                  <a:cubicBezTo>
                    <a:pt x="2909" y="1281"/>
                    <a:pt x="2903" y="1278"/>
                    <a:pt x="2900" y="1275"/>
                  </a:cubicBezTo>
                  <a:close/>
                  <a:moveTo>
                    <a:pt x="2869" y="1979"/>
                  </a:moveTo>
                  <a:cubicBezTo>
                    <a:pt x="2869" y="1980"/>
                    <a:pt x="2870" y="1980"/>
                    <a:pt x="2870" y="1980"/>
                  </a:cubicBezTo>
                  <a:cubicBezTo>
                    <a:pt x="2870" y="1981"/>
                    <a:pt x="2869" y="1981"/>
                    <a:pt x="2869" y="1979"/>
                  </a:cubicBezTo>
                  <a:close/>
                  <a:moveTo>
                    <a:pt x="2869" y="1979"/>
                  </a:moveTo>
                  <a:cubicBezTo>
                    <a:pt x="2870" y="1979"/>
                    <a:pt x="2870" y="1980"/>
                    <a:pt x="2870" y="1980"/>
                  </a:cubicBezTo>
                  <a:cubicBezTo>
                    <a:pt x="2872" y="1981"/>
                    <a:pt x="2871" y="1979"/>
                    <a:pt x="2869" y="1979"/>
                  </a:cubicBezTo>
                  <a:close/>
                  <a:moveTo>
                    <a:pt x="2945" y="1298"/>
                  </a:moveTo>
                  <a:cubicBezTo>
                    <a:pt x="2945" y="1292"/>
                    <a:pt x="2945" y="1286"/>
                    <a:pt x="2956" y="1301"/>
                  </a:cubicBezTo>
                  <a:cubicBezTo>
                    <a:pt x="2965" y="1312"/>
                    <a:pt x="2968" y="1326"/>
                    <a:pt x="2968" y="1343"/>
                  </a:cubicBezTo>
                  <a:cubicBezTo>
                    <a:pt x="2968" y="1363"/>
                    <a:pt x="2962" y="1382"/>
                    <a:pt x="2951" y="1399"/>
                  </a:cubicBezTo>
                  <a:lnTo>
                    <a:pt x="2951" y="1388"/>
                  </a:lnTo>
                  <a:cubicBezTo>
                    <a:pt x="2951" y="1379"/>
                    <a:pt x="2948" y="1371"/>
                    <a:pt x="2948" y="1363"/>
                  </a:cubicBezTo>
                  <a:lnTo>
                    <a:pt x="2948" y="1365"/>
                  </a:lnTo>
                  <a:cubicBezTo>
                    <a:pt x="2942" y="1363"/>
                    <a:pt x="2940" y="1357"/>
                    <a:pt x="2942" y="1351"/>
                  </a:cubicBezTo>
                  <a:cubicBezTo>
                    <a:pt x="2942" y="1348"/>
                    <a:pt x="2945" y="1348"/>
                    <a:pt x="2945" y="1348"/>
                  </a:cubicBezTo>
                  <a:lnTo>
                    <a:pt x="2945" y="1320"/>
                  </a:lnTo>
                  <a:cubicBezTo>
                    <a:pt x="2945" y="1317"/>
                    <a:pt x="2942" y="1312"/>
                    <a:pt x="2942" y="1306"/>
                  </a:cubicBezTo>
                  <a:cubicBezTo>
                    <a:pt x="2945" y="1303"/>
                    <a:pt x="2945" y="1301"/>
                    <a:pt x="2945" y="1298"/>
                  </a:cubicBezTo>
                  <a:close/>
                  <a:moveTo>
                    <a:pt x="2928" y="1267"/>
                  </a:moveTo>
                  <a:cubicBezTo>
                    <a:pt x="2926" y="1265"/>
                    <a:pt x="2924" y="1264"/>
                    <a:pt x="2923" y="1263"/>
                  </a:cubicBezTo>
                  <a:cubicBezTo>
                    <a:pt x="2928" y="1262"/>
                    <a:pt x="2928" y="1264"/>
                    <a:pt x="2928" y="1267"/>
                  </a:cubicBezTo>
                  <a:close/>
                  <a:moveTo>
                    <a:pt x="2561" y="494"/>
                  </a:moveTo>
                  <a:cubicBezTo>
                    <a:pt x="2573" y="499"/>
                    <a:pt x="2581" y="508"/>
                    <a:pt x="2587" y="519"/>
                  </a:cubicBezTo>
                  <a:cubicBezTo>
                    <a:pt x="2590" y="519"/>
                    <a:pt x="2590" y="525"/>
                    <a:pt x="2593" y="525"/>
                  </a:cubicBezTo>
                  <a:cubicBezTo>
                    <a:pt x="2593" y="528"/>
                    <a:pt x="2593" y="525"/>
                    <a:pt x="2590" y="525"/>
                  </a:cubicBezTo>
                  <a:lnTo>
                    <a:pt x="2593" y="528"/>
                  </a:lnTo>
                  <a:cubicBezTo>
                    <a:pt x="2595" y="533"/>
                    <a:pt x="2598" y="542"/>
                    <a:pt x="2598" y="547"/>
                  </a:cubicBezTo>
                  <a:cubicBezTo>
                    <a:pt x="2595" y="542"/>
                    <a:pt x="2590" y="536"/>
                    <a:pt x="2584" y="533"/>
                  </a:cubicBezTo>
                  <a:cubicBezTo>
                    <a:pt x="2584" y="539"/>
                    <a:pt x="2581" y="550"/>
                    <a:pt x="2581" y="556"/>
                  </a:cubicBezTo>
                  <a:cubicBezTo>
                    <a:pt x="2573" y="550"/>
                    <a:pt x="2573" y="536"/>
                    <a:pt x="2576" y="522"/>
                  </a:cubicBezTo>
                  <a:lnTo>
                    <a:pt x="2573" y="525"/>
                  </a:lnTo>
                  <a:lnTo>
                    <a:pt x="2556" y="499"/>
                  </a:lnTo>
                  <a:cubicBezTo>
                    <a:pt x="2556" y="505"/>
                    <a:pt x="2553" y="505"/>
                    <a:pt x="2550" y="508"/>
                  </a:cubicBezTo>
                  <a:cubicBezTo>
                    <a:pt x="2547" y="505"/>
                    <a:pt x="2542" y="508"/>
                    <a:pt x="2539" y="508"/>
                  </a:cubicBezTo>
                  <a:cubicBezTo>
                    <a:pt x="2536" y="505"/>
                    <a:pt x="2539" y="499"/>
                    <a:pt x="2547" y="499"/>
                  </a:cubicBezTo>
                  <a:cubicBezTo>
                    <a:pt x="2550" y="499"/>
                    <a:pt x="2553" y="497"/>
                    <a:pt x="2556" y="497"/>
                  </a:cubicBezTo>
                  <a:lnTo>
                    <a:pt x="2553" y="494"/>
                  </a:lnTo>
                  <a:cubicBezTo>
                    <a:pt x="2553" y="494"/>
                    <a:pt x="2550" y="494"/>
                    <a:pt x="2547" y="491"/>
                  </a:cubicBezTo>
                  <a:cubicBezTo>
                    <a:pt x="2556" y="491"/>
                    <a:pt x="2559" y="491"/>
                    <a:pt x="2561" y="494"/>
                  </a:cubicBezTo>
                  <a:close/>
                  <a:moveTo>
                    <a:pt x="2548" y="487"/>
                  </a:moveTo>
                  <a:cubicBezTo>
                    <a:pt x="2548" y="487"/>
                    <a:pt x="2549" y="487"/>
                    <a:pt x="2550" y="488"/>
                  </a:cubicBezTo>
                  <a:cubicBezTo>
                    <a:pt x="2549" y="487"/>
                    <a:pt x="2549" y="487"/>
                    <a:pt x="2548" y="487"/>
                  </a:cubicBezTo>
                  <a:close/>
                  <a:moveTo>
                    <a:pt x="2347" y="310"/>
                  </a:moveTo>
                  <a:cubicBezTo>
                    <a:pt x="2344" y="308"/>
                    <a:pt x="2339" y="305"/>
                    <a:pt x="2336" y="302"/>
                  </a:cubicBezTo>
                  <a:cubicBezTo>
                    <a:pt x="2344" y="302"/>
                    <a:pt x="2344" y="305"/>
                    <a:pt x="2347" y="310"/>
                  </a:cubicBezTo>
                  <a:close/>
                  <a:moveTo>
                    <a:pt x="2079" y="158"/>
                  </a:moveTo>
                  <a:cubicBezTo>
                    <a:pt x="2076" y="158"/>
                    <a:pt x="2076" y="155"/>
                    <a:pt x="2076" y="155"/>
                  </a:cubicBezTo>
                  <a:lnTo>
                    <a:pt x="2073" y="158"/>
                  </a:lnTo>
                  <a:cubicBezTo>
                    <a:pt x="2073" y="158"/>
                    <a:pt x="2070" y="155"/>
                    <a:pt x="2068" y="155"/>
                  </a:cubicBezTo>
                  <a:cubicBezTo>
                    <a:pt x="2068" y="152"/>
                    <a:pt x="2065" y="150"/>
                    <a:pt x="2065" y="147"/>
                  </a:cubicBezTo>
                  <a:cubicBezTo>
                    <a:pt x="2068" y="150"/>
                    <a:pt x="2079" y="147"/>
                    <a:pt x="2079" y="158"/>
                  </a:cubicBezTo>
                  <a:close/>
                  <a:moveTo>
                    <a:pt x="2056" y="144"/>
                  </a:moveTo>
                  <a:cubicBezTo>
                    <a:pt x="2048" y="144"/>
                    <a:pt x="2048" y="138"/>
                    <a:pt x="2048" y="133"/>
                  </a:cubicBezTo>
                  <a:cubicBezTo>
                    <a:pt x="2054" y="130"/>
                    <a:pt x="2056" y="138"/>
                    <a:pt x="2056" y="144"/>
                  </a:cubicBezTo>
                  <a:close/>
                  <a:moveTo>
                    <a:pt x="1817" y="59"/>
                  </a:moveTo>
                  <a:cubicBezTo>
                    <a:pt x="1822" y="62"/>
                    <a:pt x="1822" y="68"/>
                    <a:pt x="1828" y="71"/>
                  </a:cubicBezTo>
                  <a:lnTo>
                    <a:pt x="1825" y="71"/>
                  </a:lnTo>
                  <a:cubicBezTo>
                    <a:pt x="1817" y="68"/>
                    <a:pt x="1808" y="68"/>
                    <a:pt x="1797" y="65"/>
                  </a:cubicBezTo>
                  <a:cubicBezTo>
                    <a:pt x="1794" y="65"/>
                    <a:pt x="1788" y="65"/>
                    <a:pt x="1786" y="62"/>
                  </a:cubicBezTo>
                  <a:cubicBezTo>
                    <a:pt x="1797" y="59"/>
                    <a:pt x="1805" y="59"/>
                    <a:pt x="1817" y="59"/>
                  </a:cubicBezTo>
                  <a:close/>
                  <a:moveTo>
                    <a:pt x="1783" y="65"/>
                  </a:moveTo>
                  <a:cubicBezTo>
                    <a:pt x="1777" y="65"/>
                    <a:pt x="1769" y="62"/>
                    <a:pt x="1763" y="59"/>
                  </a:cubicBezTo>
                  <a:cubicBezTo>
                    <a:pt x="1771" y="57"/>
                    <a:pt x="1780" y="54"/>
                    <a:pt x="1783" y="65"/>
                  </a:cubicBezTo>
                  <a:close/>
                  <a:moveTo>
                    <a:pt x="1681" y="45"/>
                  </a:moveTo>
                  <a:lnTo>
                    <a:pt x="1673" y="45"/>
                  </a:lnTo>
                  <a:cubicBezTo>
                    <a:pt x="1670" y="42"/>
                    <a:pt x="1664" y="40"/>
                    <a:pt x="1661" y="40"/>
                  </a:cubicBezTo>
                  <a:cubicBezTo>
                    <a:pt x="1667" y="40"/>
                    <a:pt x="1675" y="42"/>
                    <a:pt x="1681" y="45"/>
                  </a:cubicBezTo>
                  <a:close/>
                  <a:moveTo>
                    <a:pt x="1611" y="40"/>
                  </a:moveTo>
                  <a:cubicBezTo>
                    <a:pt x="1611" y="40"/>
                    <a:pt x="1611" y="42"/>
                    <a:pt x="1608" y="42"/>
                  </a:cubicBezTo>
                  <a:cubicBezTo>
                    <a:pt x="1609" y="40"/>
                    <a:pt x="1611" y="38"/>
                    <a:pt x="1614" y="37"/>
                  </a:cubicBezTo>
                  <a:cubicBezTo>
                    <a:pt x="1612" y="38"/>
                    <a:pt x="1611" y="39"/>
                    <a:pt x="1611" y="40"/>
                  </a:cubicBezTo>
                  <a:close/>
                  <a:moveTo>
                    <a:pt x="1315" y="31"/>
                  </a:moveTo>
                  <a:cubicBezTo>
                    <a:pt x="1315" y="25"/>
                    <a:pt x="1318" y="23"/>
                    <a:pt x="1321" y="17"/>
                  </a:cubicBezTo>
                  <a:cubicBezTo>
                    <a:pt x="1332" y="14"/>
                    <a:pt x="1344" y="17"/>
                    <a:pt x="1355" y="20"/>
                  </a:cubicBezTo>
                  <a:cubicBezTo>
                    <a:pt x="1366" y="23"/>
                    <a:pt x="1377" y="28"/>
                    <a:pt x="1386" y="34"/>
                  </a:cubicBezTo>
                  <a:cubicBezTo>
                    <a:pt x="1389" y="34"/>
                    <a:pt x="1391" y="37"/>
                    <a:pt x="1391" y="37"/>
                  </a:cubicBezTo>
                  <a:lnTo>
                    <a:pt x="1377" y="37"/>
                  </a:lnTo>
                  <a:cubicBezTo>
                    <a:pt x="1376" y="35"/>
                    <a:pt x="1374" y="34"/>
                    <a:pt x="1373" y="33"/>
                  </a:cubicBezTo>
                  <a:lnTo>
                    <a:pt x="1372" y="34"/>
                  </a:lnTo>
                  <a:cubicBezTo>
                    <a:pt x="1352" y="23"/>
                    <a:pt x="1327" y="25"/>
                    <a:pt x="1307" y="42"/>
                  </a:cubicBezTo>
                  <a:lnTo>
                    <a:pt x="1304" y="45"/>
                  </a:lnTo>
                  <a:cubicBezTo>
                    <a:pt x="1298" y="45"/>
                    <a:pt x="1296" y="42"/>
                    <a:pt x="1290" y="45"/>
                  </a:cubicBezTo>
                  <a:cubicBezTo>
                    <a:pt x="1298" y="40"/>
                    <a:pt x="1307" y="34"/>
                    <a:pt x="1315" y="31"/>
                  </a:cubicBezTo>
                  <a:close/>
                  <a:moveTo>
                    <a:pt x="1358" y="25"/>
                  </a:moveTo>
                  <a:cubicBezTo>
                    <a:pt x="1363" y="28"/>
                    <a:pt x="1369" y="28"/>
                    <a:pt x="1375" y="31"/>
                  </a:cubicBezTo>
                  <a:lnTo>
                    <a:pt x="1373" y="33"/>
                  </a:lnTo>
                  <a:cubicBezTo>
                    <a:pt x="1368" y="30"/>
                    <a:pt x="1362" y="28"/>
                    <a:pt x="1358" y="25"/>
                  </a:cubicBezTo>
                  <a:close/>
                  <a:moveTo>
                    <a:pt x="1033" y="93"/>
                  </a:moveTo>
                  <a:cubicBezTo>
                    <a:pt x="1047" y="88"/>
                    <a:pt x="1061" y="90"/>
                    <a:pt x="1075" y="93"/>
                  </a:cubicBezTo>
                  <a:lnTo>
                    <a:pt x="1070" y="93"/>
                  </a:lnTo>
                  <a:cubicBezTo>
                    <a:pt x="1047" y="88"/>
                    <a:pt x="1022" y="96"/>
                    <a:pt x="1008" y="113"/>
                  </a:cubicBezTo>
                  <a:cubicBezTo>
                    <a:pt x="1005" y="113"/>
                    <a:pt x="1002" y="116"/>
                    <a:pt x="999" y="116"/>
                  </a:cubicBezTo>
                  <a:cubicBezTo>
                    <a:pt x="1008" y="104"/>
                    <a:pt x="1019" y="96"/>
                    <a:pt x="1033" y="93"/>
                  </a:cubicBezTo>
                  <a:close/>
                  <a:moveTo>
                    <a:pt x="545" y="378"/>
                  </a:moveTo>
                  <a:cubicBezTo>
                    <a:pt x="542" y="381"/>
                    <a:pt x="542" y="381"/>
                    <a:pt x="539" y="381"/>
                  </a:cubicBezTo>
                  <a:cubicBezTo>
                    <a:pt x="542" y="381"/>
                    <a:pt x="542" y="378"/>
                    <a:pt x="545" y="378"/>
                  </a:cubicBezTo>
                  <a:close/>
                  <a:moveTo>
                    <a:pt x="508" y="395"/>
                  </a:moveTo>
                  <a:cubicBezTo>
                    <a:pt x="516" y="387"/>
                    <a:pt x="526" y="382"/>
                    <a:pt x="537" y="381"/>
                  </a:cubicBezTo>
                  <a:cubicBezTo>
                    <a:pt x="535" y="381"/>
                    <a:pt x="534" y="382"/>
                    <a:pt x="534" y="384"/>
                  </a:cubicBezTo>
                  <a:lnTo>
                    <a:pt x="534" y="387"/>
                  </a:lnTo>
                  <a:cubicBezTo>
                    <a:pt x="517" y="392"/>
                    <a:pt x="505" y="406"/>
                    <a:pt x="500" y="420"/>
                  </a:cubicBezTo>
                  <a:lnTo>
                    <a:pt x="494" y="420"/>
                  </a:lnTo>
                  <a:cubicBezTo>
                    <a:pt x="497" y="412"/>
                    <a:pt x="503" y="403"/>
                    <a:pt x="508" y="395"/>
                  </a:cubicBezTo>
                  <a:close/>
                  <a:moveTo>
                    <a:pt x="390" y="530"/>
                  </a:moveTo>
                  <a:lnTo>
                    <a:pt x="384" y="536"/>
                  </a:lnTo>
                  <a:lnTo>
                    <a:pt x="384" y="533"/>
                  </a:lnTo>
                  <a:cubicBezTo>
                    <a:pt x="387" y="533"/>
                    <a:pt x="387" y="530"/>
                    <a:pt x="390" y="530"/>
                  </a:cubicBezTo>
                  <a:close/>
                  <a:moveTo>
                    <a:pt x="325" y="584"/>
                  </a:moveTo>
                  <a:cubicBezTo>
                    <a:pt x="331" y="584"/>
                    <a:pt x="336" y="590"/>
                    <a:pt x="336" y="595"/>
                  </a:cubicBezTo>
                  <a:cubicBezTo>
                    <a:pt x="336" y="595"/>
                    <a:pt x="333" y="595"/>
                    <a:pt x="331" y="598"/>
                  </a:cubicBezTo>
                  <a:cubicBezTo>
                    <a:pt x="331" y="601"/>
                    <a:pt x="331" y="601"/>
                    <a:pt x="328" y="604"/>
                  </a:cubicBezTo>
                  <a:cubicBezTo>
                    <a:pt x="322" y="601"/>
                    <a:pt x="319" y="595"/>
                    <a:pt x="319" y="590"/>
                  </a:cubicBezTo>
                  <a:cubicBezTo>
                    <a:pt x="322" y="587"/>
                    <a:pt x="322" y="584"/>
                    <a:pt x="325" y="584"/>
                  </a:cubicBezTo>
                  <a:close/>
                  <a:moveTo>
                    <a:pt x="280" y="632"/>
                  </a:moveTo>
                  <a:lnTo>
                    <a:pt x="285" y="632"/>
                  </a:lnTo>
                  <a:cubicBezTo>
                    <a:pt x="285" y="635"/>
                    <a:pt x="283" y="638"/>
                    <a:pt x="283" y="638"/>
                  </a:cubicBezTo>
                  <a:cubicBezTo>
                    <a:pt x="280" y="638"/>
                    <a:pt x="283" y="638"/>
                    <a:pt x="283" y="638"/>
                  </a:cubicBezTo>
                  <a:cubicBezTo>
                    <a:pt x="283" y="635"/>
                    <a:pt x="280" y="635"/>
                    <a:pt x="280" y="632"/>
                  </a:cubicBezTo>
                  <a:close/>
                  <a:moveTo>
                    <a:pt x="150" y="875"/>
                  </a:moveTo>
                  <a:cubicBezTo>
                    <a:pt x="153" y="872"/>
                    <a:pt x="156" y="866"/>
                    <a:pt x="161" y="863"/>
                  </a:cubicBezTo>
                  <a:cubicBezTo>
                    <a:pt x="161" y="863"/>
                    <a:pt x="161" y="860"/>
                    <a:pt x="158" y="860"/>
                  </a:cubicBezTo>
                  <a:cubicBezTo>
                    <a:pt x="158" y="855"/>
                    <a:pt x="158" y="849"/>
                    <a:pt x="164" y="849"/>
                  </a:cubicBezTo>
                  <a:cubicBezTo>
                    <a:pt x="164" y="852"/>
                    <a:pt x="170" y="855"/>
                    <a:pt x="170" y="858"/>
                  </a:cubicBezTo>
                  <a:lnTo>
                    <a:pt x="161" y="883"/>
                  </a:lnTo>
                  <a:cubicBezTo>
                    <a:pt x="156" y="889"/>
                    <a:pt x="150" y="897"/>
                    <a:pt x="147" y="906"/>
                  </a:cubicBezTo>
                  <a:cubicBezTo>
                    <a:pt x="144" y="908"/>
                    <a:pt x="144" y="914"/>
                    <a:pt x="141" y="917"/>
                  </a:cubicBezTo>
                  <a:cubicBezTo>
                    <a:pt x="139" y="911"/>
                    <a:pt x="139" y="906"/>
                    <a:pt x="136" y="903"/>
                  </a:cubicBezTo>
                  <a:cubicBezTo>
                    <a:pt x="141" y="891"/>
                    <a:pt x="144" y="880"/>
                    <a:pt x="150" y="875"/>
                  </a:cubicBezTo>
                  <a:close/>
                  <a:moveTo>
                    <a:pt x="62" y="1151"/>
                  </a:moveTo>
                  <a:lnTo>
                    <a:pt x="62" y="1157"/>
                  </a:lnTo>
                  <a:cubicBezTo>
                    <a:pt x="60" y="1168"/>
                    <a:pt x="60" y="1182"/>
                    <a:pt x="60" y="1193"/>
                  </a:cubicBezTo>
                  <a:cubicBezTo>
                    <a:pt x="60" y="1199"/>
                    <a:pt x="54" y="1207"/>
                    <a:pt x="54" y="1213"/>
                  </a:cubicBezTo>
                  <a:cubicBezTo>
                    <a:pt x="51" y="1207"/>
                    <a:pt x="51" y="1198"/>
                    <a:pt x="51" y="1190"/>
                  </a:cubicBezTo>
                  <a:cubicBezTo>
                    <a:pt x="51" y="1181"/>
                    <a:pt x="51" y="1174"/>
                    <a:pt x="54" y="1165"/>
                  </a:cubicBezTo>
                  <a:cubicBezTo>
                    <a:pt x="54" y="1165"/>
                    <a:pt x="54" y="1162"/>
                    <a:pt x="51" y="1162"/>
                  </a:cubicBezTo>
                  <a:cubicBezTo>
                    <a:pt x="51" y="1157"/>
                    <a:pt x="51" y="1148"/>
                    <a:pt x="62" y="1151"/>
                  </a:cubicBezTo>
                  <a:close/>
                  <a:moveTo>
                    <a:pt x="29" y="1382"/>
                  </a:moveTo>
                  <a:cubicBezTo>
                    <a:pt x="28" y="1382"/>
                    <a:pt x="28" y="1381"/>
                    <a:pt x="28" y="1380"/>
                  </a:cubicBezTo>
                  <a:cubicBezTo>
                    <a:pt x="28" y="1381"/>
                    <a:pt x="29" y="1381"/>
                    <a:pt x="29" y="1382"/>
                  </a:cubicBezTo>
                  <a:close/>
                  <a:moveTo>
                    <a:pt x="20" y="1494"/>
                  </a:moveTo>
                  <a:cubicBezTo>
                    <a:pt x="20" y="1497"/>
                    <a:pt x="17" y="1497"/>
                    <a:pt x="17" y="1500"/>
                  </a:cubicBezTo>
                  <a:cubicBezTo>
                    <a:pt x="15" y="1500"/>
                    <a:pt x="12" y="1487"/>
                    <a:pt x="17" y="1490"/>
                  </a:cubicBezTo>
                  <a:lnTo>
                    <a:pt x="20" y="1487"/>
                  </a:lnTo>
                  <a:cubicBezTo>
                    <a:pt x="17" y="1481"/>
                    <a:pt x="17" y="1473"/>
                    <a:pt x="20" y="1467"/>
                  </a:cubicBezTo>
                  <a:cubicBezTo>
                    <a:pt x="20" y="1464"/>
                    <a:pt x="26" y="1461"/>
                    <a:pt x="26" y="1458"/>
                  </a:cubicBezTo>
                  <a:cubicBezTo>
                    <a:pt x="26" y="1464"/>
                    <a:pt x="23" y="1470"/>
                    <a:pt x="23" y="1473"/>
                  </a:cubicBezTo>
                  <a:cubicBezTo>
                    <a:pt x="23" y="1484"/>
                    <a:pt x="26" y="1494"/>
                    <a:pt x="26" y="1505"/>
                  </a:cubicBezTo>
                  <a:cubicBezTo>
                    <a:pt x="23" y="1503"/>
                    <a:pt x="23" y="1500"/>
                    <a:pt x="20" y="1494"/>
                  </a:cubicBezTo>
                  <a:close/>
                  <a:moveTo>
                    <a:pt x="77" y="1866"/>
                  </a:moveTo>
                  <a:cubicBezTo>
                    <a:pt x="79" y="1864"/>
                    <a:pt x="79" y="1864"/>
                    <a:pt x="82" y="1864"/>
                  </a:cubicBezTo>
                  <a:cubicBezTo>
                    <a:pt x="82" y="1864"/>
                    <a:pt x="79" y="1864"/>
                    <a:pt x="77" y="1866"/>
                  </a:cubicBezTo>
                  <a:close/>
                  <a:moveTo>
                    <a:pt x="79" y="1945"/>
                  </a:moveTo>
                  <a:cubicBezTo>
                    <a:pt x="73" y="1931"/>
                    <a:pt x="74" y="1917"/>
                    <a:pt x="79" y="1903"/>
                  </a:cubicBezTo>
                  <a:lnTo>
                    <a:pt x="79" y="1909"/>
                  </a:lnTo>
                  <a:cubicBezTo>
                    <a:pt x="74" y="1931"/>
                    <a:pt x="82" y="1954"/>
                    <a:pt x="99" y="1968"/>
                  </a:cubicBezTo>
                  <a:cubicBezTo>
                    <a:pt x="99" y="1971"/>
                    <a:pt x="102" y="1974"/>
                    <a:pt x="102" y="1977"/>
                  </a:cubicBezTo>
                  <a:cubicBezTo>
                    <a:pt x="91" y="1971"/>
                    <a:pt x="84" y="1960"/>
                    <a:pt x="79" y="1945"/>
                  </a:cubicBezTo>
                  <a:close/>
                  <a:moveTo>
                    <a:pt x="141" y="2081"/>
                  </a:moveTo>
                  <a:lnTo>
                    <a:pt x="141" y="2075"/>
                  </a:lnTo>
                  <a:cubicBezTo>
                    <a:pt x="144" y="2078"/>
                    <a:pt x="141" y="2084"/>
                    <a:pt x="144" y="2087"/>
                  </a:cubicBezTo>
                  <a:cubicBezTo>
                    <a:pt x="141" y="2084"/>
                    <a:pt x="141" y="2084"/>
                    <a:pt x="141" y="2081"/>
                  </a:cubicBezTo>
                  <a:close/>
                  <a:moveTo>
                    <a:pt x="229" y="2244"/>
                  </a:moveTo>
                  <a:cubicBezTo>
                    <a:pt x="235" y="2242"/>
                    <a:pt x="237" y="2244"/>
                    <a:pt x="240" y="2250"/>
                  </a:cubicBezTo>
                  <a:cubicBezTo>
                    <a:pt x="238" y="2250"/>
                    <a:pt x="235" y="2248"/>
                    <a:pt x="230" y="2245"/>
                  </a:cubicBezTo>
                  <a:cubicBezTo>
                    <a:pt x="230" y="2246"/>
                    <a:pt x="229" y="2246"/>
                    <a:pt x="229" y="2244"/>
                  </a:cubicBezTo>
                  <a:close/>
                  <a:moveTo>
                    <a:pt x="229" y="2244"/>
                  </a:moveTo>
                  <a:cubicBezTo>
                    <a:pt x="230" y="2244"/>
                    <a:pt x="230" y="2245"/>
                    <a:pt x="230" y="2245"/>
                  </a:cubicBezTo>
                  <a:cubicBezTo>
                    <a:pt x="230" y="2245"/>
                    <a:pt x="229" y="2245"/>
                    <a:pt x="229" y="2244"/>
                  </a:cubicBezTo>
                  <a:close/>
                  <a:moveTo>
                    <a:pt x="294" y="2354"/>
                  </a:moveTo>
                  <a:cubicBezTo>
                    <a:pt x="290" y="2351"/>
                    <a:pt x="288" y="2347"/>
                    <a:pt x="286" y="2342"/>
                  </a:cubicBezTo>
                  <a:cubicBezTo>
                    <a:pt x="289" y="2346"/>
                    <a:pt x="291" y="2349"/>
                    <a:pt x="294" y="2354"/>
                  </a:cubicBezTo>
                  <a:cubicBezTo>
                    <a:pt x="297" y="2354"/>
                    <a:pt x="299" y="2352"/>
                    <a:pt x="302" y="2352"/>
                  </a:cubicBezTo>
                  <a:lnTo>
                    <a:pt x="302" y="2357"/>
                  </a:lnTo>
                  <a:cubicBezTo>
                    <a:pt x="305" y="2360"/>
                    <a:pt x="305" y="2363"/>
                    <a:pt x="305" y="2366"/>
                  </a:cubicBezTo>
                  <a:cubicBezTo>
                    <a:pt x="299" y="2363"/>
                    <a:pt x="297" y="2357"/>
                    <a:pt x="294" y="2354"/>
                  </a:cubicBezTo>
                  <a:close/>
                  <a:moveTo>
                    <a:pt x="283" y="2332"/>
                  </a:moveTo>
                  <a:cubicBezTo>
                    <a:pt x="284" y="2333"/>
                    <a:pt x="284" y="2335"/>
                    <a:pt x="284" y="2336"/>
                  </a:cubicBezTo>
                  <a:cubicBezTo>
                    <a:pt x="283" y="2335"/>
                    <a:pt x="283" y="2333"/>
                    <a:pt x="283" y="2332"/>
                  </a:cubicBezTo>
                  <a:close/>
                  <a:moveTo>
                    <a:pt x="384" y="2470"/>
                  </a:moveTo>
                  <a:cubicBezTo>
                    <a:pt x="380" y="2466"/>
                    <a:pt x="377" y="2461"/>
                    <a:pt x="374" y="2455"/>
                  </a:cubicBezTo>
                  <a:lnTo>
                    <a:pt x="376" y="2456"/>
                  </a:lnTo>
                  <a:lnTo>
                    <a:pt x="378" y="2453"/>
                  </a:lnTo>
                  <a:cubicBezTo>
                    <a:pt x="381" y="2462"/>
                    <a:pt x="387" y="2467"/>
                    <a:pt x="395" y="2473"/>
                  </a:cubicBezTo>
                  <a:cubicBezTo>
                    <a:pt x="395" y="2473"/>
                    <a:pt x="395" y="2476"/>
                    <a:pt x="398" y="2476"/>
                  </a:cubicBezTo>
                  <a:lnTo>
                    <a:pt x="401" y="2476"/>
                  </a:lnTo>
                  <a:cubicBezTo>
                    <a:pt x="401" y="2476"/>
                    <a:pt x="398" y="2479"/>
                    <a:pt x="398" y="2481"/>
                  </a:cubicBezTo>
                  <a:cubicBezTo>
                    <a:pt x="393" y="2479"/>
                    <a:pt x="390" y="2476"/>
                    <a:pt x="384" y="2470"/>
                  </a:cubicBezTo>
                  <a:close/>
                  <a:moveTo>
                    <a:pt x="404" y="2510"/>
                  </a:moveTo>
                  <a:cubicBezTo>
                    <a:pt x="407" y="2510"/>
                    <a:pt x="407" y="2507"/>
                    <a:pt x="404" y="2510"/>
                  </a:cubicBezTo>
                  <a:close/>
                  <a:moveTo>
                    <a:pt x="573" y="2656"/>
                  </a:moveTo>
                  <a:cubicBezTo>
                    <a:pt x="573" y="2654"/>
                    <a:pt x="576" y="2651"/>
                    <a:pt x="579" y="2648"/>
                  </a:cubicBezTo>
                  <a:cubicBezTo>
                    <a:pt x="582" y="2651"/>
                    <a:pt x="582" y="2654"/>
                    <a:pt x="587" y="2656"/>
                  </a:cubicBezTo>
                  <a:cubicBezTo>
                    <a:pt x="582" y="2659"/>
                    <a:pt x="576" y="2659"/>
                    <a:pt x="573" y="2656"/>
                  </a:cubicBezTo>
                  <a:close/>
                  <a:moveTo>
                    <a:pt x="607" y="2670"/>
                  </a:moveTo>
                  <a:cubicBezTo>
                    <a:pt x="610" y="2673"/>
                    <a:pt x="616" y="2676"/>
                    <a:pt x="618" y="2679"/>
                  </a:cubicBezTo>
                  <a:cubicBezTo>
                    <a:pt x="621" y="2682"/>
                    <a:pt x="627" y="2682"/>
                    <a:pt x="630" y="2685"/>
                  </a:cubicBezTo>
                  <a:cubicBezTo>
                    <a:pt x="621" y="2682"/>
                    <a:pt x="613" y="2676"/>
                    <a:pt x="607" y="2670"/>
                  </a:cubicBezTo>
                  <a:close/>
                  <a:moveTo>
                    <a:pt x="627" y="2699"/>
                  </a:moveTo>
                  <a:lnTo>
                    <a:pt x="618" y="2699"/>
                  </a:lnTo>
                  <a:lnTo>
                    <a:pt x="618" y="2696"/>
                  </a:lnTo>
                  <a:lnTo>
                    <a:pt x="624" y="2696"/>
                  </a:lnTo>
                  <a:cubicBezTo>
                    <a:pt x="627" y="2696"/>
                    <a:pt x="627" y="2696"/>
                    <a:pt x="627" y="2699"/>
                  </a:cubicBezTo>
                  <a:close/>
                  <a:moveTo>
                    <a:pt x="649" y="2693"/>
                  </a:moveTo>
                  <a:lnTo>
                    <a:pt x="649" y="2690"/>
                  </a:lnTo>
                  <a:cubicBezTo>
                    <a:pt x="651" y="2689"/>
                    <a:pt x="653" y="2690"/>
                    <a:pt x="656" y="2691"/>
                  </a:cubicBezTo>
                  <a:cubicBezTo>
                    <a:pt x="654" y="2691"/>
                    <a:pt x="652" y="2692"/>
                    <a:pt x="649" y="2693"/>
                  </a:cubicBezTo>
                  <a:close/>
                  <a:moveTo>
                    <a:pt x="836" y="2811"/>
                  </a:moveTo>
                  <a:cubicBezTo>
                    <a:pt x="838" y="2811"/>
                    <a:pt x="838" y="2814"/>
                    <a:pt x="841" y="2814"/>
                  </a:cubicBezTo>
                  <a:cubicBezTo>
                    <a:pt x="842" y="2815"/>
                    <a:pt x="843" y="2817"/>
                    <a:pt x="845" y="2817"/>
                  </a:cubicBezTo>
                  <a:cubicBezTo>
                    <a:pt x="840" y="2818"/>
                    <a:pt x="836" y="2818"/>
                    <a:pt x="836" y="2811"/>
                  </a:cubicBezTo>
                  <a:close/>
                  <a:moveTo>
                    <a:pt x="861" y="2828"/>
                  </a:moveTo>
                  <a:lnTo>
                    <a:pt x="855" y="2823"/>
                  </a:lnTo>
                  <a:cubicBezTo>
                    <a:pt x="858" y="2824"/>
                    <a:pt x="861" y="2827"/>
                    <a:pt x="863" y="2829"/>
                  </a:cubicBezTo>
                  <a:cubicBezTo>
                    <a:pt x="862" y="2829"/>
                    <a:pt x="862" y="2829"/>
                    <a:pt x="861" y="2828"/>
                  </a:cubicBezTo>
                  <a:close/>
                  <a:moveTo>
                    <a:pt x="1140" y="2924"/>
                  </a:moveTo>
                  <a:cubicBezTo>
                    <a:pt x="1146" y="2921"/>
                    <a:pt x="1149" y="2921"/>
                    <a:pt x="1152" y="2924"/>
                  </a:cubicBezTo>
                  <a:cubicBezTo>
                    <a:pt x="1152" y="2927"/>
                    <a:pt x="1152" y="2927"/>
                    <a:pt x="1149" y="2927"/>
                  </a:cubicBezTo>
                  <a:lnTo>
                    <a:pt x="1154" y="2927"/>
                  </a:lnTo>
                  <a:cubicBezTo>
                    <a:pt x="1154" y="2930"/>
                    <a:pt x="1152" y="2930"/>
                    <a:pt x="1152" y="2933"/>
                  </a:cubicBezTo>
                  <a:cubicBezTo>
                    <a:pt x="1149" y="2930"/>
                    <a:pt x="1143" y="2927"/>
                    <a:pt x="1140" y="2924"/>
                  </a:cubicBezTo>
                  <a:close/>
                  <a:moveTo>
                    <a:pt x="2296" y="2701"/>
                  </a:moveTo>
                  <a:cubicBezTo>
                    <a:pt x="2296" y="2699"/>
                    <a:pt x="2299" y="2696"/>
                    <a:pt x="2305" y="2696"/>
                  </a:cubicBezTo>
                  <a:cubicBezTo>
                    <a:pt x="2305" y="2699"/>
                    <a:pt x="2302" y="2699"/>
                    <a:pt x="2302" y="2699"/>
                  </a:cubicBezTo>
                  <a:cubicBezTo>
                    <a:pt x="2299" y="2699"/>
                    <a:pt x="2299" y="2701"/>
                    <a:pt x="2296" y="2701"/>
                  </a:cubicBezTo>
                  <a:close/>
                  <a:moveTo>
                    <a:pt x="2468" y="2597"/>
                  </a:moveTo>
                  <a:cubicBezTo>
                    <a:pt x="2468" y="2600"/>
                    <a:pt x="2466" y="2600"/>
                    <a:pt x="2466" y="2606"/>
                  </a:cubicBezTo>
                  <a:cubicBezTo>
                    <a:pt x="2463" y="2606"/>
                    <a:pt x="2466" y="2603"/>
                    <a:pt x="2466" y="2600"/>
                  </a:cubicBezTo>
                  <a:lnTo>
                    <a:pt x="2460" y="2600"/>
                  </a:lnTo>
                  <a:lnTo>
                    <a:pt x="2466" y="2594"/>
                  </a:lnTo>
                  <a:cubicBezTo>
                    <a:pt x="2468" y="2591"/>
                    <a:pt x="2468" y="2589"/>
                    <a:pt x="2471" y="2589"/>
                  </a:cubicBezTo>
                  <a:cubicBezTo>
                    <a:pt x="2477" y="2583"/>
                    <a:pt x="2482" y="2580"/>
                    <a:pt x="2488" y="2575"/>
                  </a:cubicBezTo>
                  <a:cubicBezTo>
                    <a:pt x="2482" y="2583"/>
                    <a:pt x="2477" y="2589"/>
                    <a:pt x="2468" y="2597"/>
                  </a:cubicBezTo>
                  <a:close/>
                  <a:moveTo>
                    <a:pt x="2584" y="2380"/>
                  </a:moveTo>
                  <a:cubicBezTo>
                    <a:pt x="2584" y="2366"/>
                    <a:pt x="2584" y="2352"/>
                    <a:pt x="2578" y="2340"/>
                  </a:cubicBezTo>
                  <a:cubicBezTo>
                    <a:pt x="2570" y="2329"/>
                    <a:pt x="2539" y="2329"/>
                    <a:pt x="2556" y="2307"/>
                  </a:cubicBezTo>
                  <a:cubicBezTo>
                    <a:pt x="2576" y="2318"/>
                    <a:pt x="2593" y="2335"/>
                    <a:pt x="2598" y="2357"/>
                  </a:cubicBezTo>
                  <a:cubicBezTo>
                    <a:pt x="2595" y="2366"/>
                    <a:pt x="2590" y="2371"/>
                    <a:pt x="2584" y="2380"/>
                  </a:cubicBezTo>
                  <a:close/>
                  <a:moveTo>
                    <a:pt x="2925" y="1788"/>
                  </a:moveTo>
                  <a:cubicBezTo>
                    <a:pt x="2925" y="1785"/>
                    <a:pt x="2925" y="1782"/>
                    <a:pt x="2928" y="1779"/>
                  </a:cubicBezTo>
                  <a:cubicBezTo>
                    <a:pt x="2928" y="1785"/>
                    <a:pt x="2928" y="1788"/>
                    <a:pt x="2925" y="178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" name="Freeform 3"/>
            <p:cNvSpPr>
              <a:spLocks noChangeArrowheads="1"/>
            </p:cNvSpPr>
            <p:nvPr/>
          </p:nvSpPr>
          <p:spPr bwMode="auto">
            <a:xfrm>
              <a:off x="4621213" y="2771775"/>
              <a:ext cx="1587" cy="1588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0 h 6"/>
                <a:gd name="T4" fmla="*/ 0 w 3"/>
                <a:gd name="T5" fmla="*/ 5 h 6"/>
                <a:gd name="T6" fmla="*/ 0 w 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0" y="0"/>
                  </a:moveTo>
                  <a:lnTo>
                    <a:pt x="0" y="0"/>
                  </a:lnTo>
                  <a:cubicBezTo>
                    <a:pt x="0" y="3"/>
                    <a:pt x="0" y="3"/>
                    <a:pt x="0" y="5"/>
                  </a:cubicBezTo>
                  <a:cubicBezTo>
                    <a:pt x="2" y="3"/>
                    <a:pt x="2" y="3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" name="Freeform 4"/>
            <p:cNvSpPr>
              <a:spLocks noChangeArrowheads="1"/>
            </p:cNvSpPr>
            <p:nvPr/>
          </p:nvSpPr>
          <p:spPr bwMode="auto">
            <a:xfrm>
              <a:off x="3600450" y="2051050"/>
              <a:ext cx="1057275" cy="1055688"/>
            </a:xfrm>
            <a:custGeom>
              <a:avLst/>
              <a:gdLst>
                <a:gd name="T0" fmla="*/ 1768 w 2937"/>
                <a:gd name="T1" fmla="*/ 82 h 2931"/>
                <a:gd name="T2" fmla="*/ 1703 w 2937"/>
                <a:gd name="T3" fmla="*/ 56 h 2931"/>
                <a:gd name="T4" fmla="*/ 1582 w 2937"/>
                <a:gd name="T5" fmla="*/ 87 h 2931"/>
                <a:gd name="T6" fmla="*/ 1460 w 2937"/>
                <a:gd name="T7" fmla="*/ 180 h 2931"/>
                <a:gd name="T8" fmla="*/ 1374 w 2937"/>
                <a:gd name="T9" fmla="*/ 2603 h 2931"/>
                <a:gd name="T10" fmla="*/ 1246 w 2937"/>
                <a:gd name="T11" fmla="*/ 198 h 2931"/>
                <a:gd name="T12" fmla="*/ 1202 w 2937"/>
                <a:gd name="T13" fmla="*/ 107 h 2931"/>
                <a:gd name="T14" fmla="*/ 1078 w 2937"/>
                <a:gd name="T15" fmla="*/ 2732 h 2931"/>
                <a:gd name="T16" fmla="*/ 1078 w 2937"/>
                <a:gd name="T17" fmla="*/ 1145 h 2931"/>
                <a:gd name="T18" fmla="*/ 1038 w 2937"/>
                <a:gd name="T19" fmla="*/ 767 h 2931"/>
                <a:gd name="T20" fmla="*/ 948 w 2937"/>
                <a:gd name="T21" fmla="*/ 2713 h 2931"/>
                <a:gd name="T22" fmla="*/ 920 w 2937"/>
                <a:gd name="T23" fmla="*/ 144 h 2931"/>
                <a:gd name="T24" fmla="*/ 846 w 2937"/>
                <a:gd name="T25" fmla="*/ 2526 h 2931"/>
                <a:gd name="T26" fmla="*/ 731 w 2937"/>
                <a:gd name="T27" fmla="*/ 2524 h 2931"/>
                <a:gd name="T28" fmla="*/ 680 w 2937"/>
                <a:gd name="T29" fmla="*/ 2512 h 2931"/>
                <a:gd name="T30" fmla="*/ 440 w 2937"/>
                <a:gd name="T31" fmla="*/ 2431 h 2931"/>
                <a:gd name="T32" fmla="*/ 463 w 2937"/>
                <a:gd name="T33" fmla="*/ 2213 h 2931"/>
                <a:gd name="T34" fmla="*/ 400 w 2937"/>
                <a:gd name="T35" fmla="*/ 688 h 2931"/>
                <a:gd name="T36" fmla="*/ 530 w 2937"/>
                <a:gd name="T37" fmla="*/ 2442 h 2931"/>
                <a:gd name="T38" fmla="*/ 609 w 2937"/>
                <a:gd name="T39" fmla="*/ 2411 h 2931"/>
                <a:gd name="T40" fmla="*/ 451 w 2937"/>
                <a:gd name="T41" fmla="*/ 773 h 2931"/>
                <a:gd name="T42" fmla="*/ 347 w 2937"/>
                <a:gd name="T43" fmla="*/ 2284 h 2931"/>
                <a:gd name="T44" fmla="*/ 179 w 2937"/>
                <a:gd name="T45" fmla="*/ 1680 h 2931"/>
                <a:gd name="T46" fmla="*/ 282 w 2937"/>
                <a:gd name="T47" fmla="*/ 1962 h 2931"/>
                <a:gd name="T48" fmla="*/ 228 w 2937"/>
                <a:gd name="T49" fmla="*/ 2072 h 2931"/>
                <a:gd name="T50" fmla="*/ 183 w 2937"/>
                <a:gd name="T51" fmla="*/ 1466 h 2931"/>
                <a:gd name="T52" fmla="*/ 121 w 2937"/>
                <a:gd name="T53" fmla="*/ 1441 h 2931"/>
                <a:gd name="T54" fmla="*/ 130 w 2937"/>
                <a:gd name="T55" fmla="*/ 1689 h 2931"/>
                <a:gd name="T56" fmla="*/ 68 w 2937"/>
                <a:gd name="T57" fmla="*/ 1424 h 2931"/>
                <a:gd name="T58" fmla="*/ 130 w 2937"/>
                <a:gd name="T59" fmla="*/ 2013 h 2931"/>
                <a:gd name="T60" fmla="*/ 285 w 2937"/>
                <a:gd name="T61" fmla="*/ 2292 h 2931"/>
                <a:gd name="T62" fmla="*/ 403 w 2937"/>
                <a:gd name="T63" fmla="*/ 2408 h 2931"/>
                <a:gd name="T64" fmla="*/ 629 w 2937"/>
                <a:gd name="T65" fmla="*/ 2566 h 2931"/>
                <a:gd name="T66" fmla="*/ 855 w 2937"/>
                <a:gd name="T67" fmla="*/ 2659 h 2931"/>
                <a:gd name="T68" fmla="*/ 996 w 2937"/>
                <a:gd name="T69" fmla="*/ 2673 h 2931"/>
                <a:gd name="T70" fmla="*/ 1210 w 2937"/>
                <a:gd name="T71" fmla="*/ 2467 h 2931"/>
                <a:gd name="T72" fmla="*/ 1428 w 2937"/>
                <a:gd name="T73" fmla="*/ 2462 h 2931"/>
                <a:gd name="T74" fmla="*/ 1675 w 2937"/>
                <a:gd name="T75" fmla="*/ 2780 h 2931"/>
                <a:gd name="T76" fmla="*/ 2555 w 2937"/>
                <a:gd name="T77" fmla="*/ 2431 h 2931"/>
                <a:gd name="T78" fmla="*/ 2569 w 2937"/>
                <a:gd name="T79" fmla="*/ 2191 h 2931"/>
                <a:gd name="T80" fmla="*/ 2637 w 2937"/>
                <a:gd name="T81" fmla="*/ 1204 h 2931"/>
                <a:gd name="T82" fmla="*/ 2705 w 2937"/>
                <a:gd name="T83" fmla="*/ 1669 h 2931"/>
                <a:gd name="T84" fmla="*/ 2617 w 2937"/>
                <a:gd name="T85" fmla="*/ 1514 h 2931"/>
                <a:gd name="T86" fmla="*/ 2586 w 2937"/>
                <a:gd name="T87" fmla="*/ 1134 h 2931"/>
                <a:gd name="T88" fmla="*/ 2507 w 2937"/>
                <a:gd name="T89" fmla="*/ 2126 h 2931"/>
                <a:gd name="T90" fmla="*/ 2730 w 2937"/>
                <a:gd name="T91" fmla="*/ 2041 h 2931"/>
                <a:gd name="T92" fmla="*/ 2835 w 2937"/>
                <a:gd name="T93" fmla="*/ 1641 h 2931"/>
                <a:gd name="T94" fmla="*/ 2871 w 2937"/>
                <a:gd name="T95" fmla="*/ 1340 h 2931"/>
                <a:gd name="T96" fmla="*/ 2719 w 2937"/>
                <a:gd name="T97" fmla="*/ 781 h 2931"/>
                <a:gd name="T98" fmla="*/ 2423 w 2937"/>
                <a:gd name="T99" fmla="*/ 1379 h 2931"/>
                <a:gd name="T100" fmla="*/ 2383 w 2937"/>
                <a:gd name="T101" fmla="*/ 1210 h 2931"/>
                <a:gd name="T102" fmla="*/ 2363 w 2937"/>
                <a:gd name="T103" fmla="*/ 807 h 2931"/>
                <a:gd name="T104" fmla="*/ 2262 w 2937"/>
                <a:gd name="T105" fmla="*/ 2549 h 2931"/>
                <a:gd name="T106" fmla="*/ 2135 w 2937"/>
                <a:gd name="T107" fmla="*/ 307 h 2931"/>
                <a:gd name="T108" fmla="*/ 2044 w 2937"/>
                <a:gd name="T109" fmla="*/ 2422 h 2931"/>
                <a:gd name="T110" fmla="*/ 1997 w 2937"/>
                <a:gd name="T111" fmla="*/ 274 h 2931"/>
                <a:gd name="T112" fmla="*/ 1853 w 2937"/>
                <a:gd name="T113" fmla="*/ 118 h 2931"/>
                <a:gd name="T114" fmla="*/ 2016 w 2937"/>
                <a:gd name="T115" fmla="*/ 2605 h 2931"/>
                <a:gd name="T116" fmla="*/ 2129 w 2937"/>
                <a:gd name="T117" fmla="*/ 2433 h 2931"/>
                <a:gd name="T118" fmla="*/ 2349 w 2937"/>
                <a:gd name="T119" fmla="*/ 2622 h 2931"/>
                <a:gd name="T120" fmla="*/ 2513 w 2937"/>
                <a:gd name="T121" fmla="*/ 2354 h 2931"/>
                <a:gd name="T122" fmla="*/ 2710 w 2937"/>
                <a:gd name="T123" fmla="*/ 2233 h 2931"/>
                <a:gd name="T124" fmla="*/ 2851 w 2937"/>
                <a:gd name="T125" fmla="*/ 1878 h 29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37" h="2931">
                  <a:moveTo>
                    <a:pt x="8" y="1658"/>
                  </a:moveTo>
                  <a:cubicBezTo>
                    <a:pt x="14" y="1658"/>
                    <a:pt x="20" y="1652"/>
                    <a:pt x="25" y="1652"/>
                  </a:cubicBezTo>
                  <a:cubicBezTo>
                    <a:pt x="28" y="1655"/>
                    <a:pt x="28" y="1660"/>
                    <a:pt x="31" y="1663"/>
                  </a:cubicBezTo>
                  <a:cubicBezTo>
                    <a:pt x="22" y="1666"/>
                    <a:pt x="14" y="1666"/>
                    <a:pt x="8" y="1658"/>
                  </a:cubicBezTo>
                  <a:close/>
                  <a:moveTo>
                    <a:pt x="28" y="1703"/>
                  </a:moveTo>
                  <a:cubicBezTo>
                    <a:pt x="22" y="1700"/>
                    <a:pt x="31" y="1703"/>
                    <a:pt x="28" y="1703"/>
                  </a:cubicBezTo>
                  <a:close/>
                  <a:moveTo>
                    <a:pt x="39" y="1801"/>
                  </a:moveTo>
                  <a:cubicBezTo>
                    <a:pt x="36" y="1799"/>
                    <a:pt x="45" y="1801"/>
                    <a:pt x="39" y="1801"/>
                  </a:cubicBezTo>
                  <a:close/>
                  <a:moveTo>
                    <a:pt x="59" y="1872"/>
                  </a:moveTo>
                  <a:cubicBezTo>
                    <a:pt x="59" y="1872"/>
                    <a:pt x="59" y="1869"/>
                    <a:pt x="59" y="1872"/>
                  </a:cubicBezTo>
                  <a:cubicBezTo>
                    <a:pt x="59" y="1869"/>
                    <a:pt x="62" y="1869"/>
                    <a:pt x="62" y="1869"/>
                  </a:cubicBezTo>
                  <a:cubicBezTo>
                    <a:pt x="76" y="1866"/>
                    <a:pt x="59" y="1889"/>
                    <a:pt x="59" y="1872"/>
                  </a:cubicBezTo>
                  <a:close/>
                  <a:moveTo>
                    <a:pt x="262" y="2253"/>
                  </a:moveTo>
                  <a:cubicBezTo>
                    <a:pt x="262" y="2264"/>
                    <a:pt x="251" y="2239"/>
                    <a:pt x="262" y="2253"/>
                  </a:cubicBezTo>
                  <a:close/>
                  <a:moveTo>
                    <a:pt x="378" y="2442"/>
                  </a:moveTo>
                  <a:cubicBezTo>
                    <a:pt x="375" y="2439"/>
                    <a:pt x="381" y="2442"/>
                    <a:pt x="378" y="2442"/>
                  </a:cubicBezTo>
                  <a:close/>
                  <a:moveTo>
                    <a:pt x="685" y="2690"/>
                  </a:moveTo>
                  <a:lnTo>
                    <a:pt x="683" y="2687"/>
                  </a:lnTo>
                  <a:cubicBezTo>
                    <a:pt x="683" y="2687"/>
                    <a:pt x="685" y="2687"/>
                    <a:pt x="685" y="2684"/>
                  </a:cubicBezTo>
                  <a:cubicBezTo>
                    <a:pt x="685" y="2687"/>
                    <a:pt x="688" y="2690"/>
                    <a:pt x="685" y="2690"/>
                  </a:cubicBezTo>
                  <a:close/>
                  <a:moveTo>
                    <a:pt x="1841" y="62"/>
                  </a:moveTo>
                  <a:cubicBezTo>
                    <a:pt x="1847" y="56"/>
                    <a:pt x="1839" y="70"/>
                    <a:pt x="1841" y="62"/>
                  </a:cubicBezTo>
                  <a:close/>
                  <a:moveTo>
                    <a:pt x="1850" y="79"/>
                  </a:moveTo>
                  <a:cubicBezTo>
                    <a:pt x="1850" y="85"/>
                    <a:pt x="1858" y="93"/>
                    <a:pt x="1855" y="99"/>
                  </a:cubicBezTo>
                  <a:cubicBezTo>
                    <a:pt x="1844" y="99"/>
                    <a:pt x="1841" y="102"/>
                    <a:pt x="1836" y="90"/>
                  </a:cubicBezTo>
                  <a:cubicBezTo>
                    <a:pt x="1839" y="87"/>
                    <a:pt x="1841" y="82"/>
                    <a:pt x="1850" y="79"/>
                  </a:cubicBezTo>
                  <a:close/>
                  <a:moveTo>
                    <a:pt x="1853" y="2397"/>
                  </a:moveTo>
                  <a:cubicBezTo>
                    <a:pt x="1853" y="2399"/>
                    <a:pt x="1844" y="2402"/>
                    <a:pt x="1841" y="2402"/>
                  </a:cubicBezTo>
                  <a:cubicBezTo>
                    <a:pt x="1839" y="2397"/>
                    <a:pt x="1850" y="2394"/>
                    <a:pt x="1853" y="2397"/>
                  </a:cubicBezTo>
                  <a:close/>
                  <a:moveTo>
                    <a:pt x="1833" y="141"/>
                  </a:moveTo>
                  <a:cubicBezTo>
                    <a:pt x="1833" y="135"/>
                    <a:pt x="1839" y="135"/>
                    <a:pt x="1839" y="133"/>
                  </a:cubicBezTo>
                  <a:cubicBezTo>
                    <a:pt x="1841" y="135"/>
                    <a:pt x="1841" y="138"/>
                    <a:pt x="1841" y="141"/>
                  </a:cubicBezTo>
                  <a:cubicBezTo>
                    <a:pt x="1839" y="141"/>
                    <a:pt x="1836" y="144"/>
                    <a:pt x="1833" y="141"/>
                  </a:cubicBezTo>
                  <a:close/>
                  <a:moveTo>
                    <a:pt x="1830" y="87"/>
                  </a:moveTo>
                  <a:cubicBezTo>
                    <a:pt x="1836" y="79"/>
                    <a:pt x="1830" y="96"/>
                    <a:pt x="1830" y="87"/>
                  </a:cubicBezTo>
                  <a:close/>
                  <a:moveTo>
                    <a:pt x="1839" y="169"/>
                  </a:moveTo>
                  <a:cubicBezTo>
                    <a:pt x="1836" y="172"/>
                    <a:pt x="1833" y="175"/>
                    <a:pt x="1830" y="175"/>
                  </a:cubicBezTo>
                  <a:cubicBezTo>
                    <a:pt x="1830" y="172"/>
                    <a:pt x="1836" y="169"/>
                    <a:pt x="1839" y="169"/>
                  </a:cubicBezTo>
                  <a:close/>
                  <a:moveTo>
                    <a:pt x="1827" y="90"/>
                  </a:moveTo>
                  <a:cubicBezTo>
                    <a:pt x="1830" y="96"/>
                    <a:pt x="1822" y="96"/>
                    <a:pt x="1819" y="99"/>
                  </a:cubicBezTo>
                  <a:cubicBezTo>
                    <a:pt x="1819" y="96"/>
                    <a:pt x="1824" y="93"/>
                    <a:pt x="1827" y="90"/>
                  </a:cubicBezTo>
                  <a:close/>
                  <a:moveTo>
                    <a:pt x="1827" y="133"/>
                  </a:moveTo>
                  <a:cubicBezTo>
                    <a:pt x="1819" y="138"/>
                    <a:pt x="1810" y="127"/>
                    <a:pt x="1807" y="121"/>
                  </a:cubicBezTo>
                  <a:cubicBezTo>
                    <a:pt x="1816" y="118"/>
                    <a:pt x="1824" y="121"/>
                    <a:pt x="1827" y="130"/>
                  </a:cubicBezTo>
                  <a:lnTo>
                    <a:pt x="1827" y="133"/>
                  </a:lnTo>
                  <a:close/>
                  <a:moveTo>
                    <a:pt x="1813" y="2165"/>
                  </a:moveTo>
                  <a:cubicBezTo>
                    <a:pt x="1813" y="2163"/>
                    <a:pt x="1819" y="2160"/>
                    <a:pt x="1822" y="2160"/>
                  </a:cubicBezTo>
                  <a:cubicBezTo>
                    <a:pt x="1822" y="2163"/>
                    <a:pt x="1816" y="2165"/>
                    <a:pt x="1813" y="2165"/>
                  </a:cubicBezTo>
                  <a:close/>
                  <a:moveTo>
                    <a:pt x="1816" y="2301"/>
                  </a:moveTo>
                  <a:cubicBezTo>
                    <a:pt x="1816" y="2295"/>
                    <a:pt x="1824" y="2304"/>
                    <a:pt x="1816" y="2301"/>
                  </a:cubicBezTo>
                  <a:close/>
                  <a:moveTo>
                    <a:pt x="1813" y="149"/>
                  </a:moveTo>
                  <a:cubicBezTo>
                    <a:pt x="1810" y="149"/>
                    <a:pt x="1807" y="147"/>
                    <a:pt x="1805" y="144"/>
                  </a:cubicBezTo>
                  <a:cubicBezTo>
                    <a:pt x="1810" y="141"/>
                    <a:pt x="1813" y="147"/>
                    <a:pt x="1813" y="149"/>
                  </a:cubicBezTo>
                  <a:close/>
                  <a:moveTo>
                    <a:pt x="1816" y="68"/>
                  </a:moveTo>
                  <a:cubicBezTo>
                    <a:pt x="1816" y="70"/>
                    <a:pt x="1816" y="76"/>
                    <a:pt x="1819" y="79"/>
                  </a:cubicBezTo>
                  <a:cubicBezTo>
                    <a:pt x="1813" y="79"/>
                    <a:pt x="1810" y="73"/>
                    <a:pt x="1810" y="68"/>
                  </a:cubicBezTo>
                  <a:lnTo>
                    <a:pt x="1816" y="68"/>
                  </a:lnTo>
                  <a:close/>
                  <a:moveTo>
                    <a:pt x="1810" y="99"/>
                  </a:moveTo>
                  <a:lnTo>
                    <a:pt x="1819" y="99"/>
                  </a:lnTo>
                  <a:cubicBezTo>
                    <a:pt x="1822" y="104"/>
                    <a:pt x="1816" y="104"/>
                    <a:pt x="1819" y="110"/>
                  </a:cubicBezTo>
                  <a:cubicBezTo>
                    <a:pt x="1810" y="110"/>
                    <a:pt x="1813" y="116"/>
                    <a:pt x="1805" y="116"/>
                  </a:cubicBezTo>
                  <a:cubicBezTo>
                    <a:pt x="1805" y="110"/>
                    <a:pt x="1807" y="104"/>
                    <a:pt x="1810" y="99"/>
                  </a:cubicBezTo>
                  <a:close/>
                  <a:moveTo>
                    <a:pt x="1819" y="203"/>
                  </a:moveTo>
                  <a:cubicBezTo>
                    <a:pt x="1827" y="220"/>
                    <a:pt x="1799" y="231"/>
                    <a:pt x="1791" y="214"/>
                  </a:cubicBezTo>
                  <a:cubicBezTo>
                    <a:pt x="1793" y="217"/>
                    <a:pt x="1802" y="212"/>
                    <a:pt x="1807" y="212"/>
                  </a:cubicBezTo>
                  <a:cubicBezTo>
                    <a:pt x="1807" y="209"/>
                    <a:pt x="1805" y="206"/>
                    <a:pt x="1799" y="206"/>
                  </a:cubicBezTo>
                  <a:cubicBezTo>
                    <a:pt x="1802" y="200"/>
                    <a:pt x="1816" y="203"/>
                    <a:pt x="1819" y="203"/>
                  </a:cubicBezTo>
                  <a:close/>
                  <a:moveTo>
                    <a:pt x="1816" y="2439"/>
                  </a:moveTo>
                  <a:cubicBezTo>
                    <a:pt x="1813" y="2445"/>
                    <a:pt x="1810" y="2447"/>
                    <a:pt x="1805" y="2447"/>
                  </a:cubicBezTo>
                  <a:cubicBezTo>
                    <a:pt x="1807" y="2445"/>
                    <a:pt x="1810" y="2439"/>
                    <a:pt x="1816" y="2439"/>
                  </a:cubicBezTo>
                  <a:close/>
                  <a:moveTo>
                    <a:pt x="1807" y="2399"/>
                  </a:moveTo>
                  <a:cubicBezTo>
                    <a:pt x="1807" y="2394"/>
                    <a:pt x="1816" y="2402"/>
                    <a:pt x="1807" y="2399"/>
                  </a:cubicBezTo>
                  <a:close/>
                  <a:moveTo>
                    <a:pt x="1802" y="2684"/>
                  </a:moveTo>
                  <a:cubicBezTo>
                    <a:pt x="1802" y="2679"/>
                    <a:pt x="1810" y="2690"/>
                    <a:pt x="1802" y="2684"/>
                  </a:cubicBezTo>
                  <a:close/>
                  <a:moveTo>
                    <a:pt x="1796" y="2368"/>
                  </a:moveTo>
                  <a:cubicBezTo>
                    <a:pt x="1796" y="2363"/>
                    <a:pt x="1805" y="2371"/>
                    <a:pt x="1796" y="2368"/>
                  </a:cubicBezTo>
                  <a:close/>
                  <a:moveTo>
                    <a:pt x="1782" y="2862"/>
                  </a:moveTo>
                  <a:cubicBezTo>
                    <a:pt x="1782" y="2856"/>
                    <a:pt x="1791" y="2865"/>
                    <a:pt x="1782" y="2862"/>
                  </a:cubicBezTo>
                  <a:close/>
                  <a:moveTo>
                    <a:pt x="1782" y="2352"/>
                  </a:moveTo>
                  <a:cubicBezTo>
                    <a:pt x="1785" y="2343"/>
                    <a:pt x="1785" y="2360"/>
                    <a:pt x="1782" y="2352"/>
                  </a:cubicBezTo>
                  <a:close/>
                  <a:moveTo>
                    <a:pt x="1785" y="189"/>
                  </a:moveTo>
                  <a:cubicBezTo>
                    <a:pt x="1788" y="189"/>
                    <a:pt x="1791" y="186"/>
                    <a:pt x="1793" y="186"/>
                  </a:cubicBezTo>
                  <a:cubicBezTo>
                    <a:pt x="1793" y="189"/>
                    <a:pt x="1796" y="192"/>
                    <a:pt x="1796" y="197"/>
                  </a:cubicBezTo>
                  <a:cubicBezTo>
                    <a:pt x="1791" y="200"/>
                    <a:pt x="1785" y="195"/>
                    <a:pt x="1785" y="189"/>
                  </a:cubicBezTo>
                  <a:close/>
                  <a:moveTo>
                    <a:pt x="1796" y="209"/>
                  </a:moveTo>
                  <a:cubicBezTo>
                    <a:pt x="1793" y="203"/>
                    <a:pt x="1805" y="209"/>
                    <a:pt x="1796" y="209"/>
                  </a:cubicBezTo>
                  <a:close/>
                  <a:moveTo>
                    <a:pt x="1793" y="166"/>
                  </a:moveTo>
                  <a:cubicBezTo>
                    <a:pt x="1796" y="169"/>
                    <a:pt x="1796" y="172"/>
                    <a:pt x="1799" y="172"/>
                  </a:cubicBezTo>
                  <a:cubicBezTo>
                    <a:pt x="1796" y="175"/>
                    <a:pt x="1793" y="175"/>
                    <a:pt x="1793" y="178"/>
                  </a:cubicBezTo>
                  <a:cubicBezTo>
                    <a:pt x="1791" y="175"/>
                    <a:pt x="1788" y="175"/>
                    <a:pt x="1788" y="172"/>
                  </a:cubicBezTo>
                  <a:cubicBezTo>
                    <a:pt x="1788" y="169"/>
                    <a:pt x="1793" y="166"/>
                    <a:pt x="1793" y="166"/>
                  </a:cubicBezTo>
                  <a:close/>
                  <a:moveTo>
                    <a:pt x="1782" y="121"/>
                  </a:moveTo>
                  <a:cubicBezTo>
                    <a:pt x="1788" y="116"/>
                    <a:pt x="1779" y="130"/>
                    <a:pt x="1782" y="121"/>
                  </a:cubicBezTo>
                  <a:close/>
                  <a:moveTo>
                    <a:pt x="1785" y="169"/>
                  </a:moveTo>
                  <a:cubicBezTo>
                    <a:pt x="1785" y="183"/>
                    <a:pt x="1771" y="164"/>
                    <a:pt x="1785" y="169"/>
                  </a:cubicBezTo>
                  <a:close/>
                  <a:moveTo>
                    <a:pt x="1776" y="178"/>
                  </a:moveTo>
                  <a:cubicBezTo>
                    <a:pt x="1776" y="172"/>
                    <a:pt x="1788" y="178"/>
                    <a:pt x="1776" y="178"/>
                  </a:cubicBezTo>
                  <a:close/>
                  <a:moveTo>
                    <a:pt x="1788" y="2185"/>
                  </a:moveTo>
                  <a:cubicBezTo>
                    <a:pt x="1788" y="2191"/>
                    <a:pt x="1776" y="2188"/>
                    <a:pt x="1774" y="2188"/>
                  </a:cubicBezTo>
                  <a:cubicBezTo>
                    <a:pt x="1774" y="2185"/>
                    <a:pt x="1776" y="2179"/>
                    <a:pt x="1782" y="2179"/>
                  </a:cubicBezTo>
                  <a:cubicBezTo>
                    <a:pt x="1785" y="2182"/>
                    <a:pt x="1788" y="2182"/>
                    <a:pt x="1788" y="2185"/>
                  </a:cubicBezTo>
                  <a:close/>
                  <a:moveTo>
                    <a:pt x="1768" y="76"/>
                  </a:moveTo>
                  <a:cubicBezTo>
                    <a:pt x="1771" y="68"/>
                    <a:pt x="1779" y="82"/>
                    <a:pt x="1768" y="76"/>
                  </a:cubicBezTo>
                  <a:close/>
                  <a:moveTo>
                    <a:pt x="1768" y="82"/>
                  </a:moveTo>
                  <a:cubicBezTo>
                    <a:pt x="1774" y="82"/>
                    <a:pt x="1771" y="93"/>
                    <a:pt x="1774" y="96"/>
                  </a:cubicBezTo>
                  <a:cubicBezTo>
                    <a:pt x="1768" y="99"/>
                    <a:pt x="1768" y="85"/>
                    <a:pt x="1768" y="82"/>
                  </a:cubicBezTo>
                  <a:close/>
                  <a:moveTo>
                    <a:pt x="1751" y="65"/>
                  </a:moveTo>
                  <a:cubicBezTo>
                    <a:pt x="1754" y="70"/>
                    <a:pt x="1760" y="76"/>
                    <a:pt x="1762" y="79"/>
                  </a:cubicBezTo>
                  <a:cubicBezTo>
                    <a:pt x="1760" y="90"/>
                    <a:pt x="1740" y="68"/>
                    <a:pt x="1751" y="65"/>
                  </a:cubicBezTo>
                  <a:close/>
                  <a:moveTo>
                    <a:pt x="1748" y="2275"/>
                  </a:moveTo>
                  <a:cubicBezTo>
                    <a:pt x="1748" y="2270"/>
                    <a:pt x="1751" y="2270"/>
                    <a:pt x="1745" y="2267"/>
                  </a:cubicBezTo>
                  <a:cubicBezTo>
                    <a:pt x="1748" y="2264"/>
                    <a:pt x="1754" y="2264"/>
                    <a:pt x="1757" y="2261"/>
                  </a:cubicBezTo>
                  <a:cubicBezTo>
                    <a:pt x="1757" y="2267"/>
                    <a:pt x="1757" y="2278"/>
                    <a:pt x="1748" y="2275"/>
                  </a:cubicBezTo>
                  <a:close/>
                  <a:moveTo>
                    <a:pt x="1751" y="2433"/>
                  </a:moveTo>
                  <a:cubicBezTo>
                    <a:pt x="1754" y="2425"/>
                    <a:pt x="1757" y="2439"/>
                    <a:pt x="1751" y="2433"/>
                  </a:cubicBezTo>
                  <a:close/>
                  <a:moveTo>
                    <a:pt x="1748" y="166"/>
                  </a:moveTo>
                  <a:cubicBezTo>
                    <a:pt x="1751" y="164"/>
                    <a:pt x="1757" y="161"/>
                    <a:pt x="1760" y="164"/>
                  </a:cubicBezTo>
                  <a:cubicBezTo>
                    <a:pt x="1760" y="166"/>
                    <a:pt x="1751" y="164"/>
                    <a:pt x="1748" y="166"/>
                  </a:cubicBezTo>
                  <a:close/>
                  <a:moveTo>
                    <a:pt x="1757" y="175"/>
                  </a:moveTo>
                  <a:cubicBezTo>
                    <a:pt x="1754" y="169"/>
                    <a:pt x="1765" y="175"/>
                    <a:pt x="1757" y="175"/>
                  </a:cubicBezTo>
                  <a:close/>
                  <a:moveTo>
                    <a:pt x="1745" y="180"/>
                  </a:moveTo>
                  <a:cubicBezTo>
                    <a:pt x="1751" y="178"/>
                    <a:pt x="1740" y="189"/>
                    <a:pt x="1745" y="180"/>
                  </a:cubicBezTo>
                  <a:close/>
                  <a:moveTo>
                    <a:pt x="1748" y="2645"/>
                  </a:moveTo>
                  <a:cubicBezTo>
                    <a:pt x="1743" y="2651"/>
                    <a:pt x="1740" y="2636"/>
                    <a:pt x="1748" y="2645"/>
                  </a:cubicBezTo>
                  <a:close/>
                  <a:moveTo>
                    <a:pt x="1714" y="56"/>
                  </a:moveTo>
                  <a:cubicBezTo>
                    <a:pt x="1717" y="51"/>
                    <a:pt x="1723" y="65"/>
                    <a:pt x="1714" y="56"/>
                  </a:cubicBezTo>
                  <a:close/>
                  <a:moveTo>
                    <a:pt x="1712" y="102"/>
                  </a:moveTo>
                  <a:cubicBezTo>
                    <a:pt x="1709" y="82"/>
                    <a:pt x="1740" y="99"/>
                    <a:pt x="1712" y="102"/>
                  </a:cubicBezTo>
                  <a:close/>
                  <a:moveTo>
                    <a:pt x="1669" y="209"/>
                  </a:moveTo>
                  <a:cubicBezTo>
                    <a:pt x="1666" y="200"/>
                    <a:pt x="1658" y="192"/>
                    <a:pt x="1664" y="186"/>
                  </a:cubicBezTo>
                  <a:cubicBezTo>
                    <a:pt x="1658" y="178"/>
                    <a:pt x="1652" y="200"/>
                    <a:pt x="1647" y="186"/>
                  </a:cubicBezTo>
                  <a:cubicBezTo>
                    <a:pt x="1681" y="161"/>
                    <a:pt x="1709" y="186"/>
                    <a:pt x="1731" y="220"/>
                  </a:cubicBezTo>
                  <a:cubicBezTo>
                    <a:pt x="1712" y="226"/>
                    <a:pt x="1689" y="220"/>
                    <a:pt x="1669" y="209"/>
                  </a:cubicBezTo>
                  <a:close/>
                  <a:moveTo>
                    <a:pt x="1728" y="2478"/>
                  </a:moveTo>
                  <a:cubicBezTo>
                    <a:pt x="1743" y="2484"/>
                    <a:pt x="1720" y="2490"/>
                    <a:pt x="1728" y="2478"/>
                  </a:cubicBezTo>
                  <a:close/>
                  <a:moveTo>
                    <a:pt x="1717" y="2383"/>
                  </a:moveTo>
                  <a:cubicBezTo>
                    <a:pt x="1717" y="2380"/>
                    <a:pt x="1728" y="2380"/>
                    <a:pt x="1726" y="2385"/>
                  </a:cubicBezTo>
                  <a:lnTo>
                    <a:pt x="1720" y="2385"/>
                  </a:lnTo>
                  <a:cubicBezTo>
                    <a:pt x="1720" y="2383"/>
                    <a:pt x="1717" y="2383"/>
                    <a:pt x="1717" y="2383"/>
                  </a:cubicBezTo>
                  <a:close/>
                  <a:moveTo>
                    <a:pt x="1720" y="2682"/>
                  </a:moveTo>
                  <a:lnTo>
                    <a:pt x="1720" y="2687"/>
                  </a:lnTo>
                  <a:lnTo>
                    <a:pt x="1714" y="2687"/>
                  </a:lnTo>
                  <a:lnTo>
                    <a:pt x="1714" y="2682"/>
                  </a:lnTo>
                  <a:lnTo>
                    <a:pt x="1720" y="2682"/>
                  </a:lnTo>
                  <a:close/>
                  <a:moveTo>
                    <a:pt x="1703" y="228"/>
                  </a:moveTo>
                  <a:cubicBezTo>
                    <a:pt x="1703" y="223"/>
                    <a:pt x="1714" y="228"/>
                    <a:pt x="1703" y="228"/>
                  </a:cubicBezTo>
                  <a:close/>
                  <a:moveTo>
                    <a:pt x="1697" y="2682"/>
                  </a:moveTo>
                  <a:cubicBezTo>
                    <a:pt x="1697" y="2684"/>
                    <a:pt x="1692" y="2684"/>
                    <a:pt x="1692" y="2687"/>
                  </a:cubicBezTo>
                  <a:cubicBezTo>
                    <a:pt x="1689" y="2687"/>
                    <a:pt x="1689" y="2682"/>
                    <a:pt x="1689" y="2679"/>
                  </a:cubicBezTo>
                  <a:cubicBezTo>
                    <a:pt x="1692" y="2679"/>
                    <a:pt x="1695" y="2679"/>
                    <a:pt x="1697" y="2682"/>
                  </a:cubicBezTo>
                  <a:close/>
                  <a:moveTo>
                    <a:pt x="1692" y="2459"/>
                  </a:moveTo>
                  <a:cubicBezTo>
                    <a:pt x="1686" y="2467"/>
                    <a:pt x="1683" y="2450"/>
                    <a:pt x="1692" y="2459"/>
                  </a:cubicBezTo>
                  <a:close/>
                  <a:moveTo>
                    <a:pt x="1669" y="2676"/>
                  </a:moveTo>
                  <a:cubicBezTo>
                    <a:pt x="1669" y="2670"/>
                    <a:pt x="1678" y="2679"/>
                    <a:pt x="1669" y="2676"/>
                  </a:cubicBezTo>
                  <a:close/>
                  <a:moveTo>
                    <a:pt x="1658" y="226"/>
                  </a:moveTo>
                  <a:cubicBezTo>
                    <a:pt x="1658" y="226"/>
                    <a:pt x="1661" y="223"/>
                    <a:pt x="1658" y="226"/>
                  </a:cubicBezTo>
                  <a:cubicBezTo>
                    <a:pt x="1661" y="223"/>
                    <a:pt x="1664" y="226"/>
                    <a:pt x="1666" y="226"/>
                  </a:cubicBezTo>
                  <a:cubicBezTo>
                    <a:pt x="1664" y="226"/>
                    <a:pt x="1658" y="228"/>
                    <a:pt x="1658" y="226"/>
                  </a:cubicBezTo>
                  <a:close/>
                  <a:moveTo>
                    <a:pt x="1664" y="2329"/>
                  </a:moveTo>
                  <a:lnTo>
                    <a:pt x="1664" y="2335"/>
                  </a:lnTo>
                  <a:lnTo>
                    <a:pt x="1658" y="2335"/>
                  </a:lnTo>
                  <a:lnTo>
                    <a:pt x="1658" y="2329"/>
                  </a:lnTo>
                  <a:lnTo>
                    <a:pt x="1664" y="2329"/>
                  </a:lnTo>
                  <a:close/>
                  <a:moveTo>
                    <a:pt x="1678" y="121"/>
                  </a:moveTo>
                  <a:cubicBezTo>
                    <a:pt x="1678" y="124"/>
                    <a:pt x="1675" y="124"/>
                    <a:pt x="1672" y="127"/>
                  </a:cubicBezTo>
                  <a:cubicBezTo>
                    <a:pt x="1672" y="130"/>
                    <a:pt x="1672" y="127"/>
                    <a:pt x="1675" y="130"/>
                  </a:cubicBezTo>
                  <a:cubicBezTo>
                    <a:pt x="1678" y="127"/>
                    <a:pt x="1678" y="130"/>
                    <a:pt x="1681" y="127"/>
                  </a:cubicBezTo>
                  <a:cubicBezTo>
                    <a:pt x="1682" y="132"/>
                    <a:pt x="1688" y="135"/>
                    <a:pt x="1692" y="139"/>
                  </a:cubicBezTo>
                  <a:cubicBezTo>
                    <a:pt x="1693" y="133"/>
                    <a:pt x="1695" y="128"/>
                    <a:pt x="1697" y="121"/>
                  </a:cubicBezTo>
                  <a:cubicBezTo>
                    <a:pt x="1703" y="126"/>
                    <a:pt x="1701" y="138"/>
                    <a:pt x="1694" y="143"/>
                  </a:cubicBezTo>
                  <a:cubicBezTo>
                    <a:pt x="1695" y="144"/>
                    <a:pt x="1695" y="145"/>
                    <a:pt x="1695" y="147"/>
                  </a:cubicBezTo>
                  <a:cubicBezTo>
                    <a:pt x="1697" y="147"/>
                    <a:pt x="1698" y="149"/>
                    <a:pt x="1695" y="149"/>
                  </a:cubicBezTo>
                  <a:lnTo>
                    <a:pt x="1695" y="149"/>
                  </a:lnTo>
                  <a:cubicBezTo>
                    <a:pt x="1700" y="149"/>
                    <a:pt x="1706" y="155"/>
                    <a:pt x="1714" y="152"/>
                  </a:cubicBezTo>
                  <a:cubicBezTo>
                    <a:pt x="1709" y="164"/>
                    <a:pt x="1692" y="169"/>
                    <a:pt x="1681" y="164"/>
                  </a:cubicBezTo>
                  <a:cubicBezTo>
                    <a:pt x="1675" y="161"/>
                    <a:pt x="1669" y="155"/>
                    <a:pt x="1666" y="147"/>
                  </a:cubicBezTo>
                  <a:lnTo>
                    <a:pt x="1664" y="147"/>
                  </a:lnTo>
                  <a:cubicBezTo>
                    <a:pt x="1664" y="144"/>
                    <a:pt x="1669" y="144"/>
                    <a:pt x="1669" y="144"/>
                  </a:cubicBezTo>
                  <a:cubicBezTo>
                    <a:pt x="1669" y="138"/>
                    <a:pt x="1669" y="133"/>
                    <a:pt x="1672" y="130"/>
                  </a:cubicBezTo>
                  <a:cubicBezTo>
                    <a:pt x="1672" y="127"/>
                    <a:pt x="1669" y="124"/>
                    <a:pt x="1667" y="119"/>
                  </a:cubicBezTo>
                  <a:cubicBezTo>
                    <a:pt x="1665" y="119"/>
                    <a:pt x="1663" y="119"/>
                    <a:pt x="1661" y="118"/>
                  </a:cubicBezTo>
                  <a:cubicBezTo>
                    <a:pt x="1669" y="113"/>
                    <a:pt x="1681" y="99"/>
                    <a:pt x="1695" y="102"/>
                  </a:cubicBezTo>
                  <a:cubicBezTo>
                    <a:pt x="1697" y="104"/>
                    <a:pt x="1695" y="110"/>
                    <a:pt x="1695" y="113"/>
                  </a:cubicBezTo>
                  <a:cubicBezTo>
                    <a:pt x="1689" y="116"/>
                    <a:pt x="1683" y="110"/>
                    <a:pt x="1678" y="113"/>
                  </a:cubicBezTo>
                  <a:lnTo>
                    <a:pt x="1686" y="113"/>
                  </a:lnTo>
                  <a:lnTo>
                    <a:pt x="1686" y="118"/>
                  </a:lnTo>
                  <a:lnTo>
                    <a:pt x="1681" y="121"/>
                  </a:lnTo>
                  <a:cubicBezTo>
                    <a:pt x="1678" y="118"/>
                    <a:pt x="1678" y="116"/>
                    <a:pt x="1678" y="113"/>
                  </a:cubicBezTo>
                  <a:cubicBezTo>
                    <a:pt x="1678" y="114"/>
                    <a:pt x="1676" y="117"/>
                    <a:pt x="1672" y="118"/>
                  </a:cubicBezTo>
                  <a:cubicBezTo>
                    <a:pt x="1674" y="119"/>
                    <a:pt x="1676" y="121"/>
                    <a:pt x="1678" y="121"/>
                  </a:cubicBezTo>
                  <a:close/>
                  <a:moveTo>
                    <a:pt x="1706" y="107"/>
                  </a:moveTo>
                  <a:lnTo>
                    <a:pt x="1714" y="107"/>
                  </a:lnTo>
                  <a:cubicBezTo>
                    <a:pt x="1714" y="110"/>
                    <a:pt x="1709" y="113"/>
                    <a:pt x="1709" y="116"/>
                  </a:cubicBezTo>
                  <a:cubicBezTo>
                    <a:pt x="1703" y="116"/>
                    <a:pt x="1709" y="113"/>
                    <a:pt x="1706" y="107"/>
                  </a:cubicBezTo>
                  <a:close/>
                  <a:moveTo>
                    <a:pt x="1712" y="149"/>
                  </a:moveTo>
                  <a:cubicBezTo>
                    <a:pt x="1706" y="152"/>
                    <a:pt x="1706" y="144"/>
                    <a:pt x="1703" y="147"/>
                  </a:cubicBezTo>
                  <a:cubicBezTo>
                    <a:pt x="1700" y="144"/>
                    <a:pt x="1712" y="144"/>
                    <a:pt x="1712" y="149"/>
                  </a:cubicBezTo>
                  <a:close/>
                  <a:moveTo>
                    <a:pt x="1712" y="118"/>
                  </a:moveTo>
                  <a:cubicBezTo>
                    <a:pt x="1712" y="113"/>
                    <a:pt x="1717" y="110"/>
                    <a:pt x="1717" y="104"/>
                  </a:cubicBezTo>
                  <a:lnTo>
                    <a:pt x="1726" y="104"/>
                  </a:lnTo>
                  <a:cubicBezTo>
                    <a:pt x="1726" y="116"/>
                    <a:pt x="1717" y="118"/>
                    <a:pt x="1712" y="118"/>
                  </a:cubicBezTo>
                  <a:close/>
                  <a:moveTo>
                    <a:pt x="1712" y="70"/>
                  </a:moveTo>
                  <a:cubicBezTo>
                    <a:pt x="1714" y="65"/>
                    <a:pt x="1714" y="79"/>
                    <a:pt x="1712" y="70"/>
                  </a:cubicBezTo>
                  <a:close/>
                  <a:moveTo>
                    <a:pt x="1712" y="104"/>
                  </a:moveTo>
                  <a:cubicBezTo>
                    <a:pt x="1706" y="110"/>
                    <a:pt x="1703" y="96"/>
                    <a:pt x="1712" y="104"/>
                  </a:cubicBezTo>
                  <a:close/>
                  <a:moveTo>
                    <a:pt x="1703" y="56"/>
                  </a:moveTo>
                  <a:cubicBezTo>
                    <a:pt x="1697" y="59"/>
                    <a:pt x="1697" y="48"/>
                    <a:pt x="1697" y="45"/>
                  </a:cubicBezTo>
                  <a:cubicBezTo>
                    <a:pt x="1703" y="39"/>
                    <a:pt x="1706" y="54"/>
                    <a:pt x="1703" y="56"/>
                  </a:cubicBezTo>
                  <a:close/>
                  <a:moveTo>
                    <a:pt x="1692" y="31"/>
                  </a:moveTo>
                  <a:lnTo>
                    <a:pt x="1700" y="31"/>
                  </a:lnTo>
                  <a:cubicBezTo>
                    <a:pt x="1700" y="34"/>
                    <a:pt x="1697" y="37"/>
                    <a:pt x="1695" y="37"/>
                  </a:cubicBezTo>
                  <a:lnTo>
                    <a:pt x="1692" y="37"/>
                  </a:lnTo>
                  <a:cubicBezTo>
                    <a:pt x="1695" y="37"/>
                    <a:pt x="1692" y="34"/>
                    <a:pt x="1692" y="31"/>
                  </a:cubicBezTo>
                  <a:close/>
                  <a:moveTo>
                    <a:pt x="1695" y="68"/>
                  </a:moveTo>
                  <a:cubicBezTo>
                    <a:pt x="1695" y="65"/>
                    <a:pt x="1697" y="62"/>
                    <a:pt x="1697" y="59"/>
                  </a:cubicBezTo>
                  <a:cubicBezTo>
                    <a:pt x="1700" y="59"/>
                    <a:pt x="1703" y="68"/>
                    <a:pt x="1703" y="70"/>
                  </a:cubicBezTo>
                  <a:lnTo>
                    <a:pt x="1706" y="70"/>
                  </a:lnTo>
                  <a:cubicBezTo>
                    <a:pt x="1706" y="73"/>
                    <a:pt x="1700" y="73"/>
                    <a:pt x="1697" y="73"/>
                  </a:cubicBezTo>
                  <a:lnTo>
                    <a:pt x="1695" y="68"/>
                  </a:lnTo>
                  <a:close/>
                  <a:moveTo>
                    <a:pt x="1689" y="82"/>
                  </a:moveTo>
                  <a:lnTo>
                    <a:pt x="1686" y="85"/>
                  </a:lnTo>
                  <a:cubicBezTo>
                    <a:pt x="1686" y="82"/>
                    <a:pt x="1686" y="76"/>
                    <a:pt x="1689" y="82"/>
                  </a:cubicBezTo>
                  <a:close/>
                  <a:moveTo>
                    <a:pt x="1672" y="31"/>
                  </a:moveTo>
                  <a:cubicBezTo>
                    <a:pt x="1678" y="25"/>
                    <a:pt x="1678" y="39"/>
                    <a:pt x="1672" y="31"/>
                  </a:cubicBezTo>
                  <a:close/>
                  <a:moveTo>
                    <a:pt x="1669" y="65"/>
                  </a:moveTo>
                  <a:cubicBezTo>
                    <a:pt x="1669" y="68"/>
                    <a:pt x="1672" y="68"/>
                    <a:pt x="1675" y="65"/>
                  </a:cubicBezTo>
                  <a:cubicBezTo>
                    <a:pt x="1681" y="68"/>
                    <a:pt x="1666" y="79"/>
                    <a:pt x="1664" y="70"/>
                  </a:cubicBezTo>
                  <a:lnTo>
                    <a:pt x="1669" y="65"/>
                  </a:lnTo>
                  <a:close/>
                  <a:moveTo>
                    <a:pt x="1652" y="102"/>
                  </a:moveTo>
                  <a:cubicBezTo>
                    <a:pt x="1661" y="87"/>
                    <a:pt x="1652" y="113"/>
                    <a:pt x="1652" y="102"/>
                  </a:cubicBezTo>
                  <a:close/>
                  <a:moveTo>
                    <a:pt x="1649" y="42"/>
                  </a:moveTo>
                  <a:cubicBezTo>
                    <a:pt x="1648" y="43"/>
                    <a:pt x="1646" y="43"/>
                    <a:pt x="1645" y="42"/>
                  </a:cubicBezTo>
                  <a:cubicBezTo>
                    <a:pt x="1643" y="43"/>
                    <a:pt x="1640" y="44"/>
                    <a:pt x="1638" y="42"/>
                  </a:cubicBezTo>
                  <a:cubicBezTo>
                    <a:pt x="1638" y="45"/>
                    <a:pt x="1638" y="42"/>
                    <a:pt x="1635" y="45"/>
                  </a:cubicBezTo>
                  <a:cubicBezTo>
                    <a:pt x="1624" y="48"/>
                    <a:pt x="1621" y="31"/>
                    <a:pt x="1627" y="28"/>
                  </a:cubicBezTo>
                  <a:cubicBezTo>
                    <a:pt x="1630" y="28"/>
                    <a:pt x="1635" y="31"/>
                    <a:pt x="1638" y="37"/>
                  </a:cubicBezTo>
                  <a:cubicBezTo>
                    <a:pt x="1640" y="37"/>
                    <a:pt x="1641" y="37"/>
                    <a:pt x="1643" y="37"/>
                  </a:cubicBezTo>
                  <a:cubicBezTo>
                    <a:pt x="1642" y="36"/>
                    <a:pt x="1642" y="35"/>
                    <a:pt x="1641" y="34"/>
                  </a:cubicBezTo>
                  <a:cubicBezTo>
                    <a:pt x="1649" y="31"/>
                    <a:pt x="1649" y="39"/>
                    <a:pt x="1649" y="42"/>
                  </a:cubicBezTo>
                  <a:close/>
                  <a:moveTo>
                    <a:pt x="1647" y="155"/>
                  </a:moveTo>
                  <a:cubicBezTo>
                    <a:pt x="1638" y="164"/>
                    <a:pt x="1635" y="149"/>
                    <a:pt x="1647" y="155"/>
                  </a:cubicBezTo>
                  <a:close/>
                  <a:moveTo>
                    <a:pt x="1633" y="73"/>
                  </a:moveTo>
                  <a:cubicBezTo>
                    <a:pt x="1633" y="70"/>
                    <a:pt x="1638" y="68"/>
                    <a:pt x="1641" y="68"/>
                  </a:cubicBezTo>
                  <a:cubicBezTo>
                    <a:pt x="1641" y="70"/>
                    <a:pt x="1635" y="73"/>
                    <a:pt x="1633" y="73"/>
                  </a:cubicBezTo>
                  <a:close/>
                  <a:moveTo>
                    <a:pt x="1638" y="65"/>
                  </a:moveTo>
                  <a:cubicBezTo>
                    <a:pt x="1638" y="59"/>
                    <a:pt x="1647" y="70"/>
                    <a:pt x="1638" y="65"/>
                  </a:cubicBezTo>
                  <a:close/>
                  <a:moveTo>
                    <a:pt x="1635" y="54"/>
                  </a:moveTo>
                  <a:cubicBezTo>
                    <a:pt x="1633" y="56"/>
                    <a:pt x="1635" y="62"/>
                    <a:pt x="1630" y="62"/>
                  </a:cubicBezTo>
                  <a:cubicBezTo>
                    <a:pt x="1630" y="59"/>
                    <a:pt x="1630" y="56"/>
                    <a:pt x="1627" y="56"/>
                  </a:cubicBezTo>
                  <a:cubicBezTo>
                    <a:pt x="1630" y="56"/>
                    <a:pt x="1633" y="56"/>
                    <a:pt x="1635" y="54"/>
                  </a:cubicBezTo>
                  <a:close/>
                  <a:moveTo>
                    <a:pt x="1604" y="20"/>
                  </a:moveTo>
                  <a:cubicBezTo>
                    <a:pt x="1610" y="17"/>
                    <a:pt x="1610" y="31"/>
                    <a:pt x="1618" y="28"/>
                  </a:cubicBezTo>
                  <a:cubicBezTo>
                    <a:pt x="1618" y="34"/>
                    <a:pt x="1616" y="37"/>
                    <a:pt x="1610" y="37"/>
                  </a:cubicBezTo>
                  <a:lnTo>
                    <a:pt x="1607" y="37"/>
                  </a:lnTo>
                  <a:cubicBezTo>
                    <a:pt x="1601" y="34"/>
                    <a:pt x="1601" y="23"/>
                    <a:pt x="1604" y="20"/>
                  </a:cubicBezTo>
                  <a:close/>
                  <a:moveTo>
                    <a:pt x="1607" y="144"/>
                  </a:moveTo>
                  <a:cubicBezTo>
                    <a:pt x="1610" y="152"/>
                    <a:pt x="1624" y="149"/>
                    <a:pt x="1630" y="144"/>
                  </a:cubicBezTo>
                  <a:cubicBezTo>
                    <a:pt x="1635" y="149"/>
                    <a:pt x="1618" y="155"/>
                    <a:pt x="1613" y="161"/>
                  </a:cubicBezTo>
                  <a:cubicBezTo>
                    <a:pt x="1613" y="152"/>
                    <a:pt x="1599" y="158"/>
                    <a:pt x="1599" y="149"/>
                  </a:cubicBezTo>
                  <a:cubicBezTo>
                    <a:pt x="1604" y="147"/>
                    <a:pt x="1607" y="147"/>
                    <a:pt x="1607" y="144"/>
                  </a:cubicBezTo>
                  <a:close/>
                  <a:moveTo>
                    <a:pt x="1621" y="220"/>
                  </a:moveTo>
                  <a:cubicBezTo>
                    <a:pt x="1624" y="215"/>
                    <a:pt x="1632" y="222"/>
                    <a:pt x="1623" y="220"/>
                  </a:cubicBezTo>
                  <a:cubicBezTo>
                    <a:pt x="1622" y="220"/>
                    <a:pt x="1622" y="220"/>
                    <a:pt x="1621" y="220"/>
                  </a:cubicBezTo>
                  <a:close/>
                  <a:moveTo>
                    <a:pt x="1621" y="220"/>
                  </a:moveTo>
                  <a:cubicBezTo>
                    <a:pt x="1623" y="222"/>
                    <a:pt x="1624" y="221"/>
                    <a:pt x="1623" y="220"/>
                  </a:cubicBezTo>
                  <a:cubicBezTo>
                    <a:pt x="1622" y="220"/>
                    <a:pt x="1622" y="220"/>
                    <a:pt x="1621" y="220"/>
                  </a:cubicBezTo>
                  <a:close/>
                  <a:moveTo>
                    <a:pt x="1624" y="155"/>
                  </a:moveTo>
                  <a:cubicBezTo>
                    <a:pt x="1627" y="149"/>
                    <a:pt x="1621" y="164"/>
                    <a:pt x="1624" y="155"/>
                  </a:cubicBezTo>
                  <a:close/>
                  <a:moveTo>
                    <a:pt x="1618" y="226"/>
                  </a:moveTo>
                  <a:cubicBezTo>
                    <a:pt x="1618" y="220"/>
                    <a:pt x="1627" y="228"/>
                    <a:pt x="1618" y="226"/>
                  </a:cubicBezTo>
                  <a:close/>
                  <a:moveTo>
                    <a:pt x="1607" y="2653"/>
                  </a:moveTo>
                  <a:cubicBezTo>
                    <a:pt x="1601" y="2659"/>
                    <a:pt x="1593" y="2651"/>
                    <a:pt x="1607" y="2653"/>
                  </a:cubicBezTo>
                  <a:close/>
                  <a:moveTo>
                    <a:pt x="1596" y="2761"/>
                  </a:moveTo>
                  <a:cubicBezTo>
                    <a:pt x="1596" y="2755"/>
                    <a:pt x="1607" y="2763"/>
                    <a:pt x="1596" y="2761"/>
                  </a:cubicBezTo>
                  <a:close/>
                  <a:moveTo>
                    <a:pt x="1601" y="209"/>
                  </a:moveTo>
                  <a:cubicBezTo>
                    <a:pt x="1601" y="203"/>
                    <a:pt x="1613" y="212"/>
                    <a:pt x="1601" y="209"/>
                  </a:cubicBezTo>
                  <a:close/>
                  <a:moveTo>
                    <a:pt x="1607" y="2735"/>
                  </a:moveTo>
                  <a:cubicBezTo>
                    <a:pt x="1613" y="2738"/>
                    <a:pt x="1604" y="2746"/>
                    <a:pt x="1601" y="2746"/>
                  </a:cubicBezTo>
                  <a:cubicBezTo>
                    <a:pt x="1599" y="2741"/>
                    <a:pt x="1607" y="2741"/>
                    <a:pt x="1607" y="2735"/>
                  </a:cubicBezTo>
                  <a:close/>
                  <a:moveTo>
                    <a:pt x="1599" y="147"/>
                  </a:moveTo>
                  <a:cubicBezTo>
                    <a:pt x="1596" y="141"/>
                    <a:pt x="1607" y="147"/>
                    <a:pt x="1599" y="147"/>
                  </a:cubicBezTo>
                  <a:close/>
                  <a:moveTo>
                    <a:pt x="1604" y="155"/>
                  </a:moveTo>
                  <a:cubicBezTo>
                    <a:pt x="1601" y="158"/>
                    <a:pt x="1601" y="164"/>
                    <a:pt x="1599" y="164"/>
                  </a:cubicBezTo>
                  <a:cubicBezTo>
                    <a:pt x="1599" y="161"/>
                    <a:pt x="1599" y="158"/>
                    <a:pt x="1596" y="155"/>
                  </a:cubicBezTo>
                  <a:lnTo>
                    <a:pt x="1604" y="155"/>
                  </a:lnTo>
                  <a:close/>
                  <a:moveTo>
                    <a:pt x="1590" y="217"/>
                  </a:moveTo>
                  <a:cubicBezTo>
                    <a:pt x="1593" y="209"/>
                    <a:pt x="1596" y="223"/>
                    <a:pt x="1590" y="217"/>
                  </a:cubicBezTo>
                  <a:close/>
                  <a:moveTo>
                    <a:pt x="1590" y="189"/>
                  </a:moveTo>
                  <a:cubicBezTo>
                    <a:pt x="1585" y="192"/>
                    <a:pt x="1573" y="192"/>
                    <a:pt x="1573" y="183"/>
                  </a:cubicBezTo>
                  <a:cubicBezTo>
                    <a:pt x="1576" y="189"/>
                    <a:pt x="1590" y="183"/>
                    <a:pt x="1590" y="189"/>
                  </a:cubicBezTo>
                  <a:close/>
                  <a:moveTo>
                    <a:pt x="1582" y="2583"/>
                  </a:moveTo>
                  <a:cubicBezTo>
                    <a:pt x="1582" y="2577"/>
                    <a:pt x="1590" y="2586"/>
                    <a:pt x="1582" y="2583"/>
                  </a:cubicBezTo>
                  <a:close/>
                  <a:moveTo>
                    <a:pt x="1579" y="217"/>
                  </a:moveTo>
                  <a:cubicBezTo>
                    <a:pt x="1579" y="212"/>
                    <a:pt x="1587" y="220"/>
                    <a:pt x="1579" y="217"/>
                  </a:cubicBezTo>
                  <a:close/>
                  <a:moveTo>
                    <a:pt x="1579" y="155"/>
                  </a:moveTo>
                  <a:cubicBezTo>
                    <a:pt x="1587" y="158"/>
                    <a:pt x="1587" y="175"/>
                    <a:pt x="1587" y="183"/>
                  </a:cubicBezTo>
                  <a:cubicBezTo>
                    <a:pt x="1573" y="186"/>
                    <a:pt x="1556" y="161"/>
                    <a:pt x="1579" y="155"/>
                  </a:cubicBezTo>
                  <a:close/>
                  <a:moveTo>
                    <a:pt x="1562" y="178"/>
                  </a:moveTo>
                  <a:cubicBezTo>
                    <a:pt x="1565" y="169"/>
                    <a:pt x="1570" y="183"/>
                    <a:pt x="1562" y="178"/>
                  </a:cubicBezTo>
                  <a:close/>
                  <a:moveTo>
                    <a:pt x="1565" y="99"/>
                  </a:moveTo>
                  <a:cubicBezTo>
                    <a:pt x="1565" y="96"/>
                    <a:pt x="1573" y="102"/>
                    <a:pt x="1565" y="99"/>
                  </a:cubicBezTo>
                  <a:close/>
                  <a:moveTo>
                    <a:pt x="1579" y="11"/>
                  </a:moveTo>
                  <a:cubicBezTo>
                    <a:pt x="1582" y="11"/>
                    <a:pt x="1585" y="14"/>
                    <a:pt x="1585" y="17"/>
                  </a:cubicBezTo>
                  <a:cubicBezTo>
                    <a:pt x="1579" y="20"/>
                    <a:pt x="1576" y="14"/>
                    <a:pt x="1579" y="11"/>
                  </a:cubicBezTo>
                  <a:close/>
                  <a:moveTo>
                    <a:pt x="1576" y="28"/>
                  </a:moveTo>
                  <a:cubicBezTo>
                    <a:pt x="1579" y="31"/>
                    <a:pt x="1585" y="31"/>
                    <a:pt x="1585" y="39"/>
                  </a:cubicBezTo>
                  <a:cubicBezTo>
                    <a:pt x="1576" y="51"/>
                    <a:pt x="1568" y="37"/>
                    <a:pt x="1565" y="39"/>
                  </a:cubicBezTo>
                  <a:cubicBezTo>
                    <a:pt x="1562" y="34"/>
                    <a:pt x="1570" y="34"/>
                    <a:pt x="1576" y="28"/>
                  </a:cubicBezTo>
                  <a:close/>
                  <a:moveTo>
                    <a:pt x="1573" y="51"/>
                  </a:moveTo>
                  <a:cubicBezTo>
                    <a:pt x="1579" y="54"/>
                    <a:pt x="1562" y="54"/>
                    <a:pt x="1573" y="51"/>
                  </a:cubicBezTo>
                  <a:close/>
                  <a:moveTo>
                    <a:pt x="1562" y="56"/>
                  </a:moveTo>
                  <a:cubicBezTo>
                    <a:pt x="1579" y="56"/>
                    <a:pt x="1576" y="79"/>
                    <a:pt x="1582" y="87"/>
                  </a:cubicBezTo>
                  <a:cubicBezTo>
                    <a:pt x="1576" y="96"/>
                    <a:pt x="1568" y="96"/>
                    <a:pt x="1562" y="96"/>
                  </a:cubicBezTo>
                  <a:cubicBezTo>
                    <a:pt x="1562" y="99"/>
                    <a:pt x="1565" y="104"/>
                    <a:pt x="1568" y="104"/>
                  </a:cubicBezTo>
                  <a:cubicBezTo>
                    <a:pt x="1562" y="107"/>
                    <a:pt x="1562" y="96"/>
                    <a:pt x="1556" y="96"/>
                  </a:cubicBezTo>
                  <a:cubicBezTo>
                    <a:pt x="1551" y="96"/>
                    <a:pt x="1554" y="104"/>
                    <a:pt x="1548" y="107"/>
                  </a:cubicBezTo>
                  <a:cubicBezTo>
                    <a:pt x="1548" y="104"/>
                    <a:pt x="1548" y="104"/>
                    <a:pt x="1545" y="102"/>
                  </a:cubicBezTo>
                  <a:cubicBezTo>
                    <a:pt x="1537" y="110"/>
                    <a:pt x="1520" y="102"/>
                    <a:pt x="1517" y="85"/>
                  </a:cubicBezTo>
                  <a:cubicBezTo>
                    <a:pt x="1522" y="85"/>
                    <a:pt x="1528" y="82"/>
                    <a:pt x="1534" y="79"/>
                  </a:cubicBezTo>
                  <a:cubicBezTo>
                    <a:pt x="1537" y="93"/>
                    <a:pt x="1542" y="90"/>
                    <a:pt x="1551" y="96"/>
                  </a:cubicBezTo>
                  <a:cubicBezTo>
                    <a:pt x="1556" y="93"/>
                    <a:pt x="1548" y="90"/>
                    <a:pt x="1551" y="87"/>
                  </a:cubicBezTo>
                  <a:cubicBezTo>
                    <a:pt x="1553" y="87"/>
                    <a:pt x="1553" y="87"/>
                    <a:pt x="1554" y="89"/>
                  </a:cubicBezTo>
                  <a:cubicBezTo>
                    <a:pt x="1553" y="79"/>
                    <a:pt x="1550" y="76"/>
                    <a:pt x="1542" y="79"/>
                  </a:cubicBezTo>
                  <a:cubicBezTo>
                    <a:pt x="1551" y="56"/>
                    <a:pt x="1559" y="70"/>
                    <a:pt x="1562" y="56"/>
                  </a:cubicBezTo>
                  <a:close/>
                  <a:moveTo>
                    <a:pt x="1525" y="2777"/>
                  </a:moveTo>
                  <a:cubicBezTo>
                    <a:pt x="1525" y="2783"/>
                    <a:pt x="1520" y="2783"/>
                    <a:pt x="1517" y="2786"/>
                  </a:cubicBezTo>
                  <a:cubicBezTo>
                    <a:pt x="1517" y="2780"/>
                    <a:pt x="1522" y="2777"/>
                    <a:pt x="1525" y="2777"/>
                  </a:cubicBezTo>
                  <a:close/>
                  <a:moveTo>
                    <a:pt x="1517" y="180"/>
                  </a:moveTo>
                  <a:cubicBezTo>
                    <a:pt x="1525" y="178"/>
                    <a:pt x="1517" y="192"/>
                    <a:pt x="1517" y="180"/>
                  </a:cubicBezTo>
                  <a:close/>
                  <a:moveTo>
                    <a:pt x="1539" y="82"/>
                  </a:moveTo>
                  <a:cubicBezTo>
                    <a:pt x="1542" y="76"/>
                    <a:pt x="1551" y="87"/>
                    <a:pt x="1539" y="82"/>
                  </a:cubicBezTo>
                  <a:close/>
                  <a:moveTo>
                    <a:pt x="1554" y="62"/>
                  </a:moveTo>
                  <a:cubicBezTo>
                    <a:pt x="1554" y="68"/>
                    <a:pt x="1542" y="62"/>
                    <a:pt x="1542" y="59"/>
                  </a:cubicBezTo>
                  <a:cubicBezTo>
                    <a:pt x="1539" y="65"/>
                    <a:pt x="1528" y="68"/>
                    <a:pt x="1528" y="76"/>
                  </a:cubicBezTo>
                  <a:cubicBezTo>
                    <a:pt x="1520" y="73"/>
                    <a:pt x="1520" y="68"/>
                    <a:pt x="1508" y="76"/>
                  </a:cubicBezTo>
                  <a:cubicBezTo>
                    <a:pt x="1511" y="70"/>
                    <a:pt x="1511" y="62"/>
                    <a:pt x="1520" y="62"/>
                  </a:cubicBezTo>
                  <a:cubicBezTo>
                    <a:pt x="1520" y="63"/>
                    <a:pt x="1520" y="63"/>
                    <a:pt x="1521" y="64"/>
                  </a:cubicBezTo>
                  <a:cubicBezTo>
                    <a:pt x="1522" y="60"/>
                    <a:pt x="1525" y="58"/>
                    <a:pt x="1522" y="54"/>
                  </a:cubicBezTo>
                  <a:cubicBezTo>
                    <a:pt x="1528" y="45"/>
                    <a:pt x="1542" y="45"/>
                    <a:pt x="1548" y="54"/>
                  </a:cubicBezTo>
                  <a:cubicBezTo>
                    <a:pt x="1551" y="56"/>
                    <a:pt x="1551" y="59"/>
                    <a:pt x="1554" y="62"/>
                  </a:cubicBezTo>
                  <a:close/>
                  <a:moveTo>
                    <a:pt x="1517" y="68"/>
                  </a:moveTo>
                  <a:cubicBezTo>
                    <a:pt x="1517" y="70"/>
                    <a:pt x="1517" y="70"/>
                    <a:pt x="1520" y="68"/>
                  </a:cubicBezTo>
                  <a:cubicBezTo>
                    <a:pt x="1520" y="67"/>
                    <a:pt x="1520" y="67"/>
                    <a:pt x="1520" y="66"/>
                  </a:cubicBezTo>
                  <a:cubicBezTo>
                    <a:pt x="1519" y="66"/>
                    <a:pt x="1518" y="67"/>
                    <a:pt x="1517" y="68"/>
                  </a:cubicBezTo>
                  <a:close/>
                  <a:moveTo>
                    <a:pt x="1508" y="223"/>
                  </a:moveTo>
                  <a:cubicBezTo>
                    <a:pt x="1508" y="220"/>
                    <a:pt x="1514" y="217"/>
                    <a:pt x="1517" y="220"/>
                  </a:cubicBezTo>
                  <a:cubicBezTo>
                    <a:pt x="1517" y="223"/>
                    <a:pt x="1517" y="226"/>
                    <a:pt x="1514" y="226"/>
                  </a:cubicBezTo>
                  <a:lnTo>
                    <a:pt x="1514" y="228"/>
                  </a:lnTo>
                  <a:cubicBezTo>
                    <a:pt x="1512" y="228"/>
                    <a:pt x="1511" y="225"/>
                    <a:pt x="1510" y="223"/>
                  </a:cubicBezTo>
                  <a:cubicBezTo>
                    <a:pt x="1510" y="224"/>
                    <a:pt x="1508" y="225"/>
                    <a:pt x="1508" y="223"/>
                  </a:cubicBezTo>
                  <a:close/>
                  <a:moveTo>
                    <a:pt x="1508" y="2391"/>
                  </a:moveTo>
                  <a:lnTo>
                    <a:pt x="1508" y="2390"/>
                  </a:lnTo>
                  <a:cubicBezTo>
                    <a:pt x="1510" y="2391"/>
                    <a:pt x="1511" y="2392"/>
                    <a:pt x="1508" y="2391"/>
                  </a:cubicBezTo>
                  <a:cubicBezTo>
                    <a:pt x="1506" y="2388"/>
                    <a:pt x="1507" y="2389"/>
                    <a:pt x="1508" y="2390"/>
                  </a:cubicBezTo>
                  <a:lnTo>
                    <a:pt x="1508" y="2391"/>
                  </a:lnTo>
                  <a:close/>
                  <a:moveTo>
                    <a:pt x="1531" y="14"/>
                  </a:moveTo>
                  <a:cubicBezTo>
                    <a:pt x="1528" y="8"/>
                    <a:pt x="1522" y="8"/>
                    <a:pt x="1517" y="6"/>
                  </a:cubicBezTo>
                  <a:cubicBezTo>
                    <a:pt x="1520" y="0"/>
                    <a:pt x="1537" y="11"/>
                    <a:pt x="1531" y="14"/>
                  </a:cubicBezTo>
                  <a:close/>
                  <a:moveTo>
                    <a:pt x="1520" y="56"/>
                  </a:moveTo>
                  <a:lnTo>
                    <a:pt x="1506" y="56"/>
                  </a:lnTo>
                  <a:cubicBezTo>
                    <a:pt x="1506" y="54"/>
                    <a:pt x="1520" y="51"/>
                    <a:pt x="1520" y="56"/>
                  </a:cubicBezTo>
                  <a:close/>
                  <a:moveTo>
                    <a:pt x="1497" y="65"/>
                  </a:moveTo>
                  <a:cubicBezTo>
                    <a:pt x="1500" y="65"/>
                    <a:pt x="1503" y="68"/>
                    <a:pt x="1506" y="73"/>
                  </a:cubicBezTo>
                  <a:cubicBezTo>
                    <a:pt x="1500" y="76"/>
                    <a:pt x="1497" y="70"/>
                    <a:pt x="1497" y="65"/>
                  </a:cubicBezTo>
                  <a:close/>
                  <a:moveTo>
                    <a:pt x="1494" y="2402"/>
                  </a:moveTo>
                  <a:cubicBezTo>
                    <a:pt x="1494" y="2397"/>
                    <a:pt x="1506" y="2405"/>
                    <a:pt x="1494" y="2402"/>
                  </a:cubicBezTo>
                  <a:close/>
                  <a:moveTo>
                    <a:pt x="1494" y="8"/>
                  </a:moveTo>
                  <a:cubicBezTo>
                    <a:pt x="1494" y="11"/>
                    <a:pt x="1486" y="14"/>
                    <a:pt x="1483" y="14"/>
                  </a:cubicBezTo>
                  <a:cubicBezTo>
                    <a:pt x="1483" y="11"/>
                    <a:pt x="1491" y="11"/>
                    <a:pt x="1494" y="8"/>
                  </a:cubicBezTo>
                  <a:close/>
                  <a:moveTo>
                    <a:pt x="1472" y="11"/>
                  </a:moveTo>
                  <a:cubicBezTo>
                    <a:pt x="1477" y="11"/>
                    <a:pt x="1483" y="14"/>
                    <a:pt x="1486" y="20"/>
                  </a:cubicBezTo>
                  <a:cubicBezTo>
                    <a:pt x="1480" y="20"/>
                    <a:pt x="1480" y="25"/>
                    <a:pt x="1475" y="25"/>
                  </a:cubicBezTo>
                  <a:cubicBezTo>
                    <a:pt x="1469" y="17"/>
                    <a:pt x="1475" y="23"/>
                    <a:pt x="1472" y="11"/>
                  </a:cubicBezTo>
                  <a:close/>
                  <a:moveTo>
                    <a:pt x="1486" y="2459"/>
                  </a:moveTo>
                  <a:cubicBezTo>
                    <a:pt x="1483" y="2467"/>
                    <a:pt x="1477" y="2450"/>
                    <a:pt x="1486" y="2453"/>
                  </a:cubicBezTo>
                  <a:cubicBezTo>
                    <a:pt x="1486" y="2453"/>
                    <a:pt x="1483" y="2459"/>
                    <a:pt x="1486" y="2459"/>
                  </a:cubicBezTo>
                  <a:close/>
                  <a:moveTo>
                    <a:pt x="1475" y="2651"/>
                  </a:moveTo>
                  <a:cubicBezTo>
                    <a:pt x="1466" y="2648"/>
                    <a:pt x="1477" y="2636"/>
                    <a:pt x="1483" y="2634"/>
                  </a:cubicBezTo>
                  <a:cubicBezTo>
                    <a:pt x="1483" y="2642"/>
                    <a:pt x="1475" y="2645"/>
                    <a:pt x="1475" y="2651"/>
                  </a:cubicBezTo>
                  <a:close/>
                  <a:moveTo>
                    <a:pt x="1480" y="2786"/>
                  </a:moveTo>
                  <a:cubicBezTo>
                    <a:pt x="1480" y="2789"/>
                    <a:pt x="1475" y="2792"/>
                    <a:pt x="1472" y="2792"/>
                  </a:cubicBezTo>
                  <a:cubicBezTo>
                    <a:pt x="1472" y="2789"/>
                    <a:pt x="1477" y="2786"/>
                    <a:pt x="1480" y="2786"/>
                  </a:cubicBezTo>
                  <a:close/>
                  <a:moveTo>
                    <a:pt x="1480" y="226"/>
                  </a:moveTo>
                  <a:cubicBezTo>
                    <a:pt x="1489" y="231"/>
                    <a:pt x="1469" y="231"/>
                    <a:pt x="1480" y="226"/>
                  </a:cubicBezTo>
                  <a:close/>
                  <a:moveTo>
                    <a:pt x="1480" y="82"/>
                  </a:moveTo>
                  <a:cubicBezTo>
                    <a:pt x="1480" y="82"/>
                    <a:pt x="1477" y="79"/>
                    <a:pt x="1477" y="76"/>
                  </a:cubicBezTo>
                  <a:lnTo>
                    <a:pt x="1480" y="76"/>
                  </a:lnTo>
                  <a:lnTo>
                    <a:pt x="1480" y="82"/>
                  </a:lnTo>
                  <a:close/>
                  <a:moveTo>
                    <a:pt x="1469" y="203"/>
                  </a:moveTo>
                  <a:cubicBezTo>
                    <a:pt x="1469" y="200"/>
                    <a:pt x="1466" y="195"/>
                    <a:pt x="1463" y="195"/>
                  </a:cubicBezTo>
                  <a:cubicBezTo>
                    <a:pt x="1466" y="189"/>
                    <a:pt x="1480" y="203"/>
                    <a:pt x="1469" y="203"/>
                  </a:cubicBezTo>
                  <a:close/>
                  <a:moveTo>
                    <a:pt x="1459" y="2329"/>
                  </a:moveTo>
                  <a:lnTo>
                    <a:pt x="1459" y="2320"/>
                  </a:lnTo>
                  <a:cubicBezTo>
                    <a:pt x="1463" y="2318"/>
                    <a:pt x="1463" y="2332"/>
                    <a:pt x="1459" y="2329"/>
                  </a:cubicBezTo>
                  <a:close/>
                  <a:moveTo>
                    <a:pt x="1459" y="2244"/>
                  </a:moveTo>
                  <a:cubicBezTo>
                    <a:pt x="1459" y="2239"/>
                    <a:pt x="1469" y="2247"/>
                    <a:pt x="1459" y="2244"/>
                  </a:cubicBezTo>
                  <a:close/>
                  <a:moveTo>
                    <a:pt x="1466" y="2538"/>
                  </a:moveTo>
                  <a:cubicBezTo>
                    <a:pt x="1460" y="2543"/>
                    <a:pt x="1459" y="2529"/>
                    <a:pt x="1466" y="2538"/>
                  </a:cubicBezTo>
                  <a:close/>
                  <a:moveTo>
                    <a:pt x="1456" y="226"/>
                  </a:moveTo>
                  <a:cubicBezTo>
                    <a:pt x="1460" y="226"/>
                    <a:pt x="1463" y="231"/>
                    <a:pt x="1469" y="231"/>
                  </a:cubicBezTo>
                  <a:cubicBezTo>
                    <a:pt x="1466" y="237"/>
                    <a:pt x="1456" y="231"/>
                    <a:pt x="1456" y="226"/>
                  </a:cubicBezTo>
                  <a:close/>
                  <a:moveTo>
                    <a:pt x="1469" y="186"/>
                  </a:moveTo>
                  <a:cubicBezTo>
                    <a:pt x="1466" y="186"/>
                    <a:pt x="1463" y="180"/>
                    <a:pt x="1463" y="180"/>
                  </a:cubicBezTo>
                  <a:cubicBezTo>
                    <a:pt x="1477" y="180"/>
                    <a:pt x="1469" y="183"/>
                    <a:pt x="1469" y="186"/>
                  </a:cubicBezTo>
                  <a:close/>
                  <a:moveTo>
                    <a:pt x="1460" y="59"/>
                  </a:moveTo>
                  <a:cubicBezTo>
                    <a:pt x="1460" y="54"/>
                    <a:pt x="1469" y="62"/>
                    <a:pt x="1460" y="59"/>
                  </a:cubicBezTo>
                  <a:close/>
                  <a:moveTo>
                    <a:pt x="1463" y="54"/>
                  </a:moveTo>
                  <a:lnTo>
                    <a:pt x="1456" y="54"/>
                  </a:lnTo>
                  <a:cubicBezTo>
                    <a:pt x="1453" y="45"/>
                    <a:pt x="1459" y="42"/>
                    <a:pt x="1463" y="42"/>
                  </a:cubicBezTo>
                  <a:lnTo>
                    <a:pt x="1463" y="54"/>
                  </a:lnTo>
                  <a:close/>
                  <a:moveTo>
                    <a:pt x="1456" y="14"/>
                  </a:moveTo>
                  <a:cubicBezTo>
                    <a:pt x="1459" y="14"/>
                    <a:pt x="1460" y="17"/>
                    <a:pt x="1463" y="17"/>
                  </a:cubicBezTo>
                  <a:cubicBezTo>
                    <a:pt x="1460" y="23"/>
                    <a:pt x="1459" y="25"/>
                    <a:pt x="1453" y="31"/>
                  </a:cubicBezTo>
                  <a:cubicBezTo>
                    <a:pt x="1453" y="25"/>
                    <a:pt x="1453" y="20"/>
                    <a:pt x="1456" y="14"/>
                  </a:cubicBezTo>
                  <a:close/>
                  <a:moveTo>
                    <a:pt x="1456" y="155"/>
                  </a:moveTo>
                  <a:cubicBezTo>
                    <a:pt x="1463" y="158"/>
                    <a:pt x="1459" y="172"/>
                    <a:pt x="1460" y="180"/>
                  </a:cubicBezTo>
                  <a:cubicBezTo>
                    <a:pt x="1459" y="178"/>
                    <a:pt x="1453" y="172"/>
                    <a:pt x="1450" y="166"/>
                  </a:cubicBezTo>
                  <a:cubicBezTo>
                    <a:pt x="1456" y="166"/>
                    <a:pt x="1456" y="161"/>
                    <a:pt x="1456" y="155"/>
                  </a:cubicBezTo>
                  <a:close/>
                  <a:moveTo>
                    <a:pt x="1456" y="1990"/>
                  </a:moveTo>
                  <a:cubicBezTo>
                    <a:pt x="1453" y="1990"/>
                    <a:pt x="1450" y="1988"/>
                    <a:pt x="1447" y="1985"/>
                  </a:cubicBezTo>
                  <a:cubicBezTo>
                    <a:pt x="1447" y="1982"/>
                    <a:pt x="1456" y="1985"/>
                    <a:pt x="1456" y="1990"/>
                  </a:cubicBezTo>
                  <a:close/>
                  <a:moveTo>
                    <a:pt x="1450" y="93"/>
                  </a:moveTo>
                  <a:cubicBezTo>
                    <a:pt x="1453" y="99"/>
                    <a:pt x="1447" y="102"/>
                    <a:pt x="1442" y="104"/>
                  </a:cubicBezTo>
                  <a:cubicBezTo>
                    <a:pt x="1442" y="96"/>
                    <a:pt x="1444" y="93"/>
                    <a:pt x="1450" y="93"/>
                  </a:cubicBezTo>
                  <a:close/>
                  <a:moveTo>
                    <a:pt x="1439" y="2529"/>
                  </a:moveTo>
                  <a:cubicBezTo>
                    <a:pt x="1444" y="2521"/>
                    <a:pt x="1442" y="2538"/>
                    <a:pt x="1439" y="2529"/>
                  </a:cubicBezTo>
                  <a:close/>
                  <a:moveTo>
                    <a:pt x="1439" y="192"/>
                  </a:moveTo>
                  <a:cubicBezTo>
                    <a:pt x="1433" y="186"/>
                    <a:pt x="1450" y="186"/>
                    <a:pt x="1439" y="192"/>
                  </a:cubicBezTo>
                  <a:close/>
                  <a:moveTo>
                    <a:pt x="1436" y="144"/>
                  </a:moveTo>
                  <a:cubicBezTo>
                    <a:pt x="1442" y="141"/>
                    <a:pt x="1442" y="149"/>
                    <a:pt x="1444" y="152"/>
                  </a:cubicBezTo>
                  <a:cubicBezTo>
                    <a:pt x="1442" y="152"/>
                    <a:pt x="1436" y="149"/>
                    <a:pt x="1436" y="144"/>
                  </a:cubicBezTo>
                  <a:close/>
                  <a:moveTo>
                    <a:pt x="1436" y="65"/>
                  </a:moveTo>
                  <a:lnTo>
                    <a:pt x="1436" y="59"/>
                  </a:lnTo>
                  <a:cubicBezTo>
                    <a:pt x="1439" y="59"/>
                    <a:pt x="1442" y="62"/>
                    <a:pt x="1442" y="65"/>
                  </a:cubicBezTo>
                  <a:lnTo>
                    <a:pt x="1436" y="65"/>
                  </a:lnTo>
                  <a:close/>
                  <a:moveTo>
                    <a:pt x="1433" y="28"/>
                  </a:moveTo>
                  <a:cubicBezTo>
                    <a:pt x="1436" y="28"/>
                    <a:pt x="1436" y="28"/>
                    <a:pt x="1439" y="31"/>
                  </a:cubicBezTo>
                  <a:cubicBezTo>
                    <a:pt x="1439" y="31"/>
                    <a:pt x="1442" y="31"/>
                    <a:pt x="1442" y="34"/>
                  </a:cubicBezTo>
                  <a:cubicBezTo>
                    <a:pt x="1444" y="37"/>
                    <a:pt x="1444" y="42"/>
                    <a:pt x="1436" y="45"/>
                  </a:cubicBezTo>
                  <a:cubicBezTo>
                    <a:pt x="1433" y="39"/>
                    <a:pt x="1433" y="34"/>
                    <a:pt x="1433" y="28"/>
                  </a:cubicBezTo>
                  <a:close/>
                  <a:moveTo>
                    <a:pt x="1428" y="2013"/>
                  </a:moveTo>
                  <a:cubicBezTo>
                    <a:pt x="1428" y="2005"/>
                    <a:pt x="1439" y="2016"/>
                    <a:pt x="1428" y="2013"/>
                  </a:cubicBezTo>
                  <a:close/>
                  <a:moveTo>
                    <a:pt x="1416" y="231"/>
                  </a:moveTo>
                  <a:cubicBezTo>
                    <a:pt x="1428" y="231"/>
                    <a:pt x="1411" y="245"/>
                    <a:pt x="1416" y="231"/>
                  </a:cubicBezTo>
                  <a:close/>
                  <a:moveTo>
                    <a:pt x="1413" y="85"/>
                  </a:moveTo>
                  <a:cubicBezTo>
                    <a:pt x="1416" y="85"/>
                    <a:pt x="1422" y="87"/>
                    <a:pt x="1422" y="93"/>
                  </a:cubicBezTo>
                  <a:cubicBezTo>
                    <a:pt x="1419" y="93"/>
                    <a:pt x="1416" y="93"/>
                    <a:pt x="1416" y="96"/>
                  </a:cubicBezTo>
                  <a:cubicBezTo>
                    <a:pt x="1416" y="93"/>
                    <a:pt x="1413" y="87"/>
                    <a:pt x="1413" y="85"/>
                  </a:cubicBezTo>
                  <a:close/>
                  <a:moveTo>
                    <a:pt x="1430" y="2597"/>
                  </a:moveTo>
                  <a:cubicBezTo>
                    <a:pt x="1428" y="2600"/>
                    <a:pt x="1425" y="2603"/>
                    <a:pt x="1422" y="2603"/>
                  </a:cubicBezTo>
                  <a:cubicBezTo>
                    <a:pt x="1419" y="2597"/>
                    <a:pt x="1428" y="2597"/>
                    <a:pt x="1430" y="2597"/>
                  </a:cubicBezTo>
                  <a:close/>
                  <a:moveTo>
                    <a:pt x="1422" y="228"/>
                  </a:moveTo>
                  <a:cubicBezTo>
                    <a:pt x="1428" y="220"/>
                    <a:pt x="1428" y="234"/>
                    <a:pt x="1422" y="228"/>
                  </a:cubicBezTo>
                  <a:close/>
                  <a:moveTo>
                    <a:pt x="1425" y="2148"/>
                  </a:moveTo>
                  <a:cubicBezTo>
                    <a:pt x="1425" y="2143"/>
                    <a:pt x="1433" y="2151"/>
                    <a:pt x="1425" y="2148"/>
                  </a:cubicBezTo>
                  <a:close/>
                  <a:moveTo>
                    <a:pt x="1433" y="6"/>
                  </a:moveTo>
                  <a:cubicBezTo>
                    <a:pt x="1433" y="20"/>
                    <a:pt x="1428" y="17"/>
                    <a:pt x="1422" y="8"/>
                  </a:cubicBezTo>
                  <a:cubicBezTo>
                    <a:pt x="1425" y="8"/>
                    <a:pt x="1430" y="8"/>
                    <a:pt x="1433" y="6"/>
                  </a:cubicBezTo>
                  <a:close/>
                  <a:moveTo>
                    <a:pt x="1425" y="48"/>
                  </a:moveTo>
                  <a:cubicBezTo>
                    <a:pt x="1433" y="42"/>
                    <a:pt x="1422" y="56"/>
                    <a:pt x="1425" y="48"/>
                  </a:cubicBezTo>
                  <a:close/>
                  <a:moveTo>
                    <a:pt x="1433" y="23"/>
                  </a:moveTo>
                  <a:cubicBezTo>
                    <a:pt x="1428" y="28"/>
                    <a:pt x="1419" y="20"/>
                    <a:pt x="1433" y="23"/>
                  </a:cubicBezTo>
                  <a:close/>
                  <a:moveTo>
                    <a:pt x="1425" y="68"/>
                  </a:moveTo>
                  <a:lnTo>
                    <a:pt x="1426" y="69"/>
                  </a:lnTo>
                  <a:cubicBezTo>
                    <a:pt x="1430" y="75"/>
                    <a:pt x="1428" y="82"/>
                    <a:pt x="1433" y="85"/>
                  </a:cubicBezTo>
                  <a:cubicBezTo>
                    <a:pt x="1425" y="87"/>
                    <a:pt x="1413" y="85"/>
                    <a:pt x="1408" y="79"/>
                  </a:cubicBezTo>
                  <a:cubicBezTo>
                    <a:pt x="1411" y="76"/>
                    <a:pt x="1422" y="73"/>
                    <a:pt x="1425" y="68"/>
                  </a:cubicBezTo>
                  <a:close/>
                  <a:moveTo>
                    <a:pt x="1397" y="2509"/>
                  </a:moveTo>
                  <a:cubicBezTo>
                    <a:pt x="1397" y="2501"/>
                    <a:pt x="1405" y="2512"/>
                    <a:pt x="1397" y="2509"/>
                  </a:cubicBezTo>
                  <a:close/>
                  <a:moveTo>
                    <a:pt x="1397" y="2594"/>
                  </a:moveTo>
                  <a:cubicBezTo>
                    <a:pt x="1397" y="2588"/>
                    <a:pt x="1405" y="2597"/>
                    <a:pt x="1397" y="2594"/>
                  </a:cubicBezTo>
                  <a:close/>
                  <a:moveTo>
                    <a:pt x="1397" y="209"/>
                  </a:moveTo>
                  <a:cubicBezTo>
                    <a:pt x="1397" y="203"/>
                    <a:pt x="1408" y="209"/>
                    <a:pt x="1397" y="209"/>
                  </a:cubicBezTo>
                  <a:close/>
                  <a:moveTo>
                    <a:pt x="1411" y="214"/>
                  </a:moveTo>
                  <a:cubicBezTo>
                    <a:pt x="1411" y="217"/>
                    <a:pt x="1405" y="223"/>
                    <a:pt x="1405" y="226"/>
                  </a:cubicBezTo>
                  <a:cubicBezTo>
                    <a:pt x="1399" y="223"/>
                    <a:pt x="1408" y="214"/>
                    <a:pt x="1411" y="214"/>
                  </a:cubicBezTo>
                  <a:close/>
                  <a:moveTo>
                    <a:pt x="1397" y="147"/>
                  </a:moveTo>
                  <a:cubicBezTo>
                    <a:pt x="1397" y="144"/>
                    <a:pt x="1399" y="141"/>
                    <a:pt x="1402" y="138"/>
                  </a:cubicBezTo>
                  <a:cubicBezTo>
                    <a:pt x="1405" y="144"/>
                    <a:pt x="1399" y="147"/>
                    <a:pt x="1397" y="147"/>
                  </a:cubicBezTo>
                  <a:close/>
                  <a:moveTo>
                    <a:pt x="1402" y="45"/>
                  </a:moveTo>
                  <a:cubicBezTo>
                    <a:pt x="1399" y="45"/>
                    <a:pt x="1397" y="39"/>
                    <a:pt x="1397" y="37"/>
                  </a:cubicBezTo>
                  <a:cubicBezTo>
                    <a:pt x="1399" y="37"/>
                    <a:pt x="1402" y="42"/>
                    <a:pt x="1402" y="45"/>
                  </a:cubicBezTo>
                  <a:close/>
                  <a:moveTo>
                    <a:pt x="1394" y="99"/>
                  </a:moveTo>
                  <a:cubicBezTo>
                    <a:pt x="1398" y="99"/>
                    <a:pt x="1401" y="104"/>
                    <a:pt x="1400" y="107"/>
                  </a:cubicBezTo>
                  <a:lnTo>
                    <a:pt x="1402" y="107"/>
                  </a:lnTo>
                  <a:cubicBezTo>
                    <a:pt x="1402" y="113"/>
                    <a:pt x="1394" y="116"/>
                    <a:pt x="1391" y="107"/>
                  </a:cubicBezTo>
                  <a:lnTo>
                    <a:pt x="1396" y="107"/>
                  </a:lnTo>
                  <a:cubicBezTo>
                    <a:pt x="1395" y="105"/>
                    <a:pt x="1394" y="102"/>
                    <a:pt x="1394" y="99"/>
                  </a:cubicBezTo>
                  <a:close/>
                  <a:moveTo>
                    <a:pt x="1391" y="2137"/>
                  </a:moveTo>
                  <a:cubicBezTo>
                    <a:pt x="1391" y="2129"/>
                    <a:pt x="1399" y="2140"/>
                    <a:pt x="1391" y="2137"/>
                  </a:cubicBezTo>
                  <a:close/>
                  <a:moveTo>
                    <a:pt x="1388" y="183"/>
                  </a:moveTo>
                  <a:cubicBezTo>
                    <a:pt x="1388" y="178"/>
                    <a:pt x="1397" y="186"/>
                    <a:pt x="1388" y="183"/>
                  </a:cubicBezTo>
                  <a:close/>
                  <a:moveTo>
                    <a:pt x="1388" y="104"/>
                  </a:moveTo>
                  <a:lnTo>
                    <a:pt x="1388" y="110"/>
                  </a:lnTo>
                  <a:lnTo>
                    <a:pt x="1383" y="110"/>
                  </a:lnTo>
                  <a:cubicBezTo>
                    <a:pt x="1382" y="113"/>
                    <a:pt x="1378" y="117"/>
                    <a:pt x="1380" y="107"/>
                  </a:cubicBezTo>
                  <a:lnTo>
                    <a:pt x="1380" y="107"/>
                  </a:lnTo>
                  <a:cubicBezTo>
                    <a:pt x="1380" y="106"/>
                    <a:pt x="1380" y="105"/>
                    <a:pt x="1380" y="104"/>
                  </a:cubicBezTo>
                  <a:lnTo>
                    <a:pt x="1388" y="104"/>
                  </a:lnTo>
                  <a:close/>
                  <a:moveTo>
                    <a:pt x="1388" y="2817"/>
                  </a:moveTo>
                  <a:cubicBezTo>
                    <a:pt x="1385" y="2814"/>
                    <a:pt x="1377" y="2814"/>
                    <a:pt x="1371" y="2814"/>
                  </a:cubicBezTo>
                  <a:cubicBezTo>
                    <a:pt x="1374" y="2808"/>
                    <a:pt x="1391" y="2808"/>
                    <a:pt x="1388" y="2817"/>
                  </a:cubicBezTo>
                  <a:close/>
                  <a:moveTo>
                    <a:pt x="1374" y="2777"/>
                  </a:moveTo>
                  <a:cubicBezTo>
                    <a:pt x="1373" y="2777"/>
                    <a:pt x="1372" y="2776"/>
                    <a:pt x="1371" y="2775"/>
                  </a:cubicBezTo>
                  <a:cubicBezTo>
                    <a:pt x="1371" y="2780"/>
                    <a:pt x="1363" y="2778"/>
                    <a:pt x="1360" y="2783"/>
                  </a:cubicBezTo>
                  <a:cubicBezTo>
                    <a:pt x="1354" y="2780"/>
                    <a:pt x="1367" y="2775"/>
                    <a:pt x="1371" y="2775"/>
                  </a:cubicBezTo>
                  <a:cubicBezTo>
                    <a:pt x="1362" y="2766"/>
                    <a:pt x="1357" y="2754"/>
                    <a:pt x="1360" y="2744"/>
                  </a:cubicBezTo>
                  <a:cubicBezTo>
                    <a:pt x="1374" y="2741"/>
                    <a:pt x="1377" y="2761"/>
                    <a:pt x="1374" y="2777"/>
                  </a:cubicBezTo>
                  <a:close/>
                  <a:moveTo>
                    <a:pt x="1380" y="290"/>
                  </a:moveTo>
                  <a:lnTo>
                    <a:pt x="1380" y="296"/>
                  </a:lnTo>
                  <a:lnTo>
                    <a:pt x="1374" y="296"/>
                  </a:lnTo>
                  <a:cubicBezTo>
                    <a:pt x="1374" y="296"/>
                    <a:pt x="1371" y="293"/>
                    <a:pt x="1371" y="290"/>
                  </a:cubicBezTo>
                  <a:cubicBezTo>
                    <a:pt x="1374" y="293"/>
                    <a:pt x="1377" y="293"/>
                    <a:pt x="1380" y="290"/>
                  </a:cubicBezTo>
                  <a:close/>
                  <a:moveTo>
                    <a:pt x="1374" y="226"/>
                  </a:moveTo>
                  <a:cubicBezTo>
                    <a:pt x="1377" y="226"/>
                    <a:pt x="1377" y="231"/>
                    <a:pt x="1377" y="234"/>
                  </a:cubicBezTo>
                  <a:cubicBezTo>
                    <a:pt x="1374" y="234"/>
                    <a:pt x="1374" y="228"/>
                    <a:pt x="1374" y="226"/>
                  </a:cubicBezTo>
                  <a:close/>
                  <a:moveTo>
                    <a:pt x="1385" y="2752"/>
                  </a:moveTo>
                  <a:cubicBezTo>
                    <a:pt x="1385" y="2755"/>
                    <a:pt x="1382" y="2758"/>
                    <a:pt x="1382" y="2763"/>
                  </a:cubicBezTo>
                  <a:cubicBezTo>
                    <a:pt x="1377" y="2761"/>
                    <a:pt x="1380" y="2749"/>
                    <a:pt x="1385" y="2752"/>
                  </a:cubicBezTo>
                  <a:close/>
                  <a:moveTo>
                    <a:pt x="1374" y="2603"/>
                  </a:moveTo>
                  <a:lnTo>
                    <a:pt x="1375" y="2603"/>
                  </a:lnTo>
                  <a:cubicBezTo>
                    <a:pt x="1374" y="2604"/>
                    <a:pt x="1373" y="2605"/>
                    <a:pt x="1374" y="2603"/>
                  </a:cubicBezTo>
                  <a:cubicBezTo>
                    <a:pt x="1377" y="2600"/>
                    <a:pt x="1376" y="2601"/>
                    <a:pt x="1375" y="2603"/>
                  </a:cubicBezTo>
                  <a:lnTo>
                    <a:pt x="1374" y="2603"/>
                  </a:lnTo>
                  <a:close/>
                  <a:moveTo>
                    <a:pt x="1377" y="14"/>
                  </a:moveTo>
                  <a:cubicBezTo>
                    <a:pt x="1380" y="14"/>
                    <a:pt x="1382" y="17"/>
                    <a:pt x="1385" y="20"/>
                  </a:cubicBezTo>
                  <a:lnTo>
                    <a:pt x="1380" y="20"/>
                  </a:lnTo>
                  <a:cubicBezTo>
                    <a:pt x="1377" y="20"/>
                    <a:pt x="1377" y="17"/>
                    <a:pt x="1377" y="14"/>
                  </a:cubicBezTo>
                  <a:close/>
                  <a:moveTo>
                    <a:pt x="1368" y="39"/>
                  </a:moveTo>
                  <a:lnTo>
                    <a:pt x="1380" y="39"/>
                  </a:lnTo>
                  <a:cubicBezTo>
                    <a:pt x="1377" y="42"/>
                    <a:pt x="1374" y="51"/>
                    <a:pt x="1368" y="48"/>
                  </a:cubicBezTo>
                  <a:lnTo>
                    <a:pt x="1368" y="39"/>
                  </a:lnTo>
                  <a:close/>
                  <a:moveTo>
                    <a:pt x="1365" y="31"/>
                  </a:moveTo>
                  <a:cubicBezTo>
                    <a:pt x="1374" y="34"/>
                    <a:pt x="1360" y="39"/>
                    <a:pt x="1365" y="31"/>
                  </a:cubicBezTo>
                  <a:close/>
                  <a:moveTo>
                    <a:pt x="1374" y="99"/>
                  </a:moveTo>
                  <a:cubicBezTo>
                    <a:pt x="1374" y="107"/>
                    <a:pt x="1363" y="110"/>
                    <a:pt x="1365" y="118"/>
                  </a:cubicBezTo>
                  <a:cubicBezTo>
                    <a:pt x="1357" y="116"/>
                    <a:pt x="1363" y="104"/>
                    <a:pt x="1357" y="96"/>
                  </a:cubicBezTo>
                  <a:cubicBezTo>
                    <a:pt x="1363" y="96"/>
                    <a:pt x="1365" y="99"/>
                    <a:pt x="1374" y="99"/>
                  </a:cubicBezTo>
                  <a:close/>
                  <a:moveTo>
                    <a:pt x="1365" y="2061"/>
                  </a:moveTo>
                  <a:cubicBezTo>
                    <a:pt x="1365" y="2055"/>
                    <a:pt x="1374" y="2064"/>
                    <a:pt x="1365" y="2061"/>
                  </a:cubicBezTo>
                  <a:close/>
                  <a:moveTo>
                    <a:pt x="1354" y="172"/>
                  </a:moveTo>
                  <a:lnTo>
                    <a:pt x="1360" y="172"/>
                  </a:lnTo>
                  <a:lnTo>
                    <a:pt x="1360" y="178"/>
                  </a:lnTo>
                  <a:cubicBezTo>
                    <a:pt x="1358" y="178"/>
                    <a:pt x="1356" y="179"/>
                    <a:pt x="1354" y="180"/>
                  </a:cubicBezTo>
                  <a:cubicBezTo>
                    <a:pt x="1358" y="196"/>
                    <a:pt x="1353" y="193"/>
                    <a:pt x="1343" y="200"/>
                  </a:cubicBezTo>
                  <a:cubicBezTo>
                    <a:pt x="1329" y="200"/>
                    <a:pt x="1332" y="183"/>
                    <a:pt x="1334" y="172"/>
                  </a:cubicBezTo>
                  <a:cubicBezTo>
                    <a:pt x="1343" y="172"/>
                    <a:pt x="1346" y="175"/>
                    <a:pt x="1351" y="172"/>
                  </a:cubicBezTo>
                  <a:cubicBezTo>
                    <a:pt x="1352" y="174"/>
                    <a:pt x="1352" y="175"/>
                    <a:pt x="1353" y="176"/>
                  </a:cubicBezTo>
                  <a:cubicBezTo>
                    <a:pt x="1353" y="175"/>
                    <a:pt x="1354" y="173"/>
                    <a:pt x="1354" y="172"/>
                  </a:cubicBezTo>
                  <a:close/>
                  <a:moveTo>
                    <a:pt x="1351" y="144"/>
                  </a:moveTo>
                  <a:cubicBezTo>
                    <a:pt x="1360" y="149"/>
                    <a:pt x="1349" y="144"/>
                    <a:pt x="1351" y="144"/>
                  </a:cubicBezTo>
                  <a:close/>
                  <a:moveTo>
                    <a:pt x="1357" y="2033"/>
                  </a:moveTo>
                  <a:cubicBezTo>
                    <a:pt x="1357" y="2027"/>
                    <a:pt x="1365" y="2036"/>
                    <a:pt x="1357" y="2033"/>
                  </a:cubicBezTo>
                  <a:close/>
                  <a:moveTo>
                    <a:pt x="1365" y="2055"/>
                  </a:moveTo>
                  <a:cubicBezTo>
                    <a:pt x="1365" y="2061"/>
                    <a:pt x="1357" y="2061"/>
                    <a:pt x="1354" y="2058"/>
                  </a:cubicBezTo>
                  <a:cubicBezTo>
                    <a:pt x="1357" y="2055"/>
                    <a:pt x="1363" y="2055"/>
                    <a:pt x="1365" y="2055"/>
                  </a:cubicBezTo>
                  <a:close/>
                  <a:moveTo>
                    <a:pt x="1360" y="28"/>
                  </a:moveTo>
                  <a:cubicBezTo>
                    <a:pt x="1357" y="28"/>
                    <a:pt x="1354" y="28"/>
                    <a:pt x="1351" y="31"/>
                  </a:cubicBezTo>
                  <a:lnTo>
                    <a:pt x="1351" y="25"/>
                  </a:lnTo>
                  <a:cubicBezTo>
                    <a:pt x="1354" y="23"/>
                    <a:pt x="1357" y="23"/>
                    <a:pt x="1360" y="28"/>
                  </a:cubicBezTo>
                  <a:close/>
                  <a:moveTo>
                    <a:pt x="1349" y="65"/>
                  </a:moveTo>
                  <a:cubicBezTo>
                    <a:pt x="1349" y="59"/>
                    <a:pt x="1357" y="68"/>
                    <a:pt x="1349" y="65"/>
                  </a:cubicBezTo>
                  <a:close/>
                  <a:moveTo>
                    <a:pt x="1346" y="59"/>
                  </a:moveTo>
                  <a:lnTo>
                    <a:pt x="1346" y="65"/>
                  </a:lnTo>
                  <a:lnTo>
                    <a:pt x="1340" y="65"/>
                  </a:lnTo>
                  <a:cubicBezTo>
                    <a:pt x="1340" y="65"/>
                    <a:pt x="1337" y="62"/>
                    <a:pt x="1337" y="59"/>
                  </a:cubicBezTo>
                  <a:cubicBezTo>
                    <a:pt x="1340" y="62"/>
                    <a:pt x="1346" y="59"/>
                    <a:pt x="1346" y="59"/>
                  </a:cubicBezTo>
                  <a:close/>
                  <a:moveTo>
                    <a:pt x="1337" y="37"/>
                  </a:moveTo>
                  <a:cubicBezTo>
                    <a:pt x="1343" y="39"/>
                    <a:pt x="1332" y="54"/>
                    <a:pt x="1332" y="42"/>
                  </a:cubicBezTo>
                  <a:cubicBezTo>
                    <a:pt x="1334" y="39"/>
                    <a:pt x="1337" y="39"/>
                    <a:pt x="1337" y="37"/>
                  </a:cubicBezTo>
                  <a:close/>
                  <a:moveTo>
                    <a:pt x="1343" y="113"/>
                  </a:moveTo>
                  <a:cubicBezTo>
                    <a:pt x="1337" y="118"/>
                    <a:pt x="1329" y="107"/>
                    <a:pt x="1343" y="113"/>
                  </a:cubicBezTo>
                  <a:close/>
                  <a:moveTo>
                    <a:pt x="1326" y="54"/>
                  </a:moveTo>
                  <a:cubicBezTo>
                    <a:pt x="1326" y="48"/>
                    <a:pt x="1337" y="56"/>
                    <a:pt x="1326" y="54"/>
                  </a:cubicBezTo>
                  <a:close/>
                  <a:moveTo>
                    <a:pt x="1323" y="8"/>
                  </a:moveTo>
                  <a:cubicBezTo>
                    <a:pt x="1323" y="3"/>
                    <a:pt x="1332" y="11"/>
                    <a:pt x="1323" y="8"/>
                  </a:cubicBezTo>
                  <a:close/>
                  <a:moveTo>
                    <a:pt x="1318" y="51"/>
                  </a:moveTo>
                  <a:cubicBezTo>
                    <a:pt x="1315" y="45"/>
                    <a:pt x="1326" y="51"/>
                    <a:pt x="1318" y="51"/>
                  </a:cubicBezTo>
                  <a:close/>
                  <a:moveTo>
                    <a:pt x="1303" y="8"/>
                  </a:moveTo>
                  <a:cubicBezTo>
                    <a:pt x="1303" y="11"/>
                    <a:pt x="1298" y="14"/>
                    <a:pt x="1295" y="14"/>
                  </a:cubicBezTo>
                  <a:cubicBezTo>
                    <a:pt x="1298" y="14"/>
                    <a:pt x="1303" y="17"/>
                    <a:pt x="1303" y="20"/>
                  </a:cubicBezTo>
                  <a:cubicBezTo>
                    <a:pt x="1301" y="23"/>
                    <a:pt x="1298" y="20"/>
                    <a:pt x="1295" y="17"/>
                  </a:cubicBezTo>
                  <a:lnTo>
                    <a:pt x="1295" y="14"/>
                  </a:lnTo>
                  <a:cubicBezTo>
                    <a:pt x="1298" y="11"/>
                    <a:pt x="1301" y="11"/>
                    <a:pt x="1303" y="8"/>
                  </a:cubicBezTo>
                  <a:close/>
                  <a:moveTo>
                    <a:pt x="1303" y="23"/>
                  </a:moveTo>
                  <a:cubicBezTo>
                    <a:pt x="1303" y="25"/>
                    <a:pt x="1301" y="31"/>
                    <a:pt x="1295" y="31"/>
                  </a:cubicBezTo>
                  <a:cubicBezTo>
                    <a:pt x="1295" y="28"/>
                    <a:pt x="1295" y="25"/>
                    <a:pt x="1292" y="25"/>
                  </a:cubicBezTo>
                  <a:cubicBezTo>
                    <a:pt x="1298" y="23"/>
                    <a:pt x="1301" y="23"/>
                    <a:pt x="1303" y="23"/>
                  </a:cubicBezTo>
                  <a:close/>
                  <a:moveTo>
                    <a:pt x="1284" y="28"/>
                  </a:moveTo>
                  <a:cubicBezTo>
                    <a:pt x="1286" y="20"/>
                    <a:pt x="1292" y="37"/>
                    <a:pt x="1284" y="28"/>
                  </a:cubicBezTo>
                  <a:close/>
                  <a:moveTo>
                    <a:pt x="1281" y="189"/>
                  </a:moveTo>
                  <a:cubicBezTo>
                    <a:pt x="1278" y="189"/>
                    <a:pt x="1278" y="186"/>
                    <a:pt x="1278" y="186"/>
                  </a:cubicBezTo>
                  <a:lnTo>
                    <a:pt x="1282" y="186"/>
                  </a:lnTo>
                  <a:cubicBezTo>
                    <a:pt x="1281" y="184"/>
                    <a:pt x="1280" y="182"/>
                    <a:pt x="1281" y="180"/>
                  </a:cubicBezTo>
                  <a:cubicBezTo>
                    <a:pt x="1284" y="183"/>
                    <a:pt x="1292" y="183"/>
                    <a:pt x="1295" y="192"/>
                  </a:cubicBezTo>
                  <a:cubicBezTo>
                    <a:pt x="1291" y="192"/>
                    <a:pt x="1285" y="189"/>
                    <a:pt x="1282" y="186"/>
                  </a:cubicBezTo>
                  <a:cubicBezTo>
                    <a:pt x="1281" y="187"/>
                    <a:pt x="1281" y="189"/>
                    <a:pt x="1281" y="189"/>
                  </a:cubicBezTo>
                  <a:close/>
                  <a:moveTo>
                    <a:pt x="1278" y="2154"/>
                  </a:moveTo>
                  <a:cubicBezTo>
                    <a:pt x="1278" y="2148"/>
                    <a:pt x="1289" y="2157"/>
                    <a:pt x="1278" y="2154"/>
                  </a:cubicBezTo>
                  <a:close/>
                  <a:moveTo>
                    <a:pt x="1281" y="28"/>
                  </a:moveTo>
                  <a:cubicBezTo>
                    <a:pt x="1284" y="31"/>
                    <a:pt x="1272" y="34"/>
                    <a:pt x="1272" y="28"/>
                  </a:cubicBezTo>
                  <a:lnTo>
                    <a:pt x="1281" y="28"/>
                  </a:lnTo>
                  <a:close/>
                  <a:moveTo>
                    <a:pt x="1275" y="302"/>
                  </a:moveTo>
                  <a:lnTo>
                    <a:pt x="1275" y="307"/>
                  </a:lnTo>
                  <a:lnTo>
                    <a:pt x="1270" y="307"/>
                  </a:lnTo>
                  <a:cubicBezTo>
                    <a:pt x="1270" y="307"/>
                    <a:pt x="1267" y="305"/>
                    <a:pt x="1267" y="302"/>
                  </a:cubicBezTo>
                  <a:lnTo>
                    <a:pt x="1275" y="302"/>
                  </a:lnTo>
                  <a:close/>
                  <a:moveTo>
                    <a:pt x="1270" y="2160"/>
                  </a:moveTo>
                  <a:cubicBezTo>
                    <a:pt x="1270" y="2154"/>
                    <a:pt x="1278" y="2163"/>
                    <a:pt x="1270" y="2160"/>
                  </a:cubicBezTo>
                  <a:close/>
                  <a:moveTo>
                    <a:pt x="1267" y="2662"/>
                  </a:moveTo>
                  <a:cubicBezTo>
                    <a:pt x="1275" y="2656"/>
                    <a:pt x="1264" y="2667"/>
                    <a:pt x="1267" y="2662"/>
                  </a:cubicBezTo>
                  <a:close/>
                  <a:moveTo>
                    <a:pt x="1261" y="2698"/>
                  </a:moveTo>
                  <a:cubicBezTo>
                    <a:pt x="1272" y="2698"/>
                    <a:pt x="1264" y="2713"/>
                    <a:pt x="1258" y="2713"/>
                  </a:cubicBezTo>
                  <a:cubicBezTo>
                    <a:pt x="1258" y="2707"/>
                    <a:pt x="1264" y="2704"/>
                    <a:pt x="1261" y="2698"/>
                  </a:cubicBezTo>
                  <a:close/>
                  <a:moveTo>
                    <a:pt x="1270" y="17"/>
                  </a:moveTo>
                  <a:cubicBezTo>
                    <a:pt x="1270" y="23"/>
                    <a:pt x="1261" y="20"/>
                    <a:pt x="1261" y="20"/>
                  </a:cubicBezTo>
                  <a:cubicBezTo>
                    <a:pt x="1261" y="14"/>
                    <a:pt x="1270" y="17"/>
                    <a:pt x="1270" y="17"/>
                  </a:cubicBezTo>
                  <a:close/>
                  <a:moveTo>
                    <a:pt x="1264" y="265"/>
                  </a:moveTo>
                  <a:cubicBezTo>
                    <a:pt x="1261" y="265"/>
                    <a:pt x="1258" y="262"/>
                    <a:pt x="1255" y="259"/>
                  </a:cubicBezTo>
                  <a:cubicBezTo>
                    <a:pt x="1261" y="257"/>
                    <a:pt x="1264" y="262"/>
                    <a:pt x="1264" y="265"/>
                  </a:cubicBezTo>
                  <a:close/>
                  <a:moveTo>
                    <a:pt x="1244" y="192"/>
                  </a:moveTo>
                  <a:lnTo>
                    <a:pt x="1250" y="192"/>
                  </a:lnTo>
                  <a:lnTo>
                    <a:pt x="1250" y="197"/>
                  </a:lnTo>
                  <a:cubicBezTo>
                    <a:pt x="1248" y="197"/>
                    <a:pt x="1247" y="197"/>
                    <a:pt x="1246" y="198"/>
                  </a:cubicBezTo>
                  <a:cubicBezTo>
                    <a:pt x="1247" y="196"/>
                    <a:pt x="1246" y="194"/>
                    <a:pt x="1244" y="192"/>
                  </a:cubicBezTo>
                  <a:close/>
                  <a:moveTo>
                    <a:pt x="1244" y="200"/>
                  </a:moveTo>
                  <a:cubicBezTo>
                    <a:pt x="1245" y="199"/>
                    <a:pt x="1246" y="199"/>
                    <a:pt x="1246" y="198"/>
                  </a:cubicBezTo>
                  <a:cubicBezTo>
                    <a:pt x="1245" y="198"/>
                    <a:pt x="1244" y="199"/>
                    <a:pt x="1244" y="200"/>
                  </a:cubicBezTo>
                  <a:close/>
                  <a:moveTo>
                    <a:pt x="1244" y="130"/>
                  </a:moveTo>
                  <a:lnTo>
                    <a:pt x="1233" y="130"/>
                  </a:lnTo>
                  <a:cubicBezTo>
                    <a:pt x="1233" y="127"/>
                    <a:pt x="1233" y="121"/>
                    <a:pt x="1238" y="118"/>
                  </a:cubicBezTo>
                  <a:cubicBezTo>
                    <a:pt x="1241" y="124"/>
                    <a:pt x="1244" y="127"/>
                    <a:pt x="1244" y="130"/>
                  </a:cubicBezTo>
                  <a:close/>
                  <a:moveTo>
                    <a:pt x="1238" y="231"/>
                  </a:moveTo>
                  <a:cubicBezTo>
                    <a:pt x="1233" y="228"/>
                    <a:pt x="1230" y="223"/>
                    <a:pt x="1227" y="217"/>
                  </a:cubicBezTo>
                  <a:cubicBezTo>
                    <a:pt x="1233" y="220"/>
                    <a:pt x="1241" y="226"/>
                    <a:pt x="1238" y="231"/>
                  </a:cubicBezTo>
                  <a:close/>
                  <a:moveTo>
                    <a:pt x="1230" y="189"/>
                  </a:moveTo>
                  <a:cubicBezTo>
                    <a:pt x="1227" y="183"/>
                    <a:pt x="1238" y="189"/>
                    <a:pt x="1230" y="189"/>
                  </a:cubicBezTo>
                  <a:close/>
                  <a:moveTo>
                    <a:pt x="1236" y="259"/>
                  </a:moveTo>
                  <a:cubicBezTo>
                    <a:pt x="1238" y="254"/>
                    <a:pt x="1247" y="262"/>
                    <a:pt x="1236" y="259"/>
                  </a:cubicBezTo>
                  <a:close/>
                  <a:moveTo>
                    <a:pt x="1222" y="2422"/>
                  </a:moveTo>
                  <a:cubicBezTo>
                    <a:pt x="1224" y="2416"/>
                    <a:pt x="1236" y="2428"/>
                    <a:pt x="1222" y="2422"/>
                  </a:cubicBezTo>
                  <a:close/>
                  <a:moveTo>
                    <a:pt x="1230" y="2298"/>
                  </a:moveTo>
                  <a:lnTo>
                    <a:pt x="1224" y="2298"/>
                  </a:lnTo>
                  <a:cubicBezTo>
                    <a:pt x="1224" y="2295"/>
                    <a:pt x="1224" y="2295"/>
                    <a:pt x="1222" y="2295"/>
                  </a:cubicBezTo>
                  <a:cubicBezTo>
                    <a:pt x="1222" y="2289"/>
                    <a:pt x="1233" y="2292"/>
                    <a:pt x="1230" y="2298"/>
                  </a:cubicBezTo>
                  <a:close/>
                  <a:moveTo>
                    <a:pt x="1236" y="2515"/>
                  </a:moveTo>
                  <a:cubicBezTo>
                    <a:pt x="1238" y="2518"/>
                    <a:pt x="1238" y="2524"/>
                    <a:pt x="1236" y="2526"/>
                  </a:cubicBezTo>
                  <a:cubicBezTo>
                    <a:pt x="1233" y="2526"/>
                    <a:pt x="1227" y="2526"/>
                    <a:pt x="1224" y="2529"/>
                  </a:cubicBezTo>
                  <a:cubicBezTo>
                    <a:pt x="1224" y="2526"/>
                    <a:pt x="1222" y="2521"/>
                    <a:pt x="1222" y="2518"/>
                  </a:cubicBezTo>
                  <a:cubicBezTo>
                    <a:pt x="1224" y="2515"/>
                    <a:pt x="1230" y="2515"/>
                    <a:pt x="1236" y="2515"/>
                  </a:cubicBezTo>
                  <a:close/>
                  <a:moveTo>
                    <a:pt x="1233" y="2704"/>
                  </a:moveTo>
                  <a:lnTo>
                    <a:pt x="1244" y="2704"/>
                  </a:lnTo>
                  <a:cubicBezTo>
                    <a:pt x="1247" y="2710"/>
                    <a:pt x="1238" y="2707"/>
                    <a:pt x="1233" y="2710"/>
                  </a:cubicBezTo>
                  <a:lnTo>
                    <a:pt x="1233" y="2704"/>
                  </a:lnTo>
                  <a:close/>
                  <a:moveTo>
                    <a:pt x="1241" y="56"/>
                  </a:moveTo>
                  <a:cubicBezTo>
                    <a:pt x="1236" y="59"/>
                    <a:pt x="1236" y="54"/>
                    <a:pt x="1230" y="54"/>
                  </a:cubicBezTo>
                  <a:cubicBezTo>
                    <a:pt x="1230" y="51"/>
                    <a:pt x="1241" y="51"/>
                    <a:pt x="1241" y="56"/>
                  </a:cubicBezTo>
                  <a:close/>
                  <a:moveTo>
                    <a:pt x="1233" y="42"/>
                  </a:moveTo>
                  <a:lnTo>
                    <a:pt x="1233" y="48"/>
                  </a:lnTo>
                  <a:lnTo>
                    <a:pt x="1227" y="48"/>
                  </a:lnTo>
                  <a:cubicBezTo>
                    <a:pt x="1227" y="48"/>
                    <a:pt x="1224" y="45"/>
                    <a:pt x="1224" y="42"/>
                  </a:cubicBezTo>
                  <a:lnTo>
                    <a:pt x="1233" y="42"/>
                  </a:lnTo>
                  <a:close/>
                  <a:moveTo>
                    <a:pt x="1224" y="178"/>
                  </a:moveTo>
                  <a:cubicBezTo>
                    <a:pt x="1227" y="169"/>
                    <a:pt x="1230" y="186"/>
                    <a:pt x="1224" y="178"/>
                  </a:cubicBezTo>
                  <a:close/>
                  <a:moveTo>
                    <a:pt x="1224" y="169"/>
                  </a:moveTo>
                  <a:lnTo>
                    <a:pt x="1219" y="169"/>
                  </a:lnTo>
                  <a:lnTo>
                    <a:pt x="1219" y="164"/>
                  </a:lnTo>
                  <a:cubicBezTo>
                    <a:pt x="1219" y="164"/>
                    <a:pt x="1222" y="161"/>
                    <a:pt x="1224" y="161"/>
                  </a:cubicBezTo>
                  <a:lnTo>
                    <a:pt x="1224" y="169"/>
                  </a:lnTo>
                  <a:close/>
                  <a:moveTo>
                    <a:pt x="1210" y="195"/>
                  </a:moveTo>
                  <a:lnTo>
                    <a:pt x="1210" y="183"/>
                  </a:lnTo>
                  <a:cubicBezTo>
                    <a:pt x="1213" y="186"/>
                    <a:pt x="1219" y="183"/>
                    <a:pt x="1222" y="189"/>
                  </a:cubicBezTo>
                  <a:cubicBezTo>
                    <a:pt x="1219" y="192"/>
                    <a:pt x="1213" y="195"/>
                    <a:pt x="1210" y="195"/>
                  </a:cubicBezTo>
                  <a:close/>
                  <a:moveTo>
                    <a:pt x="1216" y="2467"/>
                  </a:moveTo>
                  <a:cubicBezTo>
                    <a:pt x="1216" y="2462"/>
                    <a:pt x="1224" y="2470"/>
                    <a:pt x="1216" y="2467"/>
                  </a:cubicBezTo>
                  <a:close/>
                  <a:moveTo>
                    <a:pt x="1191" y="231"/>
                  </a:moveTo>
                  <a:cubicBezTo>
                    <a:pt x="1191" y="220"/>
                    <a:pt x="1199" y="228"/>
                    <a:pt x="1202" y="217"/>
                  </a:cubicBezTo>
                  <a:cubicBezTo>
                    <a:pt x="1205" y="220"/>
                    <a:pt x="1210" y="223"/>
                    <a:pt x="1210" y="228"/>
                  </a:cubicBezTo>
                  <a:cubicBezTo>
                    <a:pt x="1202" y="228"/>
                    <a:pt x="1199" y="234"/>
                    <a:pt x="1191" y="231"/>
                  </a:cubicBezTo>
                  <a:close/>
                  <a:moveTo>
                    <a:pt x="1196" y="310"/>
                  </a:moveTo>
                  <a:lnTo>
                    <a:pt x="1196" y="316"/>
                  </a:lnTo>
                  <a:lnTo>
                    <a:pt x="1191" y="316"/>
                  </a:lnTo>
                  <a:lnTo>
                    <a:pt x="1191" y="310"/>
                  </a:lnTo>
                  <a:lnTo>
                    <a:pt x="1196" y="310"/>
                  </a:lnTo>
                  <a:close/>
                  <a:moveTo>
                    <a:pt x="1199" y="121"/>
                  </a:moveTo>
                  <a:cubicBezTo>
                    <a:pt x="1202" y="124"/>
                    <a:pt x="1210" y="124"/>
                    <a:pt x="1210" y="130"/>
                  </a:cubicBezTo>
                  <a:cubicBezTo>
                    <a:pt x="1207" y="127"/>
                    <a:pt x="1202" y="127"/>
                    <a:pt x="1199" y="121"/>
                  </a:cubicBezTo>
                  <a:close/>
                  <a:moveTo>
                    <a:pt x="1216" y="166"/>
                  </a:moveTo>
                  <a:cubicBezTo>
                    <a:pt x="1210" y="166"/>
                    <a:pt x="1205" y="164"/>
                    <a:pt x="1202" y="158"/>
                  </a:cubicBezTo>
                  <a:cubicBezTo>
                    <a:pt x="1205" y="158"/>
                    <a:pt x="1207" y="158"/>
                    <a:pt x="1207" y="155"/>
                  </a:cubicBezTo>
                  <a:cubicBezTo>
                    <a:pt x="1207" y="164"/>
                    <a:pt x="1216" y="161"/>
                    <a:pt x="1216" y="166"/>
                  </a:cubicBezTo>
                  <a:close/>
                  <a:moveTo>
                    <a:pt x="1205" y="259"/>
                  </a:moveTo>
                  <a:lnTo>
                    <a:pt x="1206" y="259"/>
                  </a:lnTo>
                  <a:cubicBezTo>
                    <a:pt x="1206" y="262"/>
                    <a:pt x="1206" y="266"/>
                    <a:pt x="1205" y="259"/>
                  </a:cubicBezTo>
                  <a:cubicBezTo>
                    <a:pt x="1205" y="256"/>
                    <a:pt x="1205" y="257"/>
                    <a:pt x="1206" y="259"/>
                  </a:cubicBezTo>
                  <a:lnTo>
                    <a:pt x="1205" y="259"/>
                  </a:lnTo>
                  <a:close/>
                  <a:moveTo>
                    <a:pt x="1207" y="296"/>
                  </a:moveTo>
                  <a:lnTo>
                    <a:pt x="1207" y="290"/>
                  </a:lnTo>
                  <a:lnTo>
                    <a:pt x="1210" y="290"/>
                  </a:lnTo>
                  <a:cubicBezTo>
                    <a:pt x="1210" y="293"/>
                    <a:pt x="1213" y="293"/>
                    <a:pt x="1213" y="293"/>
                  </a:cubicBezTo>
                  <a:cubicBezTo>
                    <a:pt x="1210" y="296"/>
                    <a:pt x="1207" y="299"/>
                    <a:pt x="1207" y="296"/>
                  </a:cubicBezTo>
                  <a:close/>
                  <a:moveTo>
                    <a:pt x="1207" y="2800"/>
                  </a:moveTo>
                  <a:cubicBezTo>
                    <a:pt x="1207" y="2806"/>
                    <a:pt x="1202" y="2806"/>
                    <a:pt x="1199" y="2808"/>
                  </a:cubicBezTo>
                  <a:cubicBezTo>
                    <a:pt x="1196" y="2803"/>
                    <a:pt x="1202" y="2800"/>
                    <a:pt x="1207" y="2800"/>
                  </a:cubicBezTo>
                  <a:close/>
                  <a:moveTo>
                    <a:pt x="1205" y="2676"/>
                  </a:moveTo>
                  <a:cubicBezTo>
                    <a:pt x="1222" y="2676"/>
                    <a:pt x="1202" y="2698"/>
                    <a:pt x="1205" y="2676"/>
                  </a:cubicBezTo>
                  <a:close/>
                  <a:moveTo>
                    <a:pt x="1207" y="2442"/>
                  </a:moveTo>
                  <a:cubicBezTo>
                    <a:pt x="1213" y="2442"/>
                    <a:pt x="1216" y="2456"/>
                    <a:pt x="1219" y="2462"/>
                  </a:cubicBezTo>
                  <a:cubicBezTo>
                    <a:pt x="1210" y="2462"/>
                    <a:pt x="1207" y="2450"/>
                    <a:pt x="1207" y="2442"/>
                  </a:cubicBezTo>
                  <a:close/>
                  <a:moveTo>
                    <a:pt x="1213" y="39"/>
                  </a:moveTo>
                  <a:lnTo>
                    <a:pt x="1219" y="39"/>
                  </a:lnTo>
                  <a:lnTo>
                    <a:pt x="1219" y="45"/>
                  </a:lnTo>
                  <a:lnTo>
                    <a:pt x="1213" y="45"/>
                  </a:lnTo>
                  <a:lnTo>
                    <a:pt x="1213" y="39"/>
                  </a:lnTo>
                  <a:close/>
                  <a:moveTo>
                    <a:pt x="1213" y="73"/>
                  </a:moveTo>
                  <a:cubicBezTo>
                    <a:pt x="1216" y="70"/>
                    <a:pt x="1219" y="70"/>
                    <a:pt x="1219" y="70"/>
                  </a:cubicBezTo>
                  <a:cubicBezTo>
                    <a:pt x="1219" y="73"/>
                    <a:pt x="1222" y="76"/>
                    <a:pt x="1222" y="79"/>
                  </a:cubicBezTo>
                  <a:lnTo>
                    <a:pt x="1219" y="79"/>
                  </a:lnTo>
                  <a:cubicBezTo>
                    <a:pt x="1219" y="82"/>
                    <a:pt x="1216" y="82"/>
                    <a:pt x="1216" y="85"/>
                  </a:cubicBezTo>
                  <a:cubicBezTo>
                    <a:pt x="1210" y="85"/>
                    <a:pt x="1207" y="76"/>
                    <a:pt x="1213" y="73"/>
                  </a:cubicBezTo>
                  <a:close/>
                  <a:moveTo>
                    <a:pt x="1213" y="73"/>
                  </a:moveTo>
                  <a:cubicBezTo>
                    <a:pt x="1213" y="70"/>
                    <a:pt x="1210" y="70"/>
                    <a:pt x="1213" y="73"/>
                  </a:cubicBezTo>
                  <a:close/>
                  <a:moveTo>
                    <a:pt x="1213" y="73"/>
                  </a:moveTo>
                  <a:cubicBezTo>
                    <a:pt x="1213" y="65"/>
                    <a:pt x="1216" y="70"/>
                    <a:pt x="1213" y="73"/>
                  </a:cubicBezTo>
                  <a:close/>
                  <a:moveTo>
                    <a:pt x="1202" y="107"/>
                  </a:moveTo>
                  <a:cubicBezTo>
                    <a:pt x="1205" y="110"/>
                    <a:pt x="1210" y="118"/>
                    <a:pt x="1213" y="121"/>
                  </a:cubicBezTo>
                  <a:cubicBezTo>
                    <a:pt x="1207" y="121"/>
                    <a:pt x="1202" y="116"/>
                    <a:pt x="1196" y="118"/>
                  </a:cubicBezTo>
                  <a:cubicBezTo>
                    <a:pt x="1191" y="113"/>
                    <a:pt x="1202" y="113"/>
                    <a:pt x="1202" y="107"/>
                  </a:cubicBezTo>
                  <a:close/>
                  <a:moveTo>
                    <a:pt x="1193" y="93"/>
                  </a:moveTo>
                  <a:cubicBezTo>
                    <a:pt x="1188" y="90"/>
                    <a:pt x="1202" y="96"/>
                    <a:pt x="1193" y="93"/>
                  </a:cubicBezTo>
                  <a:close/>
                  <a:moveTo>
                    <a:pt x="1165" y="48"/>
                  </a:moveTo>
                  <a:cubicBezTo>
                    <a:pt x="1168" y="42"/>
                    <a:pt x="1162" y="56"/>
                    <a:pt x="1165" y="48"/>
                  </a:cubicBezTo>
                  <a:close/>
                  <a:moveTo>
                    <a:pt x="1159" y="96"/>
                  </a:moveTo>
                  <a:cubicBezTo>
                    <a:pt x="1162" y="90"/>
                    <a:pt x="1165" y="82"/>
                    <a:pt x="1171" y="85"/>
                  </a:cubicBezTo>
                  <a:cubicBezTo>
                    <a:pt x="1171" y="79"/>
                    <a:pt x="1168" y="79"/>
                    <a:pt x="1171" y="73"/>
                  </a:cubicBezTo>
                  <a:cubicBezTo>
                    <a:pt x="1179" y="76"/>
                    <a:pt x="1176" y="68"/>
                    <a:pt x="1185" y="68"/>
                  </a:cubicBezTo>
                  <a:cubicBezTo>
                    <a:pt x="1182" y="70"/>
                    <a:pt x="1185" y="76"/>
                    <a:pt x="1188" y="79"/>
                  </a:cubicBezTo>
                  <a:lnTo>
                    <a:pt x="1188" y="76"/>
                  </a:lnTo>
                  <a:cubicBezTo>
                    <a:pt x="1193" y="73"/>
                    <a:pt x="1202" y="82"/>
                    <a:pt x="1199" y="87"/>
                  </a:cubicBezTo>
                  <a:lnTo>
                    <a:pt x="1196" y="87"/>
                  </a:lnTo>
                  <a:lnTo>
                    <a:pt x="1196" y="90"/>
                  </a:lnTo>
                  <a:cubicBezTo>
                    <a:pt x="1193" y="93"/>
                    <a:pt x="1188" y="76"/>
                    <a:pt x="1179" y="79"/>
                  </a:cubicBezTo>
                  <a:cubicBezTo>
                    <a:pt x="1171" y="79"/>
                    <a:pt x="1176" y="87"/>
                    <a:pt x="1176" y="90"/>
                  </a:cubicBezTo>
                  <a:cubicBezTo>
                    <a:pt x="1179" y="93"/>
                    <a:pt x="1179" y="87"/>
                    <a:pt x="1182" y="87"/>
                  </a:cubicBezTo>
                  <a:cubicBezTo>
                    <a:pt x="1185" y="93"/>
                    <a:pt x="1176" y="93"/>
                    <a:pt x="1176" y="96"/>
                  </a:cubicBezTo>
                  <a:cubicBezTo>
                    <a:pt x="1179" y="102"/>
                    <a:pt x="1182" y="102"/>
                    <a:pt x="1179" y="110"/>
                  </a:cubicBezTo>
                  <a:cubicBezTo>
                    <a:pt x="1174" y="104"/>
                    <a:pt x="1168" y="113"/>
                    <a:pt x="1162" y="107"/>
                  </a:cubicBezTo>
                  <a:cubicBezTo>
                    <a:pt x="1162" y="102"/>
                    <a:pt x="1162" y="104"/>
                    <a:pt x="1159" y="96"/>
                  </a:cubicBezTo>
                  <a:cubicBezTo>
                    <a:pt x="1162" y="96"/>
                    <a:pt x="1168" y="99"/>
                    <a:pt x="1168" y="102"/>
                  </a:cubicBezTo>
                  <a:cubicBezTo>
                    <a:pt x="1171" y="99"/>
                    <a:pt x="1165" y="99"/>
                    <a:pt x="1168" y="96"/>
                  </a:cubicBezTo>
                  <a:lnTo>
                    <a:pt x="1159" y="96"/>
                  </a:lnTo>
                  <a:close/>
                  <a:moveTo>
                    <a:pt x="1185" y="2653"/>
                  </a:moveTo>
                  <a:cubicBezTo>
                    <a:pt x="1185" y="2648"/>
                    <a:pt x="1193" y="2656"/>
                    <a:pt x="1185" y="2653"/>
                  </a:cubicBezTo>
                  <a:close/>
                  <a:moveTo>
                    <a:pt x="1165" y="118"/>
                  </a:moveTo>
                  <a:cubicBezTo>
                    <a:pt x="1162" y="116"/>
                    <a:pt x="1168" y="113"/>
                    <a:pt x="1171" y="110"/>
                  </a:cubicBezTo>
                  <a:cubicBezTo>
                    <a:pt x="1168" y="116"/>
                    <a:pt x="1168" y="118"/>
                    <a:pt x="1165" y="118"/>
                  </a:cubicBezTo>
                  <a:close/>
                  <a:moveTo>
                    <a:pt x="1168" y="226"/>
                  </a:moveTo>
                  <a:cubicBezTo>
                    <a:pt x="1165" y="226"/>
                    <a:pt x="1162" y="226"/>
                    <a:pt x="1159" y="228"/>
                  </a:cubicBezTo>
                  <a:lnTo>
                    <a:pt x="1159" y="223"/>
                  </a:lnTo>
                  <a:cubicBezTo>
                    <a:pt x="1162" y="220"/>
                    <a:pt x="1164" y="220"/>
                    <a:pt x="1167" y="224"/>
                  </a:cubicBezTo>
                  <a:cubicBezTo>
                    <a:pt x="1167" y="223"/>
                    <a:pt x="1168" y="224"/>
                    <a:pt x="1168" y="226"/>
                  </a:cubicBezTo>
                  <a:close/>
                  <a:moveTo>
                    <a:pt x="1171" y="172"/>
                  </a:moveTo>
                  <a:cubicBezTo>
                    <a:pt x="1171" y="175"/>
                    <a:pt x="1176" y="172"/>
                    <a:pt x="1176" y="172"/>
                  </a:cubicBezTo>
                  <a:cubicBezTo>
                    <a:pt x="1176" y="178"/>
                    <a:pt x="1174" y="180"/>
                    <a:pt x="1171" y="183"/>
                  </a:cubicBezTo>
                  <a:cubicBezTo>
                    <a:pt x="1171" y="180"/>
                    <a:pt x="1168" y="169"/>
                    <a:pt x="1171" y="172"/>
                  </a:cubicBezTo>
                  <a:close/>
                  <a:moveTo>
                    <a:pt x="1165" y="2557"/>
                  </a:moveTo>
                  <a:cubicBezTo>
                    <a:pt x="1168" y="2552"/>
                    <a:pt x="1176" y="2559"/>
                    <a:pt x="1167" y="2558"/>
                  </a:cubicBezTo>
                  <a:cubicBezTo>
                    <a:pt x="1166" y="2558"/>
                    <a:pt x="1166" y="2557"/>
                    <a:pt x="1165" y="2557"/>
                  </a:cubicBezTo>
                  <a:close/>
                  <a:moveTo>
                    <a:pt x="1165" y="2557"/>
                  </a:moveTo>
                  <a:cubicBezTo>
                    <a:pt x="1167" y="2560"/>
                    <a:pt x="1168" y="2558"/>
                    <a:pt x="1167" y="2558"/>
                  </a:cubicBezTo>
                  <a:cubicBezTo>
                    <a:pt x="1166" y="2558"/>
                    <a:pt x="1166" y="2558"/>
                    <a:pt x="1165" y="2557"/>
                  </a:cubicBezTo>
                  <a:close/>
                  <a:moveTo>
                    <a:pt x="1168" y="220"/>
                  </a:moveTo>
                  <a:cubicBezTo>
                    <a:pt x="1174" y="220"/>
                    <a:pt x="1176" y="237"/>
                    <a:pt x="1176" y="240"/>
                  </a:cubicBezTo>
                  <a:cubicBezTo>
                    <a:pt x="1171" y="240"/>
                    <a:pt x="1168" y="223"/>
                    <a:pt x="1168" y="220"/>
                  </a:cubicBezTo>
                  <a:close/>
                  <a:moveTo>
                    <a:pt x="1182" y="262"/>
                  </a:moveTo>
                  <a:cubicBezTo>
                    <a:pt x="1185" y="265"/>
                    <a:pt x="1182" y="271"/>
                    <a:pt x="1182" y="274"/>
                  </a:cubicBezTo>
                  <a:cubicBezTo>
                    <a:pt x="1176" y="276"/>
                    <a:pt x="1176" y="271"/>
                    <a:pt x="1171" y="271"/>
                  </a:cubicBezTo>
                  <a:cubicBezTo>
                    <a:pt x="1174" y="268"/>
                    <a:pt x="1176" y="265"/>
                    <a:pt x="1182" y="262"/>
                  </a:cubicBezTo>
                  <a:close/>
                  <a:moveTo>
                    <a:pt x="1176" y="259"/>
                  </a:moveTo>
                  <a:cubicBezTo>
                    <a:pt x="1174" y="257"/>
                    <a:pt x="1176" y="257"/>
                    <a:pt x="1176" y="259"/>
                  </a:cubicBezTo>
                  <a:cubicBezTo>
                    <a:pt x="1176" y="257"/>
                    <a:pt x="1176" y="254"/>
                    <a:pt x="1174" y="254"/>
                  </a:cubicBezTo>
                  <a:cubicBezTo>
                    <a:pt x="1179" y="251"/>
                    <a:pt x="1179" y="259"/>
                    <a:pt x="1179" y="262"/>
                  </a:cubicBezTo>
                  <a:cubicBezTo>
                    <a:pt x="1179" y="259"/>
                    <a:pt x="1176" y="259"/>
                    <a:pt x="1176" y="259"/>
                  </a:cubicBezTo>
                  <a:close/>
                  <a:moveTo>
                    <a:pt x="1176" y="259"/>
                  </a:moveTo>
                  <a:cubicBezTo>
                    <a:pt x="1174" y="259"/>
                    <a:pt x="1171" y="262"/>
                    <a:pt x="1176" y="259"/>
                  </a:cubicBezTo>
                  <a:close/>
                  <a:moveTo>
                    <a:pt x="1157" y="135"/>
                  </a:moveTo>
                  <a:cubicBezTo>
                    <a:pt x="1159" y="127"/>
                    <a:pt x="1162" y="144"/>
                    <a:pt x="1157" y="135"/>
                  </a:cubicBezTo>
                  <a:close/>
                  <a:moveTo>
                    <a:pt x="1159" y="2594"/>
                  </a:moveTo>
                  <a:cubicBezTo>
                    <a:pt x="1179" y="2605"/>
                    <a:pt x="1145" y="2614"/>
                    <a:pt x="1159" y="2594"/>
                  </a:cubicBezTo>
                  <a:close/>
                  <a:moveTo>
                    <a:pt x="1148" y="299"/>
                  </a:moveTo>
                  <a:cubicBezTo>
                    <a:pt x="1146" y="298"/>
                    <a:pt x="1144" y="298"/>
                    <a:pt x="1143" y="299"/>
                  </a:cubicBezTo>
                  <a:cubicBezTo>
                    <a:pt x="1143" y="301"/>
                    <a:pt x="1141" y="303"/>
                    <a:pt x="1140" y="300"/>
                  </a:cubicBezTo>
                  <a:cubicBezTo>
                    <a:pt x="1139" y="300"/>
                    <a:pt x="1137" y="300"/>
                    <a:pt x="1134" y="299"/>
                  </a:cubicBezTo>
                  <a:cubicBezTo>
                    <a:pt x="1134" y="293"/>
                    <a:pt x="1148" y="293"/>
                    <a:pt x="1148" y="299"/>
                  </a:cubicBezTo>
                  <a:close/>
                  <a:moveTo>
                    <a:pt x="1131" y="2526"/>
                  </a:moveTo>
                  <a:cubicBezTo>
                    <a:pt x="1131" y="2521"/>
                    <a:pt x="1143" y="2529"/>
                    <a:pt x="1131" y="2526"/>
                  </a:cubicBezTo>
                  <a:close/>
                  <a:moveTo>
                    <a:pt x="1143" y="34"/>
                  </a:moveTo>
                  <a:lnTo>
                    <a:pt x="1143" y="42"/>
                  </a:lnTo>
                  <a:cubicBezTo>
                    <a:pt x="1140" y="42"/>
                    <a:pt x="1140" y="39"/>
                    <a:pt x="1137" y="39"/>
                  </a:cubicBezTo>
                  <a:cubicBezTo>
                    <a:pt x="1134" y="39"/>
                    <a:pt x="1140" y="37"/>
                    <a:pt x="1143" y="34"/>
                  </a:cubicBezTo>
                  <a:close/>
                  <a:moveTo>
                    <a:pt x="1140" y="62"/>
                  </a:moveTo>
                  <a:cubicBezTo>
                    <a:pt x="1151" y="65"/>
                    <a:pt x="1134" y="73"/>
                    <a:pt x="1126" y="76"/>
                  </a:cubicBezTo>
                  <a:cubicBezTo>
                    <a:pt x="1123" y="68"/>
                    <a:pt x="1143" y="70"/>
                    <a:pt x="1140" y="62"/>
                  </a:cubicBezTo>
                  <a:close/>
                  <a:moveTo>
                    <a:pt x="1134" y="130"/>
                  </a:moveTo>
                  <a:cubicBezTo>
                    <a:pt x="1131" y="130"/>
                    <a:pt x="1128" y="127"/>
                    <a:pt x="1126" y="124"/>
                  </a:cubicBezTo>
                  <a:cubicBezTo>
                    <a:pt x="1131" y="124"/>
                    <a:pt x="1134" y="127"/>
                    <a:pt x="1134" y="130"/>
                  </a:cubicBezTo>
                  <a:close/>
                  <a:moveTo>
                    <a:pt x="1137" y="282"/>
                  </a:moveTo>
                  <a:cubicBezTo>
                    <a:pt x="1137" y="288"/>
                    <a:pt x="1131" y="290"/>
                    <a:pt x="1126" y="290"/>
                  </a:cubicBezTo>
                  <a:cubicBezTo>
                    <a:pt x="1128" y="288"/>
                    <a:pt x="1131" y="282"/>
                    <a:pt x="1137" y="282"/>
                  </a:cubicBezTo>
                  <a:close/>
                  <a:moveTo>
                    <a:pt x="1140" y="2639"/>
                  </a:moveTo>
                  <a:cubicBezTo>
                    <a:pt x="1132" y="2639"/>
                    <a:pt x="1127" y="2637"/>
                    <a:pt x="1125" y="2635"/>
                  </a:cubicBezTo>
                  <a:cubicBezTo>
                    <a:pt x="1124" y="2635"/>
                    <a:pt x="1122" y="2634"/>
                    <a:pt x="1120" y="2634"/>
                  </a:cubicBezTo>
                  <a:cubicBezTo>
                    <a:pt x="1114" y="2631"/>
                    <a:pt x="1112" y="2628"/>
                    <a:pt x="1112" y="2625"/>
                  </a:cubicBezTo>
                  <a:cubicBezTo>
                    <a:pt x="1114" y="2625"/>
                    <a:pt x="1117" y="2625"/>
                    <a:pt x="1120" y="2628"/>
                  </a:cubicBezTo>
                  <a:lnTo>
                    <a:pt x="1123" y="2631"/>
                  </a:lnTo>
                  <a:cubicBezTo>
                    <a:pt x="1122" y="2624"/>
                    <a:pt x="1134" y="2618"/>
                    <a:pt x="1140" y="2639"/>
                  </a:cubicBezTo>
                  <a:close/>
                  <a:moveTo>
                    <a:pt x="1140" y="2605"/>
                  </a:moveTo>
                  <a:cubicBezTo>
                    <a:pt x="1143" y="2603"/>
                    <a:pt x="1143" y="2605"/>
                    <a:pt x="1140" y="2605"/>
                  </a:cubicBezTo>
                  <a:close/>
                  <a:moveTo>
                    <a:pt x="1117" y="141"/>
                  </a:moveTo>
                  <a:cubicBezTo>
                    <a:pt x="1120" y="135"/>
                    <a:pt x="1128" y="144"/>
                    <a:pt x="1117" y="141"/>
                  </a:cubicBezTo>
                  <a:close/>
                  <a:moveTo>
                    <a:pt x="1109" y="2532"/>
                  </a:moveTo>
                  <a:cubicBezTo>
                    <a:pt x="1128" y="2532"/>
                    <a:pt x="1106" y="2574"/>
                    <a:pt x="1123" y="2574"/>
                  </a:cubicBezTo>
                  <a:cubicBezTo>
                    <a:pt x="1103" y="2594"/>
                    <a:pt x="1097" y="2543"/>
                    <a:pt x="1109" y="2532"/>
                  </a:cubicBezTo>
                  <a:close/>
                  <a:moveTo>
                    <a:pt x="1117" y="2586"/>
                  </a:moveTo>
                  <a:cubicBezTo>
                    <a:pt x="1117" y="2588"/>
                    <a:pt x="1112" y="2591"/>
                    <a:pt x="1109" y="2591"/>
                  </a:cubicBezTo>
                  <a:cubicBezTo>
                    <a:pt x="1112" y="2588"/>
                    <a:pt x="1114" y="2586"/>
                    <a:pt x="1117" y="2586"/>
                  </a:cubicBezTo>
                  <a:close/>
                  <a:moveTo>
                    <a:pt x="1083" y="1618"/>
                  </a:moveTo>
                  <a:cubicBezTo>
                    <a:pt x="1069" y="1604"/>
                    <a:pt x="1109" y="1610"/>
                    <a:pt x="1083" y="1618"/>
                  </a:cubicBezTo>
                  <a:close/>
                  <a:moveTo>
                    <a:pt x="1089" y="2541"/>
                  </a:moveTo>
                  <a:cubicBezTo>
                    <a:pt x="1086" y="2546"/>
                    <a:pt x="1092" y="2538"/>
                    <a:pt x="1089" y="2541"/>
                  </a:cubicBezTo>
                  <a:close/>
                  <a:moveTo>
                    <a:pt x="1078" y="2732"/>
                  </a:moveTo>
                  <a:cubicBezTo>
                    <a:pt x="1080" y="2727"/>
                    <a:pt x="1089" y="2735"/>
                    <a:pt x="1078" y="2732"/>
                  </a:cubicBezTo>
                  <a:close/>
                  <a:moveTo>
                    <a:pt x="1078" y="1663"/>
                  </a:moveTo>
                  <a:lnTo>
                    <a:pt x="1079" y="1663"/>
                  </a:lnTo>
                  <a:cubicBezTo>
                    <a:pt x="1078" y="1664"/>
                    <a:pt x="1076" y="1665"/>
                    <a:pt x="1078" y="1663"/>
                  </a:cubicBezTo>
                  <a:cubicBezTo>
                    <a:pt x="1080" y="1662"/>
                    <a:pt x="1080" y="1663"/>
                    <a:pt x="1079" y="1663"/>
                  </a:cubicBezTo>
                  <a:lnTo>
                    <a:pt x="1078" y="1663"/>
                  </a:lnTo>
                  <a:close/>
                  <a:moveTo>
                    <a:pt x="1092" y="1584"/>
                  </a:moveTo>
                  <a:cubicBezTo>
                    <a:pt x="1086" y="1581"/>
                    <a:pt x="1086" y="1579"/>
                    <a:pt x="1086" y="1576"/>
                  </a:cubicBezTo>
                  <a:cubicBezTo>
                    <a:pt x="1085" y="1576"/>
                    <a:pt x="1084" y="1576"/>
                    <a:pt x="1083" y="1577"/>
                  </a:cubicBezTo>
                  <a:cubicBezTo>
                    <a:pt x="1082" y="1579"/>
                    <a:pt x="1077" y="1579"/>
                    <a:pt x="1075" y="1579"/>
                  </a:cubicBezTo>
                  <a:cubicBezTo>
                    <a:pt x="1075" y="1576"/>
                    <a:pt x="1075" y="1573"/>
                    <a:pt x="1078" y="1573"/>
                  </a:cubicBezTo>
                  <a:lnTo>
                    <a:pt x="1075" y="1573"/>
                  </a:lnTo>
                  <a:cubicBezTo>
                    <a:pt x="1078" y="1567"/>
                    <a:pt x="1086" y="1567"/>
                    <a:pt x="1089" y="1562"/>
                  </a:cubicBezTo>
                  <a:cubicBezTo>
                    <a:pt x="1095" y="1565"/>
                    <a:pt x="1095" y="1570"/>
                    <a:pt x="1095" y="1573"/>
                  </a:cubicBezTo>
                  <a:cubicBezTo>
                    <a:pt x="1095" y="1573"/>
                    <a:pt x="1097" y="1576"/>
                    <a:pt x="1092" y="1584"/>
                  </a:cubicBezTo>
                  <a:close/>
                  <a:moveTo>
                    <a:pt x="1052" y="2656"/>
                  </a:moveTo>
                  <a:cubicBezTo>
                    <a:pt x="1055" y="2653"/>
                    <a:pt x="1061" y="2648"/>
                    <a:pt x="1064" y="2651"/>
                  </a:cubicBezTo>
                  <a:cubicBezTo>
                    <a:pt x="1064" y="2656"/>
                    <a:pt x="1058" y="2656"/>
                    <a:pt x="1052" y="2656"/>
                  </a:cubicBezTo>
                  <a:close/>
                  <a:moveTo>
                    <a:pt x="1052" y="2698"/>
                  </a:moveTo>
                  <a:cubicBezTo>
                    <a:pt x="1055" y="2693"/>
                    <a:pt x="1064" y="2701"/>
                    <a:pt x="1052" y="2698"/>
                  </a:cubicBezTo>
                  <a:close/>
                  <a:moveTo>
                    <a:pt x="1055" y="1691"/>
                  </a:moveTo>
                  <a:lnTo>
                    <a:pt x="1055" y="1690"/>
                  </a:lnTo>
                  <a:cubicBezTo>
                    <a:pt x="1063" y="1687"/>
                    <a:pt x="1076" y="1683"/>
                    <a:pt x="1055" y="1691"/>
                  </a:cubicBezTo>
                  <a:cubicBezTo>
                    <a:pt x="1048" y="1694"/>
                    <a:pt x="1050" y="1692"/>
                    <a:pt x="1055" y="1690"/>
                  </a:cubicBezTo>
                  <a:lnTo>
                    <a:pt x="1055" y="1691"/>
                  </a:lnTo>
                  <a:close/>
                  <a:moveTo>
                    <a:pt x="1052" y="2560"/>
                  </a:moveTo>
                  <a:cubicBezTo>
                    <a:pt x="1064" y="2563"/>
                    <a:pt x="1044" y="2572"/>
                    <a:pt x="1052" y="2560"/>
                  </a:cubicBezTo>
                  <a:close/>
                  <a:moveTo>
                    <a:pt x="1030" y="1660"/>
                  </a:moveTo>
                  <a:cubicBezTo>
                    <a:pt x="1047" y="1649"/>
                    <a:pt x="1033" y="1694"/>
                    <a:pt x="1030" y="1660"/>
                  </a:cubicBezTo>
                  <a:close/>
                  <a:moveTo>
                    <a:pt x="1033" y="1756"/>
                  </a:moveTo>
                  <a:cubicBezTo>
                    <a:pt x="1030" y="1756"/>
                    <a:pt x="1035" y="1751"/>
                    <a:pt x="1033" y="1756"/>
                  </a:cubicBezTo>
                  <a:close/>
                  <a:moveTo>
                    <a:pt x="1044" y="1463"/>
                  </a:moveTo>
                  <a:cubicBezTo>
                    <a:pt x="1030" y="1457"/>
                    <a:pt x="1058" y="1444"/>
                    <a:pt x="1044" y="1463"/>
                  </a:cubicBezTo>
                  <a:close/>
                  <a:moveTo>
                    <a:pt x="1044" y="1497"/>
                  </a:moveTo>
                  <a:cubicBezTo>
                    <a:pt x="1047" y="1497"/>
                    <a:pt x="1049" y="1502"/>
                    <a:pt x="1055" y="1502"/>
                  </a:cubicBezTo>
                  <a:lnTo>
                    <a:pt x="1055" y="1508"/>
                  </a:lnTo>
                  <a:cubicBezTo>
                    <a:pt x="1060" y="1512"/>
                    <a:pt x="1063" y="1516"/>
                    <a:pt x="1064" y="1521"/>
                  </a:cubicBezTo>
                  <a:cubicBezTo>
                    <a:pt x="1065" y="1518"/>
                    <a:pt x="1074" y="1525"/>
                    <a:pt x="1064" y="1522"/>
                  </a:cubicBezTo>
                  <a:cubicBezTo>
                    <a:pt x="1064" y="1525"/>
                    <a:pt x="1063" y="1528"/>
                    <a:pt x="1061" y="1531"/>
                  </a:cubicBezTo>
                  <a:lnTo>
                    <a:pt x="1058" y="1533"/>
                  </a:lnTo>
                  <a:cubicBezTo>
                    <a:pt x="1058" y="1533"/>
                    <a:pt x="1058" y="1531"/>
                    <a:pt x="1055" y="1531"/>
                  </a:cubicBezTo>
                  <a:cubicBezTo>
                    <a:pt x="1058" y="1536"/>
                    <a:pt x="1055" y="1542"/>
                    <a:pt x="1052" y="1545"/>
                  </a:cubicBezTo>
                  <a:cubicBezTo>
                    <a:pt x="1041" y="1545"/>
                    <a:pt x="1049" y="1531"/>
                    <a:pt x="1041" y="1528"/>
                  </a:cubicBezTo>
                  <a:cubicBezTo>
                    <a:pt x="1038" y="1525"/>
                    <a:pt x="1035" y="1525"/>
                    <a:pt x="1035" y="1522"/>
                  </a:cubicBezTo>
                  <a:cubicBezTo>
                    <a:pt x="1024" y="1525"/>
                    <a:pt x="1024" y="1517"/>
                    <a:pt x="1030" y="1517"/>
                  </a:cubicBezTo>
                  <a:cubicBezTo>
                    <a:pt x="1030" y="1511"/>
                    <a:pt x="1030" y="1508"/>
                    <a:pt x="1035" y="1502"/>
                  </a:cubicBezTo>
                  <a:cubicBezTo>
                    <a:pt x="1038" y="1502"/>
                    <a:pt x="1041" y="1502"/>
                    <a:pt x="1041" y="1505"/>
                  </a:cubicBezTo>
                  <a:cubicBezTo>
                    <a:pt x="1041" y="1504"/>
                    <a:pt x="1041" y="1502"/>
                    <a:pt x="1042" y="1500"/>
                  </a:cubicBezTo>
                  <a:cubicBezTo>
                    <a:pt x="1040" y="1501"/>
                    <a:pt x="1037" y="1502"/>
                    <a:pt x="1035" y="1502"/>
                  </a:cubicBezTo>
                  <a:cubicBezTo>
                    <a:pt x="1035" y="1497"/>
                    <a:pt x="1041" y="1497"/>
                    <a:pt x="1044" y="1497"/>
                  </a:cubicBezTo>
                  <a:close/>
                  <a:moveTo>
                    <a:pt x="1041" y="1348"/>
                  </a:moveTo>
                  <a:cubicBezTo>
                    <a:pt x="1038" y="1343"/>
                    <a:pt x="1052" y="1348"/>
                    <a:pt x="1052" y="1343"/>
                  </a:cubicBezTo>
                  <a:cubicBezTo>
                    <a:pt x="1058" y="1343"/>
                    <a:pt x="1055" y="1354"/>
                    <a:pt x="1052" y="1357"/>
                  </a:cubicBezTo>
                  <a:cubicBezTo>
                    <a:pt x="1047" y="1357"/>
                    <a:pt x="1047" y="1348"/>
                    <a:pt x="1041" y="1348"/>
                  </a:cubicBezTo>
                  <a:close/>
                  <a:moveTo>
                    <a:pt x="1041" y="1227"/>
                  </a:moveTo>
                  <a:cubicBezTo>
                    <a:pt x="1041" y="1224"/>
                    <a:pt x="1049" y="1224"/>
                    <a:pt x="1049" y="1221"/>
                  </a:cubicBezTo>
                  <a:cubicBezTo>
                    <a:pt x="1055" y="1227"/>
                    <a:pt x="1047" y="1230"/>
                    <a:pt x="1041" y="1227"/>
                  </a:cubicBezTo>
                  <a:close/>
                  <a:moveTo>
                    <a:pt x="1030" y="1408"/>
                  </a:moveTo>
                  <a:cubicBezTo>
                    <a:pt x="1033" y="1405"/>
                    <a:pt x="1038" y="1402"/>
                    <a:pt x="1041" y="1399"/>
                  </a:cubicBezTo>
                  <a:cubicBezTo>
                    <a:pt x="1052" y="1405"/>
                    <a:pt x="1033" y="1422"/>
                    <a:pt x="1030" y="1408"/>
                  </a:cubicBezTo>
                  <a:close/>
                  <a:moveTo>
                    <a:pt x="1033" y="1457"/>
                  </a:moveTo>
                  <a:cubicBezTo>
                    <a:pt x="1021" y="1457"/>
                    <a:pt x="1035" y="1444"/>
                    <a:pt x="1033" y="1457"/>
                  </a:cubicBezTo>
                  <a:close/>
                  <a:moveTo>
                    <a:pt x="1033" y="1267"/>
                  </a:moveTo>
                  <a:cubicBezTo>
                    <a:pt x="1033" y="1261"/>
                    <a:pt x="1041" y="1261"/>
                    <a:pt x="1044" y="1264"/>
                  </a:cubicBezTo>
                  <a:cubicBezTo>
                    <a:pt x="1041" y="1267"/>
                    <a:pt x="1035" y="1267"/>
                    <a:pt x="1033" y="1267"/>
                  </a:cubicBezTo>
                  <a:close/>
                  <a:moveTo>
                    <a:pt x="1041" y="1275"/>
                  </a:moveTo>
                  <a:cubicBezTo>
                    <a:pt x="1041" y="1281"/>
                    <a:pt x="1033" y="1283"/>
                    <a:pt x="1030" y="1281"/>
                  </a:cubicBezTo>
                  <a:cubicBezTo>
                    <a:pt x="1030" y="1278"/>
                    <a:pt x="1035" y="1275"/>
                    <a:pt x="1041" y="1275"/>
                  </a:cubicBezTo>
                  <a:close/>
                  <a:moveTo>
                    <a:pt x="1033" y="1207"/>
                  </a:moveTo>
                  <a:cubicBezTo>
                    <a:pt x="1033" y="1210"/>
                    <a:pt x="1030" y="1213"/>
                    <a:pt x="1030" y="1213"/>
                  </a:cubicBezTo>
                  <a:cubicBezTo>
                    <a:pt x="1027" y="1213"/>
                    <a:pt x="1027" y="1210"/>
                    <a:pt x="1024" y="1210"/>
                  </a:cubicBezTo>
                  <a:cubicBezTo>
                    <a:pt x="1021" y="1210"/>
                    <a:pt x="1018" y="1202"/>
                    <a:pt x="1021" y="1190"/>
                  </a:cubicBezTo>
                  <a:cubicBezTo>
                    <a:pt x="1033" y="1196"/>
                    <a:pt x="1035" y="1204"/>
                    <a:pt x="1033" y="1207"/>
                  </a:cubicBezTo>
                  <a:close/>
                  <a:moveTo>
                    <a:pt x="1027" y="1244"/>
                  </a:moveTo>
                  <a:cubicBezTo>
                    <a:pt x="1041" y="1250"/>
                    <a:pt x="1016" y="1264"/>
                    <a:pt x="1027" y="1244"/>
                  </a:cubicBezTo>
                  <a:close/>
                  <a:moveTo>
                    <a:pt x="1083" y="1439"/>
                  </a:moveTo>
                  <a:cubicBezTo>
                    <a:pt x="1080" y="1444"/>
                    <a:pt x="1078" y="1450"/>
                    <a:pt x="1078" y="1456"/>
                  </a:cubicBezTo>
                  <a:cubicBezTo>
                    <a:pt x="1066" y="1453"/>
                    <a:pt x="1066" y="1447"/>
                    <a:pt x="1058" y="1441"/>
                  </a:cubicBezTo>
                  <a:cubicBezTo>
                    <a:pt x="1061" y="1436"/>
                    <a:pt x="1064" y="1439"/>
                    <a:pt x="1064" y="1441"/>
                  </a:cubicBezTo>
                  <a:cubicBezTo>
                    <a:pt x="1069" y="1441"/>
                    <a:pt x="1072" y="1436"/>
                    <a:pt x="1083" y="1439"/>
                  </a:cubicBezTo>
                  <a:close/>
                  <a:moveTo>
                    <a:pt x="1072" y="1410"/>
                  </a:moveTo>
                  <a:cubicBezTo>
                    <a:pt x="1072" y="1413"/>
                    <a:pt x="1061" y="1413"/>
                    <a:pt x="1064" y="1408"/>
                  </a:cubicBezTo>
                  <a:cubicBezTo>
                    <a:pt x="1069" y="1408"/>
                    <a:pt x="1072" y="1410"/>
                    <a:pt x="1072" y="1410"/>
                  </a:cubicBezTo>
                  <a:close/>
                  <a:moveTo>
                    <a:pt x="1069" y="1241"/>
                  </a:moveTo>
                  <a:cubicBezTo>
                    <a:pt x="1066" y="1244"/>
                    <a:pt x="1075" y="1238"/>
                    <a:pt x="1069" y="1241"/>
                  </a:cubicBezTo>
                  <a:close/>
                  <a:moveTo>
                    <a:pt x="1078" y="1320"/>
                  </a:moveTo>
                  <a:cubicBezTo>
                    <a:pt x="1092" y="1326"/>
                    <a:pt x="1066" y="1340"/>
                    <a:pt x="1078" y="1320"/>
                  </a:cubicBezTo>
                  <a:close/>
                  <a:moveTo>
                    <a:pt x="1078" y="1408"/>
                  </a:moveTo>
                  <a:cubicBezTo>
                    <a:pt x="1075" y="1408"/>
                    <a:pt x="1080" y="1405"/>
                    <a:pt x="1078" y="1408"/>
                  </a:cubicBezTo>
                  <a:close/>
                  <a:moveTo>
                    <a:pt x="1078" y="1252"/>
                  </a:moveTo>
                  <a:cubicBezTo>
                    <a:pt x="1083" y="1252"/>
                    <a:pt x="1075" y="1255"/>
                    <a:pt x="1078" y="1252"/>
                  </a:cubicBezTo>
                  <a:close/>
                  <a:moveTo>
                    <a:pt x="1083" y="1457"/>
                  </a:moveTo>
                  <a:lnTo>
                    <a:pt x="1078" y="1457"/>
                  </a:lnTo>
                  <a:cubicBezTo>
                    <a:pt x="1078" y="1455"/>
                    <a:pt x="1080" y="1455"/>
                    <a:pt x="1083" y="1455"/>
                  </a:cubicBezTo>
                  <a:lnTo>
                    <a:pt x="1083" y="1457"/>
                  </a:lnTo>
                  <a:close/>
                  <a:moveTo>
                    <a:pt x="1080" y="1508"/>
                  </a:moveTo>
                  <a:cubicBezTo>
                    <a:pt x="1078" y="1508"/>
                    <a:pt x="1078" y="1500"/>
                    <a:pt x="1078" y="1494"/>
                  </a:cubicBezTo>
                  <a:cubicBezTo>
                    <a:pt x="1083" y="1494"/>
                    <a:pt x="1080" y="1508"/>
                    <a:pt x="1080" y="1508"/>
                  </a:cubicBezTo>
                  <a:close/>
                  <a:moveTo>
                    <a:pt x="1089" y="1528"/>
                  </a:moveTo>
                  <a:cubicBezTo>
                    <a:pt x="1089" y="1531"/>
                    <a:pt x="1086" y="1533"/>
                    <a:pt x="1080" y="1533"/>
                  </a:cubicBezTo>
                  <a:lnTo>
                    <a:pt x="1078" y="1533"/>
                  </a:lnTo>
                  <a:cubicBezTo>
                    <a:pt x="1078" y="1533"/>
                    <a:pt x="1078" y="1531"/>
                    <a:pt x="1075" y="1531"/>
                  </a:cubicBezTo>
                  <a:cubicBezTo>
                    <a:pt x="1078" y="1528"/>
                    <a:pt x="1083" y="1525"/>
                    <a:pt x="1089" y="1528"/>
                  </a:cubicBezTo>
                  <a:close/>
                  <a:moveTo>
                    <a:pt x="1078" y="1145"/>
                  </a:moveTo>
                  <a:cubicBezTo>
                    <a:pt x="1080" y="1140"/>
                    <a:pt x="1089" y="1148"/>
                    <a:pt x="1078" y="1145"/>
                  </a:cubicBezTo>
                  <a:close/>
                  <a:moveTo>
                    <a:pt x="1072" y="795"/>
                  </a:moveTo>
                  <a:cubicBezTo>
                    <a:pt x="1058" y="776"/>
                    <a:pt x="1095" y="793"/>
                    <a:pt x="1072" y="795"/>
                  </a:cubicBezTo>
                  <a:close/>
                  <a:moveTo>
                    <a:pt x="1058" y="1477"/>
                  </a:moveTo>
                  <a:cubicBezTo>
                    <a:pt x="1066" y="1480"/>
                    <a:pt x="1055" y="1491"/>
                    <a:pt x="1058" y="1477"/>
                  </a:cubicBezTo>
                  <a:close/>
                  <a:moveTo>
                    <a:pt x="1066" y="1627"/>
                  </a:moveTo>
                  <a:cubicBezTo>
                    <a:pt x="1066" y="1629"/>
                    <a:pt x="1061" y="1632"/>
                    <a:pt x="1055" y="1629"/>
                  </a:cubicBezTo>
                  <a:cubicBezTo>
                    <a:pt x="1055" y="1627"/>
                    <a:pt x="1055" y="1624"/>
                    <a:pt x="1058" y="1624"/>
                  </a:cubicBezTo>
                  <a:cubicBezTo>
                    <a:pt x="1061" y="1624"/>
                    <a:pt x="1064" y="1624"/>
                    <a:pt x="1066" y="1627"/>
                  </a:cubicBezTo>
                  <a:close/>
                  <a:moveTo>
                    <a:pt x="1047" y="1629"/>
                  </a:moveTo>
                  <a:cubicBezTo>
                    <a:pt x="1047" y="1624"/>
                    <a:pt x="1058" y="1632"/>
                    <a:pt x="1047" y="1629"/>
                  </a:cubicBezTo>
                  <a:close/>
                  <a:moveTo>
                    <a:pt x="1049" y="1610"/>
                  </a:moveTo>
                  <a:cubicBezTo>
                    <a:pt x="1047" y="1612"/>
                    <a:pt x="1055" y="1607"/>
                    <a:pt x="1049" y="1610"/>
                  </a:cubicBezTo>
                  <a:close/>
                  <a:moveTo>
                    <a:pt x="1035" y="1652"/>
                  </a:moveTo>
                  <a:cubicBezTo>
                    <a:pt x="1028" y="1652"/>
                    <a:pt x="1029" y="1644"/>
                    <a:pt x="1035" y="1643"/>
                  </a:cubicBezTo>
                  <a:cubicBezTo>
                    <a:pt x="1032" y="1640"/>
                    <a:pt x="1030" y="1638"/>
                    <a:pt x="1030" y="1632"/>
                  </a:cubicBezTo>
                  <a:cubicBezTo>
                    <a:pt x="1033" y="1632"/>
                    <a:pt x="1035" y="1632"/>
                    <a:pt x="1038" y="1635"/>
                  </a:cubicBezTo>
                  <a:cubicBezTo>
                    <a:pt x="1038" y="1639"/>
                    <a:pt x="1036" y="1642"/>
                    <a:pt x="1036" y="1643"/>
                  </a:cubicBezTo>
                  <a:cubicBezTo>
                    <a:pt x="1036" y="1643"/>
                    <a:pt x="1037" y="1643"/>
                    <a:pt x="1038" y="1643"/>
                  </a:cubicBezTo>
                  <a:cubicBezTo>
                    <a:pt x="1035" y="1649"/>
                    <a:pt x="1041" y="1649"/>
                    <a:pt x="1035" y="1652"/>
                  </a:cubicBezTo>
                  <a:close/>
                  <a:moveTo>
                    <a:pt x="1041" y="1615"/>
                  </a:moveTo>
                  <a:cubicBezTo>
                    <a:pt x="1052" y="1627"/>
                    <a:pt x="1027" y="1641"/>
                    <a:pt x="1041" y="1615"/>
                  </a:cubicBezTo>
                  <a:close/>
                  <a:moveTo>
                    <a:pt x="1035" y="1584"/>
                  </a:moveTo>
                  <a:cubicBezTo>
                    <a:pt x="1041" y="1584"/>
                    <a:pt x="1038" y="1601"/>
                    <a:pt x="1030" y="1598"/>
                  </a:cubicBezTo>
                  <a:cubicBezTo>
                    <a:pt x="1030" y="1590"/>
                    <a:pt x="1038" y="1593"/>
                    <a:pt x="1035" y="1584"/>
                  </a:cubicBezTo>
                  <a:close/>
                  <a:moveTo>
                    <a:pt x="1038" y="1725"/>
                  </a:moveTo>
                  <a:cubicBezTo>
                    <a:pt x="1047" y="1722"/>
                    <a:pt x="1038" y="1734"/>
                    <a:pt x="1047" y="1734"/>
                  </a:cubicBezTo>
                  <a:cubicBezTo>
                    <a:pt x="1047" y="1739"/>
                    <a:pt x="1035" y="1737"/>
                    <a:pt x="1035" y="1734"/>
                  </a:cubicBezTo>
                  <a:cubicBezTo>
                    <a:pt x="1035" y="1731"/>
                    <a:pt x="1041" y="1731"/>
                    <a:pt x="1038" y="1725"/>
                  </a:cubicBezTo>
                  <a:close/>
                  <a:moveTo>
                    <a:pt x="1038" y="1677"/>
                  </a:moveTo>
                  <a:cubicBezTo>
                    <a:pt x="1035" y="1675"/>
                    <a:pt x="1044" y="1669"/>
                    <a:pt x="1047" y="1666"/>
                  </a:cubicBezTo>
                  <a:cubicBezTo>
                    <a:pt x="1049" y="1669"/>
                    <a:pt x="1044" y="1680"/>
                    <a:pt x="1038" y="1677"/>
                  </a:cubicBezTo>
                  <a:close/>
                  <a:moveTo>
                    <a:pt x="1041" y="1649"/>
                  </a:moveTo>
                  <a:cubicBezTo>
                    <a:pt x="1041" y="1646"/>
                    <a:pt x="1038" y="1643"/>
                    <a:pt x="1041" y="1641"/>
                  </a:cubicBezTo>
                  <a:cubicBezTo>
                    <a:pt x="1044" y="1641"/>
                    <a:pt x="1047" y="1643"/>
                    <a:pt x="1047" y="1643"/>
                  </a:cubicBezTo>
                  <a:cubicBezTo>
                    <a:pt x="1049" y="1643"/>
                    <a:pt x="1049" y="1641"/>
                    <a:pt x="1049" y="1638"/>
                  </a:cubicBezTo>
                  <a:cubicBezTo>
                    <a:pt x="1052" y="1638"/>
                    <a:pt x="1052" y="1643"/>
                    <a:pt x="1058" y="1643"/>
                  </a:cubicBezTo>
                  <a:cubicBezTo>
                    <a:pt x="1055" y="1652"/>
                    <a:pt x="1047" y="1649"/>
                    <a:pt x="1041" y="1649"/>
                  </a:cubicBezTo>
                  <a:close/>
                  <a:moveTo>
                    <a:pt x="1058" y="1714"/>
                  </a:moveTo>
                  <a:cubicBezTo>
                    <a:pt x="1066" y="1708"/>
                    <a:pt x="1055" y="1722"/>
                    <a:pt x="1058" y="1714"/>
                  </a:cubicBezTo>
                  <a:close/>
                  <a:moveTo>
                    <a:pt x="1061" y="2532"/>
                  </a:moveTo>
                  <a:cubicBezTo>
                    <a:pt x="1078" y="2535"/>
                    <a:pt x="1058" y="2560"/>
                    <a:pt x="1061" y="2532"/>
                  </a:cubicBezTo>
                  <a:close/>
                  <a:moveTo>
                    <a:pt x="1066" y="1559"/>
                  </a:moveTo>
                  <a:cubicBezTo>
                    <a:pt x="1049" y="1539"/>
                    <a:pt x="1086" y="1559"/>
                    <a:pt x="1066" y="1559"/>
                  </a:cubicBezTo>
                  <a:close/>
                  <a:moveTo>
                    <a:pt x="1069" y="2555"/>
                  </a:moveTo>
                  <a:cubicBezTo>
                    <a:pt x="1069" y="2555"/>
                    <a:pt x="1072" y="2557"/>
                    <a:pt x="1069" y="2560"/>
                  </a:cubicBezTo>
                  <a:lnTo>
                    <a:pt x="1066" y="2560"/>
                  </a:lnTo>
                  <a:cubicBezTo>
                    <a:pt x="1069" y="2557"/>
                    <a:pt x="1066" y="2557"/>
                    <a:pt x="1069" y="2555"/>
                  </a:cubicBezTo>
                  <a:close/>
                  <a:moveTo>
                    <a:pt x="1075" y="2642"/>
                  </a:moveTo>
                  <a:cubicBezTo>
                    <a:pt x="1075" y="2645"/>
                    <a:pt x="1069" y="2648"/>
                    <a:pt x="1066" y="2648"/>
                  </a:cubicBezTo>
                  <a:cubicBezTo>
                    <a:pt x="1069" y="2645"/>
                    <a:pt x="1072" y="2642"/>
                    <a:pt x="1075" y="2642"/>
                  </a:cubicBezTo>
                  <a:close/>
                  <a:moveTo>
                    <a:pt x="1072" y="2665"/>
                  </a:moveTo>
                  <a:cubicBezTo>
                    <a:pt x="1072" y="2659"/>
                    <a:pt x="1080" y="2667"/>
                    <a:pt x="1072" y="2665"/>
                  </a:cubicBezTo>
                  <a:close/>
                  <a:moveTo>
                    <a:pt x="1103" y="1505"/>
                  </a:moveTo>
                  <a:cubicBezTo>
                    <a:pt x="1117" y="1517"/>
                    <a:pt x="1078" y="1514"/>
                    <a:pt x="1103" y="1505"/>
                  </a:cubicBezTo>
                  <a:close/>
                  <a:moveTo>
                    <a:pt x="1097" y="1457"/>
                  </a:moveTo>
                  <a:cubicBezTo>
                    <a:pt x="1080" y="1444"/>
                    <a:pt x="1120" y="1450"/>
                    <a:pt x="1097" y="1457"/>
                  </a:cubicBezTo>
                  <a:close/>
                  <a:moveTo>
                    <a:pt x="1100" y="1125"/>
                  </a:moveTo>
                  <a:cubicBezTo>
                    <a:pt x="1114" y="1131"/>
                    <a:pt x="1089" y="1145"/>
                    <a:pt x="1100" y="1125"/>
                  </a:cubicBezTo>
                  <a:close/>
                  <a:moveTo>
                    <a:pt x="1100" y="1474"/>
                  </a:moveTo>
                  <a:cubicBezTo>
                    <a:pt x="1103" y="1474"/>
                    <a:pt x="1097" y="1477"/>
                    <a:pt x="1095" y="1474"/>
                  </a:cubicBezTo>
                  <a:cubicBezTo>
                    <a:pt x="1092" y="1471"/>
                    <a:pt x="1097" y="1474"/>
                    <a:pt x="1100" y="1474"/>
                  </a:cubicBezTo>
                  <a:close/>
                  <a:moveTo>
                    <a:pt x="1112" y="127"/>
                  </a:moveTo>
                  <a:cubicBezTo>
                    <a:pt x="1114" y="121"/>
                    <a:pt x="1126" y="130"/>
                    <a:pt x="1112" y="127"/>
                  </a:cubicBezTo>
                  <a:close/>
                  <a:moveTo>
                    <a:pt x="1117" y="113"/>
                  </a:moveTo>
                  <a:cubicBezTo>
                    <a:pt x="1117" y="107"/>
                    <a:pt x="1126" y="116"/>
                    <a:pt x="1117" y="113"/>
                  </a:cubicBezTo>
                  <a:close/>
                  <a:moveTo>
                    <a:pt x="1112" y="104"/>
                  </a:moveTo>
                  <a:cubicBezTo>
                    <a:pt x="1114" y="96"/>
                    <a:pt x="1123" y="107"/>
                    <a:pt x="1112" y="104"/>
                  </a:cubicBezTo>
                  <a:close/>
                  <a:moveTo>
                    <a:pt x="1095" y="293"/>
                  </a:moveTo>
                  <a:cubicBezTo>
                    <a:pt x="1100" y="293"/>
                    <a:pt x="1103" y="290"/>
                    <a:pt x="1109" y="293"/>
                  </a:cubicBezTo>
                  <a:cubicBezTo>
                    <a:pt x="1112" y="299"/>
                    <a:pt x="1095" y="299"/>
                    <a:pt x="1095" y="293"/>
                  </a:cubicBezTo>
                  <a:close/>
                  <a:moveTo>
                    <a:pt x="1103" y="279"/>
                  </a:moveTo>
                  <a:cubicBezTo>
                    <a:pt x="1103" y="274"/>
                    <a:pt x="1112" y="282"/>
                    <a:pt x="1103" y="279"/>
                  </a:cubicBezTo>
                  <a:close/>
                  <a:moveTo>
                    <a:pt x="1103" y="186"/>
                  </a:moveTo>
                  <a:cubicBezTo>
                    <a:pt x="1103" y="189"/>
                    <a:pt x="1097" y="192"/>
                    <a:pt x="1092" y="192"/>
                  </a:cubicBezTo>
                  <a:cubicBezTo>
                    <a:pt x="1095" y="186"/>
                    <a:pt x="1100" y="186"/>
                    <a:pt x="1103" y="186"/>
                  </a:cubicBezTo>
                  <a:close/>
                  <a:moveTo>
                    <a:pt x="1097" y="1345"/>
                  </a:moveTo>
                  <a:cubicBezTo>
                    <a:pt x="1106" y="1365"/>
                    <a:pt x="1086" y="1331"/>
                    <a:pt x="1097" y="1345"/>
                  </a:cubicBezTo>
                  <a:close/>
                  <a:moveTo>
                    <a:pt x="1092" y="1430"/>
                  </a:moveTo>
                  <a:cubicBezTo>
                    <a:pt x="1089" y="1430"/>
                    <a:pt x="1097" y="1427"/>
                    <a:pt x="1092" y="1430"/>
                  </a:cubicBezTo>
                  <a:close/>
                  <a:moveTo>
                    <a:pt x="1092" y="1502"/>
                  </a:moveTo>
                  <a:cubicBezTo>
                    <a:pt x="1078" y="1497"/>
                    <a:pt x="1106" y="1483"/>
                    <a:pt x="1092" y="1502"/>
                  </a:cubicBezTo>
                  <a:close/>
                  <a:moveTo>
                    <a:pt x="1089" y="73"/>
                  </a:moveTo>
                  <a:cubicBezTo>
                    <a:pt x="1086" y="76"/>
                    <a:pt x="1086" y="82"/>
                    <a:pt x="1080" y="82"/>
                  </a:cubicBezTo>
                  <a:cubicBezTo>
                    <a:pt x="1083" y="76"/>
                    <a:pt x="1086" y="73"/>
                    <a:pt x="1089" y="73"/>
                  </a:cubicBezTo>
                  <a:close/>
                  <a:moveTo>
                    <a:pt x="1075" y="279"/>
                  </a:moveTo>
                  <a:cubicBezTo>
                    <a:pt x="1075" y="274"/>
                    <a:pt x="1086" y="282"/>
                    <a:pt x="1075" y="279"/>
                  </a:cubicBezTo>
                  <a:close/>
                  <a:moveTo>
                    <a:pt x="1078" y="739"/>
                  </a:moveTo>
                  <a:cubicBezTo>
                    <a:pt x="1061" y="725"/>
                    <a:pt x="1100" y="731"/>
                    <a:pt x="1078" y="739"/>
                  </a:cubicBezTo>
                  <a:close/>
                  <a:moveTo>
                    <a:pt x="1069" y="116"/>
                  </a:moveTo>
                  <a:cubicBezTo>
                    <a:pt x="1066" y="110"/>
                    <a:pt x="1078" y="116"/>
                    <a:pt x="1069" y="116"/>
                  </a:cubicBezTo>
                  <a:close/>
                  <a:moveTo>
                    <a:pt x="1064" y="62"/>
                  </a:moveTo>
                  <a:cubicBezTo>
                    <a:pt x="1066" y="56"/>
                    <a:pt x="1072" y="68"/>
                    <a:pt x="1064" y="62"/>
                  </a:cubicBezTo>
                  <a:close/>
                  <a:moveTo>
                    <a:pt x="1072" y="189"/>
                  </a:moveTo>
                  <a:cubicBezTo>
                    <a:pt x="1069" y="189"/>
                    <a:pt x="1066" y="192"/>
                    <a:pt x="1066" y="192"/>
                  </a:cubicBezTo>
                  <a:cubicBezTo>
                    <a:pt x="1061" y="192"/>
                    <a:pt x="1058" y="183"/>
                    <a:pt x="1052" y="183"/>
                  </a:cubicBezTo>
                  <a:cubicBezTo>
                    <a:pt x="1058" y="180"/>
                    <a:pt x="1072" y="183"/>
                    <a:pt x="1072" y="189"/>
                  </a:cubicBezTo>
                  <a:close/>
                  <a:moveTo>
                    <a:pt x="1052" y="62"/>
                  </a:moveTo>
                  <a:cubicBezTo>
                    <a:pt x="1055" y="62"/>
                    <a:pt x="1058" y="65"/>
                    <a:pt x="1061" y="65"/>
                  </a:cubicBezTo>
                  <a:cubicBezTo>
                    <a:pt x="1061" y="68"/>
                    <a:pt x="1049" y="65"/>
                    <a:pt x="1052" y="62"/>
                  </a:cubicBezTo>
                  <a:close/>
                  <a:moveTo>
                    <a:pt x="1058" y="773"/>
                  </a:moveTo>
                  <a:cubicBezTo>
                    <a:pt x="1064" y="767"/>
                    <a:pt x="1061" y="767"/>
                    <a:pt x="1066" y="762"/>
                  </a:cubicBezTo>
                  <a:cubicBezTo>
                    <a:pt x="1069" y="764"/>
                    <a:pt x="1072" y="762"/>
                    <a:pt x="1072" y="759"/>
                  </a:cubicBezTo>
                  <a:cubicBezTo>
                    <a:pt x="1086" y="773"/>
                    <a:pt x="1058" y="776"/>
                    <a:pt x="1058" y="790"/>
                  </a:cubicBezTo>
                  <a:cubicBezTo>
                    <a:pt x="1049" y="784"/>
                    <a:pt x="1044" y="776"/>
                    <a:pt x="1038" y="767"/>
                  </a:cubicBezTo>
                  <a:cubicBezTo>
                    <a:pt x="1049" y="750"/>
                    <a:pt x="1052" y="773"/>
                    <a:pt x="1058" y="773"/>
                  </a:cubicBezTo>
                  <a:close/>
                  <a:moveTo>
                    <a:pt x="1049" y="731"/>
                  </a:moveTo>
                  <a:lnTo>
                    <a:pt x="1049" y="730"/>
                  </a:lnTo>
                  <a:cubicBezTo>
                    <a:pt x="1049" y="728"/>
                    <a:pt x="1052" y="726"/>
                    <a:pt x="1049" y="731"/>
                  </a:cubicBezTo>
                  <a:lnTo>
                    <a:pt x="1049" y="730"/>
                  </a:lnTo>
                  <a:lnTo>
                    <a:pt x="1049" y="731"/>
                  </a:lnTo>
                  <a:close/>
                  <a:moveTo>
                    <a:pt x="1044" y="293"/>
                  </a:moveTo>
                  <a:cubicBezTo>
                    <a:pt x="1044" y="288"/>
                    <a:pt x="1052" y="296"/>
                    <a:pt x="1044" y="293"/>
                  </a:cubicBezTo>
                  <a:close/>
                  <a:moveTo>
                    <a:pt x="1049" y="133"/>
                  </a:moveTo>
                  <a:lnTo>
                    <a:pt x="1044" y="133"/>
                  </a:lnTo>
                  <a:lnTo>
                    <a:pt x="1044" y="130"/>
                  </a:lnTo>
                  <a:cubicBezTo>
                    <a:pt x="1047" y="130"/>
                    <a:pt x="1049" y="130"/>
                    <a:pt x="1049" y="133"/>
                  </a:cubicBezTo>
                  <a:close/>
                  <a:moveTo>
                    <a:pt x="1041" y="90"/>
                  </a:moveTo>
                  <a:cubicBezTo>
                    <a:pt x="1047" y="85"/>
                    <a:pt x="1035" y="99"/>
                    <a:pt x="1041" y="90"/>
                  </a:cubicBezTo>
                  <a:close/>
                  <a:moveTo>
                    <a:pt x="1041" y="728"/>
                  </a:moveTo>
                  <a:cubicBezTo>
                    <a:pt x="1047" y="736"/>
                    <a:pt x="1049" y="745"/>
                    <a:pt x="1044" y="753"/>
                  </a:cubicBezTo>
                  <a:cubicBezTo>
                    <a:pt x="1035" y="750"/>
                    <a:pt x="1035" y="739"/>
                    <a:pt x="1041" y="728"/>
                  </a:cubicBezTo>
                  <a:close/>
                  <a:moveTo>
                    <a:pt x="1033" y="214"/>
                  </a:moveTo>
                  <a:cubicBezTo>
                    <a:pt x="1033" y="212"/>
                    <a:pt x="1044" y="217"/>
                    <a:pt x="1033" y="214"/>
                  </a:cubicBezTo>
                  <a:close/>
                  <a:moveTo>
                    <a:pt x="1033" y="195"/>
                  </a:moveTo>
                  <a:cubicBezTo>
                    <a:pt x="1035" y="197"/>
                    <a:pt x="1033" y="197"/>
                    <a:pt x="1033" y="195"/>
                  </a:cubicBezTo>
                  <a:close/>
                  <a:moveTo>
                    <a:pt x="1035" y="220"/>
                  </a:moveTo>
                  <a:cubicBezTo>
                    <a:pt x="1035" y="223"/>
                    <a:pt x="1030" y="226"/>
                    <a:pt x="1027" y="226"/>
                  </a:cubicBezTo>
                  <a:cubicBezTo>
                    <a:pt x="1030" y="223"/>
                    <a:pt x="1033" y="223"/>
                    <a:pt x="1035" y="220"/>
                  </a:cubicBezTo>
                  <a:close/>
                  <a:moveTo>
                    <a:pt x="1021" y="220"/>
                  </a:moveTo>
                  <a:cubicBezTo>
                    <a:pt x="1024" y="212"/>
                    <a:pt x="1030" y="226"/>
                    <a:pt x="1021" y="220"/>
                  </a:cubicBezTo>
                  <a:close/>
                  <a:moveTo>
                    <a:pt x="1018" y="228"/>
                  </a:moveTo>
                  <a:lnTo>
                    <a:pt x="1024" y="228"/>
                  </a:lnTo>
                  <a:lnTo>
                    <a:pt x="1024" y="234"/>
                  </a:lnTo>
                  <a:lnTo>
                    <a:pt x="1018" y="234"/>
                  </a:lnTo>
                  <a:lnTo>
                    <a:pt x="1018" y="228"/>
                  </a:lnTo>
                  <a:close/>
                  <a:moveTo>
                    <a:pt x="1018" y="248"/>
                  </a:moveTo>
                  <a:cubicBezTo>
                    <a:pt x="1018" y="245"/>
                    <a:pt x="1021" y="248"/>
                    <a:pt x="1024" y="248"/>
                  </a:cubicBezTo>
                  <a:cubicBezTo>
                    <a:pt x="1021" y="248"/>
                    <a:pt x="1018" y="251"/>
                    <a:pt x="1018" y="248"/>
                  </a:cubicBezTo>
                  <a:close/>
                  <a:moveTo>
                    <a:pt x="1038" y="2552"/>
                  </a:moveTo>
                  <a:cubicBezTo>
                    <a:pt x="1033" y="2566"/>
                    <a:pt x="1004" y="2543"/>
                    <a:pt x="1010" y="2524"/>
                  </a:cubicBezTo>
                  <a:cubicBezTo>
                    <a:pt x="1024" y="2526"/>
                    <a:pt x="1024" y="2546"/>
                    <a:pt x="1038" y="2552"/>
                  </a:cubicBezTo>
                  <a:close/>
                  <a:moveTo>
                    <a:pt x="1013" y="2614"/>
                  </a:moveTo>
                  <a:cubicBezTo>
                    <a:pt x="1007" y="2614"/>
                    <a:pt x="999" y="2608"/>
                    <a:pt x="999" y="2603"/>
                  </a:cubicBezTo>
                  <a:cubicBezTo>
                    <a:pt x="1001" y="2597"/>
                    <a:pt x="1013" y="2603"/>
                    <a:pt x="1016" y="2608"/>
                  </a:cubicBezTo>
                  <a:cubicBezTo>
                    <a:pt x="1016" y="2608"/>
                    <a:pt x="1018" y="2608"/>
                    <a:pt x="1018" y="2605"/>
                  </a:cubicBezTo>
                  <a:cubicBezTo>
                    <a:pt x="1021" y="2605"/>
                    <a:pt x="1024" y="2603"/>
                    <a:pt x="1024" y="2603"/>
                  </a:cubicBezTo>
                  <a:lnTo>
                    <a:pt x="1024" y="2605"/>
                  </a:lnTo>
                  <a:cubicBezTo>
                    <a:pt x="1033" y="2608"/>
                    <a:pt x="1038" y="2617"/>
                    <a:pt x="1035" y="2628"/>
                  </a:cubicBezTo>
                  <a:cubicBezTo>
                    <a:pt x="1024" y="2628"/>
                    <a:pt x="1016" y="2622"/>
                    <a:pt x="1013" y="2614"/>
                  </a:cubicBezTo>
                  <a:close/>
                  <a:moveTo>
                    <a:pt x="1027" y="2642"/>
                  </a:moveTo>
                  <a:cubicBezTo>
                    <a:pt x="1044" y="2645"/>
                    <a:pt x="1024" y="2670"/>
                    <a:pt x="1027" y="2642"/>
                  </a:cubicBezTo>
                  <a:close/>
                  <a:moveTo>
                    <a:pt x="1018" y="2651"/>
                  </a:moveTo>
                  <a:cubicBezTo>
                    <a:pt x="1007" y="2651"/>
                    <a:pt x="1016" y="2631"/>
                    <a:pt x="1027" y="2634"/>
                  </a:cubicBezTo>
                  <a:cubicBezTo>
                    <a:pt x="1024" y="2639"/>
                    <a:pt x="1016" y="2642"/>
                    <a:pt x="1018" y="2651"/>
                  </a:cubicBezTo>
                  <a:close/>
                  <a:moveTo>
                    <a:pt x="1013" y="310"/>
                  </a:moveTo>
                  <a:cubicBezTo>
                    <a:pt x="1010" y="313"/>
                    <a:pt x="1004" y="316"/>
                    <a:pt x="1001" y="316"/>
                  </a:cubicBezTo>
                  <a:cubicBezTo>
                    <a:pt x="999" y="310"/>
                    <a:pt x="1007" y="310"/>
                    <a:pt x="1013" y="310"/>
                  </a:cubicBezTo>
                  <a:close/>
                  <a:moveTo>
                    <a:pt x="1001" y="282"/>
                  </a:moveTo>
                  <a:cubicBezTo>
                    <a:pt x="999" y="276"/>
                    <a:pt x="1010" y="282"/>
                    <a:pt x="1001" y="282"/>
                  </a:cubicBezTo>
                  <a:close/>
                  <a:moveTo>
                    <a:pt x="1001" y="350"/>
                  </a:moveTo>
                  <a:cubicBezTo>
                    <a:pt x="1004" y="344"/>
                    <a:pt x="1012" y="352"/>
                    <a:pt x="1003" y="350"/>
                  </a:cubicBezTo>
                  <a:cubicBezTo>
                    <a:pt x="1003" y="350"/>
                    <a:pt x="1002" y="350"/>
                    <a:pt x="1001" y="350"/>
                  </a:cubicBezTo>
                  <a:close/>
                  <a:moveTo>
                    <a:pt x="1001" y="350"/>
                  </a:moveTo>
                  <a:cubicBezTo>
                    <a:pt x="1004" y="352"/>
                    <a:pt x="1004" y="351"/>
                    <a:pt x="1003" y="350"/>
                  </a:cubicBezTo>
                  <a:cubicBezTo>
                    <a:pt x="1002" y="350"/>
                    <a:pt x="1002" y="350"/>
                    <a:pt x="1001" y="350"/>
                  </a:cubicBezTo>
                  <a:close/>
                  <a:moveTo>
                    <a:pt x="1001" y="2555"/>
                  </a:moveTo>
                  <a:cubicBezTo>
                    <a:pt x="1004" y="2549"/>
                    <a:pt x="1013" y="2560"/>
                    <a:pt x="1001" y="2555"/>
                  </a:cubicBezTo>
                  <a:close/>
                  <a:moveTo>
                    <a:pt x="1007" y="2667"/>
                  </a:moveTo>
                  <a:cubicBezTo>
                    <a:pt x="1004" y="2667"/>
                    <a:pt x="999" y="2665"/>
                    <a:pt x="999" y="2665"/>
                  </a:cubicBezTo>
                  <a:cubicBezTo>
                    <a:pt x="996" y="2662"/>
                    <a:pt x="1010" y="2662"/>
                    <a:pt x="1007" y="2667"/>
                  </a:cubicBezTo>
                  <a:close/>
                  <a:moveTo>
                    <a:pt x="1016" y="2583"/>
                  </a:moveTo>
                  <a:cubicBezTo>
                    <a:pt x="1016" y="2577"/>
                    <a:pt x="1027" y="2586"/>
                    <a:pt x="1016" y="2583"/>
                  </a:cubicBezTo>
                  <a:close/>
                  <a:moveTo>
                    <a:pt x="1021" y="2583"/>
                  </a:moveTo>
                  <a:cubicBezTo>
                    <a:pt x="1024" y="2580"/>
                    <a:pt x="1027" y="2577"/>
                    <a:pt x="1030" y="2577"/>
                  </a:cubicBezTo>
                  <a:cubicBezTo>
                    <a:pt x="1030" y="2580"/>
                    <a:pt x="1027" y="2583"/>
                    <a:pt x="1021" y="2583"/>
                  </a:cubicBezTo>
                  <a:close/>
                  <a:moveTo>
                    <a:pt x="1018" y="268"/>
                  </a:moveTo>
                  <a:cubicBezTo>
                    <a:pt x="1018" y="274"/>
                    <a:pt x="1010" y="271"/>
                    <a:pt x="1010" y="265"/>
                  </a:cubicBezTo>
                  <a:cubicBezTo>
                    <a:pt x="1013" y="259"/>
                    <a:pt x="1013" y="268"/>
                    <a:pt x="1018" y="268"/>
                  </a:cubicBezTo>
                  <a:close/>
                  <a:moveTo>
                    <a:pt x="1007" y="237"/>
                  </a:moveTo>
                  <a:cubicBezTo>
                    <a:pt x="1007" y="231"/>
                    <a:pt x="1016" y="240"/>
                    <a:pt x="1007" y="237"/>
                  </a:cubicBezTo>
                  <a:close/>
                  <a:moveTo>
                    <a:pt x="1004" y="200"/>
                  </a:moveTo>
                  <a:cubicBezTo>
                    <a:pt x="1010" y="195"/>
                    <a:pt x="1007" y="209"/>
                    <a:pt x="1004" y="200"/>
                  </a:cubicBezTo>
                  <a:close/>
                  <a:moveTo>
                    <a:pt x="1004" y="265"/>
                  </a:moveTo>
                  <a:cubicBezTo>
                    <a:pt x="1008" y="261"/>
                    <a:pt x="1008" y="267"/>
                    <a:pt x="1007" y="268"/>
                  </a:cubicBezTo>
                  <a:lnTo>
                    <a:pt x="1007" y="268"/>
                  </a:lnTo>
                  <a:cubicBezTo>
                    <a:pt x="1004" y="276"/>
                    <a:pt x="999" y="268"/>
                    <a:pt x="996" y="268"/>
                  </a:cubicBezTo>
                  <a:cubicBezTo>
                    <a:pt x="994" y="264"/>
                    <a:pt x="1002" y="266"/>
                    <a:pt x="1005" y="267"/>
                  </a:cubicBezTo>
                  <a:cubicBezTo>
                    <a:pt x="1005" y="267"/>
                    <a:pt x="1005" y="266"/>
                    <a:pt x="1004" y="265"/>
                  </a:cubicBezTo>
                  <a:close/>
                  <a:moveTo>
                    <a:pt x="985" y="2645"/>
                  </a:moveTo>
                  <a:cubicBezTo>
                    <a:pt x="985" y="2648"/>
                    <a:pt x="982" y="2651"/>
                    <a:pt x="979" y="2651"/>
                  </a:cubicBezTo>
                  <a:cubicBezTo>
                    <a:pt x="973" y="2659"/>
                    <a:pt x="965" y="2670"/>
                    <a:pt x="954" y="2667"/>
                  </a:cubicBezTo>
                  <a:cubicBezTo>
                    <a:pt x="954" y="2651"/>
                    <a:pt x="965" y="2653"/>
                    <a:pt x="968" y="2642"/>
                  </a:cubicBezTo>
                  <a:cubicBezTo>
                    <a:pt x="962" y="2639"/>
                    <a:pt x="962" y="2636"/>
                    <a:pt x="959" y="2628"/>
                  </a:cubicBezTo>
                  <a:cubicBezTo>
                    <a:pt x="965" y="2628"/>
                    <a:pt x="968" y="2628"/>
                    <a:pt x="970" y="2634"/>
                  </a:cubicBezTo>
                  <a:cubicBezTo>
                    <a:pt x="970" y="2631"/>
                    <a:pt x="965" y="2628"/>
                    <a:pt x="962" y="2622"/>
                  </a:cubicBezTo>
                  <a:cubicBezTo>
                    <a:pt x="968" y="2622"/>
                    <a:pt x="973" y="2620"/>
                    <a:pt x="979" y="2617"/>
                  </a:cubicBezTo>
                  <a:cubicBezTo>
                    <a:pt x="985" y="2620"/>
                    <a:pt x="987" y="2631"/>
                    <a:pt x="987" y="2636"/>
                  </a:cubicBezTo>
                  <a:cubicBezTo>
                    <a:pt x="985" y="2636"/>
                    <a:pt x="979" y="2639"/>
                    <a:pt x="979" y="2639"/>
                  </a:cubicBezTo>
                  <a:cubicBezTo>
                    <a:pt x="982" y="2645"/>
                    <a:pt x="985" y="2645"/>
                    <a:pt x="985" y="2645"/>
                  </a:cubicBezTo>
                  <a:close/>
                  <a:moveTo>
                    <a:pt x="970" y="2730"/>
                  </a:moveTo>
                  <a:lnTo>
                    <a:pt x="970" y="2744"/>
                  </a:lnTo>
                  <a:lnTo>
                    <a:pt x="956" y="2744"/>
                  </a:lnTo>
                  <a:lnTo>
                    <a:pt x="956" y="2730"/>
                  </a:lnTo>
                  <a:lnTo>
                    <a:pt x="970" y="2730"/>
                  </a:lnTo>
                  <a:close/>
                  <a:moveTo>
                    <a:pt x="959" y="2701"/>
                  </a:moveTo>
                  <a:cubicBezTo>
                    <a:pt x="976" y="2701"/>
                    <a:pt x="956" y="2724"/>
                    <a:pt x="959" y="2701"/>
                  </a:cubicBezTo>
                  <a:close/>
                  <a:moveTo>
                    <a:pt x="948" y="2713"/>
                  </a:moveTo>
                  <a:cubicBezTo>
                    <a:pt x="962" y="2713"/>
                    <a:pt x="945" y="2735"/>
                    <a:pt x="948" y="2713"/>
                  </a:cubicBezTo>
                  <a:close/>
                  <a:moveTo>
                    <a:pt x="948" y="2707"/>
                  </a:moveTo>
                  <a:cubicBezTo>
                    <a:pt x="948" y="2701"/>
                    <a:pt x="956" y="2710"/>
                    <a:pt x="948" y="2707"/>
                  </a:cubicBezTo>
                  <a:close/>
                  <a:moveTo>
                    <a:pt x="956" y="2560"/>
                  </a:moveTo>
                  <a:cubicBezTo>
                    <a:pt x="955" y="2559"/>
                    <a:pt x="956" y="2559"/>
                    <a:pt x="956" y="2559"/>
                  </a:cubicBezTo>
                  <a:cubicBezTo>
                    <a:pt x="956" y="2560"/>
                    <a:pt x="956" y="2560"/>
                    <a:pt x="956" y="2560"/>
                  </a:cubicBezTo>
                  <a:close/>
                  <a:moveTo>
                    <a:pt x="957" y="2560"/>
                  </a:moveTo>
                  <a:cubicBezTo>
                    <a:pt x="958" y="2558"/>
                    <a:pt x="957" y="2558"/>
                    <a:pt x="956" y="2559"/>
                  </a:cubicBezTo>
                  <a:cubicBezTo>
                    <a:pt x="957" y="2559"/>
                    <a:pt x="957" y="2559"/>
                    <a:pt x="957" y="2560"/>
                  </a:cubicBezTo>
                  <a:close/>
                  <a:moveTo>
                    <a:pt x="956" y="2560"/>
                  </a:moveTo>
                  <a:cubicBezTo>
                    <a:pt x="957" y="2560"/>
                    <a:pt x="957" y="2560"/>
                    <a:pt x="957" y="2560"/>
                  </a:cubicBezTo>
                  <a:cubicBezTo>
                    <a:pt x="957" y="2560"/>
                    <a:pt x="957" y="2560"/>
                    <a:pt x="956" y="2560"/>
                  </a:cubicBezTo>
                  <a:close/>
                  <a:moveTo>
                    <a:pt x="968" y="2580"/>
                  </a:moveTo>
                  <a:cubicBezTo>
                    <a:pt x="965" y="2574"/>
                    <a:pt x="976" y="2574"/>
                    <a:pt x="979" y="2574"/>
                  </a:cubicBezTo>
                  <a:cubicBezTo>
                    <a:pt x="976" y="2580"/>
                    <a:pt x="970" y="2580"/>
                    <a:pt x="968" y="2580"/>
                  </a:cubicBezTo>
                  <a:close/>
                  <a:moveTo>
                    <a:pt x="959" y="296"/>
                  </a:moveTo>
                  <a:lnTo>
                    <a:pt x="970" y="296"/>
                  </a:lnTo>
                  <a:cubicBezTo>
                    <a:pt x="973" y="302"/>
                    <a:pt x="956" y="305"/>
                    <a:pt x="959" y="296"/>
                  </a:cubicBezTo>
                  <a:close/>
                  <a:moveTo>
                    <a:pt x="962" y="1754"/>
                  </a:moveTo>
                  <a:cubicBezTo>
                    <a:pt x="965" y="1754"/>
                    <a:pt x="962" y="1756"/>
                    <a:pt x="962" y="1754"/>
                  </a:cubicBezTo>
                  <a:close/>
                  <a:moveTo>
                    <a:pt x="982" y="319"/>
                  </a:moveTo>
                  <a:cubicBezTo>
                    <a:pt x="976" y="316"/>
                    <a:pt x="984" y="308"/>
                    <a:pt x="987" y="310"/>
                  </a:cubicBezTo>
                  <a:cubicBezTo>
                    <a:pt x="987" y="309"/>
                    <a:pt x="987" y="308"/>
                    <a:pt x="987" y="307"/>
                  </a:cubicBezTo>
                  <a:cubicBezTo>
                    <a:pt x="993" y="307"/>
                    <a:pt x="993" y="322"/>
                    <a:pt x="987" y="322"/>
                  </a:cubicBezTo>
                  <a:cubicBezTo>
                    <a:pt x="986" y="318"/>
                    <a:pt x="986" y="314"/>
                    <a:pt x="987" y="312"/>
                  </a:cubicBezTo>
                  <a:cubicBezTo>
                    <a:pt x="985" y="313"/>
                    <a:pt x="979" y="314"/>
                    <a:pt x="982" y="319"/>
                  </a:cubicBezTo>
                  <a:close/>
                  <a:moveTo>
                    <a:pt x="982" y="209"/>
                  </a:moveTo>
                  <a:lnTo>
                    <a:pt x="987" y="209"/>
                  </a:lnTo>
                  <a:lnTo>
                    <a:pt x="987" y="214"/>
                  </a:lnTo>
                  <a:cubicBezTo>
                    <a:pt x="987" y="214"/>
                    <a:pt x="985" y="217"/>
                    <a:pt x="982" y="217"/>
                  </a:cubicBezTo>
                  <a:lnTo>
                    <a:pt x="982" y="209"/>
                  </a:lnTo>
                  <a:close/>
                  <a:moveTo>
                    <a:pt x="985" y="279"/>
                  </a:moveTo>
                  <a:cubicBezTo>
                    <a:pt x="985" y="276"/>
                    <a:pt x="993" y="276"/>
                    <a:pt x="996" y="276"/>
                  </a:cubicBezTo>
                  <a:cubicBezTo>
                    <a:pt x="996" y="279"/>
                    <a:pt x="987" y="279"/>
                    <a:pt x="985" y="279"/>
                  </a:cubicBezTo>
                  <a:close/>
                  <a:moveTo>
                    <a:pt x="993" y="195"/>
                  </a:moveTo>
                  <a:cubicBezTo>
                    <a:pt x="990" y="195"/>
                    <a:pt x="987" y="189"/>
                    <a:pt x="990" y="189"/>
                  </a:cubicBezTo>
                  <a:cubicBezTo>
                    <a:pt x="990" y="189"/>
                    <a:pt x="990" y="186"/>
                    <a:pt x="987" y="183"/>
                  </a:cubicBezTo>
                  <a:cubicBezTo>
                    <a:pt x="990" y="180"/>
                    <a:pt x="996" y="183"/>
                    <a:pt x="996" y="186"/>
                  </a:cubicBezTo>
                  <a:lnTo>
                    <a:pt x="996" y="189"/>
                  </a:lnTo>
                  <a:cubicBezTo>
                    <a:pt x="999" y="192"/>
                    <a:pt x="993" y="189"/>
                    <a:pt x="993" y="195"/>
                  </a:cubicBezTo>
                  <a:close/>
                  <a:moveTo>
                    <a:pt x="1004" y="257"/>
                  </a:moveTo>
                  <a:cubicBezTo>
                    <a:pt x="999" y="259"/>
                    <a:pt x="993" y="257"/>
                    <a:pt x="990" y="251"/>
                  </a:cubicBezTo>
                  <a:cubicBezTo>
                    <a:pt x="996" y="251"/>
                    <a:pt x="1004" y="248"/>
                    <a:pt x="1004" y="257"/>
                  </a:cubicBezTo>
                  <a:close/>
                  <a:moveTo>
                    <a:pt x="990" y="2617"/>
                  </a:moveTo>
                  <a:cubicBezTo>
                    <a:pt x="990" y="2611"/>
                    <a:pt x="1001" y="2620"/>
                    <a:pt x="990" y="2617"/>
                  </a:cubicBezTo>
                  <a:close/>
                  <a:moveTo>
                    <a:pt x="987" y="302"/>
                  </a:moveTo>
                  <a:cubicBezTo>
                    <a:pt x="990" y="302"/>
                    <a:pt x="993" y="302"/>
                    <a:pt x="996" y="299"/>
                  </a:cubicBezTo>
                  <a:lnTo>
                    <a:pt x="996" y="305"/>
                  </a:lnTo>
                  <a:cubicBezTo>
                    <a:pt x="993" y="307"/>
                    <a:pt x="990" y="305"/>
                    <a:pt x="987" y="305"/>
                  </a:cubicBezTo>
                  <a:lnTo>
                    <a:pt x="987" y="302"/>
                  </a:lnTo>
                  <a:close/>
                  <a:moveTo>
                    <a:pt x="993" y="220"/>
                  </a:moveTo>
                  <a:cubicBezTo>
                    <a:pt x="993" y="214"/>
                    <a:pt x="1001" y="214"/>
                    <a:pt x="1004" y="217"/>
                  </a:cubicBezTo>
                  <a:cubicBezTo>
                    <a:pt x="1004" y="220"/>
                    <a:pt x="999" y="220"/>
                    <a:pt x="993" y="220"/>
                  </a:cubicBezTo>
                  <a:close/>
                  <a:moveTo>
                    <a:pt x="1004" y="116"/>
                  </a:moveTo>
                  <a:lnTo>
                    <a:pt x="999" y="116"/>
                  </a:lnTo>
                  <a:lnTo>
                    <a:pt x="999" y="110"/>
                  </a:lnTo>
                  <a:lnTo>
                    <a:pt x="1004" y="110"/>
                  </a:lnTo>
                  <a:lnTo>
                    <a:pt x="1004" y="116"/>
                  </a:lnTo>
                  <a:close/>
                  <a:moveTo>
                    <a:pt x="1004" y="96"/>
                  </a:moveTo>
                  <a:cubicBezTo>
                    <a:pt x="1001" y="102"/>
                    <a:pt x="990" y="90"/>
                    <a:pt x="1004" y="96"/>
                  </a:cubicBezTo>
                  <a:close/>
                  <a:moveTo>
                    <a:pt x="990" y="104"/>
                  </a:moveTo>
                  <a:cubicBezTo>
                    <a:pt x="996" y="102"/>
                    <a:pt x="985" y="113"/>
                    <a:pt x="990" y="104"/>
                  </a:cubicBezTo>
                  <a:close/>
                  <a:moveTo>
                    <a:pt x="985" y="118"/>
                  </a:moveTo>
                  <a:cubicBezTo>
                    <a:pt x="987" y="116"/>
                    <a:pt x="985" y="113"/>
                    <a:pt x="990" y="110"/>
                  </a:cubicBezTo>
                  <a:cubicBezTo>
                    <a:pt x="993" y="110"/>
                    <a:pt x="993" y="116"/>
                    <a:pt x="996" y="116"/>
                  </a:cubicBezTo>
                  <a:cubicBezTo>
                    <a:pt x="996" y="121"/>
                    <a:pt x="985" y="121"/>
                    <a:pt x="987" y="127"/>
                  </a:cubicBezTo>
                  <a:cubicBezTo>
                    <a:pt x="993" y="130"/>
                    <a:pt x="996" y="135"/>
                    <a:pt x="996" y="141"/>
                  </a:cubicBezTo>
                  <a:cubicBezTo>
                    <a:pt x="993" y="147"/>
                    <a:pt x="990" y="147"/>
                    <a:pt x="990" y="149"/>
                  </a:cubicBezTo>
                  <a:cubicBezTo>
                    <a:pt x="982" y="147"/>
                    <a:pt x="982" y="130"/>
                    <a:pt x="970" y="135"/>
                  </a:cubicBezTo>
                  <a:cubicBezTo>
                    <a:pt x="970" y="127"/>
                    <a:pt x="970" y="121"/>
                    <a:pt x="973" y="113"/>
                  </a:cubicBezTo>
                  <a:cubicBezTo>
                    <a:pt x="979" y="113"/>
                    <a:pt x="985" y="116"/>
                    <a:pt x="985" y="118"/>
                  </a:cubicBezTo>
                  <a:close/>
                  <a:moveTo>
                    <a:pt x="976" y="99"/>
                  </a:moveTo>
                  <a:lnTo>
                    <a:pt x="976" y="110"/>
                  </a:lnTo>
                  <a:cubicBezTo>
                    <a:pt x="970" y="110"/>
                    <a:pt x="968" y="102"/>
                    <a:pt x="976" y="99"/>
                  </a:cubicBezTo>
                  <a:close/>
                  <a:moveTo>
                    <a:pt x="973" y="274"/>
                  </a:moveTo>
                  <a:cubicBezTo>
                    <a:pt x="973" y="276"/>
                    <a:pt x="968" y="279"/>
                    <a:pt x="965" y="279"/>
                  </a:cubicBezTo>
                  <a:cubicBezTo>
                    <a:pt x="965" y="276"/>
                    <a:pt x="970" y="274"/>
                    <a:pt x="973" y="274"/>
                  </a:cubicBezTo>
                  <a:close/>
                  <a:moveTo>
                    <a:pt x="956" y="268"/>
                  </a:moveTo>
                  <a:cubicBezTo>
                    <a:pt x="959" y="262"/>
                    <a:pt x="968" y="271"/>
                    <a:pt x="956" y="268"/>
                  </a:cubicBezTo>
                  <a:close/>
                  <a:moveTo>
                    <a:pt x="951" y="1694"/>
                  </a:moveTo>
                  <a:cubicBezTo>
                    <a:pt x="951" y="1689"/>
                    <a:pt x="954" y="1683"/>
                    <a:pt x="959" y="1686"/>
                  </a:cubicBezTo>
                  <a:cubicBezTo>
                    <a:pt x="959" y="1689"/>
                    <a:pt x="956" y="1694"/>
                    <a:pt x="951" y="1694"/>
                  </a:cubicBezTo>
                  <a:close/>
                  <a:moveTo>
                    <a:pt x="948" y="138"/>
                  </a:moveTo>
                  <a:cubicBezTo>
                    <a:pt x="951" y="138"/>
                    <a:pt x="956" y="141"/>
                    <a:pt x="959" y="141"/>
                  </a:cubicBezTo>
                  <a:cubicBezTo>
                    <a:pt x="954" y="141"/>
                    <a:pt x="948" y="149"/>
                    <a:pt x="948" y="138"/>
                  </a:cubicBezTo>
                  <a:close/>
                  <a:moveTo>
                    <a:pt x="952" y="2532"/>
                  </a:moveTo>
                  <a:cubicBezTo>
                    <a:pt x="952" y="2531"/>
                    <a:pt x="954" y="2528"/>
                    <a:pt x="954" y="2532"/>
                  </a:cubicBezTo>
                  <a:cubicBezTo>
                    <a:pt x="953" y="2533"/>
                    <a:pt x="952" y="2533"/>
                    <a:pt x="952" y="2532"/>
                  </a:cubicBezTo>
                  <a:close/>
                  <a:moveTo>
                    <a:pt x="951" y="2636"/>
                  </a:moveTo>
                  <a:cubicBezTo>
                    <a:pt x="973" y="2659"/>
                    <a:pt x="928" y="2662"/>
                    <a:pt x="951" y="2636"/>
                  </a:cubicBezTo>
                  <a:close/>
                  <a:moveTo>
                    <a:pt x="942" y="110"/>
                  </a:moveTo>
                  <a:cubicBezTo>
                    <a:pt x="942" y="107"/>
                    <a:pt x="942" y="104"/>
                    <a:pt x="939" y="102"/>
                  </a:cubicBezTo>
                  <a:cubicBezTo>
                    <a:pt x="945" y="99"/>
                    <a:pt x="948" y="110"/>
                    <a:pt x="942" y="110"/>
                  </a:cubicBezTo>
                  <a:close/>
                  <a:moveTo>
                    <a:pt x="939" y="118"/>
                  </a:moveTo>
                  <a:lnTo>
                    <a:pt x="942" y="118"/>
                  </a:lnTo>
                  <a:lnTo>
                    <a:pt x="942" y="116"/>
                  </a:lnTo>
                  <a:cubicBezTo>
                    <a:pt x="942" y="116"/>
                    <a:pt x="942" y="118"/>
                    <a:pt x="945" y="118"/>
                  </a:cubicBezTo>
                  <a:cubicBezTo>
                    <a:pt x="942" y="118"/>
                    <a:pt x="945" y="121"/>
                    <a:pt x="942" y="121"/>
                  </a:cubicBezTo>
                  <a:cubicBezTo>
                    <a:pt x="939" y="127"/>
                    <a:pt x="931" y="124"/>
                    <a:pt x="925" y="124"/>
                  </a:cubicBezTo>
                  <a:cubicBezTo>
                    <a:pt x="925" y="121"/>
                    <a:pt x="934" y="118"/>
                    <a:pt x="939" y="118"/>
                  </a:cubicBezTo>
                  <a:close/>
                  <a:moveTo>
                    <a:pt x="931" y="158"/>
                  </a:moveTo>
                  <a:cubicBezTo>
                    <a:pt x="934" y="152"/>
                    <a:pt x="939" y="166"/>
                    <a:pt x="931" y="158"/>
                  </a:cubicBezTo>
                  <a:close/>
                  <a:moveTo>
                    <a:pt x="925" y="166"/>
                  </a:moveTo>
                  <a:cubicBezTo>
                    <a:pt x="934" y="161"/>
                    <a:pt x="922" y="175"/>
                    <a:pt x="925" y="166"/>
                  </a:cubicBezTo>
                  <a:close/>
                  <a:moveTo>
                    <a:pt x="920" y="144"/>
                  </a:moveTo>
                  <a:cubicBezTo>
                    <a:pt x="922" y="138"/>
                    <a:pt x="931" y="147"/>
                    <a:pt x="920" y="144"/>
                  </a:cubicBezTo>
                  <a:close/>
                  <a:moveTo>
                    <a:pt x="906" y="113"/>
                  </a:moveTo>
                  <a:cubicBezTo>
                    <a:pt x="911" y="116"/>
                    <a:pt x="894" y="118"/>
                    <a:pt x="906" y="113"/>
                  </a:cubicBezTo>
                  <a:close/>
                  <a:moveTo>
                    <a:pt x="903" y="183"/>
                  </a:moveTo>
                  <a:cubicBezTo>
                    <a:pt x="897" y="180"/>
                    <a:pt x="911" y="186"/>
                    <a:pt x="903" y="183"/>
                  </a:cubicBezTo>
                  <a:close/>
                  <a:moveTo>
                    <a:pt x="897" y="169"/>
                  </a:moveTo>
                  <a:cubicBezTo>
                    <a:pt x="903" y="164"/>
                    <a:pt x="894" y="178"/>
                    <a:pt x="897" y="169"/>
                  </a:cubicBezTo>
                  <a:close/>
                  <a:moveTo>
                    <a:pt x="894" y="200"/>
                  </a:moveTo>
                  <a:cubicBezTo>
                    <a:pt x="894" y="195"/>
                    <a:pt x="903" y="200"/>
                    <a:pt x="894" y="200"/>
                  </a:cubicBezTo>
                  <a:close/>
                  <a:moveTo>
                    <a:pt x="897" y="141"/>
                  </a:moveTo>
                  <a:cubicBezTo>
                    <a:pt x="894" y="141"/>
                    <a:pt x="891" y="133"/>
                    <a:pt x="891" y="130"/>
                  </a:cubicBezTo>
                  <a:cubicBezTo>
                    <a:pt x="897" y="124"/>
                    <a:pt x="900" y="138"/>
                    <a:pt x="897" y="141"/>
                  </a:cubicBezTo>
                  <a:close/>
                  <a:moveTo>
                    <a:pt x="906" y="2620"/>
                  </a:moveTo>
                  <a:cubicBezTo>
                    <a:pt x="906" y="2620"/>
                    <a:pt x="903" y="2622"/>
                    <a:pt x="903" y="2620"/>
                  </a:cubicBezTo>
                  <a:lnTo>
                    <a:pt x="903" y="2622"/>
                  </a:lnTo>
                  <a:cubicBezTo>
                    <a:pt x="906" y="2622"/>
                    <a:pt x="906" y="2620"/>
                    <a:pt x="906" y="2620"/>
                  </a:cubicBezTo>
                  <a:close/>
                  <a:moveTo>
                    <a:pt x="897" y="2617"/>
                  </a:moveTo>
                  <a:lnTo>
                    <a:pt x="894" y="2617"/>
                  </a:lnTo>
                  <a:cubicBezTo>
                    <a:pt x="894" y="2620"/>
                    <a:pt x="891" y="2617"/>
                    <a:pt x="891" y="2617"/>
                  </a:cubicBezTo>
                  <a:cubicBezTo>
                    <a:pt x="886" y="2614"/>
                    <a:pt x="891" y="2605"/>
                    <a:pt x="894" y="2603"/>
                  </a:cubicBezTo>
                  <a:cubicBezTo>
                    <a:pt x="897" y="2605"/>
                    <a:pt x="900" y="2608"/>
                    <a:pt x="897" y="2614"/>
                  </a:cubicBezTo>
                  <a:lnTo>
                    <a:pt x="900" y="2614"/>
                  </a:lnTo>
                  <a:lnTo>
                    <a:pt x="903" y="2617"/>
                  </a:lnTo>
                  <a:lnTo>
                    <a:pt x="903" y="2620"/>
                  </a:lnTo>
                  <a:cubicBezTo>
                    <a:pt x="900" y="2620"/>
                    <a:pt x="900" y="2617"/>
                    <a:pt x="897" y="2617"/>
                  </a:cubicBezTo>
                  <a:close/>
                  <a:moveTo>
                    <a:pt x="911" y="2614"/>
                  </a:moveTo>
                  <a:cubicBezTo>
                    <a:pt x="903" y="2625"/>
                    <a:pt x="917" y="2603"/>
                    <a:pt x="911" y="2614"/>
                  </a:cubicBezTo>
                  <a:close/>
                  <a:moveTo>
                    <a:pt x="875" y="2636"/>
                  </a:moveTo>
                  <a:lnTo>
                    <a:pt x="876" y="2636"/>
                  </a:lnTo>
                  <a:cubicBezTo>
                    <a:pt x="875" y="2638"/>
                    <a:pt x="873" y="2639"/>
                    <a:pt x="875" y="2636"/>
                  </a:cubicBezTo>
                  <a:cubicBezTo>
                    <a:pt x="877" y="2634"/>
                    <a:pt x="877" y="2635"/>
                    <a:pt x="876" y="2636"/>
                  </a:cubicBezTo>
                  <a:lnTo>
                    <a:pt x="875" y="2636"/>
                  </a:lnTo>
                  <a:close/>
                  <a:moveTo>
                    <a:pt x="872" y="2667"/>
                  </a:moveTo>
                  <a:cubicBezTo>
                    <a:pt x="875" y="2659"/>
                    <a:pt x="875" y="2651"/>
                    <a:pt x="875" y="2642"/>
                  </a:cubicBezTo>
                  <a:cubicBezTo>
                    <a:pt x="880" y="2642"/>
                    <a:pt x="886" y="2642"/>
                    <a:pt x="889" y="2648"/>
                  </a:cubicBezTo>
                  <a:cubicBezTo>
                    <a:pt x="880" y="2651"/>
                    <a:pt x="894" y="2662"/>
                    <a:pt x="889" y="2670"/>
                  </a:cubicBezTo>
                  <a:cubicBezTo>
                    <a:pt x="883" y="2670"/>
                    <a:pt x="877" y="2670"/>
                    <a:pt x="872" y="2667"/>
                  </a:cubicBezTo>
                  <a:close/>
                  <a:moveTo>
                    <a:pt x="889" y="2704"/>
                  </a:moveTo>
                  <a:cubicBezTo>
                    <a:pt x="880" y="2701"/>
                    <a:pt x="875" y="2696"/>
                    <a:pt x="875" y="2690"/>
                  </a:cubicBezTo>
                  <a:cubicBezTo>
                    <a:pt x="880" y="2690"/>
                    <a:pt x="886" y="2696"/>
                    <a:pt x="889" y="2704"/>
                  </a:cubicBezTo>
                  <a:close/>
                  <a:moveTo>
                    <a:pt x="889" y="2715"/>
                  </a:moveTo>
                  <a:cubicBezTo>
                    <a:pt x="886" y="2715"/>
                    <a:pt x="886" y="2711"/>
                    <a:pt x="886" y="2708"/>
                  </a:cubicBezTo>
                  <a:cubicBezTo>
                    <a:pt x="887" y="2710"/>
                    <a:pt x="889" y="2712"/>
                    <a:pt x="890" y="2714"/>
                  </a:cubicBezTo>
                  <a:cubicBezTo>
                    <a:pt x="912" y="2752"/>
                    <a:pt x="821" y="2735"/>
                    <a:pt x="880" y="2701"/>
                  </a:cubicBezTo>
                  <a:cubicBezTo>
                    <a:pt x="882" y="2704"/>
                    <a:pt x="884" y="2706"/>
                    <a:pt x="886" y="2708"/>
                  </a:cubicBezTo>
                  <a:lnTo>
                    <a:pt x="886" y="2707"/>
                  </a:lnTo>
                  <a:cubicBezTo>
                    <a:pt x="891" y="2705"/>
                    <a:pt x="891" y="2710"/>
                    <a:pt x="890" y="2714"/>
                  </a:cubicBezTo>
                  <a:cubicBezTo>
                    <a:pt x="889" y="2714"/>
                    <a:pt x="889" y="2715"/>
                    <a:pt x="889" y="2715"/>
                  </a:cubicBezTo>
                  <a:close/>
                  <a:moveTo>
                    <a:pt x="900" y="257"/>
                  </a:moveTo>
                  <a:lnTo>
                    <a:pt x="900" y="251"/>
                  </a:lnTo>
                  <a:lnTo>
                    <a:pt x="906" y="251"/>
                  </a:lnTo>
                  <a:cubicBezTo>
                    <a:pt x="906" y="251"/>
                    <a:pt x="908" y="254"/>
                    <a:pt x="908" y="257"/>
                  </a:cubicBezTo>
                  <a:cubicBezTo>
                    <a:pt x="903" y="254"/>
                    <a:pt x="900" y="257"/>
                    <a:pt x="900" y="257"/>
                  </a:cubicBezTo>
                  <a:close/>
                  <a:moveTo>
                    <a:pt x="894" y="265"/>
                  </a:moveTo>
                  <a:cubicBezTo>
                    <a:pt x="897" y="257"/>
                    <a:pt x="903" y="271"/>
                    <a:pt x="894" y="265"/>
                  </a:cubicBezTo>
                  <a:close/>
                  <a:moveTo>
                    <a:pt x="891" y="2555"/>
                  </a:moveTo>
                  <a:lnTo>
                    <a:pt x="891" y="2557"/>
                  </a:lnTo>
                  <a:cubicBezTo>
                    <a:pt x="872" y="2557"/>
                    <a:pt x="880" y="2572"/>
                    <a:pt x="877" y="2580"/>
                  </a:cubicBezTo>
                  <a:cubicBezTo>
                    <a:pt x="872" y="2579"/>
                    <a:pt x="870" y="2573"/>
                    <a:pt x="869" y="2567"/>
                  </a:cubicBezTo>
                  <a:cubicBezTo>
                    <a:pt x="865" y="2572"/>
                    <a:pt x="847" y="2573"/>
                    <a:pt x="863" y="2557"/>
                  </a:cubicBezTo>
                  <a:cubicBezTo>
                    <a:pt x="866" y="2559"/>
                    <a:pt x="868" y="2560"/>
                    <a:pt x="869" y="2562"/>
                  </a:cubicBezTo>
                  <a:cubicBezTo>
                    <a:pt x="869" y="2550"/>
                    <a:pt x="876" y="2538"/>
                    <a:pt x="889" y="2538"/>
                  </a:cubicBezTo>
                  <a:lnTo>
                    <a:pt x="889" y="2549"/>
                  </a:lnTo>
                  <a:cubicBezTo>
                    <a:pt x="889" y="2546"/>
                    <a:pt x="891" y="2543"/>
                    <a:pt x="891" y="2543"/>
                  </a:cubicBezTo>
                  <a:cubicBezTo>
                    <a:pt x="906" y="2543"/>
                    <a:pt x="897" y="2555"/>
                    <a:pt x="891" y="2555"/>
                  </a:cubicBezTo>
                  <a:close/>
                  <a:moveTo>
                    <a:pt x="855" y="2645"/>
                  </a:moveTo>
                  <a:lnTo>
                    <a:pt x="863" y="2645"/>
                  </a:lnTo>
                  <a:lnTo>
                    <a:pt x="866" y="2645"/>
                  </a:lnTo>
                  <a:cubicBezTo>
                    <a:pt x="866" y="2645"/>
                    <a:pt x="869" y="2648"/>
                    <a:pt x="869" y="2651"/>
                  </a:cubicBezTo>
                  <a:lnTo>
                    <a:pt x="866" y="2651"/>
                  </a:lnTo>
                  <a:cubicBezTo>
                    <a:pt x="863" y="2656"/>
                    <a:pt x="849" y="2665"/>
                    <a:pt x="855" y="2645"/>
                  </a:cubicBezTo>
                  <a:close/>
                  <a:moveTo>
                    <a:pt x="858" y="2769"/>
                  </a:moveTo>
                  <a:cubicBezTo>
                    <a:pt x="863" y="2763"/>
                    <a:pt x="852" y="2777"/>
                    <a:pt x="858" y="2769"/>
                  </a:cubicBezTo>
                  <a:close/>
                  <a:moveTo>
                    <a:pt x="858" y="2611"/>
                  </a:moveTo>
                  <a:cubicBezTo>
                    <a:pt x="877" y="2620"/>
                    <a:pt x="829" y="2628"/>
                    <a:pt x="858" y="2611"/>
                  </a:cubicBezTo>
                  <a:close/>
                  <a:moveTo>
                    <a:pt x="855" y="2594"/>
                  </a:moveTo>
                  <a:cubicBezTo>
                    <a:pt x="860" y="2594"/>
                    <a:pt x="860" y="2600"/>
                    <a:pt x="858" y="2603"/>
                  </a:cubicBezTo>
                  <a:cubicBezTo>
                    <a:pt x="855" y="2603"/>
                    <a:pt x="855" y="2597"/>
                    <a:pt x="855" y="2594"/>
                  </a:cubicBezTo>
                  <a:close/>
                  <a:moveTo>
                    <a:pt x="860" y="2526"/>
                  </a:moveTo>
                  <a:cubicBezTo>
                    <a:pt x="863" y="2521"/>
                    <a:pt x="872" y="2529"/>
                    <a:pt x="860" y="2526"/>
                  </a:cubicBezTo>
                  <a:close/>
                  <a:moveTo>
                    <a:pt x="866" y="302"/>
                  </a:moveTo>
                  <a:cubicBezTo>
                    <a:pt x="863" y="296"/>
                    <a:pt x="875" y="302"/>
                    <a:pt x="875" y="299"/>
                  </a:cubicBezTo>
                  <a:cubicBezTo>
                    <a:pt x="869" y="288"/>
                    <a:pt x="880" y="290"/>
                    <a:pt x="877" y="276"/>
                  </a:cubicBezTo>
                  <a:lnTo>
                    <a:pt x="886" y="276"/>
                  </a:lnTo>
                  <a:cubicBezTo>
                    <a:pt x="891" y="290"/>
                    <a:pt x="877" y="305"/>
                    <a:pt x="866" y="302"/>
                  </a:cubicBezTo>
                  <a:close/>
                  <a:moveTo>
                    <a:pt x="886" y="2526"/>
                  </a:moveTo>
                  <a:cubicBezTo>
                    <a:pt x="900" y="2526"/>
                    <a:pt x="883" y="2549"/>
                    <a:pt x="886" y="2526"/>
                  </a:cubicBezTo>
                  <a:close/>
                  <a:moveTo>
                    <a:pt x="894" y="240"/>
                  </a:moveTo>
                  <a:cubicBezTo>
                    <a:pt x="900" y="243"/>
                    <a:pt x="886" y="251"/>
                    <a:pt x="894" y="240"/>
                  </a:cubicBezTo>
                  <a:close/>
                  <a:moveTo>
                    <a:pt x="889" y="234"/>
                  </a:moveTo>
                  <a:cubicBezTo>
                    <a:pt x="889" y="228"/>
                    <a:pt x="897" y="237"/>
                    <a:pt x="889" y="234"/>
                  </a:cubicBezTo>
                  <a:close/>
                  <a:moveTo>
                    <a:pt x="891" y="214"/>
                  </a:moveTo>
                  <a:cubicBezTo>
                    <a:pt x="891" y="217"/>
                    <a:pt x="889" y="223"/>
                    <a:pt x="883" y="223"/>
                  </a:cubicBezTo>
                  <a:cubicBezTo>
                    <a:pt x="883" y="220"/>
                    <a:pt x="883" y="217"/>
                    <a:pt x="880" y="217"/>
                  </a:cubicBezTo>
                  <a:cubicBezTo>
                    <a:pt x="883" y="214"/>
                    <a:pt x="889" y="214"/>
                    <a:pt x="891" y="214"/>
                  </a:cubicBezTo>
                  <a:close/>
                  <a:moveTo>
                    <a:pt x="877" y="186"/>
                  </a:moveTo>
                  <a:cubicBezTo>
                    <a:pt x="883" y="192"/>
                    <a:pt x="886" y="200"/>
                    <a:pt x="880" y="203"/>
                  </a:cubicBezTo>
                  <a:cubicBezTo>
                    <a:pt x="875" y="203"/>
                    <a:pt x="877" y="192"/>
                    <a:pt x="872" y="192"/>
                  </a:cubicBezTo>
                  <a:cubicBezTo>
                    <a:pt x="872" y="189"/>
                    <a:pt x="877" y="189"/>
                    <a:pt x="877" y="186"/>
                  </a:cubicBezTo>
                  <a:close/>
                  <a:moveTo>
                    <a:pt x="880" y="206"/>
                  </a:moveTo>
                  <a:cubicBezTo>
                    <a:pt x="877" y="231"/>
                    <a:pt x="852" y="214"/>
                    <a:pt x="846" y="200"/>
                  </a:cubicBezTo>
                  <a:cubicBezTo>
                    <a:pt x="855" y="195"/>
                    <a:pt x="858" y="200"/>
                    <a:pt x="866" y="203"/>
                  </a:cubicBezTo>
                  <a:cubicBezTo>
                    <a:pt x="869" y="206"/>
                    <a:pt x="877" y="203"/>
                    <a:pt x="880" y="206"/>
                  </a:cubicBezTo>
                  <a:close/>
                  <a:moveTo>
                    <a:pt x="846" y="2526"/>
                  </a:moveTo>
                  <a:cubicBezTo>
                    <a:pt x="846" y="2529"/>
                    <a:pt x="846" y="2529"/>
                    <a:pt x="843" y="2529"/>
                  </a:cubicBezTo>
                  <a:cubicBezTo>
                    <a:pt x="852" y="2540"/>
                    <a:pt x="818" y="2533"/>
                    <a:pt x="833" y="2525"/>
                  </a:cubicBezTo>
                  <a:cubicBezTo>
                    <a:pt x="832" y="2524"/>
                    <a:pt x="832" y="2524"/>
                    <a:pt x="835" y="2524"/>
                  </a:cubicBezTo>
                  <a:cubicBezTo>
                    <a:pt x="841" y="2524"/>
                    <a:pt x="846" y="2524"/>
                    <a:pt x="846" y="2526"/>
                  </a:cubicBezTo>
                  <a:close/>
                  <a:moveTo>
                    <a:pt x="832" y="1731"/>
                  </a:moveTo>
                  <a:cubicBezTo>
                    <a:pt x="827" y="1728"/>
                    <a:pt x="835" y="1720"/>
                    <a:pt x="838" y="1725"/>
                  </a:cubicBezTo>
                  <a:cubicBezTo>
                    <a:pt x="838" y="1728"/>
                    <a:pt x="832" y="1728"/>
                    <a:pt x="832" y="1731"/>
                  </a:cubicBezTo>
                  <a:close/>
                  <a:moveTo>
                    <a:pt x="843" y="1711"/>
                  </a:moveTo>
                  <a:cubicBezTo>
                    <a:pt x="843" y="1706"/>
                    <a:pt x="852" y="1714"/>
                    <a:pt x="843" y="1711"/>
                  </a:cubicBezTo>
                  <a:close/>
                  <a:moveTo>
                    <a:pt x="852" y="1697"/>
                  </a:moveTo>
                  <a:cubicBezTo>
                    <a:pt x="852" y="1694"/>
                    <a:pt x="841" y="1694"/>
                    <a:pt x="843" y="1689"/>
                  </a:cubicBezTo>
                  <a:cubicBezTo>
                    <a:pt x="842" y="1689"/>
                    <a:pt x="840" y="1689"/>
                    <a:pt x="838" y="1689"/>
                  </a:cubicBezTo>
                  <a:cubicBezTo>
                    <a:pt x="838" y="1680"/>
                    <a:pt x="849" y="1680"/>
                    <a:pt x="855" y="1680"/>
                  </a:cubicBezTo>
                  <a:cubicBezTo>
                    <a:pt x="853" y="1682"/>
                    <a:pt x="851" y="1687"/>
                    <a:pt x="845" y="1689"/>
                  </a:cubicBezTo>
                  <a:cubicBezTo>
                    <a:pt x="849" y="1690"/>
                    <a:pt x="854" y="1692"/>
                    <a:pt x="852" y="1697"/>
                  </a:cubicBezTo>
                  <a:close/>
                  <a:moveTo>
                    <a:pt x="846" y="1643"/>
                  </a:moveTo>
                  <a:cubicBezTo>
                    <a:pt x="855" y="1646"/>
                    <a:pt x="843" y="1658"/>
                    <a:pt x="846" y="1643"/>
                  </a:cubicBezTo>
                  <a:close/>
                  <a:moveTo>
                    <a:pt x="841" y="147"/>
                  </a:moveTo>
                  <a:cubicBezTo>
                    <a:pt x="843" y="141"/>
                    <a:pt x="852" y="152"/>
                    <a:pt x="841" y="147"/>
                  </a:cubicBezTo>
                  <a:close/>
                  <a:moveTo>
                    <a:pt x="827" y="220"/>
                  </a:moveTo>
                  <a:cubicBezTo>
                    <a:pt x="841" y="209"/>
                    <a:pt x="855" y="223"/>
                    <a:pt x="827" y="220"/>
                  </a:cubicBezTo>
                  <a:close/>
                  <a:moveTo>
                    <a:pt x="829" y="245"/>
                  </a:moveTo>
                  <a:cubicBezTo>
                    <a:pt x="829" y="248"/>
                    <a:pt x="824" y="251"/>
                    <a:pt x="821" y="251"/>
                  </a:cubicBezTo>
                  <a:cubicBezTo>
                    <a:pt x="821" y="248"/>
                    <a:pt x="824" y="245"/>
                    <a:pt x="829" y="245"/>
                  </a:cubicBezTo>
                  <a:close/>
                  <a:moveTo>
                    <a:pt x="827" y="1706"/>
                  </a:moveTo>
                  <a:cubicBezTo>
                    <a:pt x="827" y="1708"/>
                    <a:pt x="812" y="1708"/>
                    <a:pt x="815" y="1703"/>
                  </a:cubicBezTo>
                  <a:cubicBezTo>
                    <a:pt x="818" y="1703"/>
                    <a:pt x="824" y="1703"/>
                    <a:pt x="827" y="1706"/>
                  </a:cubicBezTo>
                  <a:close/>
                  <a:moveTo>
                    <a:pt x="821" y="2529"/>
                  </a:moveTo>
                  <a:cubicBezTo>
                    <a:pt x="818" y="2543"/>
                    <a:pt x="812" y="2518"/>
                    <a:pt x="821" y="2529"/>
                  </a:cubicBezTo>
                  <a:close/>
                  <a:moveTo>
                    <a:pt x="812" y="2591"/>
                  </a:moveTo>
                  <a:cubicBezTo>
                    <a:pt x="812" y="2594"/>
                    <a:pt x="807" y="2597"/>
                    <a:pt x="804" y="2597"/>
                  </a:cubicBezTo>
                  <a:cubicBezTo>
                    <a:pt x="807" y="2594"/>
                    <a:pt x="810" y="2591"/>
                    <a:pt x="812" y="2591"/>
                  </a:cubicBezTo>
                  <a:close/>
                  <a:moveTo>
                    <a:pt x="807" y="2591"/>
                  </a:moveTo>
                  <a:lnTo>
                    <a:pt x="807" y="2583"/>
                  </a:lnTo>
                  <a:lnTo>
                    <a:pt x="812" y="2583"/>
                  </a:lnTo>
                  <a:cubicBezTo>
                    <a:pt x="812" y="2584"/>
                    <a:pt x="813" y="2585"/>
                    <a:pt x="813" y="2585"/>
                  </a:cubicBezTo>
                  <a:cubicBezTo>
                    <a:pt x="815" y="2568"/>
                    <a:pt x="791" y="2557"/>
                    <a:pt x="812" y="2549"/>
                  </a:cubicBezTo>
                  <a:cubicBezTo>
                    <a:pt x="815" y="2560"/>
                    <a:pt x="818" y="2569"/>
                    <a:pt x="821" y="2577"/>
                  </a:cubicBezTo>
                  <a:cubicBezTo>
                    <a:pt x="827" y="2574"/>
                    <a:pt x="835" y="2574"/>
                    <a:pt x="829" y="2560"/>
                  </a:cubicBezTo>
                  <a:cubicBezTo>
                    <a:pt x="841" y="2563"/>
                    <a:pt x="846" y="2572"/>
                    <a:pt x="843" y="2577"/>
                  </a:cubicBezTo>
                  <a:cubicBezTo>
                    <a:pt x="849" y="2577"/>
                    <a:pt x="852" y="2574"/>
                    <a:pt x="855" y="2574"/>
                  </a:cubicBezTo>
                  <a:cubicBezTo>
                    <a:pt x="852" y="2580"/>
                    <a:pt x="843" y="2583"/>
                    <a:pt x="846" y="2591"/>
                  </a:cubicBezTo>
                  <a:cubicBezTo>
                    <a:pt x="841" y="2591"/>
                    <a:pt x="841" y="2583"/>
                    <a:pt x="838" y="2577"/>
                  </a:cubicBezTo>
                  <a:cubicBezTo>
                    <a:pt x="838" y="2580"/>
                    <a:pt x="831" y="2587"/>
                    <a:pt x="823" y="2588"/>
                  </a:cubicBezTo>
                  <a:cubicBezTo>
                    <a:pt x="830" y="2596"/>
                    <a:pt x="832" y="2607"/>
                    <a:pt x="827" y="2617"/>
                  </a:cubicBezTo>
                  <a:cubicBezTo>
                    <a:pt x="829" y="2614"/>
                    <a:pt x="829" y="2614"/>
                    <a:pt x="835" y="2617"/>
                  </a:cubicBezTo>
                  <a:cubicBezTo>
                    <a:pt x="825" y="2617"/>
                    <a:pt x="821" y="2626"/>
                    <a:pt x="814" y="2630"/>
                  </a:cubicBezTo>
                  <a:cubicBezTo>
                    <a:pt x="815" y="2629"/>
                    <a:pt x="815" y="2627"/>
                    <a:pt x="815" y="2625"/>
                  </a:cubicBezTo>
                  <a:cubicBezTo>
                    <a:pt x="812" y="2625"/>
                    <a:pt x="812" y="2622"/>
                    <a:pt x="812" y="2620"/>
                  </a:cubicBezTo>
                  <a:cubicBezTo>
                    <a:pt x="810" y="2620"/>
                    <a:pt x="804" y="2617"/>
                    <a:pt x="807" y="2605"/>
                  </a:cubicBezTo>
                  <a:cubicBezTo>
                    <a:pt x="810" y="2605"/>
                    <a:pt x="810" y="2605"/>
                    <a:pt x="812" y="2608"/>
                  </a:cubicBezTo>
                  <a:cubicBezTo>
                    <a:pt x="815" y="2600"/>
                    <a:pt x="818" y="2591"/>
                    <a:pt x="821" y="2586"/>
                  </a:cubicBezTo>
                  <a:cubicBezTo>
                    <a:pt x="819" y="2586"/>
                    <a:pt x="817" y="2587"/>
                    <a:pt x="814" y="2588"/>
                  </a:cubicBezTo>
                  <a:cubicBezTo>
                    <a:pt x="815" y="2589"/>
                    <a:pt x="815" y="2590"/>
                    <a:pt x="815" y="2591"/>
                  </a:cubicBezTo>
                  <a:lnTo>
                    <a:pt x="812" y="2591"/>
                  </a:lnTo>
                  <a:cubicBezTo>
                    <a:pt x="813" y="2591"/>
                    <a:pt x="813" y="2591"/>
                    <a:pt x="812" y="2591"/>
                  </a:cubicBezTo>
                  <a:lnTo>
                    <a:pt x="807" y="2591"/>
                  </a:lnTo>
                  <a:close/>
                  <a:moveTo>
                    <a:pt x="815" y="276"/>
                  </a:moveTo>
                  <a:cubicBezTo>
                    <a:pt x="812" y="279"/>
                    <a:pt x="810" y="282"/>
                    <a:pt x="807" y="282"/>
                  </a:cubicBezTo>
                  <a:cubicBezTo>
                    <a:pt x="801" y="276"/>
                    <a:pt x="810" y="276"/>
                    <a:pt x="815" y="276"/>
                  </a:cubicBezTo>
                  <a:close/>
                  <a:moveTo>
                    <a:pt x="818" y="2639"/>
                  </a:moveTo>
                  <a:cubicBezTo>
                    <a:pt x="821" y="2653"/>
                    <a:pt x="815" y="2662"/>
                    <a:pt x="804" y="2662"/>
                  </a:cubicBezTo>
                  <a:lnTo>
                    <a:pt x="804" y="2642"/>
                  </a:lnTo>
                  <a:cubicBezTo>
                    <a:pt x="807" y="2639"/>
                    <a:pt x="812" y="2639"/>
                    <a:pt x="818" y="2639"/>
                  </a:cubicBezTo>
                  <a:close/>
                  <a:moveTo>
                    <a:pt x="810" y="186"/>
                  </a:moveTo>
                  <a:cubicBezTo>
                    <a:pt x="795" y="189"/>
                    <a:pt x="812" y="172"/>
                    <a:pt x="810" y="186"/>
                  </a:cubicBezTo>
                  <a:close/>
                  <a:moveTo>
                    <a:pt x="798" y="2541"/>
                  </a:moveTo>
                  <a:cubicBezTo>
                    <a:pt x="798" y="2535"/>
                    <a:pt x="807" y="2543"/>
                    <a:pt x="798" y="2541"/>
                  </a:cubicBezTo>
                  <a:close/>
                  <a:moveTo>
                    <a:pt x="798" y="276"/>
                  </a:moveTo>
                  <a:cubicBezTo>
                    <a:pt x="801" y="271"/>
                    <a:pt x="804" y="288"/>
                    <a:pt x="798" y="276"/>
                  </a:cubicBezTo>
                  <a:close/>
                  <a:moveTo>
                    <a:pt x="797" y="313"/>
                  </a:moveTo>
                  <a:cubicBezTo>
                    <a:pt x="799" y="315"/>
                    <a:pt x="801" y="319"/>
                    <a:pt x="801" y="322"/>
                  </a:cubicBezTo>
                  <a:lnTo>
                    <a:pt x="793" y="322"/>
                  </a:lnTo>
                  <a:cubicBezTo>
                    <a:pt x="795" y="322"/>
                    <a:pt x="795" y="316"/>
                    <a:pt x="795" y="313"/>
                  </a:cubicBezTo>
                  <a:cubicBezTo>
                    <a:pt x="795" y="308"/>
                    <a:pt x="803" y="315"/>
                    <a:pt x="797" y="313"/>
                  </a:cubicBezTo>
                  <a:close/>
                  <a:moveTo>
                    <a:pt x="787" y="243"/>
                  </a:moveTo>
                  <a:cubicBezTo>
                    <a:pt x="790" y="243"/>
                    <a:pt x="793" y="245"/>
                    <a:pt x="795" y="248"/>
                  </a:cubicBezTo>
                  <a:lnTo>
                    <a:pt x="790" y="248"/>
                  </a:lnTo>
                  <a:cubicBezTo>
                    <a:pt x="787" y="248"/>
                    <a:pt x="787" y="245"/>
                    <a:pt x="787" y="243"/>
                  </a:cubicBezTo>
                  <a:close/>
                  <a:moveTo>
                    <a:pt x="779" y="254"/>
                  </a:moveTo>
                  <a:lnTo>
                    <a:pt x="784" y="254"/>
                  </a:lnTo>
                  <a:lnTo>
                    <a:pt x="784" y="259"/>
                  </a:lnTo>
                  <a:lnTo>
                    <a:pt x="779" y="259"/>
                  </a:lnTo>
                  <a:cubicBezTo>
                    <a:pt x="776" y="259"/>
                    <a:pt x="779" y="257"/>
                    <a:pt x="779" y="254"/>
                  </a:cubicBezTo>
                  <a:close/>
                  <a:moveTo>
                    <a:pt x="790" y="279"/>
                  </a:moveTo>
                  <a:cubicBezTo>
                    <a:pt x="787" y="285"/>
                    <a:pt x="779" y="282"/>
                    <a:pt x="776" y="282"/>
                  </a:cubicBezTo>
                  <a:cubicBezTo>
                    <a:pt x="776" y="279"/>
                    <a:pt x="787" y="282"/>
                    <a:pt x="790" y="279"/>
                  </a:cubicBezTo>
                  <a:close/>
                  <a:moveTo>
                    <a:pt x="776" y="2552"/>
                  </a:moveTo>
                  <a:cubicBezTo>
                    <a:pt x="795" y="2552"/>
                    <a:pt x="767" y="2580"/>
                    <a:pt x="776" y="2552"/>
                  </a:cubicBezTo>
                  <a:close/>
                  <a:moveTo>
                    <a:pt x="779" y="2569"/>
                  </a:moveTo>
                  <a:lnTo>
                    <a:pt x="779" y="2572"/>
                  </a:lnTo>
                  <a:cubicBezTo>
                    <a:pt x="793" y="2574"/>
                    <a:pt x="770" y="2597"/>
                    <a:pt x="776" y="2574"/>
                  </a:cubicBezTo>
                  <a:cubicBezTo>
                    <a:pt x="773" y="2574"/>
                    <a:pt x="770" y="2569"/>
                    <a:pt x="779" y="2569"/>
                  </a:cubicBezTo>
                  <a:close/>
                  <a:moveTo>
                    <a:pt x="767" y="1756"/>
                  </a:moveTo>
                  <a:cubicBezTo>
                    <a:pt x="770" y="1765"/>
                    <a:pt x="753" y="1759"/>
                    <a:pt x="756" y="1754"/>
                  </a:cubicBezTo>
                  <a:cubicBezTo>
                    <a:pt x="759" y="1754"/>
                    <a:pt x="767" y="1751"/>
                    <a:pt x="767" y="1756"/>
                  </a:cubicBezTo>
                  <a:close/>
                  <a:moveTo>
                    <a:pt x="750" y="2549"/>
                  </a:moveTo>
                  <a:cubicBezTo>
                    <a:pt x="753" y="2549"/>
                    <a:pt x="759" y="2546"/>
                    <a:pt x="762" y="2546"/>
                  </a:cubicBezTo>
                  <a:cubicBezTo>
                    <a:pt x="764" y="2555"/>
                    <a:pt x="753" y="2566"/>
                    <a:pt x="750" y="2549"/>
                  </a:cubicBezTo>
                  <a:close/>
                  <a:moveTo>
                    <a:pt x="756" y="2560"/>
                  </a:moveTo>
                  <a:cubicBezTo>
                    <a:pt x="759" y="2555"/>
                    <a:pt x="767" y="2563"/>
                    <a:pt x="756" y="2560"/>
                  </a:cubicBezTo>
                  <a:close/>
                  <a:moveTo>
                    <a:pt x="731" y="2524"/>
                  </a:moveTo>
                  <a:cubicBezTo>
                    <a:pt x="739" y="2524"/>
                    <a:pt x="753" y="2524"/>
                    <a:pt x="753" y="2538"/>
                  </a:cubicBezTo>
                  <a:cubicBezTo>
                    <a:pt x="742" y="2541"/>
                    <a:pt x="731" y="2538"/>
                    <a:pt x="731" y="2524"/>
                  </a:cubicBezTo>
                  <a:close/>
                  <a:moveTo>
                    <a:pt x="736" y="2538"/>
                  </a:moveTo>
                  <a:cubicBezTo>
                    <a:pt x="756" y="2538"/>
                    <a:pt x="728" y="2566"/>
                    <a:pt x="736" y="2538"/>
                  </a:cubicBezTo>
                  <a:close/>
                  <a:moveTo>
                    <a:pt x="743" y="2447"/>
                  </a:moveTo>
                  <a:cubicBezTo>
                    <a:pt x="743" y="2446"/>
                    <a:pt x="745" y="2446"/>
                    <a:pt x="745" y="2447"/>
                  </a:cubicBezTo>
                  <a:cubicBezTo>
                    <a:pt x="741" y="2451"/>
                    <a:pt x="741" y="2449"/>
                    <a:pt x="743" y="2447"/>
                  </a:cubicBezTo>
                  <a:close/>
                  <a:moveTo>
                    <a:pt x="739" y="2363"/>
                  </a:moveTo>
                  <a:cubicBezTo>
                    <a:pt x="753" y="2363"/>
                    <a:pt x="736" y="2385"/>
                    <a:pt x="739" y="2363"/>
                  </a:cubicBezTo>
                  <a:close/>
                  <a:moveTo>
                    <a:pt x="736" y="2388"/>
                  </a:moveTo>
                  <a:cubicBezTo>
                    <a:pt x="753" y="2388"/>
                    <a:pt x="733" y="2411"/>
                    <a:pt x="736" y="2388"/>
                  </a:cubicBezTo>
                  <a:close/>
                  <a:moveTo>
                    <a:pt x="745" y="2405"/>
                  </a:moveTo>
                  <a:cubicBezTo>
                    <a:pt x="742" y="2411"/>
                    <a:pt x="748" y="2402"/>
                    <a:pt x="745" y="2405"/>
                  </a:cubicBezTo>
                  <a:close/>
                  <a:moveTo>
                    <a:pt x="764" y="2504"/>
                  </a:moveTo>
                  <a:lnTo>
                    <a:pt x="764" y="2518"/>
                  </a:lnTo>
                  <a:lnTo>
                    <a:pt x="750" y="2518"/>
                  </a:lnTo>
                  <a:lnTo>
                    <a:pt x="750" y="2504"/>
                  </a:lnTo>
                  <a:lnTo>
                    <a:pt x="764" y="2504"/>
                  </a:lnTo>
                  <a:close/>
                  <a:moveTo>
                    <a:pt x="750" y="2388"/>
                  </a:moveTo>
                  <a:cubicBezTo>
                    <a:pt x="767" y="2385"/>
                    <a:pt x="750" y="2411"/>
                    <a:pt x="750" y="2388"/>
                  </a:cubicBezTo>
                  <a:close/>
                  <a:moveTo>
                    <a:pt x="753" y="1722"/>
                  </a:moveTo>
                  <a:cubicBezTo>
                    <a:pt x="756" y="1720"/>
                    <a:pt x="756" y="1711"/>
                    <a:pt x="762" y="1711"/>
                  </a:cubicBezTo>
                  <a:cubicBezTo>
                    <a:pt x="762" y="1714"/>
                    <a:pt x="759" y="1722"/>
                    <a:pt x="753" y="1722"/>
                  </a:cubicBezTo>
                  <a:close/>
                  <a:moveTo>
                    <a:pt x="759" y="1610"/>
                  </a:moveTo>
                  <a:cubicBezTo>
                    <a:pt x="764" y="1618"/>
                    <a:pt x="762" y="1621"/>
                    <a:pt x="762" y="1632"/>
                  </a:cubicBezTo>
                  <a:cubicBezTo>
                    <a:pt x="756" y="1632"/>
                    <a:pt x="756" y="1627"/>
                    <a:pt x="750" y="1627"/>
                  </a:cubicBezTo>
                  <a:lnTo>
                    <a:pt x="759" y="1610"/>
                  </a:lnTo>
                  <a:close/>
                  <a:moveTo>
                    <a:pt x="748" y="1739"/>
                  </a:moveTo>
                  <a:cubicBezTo>
                    <a:pt x="748" y="1734"/>
                    <a:pt x="756" y="1742"/>
                    <a:pt x="748" y="1739"/>
                  </a:cubicBezTo>
                  <a:close/>
                  <a:moveTo>
                    <a:pt x="750" y="2464"/>
                  </a:moveTo>
                  <a:cubicBezTo>
                    <a:pt x="770" y="2464"/>
                    <a:pt x="742" y="2493"/>
                    <a:pt x="750" y="2464"/>
                  </a:cubicBezTo>
                  <a:close/>
                  <a:moveTo>
                    <a:pt x="748" y="1748"/>
                  </a:moveTo>
                  <a:lnTo>
                    <a:pt x="748" y="1759"/>
                  </a:lnTo>
                  <a:cubicBezTo>
                    <a:pt x="739" y="1759"/>
                    <a:pt x="739" y="1748"/>
                    <a:pt x="748" y="1748"/>
                  </a:cubicBezTo>
                  <a:close/>
                  <a:moveTo>
                    <a:pt x="742" y="322"/>
                  </a:moveTo>
                  <a:cubicBezTo>
                    <a:pt x="748" y="319"/>
                    <a:pt x="736" y="330"/>
                    <a:pt x="742" y="322"/>
                  </a:cubicBezTo>
                  <a:close/>
                  <a:moveTo>
                    <a:pt x="739" y="209"/>
                  </a:moveTo>
                  <a:cubicBezTo>
                    <a:pt x="745" y="206"/>
                    <a:pt x="733" y="217"/>
                    <a:pt x="739" y="209"/>
                  </a:cubicBezTo>
                  <a:close/>
                  <a:moveTo>
                    <a:pt x="731" y="1734"/>
                  </a:moveTo>
                  <a:cubicBezTo>
                    <a:pt x="731" y="1731"/>
                    <a:pt x="736" y="1728"/>
                    <a:pt x="739" y="1728"/>
                  </a:cubicBezTo>
                  <a:cubicBezTo>
                    <a:pt x="739" y="1731"/>
                    <a:pt x="733" y="1734"/>
                    <a:pt x="731" y="1734"/>
                  </a:cubicBezTo>
                  <a:close/>
                  <a:moveTo>
                    <a:pt x="733" y="285"/>
                  </a:moveTo>
                  <a:cubicBezTo>
                    <a:pt x="733" y="279"/>
                    <a:pt x="742" y="288"/>
                    <a:pt x="733" y="285"/>
                  </a:cubicBezTo>
                  <a:close/>
                  <a:moveTo>
                    <a:pt x="739" y="299"/>
                  </a:moveTo>
                  <a:cubicBezTo>
                    <a:pt x="731" y="307"/>
                    <a:pt x="731" y="293"/>
                    <a:pt x="739" y="299"/>
                  </a:cubicBezTo>
                  <a:close/>
                  <a:moveTo>
                    <a:pt x="745" y="2431"/>
                  </a:moveTo>
                  <a:lnTo>
                    <a:pt x="745" y="2436"/>
                  </a:lnTo>
                  <a:cubicBezTo>
                    <a:pt x="742" y="2439"/>
                    <a:pt x="739" y="2442"/>
                    <a:pt x="736" y="2442"/>
                  </a:cubicBezTo>
                  <a:cubicBezTo>
                    <a:pt x="733" y="2442"/>
                    <a:pt x="728" y="2439"/>
                    <a:pt x="725" y="2439"/>
                  </a:cubicBezTo>
                  <a:cubicBezTo>
                    <a:pt x="716" y="2414"/>
                    <a:pt x="742" y="2419"/>
                    <a:pt x="745" y="2431"/>
                  </a:cubicBezTo>
                  <a:close/>
                  <a:moveTo>
                    <a:pt x="722" y="2518"/>
                  </a:moveTo>
                  <a:cubicBezTo>
                    <a:pt x="725" y="2524"/>
                    <a:pt x="725" y="2529"/>
                    <a:pt x="725" y="2535"/>
                  </a:cubicBezTo>
                  <a:lnTo>
                    <a:pt x="722" y="2535"/>
                  </a:lnTo>
                  <a:lnTo>
                    <a:pt x="722" y="2518"/>
                  </a:lnTo>
                  <a:close/>
                  <a:moveTo>
                    <a:pt x="716" y="463"/>
                  </a:moveTo>
                  <a:cubicBezTo>
                    <a:pt x="716" y="457"/>
                    <a:pt x="728" y="465"/>
                    <a:pt x="716" y="463"/>
                  </a:cubicBezTo>
                  <a:close/>
                  <a:moveTo>
                    <a:pt x="714" y="2433"/>
                  </a:moveTo>
                  <a:cubicBezTo>
                    <a:pt x="733" y="2439"/>
                    <a:pt x="700" y="2450"/>
                    <a:pt x="714" y="2433"/>
                  </a:cubicBezTo>
                  <a:close/>
                  <a:moveTo>
                    <a:pt x="722" y="2385"/>
                  </a:moveTo>
                  <a:cubicBezTo>
                    <a:pt x="736" y="2385"/>
                    <a:pt x="719" y="2408"/>
                    <a:pt x="722" y="2385"/>
                  </a:cubicBezTo>
                  <a:close/>
                  <a:moveTo>
                    <a:pt x="722" y="302"/>
                  </a:moveTo>
                  <a:cubicBezTo>
                    <a:pt x="728" y="293"/>
                    <a:pt x="728" y="310"/>
                    <a:pt x="722" y="302"/>
                  </a:cubicBezTo>
                  <a:close/>
                  <a:moveTo>
                    <a:pt x="716" y="234"/>
                  </a:moveTo>
                  <a:cubicBezTo>
                    <a:pt x="716" y="228"/>
                    <a:pt x="728" y="237"/>
                    <a:pt x="716" y="234"/>
                  </a:cubicBezTo>
                  <a:close/>
                  <a:moveTo>
                    <a:pt x="731" y="293"/>
                  </a:moveTo>
                  <a:cubicBezTo>
                    <a:pt x="725" y="296"/>
                    <a:pt x="719" y="296"/>
                    <a:pt x="714" y="299"/>
                  </a:cubicBezTo>
                  <a:cubicBezTo>
                    <a:pt x="714" y="296"/>
                    <a:pt x="711" y="290"/>
                    <a:pt x="711" y="288"/>
                  </a:cubicBezTo>
                  <a:cubicBezTo>
                    <a:pt x="719" y="282"/>
                    <a:pt x="728" y="282"/>
                    <a:pt x="731" y="293"/>
                  </a:cubicBezTo>
                  <a:close/>
                  <a:moveTo>
                    <a:pt x="716" y="415"/>
                  </a:moveTo>
                  <a:cubicBezTo>
                    <a:pt x="716" y="420"/>
                    <a:pt x="708" y="423"/>
                    <a:pt x="705" y="423"/>
                  </a:cubicBezTo>
                  <a:cubicBezTo>
                    <a:pt x="705" y="420"/>
                    <a:pt x="711" y="417"/>
                    <a:pt x="716" y="415"/>
                  </a:cubicBezTo>
                  <a:close/>
                  <a:moveTo>
                    <a:pt x="702" y="2445"/>
                  </a:moveTo>
                  <a:lnTo>
                    <a:pt x="725" y="2445"/>
                  </a:lnTo>
                  <a:cubicBezTo>
                    <a:pt x="728" y="2456"/>
                    <a:pt x="719" y="2456"/>
                    <a:pt x="719" y="2464"/>
                  </a:cubicBezTo>
                  <a:cubicBezTo>
                    <a:pt x="714" y="2464"/>
                    <a:pt x="711" y="2459"/>
                    <a:pt x="705" y="2459"/>
                  </a:cubicBezTo>
                  <a:cubicBezTo>
                    <a:pt x="702" y="2456"/>
                    <a:pt x="702" y="2450"/>
                    <a:pt x="702" y="2445"/>
                  </a:cubicBezTo>
                  <a:close/>
                  <a:moveTo>
                    <a:pt x="702" y="2535"/>
                  </a:moveTo>
                  <a:cubicBezTo>
                    <a:pt x="711" y="2532"/>
                    <a:pt x="714" y="2546"/>
                    <a:pt x="716" y="2555"/>
                  </a:cubicBezTo>
                  <a:cubicBezTo>
                    <a:pt x="705" y="2555"/>
                    <a:pt x="702" y="2543"/>
                    <a:pt x="702" y="2535"/>
                  </a:cubicBezTo>
                  <a:close/>
                  <a:moveTo>
                    <a:pt x="711" y="2557"/>
                  </a:moveTo>
                  <a:cubicBezTo>
                    <a:pt x="708" y="2563"/>
                    <a:pt x="708" y="2569"/>
                    <a:pt x="711" y="2574"/>
                  </a:cubicBezTo>
                  <a:cubicBezTo>
                    <a:pt x="714" y="2572"/>
                    <a:pt x="714" y="2572"/>
                    <a:pt x="716" y="2572"/>
                  </a:cubicBezTo>
                  <a:cubicBezTo>
                    <a:pt x="714" y="2574"/>
                    <a:pt x="716" y="2577"/>
                    <a:pt x="714" y="2580"/>
                  </a:cubicBezTo>
                  <a:cubicBezTo>
                    <a:pt x="719" y="2586"/>
                    <a:pt x="728" y="2580"/>
                    <a:pt x="731" y="2566"/>
                  </a:cubicBezTo>
                  <a:cubicBezTo>
                    <a:pt x="750" y="2591"/>
                    <a:pt x="705" y="2597"/>
                    <a:pt x="697" y="2600"/>
                  </a:cubicBezTo>
                  <a:cubicBezTo>
                    <a:pt x="683" y="2594"/>
                    <a:pt x="688" y="2550"/>
                    <a:pt x="710" y="2557"/>
                  </a:cubicBezTo>
                  <a:cubicBezTo>
                    <a:pt x="710" y="2558"/>
                    <a:pt x="709" y="2561"/>
                    <a:pt x="711" y="2557"/>
                  </a:cubicBezTo>
                  <a:close/>
                  <a:moveTo>
                    <a:pt x="710" y="2557"/>
                  </a:moveTo>
                  <a:lnTo>
                    <a:pt x="711" y="2557"/>
                  </a:lnTo>
                  <a:cubicBezTo>
                    <a:pt x="711" y="2557"/>
                    <a:pt x="711" y="2557"/>
                    <a:pt x="710" y="2557"/>
                  </a:cubicBezTo>
                  <a:close/>
                  <a:moveTo>
                    <a:pt x="669" y="2586"/>
                  </a:moveTo>
                  <a:cubicBezTo>
                    <a:pt x="666" y="2586"/>
                    <a:pt x="663" y="2583"/>
                    <a:pt x="660" y="2583"/>
                  </a:cubicBezTo>
                  <a:cubicBezTo>
                    <a:pt x="666" y="2583"/>
                    <a:pt x="683" y="2586"/>
                    <a:pt x="669" y="2586"/>
                  </a:cubicBezTo>
                  <a:close/>
                  <a:moveTo>
                    <a:pt x="666" y="2603"/>
                  </a:moveTo>
                  <a:cubicBezTo>
                    <a:pt x="666" y="2597"/>
                    <a:pt x="677" y="2605"/>
                    <a:pt x="666" y="2603"/>
                  </a:cubicBezTo>
                  <a:close/>
                  <a:moveTo>
                    <a:pt x="671" y="2484"/>
                  </a:moveTo>
                  <a:cubicBezTo>
                    <a:pt x="685" y="2487"/>
                    <a:pt x="669" y="2498"/>
                    <a:pt x="671" y="2484"/>
                  </a:cubicBezTo>
                  <a:close/>
                  <a:moveTo>
                    <a:pt x="683" y="2445"/>
                  </a:moveTo>
                  <a:cubicBezTo>
                    <a:pt x="705" y="2453"/>
                    <a:pt x="657" y="2462"/>
                    <a:pt x="683" y="2445"/>
                  </a:cubicBezTo>
                  <a:close/>
                  <a:moveTo>
                    <a:pt x="680" y="2512"/>
                  </a:moveTo>
                  <a:cubicBezTo>
                    <a:pt x="680" y="2513"/>
                    <a:pt x="680" y="2514"/>
                    <a:pt x="679" y="2515"/>
                  </a:cubicBezTo>
                  <a:cubicBezTo>
                    <a:pt x="680" y="2514"/>
                    <a:pt x="681" y="2513"/>
                    <a:pt x="683" y="2512"/>
                  </a:cubicBezTo>
                  <a:cubicBezTo>
                    <a:pt x="708" y="2542"/>
                    <a:pt x="660" y="2539"/>
                    <a:pt x="674" y="2520"/>
                  </a:cubicBezTo>
                  <a:cubicBezTo>
                    <a:pt x="673" y="2521"/>
                    <a:pt x="672" y="2521"/>
                    <a:pt x="671" y="2521"/>
                  </a:cubicBezTo>
                  <a:lnTo>
                    <a:pt x="671" y="2515"/>
                  </a:lnTo>
                  <a:cubicBezTo>
                    <a:pt x="674" y="2512"/>
                    <a:pt x="677" y="2512"/>
                    <a:pt x="680" y="2512"/>
                  </a:cubicBezTo>
                  <a:close/>
                  <a:moveTo>
                    <a:pt x="688" y="2507"/>
                  </a:moveTo>
                  <a:cubicBezTo>
                    <a:pt x="702" y="2504"/>
                    <a:pt x="685" y="2529"/>
                    <a:pt x="688" y="2507"/>
                  </a:cubicBezTo>
                  <a:close/>
                  <a:moveTo>
                    <a:pt x="694" y="288"/>
                  </a:moveTo>
                  <a:cubicBezTo>
                    <a:pt x="688" y="288"/>
                    <a:pt x="691" y="274"/>
                    <a:pt x="697" y="276"/>
                  </a:cubicBezTo>
                  <a:cubicBezTo>
                    <a:pt x="697" y="279"/>
                    <a:pt x="697" y="285"/>
                    <a:pt x="694" y="288"/>
                  </a:cubicBezTo>
                  <a:close/>
                  <a:moveTo>
                    <a:pt x="694" y="293"/>
                  </a:moveTo>
                  <a:cubicBezTo>
                    <a:pt x="691" y="293"/>
                    <a:pt x="700" y="296"/>
                    <a:pt x="694" y="293"/>
                  </a:cubicBezTo>
                  <a:close/>
                  <a:moveTo>
                    <a:pt x="691" y="1739"/>
                  </a:moveTo>
                  <a:cubicBezTo>
                    <a:pt x="691" y="1734"/>
                    <a:pt x="702" y="1742"/>
                    <a:pt x="691" y="1739"/>
                  </a:cubicBezTo>
                  <a:close/>
                  <a:moveTo>
                    <a:pt x="694" y="2473"/>
                  </a:moveTo>
                  <a:cubicBezTo>
                    <a:pt x="705" y="2476"/>
                    <a:pt x="711" y="2487"/>
                    <a:pt x="708" y="2501"/>
                  </a:cubicBezTo>
                  <a:cubicBezTo>
                    <a:pt x="691" y="2507"/>
                    <a:pt x="697" y="2484"/>
                    <a:pt x="694" y="2473"/>
                  </a:cubicBezTo>
                  <a:close/>
                  <a:moveTo>
                    <a:pt x="697" y="271"/>
                  </a:moveTo>
                  <a:cubicBezTo>
                    <a:pt x="697" y="265"/>
                    <a:pt x="705" y="274"/>
                    <a:pt x="697" y="271"/>
                  </a:cubicBezTo>
                  <a:close/>
                  <a:moveTo>
                    <a:pt x="700" y="217"/>
                  </a:moveTo>
                  <a:cubicBezTo>
                    <a:pt x="705" y="228"/>
                    <a:pt x="694" y="231"/>
                    <a:pt x="685" y="234"/>
                  </a:cubicBezTo>
                  <a:cubicBezTo>
                    <a:pt x="685" y="226"/>
                    <a:pt x="691" y="220"/>
                    <a:pt x="700" y="217"/>
                  </a:cubicBezTo>
                  <a:close/>
                  <a:moveTo>
                    <a:pt x="688" y="285"/>
                  </a:moveTo>
                  <a:cubicBezTo>
                    <a:pt x="685" y="293"/>
                    <a:pt x="677" y="282"/>
                    <a:pt x="688" y="285"/>
                  </a:cubicBezTo>
                  <a:close/>
                  <a:moveTo>
                    <a:pt x="683" y="2363"/>
                  </a:moveTo>
                  <a:cubicBezTo>
                    <a:pt x="700" y="2366"/>
                    <a:pt x="680" y="2391"/>
                    <a:pt x="683" y="2363"/>
                  </a:cubicBezTo>
                  <a:close/>
                  <a:moveTo>
                    <a:pt x="680" y="322"/>
                  </a:moveTo>
                  <a:lnTo>
                    <a:pt x="685" y="322"/>
                  </a:lnTo>
                  <a:lnTo>
                    <a:pt x="685" y="327"/>
                  </a:lnTo>
                  <a:lnTo>
                    <a:pt x="680" y="327"/>
                  </a:lnTo>
                  <a:lnTo>
                    <a:pt x="680" y="322"/>
                  </a:lnTo>
                  <a:close/>
                  <a:moveTo>
                    <a:pt x="691" y="2422"/>
                  </a:moveTo>
                  <a:cubicBezTo>
                    <a:pt x="671" y="2425"/>
                    <a:pt x="674" y="2399"/>
                    <a:pt x="669" y="2388"/>
                  </a:cubicBezTo>
                  <a:cubicBezTo>
                    <a:pt x="683" y="2394"/>
                    <a:pt x="691" y="2405"/>
                    <a:pt x="691" y="2422"/>
                  </a:cubicBezTo>
                  <a:close/>
                  <a:moveTo>
                    <a:pt x="669" y="2439"/>
                  </a:moveTo>
                  <a:cubicBezTo>
                    <a:pt x="669" y="2436"/>
                    <a:pt x="666" y="2445"/>
                    <a:pt x="669" y="2439"/>
                  </a:cubicBezTo>
                  <a:close/>
                  <a:moveTo>
                    <a:pt x="660" y="2366"/>
                  </a:moveTo>
                  <a:cubicBezTo>
                    <a:pt x="677" y="2380"/>
                    <a:pt x="643" y="2354"/>
                    <a:pt x="660" y="2366"/>
                  </a:cubicBezTo>
                  <a:close/>
                  <a:moveTo>
                    <a:pt x="657" y="2464"/>
                  </a:moveTo>
                  <a:cubicBezTo>
                    <a:pt x="656" y="2464"/>
                    <a:pt x="655" y="2463"/>
                    <a:pt x="655" y="2463"/>
                  </a:cubicBezTo>
                  <a:cubicBezTo>
                    <a:pt x="652" y="2461"/>
                    <a:pt x="651" y="2459"/>
                    <a:pt x="649" y="2459"/>
                  </a:cubicBezTo>
                  <a:cubicBezTo>
                    <a:pt x="649" y="2459"/>
                    <a:pt x="652" y="2456"/>
                    <a:pt x="654" y="2459"/>
                  </a:cubicBezTo>
                  <a:cubicBezTo>
                    <a:pt x="657" y="2459"/>
                    <a:pt x="660" y="2464"/>
                    <a:pt x="660" y="2464"/>
                  </a:cubicBezTo>
                  <a:lnTo>
                    <a:pt x="657" y="2464"/>
                  </a:lnTo>
                  <a:close/>
                  <a:moveTo>
                    <a:pt x="654" y="2529"/>
                  </a:moveTo>
                  <a:cubicBezTo>
                    <a:pt x="654" y="2524"/>
                    <a:pt x="663" y="2532"/>
                    <a:pt x="654" y="2529"/>
                  </a:cubicBezTo>
                  <a:close/>
                  <a:moveTo>
                    <a:pt x="654" y="2397"/>
                  </a:moveTo>
                  <a:cubicBezTo>
                    <a:pt x="669" y="2394"/>
                    <a:pt x="652" y="2419"/>
                    <a:pt x="654" y="2397"/>
                  </a:cubicBezTo>
                  <a:close/>
                  <a:moveTo>
                    <a:pt x="649" y="440"/>
                  </a:moveTo>
                  <a:cubicBezTo>
                    <a:pt x="649" y="434"/>
                    <a:pt x="660" y="443"/>
                    <a:pt x="649" y="440"/>
                  </a:cubicBezTo>
                  <a:close/>
                  <a:moveTo>
                    <a:pt x="652" y="262"/>
                  </a:moveTo>
                  <a:cubicBezTo>
                    <a:pt x="649" y="262"/>
                    <a:pt x="654" y="265"/>
                    <a:pt x="652" y="262"/>
                  </a:cubicBezTo>
                  <a:close/>
                  <a:moveTo>
                    <a:pt x="643" y="310"/>
                  </a:moveTo>
                  <a:cubicBezTo>
                    <a:pt x="640" y="307"/>
                    <a:pt x="649" y="310"/>
                    <a:pt x="643" y="310"/>
                  </a:cubicBezTo>
                  <a:close/>
                  <a:moveTo>
                    <a:pt x="646" y="1687"/>
                  </a:moveTo>
                  <a:cubicBezTo>
                    <a:pt x="645" y="1687"/>
                    <a:pt x="642" y="1686"/>
                    <a:pt x="646" y="1686"/>
                  </a:cubicBezTo>
                  <a:cubicBezTo>
                    <a:pt x="647" y="1687"/>
                    <a:pt x="647" y="1687"/>
                    <a:pt x="646" y="1687"/>
                  </a:cubicBezTo>
                  <a:close/>
                  <a:moveTo>
                    <a:pt x="640" y="1573"/>
                  </a:moveTo>
                  <a:cubicBezTo>
                    <a:pt x="643" y="1573"/>
                    <a:pt x="635" y="1570"/>
                    <a:pt x="640" y="1573"/>
                  </a:cubicBezTo>
                  <a:close/>
                  <a:moveTo>
                    <a:pt x="654" y="2416"/>
                  </a:moveTo>
                  <a:cubicBezTo>
                    <a:pt x="643" y="2436"/>
                    <a:pt x="632" y="2399"/>
                    <a:pt x="637" y="2388"/>
                  </a:cubicBezTo>
                  <a:cubicBezTo>
                    <a:pt x="650" y="2386"/>
                    <a:pt x="643" y="2410"/>
                    <a:pt x="650" y="2415"/>
                  </a:cubicBezTo>
                  <a:cubicBezTo>
                    <a:pt x="651" y="2416"/>
                    <a:pt x="652" y="2417"/>
                    <a:pt x="654" y="2416"/>
                  </a:cubicBezTo>
                  <a:close/>
                  <a:moveTo>
                    <a:pt x="601" y="2447"/>
                  </a:moveTo>
                  <a:cubicBezTo>
                    <a:pt x="604" y="2439"/>
                    <a:pt x="621" y="2442"/>
                    <a:pt x="629" y="2439"/>
                  </a:cubicBezTo>
                  <a:cubicBezTo>
                    <a:pt x="629" y="2447"/>
                    <a:pt x="629" y="2459"/>
                    <a:pt x="635" y="2459"/>
                  </a:cubicBezTo>
                  <a:cubicBezTo>
                    <a:pt x="623" y="2481"/>
                    <a:pt x="606" y="2453"/>
                    <a:pt x="601" y="2447"/>
                  </a:cubicBezTo>
                  <a:close/>
                  <a:moveTo>
                    <a:pt x="616" y="2566"/>
                  </a:moveTo>
                  <a:cubicBezTo>
                    <a:pt x="616" y="2567"/>
                    <a:pt x="615" y="2570"/>
                    <a:pt x="615" y="2566"/>
                  </a:cubicBezTo>
                  <a:cubicBezTo>
                    <a:pt x="616" y="2565"/>
                    <a:pt x="616" y="2565"/>
                    <a:pt x="616" y="2566"/>
                  </a:cubicBezTo>
                  <a:close/>
                  <a:moveTo>
                    <a:pt x="558" y="1300"/>
                  </a:moveTo>
                  <a:cubicBezTo>
                    <a:pt x="550" y="1320"/>
                    <a:pt x="561" y="1281"/>
                    <a:pt x="558" y="1300"/>
                  </a:cubicBezTo>
                  <a:close/>
                  <a:moveTo>
                    <a:pt x="539" y="801"/>
                  </a:moveTo>
                  <a:cubicBezTo>
                    <a:pt x="550" y="790"/>
                    <a:pt x="556" y="801"/>
                    <a:pt x="564" y="801"/>
                  </a:cubicBezTo>
                  <a:cubicBezTo>
                    <a:pt x="570" y="807"/>
                    <a:pt x="542" y="815"/>
                    <a:pt x="539" y="801"/>
                  </a:cubicBezTo>
                  <a:close/>
                  <a:moveTo>
                    <a:pt x="508" y="810"/>
                  </a:moveTo>
                  <a:cubicBezTo>
                    <a:pt x="502" y="832"/>
                    <a:pt x="485" y="804"/>
                    <a:pt x="508" y="810"/>
                  </a:cubicBezTo>
                  <a:close/>
                  <a:moveTo>
                    <a:pt x="499" y="2383"/>
                  </a:moveTo>
                  <a:cubicBezTo>
                    <a:pt x="498" y="2383"/>
                    <a:pt x="498" y="2382"/>
                    <a:pt x="497" y="2382"/>
                  </a:cubicBezTo>
                  <a:cubicBezTo>
                    <a:pt x="497" y="2381"/>
                    <a:pt x="497" y="2381"/>
                    <a:pt x="499" y="2383"/>
                  </a:cubicBezTo>
                  <a:cubicBezTo>
                    <a:pt x="498" y="2383"/>
                    <a:pt x="498" y="2382"/>
                    <a:pt x="497" y="2382"/>
                  </a:cubicBezTo>
                  <a:cubicBezTo>
                    <a:pt x="496" y="2381"/>
                    <a:pt x="496" y="2380"/>
                    <a:pt x="496" y="2380"/>
                  </a:cubicBezTo>
                  <a:cubicBezTo>
                    <a:pt x="496" y="2377"/>
                    <a:pt x="499" y="2380"/>
                    <a:pt x="499" y="2383"/>
                  </a:cubicBezTo>
                  <a:close/>
                  <a:moveTo>
                    <a:pt x="488" y="795"/>
                  </a:moveTo>
                  <a:cubicBezTo>
                    <a:pt x="491" y="795"/>
                    <a:pt x="494" y="798"/>
                    <a:pt x="496" y="798"/>
                  </a:cubicBezTo>
                  <a:cubicBezTo>
                    <a:pt x="496" y="801"/>
                    <a:pt x="485" y="801"/>
                    <a:pt x="488" y="795"/>
                  </a:cubicBezTo>
                  <a:close/>
                  <a:moveTo>
                    <a:pt x="494" y="1345"/>
                  </a:moveTo>
                  <a:cubicBezTo>
                    <a:pt x="496" y="1345"/>
                    <a:pt x="488" y="1343"/>
                    <a:pt x="494" y="1345"/>
                  </a:cubicBezTo>
                  <a:close/>
                  <a:moveTo>
                    <a:pt x="491" y="2326"/>
                  </a:moveTo>
                  <a:cubicBezTo>
                    <a:pt x="488" y="2332"/>
                    <a:pt x="491" y="2323"/>
                    <a:pt x="491" y="2326"/>
                  </a:cubicBezTo>
                  <a:close/>
                  <a:moveTo>
                    <a:pt x="496" y="587"/>
                  </a:moveTo>
                  <a:cubicBezTo>
                    <a:pt x="502" y="601"/>
                    <a:pt x="474" y="592"/>
                    <a:pt x="496" y="587"/>
                  </a:cubicBezTo>
                  <a:close/>
                  <a:moveTo>
                    <a:pt x="454" y="2380"/>
                  </a:moveTo>
                  <a:cubicBezTo>
                    <a:pt x="460" y="2371"/>
                    <a:pt x="463" y="2354"/>
                    <a:pt x="477" y="2357"/>
                  </a:cubicBezTo>
                  <a:cubicBezTo>
                    <a:pt x="477" y="2357"/>
                    <a:pt x="479" y="2354"/>
                    <a:pt x="477" y="2357"/>
                  </a:cubicBezTo>
                  <a:lnTo>
                    <a:pt x="477" y="2354"/>
                  </a:lnTo>
                  <a:cubicBezTo>
                    <a:pt x="479" y="2354"/>
                    <a:pt x="479" y="2357"/>
                    <a:pt x="482" y="2357"/>
                  </a:cubicBezTo>
                  <a:cubicBezTo>
                    <a:pt x="482" y="2363"/>
                    <a:pt x="485" y="2371"/>
                    <a:pt x="485" y="2380"/>
                  </a:cubicBezTo>
                  <a:cubicBezTo>
                    <a:pt x="477" y="2383"/>
                    <a:pt x="463" y="2380"/>
                    <a:pt x="454" y="2380"/>
                  </a:cubicBezTo>
                  <a:close/>
                  <a:moveTo>
                    <a:pt x="460" y="2433"/>
                  </a:moveTo>
                  <a:cubicBezTo>
                    <a:pt x="479" y="2439"/>
                    <a:pt x="446" y="2453"/>
                    <a:pt x="460" y="2433"/>
                  </a:cubicBezTo>
                  <a:close/>
                  <a:moveTo>
                    <a:pt x="446" y="2422"/>
                  </a:moveTo>
                  <a:lnTo>
                    <a:pt x="440" y="2422"/>
                  </a:lnTo>
                  <a:cubicBezTo>
                    <a:pt x="426" y="2425"/>
                    <a:pt x="432" y="2402"/>
                    <a:pt x="429" y="2391"/>
                  </a:cubicBezTo>
                  <a:cubicBezTo>
                    <a:pt x="437" y="2396"/>
                    <a:pt x="442" y="2407"/>
                    <a:pt x="445" y="2421"/>
                  </a:cubicBezTo>
                  <a:cubicBezTo>
                    <a:pt x="445" y="2421"/>
                    <a:pt x="446" y="2421"/>
                    <a:pt x="446" y="2422"/>
                  </a:cubicBezTo>
                  <a:close/>
                  <a:moveTo>
                    <a:pt x="440" y="2431"/>
                  </a:moveTo>
                  <a:lnTo>
                    <a:pt x="440" y="2429"/>
                  </a:lnTo>
                  <a:cubicBezTo>
                    <a:pt x="441" y="2428"/>
                    <a:pt x="441" y="2428"/>
                    <a:pt x="440" y="2431"/>
                  </a:cubicBezTo>
                  <a:cubicBezTo>
                    <a:pt x="439" y="2432"/>
                    <a:pt x="439" y="2431"/>
                    <a:pt x="440" y="2429"/>
                  </a:cubicBezTo>
                  <a:lnTo>
                    <a:pt x="440" y="2431"/>
                  </a:lnTo>
                  <a:close/>
                  <a:moveTo>
                    <a:pt x="457" y="2354"/>
                  </a:moveTo>
                  <a:cubicBezTo>
                    <a:pt x="423" y="2343"/>
                    <a:pt x="448" y="2320"/>
                    <a:pt x="457" y="2354"/>
                  </a:cubicBezTo>
                  <a:close/>
                  <a:moveTo>
                    <a:pt x="417" y="2185"/>
                  </a:moveTo>
                  <a:cubicBezTo>
                    <a:pt x="406" y="2177"/>
                    <a:pt x="426" y="2157"/>
                    <a:pt x="432" y="2157"/>
                  </a:cubicBezTo>
                  <a:lnTo>
                    <a:pt x="423" y="2157"/>
                  </a:lnTo>
                  <a:cubicBezTo>
                    <a:pt x="426" y="2146"/>
                    <a:pt x="420" y="2146"/>
                    <a:pt x="423" y="2137"/>
                  </a:cubicBezTo>
                  <a:cubicBezTo>
                    <a:pt x="426" y="2137"/>
                    <a:pt x="432" y="2140"/>
                    <a:pt x="432" y="2146"/>
                  </a:cubicBezTo>
                  <a:cubicBezTo>
                    <a:pt x="448" y="2143"/>
                    <a:pt x="443" y="2160"/>
                    <a:pt x="457" y="2160"/>
                  </a:cubicBezTo>
                  <a:cubicBezTo>
                    <a:pt x="455" y="2168"/>
                    <a:pt x="443" y="2167"/>
                    <a:pt x="436" y="2162"/>
                  </a:cubicBezTo>
                  <a:cubicBezTo>
                    <a:pt x="438" y="2170"/>
                    <a:pt x="422" y="2181"/>
                    <a:pt x="417" y="2185"/>
                  </a:cubicBezTo>
                  <a:close/>
                  <a:moveTo>
                    <a:pt x="406" y="2346"/>
                  </a:moveTo>
                  <a:cubicBezTo>
                    <a:pt x="398" y="2343"/>
                    <a:pt x="403" y="2326"/>
                    <a:pt x="395" y="2326"/>
                  </a:cubicBezTo>
                  <a:cubicBezTo>
                    <a:pt x="392" y="2329"/>
                    <a:pt x="386" y="2326"/>
                    <a:pt x="389" y="2312"/>
                  </a:cubicBezTo>
                  <a:cubicBezTo>
                    <a:pt x="395" y="2312"/>
                    <a:pt x="400" y="2318"/>
                    <a:pt x="398" y="2320"/>
                  </a:cubicBezTo>
                  <a:cubicBezTo>
                    <a:pt x="403" y="2315"/>
                    <a:pt x="415" y="2332"/>
                    <a:pt x="423" y="2329"/>
                  </a:cubicBezTo>
                  <a:cubicBezTo>
                    <a:pt x="420" y="2337"/>
                    <a:pt x="415" y="2343"/>
                    <a:pt x="406" y="2346"/>
                  </a:cubicBezTo>
                  <a:close/>
                  <a:moveTo>
                    <a:pt x="415" y="2346"/>
                  </a:moveTo>
                  <a:lnTo>
                    <a:pt x="415" y="2345"/>
                  </a:lnTo>
                  <a:cubicBezTo>
                    <a:pt x="415" y="2346"/>
                    <a:pt x="416" y="2346"/>
                    <a:pt x="415" y="2346"/>
                  </a:cubicBezTo>
                  <a:cubicBezTo>
                    <a:pt x="411" y="2344"/>
                    <a:pt x="413" y="2345"/>
                    <a:pt x="415" y="2345"/>
                  </a:cubicBezTo>
                  <a:lnTo>
                    <a:pt x="415" y="2346"/>
                  </a:lnTo>
                  <a:close/>
                  <a:moveTo>
                    <a:pt x="398" y="2354"/>
                  </a:moveTo>
                  <a:cubicBezTo>
                    <a:pt x="407" y="2352"/>
                    <a:pt x="415" y="2355"/>
                    <a:pt x="423" y="2360"/>
                  </a:cubicBezTo>
                  <a:cubicBezTo>
                    <a:pt x="426" y="2357"/>
                    <a:pt x="434" y="2357"/>
                    <a:pt x="429" y="2346"/>
                  </a:cubicBezTo>
                  <a:cubicBezTo>
                    <a:pt x="446" y="2340"/>
                    <a:pt x="437" y="2363"/>
                    <a:pt x="426" y="2366"/>
                  </a:cubicBezTo>
                  <a:lnTo>
                    <a:pt x="429" y="2368"/>
                  </a:lnTo>
                  <a:cubicBezTo>
                    <a:pt x="417" y="2377"/>
                    <a:pt x="415" y="2368"/>
                    <a:pt x="403" y="2380"/>
                  </a:cubicBezTo>
                  <a:cubicBezTo>
                    <a:pt x="400" y="2374"/>
                    <a:pt x="392" y="2363"/>
                    <a:pt x="398" y="2354"/>
                  </a:cubicBezTo>
                  <a:close/>
                  <a:moveTo>
                    <a:pt x="384" y="2247"/>
                  </a:moveTo>
                  <a:lnTo>
                    <a:pt x="372" y="2247"/>
                  </a:lnTo>
                  <a:lnTo>
                    <a:pt x="372" y="2236"/>
                  </a:lnTo>
                  <a:cubicBezTo>
                    <a:pt x="375" y="2236"/>
                    <a:pt x="381" y="2233"/>
                    <a:pt x="384" y="2233"/>
                  </a:cubicBezTo>
                  <a:lnTo>
                    <a:pt x="384" y="2242"/>
                  </a:lnTo>
                  <a:cubicBezTo>
                    <a:pt x="384" y="2239"/>
                    <a:pt x="386" y="2233"/>
                    <a:pt x="392" y="2236"/>
                  </a:cubicBezTo>
                  <a:cubicBezTo>
                    <a:pt x="395" y="2242"/>
                    <a:pt x="392" y="2244"/>
                    <a:pt x="392" y="2250"/>
                  </a:cubicBezTo>
                  <a:cubicBezTo>
                    <a:pt x="389" y="2250"/>
                    <a:pt x="381" y="2250"/>
                    <a:pt x="384" y="2247"/>
                  </a:cubicBezTo>
                  <a:close/>
                  <a:moveTo>
                    <a:pt x="381" y="2278"/>
                  </a:moveTo>
                  <a:lnTo>
                    <a:pt x="379" y="2278"/>
                  </a:lnTo>
                  <a:cubicBezTo>
                    <a:pt x="380" y="2285"/>
                    <a:pt x="370" y="2293"/>
                    <a:pt x="372" y="2273"/>
                  </a:cubicBezTo>
                  <a:cubicBezTo>
                    <a:pt x="377" y="2273"/>
                    <a:pt x="379" y="2276"/>
                    <a:pt x="379" y="2278"/>
                  </a:cubicBezTo>
                  <a:cubicBezTo>
                    <a:pt x="380" y="2278"/>
                    <a:pt x="382" y="2278"/>
                    <a:pt x="381" y="2278"/>
                  </a:cubicBezTo>
                  <a:close/>
                  <a:moveTo>
                    <a:pt x="364" y="2098"/>
                  </a:moveTo>
                  <a:cubicBezTo>
                    <a:pt x="378" y="2098"/>
                    <a:pt x="386" y="2106"/>
                    <a:pt x="384" y="2120"/>
                  </a:cubicBezTo>
                  <a:cubicBezTo>
                    <a:pt x="372" y="2120"/>
                    <a:pt x="364" y="2115"/>
                    <a:pt x="364" y="2106"/>
                  </a:cubicBezTo>
                  <a:lnTo>
                    <a:pt x="361" y="2109"/>
                  </a:lnTo>
                  <a:cubicBezTo>
                    <a:pt x="361" y="2106"/>
                    <a:pt x="364" y="2103"/>
                    <a:pt x="364" y="2103"/>
                  </a:cubicBezTo>
                  <a:lnTo>
                    <a:pt x="364" y="2098"/>
                  </a:lnTo>
                  <a:close/>
                  <a:moveTo>
                    <a:pt x="378" y="2084"/>
                  </a:moveTo>
                  <a:lnTo>
                    <a:pt x="377" y="2084"/>
                  </a:lnTo>
                  <a:cubicBezTo>
                    <a:pt x="378" y="2083"/>
                    <a:pt x="378" y="2083"/>
                    <a:pt x="378" y="2084"/>
                  </a:cubicBezTo>
                  <a:cubicBezTo>
                    <a:pt x="376" y="2087"/>
                    <a:pt x="377" y="2085"/>
                    <a:pt x="377" y="2084"/>
                  </a:cubicBezTo>
                  <a:lnTo>
                    <a:pt x="378" y="2084"/>
                  </a:lnTo>
                  <a:close/>
                  <a:moveTo>
                    <a:pt x="437" y="2117"/>
                  </a:moveTo>
                  <a:cubicBezTo>
                    <a:pt x="440" y="2123"/>
                    <a:pt x="434" y="2126"/>
                    <a:pt x="437" y="2129"/>
                  </a:cubicBezTo>
                  <a:cubicBezTo>
                    <a:pt x="429" y="2134"/>
                    <a:pt x="429" y="2115"/>
                    <a:pt x="437" y="2117"/>
                  </a:cubicBezTo>
                  <a:close/>
                  <a:moveTo>
                    <a:pt x="443" y="2051"/>
                  </a:moveTo>
                  <a:cubicBezTo>
                    <a:pt x="444" y="2051"/>
                    <a:pt x="447" y="2053"/>
                    <a:pt x="443" y="2053"/>
                  </a:cubicBezTo>
                  <a:cubicBezTo>
                    <a:pt x="442" y="2052"/>
                    <a:pt x="442" y="2051"/>
                    <a:pt x="443" y="2051"/>
                  </a:cubicBezTo>
                  <a:close/>
                  <a:moveTo>
                    <a:pt x="485" y="536"/>
                  </a:moveTo>
                  <a:cubicBezTo>
                    <a:pt x="482" y="536"/>
                    <a:pt x="479" y="539"/>
                    <a:pt x="474" y="536"/>
                  </a:cubicBezTo>
                  <a:cubicBezTo>
                    <a:pt x="474" y="530"/>
                    <a:pt x="477" y="525"/>
                    <a:pt x="479" y="519"/>
                  </a:cubicBezTo>
                  <a:cubicBezTo>
                    <a:pt x="488" y="522"/>
                    <a:pt x="485" y="533"/>
                    <a:pt x="485" y="536"/>
                  </a:cubicBezTo>
                  <a:close/>
                  <a:moveTo>
                    <a:pt x="482" y="728"/>
                  </a:moveTo>
                  <a:cubicBezTo>
                    <a:pt x="488" y="742"/>
                    <a:pt x="460" y="733"/>
                    <a:pt x="482" y="728"/>
                  </a:cubicBezTo>
                  <a:close/>
                  <a:moveTo>
                    <a:pt x="454" y="2275"/>
                  </a:moveTo>
                  <a:cubicBezTo>
                    <a:pt x="451" y="2289"/>
                    <a:pt x="457" y="2289"/>
                    <a:pt x="451" y="2304"/>
                  </a:cubicBezTo>
                  <a:cubicBezTo>
                    <a:pt x="443" y="2298"/>
                    <a:pt x="448" y="2287"/>
                    <a:pt x="454" y="2275"/>
                  </a:cubicBezTo>
                  <a:lnTo>
                    <a:pt x="453" y="2274"/>
                  </a:lnTo>
                  <a:cubicBezTo>
                    <a:pt x="451" y="2279"/>
                    <a:pt x="448" y="2281"/>
                    <a:pt x="443" y="2284"/>
                  </a:cubicBezTo>
                  <a:cubicBezTo>
                    <a:pt x="437" y="2273"/>
                    <a:pt x="437" y="2262"/>
                    <a:pt x="440" y="2251"/>
                  </a:cubicBezTo>
                  <a:cubicBezTo>
                    <a:pt x="438" y="2255"/>
                    <a:pt x="424" y="2250"/>
                    <a:pt x="440" y="2244"/>
                  </a:cubicBezTo>
                  <a:lnTo>
                    <a:pt x="440" y="2250"/>
                  </a:lnTo>
                  <a:cubicBezTo>
                    <a:pt x="442" y="2244"/>
                    <a:pt x="444" y="2239"/>
                    <a:pt x="445" y="2234"/>
                  </a:cubicBezTo>
                  <a:cubicBezTo>
                    <a:pt x="441" y="2238"/>
                    <a:pt x="428" y="2232"/>
                    <a:pt x="446" y="2227"/>
                  </a:cubicBezTo>
                  <a:cubicBezTo>
                    <a:pt x="454" y="2239"/>
                    <a:pt x="454" y="2253"/>
                    <a:pt x="451" y="2267"/>
                  </a:cubicBezTo>
                  <a:cubicBezTo>
                    <a:pt x="454" y="2270"/>
                    <a:pt x="457" y="2273"/>
                    <a:pt x="454" y="2275"/>
                  </a:cubicBezTo>
                  <a:close/>
                  <a:moveTo>
                    <a:pt x="454" y="2273"/>
                  </a:moveTo>
                  <a:cubicBezTo>
                    <a:pt x="454" y="2273"/>
                    <a:pt x="456" y="2273"/>
                    <a:pt x="454" y="2273"/>
                  </a:cubicBezTo>
                  <a:close/>
                  <a:moveTo>
                    <a:pt x="451" y="2332"/>
                  </a:moveTo>
                  <a:cubicBezTo>
                    <a:pt x="448" y="2337"/>
                    <a:pt x="454" y="2329"/>
                    <a:pt x="451" y="2332"/>
                  </a:cubicBezTo>
                  <a:close/>
                  <a:moveTo>
                    <a:pt x="437" y="2185"/>
                  </a:moveTo>
                  <a:cubicBezTo>
                    <a:pt x="440" y="2182"/>
                    <a:pt x="443" y="2179"/>
                    <a:pt x="443" y="2174"/>
                  </a:cubicBezTo>
                  <a:cubicBezTo>
                    <a:pt x="446" y="2175"/>
                    <a:pt x="450" y="2177"/>
                    <a:pt x="454" y="2179"/>
                  </a:cubicBezTo>
                  <a:cubicBezTo>
                    <a:pt x="454" y="2178"/>
                    <a:pt x="456" y="2176"/>
                    <a:pt x="454" y="2179"/>
                  </a:cubicBezTo>
                  <a:lnTo>
                    <a:pt x="454" y="2180"/>
                  </a:lnTo>
                  <a:cubicBezTo>
                    <a:pt x="466" y="2187"/>
                    <a:pt x="478" y="2200"/>
                    <a:pt x="463" y="2213"/>
                  </a:cubicBezTo>
                  <a:cubicBezTo>
                    <a:pt x="463" y="2213"/>
                    <a:pt x="463" y="2212"/>
                    <a:pt x="463" y="2211"/>
                  </a:cubicBezTo>
                  <a:cubicBezTo>
                    <a:pt x="464" y="2210"/>
                    <a:pt x="465" y="2209"/>
                    <a:pt x="463" y="2205"/>
                  </a:cubicBezTo>
                  <a:cubicBezTo>
                    <a:pt x="460" y="2207"/>
                    <a:pt x="458" y="2209"/>
                    <a:pt x="455" y="2211"/>
                  </a:cubicBezTo>
                  <a:cubicBezTo>
                    <a:pt x="456" y="2211"/>
                    <a:pt x="457" y="2213"/>
                    <a:pt x="457" y="2214"/>
                  </a:cubicBezTo>
                  <a:cubicBezTo>
                    <a:pt x="458" y="2213"/>
                    <a:pt x="460" y="2212"/>
                    <a:pt x="461" y="2212"/>
                  </a:cubicBezTo>
                  <a:lnTo>
                    <a:pt x="458" y="2215"/>
                  </a:lnTo>
                  <a:cubicBezTo>
                    <a:pt x="458" y="2216"/>
                    <a:pt x="459" y="2216"/>
                    <a:pt x="460" y="2216"/>
                  </a:cubicBezTo>
                  <a:cubicBezTo>
                    <a:pt x="459" y="2216"/>
                    <a:pt x="458" y="2216"/>
                    <a:pt x="457" y="2216"/>
                  </a:cubicBezTo>
                  <a:lnTo>
                    <a:pt x="457" y="2216"/>
                  </a:lnTo>
                  <a:cubicBezTo>
                    <a:pt x="457" y="2216"/>
                    <a:pt x="457" y="2216"/>
                    <a:pt x="457" y="2215"/>
                  </a:cubicBezTo>
                  <a:cubicBezTo>
                    <a:pt x="456" y="2215"/>
                    <a:pt x="455" y="2214"/>
                    <a:pt x="454" y="2213"/>
                  </a:cubicBezTo>
                  <a:lnTo>
                    <a:pt x="452" y="2212"/>
                  </a:lnTo>
                  <a:cubicBezTo>
                    <a:pt x="446" y="2214"/>
                    <a:pt x="439" y="2214"/>
                    <a:pt x="432" y="2210"/>
                  </a:cubicBezTo>
                  <a:cubicBezTo>
                    <a:pt x="429" y="2199"/>
                    <a:pt x="432" y="2191"/>
                    <a:pt x="437" y="2185"/>
                  </a:cubicBezTo>
                  <a:close/>
                  <a:moveTo>
                    <a:pt x="465" y="2213"/>
                  </a:moveTo>
                  <a:cubicBezTo>
                    <a:pt x="464" y="2215"/>
                    <a:pt x="463" y="2215"/>
                    <a:pt x="463" y="2213"/>
                  </a:cubicBezTo>
                  <a:lnTo>
                    <a:pt x="465" y="2213"/>
                  </a:lnTo>
                  <a:close/>
                  <a:moveTo>
                    <a:pt x="463" y="2210"/>
                  </a:moveTo>
                  <a:lnTo>
                    <a:pt x="461" y="2212"/>
                  </a:lnTo>
                  <a:cubicBezTo>
                    <a:pt x="462" y="2212"/>
                    <a:pt x="462" y="2211"/>
                    <a:pt x="463" y="2211"/>
                  </a:cubicBezTo>
                  <a:cubicBezTo>
                    <a:pt x="463" y="2211"/>
                    <a:pt x="463" y="2211"/>
                    <a:pt x="463" y="2210"/>
                  </a:cubicBezTo>
                  <a:close/>
                  <a:moveTo>
                    <a:pt x="457" y="2216"/>
                  </a:moveTo>
                  <a:lnTo>
                    <a:pt x="457" y="2215"/>
                  </a:lnTo>
                  <a:cubicBezTo>
                    <a:pt x="457" y="2215"/>
                    <a:pt x="457" y="2215"/>
                    <a:pt x="457" y="2214"/>
                  </a:cubicBezTo>
                  <a:cubicBezTo>
                    <a:pt x="458" y="2215"/>
                    <a:pt x="458" y="2215"/>
                    <a:pt x="458" y="2215"/>
                  </a:cubicBezTo>
                  <a:cubicBezTo>
                    <a:pt x="458" y="2215"/>
                    <a:pt x="458" y="2215"/>
                    <a:pt x="457" y="2216"/>
                  </a:cubicBezTo>
                  <a:close/>
                  <a:moveTo>
                    <a:pt x="468" y="2120"/>
                  </a:moveTo>
                  <a:cubicBezTo>
                    <a:pt x="468" y="2115"/>
                    <a:pt x="471" y="2115"/>
                    <a:pt x="474" y="2112"/>
                  </a:cubicBezTo>
                  <a:cubicBezTo>
                    <a:pt x="477" y="2109"/>
                    <a:pt x="474" y="2109"/>
                    <a:pt x="477" y="2106"/>
                  </a:cubicBezTo>
                  <a:cubicBezTo>
                    <a:pt x="477" y="2109"/>
                    <a:pt x="479" y="2112"/>
                    <a:pt x="477" y="2115"/>
                  </a:cubicBezTo>
                  <a:cubicBezTo>
                    <a:pt x="474" y="2120"/>
                    <a:pt x="468" y="2120"/>
                    <a:pt x="471" y="2126"/>
                  </a:cubicBezTo>
                  <a:cubicBezTo>
                    <a:pt x="494" y="2137"/>
                    <a:pt x="448" y="2129"/>
                    <a:pt x="468" y="2120"/>
                  </a:cubicBezTo>
                  <a:close/>
                  <a:moveTo>
                    <a:pt x="465" y="2275"/>
                  </a:moveTo>
                  <a:cubicBezTo>
                    <a:pt x="465" y="2270"/>
                    <a:pt x="477" y="2281"/>
                    <a:pt x="465" y="2275"/>
                  </a:cubicBezTo>
                  <a:close/>
                  <a:moveTo>
                    <a:pt x="465" y="770"/>
                  </a:moveTo>
                  <a:cubicBezTo>
                    <a:pt x="465" y="762"/>
                    <a:pt x="477" y="773"/>
                    <a:pt x="465" y="770"/>
                  </a:cubicBezTo>
                  <a:close/>
                  <a:moveTo>
                    <a:pt x="468" y="1928"/>
                  </a:moveTo>
                  <a:cubicBezTo>
                    <a:pt x="468" y="1931"/>
                    <a:pt x="465" y="1934"/>
                    <a:pt x="463" y="1937"/>
                  </a:cubicBezTo>
                  <a:cubicBezTo>
                    <a:pt x="460" y="1940"/>
                    <a:pt x="460" y="1943"/>
                    <a:pt x="454" y="1943"/>
                  </a:cubicBezTo>
                  <a:cubicBezTo>
                    <a:pt x="454" y="1940"/>
                    <a:pt x="457" y="1934"/>
                    <a:pt x="460" y="1934"/>
                  </a:cubicBezTo>
                  <a:cubicBezTo>
                    <a:pt x="463" y="1931"/>
                    <a:pt x="463" y="1931"/>
                    <a:pt x="468" y="1928"/>
                  </a:cubicBezTo>
                  <a:close/>
                  <a:moveTo>
                    <a:pt x="463" y="2067"/>
                  </a:moveTo>
                  <a:cubicBezTo>
                    <a:pt x="460" y="2072"/>
                    <a:pt x="465" y="2064"/>
                    <a:pt x="463" y="2067"/>
                  </a:cubicBezTo>
                  <a:close/>
                  <a:moveTo>
                    <a:pt x="457" y="2225"/>
                  </a:moveTo>
                  <a:cubicBezTo>
                    <a:pt x="454" y="2225"/>
                    <a:pt x="448" y="2227"/>
                    <a:pt x="446" y="2227"/>
                  </a:cubicBezTo>
                  <a:cubicBezTo>
                    <a:pt x="440" y="2213"/>
                    <a:pt x="451" y="2210"/>
                    <a:pt x="457" y="2225"/>
                  </a:cubicBezTo>
                  <a:close/>
                  <a:moveTo>
                    <a:pt x="454" y="2242"/>
                  </a:moveTo>
                  <a:lnTo>
                    <a:pt x="454" y="2240"/>
                  </a:lnTo>
                  <a:cubicBezTo>
                    <a:pt x="455" y="2241"/>
                    <a:pt x="455" y="2242"/>
                    <a:pt x="454" y="2242"/>
                  </a:cubicBezTo>
                  <a:cubicBezTo>
                    <a:pt x="453" y="2240"/>
                    <a:pt x="453" y="2240"/>
                    <a:pt x="454" y="2240"/>
                  </a:cubicBezTo>
                  <a:lnTo>
                    <a:pt x="454" y="2242"/>
                  </a:lnTo>
                  <a:close/>
                  <a:moveTo>
                    <a:pt x="457" y="2264"/>
                  </a:moveTo>
                  <a:cubicBezTo>
                    <a:pt x="477" y="2267"/>
                    <a:pt x="448" y="2295"/>
                    <a:pt x="457" y="2264"/>
                  </a:cubicBezTo>
                  <a:close/>
                  <a:moveTo>
                    <a:pt x="460" y="2304"/>
                  </a:moveTo>
                  <a:cubicBezTo>
                    <a:pt x="465" y="2304"/>
                    <a:pt x="471" y="2304"/>
                    <a:pt x="477" y="2301"/>
                  </a:cubicBezTo>
                  <a:cubicBezTo>
                    <a:pt x="485" y="2315"/>
                    <a:pt x="454" y="2320"/>
                    <a:pt x="460" y="2304"/>
                  </a:cubicBezTo>
                  <a:close/>
                  <a:moveTo>
                    <a:pt x="474" y="2092"/>
                  </a:moveTo>
                  <a:cubicBezTo>
                    <a:pt x="474" y="2086"/>
                    <a:pt x="482" y="2098"/>
                    <a:pt x="474" y="2092"/>
                  </a:cubicBezTo>
                  <a:close/>
                  <a:moveTo>
                    <a:pt x="478" y="2078"/>
                  </a:moveTo>
                  <a:cubicBezTo>
                    <a:pt x="478" y="2079"/>
                    <a:pt x="477" y="2082"/>
                    <a:pt x="477" y="2078"/>
                  </a:cubicBezTo>
                  <a:cubicBezTo>
                    <a:pt x="478" y="2077"/>
                    <a:pt x="478" y="2077"/>
                    <a:pt x="478" y="2078"/>
                  </a:cubicBezTo>
                  <a:close/>
                  <a:moveTo>
                    <a:pt x="479" y="742"/>
                  </a:moveTo>
                  <a:cubicBezTo>
                    <a:pt x="482" y="747"/>
                    <a:pt x="471" y="747"/>
                    <a:pt x="468" y="747"/>
                  </a:cubicBezTo>
                  <a:cubicBezTo>
                    <a:pt x="471" y="745"/>
                    <a:pt x="474" y="742"/>
                    <a:pt x="479" y="742"/>
                  </a:cubicBezTo>
                  <a:close/>
                  <a:moveTo>
                    <a:pt x="463" y="536"/>
                  </a:moveTo>
                  <a:cubicBezTo>
                    <a:pt x="457" y="533"/>
                    <a:pt x="468" y="525"/>
                    <a:pt x="474" y="527"/>
                  </a:cubicBezTo>
                  <a:cubicBezTo>
                    <a:pt x="471" y="530"/>
                    <a:pt x="463" y="530"/>
                    <a:pt x="463" y="536"/>
                  </a:cubicBezTo>
                  <a:close/>
                  <a:moveTo>
                    <a:pt x="465" y="742"/>
                  </a:moveTo>
                  <a:cubicBezTo>
                    <a:pt x="468" y="742"/>
                    <a:pt x="460" y="739"/>
                    <a:pt x="465" y="742"/>
                  </a:cubicBezTo>
                  <a:close/>
                  <a:moveTo>
                    <a:pt x="465" y="1830"/>
                  </a:moveTo>
                  <a:cubicBezTo>
                    <a:pt x="465" y="1835"/>
                    <a:pt x="463" y="1841"/>
                    <a:pt x="463" y="1847"/>
                  </a:cubicBezTo>
                  <a:cubicBezTo>
                    <a:pt x="454" y="1847"/>
                    <a:pt x="454" y="1827"/>
                    <a:pt x="465" y="1830"/>
                  </a:cubicBezTo>
                  <a:close/>
                  <a:moveTo>
                    <a:pt x="460" y="790"/>
                  </a:moveTo>
                  <a:lnTo>
                    <a:pt x="451" y="787"/>
                  </a:lnTo>
                  <a:cubicBezTo>
                    <a:pt x="451" y="784"/>
                    <a:pt x="465" y="784"/>
                    <a:pt x="460" y="790"/>
                  </a:cubicBezTo>
                  <a:close/>
                  <a:moveTo>
                    <a:pt x="429" y="2081"/>
                  </a:moveTo>
                  <a:cubicBezTo>
                    <a:pt x="423" y="2084"/>
                    <a:pt x="420" y="2078"/>
                    <a:pt x="417" y="2081"/>
                  </a:cubicBezTo>
                  <a:cubicBezTo>
                    <a:pt x="412" y="2075"/>
                    <a:pt x="432" y="2072"/>
                    <a:pt x="429" y="2081"/>
                  </a:cubicBezTo>
                  <a:close/>
                  <a:moveTo>
                    <a:pt x="403" y="2182"/>
                  </a:moveTo>
                  <a:cubicBezTo>
                    <a:pt x="437" y="2182"/>
                    <a:pt x="415" y="2216"/>
                    <a:pt x="403" y="2182"/>
                  </a:cubicBezTo>
                  <a:close/>
                  <a:moveTo>
                    <a:pt x="412" y="2250"/>
                  </a:moveTo>
                  <a:cubicBezTo>
                    <a:pt x="415" y="2250"/>
                    <a:pt x="409" y="2256"/>
                    <a:pt x="412" y="2250"/>
                  </a:cubicBezTo>
                  <a:close/>
                  <a:moveTo>
                    <a:pt x="409" y="2222"/>
                  </a:moveTo>
                  <a:cubicBezTo>
                    <a:pt x="409" y="2219"/>
                    <a:pt x="406" y="2227"/>
                    <a:pt x="409" y="2222"/>
                  </a:cubicBezTo>
                  <a:close/>
                  <a:moveTo>
                    <a:pt x="412" y="1759"/>
                  </a:moveTo>
                  <a:cubicBezTo>
                    <a:pt x="406" y="1773"/>
                    <a:pt x="403" y="1748"/>
                    <a:pt x="412" y="1759"/>
                  </a:cubicBezTo>
                  <a:close/>
                  <a:moveTo>
                    <a:pt x="409" y="702"/>
                  </a:moveTo>
                  <a:cubicBezTo>
                    <a:pt x="409" y="702"/>
                    <a:pt x="410" y="702"/>
                    <a:pt x="409" y="702"/>
                  </a:cubicBezTo>
                  <a:close/>
                  <a:moveTo>
                    <a:pt x="417" y="2157"/>
                  </a:moveTo>
                  <a:cubicBezTo>
                    <a:pt x="412" y="2171"/>
                    <a:pt x="403" y="2148"/>
                    <a:pt x="417" y="2157"/>
                  </a:cubicBezTo>
                  <a:close/>
                  <a:moveTo>
                    <a:pt x="409" y="2126"/>
                  </a:moveTo>
                  <a:cubicBezTo>
                    <a:pt x="412" y="2126"/>
                    <a:pt x="409" y="2131"/>
                    <a:pt x="409" y="2126"/>
                  </a:cubicBezTo>
                  <a:close/>
                  <a:moveTo>
                    <a:pt x="415" y="1999"/>
                  </a:moveTo>
                  <a:cubicBezTo>
                    <a:pt x="417" y="1990"/>
                    <a:pt x="420" y="2007"/>
                    <a:pt x="415" y="1999"/>
                  </a:cubicBezTo>
                  <a:close/>
                  <a:moveTo>
                    <a:pt x="423" y="1993"/>
                  </a:moveTo>
                  <a:cubicBezTo>
                    <a:pt x="420" y="1993"/>
                    <a:pt x="417" y="1993"/>
                    <a:pt x="415" y="1988"/>
                  </a:cubicBezTo>
                  <a:lnTo>
                    <a:pt x="415" y="1985"/>
                  </a:lnTo>
                  <a:lnTo>
                    <a:pt x="420" y="1985"/>
                  </a:lnTo>
                  <a:cubicBezTo>
                    <a:pt x="423" y="1988"/>
                    <a:pt x="423" y="1990"/>
                    <a:pt x="423" y="1993"/>
                  </a:cubicBezTo>
                  <a:close/>
                  <a:moveTo>
                    <a:pt x="415" y="1974"/>
                  </a:moveTo>
                  <a:cubicBezTo>
                    <a:pt x="415" y="1968"/>
                    <a:pt x="423" y="1976"/>
                    <a:pt x="415" y="1974"/>
                  </a:cubicBezTo>
                  <a:close/>
                  <a:moveTo>
                    <a:pt x="417" y="812"/>
                  </a:moveTo>
                  <a:lnTo>
                    <a:pt x="420" y="815"/>
                  </a:lnTo>
                  <a:lnTo>
                    <a:pt x="417" y="815"/>
                  </a:lnTo>
                  <a:lnTo>
                    <a:pt x="417" y="812"/>
                  </a:lnTo>
                  <a:close/>
                  <a:moveTo>
                    <a:pt x="409" y="553"/>
                  </a:moveTo>
                  <a:cubicBezTo>
                    <a:pt x="409" y="548"/>
                    <a:pt x="414" y="547"/>
                    <a:pt x="414" y="545"/>
                  </a:cubicBezTo>
                  <a:cubicBezTo>
                    <a:pt x="413" y="546"/>
                    <a:pt x="409" y="546"/>
                    <a:pt x="403" y="544"/>
                  </a:cubicBezTo>
                  <a:cubicBezTo>
                    <a:pt x="405" y="539"/>
                    <a:pt x="407" y="536"/>
                    <a:pt x="409" y="536"/>
                  </a:cubicBezTo>
                  <a:lnTo>
                    <a:pt x="409" y="536"/>
                  </a:lnTo>
                  <a:cubicBezTo>
                    <a:pt x="406" y="527"/>
                    <a:pt x="417" y="530"/>
                    <a:pt x="417" y="527"/>
                  </a:cubicBezTo>
                  <a:cubicBezTo>
                    <a:pt x="425" y="530"/>
                    <a:pt x="419" y="537"/>
                    <a:pt x="412" y="536"/>
                  </a:cubicBezTo>
                  <a:cubicBezTo>
                    <a:pt x="415" y="538"/>
                    <a:pt x="417" y="543"/>
                    <a:pt x="415" y="545"/>
                  </a:cubicBezTo>
                  <a:cubicBezTo>
                    <a:pt x="417" y="550"/>
                    <a:pt x="418" y="550"/>
                    <a:pt x="423" y="556"/>
                  </a:cubicBezTo>
                  <a:cubicBezTo>
                    <a:pt x="417" y="556"/>
                    <a:pt x="417" y="550"/>
                    <a:pt x="409" y="553"/>
                  </a:cubicBezTo>
                  <a:close/>
                  <a:moveTo>
                    <a:pt x="415" y="652"/>
                  </a:moveTo>
                  <a:cubicBezTo>
                    <a:pt x="415" y="671"/>
                    <a:pt x="395" y="640"/>
                    <a:pt x="415" y="652"/>
                  </a:cubicBezTo>
                  <a:close/>
                  <a:moveTo>
                    <a:pt x="409" y="691"/>
                  </a:moveTo>
                  <a:lnTo>
                    <a:pt x="403" y="691"/>
                  </a:lnTo>
                  <a:cubicBezTo>
                    <a:pt x="403" y="688"/>
                    <a:pt x="403" y="688"/>
                    <a:pt x="400" y="688"/>
                  </a:cubicBezTo>
                  <a:cubicBezTo>
                    <a:pt x="400" y="685"/>
                    <a:pt x="412" y="685"/>
                    <a:pt x="409" y="691"/>
                  </a:cubicBezTo>
                  <a:close/>
                  <a:moveTo>
                    <a:pt x="398" y="1878"/>
                  </a:moveTo>
                  <a:cubicBezTo>
                    <a:pt x="400" y="1869"/>
                    <a:pt x="412" y="1880"/>
                    <a:pt x="398" y="1878"/>
                  </a:cubicBezTo>
                  <a:close/>
                  <a:moveTo>
                    <a:pt x="398" y="1985"/>
                  </a:moveTo>
                  <a:cubicBezTo>
                    <a:pt x="403" y="1982"/>
                    <a:pt x="392" y="1993"/>
                    <a:pt x="398" y="1985"/>
                  </a:cubicBezTo>
                  <a:close/>
                  <a:moveTo>
                    <a:pt x="403" y="2287"/>
                  </a:moveTo>
                  <a:cubicBezTo>
                    <a:pt x="403" y="2292"/>
                    <a:pt x="403" y="2295"/>
                    <a:pt x="400" y="2301"/>
                  </a:cubicBezTo>
                  <a:lnTo>
                    <a:pt x="406" y="2301"/>
                  </a:lnTo>
                  <a:cubicBezTo>
                    <a:pt x="406" y="2304"/>
                    <a:pt x="403" y="2304"/>
                    <a:pt x="403" y="2306"/>
                  </a:cubicBezTo>
                  <a:lnTo>
                    <a:pt x="400" y="2306"/>
                  </a:lnTo>
                  <a:cubicBezTo>
                    <a:pt x="392" y="2309"/>
                    <a:pt x="386" y="2304"/>
                    <a:pt x="386" y="2298"/>
                  </a:cubicBezTo>
                  <a:lnTo>
                    <a:pt x="386" y="2289"/>
                  </a:lnTo>
                  <a:lnTo>
                    <a:pt x="395" y="2289"/>
                  </a:lnTo>
                  <a:cubicBezTo>
                    <a:pt x="398" y="2289"/>
                    <a:pt x="400" y="2287"/>
                    <a:pt x="403" y="2287"/>
                  </a:cubicBezTo>
                  <a:close/>
                  <a:moveTo>
                    <a:pt x="369" y="2140"/>
                  </a:moveTo>
                  <a:cubicBezTo>
                    <a:pt x="375" y="2120"/>
                    <a:pt x="386" y="2146"/>
                    <a:pt x="398" y="2140"/>
                  </a:cubicBezTo>
                  <a:cubicBezTo>
                    <a:pt x="398" y="2157"/>
                    <a:pt x="372" y="2143"/>
                    <a:pt x="369" y="2140"/>
                  </a:cubicBezTo>
                  <a:close/>
                  <a:moveTo>
                    <a:pt x="381" y="2160"/>
                  </a:moveTo>
                  <a:cubicBezTo>
                    <a:pt x="381" y="2160"/>
                    <a:pt x="379" y="2163"/>
                    <a:pt x="381" y="2160"/>
                  </a:cubicBezTo>
                  <a:close/>
                  <a:moveTo>
                    <a:pt x="384" y="2021"/>
                  </a:moveTo>
                  <a:cubicBezTo>
                    <a:pt x="386" y="2016"/>
                    <a:pt x="395" y="2024"/>
                    <a:pt x="384" y="2021"/>
                  </a:cubicBezTo>
                  <a:close/>
                  <a:moveTo>
                    <a:pt x="386" y="1945"/>
                  </a:moveTo>
                  <a:cubicBezTo>
                    <a:pt x="386" y="1940"/>
                    <a:pt x="398" y="1948"/>
                    <a:pt x="386" y="1945"/>
                  </a:cubicBezTo>
                  <a:close/>
                  <a:moveTo>
                    <a:pt x="386" y="2134"/>
                  </a:moveTo>
                  <a:cubicBezTo>
                    <a:pt x="372" y="2129"/>
                    <a:pt x="403" y="2120"/>
                    <a:pt x="386" y="2134"/>
                  </a:cubicBezTo>
                  <a:close/>
                  <a:moveTo>
                    <a:pt x="398" y="2163"/>
                  </a:moveTo>
                  <a:cubicBezTo>
                    <a:pt x="395" y="2165"/>
                    <a:pt x="398" y="2157"/>
                    <a:pt x="398" y="2163"/>
                  </a:cubicBezTo>
                  <a:close/>
                  <a:moveTo>
                    <a:pt x="398" y="1889"/>
                  </a:moveTo>
                  <a:cubicBezTo>
                    <a:pt x="398" y="1895"/>
                    <a:pt x="392" y="1897"/>
                    <a:pt x="386" y="1897"/>
                  </a:cubicBezTo>
                  <a:cubicBezTo>
                    <a:pt x="386" y="1892"/>
                    <a:pt x="392" y="1889"/>
                    <a:pt x="398" y="1889"/>
                  </a:cubicBezTo>
                  <a:close/>
                  <a:moveTo>
                    <a:pt x="389" y="635"/>
                  </a:moveTo>
                  <a:lnTo>
                    <a:pt x="389" y="623"/>
                  </a:lnTo>
                  <a:cubicBezTo>
                    <a:pt x="392" y="623"/>
                    <a:pt x="395" y="626"/>
                    <a:pt x="398" y="626"/>
                  </a:cubicBezTo>
                  <a:cubicBezTo>
                    <a:pt x="395" y="629"/>
                    <a:pt x="395" y="635"/>
                    <a:pt x="389" y="635"/>
                  </a:cubicBezTo>
                  <a:close/>
                  <a:moveTo>
                    <a:pt x="398" y="1920"/>
                  </a:moveTo>
                  <a:cubicBezTo>
                    <a:pt x="392" y="1926"/>
                    <a:pt x="389" y="1934"/>
                    <a:pt x="389" y="1943"/>
                  </a:cubicBezTo>
                  <a:cubicBezTo>
                    <a:pt x="384" y="1943"/>
                    <a:pt x="381" y="1937"/>
                    <a:pt x="375" y="1937"/>
                  </a:cubicBezTo>
                  <a:lnTo>
                    <a:pt x="375" y="1920"/>
                  </a:lnTo>
                  <a:lnTo>
                    <a:pt x="398" y="1920"/>
                  </a:lnTo>
                  <a:close/>
                  <a:moveTo>
                    <a:pt x="361" y="2227"/>
                  </a:moveTo>
                  <a:cubicBezTo>
                    <a:pt x="375" y="2227"/>
                    <a:pt x="358" y="2250"/>
                    <a:pt x="361" y="2227"/>
                  </a:cubicBezTo>
                  <a:close/>
                  <a:moveTo>
                    <a:pt x="367" y="2292"/>
                  </a:moveTo>
                  <a:cubicBezTo>
                    <a:pt x="352" y="2295"/>
                    <a:pt x="367" y="2273"/>
                    <a:pt x="367" y="2292"/>
                  </a:cubicBezTo>
                  <a:close/>
                  <a:moveTo>
                    <a:pt x="369" y="2264"/>
                  </a:moveTo>
                  <a:cubicBezTo>
                    <a:pt x="372" y="2270"/>
                    <a:pt x="367" y="2273"/>
                    <a:pt x="369" y="2275"/>
                  </a:cubicBezTo>
                  <a:cubicBezTo>
                    <a:pt x="361" y="2281"/>
                    <a:pt x="361" y="2261"/>
                    <a:pt x="369" y="2264"/>
                  </a:cubicBezTo>
                  <a:close/>
                  <a:moveTo>
                    <a:pt x="367" y="2202"/>
                  </a:moveTo>
                  <a:lnTo>
                    <a:pt x="375" y="2202"/>
                  </a:lnTo>
                  <a:cubicBezTo>
                    <a:pt x="372" y="2196"/>
                    <a:pt x="381" y="2182"/>
                    <a:pt x="384" y="2179"/>
                  </a:cubicBezTo>
                  <a:cubicBezTo>
                    <a:pt x="398" y="2182"/>
                    <a:pt x="381" y="2188"/>
                    <a:pt x="384" y="2202"/>
                  </a:cubicBezTo>
                  <a:cubicBezTo>
                    <a:pt x="384" y="2199"/>
                    <a:pt x="386" y="2196"/>
                    <a:pt x="386" y="2194"/>
                  </a:cubicBezTo>
                  <a:cubicBezTo>
                    <a:pt x="400" y="2185"/>
                    <a:pt x="384" y="2216"/>
                    <a:pt x="389" y="2230"/>
                  </a:cubicBezTo>
                  <a:cubicBezTo>
                    <a:pt x="381" y="2227"/>
                    <a:pt x="375" y="2222"/>
                    <a:pt x="378" y="2216"/>
                  </a:cubicBezTo>
                  <a:cubicBezTo>
                    <a:pt x="372" y="2213"/>
                    <a:pt x="369" y="2205"/>
                    <a:pt x="367" y="2202"/>
                  </a:cubicBezTo>
                  <a:close/>
                  <a:moveTo>
                    <a:pt x="412" y="2289"/>
                  </a:moveTo>
                  <a:lnTo>
                    <a:pt x="412" y="2278"/>
                  </a:lnTo>
                  <a:lnTo>
                    <a:pt x="423" y="2278"/>
                  </a:lnTo>
                  <a:cubicBezTo>
                    <a:pt x="423" y="2281"/>
                    <a:pt x="426" y="2287"/>
                    <a:pt x="426" y="2289"/>
                  </a:cubicBezTo>
                  <a:cubicBezTo>
                    <a:pt x="423" y="2287"/>
                    <a:pt x="415" y="2289"/>
                    <a:pt x="412" y="2289"/>
                  </a:cubicBezTo>
                  <a:close/>
                  <a:moveTo>
                    <a:pt x="420" y="2295"/>
                  </a:moveTo>
                  <a:cubicBezTo>
                    <a:pt x="434" y="2292"/>
                    <a:pt x="417" y="2318"/>
                    <a:pt x="420" y="2295"/>
                  </a:cubicBezTo>
                  <a:close/>
                  <a:moveTo>
                    <a:pt x="429" y="2312"/>
                  </a:moveTo>
                  <a:lnTo>
                    <a:pt x="434" y="2312"/>
                  </a:lnTo>
                  <a:cubicBezTo>
                    <a:pt x="437" y="2306"/>
                    <a:pt x="443" y="2306"/>
                    <a:pt x="446" y="2306"/>
                  </a:cubicBezTo>
                  <a:cubicBezTo>
                    <a:pt x="448" y="2315"/>
                    <a:pt x="443" y="2318"/>
                    <a:pt x="437" y="2320"/>
                  </a:cubicBezTo>
                  <a:cubicBezTo>
                    <a:pt x="440" y="2326"/>
                    <a:pt x="423" y="2332"/>
                    <a:pt x="429" y="2312"/>
                  </a:cubicBezTo>
                  <a:close/>
                  <a:moveTo>
                    <a:pt x="474" y="2397"/>
                  </a:moveTo>
                  <a:cubicBezTo>
                    <a:pt x="494" y="2402"/>
                    <a:pt x="460" y="2416"/>
                    <a:pt x="474" y="2397"/>
                  </a:cubicBezTo>
                  <a:close/>
                  <a:moveTo>
                    <a:pt x="468" y="2419"/>
                  </a:moveTo>
                  <a:cubicBezTo>
                    <a:pt x="474" y="2419"/>
                    <a:pt x="474" y="2416"/>
                    <a:pt x="477" y="2414"/>
                  </a:cubicBezTo>
                  <a:cubicBezTo>
                    <a:pt x="488" y="2411"/>
                    <a:pt x="487" y="2432"/>
                    <a:pt x="478" y="2437"/>
                  </a:cubicBezTo>
                  <a:cubicBezTo>
                    <a:pt x="487" y="2437"/>
                    <a:pt x="494" y="2451"/>
                    <a:pt x="479" y="2473"/>
                  </a:cubicBezTo>
                  <a:cubicBezTo>
                    <a:pt x="474" y="2476"/>
                    <a:pt x="468" y="2470"/>
                    <a:pt x="463" y="2473"/>
                  </a:cubicBezTo>
                  <a:cubicBezTo>
                    <a:pt x="460" y="2451"/>
                    <a:pt x="467" y="2440"/>
                    <a:pt x="474" y="2437"/>
                  </a:cubicBezTo>
                  <a:cubicBezTo>
                    <a:pt x="473" y="2437"/>
                    <a:pt x="472" y="2437"/>
                    <a:pt x="471" y="2436"/>
                  </a:cubicBezTo>
                  <a:cubicBezTo>
                    <a:pt x="468" y="2428"/>
                    <a:pt x="468" y="2422"/>
                    <a:pt x="468" y="2419"/>
                  </a:cubicBezTo>
                  <a:close/>
                  <a:moveTo>
                    <a:pt x="479" y="1835"/>
                  </a:moveTo>
                  <a:lnTo>
                    <a:pt x="479" y="1827"/>
                  </a:lnTo>
                  <a:cubicBezTo>
                    <a:pt x="485" y="1824"/>
                    <a:pt x="485" y="1838"/>
                    <a:pt x="479" y="1835"/>
                  </a:cubicBezTo>
                  <a:close/>
                  <a:moveTo>
                    <a:pt x="474" y="485"/>
                  </a:moveTo>
                  <a:cubicBezTo>
                    <a:pt x="468" y="471"/>
                    <a:pt x="491" y="468"/>
                    <a:pt x="479" y="454"/>
                  </a:cubicBezTo>
                  <a:cubicBezTo>
                    <a:pt x="482" y="451"/>
                    <a:pt x="485" y="451"/>
                    <a:pt x="485" y="454"/>
                  </a:cubicBezTo>
                  <a:lnTo>
                    <a:pt x="485" y="457"/>
                  </a:lnTo>
                  <a:cubicBezTo>
                    <a:pt x="488" y="454"/>
                    <a:pt x="494" y="454"/>
                    <a:pt x="496" y="451"/>
                  </a:cubicBezTo>
                  <a:cubicBezTo>
                    <a:pt x="499" y="465"/>
                    <a:pt x="488" y="479"/>
                    <a:pt x="474" y="485"/>
                  </a:cubicBezTo>
                  <a:close/>
                  <a:moveTo>
                    <a:pt x="499" y="750"/>
                  </a:moveTo>
                  <a:cubicBezTo>
                    <a:pt x="499" y="751"/>
                    <a:pt x="498" y="752"/>
                    <a:pt x="498" y="752"/>
                  </a:cubicBezTo>
                  <a:cubicBezTo>
                    <a:pt x="498" y="753"/>
                    <a:pt x="499" y="752"/>
                    <a:pt x="499" y="750"/>
                  </a:cubicBezTo>
                  <a:close/>
                  <a:moveTo>
                    <a:pt x="505" y="773"/>
                  </a:moveTo>
                  <a:cubicBezTo>
                    <a:pt x="496" y="764"/>
                    <a:pt x="499" y="759"/>
                    <a:pt x="499" y="750"/>
                  </a:cubicBezTo>
                  <a:cubicBezTo>
                    <a:pt x="513" y="745"/>
                    <a:pt x="522" y="767"/>
                    <a:pt x="505" y="773"/>
                  </a:cubicBezTo>
                  <a:close/>
                  <a:moveTo>
                    <a:pt x="499" y="750"/>
                  </a:moveTo>
                  <a:cubicBezTo>
                    <a:pt x="498" y="751"/>
                    <a:pt x="498" y="752"/>
                    <a:pt x="498" y="752"/>
                  </a:cubicBezTo>
                  <a:cubicBezTo>
                    <a:pt x="495" y="756"/>
                    <a:pt x="492" y="755"/>
                    <a:pt x="499" y="750"/>
                  </a:cubicBezTo>
                  <a:close/>
                  <a:moveTo>
                    <a:pt x="513" y="1357"/>
                  </a:moveTo>
                  <a:cubicBezTo>
                    <a:pt x="513" y="1362"/>
                    <a:pt x="505" y="1362"/>
                    <a:pt x="499" y="1365"/>
                  </a:cubicBezTo>
                  <a:cubicBezTo>
                    <a:pt x="499" y="1360"/>
                    <a:pt x="511" y="1351"/>
                    <a:pt x="513" y="1357"/>
                  </a:cubicBezTo>
                  <a:close/>
                  <a:moveTo>
                    <a:pt x="511" y="1745"/>
                  </a:moveTo>
                  <a:cubicBezTo>
                    <a:pt x="519" y="1745"/>
                    <a:pt x="511" y="1756"/>
                    <a:pt x="502" y="1754"/>
                  </a:cubicBezTo>
                  <a:cubicBezTo>
                    <a:pt x="502" y="1748"/>
                    <a:pt x="513" y="1751"/>
                    <a:pt x="511" y="1745"/>
                  </a:cubicBezTo>
                  <a:close/>
                  <a:moveTo>
                    <a:pt x="513" y="2419"/>
                  </a:moveTo>
                  <a:cubicBezTo>
                    <a:pt x="511" y="2422"/>
                    <a:pt x="513" y="2416"/>
                    <a:pt x="513" y="2419"/>
                  </a:cubicBezTo>
                  <a:close/>
                  <a:moveTo>
                    <a:pt x="522" y="2385"/>
                  </a:moveTo>
                  <a:cubicBezTo>
                    <a:pt x="542" y="2397"/>
                    <a:pt x="530" y="2419"/>
                    <a:pt x="530" y="2442"/>
                  </a:cubicBezTo>
                  <a:lnTo>
                    <a:pt x="508" y="2442"/>
                  </a:lnTo>
                  <a:cubicBezTo>
                    <a:pt x="525" y="2416"/>
                    <a:pt x="513" y="2405"/>
                    <a:pt x="522" y="2385"/>
                  </a:cubicBezTo>
                  <a:close/>
                  <a:moveTo>
                    <a:pt x="525" y="516"/>
                  </a:moveTo>
                  <a:cubicBezTo>
                    <a:pt x="530" y="513"/>
                    <a:pt x="533" y="542"/>
                    <a:pt x="519" y="544"/>
                  </a:cubicBezTo>
                  <a:cubicBezTo>
                    <a:pt x="513" y="533"/>
                    <a:pt x="525" y="525"/>
                    <a:pt x="525" y="516"/>
                  </a:cubicBezTo>
                  <a:close/>
                  <a:moveTo>
                    <a:pt x="536" y="1731"/>
                  </a:moveTo>
                  <a:cubicBezTo>
                    <a:pt x="536" y="1745"/>
                    <a:pt x="508" y="1737"/>
                    <a:pt x="536" y="1731"/>
                  </a:cubicBezTo>
                  <a:close/>
                  <a:moveTo>
                    <a:pt x="522" y="2385"/>
                  </a:moveTo>
                  <a:cubicBezTo>
                    <a:pt x="522" y="2383"/>
                    <a:pt x="519" y="2391"/>
                    <a:pt x="522" y="2385"/>
                  </a:cubicBezTo>
                  <a:close/>
                  <a:moveTo>
                    <a:pt x="519" y="2377"/>
                  </a:moveTo>
                  <a:cubicBezTo>
                    <a:pt x="519" y="2368"/>
                    <a:pt x="522" y="2363"/>
                    <a:pt x="530" y="2360"/>
                  </a:cubicBezTo>
                  <a:cubicBezTo>
                    <a:pt x="533" y="2360"/>
                    <a:pt x="536" y="2360"/>
                    <a:pt x="539" y="2363"/>
                  </a:cubicBezTo>
                  <a:cubicBezTo>
                    <a:pt x="536" y="2371"/>
                    <a:pt x="527" y="2377"/>
                    <a:pt x="519" y="2377"/>
                  </a:cubicBezTo>
                  <a:close/>
                  <a:moveTo>
                    <a:pt x="544" y="1329"/>
                  </a:moveTo>
                  <a:cubicBezTo>
                    <a:pt x="539" y="1329"/>
                    <a:pt x="539" y="1326"/>
                    <a:pt x="533" y="1329"/>
                  </a:cubicBezTo>
                  <a:cubicBezTo>
                    <a:pt x="533" y="1326"/>
                    <a:pt x="547" y="1323"/>
                    <a:pt x="544" y="1329"/>
                  </a:cubicBezTo>
                  <a:close/>
                  <a:moveTo>
                    <a:pt x="542" y="1312"/>
                  </a:moveTo>
                  <a:cubicBezTo>
                    <a:pt x="542" y="1314"/>
                    <a:pt x="539" y="1317"/>
                    <a:pt x="536" y="1320"/>
                  </a:cubicBezTo>
                  <a:cubicBezTo>
                    <a:pt x="533" y="1320"/>
                    <a:pt x="539" y="1309"/>
                    <a:pt x="542" y="1312"/>
                  </a:cubicBezTo>
                  <a:close/>
                  <a:moveTo>
                    <a:pt x="544" y="2385"/>
                  </a:moveTo>
                  <a:cubicBezTo>
                    <a:pt x="564" y="2397"/>
                    <a:pt x="527" y="2397"/>
                    <a:pt x="544" y="2385"/>
                  </a:cubicBezTo>
                  <a:close/>
                  <a:moveTo>
                    <a:pt x="567" y="465"/>
                  </a:moveTo>
                  <a:cubicBezTo>
                    <a:pt x="550" y="463"/>
                    <a:pt x="564" y="448"/>
                    <a:pt x="567" y="465"/>
                  </a:cubicBezTo>
                  <a:close/>
                  <a:moveTo>
                    <a:pt x="558" y="1131"/>
                  </a:moveTo>
                  <a:cubicBezTo>
                    <a:pt x="558" y="1125"/>
                    <a:pt x="567" y="1134"/>
                    <a:pt x="558" y="1131"/>
                  </a:cubicBezTo>
                  <a:close/>
                  <a:moveTo>
                    <a:pt x="564" y="1142"/>
                  </a:moveTo>
                  <a:lnTo>
                    <a:pt x="567" y="1140"/>
                  </a:lnTo>
                  <a:cubicBezTo>
                    <a:pt x="570" y="1134"/>
                    <a:pt x="570" y="1148"/>
                    <a:pt x="567" y="1148"/>
                  </a:cubicBezTo>
                  <a:lnTo>
                    <a:pt x="564" y="1145"/>
                  </a:lnTo>
                  <a:cubicBezTo>
                    <a:pt x="567" y="1156"/>
                    <a:pt x="550" y="1148"/>
                    <a:pt x="564" y="1142"/>
                  </a:cubicBezTo>
                  <a:close/>
                  <a:moveTo>
                    <a:pt x="561" y="2380"/>
                  </a:moveTo>
                  <a:cubicBezTo>
                    <a:pt x="575" y="2377"/>
                    <a:pt x="558" y="2402"/>
                    <a:pt x="561" y="2380"/>
                  </a:cubicBezTo>
                  <a:close/>
                  <a:moveTo>
                    <a:pt x="587" y="2411"/>
                  </a:moveTo>
                  <a:cubicBezTo>
                    <a:pt x="584" y="2422"/>
                    <a:pt x="561" y="2408"/>
                    <a:pt x="561" y="2394"/>
                  </a:cubicBezTo>
                  <a:cubicBezTo>
                    <a:pt x="575" y="2394"/>
                    <a:pt x="578" y="2408"/>
                    <a:pt x="587" y="2411"/>
                  </a:cubicBezTo>
                  <a:close/>
                  <a:moveTo>
                    <a:pt x="573" y="1621"/>
                  </a:moveTo>
                  <a:cubicBezTo>
                    <a:pt x="575" y="1621"/>
                    <a:pt x="567" y="1618"/>
                    <a:pt x="573" y="1621"/>
                  </a:cubicBezTo>
                  <a:close/>
                  <a:moveTo>
                    <a:pt x="595" y="1708"/>
                  </a:moveTo>
                  <a:cubicBezTo>
                    <a:pt x="601" y="1722"/>
                    <a:pt x="573" y="1714"/>
                    <a:pt x="595" y="1708"/>
                  </a:cubicBezTo>
                  <a:close/>
                  <a:moveTo>
                    <a:pt x="595" y="2385"/>
                  </a:moveTo>
                  <a:cubicBezTo>
                    <a:pt x="595" y="2384"/>
                    <a:pt x="593" y="2379"/>
                    <a:pt x="590" y="2376"/>
                  </a:cubicBezTo>
                  <a:cubicBezTo>
                    <a:pt x="592" y="2380"/>
                    <a:pt x="593" y="2383"/>
                    <a:pt x="595" y="2385"/>
                  </a:cubicBezTo>
                  <a:close/>
                  <a:moveTo>
                    <a:pt x="587" y="2371"/>
                  </a:moveTo>
                  <a:lnTo>
                    <a:pt x="587" y="2368"/>
                  </a:lnTo>
                  <a:lnTo>
                    <a:pt x="590" y="2368"/>
                  </a:lnTo>
                  <a:lnTo>
                    <a:pt x="590" y="2374"/>
                  </a:lnTo>
                  <a:cubicBezTo>
                    <a:pt x="590" y="2375"/>
                    <a:pt x="590" y="2375"/>
                    <a:pt x="590" y="2376"/>
                  </a:cubicBezTo>
                  <a:cubicBezTo>
                    <a:pt x="589" y="2374"/>
                    <a:pt x="588" y="2372"/>
                    <a:pt x="587" y="2371"/>
                  </a:cubicBezTo>
                  <a:close/>
                  <a:moveTo>
                    <a:pt x="584" y="587"/>
                  </a:moveTo>
                  <a:cubicBezTo>
                    <a:pt x="581" y="587"/>
                    <a:pt x="581" y="581"/>
                    <a:pt x="581" y="578"/>
                  </a:cubicBezTo>
                  <a:cubicBezTo>
                    <a:pt x="587" y="575"/>
                    <a:pt x="587" y="584"/>
                    <a:pt x="584" y="587"/>
                  </a:cubicBezTo>
                  <a:close/>
                  <a:moveTo>
                    <a:pt x="578" y="1567"/>
                  </a:moveTo>
                  <a:lnTo>
                    <a:pt x="578" y="1559"/>
                  </a:lnTo>
                  <a:cubicBezTo>
                    <a:pt x="581" y="1565"/>
                    <a:pt x="584" y="1579"/>
                    <a:pt x="578" y="1567"/>
                  </a:cubicBezTo>
                  <a:close/>
                  <a:moveTo>
                    <a:pt x="581" y="1711"/>
                  </a:moveTo>
                  <a:cubicBezTo>
                    <a:pt x="584" y="1711"/>
                    <a:pt x="575" y="1708"/>
                    <a:pt x="581" y="1711"/>
                  </a:cubicBezTo>
                  <a:close/>
                  <a:moveTo>
                    <a:pt x="595" y="2467"/>
                  </a:moveTo>
                  <a:cubicBezTo>
                    <a:pt x="587" y="2470"/>
                    <a:pt x="578" y="2464"/>
                    <a:pt x="578" y="2459"/>
                  </a:cubicBezTo>
                  <a:lnTo>
                    <a:pt x="578" y="2453"/>
                  </a:lnTo>
                  <a:cubicBezTo>
                    <a:pt x="587" y="2450"/>
                    <a:pt x="595" y="2456"/>
                    <a:pt x="595" y="2462"/>
                  </a:cubicBezTo>
                  <a:lnTo>
                    <a:pt x="595" y="2467"/>
                  </a:lnTo>
                  <a:close/>
                  <a:moveTo>
                    <a:pt x="590" y="2408"/>
                  </a:moveTo>
                  <a:lnTo>
                    <a:pt x="590" y="2385"/>
                  </a:lnTo>
                  <a:lnTo>
                    <a:pt x="595" y="2385"/>
                  </a:lnTo>
                  <a:lnTo>
                    <a:pt x="604" y="2385"/>
                  </a:lnTo>
                  <a:cubicBezTo>
                    <a:pt x="606" y="2399"/>
                    <a:pt x="601" y="2408"/>
                    <a:pt x="590" y="2408"/>
                  </a:cubicBezTo>
                  <a:close/>
                  <a:moveTo>
                    <a:pt x="606" y="1632"/>
                  </a:moveTo>
                  <a:cubicBezTo>
                    <a:pt x="598" y="1652"/>
                    <a:pt x="609" y="1612"/>
                    <a:pt x="606" y="1632"/>
                  </a:cubicBezTo>
                  <a:close/>
                  <a:moveTo>
                    <a:pt x="604" y="2363"/>
                  </a:moveTo>
                  <a:cubicBezTo>
                    <a:pt x="604" y="2366"/>
                    <a:pt x="598" y="2363"/>
                    <a:pt x="604" y="2363"/>
                  </a:cubicBezTo>
                  <a:close/>
                  <a:moveTo>
                    <a:pt x="606" y="1598"/>
                  </a:moveTo>
                  <a:cubicBezTo>
                    <a:pt x="595" y="1618"/>
                    <a:pt x="606" y="1579"/>
                    <a:pt x="606" y="1598"/>
                  </a:cubicBezTo>
                  <a:close/>
                  <a:moveTo>
                    <a:pt x="598" y="1754"/>
                  </a:moveTo>
                  <a:cubicBezTo>
                    <a:pt x="595" y="1751"/>
                    <a:pt x="604" y="1754"/>
                    <a:pt x="598" y="1754"/>
                  </a:cubicBezTo>
                  <a:close/>
                  <a:moveTo>
                    <a:pt x="609" y="2419"/>
                  </a:moveTo>
                  <a:cubicBezTo>
                    <a:pt x="609" y="2422"/>
                    <a:pt x="612" y="2422"/>
                    <a:pt x="612" y="2425"/>
                  </a:cubicBezTo>
                  <a:cubicBezTo>
                    <a:pt x="615" y="2425"/>
                    <a:pt x="615" y="2422"/>
                    <a:pt x="615" y="2419"/>
                  </a:cubicBezTo>
                  <a:cubicBezTo>
                    <a:pt x="623" y="2419"/>
                    <a:pt x="615" y="2442"/>
                    <a:pt x="606" y="2433"/>
                  </a:cubicBezTo>
                  <a:cubicBezTo>
                    <a:pt x="606" y="2431"/>
                    <a:pt x="609" y="2428"/>
                    <a:pt x="609" y="2428"/>
                  </a:cubicBezTo>
                  <a:cubicBezTo>
                    <a:pt x="609" y="2425"/>
                    <a:pt x="595" y="2408"/>
                    <a:pt x="609" y="2419"/>
                  </a:cubicBezTo>
                  <a:close/>
                  <a:moveTo>
                    <a:pt x="615" y="2388"/>
                  </a:moveTo>
                  <a:cubicBezTo>
                    <a:pt x="629" y="2402"/>
                    <a:pt x="595" y="2377"/>
                    <a:pt x="615" y="2388"/>
                  </a:cubicBezTo>
                  <a:close/>
                  <a:moveTo>
                    <a:pt x="606" y="578"/>
                  </a:moveTo>
                  <a:cubicBezTo>
                    <a:pt x="606" y="573"/>
                    <a:pt x="618" y="581"/>
                    <a:pt x="606" y="578"/>
                  </a:cubicBezTo>
                  <a:close/>
                  <a:moveTo>
                    <a:pt x="629" y="1643"/>
                  </a:moveTo>
                  <a:cubicBezTo>
                    <a:pt x="626" y="1649"/>
                    <a:pt x="618" y="1641"/>
                    <a:pt x="612" y="1643"/>
                  </a:cubicBezTo>
                  <a:cubicBezTo>
                    <a:pt x="609" y="1638"/>
                    <a:pt x="621" y="1641"/>
                    <a:pt x="623" y="1638"/>
                  </a:cubicBezTo>
                  <a:lnTo>
                    <a:pt x="623" y="1641"/>
                  </a:lnTo>
                  <a:cubicBezTo>
                    <a:pt x="626" y="1641"/>
                    <a:pt x="629" y="1643"/>
                    <a:pt x="629" y="1643"/>
                  </a:cubicBezTo>
                  <a:close/>
                  <a:moveTo>
                    <a:pt x="623" y="1687"/>
                  </a:moveTo>
                  <a:cubicBezTo>
                    <a:pt x="622" y="1687"/>
                    <a:pt x="620" y="1686"/>
                    <a:pt x="623" y="1686"/>
                  </a:cubicBezTo>
                  <a:cubicBezTo>
                    <a:pt x="624" y="1687"/>
                    <a:pt x="624" y="1687"/>
                    <a:pt x="623" y="1687"/>
                  </a:cubicBezTo>
                  <a:close/>
                  <a:moveTo>
                    <a:pt x="623" y="1737"/>
                  </a:moveTo>
                  <a:cubicBezTo>
                    <a:pt x="621" y="1739"/>
                    <a:pt x="618" y="1742"/>
                    <a:pt x="615" y="1742"/>
                  </a:cubicBezTo>
                  <a:cubicBezTo>
                    <a:pt x="615" y="1737"/>
                    <a:pt x="621" y="1734"/>
                    <a:pt x="623" y="1737"/>
                  </a:cubicBezTo>
                  <a:close/>
                  <a:moveTo>
                    <a:pt x="626" y="2399"/>
                  </a:moveTo>
                  <a:lnTo>
                    <a:pt x="625" y="2398"/>
                  </a:lnTo>
                  <a:cubicBezTo>
                    <a:pt x="625" y="2397"/>
                    <a:pt x="626" y="2397"/>
                    <a:pt x="626" y="2399"/>
                  </a:cubicBezTo>
                  <a:cubicBezTo>
                    <a:pt x="625" y="2401"/>
                    <a:pt x="625" y="2399"/>
                    <a:pt x="625" y="2398"/>
                  </a:cubicBezTo>
                  <a:lnTo>
                    <a:pt x="626" y="2399"/>
                  </a:lnTo>
                  <a:close/>
                  <a:moveTo>
                    <a:pt x="609" y="2411"/>
                  </a:moveTo>
                  <a:lnTo>
                    <a:pt x="612" y="2414"/>
                  </a:lnTo>
                  <a:lnTo>
                    <a:pt x="609" y="2414"/>
                  </a:lnTo>
                  <a:cubicBezTo>
                    <a:pt x="612" y="2414"/>
                    <a:pt x="609" y="2411"/>
                    <a:pt x="609" y="2411"/>
                  </a:cubicBezTo>
                  <a:close/>
                  <a:moveTo>
                    <a:pt x="635" y="2518"/>
                  </a:moveTo>
                  <a:cubicBezTo>
                    <a:pt x="637" y="2515"/>
                    <a:pt x="632" y="2524"/>
                    <a:pt x="635" y="2518"/>
                  </a:cubicBezTo>
                  <a:close/>
                  <a:moveTo>
                    <a:pt x="629" y="2368"/>
                  </a:moveTo>
                  <a:cubicBezTo>
                    <a:pt x="643" y="2368"/>
                    <a:pt x="626" y="2391"/>
                    <a:pt x="629" y="2368"/>
                  </a:cubicBezTo>
                  <a:close/>
                  <a:moveTo>
                    <a:pt x="629" y="1587"/>
                  </a:moveTo>
                  <a:cubicBezTo>
                    <a:pt x="629" y="1581"/>
                    <a:pt x="635" y="1581"/>
                    <a:pt x="635" y="1579"/>
                  </a:cubicBezTo>
                  <a:cubicBezTo>
                    <a:pt x="637" y="1581"/>
                    <a:pt x="632" y="1590"/>
                    <a:pt x="629" y="1587"/>
                  </a:cubicBezTo>
                  <a:close/>
                  <a:moveTo>
                    <a:pt x="629" y="392"/>
                  </a:moveTo>
                  <a:cubicBezTo>
                    <a:pt x="632" y="386"/>
                    <a:pt x="640" y="395"/>
                    <a:pt x="629" y="392"/>
                  </a:cubicBezTo>
                  <a:close/>
                  <a:moveTo>
                    <a:pt x="635" y="401"/>
                  </a:moveTo>
                  <a:cubicBezTo>
                    <a:pt x="635" y="406"/>
                    <a:pt x="626" y="406"/>
                    <a:pt x="621" y="406"/>
                  </a:cubicBezTo>
                  <a:cubicBezTo>
                    <a:pt x="621" y="401"/>
                    <a:pt x="629" y="398"/>
                    <a:pt x="635" y="401"/>
                  </a:cubicBezTo>
                  <a:close/>
                  <a:moveTo>
                    <a:pt x="618" y="322"/>
                  </a:moveTo>
                  <a:cubicBezTo>
                    <a:pt x="621" y="313"/>
                    <a:pt x="621" y="330"/>
                    <a:pt x="618" y="322"/>
                  </a:cubicBezTo>
                  <a:close/>
                  <a:moveTo>
                    <a:pt x="618" y="288"/>
                  </a:moveTo>
                  <a:cubicBezTo>
                    <a:pt x="621" y="290"/>
                    <a:pt x="612" y="288"/>
                    <a:pt x="618" y="288"/>
                  </a:cubicBezTo>
                  <a:close/>
                  <a:moveTo>
                    <a:pt x="609" y="502"/>
                  </a:moveTo>
                  <a:cubicBezTo>
                    <a:pt x="609" y="496"/>
                    <a:pt x="618" y="505"/>
                    <a:pt x="609" y="502"/>
                  </a:cubicBezTo>
                  <a:close/>
                  <a:moveTo>
                    <a:pt x="615" y="542"/>
                  </a:moveTo>
                  <a:cubicBezTo>
                    <a:pt x="612" y="542"/>
                    <a:pt x="606" y="542"/>
                    <a:pt x="604" y="539"/>
                  </a:cubicBezTo>
                  <a:cubicBezTo>
                    <a:pt x="601" y="536"/>
                    <a:pt x="618" y="536"/>
                    <a:pt x="615" y="542"/>
                  </a:cubicBezTo>
                  <a:close/>
                  <a:moveTo>
                    <a:pt x="609" y="313"/>
                  </a:moveTo>
                  <a:cubicBezTo>
                    <a:pt x="609" y="316"/>
                    <a:pt x="601" y="316"/>
                    <a:pt x="598" y="316"/>
                  </a:cubicBezTo>
                  <a:cubicBezTo>
                    <a:pt x="598" y="313"/>
                    <a:pt x="606" y="313"/>
                    <a:pt x="609" y="313"/>
                  </a:cubicBezTo>
                  <a:close/>
                  <a:moveTo>
                    <a:pt x="592" y="293"/>
                  </a:moveTo>
                  <a:cubicBezTo>
                    <a:pt x="600" y="288"/>
                    <a:pt x="608" y="310"/>
                    <a:pt x="597" y="313"/>
                  </a:cubicBezTo>
                  <a:cubicBezTo>
                    <a:pt x="596" y="313"/>
                    <a:pt x="594" y="313"/>
                    <a:pt x="592" y="313"/>
                  </a:cubicBezTo>
                  <a:lnTo>
                    <a:pt x="592" y="312"/>
                  </a:lnTo>
                  <a:cubicBezTo>
                    <a:pt x="594" y="312"/>
                    <a:pt x="596" y="311"/>
                    <a:pt x="598" y="310"/>
                  </a:cubicBezTo>
                  <a:cubicBezTo>
                    <a:pt x="598" y="311"/>
                    <a:pt x="598" y="312"/>
                    <a:pt x="597" y="313"/>
                  </a:cubicBezTo>
                  <a:cubicBezTo>
                    <a:pt x="594" y="316"/>
                    <a:pt x="586" y="316"/>
                    <a:pt x="581" y="319"/>
                  </a:cubicBezTo>
                  <a:cubicBezTo>
                    <a:pt x="581" y="315"/>
                    <a:pt x="587" y="314"/>
                    <a:pt x="592" y="312"/>
                  </a:cubicBezTo>
                  <a:cubicBezTo>
                    <a:pt x="590" y="304"/>
                    <a:pt x="592" y="299"/>
                    <a:pt x="592" y="293"/>
                  </a:cubicBezTo>
                  <a:close/>
                  <a:moveTo>
                    <a:pt x="587" y="375"/>
                  </a:moveTo>
                  <a:cubicBezTo>
                    <a:pt x="584" y="378"/>
                    <a:pt x="581" y="381"/>
                    <a:pt x="578" y="381"/>
                  </a:cubicBezTo>
                  <a:cubicBezTo>
                    <a:pt x="578" y="375"/>
                    <a:pt x="584" y="375"/>
                    <a:pt x="587" y="375"/>
                  </a:cubicBezTo>
                  <a:close/>
                  <a:moveTo>
                    <a:pt x="575" y="584"/>
                  </a:moveTo>
                  <a:cubicBezTo>
                    <a:pt x="575" y="578"/>
                    <a:pt x="584" y="587"/>
                    <a:pt x="575" y="584"/>
                  </a:cubicBezTo>
                  <a:close/>
                  <a:moveTo>
                    <a:pt x="575" y="1573"/>
                  </a:moveTo>
                  <a:cubicBezTo>
                    <a:pt x="581" y="1587"/>
                    <a:pt x="553" y="1579"/>
                    <a:pt x="575" y="1573"/>
                  </a:cubicBezTo>
                  <a:close/>
                  <a:moveTo>
                    <a:pt x="567" y="544"/>
                  </a:moveTo>
                  <a:cubicBezTo>
                    <a:pt x="567" y="539"/>
                    <a:pt x="575" y="547"/>
                    <a:pt x="567" y="544"/>
                  </a:cubicBezTo>
                  <a:close/>
                  <a:moveTo>
                    <a:pt x="570" y="319"/>
                  </a:moveTo>
                  <a:cubicBezTo>
                    <a:pt x="570" y="322"/>
                    <a:pt x="573" y="327"/>
                    <a:pt x="573" y="330"/>
                  </a:cubicBezTo>
                  <a:cubicBezTo>
                    <a:pt x="570" y="330"/>
                    <a:pt x="564" y="333"/>
                    <a:pt x="561" y="333"/>
                  </a:cubicBezTo>
                  <a:cubicBezTo>
                    <a:pt x="561" y="330"/>
                    <a:pt x="558" y="324"/>
                    <a:pt x="556" y="322"/>
                  </a:cubicBezTo>
                  <a:cubicBezTo>
                    <a:pt x="558" y="322"/>
                    <a:pt x="564" y="319"/>
                    <a:pt x="570" y="319"/>
                  </a:cubicBezTo>
                  <a:close/>
                  <a:moveTo>
                    <a:pt x="567" y="406"/>
                  </a:moveTo>
                  <a:cubicBezTo>
                    <a:pt x="567" y="412"/>
                    <a:pt x="561" y="417"/>
                    <a:pt x="556" y="415"/>
                  </a:cubicBezTo>
                  <a:cubicBezTo>
                    <a:pt x="553" y="412"/>
                    <a:pt x="558" y="406"/>
                    <a:pt x="567" y="406"/>
                  </a:cubicBezTo>
                  <a:close/>
                  <a:moveTo>
                    <a:pt x="561" y="477"/>
                  </a:moveTo>
                  <a:cubicBezTo>
                    <a:pt x="558" y="477"/>
                    <a:pt x="556" y="477"/>
                    <a:pt x="553" y="471"/>
                  </a:cubicBezTo>
                  <a:lnTo>
                    <a:pt x="553" y="468"/>
                  </a:lnTo>
                  <a:cubicBezTo>
                    <a:pt x="556" y="468"/>
                    <a:pt x="558" y="474"/>
                    <a:pt x="561" y="477"/>
                  </a:cubicBezTo>
                  <a:close/>
                  <a:moveTo>
                    <a:pt x="556" y="499"/>
                  </a:moveTo>
                  <a:cubicBezTo>
                    <a:pt x="564" y="499"/>
                    <a:pt x="556" y="511"/>
                    <a:pt x="550" y="505"/>
                  </a:cubicBezTo>
                  <a:cubicBezTo>
                    <a:pt x="553" y="502"/>
                    <a:pt x="556" y="502"/>
                    <a:pt x="556" y="499"/>
                  </a:cubicBezTo>
                  <a:close/>
                  <a:moveTo>
                    <a:pt x="547" y="499"/>
                  </a:moveTo>
                  <a:cubicBezTo>
                    <a:pt x="547" y="494"/>
                    <a:pt x="556" y="502"/>
                    <a:pt x="547" y="499"/>
                  </a:cubicBezTo>
                  <a:close/>
                  <a:moveTo>
                    <a:pt x="547" y="508"/>
                  </a:moveTo>
                  <a:cubicBezTo>
                    <a:pt x="547" y="502"/>
                    <a:pt x="556" y="511"/>
                    <a:pt x="547" y="508"/>
                  </a:cubicBezTo>
                  <a:close/>
                  <a:moveTo>
                    <a:pt x="558" y="601"/>
                  </a:moveTo>
                  <a:cubicBezTo>
                    <a:pt x="556" y="606"/>
                    <a:pt x="550" y="601"/>
                    <a:pt x="544" y="601"/>
                  </a:cubicBezTo>
                  <a:cubicBezTo>
                    <a:pt x="547" y="598"/>
                    <a:pt x="556" y="601"/>
                    <a:pt x="558" y="601"/>
                  </a:cubicBezTo>
                  <a:close/>
                  <a:moveTo>
                    <a:pt x="536" y="587"/>
                  </a:moveTo>
                  <a:cubicBezTo>
                    <a:pt x="539" y="581"/>
                    <a:pt x="547" y="592"/>
                    <a:pt x="536" y="587"/>
                  </a:cubicBezTo>
                  <a:close/>
                  <a:moveTo>
                    <a:pt x="536" y="575"/>
                  </a:moveTo>
                  <a:cubicBezTo>
                    <a:pt x="536" y="570"/>
                    <a:pt x="544" y="578"/>
                    <a:pt x="536" y="575"/>
                  </a:cubicBezTo>
                  <a:close/>
                  <a:moveTo>
                    <a:pt x="533" y="338"/>
                  </a:moveTo>
                  <a:cubicBezTo>
                    <a:pt x="536" y="338"/>
                    <a:pt x="539" y="341"/>
                    <a:pt x="542" y="341"/>
                  </a:cubicBezTo>
                  <a:cubicBezTo>
                    <a:pt x="542" y="344"/>
                    <a:pt x="530" y="341"/>
                    <a:pt x="533" y="338"/>
                  </a:cubicBezTo>
                  <a:close/>
                  <a:moveTo>
                    <a:pt x="536" y="471"/>
                  </a:moveTo>
                  <a:cubicBezTo>
                    <a:pt x="539" y="488"/>
                    <a:pt x="516" y="477"/>
                    <a:pt x="511" y="479"/>
                  </a:cubicBezTo>
                  <a:cubicBezTo>
                    <a:pt x="508" y="463"/>
                    <a:pt x="530" y="474"/>
                    <a:pt x="536" y="471"/>
                  </a:cubicBezTo>
                  <a:close/>
                  <a:moveTo>
                    <a:pt x="525" y="437"/>
                  </a:moveTo>
                  <a:cubicBezTo>
                    <a:pt x="522" y="440"/>
                    <a:pt x="516" y="443"/>
                    <a:pt x="511" y="443"/>
                  </a:cubicBezTo>
                  <a:cubicBezTo>
                    <a:pt x="511" y="437"/>
                    <a:pt x="519" y="437"/>
                    <a:pt x="525" y="437"/>
                  </a:cubicBezTo>
                  <a:close/>
                  <a:moveTo>
                    <a:pt x="485" y="384"/>
                  </a:moveTo>
                  <a:cubicBezTo>
                    <a:pt x="491" y="401"/>
                    <a:pt x="499" y="415"/>
                    <a:pt x="513" y="426"/>
                  </a:cubicBezTo>
                  <a:cubicBezTo>
                    <a:pt x="496" y="426"/>
                    <a:pt x="485" y="412"/>
                    <a:pt x="477" y="398"/>
                  </a:cubicBezTo>
                  <a:cubicBezTo>
                    <a:pt x="479" y="395"/>
                    <a:pt x="485" y="392"/>
                    <a:pt x="485" y="384"/>
                  </a:cubicBezTo>
                  <a:close/>
                  <a:moveTo>
                    <a:pt x="479" y="384"/>
                  </a:moveTo>
                  <a:cubicBezTo>
                    <a:pt x="485" y="392"/>
                    <a:pt x="477" y="398"/>
                    <a:pt x="471" y="401"/>
                  </a:cubicBezTo>
                  <a:cubicBezTo>
                    <a:pt x="468" y="395"/>
                    <a:pt x="471" y="386"/>
                    <a:pt x="479" y="384"/>
                  </a:cubicBezTo>
                  <a:close/>
                  <a:moveTo>
                    <a:pt x="471" y="448"/>
                  </a:moveTo>
                  <a:cubicBezTo>
                    <a:pt x="474" y="448"/>
                    <a:pt x="474" y="454"/>
                    <a:pt x="474" y="457"/>
                  </a:cubicBezTo>
                  <a:lnTo>
                    <a:pt x="468" y="457"/>
                  </a:lnTo>
                  <a:cubicBezTo>
                    <a:pt x="468" y="451"/>
                    <a:pt x="471" y="451"/>
                    <a:pt x="471" y="448"/>
                  </a:cubicBezTo>
                  <a:close/>
                  <a:moveTo>
                    <a:pt x="479" y="499"/>
                  </a:moveTo>
                  <a:cubicBezTo>
                    <a:pt x="482" y="505"/>
                    <a:pt x="477" y="505"/>
                    <a:pt x="474" y="505"/>
                  </a:cubicBezTo>
                  <a:cubicBezTo>
                    <a:pt x="471" y="513"/>
                    <a:pt x="471" y="522"/>
                    <a:pt x="457" y="519"/>
                  </a:cubicBezTo>
                  <a:cubicBezTo>
                    <a:pt x="454" y="508"/>
                    <a:pt x="471" y="496"/>
                    <a:pt x="479" y="499"/>
                  </a:cubicBezTo>
                  <a:close/>
                  <a:moveTo>
                    <a:pt x="457" y="440"/>
                  </a:moveTo>
                  <a:cubicBezTo>
                    <a:pt x="460" y="440"/>
                    <a:pt x="454" y="437"/>
                    <a:pt x="457" y="440"/>
                  </a:cubicBezTo>
                  <a:close/>
                  <a:moveTo>
                    <a:pt x="448" y="513"/>
                  </a:moveTo>
                  <a:cubicBezTo>
                    <a:pt x="451" y="508"/>
                    <a:pt x="460" y="519"/>
                    <a:pt x="448" y="513"/>
                  </a:cubicBezTo>
                  <a:close/>
                  <a:moveTo>
                    <a:pt x="451" y="573"/>
                  </a:moveTo>
                  <a:cubicBezTo>
                    <a:pt x="448" y="570"/>
                    <a:pt x="457" y="573"/>
                    <a:pt x="451" y="573"/>
                  </a:cubicBezTo>
                  <a:close/>
                  <a:moveTo>
                    <a:pt x="457" y="680"/>
                  </a:moveTo>
                  <a:cubicBezTo>
                    <a:pt x="460" y="700"/>
                    <a:pt x="437" y="668"/>
                    <a:pt x="457" y="680"/>
                  </a:cubicBezTo>
                  <a:close/>
                  <a:moveTo>
                    <a:pt x="454" y="747"/>
                  </a:moveTo>
                  <a:cubicBezTo>
                    <a:pt x="460" y="762"/>
                    <a:pt x="432" y="753"/>
                    <a:pt x="454" y="747"/>
                  </a:cubicBezTo>
                  <a:close/>
                  <a:moveTo>
                    <a:pt x="451" y="767"/>
                  </a:moveTo>
                  <a:lnTo>
                    <a:pt x="451" y="773"/>
                  </a:lnTo>
                  <a:lnTo>
                    <a:pt x="446" y="773"/>
                  </a:lnTo>
                  <a:lnTo>
                    <a:pt x="446" y="767"/>
                  </a:lnTo>
                  <a:lnTo>
                    <a:pt x="451" y="767"/>
                  </a:lnTo>
                  <a:close/>
                  <a:moveTo>
                    <a:pt x="443" y="1974"/>
                  </a:moveTo>
                  <a:cubicBezTo>
                    <a:pt x="460" y="1974"/>
                    <a:pt x="443" y="1993"/>
                    <a:pt x="440" y="1982"/>
                  </a:cubicBezTo>
                  <a:cubicBezTo>
                    <a:pt x="434" y="1979"/>
                    <a:pt x="432" y="1974"/>
                    <a:pt x="429" y="1968"/>
                  </a:cubicBezTo>
                  <a:cubicBezTo>
                    <a:pt x="437" y="1971"/>
                    <a:pt x="440" y="1971"/>
                    <a:pt x="443" y="1974"/>
                  </a:cubicBezTo>
                  <a:close/>
                  <a:moveTo>
                    <a:pt x="437" y="1799"/>
                  </a:moveTo>
                  <a:cubicBezTo>
                    <a:pt x="437" y="1810"/>
                    <a:pt x="420" y="1799"/>
                    <a:pt x="437" y="1799"/>
                  </a:cubicBezTo>
                  <a:close/>
                  <a:moveTo>
                    <a:pt x="434" y="781"/>
                  </a:moveTo>
                  <a:cubicBezTo>
                    <a:pt x="434" y="784"/>
                    <a:pt x="429" y="787"/>
                    <a:pt x="426" y="787"/>
                  </a:cubicBezTo>
                  <a:cubicBezTo>
                    <a:pt x="429" y="784"/>
                    <a:pt x="432" y="781"/>
                    <a:pt x="434" y="781"/>
                  </a:cubicBezTo>
                  <a:close/>
                  <a:moveTo>
                    <a:pt x="429" y="1864"/>
                  </a:moveTo>
                  <a:cubicBezTo>
                    <a:pt x="429" y="1866"/>
                    <a:pt x="423" y="1869"/>
                    <a:pt x="420" y="1869"/>
                  </a:cubicBezTo>
                  <a:cubicBezTo>
                    <a:pt x="423" y="1866"/>
                    <a:pt x="426" y="1864"/>
                    <a:pt x="429" y="1864"/>
                  </a:cubicBezTo>
                  <a:close/>
                  <a:moveTo>
                    <a:pt x="417" y="508"/>
                  </a:moveTo>
                  <a:cubicBezTo>
                    <a:pt x="417" y="502"/>
                    <a:pt x="429" y="511"/>
                    <a:pt x="417" y="508"/>
                  </a:cubicBezTo>
                  <a:close/>
                  <a:moveTo>
                    <a:pt x="415" y="474"/>
                  </a:moveTo>
                  <a:cubicBezTo>
                    <a:pt x="417" y="474"/>
                    <a:pt x="409" y="471"/>
                    <a:pt x="415" y="474"/>
                  </a:cubicBezTo>
                  <a:close/>
                  <a:moveTo>
                    <a:pt x="417" y="454"/>
                  </a:moveTo>
                  <a:cubicBezTo>
                    <a:pt x="420" y="460"/>
                    <a:pt x="403" y="465"/>
                    <a:pt x="403" y="457"/>
                  </a:cubicBezTo>
                  <a:cubicBezTo>
                    <a:pt x="409" y="457"/>
                    <a:pt x="412" y="454"/>
                    <a:pt x="417" y="454"/>
                  </a:cubicBezTo>
                  <a:close/>
                  <a:moveTo>
                    <a:pt x="406" y="668"/>
                  </a:moveTo>
                  <a:cubicBezTo>
                    <a:pt x="412" y="683"/>
                    <a:pt x="384" y="674"/>
                    <a:pt x="406" y="668"/>
                  </a:cubicBezTo>
                  <a:close/>
                  <a:moveTo>
                    <a:pt x="403" y="621"/>
                  </a:moveTo>
                  <a:cubicBezTo>
                    <a:pt x="395" y="640"/>
                    <a:pt x="406" y="601"/>
                    <a:pt x="403" y="621"/>
                  </a:cubicBezTo>
                  <a:close/>
                  <a:moveTo>
                    <a:pt x="403" y="502"/>
                  </a:moveTo>
                  <a:cubicBezTo>
                    <a:pt x="409" y="516"/>
                    <a:pt x="381" y="508"/>
                    <a:pt x="403" y="502"/>
                  </a:cubicBezTo>
                  <a:close/>
                  <a:moveTo>
                    <a:pt x="398" y="522"/>
                  </a:moveTo>
                  <a:cubicBezTo>
                    <a:pt x="406" y="527"/>
                    <a:pt x="392" y="533"/>
                    <a:pt x="386" y="530"/>
                  </a:cubicBezTo>
                  <a:cubicBezTo>
                    <a:pt x="384" y="525"/>
                    <a:pt x="395" y="527"/>
                    <a:pt x="398" y="522"/>
                  </a:cubicBezTo>
                  <a:close/>
                  <a:moveTo>
                    <a:pt x="392" y="1832"/>
                  </a:moveTo>
                  <a:cubicBezTo>
                    <a:pt x="406" y="1855"/>
                    <a:pt x="369" y="1818"/>
                    <a:pt x="392" y="1832"/>
                  </a:cubicBezTo>
                  <a:close/>
                  <a:moveTo>
                    <a:pt x="384" y="1869"/>
                  </a:moveTo>
                  <a:cubicBezTo>
                    <a:pt x="386" y="1869"/>
                    <a:pt x="378" y="1866"/>
                    <a:pt x="384" y="1869"/>
                  </a:cubicBezTo>
                  <a:close/>
                  <a:moveTo>
                    <a:pt x="381" y="632"/>
                  </a:moveTo>
                  <a:cubicBezTo>
                    <a:pt x="378" y="637"/>
                    <a:pt x="367" y="626"/>
                    <a:pt x="381" y="632"/>
                  </a:cubicBezTo>
                  <a:close/>
                  <a:moveTo>
                    <a:pt x="372" y="2067"/>
                  </a:moveTo>
                  <a:cubicBezTo>
                    <a:pt x="369" y="2089"/>
                    <a:pt x="355" y="2055"/>
                    <a:pt x="372" y="2067"/>
                  </a:cubicBezTo>
                  <a:close/>
                  <a:moveTo>
                    <a:pt x="364" y="2027"/>
                  </a:moveTo>
                  <a:cubicBezTo>
                    <a:pt x="361" y="2024"/>
                    <a:pt x="367" y="2027"/>
                    <a:pt x="364" y="2027"/>
                  </a:cubicBezTo>
                  <a:close/>
                  <a:moveTo>
                    <a:pt x="369" y="2005"/>
                  </a:moveTo>
                  <a:cubicBezTo>
                    <a:pt x="361" y="2002"/>
                    <a:pt x="347" y="2002"/>
                    <a:pt x="350" y="1985"/>
                  </a:cubicBezTo>
                  <a:cubicBezTo>
                    <a:pt x="358" y="1990"/>
                    <a:pt x="369" y="1993"/>
                    <a:pt x="369" y="2005"/>
                  </a:cubicBezTo>
                  <a:close/>
                  <a:moveTo>
                    <a:pt x="347" y="1801"/>
                  </a:moveTo>
                  <a:cubicBezTo>
                    <a:pt x="347" y="1813"/>
                    <a:pt x="330" y="1807"/>
                    <a:pt x="324" y="1807"/>
                  </a:cubicBezTo>
                  <a:cubicBezTo>
                    <a:pt x="327" y="1793"/>
                    <a:pt x="338" y="1807"/>
                    <a:pt x="347" y="1801"/>
                  </a:cubicBezTo>
                  <a:close/>
                  <a:moveTo>
                    <a:pt x="333" y="1773"/>
                  </a:moveTo>
                  <a:cubicBezTo>
                    <a:pt x="333" y="1768"/>
                    <a:pt x="341" y="1776"/>
                    <a:pt x="333" y="1773"/>
                  </a:cubicBezTo>
                  <a:close/>
                  <a:moveTo>
                    <a:pt x="344" y="1957"/>
                  </a:moveTo>
                  <a:cubicBezTo>
                    <a:pt x="347" y="1951"/>
                    <a:pt x="355" y="1948"/>
                    <a:pt x="361" y="1948"/>
                  </a:cubicBezTo>
                  <a:cubicBezTo>
                    <a:pt x="364" y="1957"/>
                    <a:pt x="352" y="1957"/>
                    <a:pt x="344" y="1957"/>
                  </a:cubicBezTo>
                  <a:close/>
                  <a:moveTo>
                    <a:pt x="350" y="2010"/>
                  </a:moveTo>
                  <a:cubicBezTo>
                    <a:pt x="350" y="2030"/>
                    <a:pt x="327" y="1999"/>
                    <a:pt x="350" y="2010"/>
                  </a:cubicBezTo>
                  <a:close/>
                  <a:moveTo>
                    <a:pt x="352" y="1790"/>
                  </a:moveTo>
                  <a:cubicBezTo>
                    <a:pt x="369" y="1790"/>
                    <a:pt x="352" y="1813"/>
                    <a:pt x="352" y="1790"/>
                  </a:cubicBezTo>
                  <a:close/>
                  <a:moveTo>
                    <a:pt x="364" y="1810"/>
                  </a:moveTo>
                  <a:cubicBezTo>
                    <a:pt x="364" y="1832"/>
                    <a:pt x="350" y="1796"/>
                    <a:pt x="364" y="1810"/>
                  </a:cubicBezTo>
                  <a:close/>
                  <a:moveTo>
                    <a:pt x="361" y="570"/>
                  </a:moveTo>
                  <a:cubicBezTo>
                    <a:pt x="367" y="584"/>
                    <a:pt x="338" y="575"/>
                    <a:pt x="361" y="570"/>
                  </a:cubicBezTo>
                  <a:close/>
                  <a:moveTo>
                    <a:pt x="350" y="556"/>
                  </a:moveTo>
                  <a:cubicBezTo>
                    <a:pt x="352" y="553"/>
                    <a:pt x="355" y="544"/>
                    <a:pt x="358" y="547"/>
                  </a:cubicBezTo>
                  <a:cubicBezTo>
                    <a:pt x="358" y="547"/>
                    <a:pt x="358" y="556"/>
                    <a:pt x="350" y="556"/>
                  </a:cubicBezTo>
                  <a:close/>
                  <a:moveTo>
                    <a:pt x="364" y="683"/>
                  </a:moveTo>
                  <a:cubicBezTo>
                    <a:pt x="358" y="683"/>
                    <a:pt x="358" y="677"/>
                    <a:pt x="355" y="677"/>
                  </a:cubicBezTo>
                  <a:cubicBezTo>
                    <a:pt x="355" y="674"/>
                    <a:pt x="367" y="677"/>
                    <a:pt x="364" y="683"/>
                  </a:cubicBezTo>
                  <a:close/>
                  <a:moveTo>
                    <a:pt x="364" y="711"/>
                  </a:moveTo>
                  <a:cubicBezTo>
                    <a:pt x="364" y="719"/>
                    <a:pt x="350" y="719"/>
                    <a:pt x="344" y="722"/>
                  </a:cubicBezTo>
                  <a:cubicBezTo>
                    <a:pt x="344" y="719"/>
                    <a:pt x="344" y="719"/>
                    <a:pt x="341" y="716"/>
                  </a:cubicBezTo>
                  <a:cubicBezTo>
                    <a:pt x="352" y="705"/>
                    <a:pt x="350" y="711"/>
                    <a:pt x="364" y="711"/>
                  </a:cubicBezTo>
                  <a:close/>
                  <a:moveTo>
                    <a:pt x="352" y="793"/>
                  </a:moveTo>
                  <a:cubicBezTo>
                    <a:pt x="344" y="810"/>
                    <a:pt x="355" y="770"/>
                    <a:pt x="352" y="793"/>
                  </a:cubicBezTo>
                  <a:close/>
                  <a:moveTo>
                    <a:pt x="347" y="733"/>
                  </a:moveTo>
                  <a:cubicBezTo>
                    <a:pt x="344" y="731"/>
                    <a:pt x="352" y="733"/>
                    <a:pt x="347" y="733"/>
                  </a:cubicBezTo>
                  <a:close/>
                  <a:moveTo>
                    <a:pt x="347" y="1785"/>
                  </a:moveTo>
                  <a:cubicBezTo>
                    <a:pt x="344" y="1785"/>
                    <a:pt x="341" y="1782"/>
                    <a:pt x="338" y="1782"/>
                  </a:cubicBezTo>
                  <a:cubicBezTo>
                    <a:pt x="344" y="1782"/>
                    <a:pt x="361" y="1785"/>
                    <a:pt x="347" y="1785"/>
                  </a:cubicBezTo>
                  <a:close/>
                  <a:moveTo>
                    <a:pt x="341" y="1832"/>
                  </a:moveTo>
                  <a:cubicBezTo>
                    <a:pt x="341" y="1838"/>
                    <a:pt x="338" y="1844"/>
                    <a:pt x="333" y="1841"/>
                  </a:cubicBezTo>
                  <a:cubicBezTo>
                    <a:pt x="333" y="1838"/>
                    <a:pt x="333" y="1835"/>
                    <a:pt x="330" y="1835"/>
                  </a:cubicBezTo>
                  <a:cubicBezTo>
                    <a:pt x="333" y="1832"/>
                    <a:pt x="338" y="1832"/>
                    <a:pt x="341" y="1832"/>
                  </a:cubicBezTo>
                  <a:close/>
                  <a:moveTo>
                    <a:pt x="355" y="2081"/>
                  </a:moveTo>
                  <a:cubicBezTo>
                    <a:pt x="361" y="2098"/>
                    <a:pt x="344" y="2100"/>
                    <a:pt x="341" y="2112"/>
                  </a:cubicBezTo>
                  <a:cubicBezTo>
                    <a:pt x="330" y="2109"/>
                    <a:pt x="336" y="2100"/>
                    <a:pt x="330" y="2092"/>
                  </a:cubicBezTo>
                  <a:cubicBezTo>
                    <a:pt x="336" y="2081"/>
                    <a:pt x="344" y="2078"/>
                    <a:pt x="355" y="2081"/>
                  </a:cubicBezTo>
                  <a:close/>
                  <a:moveTo>
                    <a:pt x="330" y="2112"/>
                  </a:moveTo>
                  <a:cubicBezTo>
                    <a:pt x="344" y="2112"/>
                    <a:pt x="327" y="2134"/>
                    <a:pt x="330" y="2112"/>
                  </a:cubicBezTo>
                  <a:close/>
                  <a:moveTo>
                    <a:pt x="336" y="2264"/>
                  </a:moveTo>
                  <a:cubicBezTo>
                    <a:pt x="338" y="2261"/>
                    <a:pt x="333" y="2270"/>
                    <a:pt x="336" y="2264"/>
                  </a:cubicBezTo>
                  <a:close/>
                  <a:moveTo>
                    <a:pt x="338" y="2273"/>
                  </a:moveTo>
                  <a:cubicBezTo>
                    <a:pt x="336" y="2270"/>
                    <a:pt x="341" y="2273"/>
                    <a:pt x="338" y="2273"/>
                  </a:cubicBezTo>
                  <a:close/>
                  <a:moveTo>
                    <a:pt x="330" y="2304"/>
                  </a:moveTo>
                  <a:cubicBezTo>
                    <a:pt x="330" y="2298"/>
                    <a:pt x="336" y="2292"/>
                    <a:pt x="344" y="2292"/>
                  </a:cubicBezTo>
                  <a:cubicBezTo>
                    <a:pt x="341" y="2298"/>
                    <a:pt x="338" y="2304"/>
                    <a:pt x="330" y="2304"/>
                  </a:cubicBezTo>
                  <a:close/>
                  <a:moveTo>
                    <a:pt x="341" y="2315"/>
                  </a:moveTo>
                  <a:cubicBezTo>
                    <a:pt x="347" y="2329"/>
                    <a:pt x="319" y="2320"/>
                    <a:pt x="341" y="2315"/>
                  </a:cubicBezTo>
                  <a:close/>
                  <a:moveTo>
                    <a:pt x="341" y="2278"/>
                  </a:moveTo>
                  <a:lnTo>
                    <a:pt x="341" y="2264"/>
                  </a:lnTo>
                  <a:cubicBezTo>
                    <a:pt x="344" y="2267"/>
                    <a:pt x="344" y="2273"/>
                    <a:pt x="344" y="2275"/>
                  </a:cubicBezTo>
                  <a:lnTo>
                    <a:pt x="341" y="2278"/>
                  </a:lnTo>
                  <a:lnTo>
                    <a:pt x="344" y="2278"/>
                  </a:lnTo>
                  <a:cubicBezTo>
                    <a:pt x="344" y="2280"/>
                    <a:pt x="344" y="2280"/>
                    <a:pt x="345" y="2281"/>
                  </a:cubicBezTo>
                  <a:cubicBezTo>
                    <a:pt x="343" y="2280"/>
                    <a:pt x="341" y="2280"/>
                    <a:pt x="341" y="2278"/>
                  </a:cubicBezTo>
                  <a:close/>
                  <a:moveTo>
                    <a:pt x="347" y="2284"/>
                  </a:moveTo>
                  <a:cubicBezTo>
                    <a:pt x="347" y="2283"/>
                    <a:pt x="346" y="2282"/>
                    <a:pt x="345" y="2281"/>
                  </a:cubicBezTo>
                  <a:cubicBezTo>
                    <a:pt x="345" y="2282"/>
                    <a:pt x="346" y="2283"/>
                    <a:pt x="347" y="2284"/>
                  </a:cubicBezTo>
                  <a:close/>
                  <a:moveTo>
                    <a:pt x="336" y="2256"/>
                  </a:moveTo>
                  <a:lnTo>
                    <a:pt x="336" y="2239"/>
                  </a:lnTo>
                  <a:lnTo>
                    <a:pt x="336" y="2236"/>
                  </a:lnTo>
                  <a:cubicBezTo>
                    <a:pt x="336" y="2236"/>
                    <a:pt x="333" y="2233"/>
                    <a:pt x="333" y="2230"/>
                  </a:cubicBezTo>
                  <a:lnTo>
                    <a:pt x="336" y="2230"/>
                  </a:lnTo>
                  <a:cubicBezTo>
                    <a:pt x="336" y="2227"/>
                    <a:pt x="338" y="2225"/>
                    <a:pt x="338" y="2222"/>
                  </a:cubicBezTo>
                  <a:cubicBezTo>
                    <a:pt x="344" y="2222"/>
                    <a:pt x="347" y="2225"/>
                    <a:pt x="347" y="2227"/>
                  </a:cubicBezTo>
                  <a:lnTo>
                    <a:pt x="350" y="2227"/>
                  </a:lnTo>
                  <a:cubicBezTo>
                    <a:pt x="355" y="2247"/>
                    <a:pt x="347" y="2256"/>
                    <a:pt x="336" y="2256"/>
                  </a:cubicBezTo>
                  <a:close/>
                  <a:moveTo>
                    <a:pt x="341" y="2179"/>
                  </a:moveTo>
                  <a:cubicBezTo>
                    <a:pt x="344" y="2177"/>
                    <a:pt x="352" y="2177"/>
                    <a:pt x="355" y="2182"/>
                  </a:cubicBezTo>
                  <a:cubicBezTo>
                    <a:pt x="358" y="2185"/>
                    <a:pt x="358" y="2188"/>
                    <a:pt x="358" y="2188"/>
                  </a:cubicBezTo>
                  <a:cubicBezTo>
                    <a:pt x="350" y="2191"/>
                    <a:pt x="344" y="2188"/>
                    <a:pt x="341" y="2179"/>
                  </a:cubicBezTo>
                  <a:close/>
                  <a:moveTo>
                    <a:pt x="352" y="2126"/>
                  </a:moveTo>
                  <a:cubicBezTo>
                    <a:pt x="367" y="2129"/>
                    <a:pt x="350" y="2154"/>
                    <a:pt x="352" y="2126"/>
                  </a:cubicBezTo>
                  <a:close/>
                  <a:moveTo>
                    <a:pt x="367" y="527"/>
                  </a:moveTo>
                  <a:cubicBezTo>
                    <a:pt x="367" y="547"/>
                    <a:pt x="344" y="516"/>
                    <a:pt x="367" y="527"/>
                  </a:cubicBezTo>
                  <a:close/>
                  <a:moveTo>
                    <a:pt x="355" y="522"/>
                  </a:moveTo>
                  <a:cubicBezTo>
                    <a:pt x="352" y="525"/>
                    <a:pt x="350" y="527"/>
                    <a:pt x="347" y="527"/>
                  </a:cubicBezTo>
                  <a:cubicBezTo>
                    <a:pt x="347" y="525"/>
                    <a:pt x="352" y="522"/>
                    <a:pt x="355" y="522"/>
                  </a:cubicBezTo>
                  <a:close/>
                  <a:moveTo>
                    <a:pt x="350" y="697"/>
                  </a:moveTo>
                  <a:cubicBezTo>
                    <a:pt x="352" y="714"/>
                    <a:pt x="321" y="705"/>
                    <a:pt x="350" y="697"/>
                  </a:cubicBezTo>
                  <a:close/>
                  <a:moveTo>
                    <a:pt x="333" y="1675"/>
                  </a:moveTo>
                  <a:cubicBezTo>
                    <a:pt x="330" y="1686"/>
                    <a:pt x="321" y="1663"/>
                    <a:pt x="333" y="1675"/>
                  </a:cubicBezTo>
                  <a:close/>
                  <a:moveTo>
                    <a:pt x="330" y="652"/>
                  </a:moveTo>
                  <a:cubicBezTo>
                    <a:pt x="333" y="652"/>
                    <a:pt x="324" y="649"/>
                    <a:pt x="330" y="652"/>
                  </a:cubicBezTo>
                  <a:close/>
                  <a:moveTo>
                    <a:pt x="321" y="601"/>
                  </a:moveTo>
                  <a:cubicBezTo>
                    <a:pt x="321" y="595"/>
                    <a:pt x="330" y="604"/>
                    <a:pt x="321" y="601"/>
                  </a:cubicBezTo>
                  <a:close/>
                  <a:moveTo>
                    <a:pt x="321" y="1658"/>
                  </a:moveTo>
                  <a:cubicBezTo>
                    <a:pt x="324" y="1669"/>
                    <a:pt x="307" y="1658"/>
                    <a:pt x="321" y="1658"/>
                  </a:cubicBezTo>
                  <a:close/>
                  <a:moveTo>
                    <a:pt x="305" y="2067"/>
                  </a:moveTo>
                  <a:cubicBezTo>
                    <a:pt x="310" y="2067"/>
                    <a:pt x="313" y="2072"/>
                    <a:pt x="316" y="2072"/>
                  </a:cubicBezTo>
                  <a:cubicBezTo>
                    <a:pt x="318" y="2072"/>
                    <a:pt x="312" y="2074"/>
                    <a:pt x="309" y="2077"/>
                  </a:cubicBezTo>
                  <a:cubicBezTo>
                    <a:pt x="307" y="2079"/>
                    <a:pt x="304" y="2081"/>
                    <a:pt x="302" y="2081"/>
                  </a:cubicBezTo>
                  <a:cubicBezTo>
                    <a:pt x="302" y="2079"/>
                    <a:pt x="303" y="2075"/>
                    <a:pt x="306" y="2073"/>
                  </a:cubicBezTo>
                  <a:cubicBezTo>
                    <a:pt x="305" y="2071"/>
                    <a:pt x="305" y="2068"/>
                    <a:pt x="305" y="2067"/>
                  </a:cubicBezTo>
                  <a:close/>
                  <a:moveTo>
                    <a:pt x="316" y="2188"/>
                  </a:moveTo>
                  <a:cubicBezTo>
                    <a:pt x="319" y="2191"/>
                    <a:pt x="313" y="2188"/>
                    <a:pt x="316" y="2188"/>
                  </a:cubicBezTo>
                  <a:close/>
                  <a:moveTo>
                    <a:pt x="307" y="2129"/>
                  </a:moveTo>
                  <a:cubicBezTo>
                    <a:pt x="288" y="2126"/>
                    <a:pt x="307" y="2115"/>
                    <a:pt x="302" y="2100"/>
                  </a:cubicBezTo>
                  <a:cubicBezTo>
                    <a:pt x="319" y="2106"/>
                    <a:pt x="302" y="2120"/>
                    <a:pt x="307" y="2129"/>
                  </a:cubicBezTo>
                  <a:close/>
                  <a:moveTo>
                    <a:pt x="293" y="2095"/>
                  </a:moveTo>
                  <a:cubicBezTo>
                    <a:pt x="290" y="2100"/>
                    <a:pt x="288" y="2103"/>
                    <a:pt x="282" y="2100"/>
                  </a:cubicBezTo>
                  <a:cubicBezTo>
                    <a:pt x="282" y="2100"/>
                    <a:pt x="279" y="2100"/>
                    <a:pt x="279" y="2098"/>
                  </a:cubicBezTo>
                  <a:lnTo>
                    <a:pt x="276" y="2098"/>
                  </a:lnTo>
                  <a:cubicBezTo>
                    <a:pt x="276" y="2095"/>
                    <a:pt x="273" y="2095"/>
                    <a:pt x="273" y="2095"/>
                  </a:cubicBezTo>
                  <a:cubicBezTo>
                    <a:pt x="273" y="2095"/>
                    <a:pt x="273" y="2092"/>
                    <a:pt x="271" y="2092"/>
                  </a:cubicBezTo>
                  <a:cubicBezTo>
                    <a:pt x="273" y="2086"/>
                    <a:pt x="273" y="2084"/>
                    <a:pt x="276" y="2084"/>
                  </a:cubicBezTo>
                  <a:cubicBezTo>
                    <a:pt x="279" y="2081"/>
                    <a:pt x="282" y="2081"/>
                    <a:pt x="285" y="2078"/>
                  </a:cubicBezTo>
                  <a:lnTo>
                    <a:pt x="285" y="2086"/>
                  </a:lnTo>
                  <a:cubicBezTo>
                    <a:pt x="288" y="2092"/>
                    <a:pt x="290" y="2095"/>
                    <a:pt x="293" y="2095"/>
                  </a:cubicBezTo>
                  <a:close/>
                  <a:moveTo>
                    <a:pt x="290" y="2145"/>
                  </a:moveTo>
                  <a:cubicBezTo>
                    <a:pt x="289" y="2145"/>
                    <a:pt x="289" y="2146"/>
                    <a:pt x="288" y="2146"/>
                  </a:cubicBezTo>
                  <a:cubicBezTo>
                    <a:pt x="288" y="2146"/>
                    <a:pt x="289" y="2146"/>
                    <a:pt x="290" y="2145"/>
                  </a:cubicBezTo>
                  <a:close/>
                  <a:moveTo>
                    <a:pt x="290" y="2143"/>
                  </a:moveTo>
                  <a:cubicBezTo>
                    <a:pt x="290" y="2143"/>
                    <a:pt x="290" y="2144"/>
                    <a:pt x="290" y="2145"/>
                  </a:cubicBezTo>
                  <a:cubicBezTo>
                    <a:pt x="290" y="2144"/>
                    <a:pt x="290" y="2144"/>
                    <a:pt x="290" y="2143"/>
                  </a:cubicBezTo>
                  <a:close/>
                  <a:moveTo>
                    <a:pt x="273" y="2050"/>
                  </a:moveTo>
                  <a:cubicBezTo>
                    <a:pt x="268" y="2058"/>
                    <a:pt x="268" y="2067"/>
                    <a:pt x="262" y="2072"/>
                  </a:cubicBezTo>
                  <a:cubicBezTo>
                    <a:pt x="257" y="2061"/>
                    <a:pt x="248" y="2053"/>
                    <a:pt x="240" y="2047"/>
                  </a:cubicBezTo>
                  <a:cubicBezTo>
                    <a:pt x="242" y="2033"/>
                    <a:pt x="254" y="2019"/>
                    <a:pt x="268" y="2013"/>
                  </a:cubicBezTo>
                  <a:lnTo>
                    <a:pt x="265" y="2013"/>
                  </a:lnTo>
                  <a:cubicBezTo>
                    <a:pt x="262" y="2013"/>
                    <a:pt x="259" y="2016"/>
                    <a:pt x="257" y="2016"/>
                  </a:cubicBezTo>
                  <a:cubicBezTo>
                    <a:pt x="259" y="2013"/>
                    <a:pt x="262" y="2010"/>
                    <a:pt x="268" y="2007"/>
                  </a:cubicBezTo>
                  <a:lnTo>
                    <a:pt x="268" y="2010"/>
                  </a:lnTo>
                  <a:cubicBezTo>
                    <a:pt x="268" y="2010"/>
                    <a:pt x="268" y="2013"/>
                    <a:pt x="271" y="2013"/>
                  </a:cubicBezTo>
                  <a:lnTo>
                    <a:pt x="271" y="2019"/>
                  </a:lnTo>
                  <a:cubicBezTo>
                    <a:pt x="276" y="2016"/>
                    <a:pt x="279" y="2016"/>
                    <a:pt x="285" y="2013"/>
                  </a:cubicBezTo>
                  <a:cubicBezTo>
                    <a:pt x="276" y="2033"/>
                    <a:pt x="305" y="2041"/>
                    <a:pt x="299" y="2058"/>
                  </a:cubicBezTo>
                  <a:cubicBezTo>
                    <a:pt x="290" y="2058"/>
                    <a:pt x="282" y="2055"/>
                    <a:pt x="273" y="2050"/>
                  </a:cubicBezTo>
                  <a:close/>
                  <a:moveTo>
                    <a:pt x="254" y="2103"/>
                  </a:moveTo>
                  <a:lnTo>
                    <a:pt x="254" y="2102"/>
                  </a:lnTo>
                  <a:cubicBezTo>
                    <a:pt x="254" y="2101"/>
                    <a:pt x="255" y="2100"/>
                    <a:pt x="254" y="2103"/>
                  </a:cubicBezTo>
                  <a:cubicBezTo>
                    <a:pt x="252" y="2105"/>
                    <a:pt x="253" y="2103"/>
                    <a:pt x="254" y="2102"/>
                  </a:cubicBezTo>
                  <a:lnTo>
                    <a:pt x="254" y="2103"/>
                  </a:lnTo>
                  <a:close/>
                  <a:moveTo>
                    <a:pt x="228" y="1943"/>
                  </a:moveTo>
                  <a:cubicBezTo>
                    <a:pt x="220" y="1943"/>
                    <a:pt x="217" y="1917"/>
                    <a:pt x="231" y="1920"/>
                  </a:cubicBezTo>
                  <a:cubicBezTo>
                    <a:pt x="231" y="1928"/>
                    <a:pt x="240" y="1926"/>
                    <a:pt x="237" y="1937"/>
                  </a:cubicBezTo>
                  <a:cubicBezTo>
                    <a:pt x="231" y="1934"/>
                    <a:pt x="228" y="1937"/>
                    <a:pt x="228" y="1943"/>
                  </a:cubicBezTo>
                  <a:close/>
                  <a:moveTo>
                    <a:pt x="220" y="2016"/>
                  </a:moveTo>
                  <a:cubicBezTo>
                    <a:pt x="209" y="2010"/>
                    <a:pt x="200" y="1976"/>
                    <a:pt x="223" y="1974"/>
                  </a:cubicBezTo>
                  <a:cubicBezTo>
                    <a:pt x="226" y="1988"/>
                    <a:pt x="211" y="1996"/>
                    <a:pt x="220" y="2016"/>
                  </a:cubicBezTo>
                  <a:close/>
                  <a:moveTo>
                    <a:pt x="211" y="2095"/>
                  </a:moveTo>
                  <a:cubicBezTo>
                    <a:pt x="192" y="2103"/>
                    <a:pt x="203" y="2067"/>
                    <a:pt x="211" y="2095"/>
                  </a:cubicBezTo>
                  <a:close/>
                  <a:moveTo>
                    <a:pt x="189" y="1570"/>
                  </a:moveTo>
                  <a:cubicBezTo>
                    <a:pt x="191" y="1577"/>
                    <a:pt x="186" y="1580"/>
                    <a:pt x="183" y="1580"/>
                  </a:cubicBezTo>
                  <a:lnTo>
                    <a:pt x="183" y="1581"/>
                  </a:lnTo>
                  <a:cubicBezTo>
                    <a:pt x="180" y="1581"/>
                    <a:pt x="178" y="1584"/>
                    <a:pt x="175" y="1584"/>
                  </a:cubicBezTo>
                  <a:lnTo>
                    <a:pt x="178" y="1579"/>
                  </a:lnTo>
                  <a:cubicBezTo>
                    <a:pt x="180" y="1579"/>
                    <a:pt x="178" y="1576"/>
                    <a:pt x="180" y="1579"/>
                  </a:cubicBezTo>
                  <a:cubicBezTo>
                    <a:pt x="178" y="1573"/>
                    <a:pt x="183" y="1573"/>
                    <a:pt x="189" y="1570"/>
                  </a:cubicBezTo>
                  <a:close/>
                  <a:moveTo>
                    <a:pt x="186" y="1799"/>
                  </a:moveTo>
                  <a:cubicBezTo>
                    <a:pt x="200" y="1799"/>
                    <a:pt x="183" y="1821"/>
                    <a:pt x="186" y="1799"/>
                  </a:cubicBezTo>
                  <a:close/>
                  <a:moveTo>
                    <a:pt x="186" y="1708"/>
                  </a:moveTo>
                  <a:cubicBezTo>
                    <a:pt x="200" y="1728"/>
                    <a:pt x="161" y="1691"/>
                    <a:pt x="186" y="1708"/>
                  </a:cubicBezTo>
                  <a:close/>
                  <a:moveTo>
                    <a:pt x="183" y="1847"/>
                  </a:moveTo>
                  <a:cubicBezTo>
                    <a:pt x="186" y="1847"/>
                    <a:pt x="178" y="1844"/>
                    <a:pt x="183" y="1847"/>
                  </a:cubicBezTo>
                  <a:close/>
                  <a:moveTo>
                    <a:pt x="180" y="1911"/>
                  </a:moveTo>
                  <a:cubicBezTo>
                    <a:pt x="178" y="1909"/>
                    <a:pt x="186" y="1911"/>
                    <a:pt x="180" y="1911"/>
                  </a:cubicBezTo>
                  <a:close/>
                  <a:moveTo>
                    <a:pt x="183" y="1694"/>
                  </a:moveTo>
                  <a:cubicBezTo>
                    <a:pt x="180" y="1703"/>
                    <a:pt x="163" y="1691"/>
                    <a:pt x="183" y="1694"/>
                  </a:cubicBezTo>
                  <a:close/>
                  <a:moveTo>
                    <a:pt x="179" y="1680"/>
                  </a:moveTo>
                  <a:cubicBezTo>
                    <a:pt x="175" y="1682"/>
                    <a:pt x="169" y="1682"/>
                    <a:pt x="169" y="1675"/>
                  </a:cubicBezTo>
                  <a:lnTo>
                    <a:pt x="183" y="1675"/>
                  </a:lnTo>
                  <a:cubicBezTo>
                    <a:pt x="198" y="1679"/>
                    <a:pt x="174" y="1689"/>
                    <a:pt x="179" y="1680"/>
                  </a:cubicBezTo>
                  <a:close/>
                  <a:moveTo>
                    <a:pt x="178" y="1607"/>
                  </a:moveTo>
                  <a:cubicBezTo>
                    <a:pt x="172" y="1607"/>
                    <a:pt x="178" y="1601"/>
                    <a:pt x="178" y="1596"/>
                  </a:cubicBezTo>
                  <a:cubicBezTo>
                    <a:pt x="180" y="1598"/>
                    <a:pt x="178" y="1607"/>
                    <a:pt x="178" y="1607"/>
                  </a:cubicBezTo>
                  <a:close/>
                  <a:moveTo>
                    <a:pt x="178" y="1624"/>
                  </a:moveTo>
                  <a:cubicBezTo>
                    <a:pt x="175" y="1627"/>
                    <a:pt x="180" y="1618"/>
                    <a:pt x="178" y="1624"/>
                  </a:cubicBezTo>
                  <a:close/>
                  <a:moveTo>
                    <a:pt x="178" y="1689"/>
                  </a:moveTo>
                  <a:cubicBezTo>
                    <a:pt x="175" y="1691"/>
                    <a:pt x="172" y="1694"/>
                    <a:pt x="169" y="1694"/>
                  </a:cubicBezTo>
                  <a:cubicBezTo>
                    <a:pt x="166" y="1689"/>
                    <a:pt x="175" y="1689"/>
                    <a:pt x="178" y="1689"/>
                  </a:cubicBezTo>
                  <a:close/>
                  <a:moveTo>
                    <a:pt x="172" y="1838"/>
                  </a:moveTo>
                  <a:cubicBezTo>
                    <a:pt x="175" y="1838"/>
                    <a:pt x="175" y="1844"/>
                    <a:pt x="175" y="1847"/>
                  </a:cubicBezTo>
                  <a:lnTo>
                    <a:pt x="169" y="1847"/>
                  </a:lnTo>
                  <a:cubicBezTo>
                    <a:pt x="166" y="1844"/>
                    <a:pt x="172" y="1844"/>
                    <a:pt x="172" y="1838"/>
                  </a:cubicBezTo>
                  <a:close/>
                  <a:moveTo>
                    <a:pt x="172" y="1700"/>
                  </a:moveTo>
                  <a:cubicBezTo>
                    <a:pt x="175" y="1700"/>
                    <a:pt x="178" y="1708"/>
                    <a:pt x="180" y="1711"/>
                  </a:cubicBezTo>
                  <a:cubicBezTo>
                    <a:pt x="169" y="1717"/>
                    <a:pt x="169" y="1703"/>
                    <a:pt x="172" y="1700"/>
                  </a:cubicBezTo>
                  <a:close/>
                  <a:moveTo>
                    <a:pt x="183" y="1717"/>
                  </a:moveTo>
                  <a:cubicBezTo>
                    <a:pt x="178" y="1734"/>
                    <a:pt x="175" y="1706"/>
                    <a:pt x="183" y="1717"/>
                  </a:cubicBezTo>
                  <a:close/>
                  <a:moveTo>
                    <a:pt x="186" y="2060"/>
                  </a:moveTo>
                  <a:cubicBezTo>
                    <a:pt x="189" y="2059"/>
                    <a:pt x="192" y="2058"/>
                    <a:pt x="194" y="2058"/>
                  </a:cubicBezTo>
                  <a:lnTo>
                    <a:pt x="192" y="2058"/>
                  </a:lnTo>
                  <a:cubicBezTo>
                    <a:pt x="197" y="2053"/>
                    <a:pt x="200" y="2055"/>
                    <a:pt x="197" y="2061"/>
                  </a:cubicBezTo>
                  <a:cubicBezTo>
                    <a:pt x="197" y="2067"/>
                    <a:pt x="197" y="2069"/>
                    <a:pt x="194" y="2072"/>
                  </a:cubicBezTo>
                  <a:cubicBezTo>
                    <a:pt x="194" y="2075"/>
                    <a:pt x="194" y="2081"/>
                    <a:pt x="197" y="2084"/>
                  </a:cubicBezTo>
                  <a:cubicBezTo>
                    <a:pt x="192" y="2084"/>
                    <a:pt x="189" y="2084"/>
                    <a:pt x="189" y="2089"/>
                  </a:cubicBezTo>
                  <a:cubicBezTo>
                    <a:pt x="183" y="2086"/>
                    <a:pt x="186" y="2084"/>
                    <a:pt x="189" y="2078"/>
                  </a:cubicBezTo>
                  <a:cubicBezTo>
                    <a:pt x="180" y="2081"/>
                    <a:pt x="172" y="2081"/>
                    <a:pt x="163" y="2081"/>
                  </a:cubicBezTo>
                  <a:cubicBezTo>
                    <a:pt x="166" y="2078"/>
                    <a:pt x="166" y="2072"/>
                    <a:pt x="169" y="2069"/>
                  </a:cubicBezTo>
                  <a:lnTo>
                    <a:pt x="166" y="2069"/>
                  </a:lnTo>
                  <a:lnTo>
                    <a:pt x="166" y="2064"/>
                  </a:lnTo>
                  <a:cubicBezTo>
                    <a:pt x="172" y="2061"/>
                    <a:pt x="175" y="2061"/>
                    <a:pt x="175" y="2064"/>
                  </a:cubicBezTo>
                  <a:cubicBezTo>
                    <a:pt x="177" y="2062"/>
                    <a:pt x="181" y="2061"/>
                    <a:pt x="184" y="2060"/>
                  </a:cubicBezTo>
                  <a:cubicBezTo>
                    <a:pt x="162" y="2046"/>
                    <a:pt x="183" y="2020"/>
                    <a:pt x="186" y="2060"/>
                  </a:cubicBezTo>
                  <a:close/>
                  <a:moveTo>
                    <a:pt x="179" y="1959"/>
                  </a:moveTo>
                  <a:lnTo>
                    <a:pt x="179" y="1959"/>
                  </a:lnTo>
                  <a:cubicBezTo>
                    <a:pt x="179" y="1955"/>
                    <a:pt x="179" y="1952"/>
                    <a:pt x="178" y="1951"/>
                  </a:cubicBezTo>
                  <a:cubicBezTo>
                    <a:pt x="186" y="1948"/>
                    <a:pt x="189" y="1957"/>
                    <a:pt x="192" y="1965"/>
                  </a:cubicBezTo>
                  <a:cubicBezTo>
                    <a:pt x="189" y="1965"/>
                    <a:pt x="186" y="1968"/>
                    <a:pt x="186" y="1971"/>
                  </a:cubicBezTo>
                  <a:cubicBezTo>
                    <a:pt x="181" y="1971"/>
                    <a:pt x="180" y="1965"/>
                    <a:pt x="179" y="1960"/>
                  </a:cubicBezTo>
                  <a:cubicBezTo>
                    <a:pt x="179" y="1960"/>
                    <a:pt x="179" y="1960"/>
                    <a:pt x="179" y="1959"/>
                  </a:cubicBezTo>
                  <a:close/>
                  <a:moveTo>
                    <a:pt x="197" y="1990"/>
                  </a:moveTo>
                  <a:cubicBezTo>
                    <a:pt x="192" y="1999"/>
                    <a:pt x="189" y="1982"/>
                    <a:pt x="197" y="1990"/>
                  </a:cubicBezTo>
                  <a:close/>
                  <a:moveTo>
                    <a:pt x="209" y="1770"/>
                  </a:moveTo>
                  <a:cubicBezTo>
                    <a:pt x="200" y="1773"/>
                    <a:pt x="197" y="1765"/>
                    <a:pt x="194" y="1759"/>
                  </a:cubicBezTo>
                  <a:cubicBezTo>
                    <a:pt x="197" y="1759"/>
                    <a:pt x="206" y="1762"/>
                    <a:pt x="209" y="1770"/>
                  </a:cubicBezTo>
                  <a:close/>
                  <a:moveTo>
                    <a:pt x="194" y="1737"/>
                  </a:moveTo>
                  <a:cubicBezTo>
                    <a:pt x="194" y="1731"/>
                    <a:pt x="200" y="1731"/>
                    <a:pt x="200" y="1728"/>
                  </a:cubicBezTo>
                  <a:cubicBezTo>
                    <a:pt x="206" y="1731"/>
                    <a:pt x="200" y="1739"/>
                    <a:pt x="194" y="1737"/>
                  </a:cubicBezTo>
                  <a:close/>
                  <a:moveTo>
                    <a:pt x="217" y="1768"/>
                  </a:moveTo>
                  <a:cubicBezTo>
                    <a:pt x="214" y="1759"/>
                    <a:pt x="211" y="1751"/>
                    <a:pt x="211" y="1742"/>
                  </a:cubicBezTo>
                  <a:lnTo>
                    <a:pt x="206" y="1742"/>
                  </a:lnTo>
                  <a:cubicBezTo>
                    <a:pt x="211" y="1734"/>
                    <a:pt x="240" y="1762"/>
                    <a:pt x="217" y="1768"/>
                  </a:cubicBezTo>
                  <a:close/>
                  <a:moveTo>
                    <a:pt x="206" y="1739"/>
                  </a:moveTo>
                  <a:cubicBezTo>
                    <a:pt x="206" y="1737"/>
                    <a:pt x="209" y="1739"/>
                    <a:pt x="206" y="1739"/>
                  </a:cubicBezTo>
                  <a:close/>
                  <a:moveTo>
                    <a:pt x="211" y="1731"/>
                  </a:moveTo>
                  <a:lnTo>
                    <a:pt x="211" y="1732"/>
                  </a:lnTo>
                  <a:cubicBezTo>
                    <a:pt x="211" y="1732"/>
                    <a:pt x="210" y="1731"/>
                    <a:pt x="211" y="1731"/>
                  </a:cubicBezTo>
                  <a:cubicBezTo>
                    <a:pt x="213" y="1732"/>
                    <a:pt x="212" y="1732"/>
                    <a:pt x="211" y="1732"/>
                  </a:cubicBezTo>
                  <a:lnTo>
                    <a:pt x="211" y="1731"/>
                  </a:lnTo>
                  <a:close/>
                  <a:moveTo>
                    <a:pt x="228" y="1694"/>
                  </a:moveTo>
                  <a:lnTo>
                    <a:pt x="228" y="1706"/>
                  </a:lnTo>
                  <a:lnTo>
                    <a:pt x="217" y="1706"/>
                  </a:lnTo>
                  <a:cubicBezTo>
                    <a:pt x="217" y="1703"/>
                    <a:pt x="214" y="1697"/>
                    <a:pt x="214" y="1694"/>
                  </a:cubicBezTo>
                  <a:cubicBezTo>
                    <a:pt x="217" y="1697"/>
                    <a:pt x="223" y="1694"/>
                    <a:pt x="228" y="1694"/>
                  </a:cubicBezTo>
                  <a:close/>
                  <a:moveTo>
                    <a:pt x="248" y="1598"/>
                  </a:moveTo>
                  <a:cubicBezTo>
                    <a:pt x="245" y="1598"/>
                    <a:pt x="240" y="1601"/>
                    <a:pt x="237" y="1601"/>
                  </a:cubicBezTo>
                  <a:cubicBezTo>
                    <a:pt x="237" y="1596"/>
                    <a:pt x="234" y="1593"/>
                    <a:pt x="234" y="1587"/>
                  </a:cubicBezTo>
                  <a:cubicBezTo>
                    <a:pt x="240" y="1587"/>
                    <a:pt x="251" y="1587"/>
                    <a:pt x="248" y="1598"/>
                  </a:cubicBezTo>
                  <a:close/>
                  <a:moveTo>
                    <a:pt x="240" y="787"/>
                  </a:moveTo>
                  <a:cubicBezTo>
                    <a:pt x="240" y="781"/>
                    <a:pt x="251" y="790"/>
                    <a:pt x="240" y="787"/>
                  </a:cubicBezTo>
                  <a:close/>
                  <a:moveTo>
                    <a:pt x="259" y="1686"/>
                  </a:moveTo>
                  <a:cubicBezTo>
                    <a:pt x="262" y="1700"/>
                    <a:pt x="234" y="1691"/>
                    <a:pt x="259" y="1686"/>
                  </a:cubicBezTo>
                  <a:close/>
                  <a:moveTo>
                    <a:pt x="271" y="1694"/>
                  </a:moveTo>
                  <a:cubicBezTo>
                    <a:pt x="293" y="1703"/>
                    <a:pt x="242" y="1711"/>
                    <a:pt x="271" y="1694"/>
                  </a:cubicBezTo>
                  <a:close/>
                  <a:moveTo>
                    <a:pt x="262" y="1635"/>
                  </a:moveTo>
                  <a:cubicBezTo>
                    <a:pt x="265" y="1629"/>
                    <a:pt x="273" y="1638"/>
                    <a:pt x="262" y="1635"/>
                  </a:cubicBezTo>
                  <a:close/>
                  <a:moveTo>
                    <a:pt x="285" y="1646"/>
                  </a:moveTo>
                  <a:cubicBezTo>
                    <a:pt x="296" y="1641"/>
                    <a:pt x="302" y="1652"/>
                    <a:pt x="310" y="1652"/>
                  </a:cubicBezTo>
                  <a:cubicBezTo>
                    <a:pt x="302" y="1663"/>
                    <a:pt x="290" y="1672"/>
                    <a:pt x="296" y="1691"/>
                  </a:cubicBezTo>
                  <a:cubicBezTo>
                    <a:pt x="282" y="1694"/>
                    <a:pt x="290" y="1675"/>
                    <a:pt x="276" y="1689"/>
                  </a:cubicBezTo>
                  <a:cubicBezTo>
                    <a:pt x="268" y="1666"/>
                    <a:pt x="293" y="1666"/>
                    <a:pt x="285" y="1646"/>
                  </a:cubicBezTo>
                  <a:close/>
                  <a:moveTo>
                    <a:pt x="302" y="779"/>
                  </a:moveTo>
                  <a:cubicBezTo>
                    <a:pt x="307" y="793"/>
                    <a:pt x="279" y="784"/>
                    <a:pt x="302" y="779"/>
                  </a:cubicBezTo>
                  <a:close/>
                  <a:moveTo>
                    <a:pt x="302" y="1782"/>
                  </a:moveTo>
                  <a:cubicBezTo>
                    <a:pt x="302" y="1776"/>
                    <a:pt x="310" y="1785"/>
                    <a:pt x="302" y="1782"/>
                  </a:cubicBezTo>
                  <a:close/>
                  <a:moveTo>
                    <a:pt x="307" y="1816"/>
                  </a:moveTo>
                  <a:cubicBezTo>
                    <a:pt x="305" y="1816"/>
                    <a:pt x="299" y="1813"/>
                    <a:pt x="299" y="1813"/>
                  </a:cubicBezTo>
                  <a:cubicBezTo>
                    <a:pt x="296" y="1810"/>
                    <a:pt x="310" y="1810"/>
                    <a:pt x="307" y="1816"/>
                  </a:cubicBezTo>
                  <a:close/>
                  <a:moveTo>
                    <a:pt x="299" y="1835"/>
                  </a:moveTo>
                  <a:cubicBezTo>
                    <a:pt x="293" y="1835"/>
                    <a:pt x="290" y="1827"/>
                    <a:pt x="285" y="1827"/>
                  </a:cubicBezTo>
                  <a:cubicBezTo>
                    <a:pt x="296" y="1821"/>
                    <a:pt x="299" y="1827"/>
                    <a:pt x="299" y="1835"/>
                  </a:cubicBezTo>
                  <a:close/>
                  <a:moveTo>
                    <a:pt x="288" y="1804"/>
                  </a:moveTo>
                  <a:cubicBezTo>
                    <a:pt x="285" y="1807"/>
                    <a:pt x="288" y="1801"/>
                    <a:pt x="288" y="1804"/>
                  </a:cubicBezTo>
                  <a:close/>
                  <a:moveTo>
                    <a:pt x="280" y="1877"/>
                  </a:moveTo>
                  <a:cubicBezTo>
                    <a:pt x="279" y="1877"/>
                    <a:pt x="277" y="1877"/>
                    <a:pt x="276" y="1878"/>
                  </a:cubicBezTo>
                  <a:cubicBezTo>
                    <a:pt x="273" y="1872"/>
                    <a:pt x="279" y="1869"/>
                    <a:pt x="285" y="1866"/>
                  </a:cubicBezTo>
                  <a:lnTo>
                    <a:pt x="282" y="1864"/>
                  </a:lnTo>
                  <a:cubicBezTo>
                    <a:pt x="285" y="1864"/>
                    <a:pt x="288" y="1864"/>
                    <a:pt x="285" y="1858"/>
                  </a:cubicBezTo>
                  <a:cubicBezTo>
                    <a:pt x="296" y="1861"/>
                    <a:pt x="310" y="1864"/>
                    <a:pt x="324" y="1866"/>
                  </a:cubicBezTo>
                  <a:cubicBezTo>
                    <a:pt x="317" y="1878"/>
                    <a:pt x="300" y="1874"/>
                    <a:pt x="284" y="1876"/>
                  </a:cubicBezTo>
                  <a:cubicBezTo>
                    <a:pt x="294" y="1881"/>
                    <a:pt x="266" y="1890"/>
                    <a:pt x="280" y="1877"/>
                  </a:cubicBezTo>
                  <a:close/>
                  <a:moveTo>
                    <a:pt x="282" y="1962"/>
                  </a:moveTo>
                  <a:cubicBezTo>
                    <a:pt x="273" y="1974"/>
                    <a:pt x="288" y="1948"/>
                    <a:pt x="282" y="1962"/>
                  </a:cubicBezTo>
                  <a:close/>
                  <a:moveTo>
                    <a:pt x="279" y="1796"/>
                  </a:moveTo>
                  <a:cubicBezTo>
                    <a:pt x="276" y="1799"/>
                    <a:pt x="273" y="1801"/>
                    <a:pt x="271" y="1801"/>
                  </a:cubicBezTo>
                  <a:cubicBezTo>
                    <a:pt x="271" y="1799"/>
                    <a:pt x="273" y="1799"/>
                    <a:pt x="279" y="1796"/>
                  </a:cubicBezTo>
                  <a:close/>
                  <a:moveTo>
                    <a:pt x="273" y="1770"/>
                  </a:moveTo>
                  <a:lnTo>
                    <a:pt x="272" y="1770"/>
                  </a:lnTo>
                  <a:cubicBezTo>
                    <a:pt x="273" y="1770"/>
                    <a:pt x="273" y="1769"/>
                    <a:pt x="273" y="1770"/>
                  </a:cubicBezTo>
                  <a:cubicBezTo>
                    <a:pt x="272" y="1772"/>
                    <a:pt x="272" y="1771"/>
                    <a:pt x="272" y="1770"/>
                  </a:cubicBezTo>
                  <a:lnTo>
                    <a:pt x="273" y="1770"/>
                  </a:lnTo>
                  <a:close/>
                  <a:moveTo>
                    <a:pt x="279" y="1739"/>
                  </a:moveTo>
                  <a:cubicBezTo>
                    <a:pt x="282" y="1742"/>
                    <a:pt x="273" y="1739"/>
                    <a:pt x="279" y="1739"/>
                  </a:cubicBezTo>
                  <a:close/>
                  <a:moveTo>
                    <a:pt x="276" y="1722"/>
                  </a:moveTo>
                  <a:cubicBezTo>
                    <a:pt x="296" y="1742"/>
                    <a:pt x="262" y="1745"/>
                    <a:pt x="276" y="1722"/>
                  </a:cubicBezTo>
                  <a:close/>
                  <a:moveTo>
                    <a:pt x="282" y="1717"/>
                  </a:moveTo>
                  <a:cubicBezTo>
                    <a:pt x="276" y="1731"/>
                    <a:pt x="273" y="1706"/>
                    <a:pt x="282" y="1717"/>
                  </a:cubicBezTo>
                  <a:close/>
                  <a:moveTo>
                    <a:pt x="271" y="1852"/>
                  </a:moveTo>
                  <a:cubicBezTo>
                    <a:pt x="276" y="1866"/>
                    <a:pt x="248" y="1858"/>
                    <a:pt x="271" y="1852"/>
                  </a:cubicBezTo>
                  <a:close/>
                  <a:moveTo>
                    <a:pt x="254" y="1773"/>
                  </a:moveTo>
                  <a:cubicBezTo>
                    <a:pt x="257" y="1782"/>
                    <a:pt x="248" y="1793"/>
                    <a:pt x="242" y="1787"/>
                  </a:cubicBezTo>
                  <a:cubicBezTo>
                    <a:pt x="237" y="1782"/>
                    <a:pt x="245" y="1776"/>
                    <a:pt x="254" y="1773"/>
                  </a:cubicBezTo>
                  <a:close/>
                  <a:moveTo>
                    <a:pt x="251" y="1754"/>
                  </a:moveTo>
                  <a:cubicBezTo>
                    <a:pt x="271" y="1754"/>
                    <a:pt x="242" y="1782"/>
                    <a:pt x="251" y="1754"/>
                  </a:cubicBezTo>
                  <a:close/>
                  <a:moveTo>
                    <a:pt x="254" y="1807"/>
                  </a:moveTo>
                  <a:cubicBezTo>
                    <a:pt x="242" y="1816"/>
                    <a:pt x="248" y="1793"/>
                    <a:pt x="237" y="1801"/>
                  </a:cubicBezTo>
                  <a:cubicBezTo>
                    <a:pt x="240" y="1790"/>
                    <a:pt x="257" y="1796"/>
                    <a:pt x="254" y="1807"/>
                  </a:cubicBezTo>
                  <a:close/>
                  <a:moveTo>
                    <a:pt x="240" y="1838"/>
                  </a:moveTo>
                  <a:cubicBezTo>
                    <a:pt x="240" y="1832"/>
                    <a:pt x="251" y="1832"/>
                    <a:pt x="257" y="1830"/>
                  </a:cubicBezTo>
                  <a:cubicBezTo>
                    <a:pt x="257" y="1832"/>
                    <a:pt x="259" y="1835"/>
                    <a:pt x="257" y="1838"/>
                  </a:cubicBezTo>
                  <a:lnTo>
                    <a:pt x="259" y="1841"/>
                  </a:lnTo>
                  <a:cubicBezTo>
                    <a:pt x="245" y="1858"/>
                    <a:pt x="240" y="1847"/>
                    <a:pt x="240" y="1838"/>
                  </a:cubicBezTo>
                  <a:close/>
                  <a:moveTo>
                    <a:pt x="251" y="1878"/>
                  </a:moveTo>
                  <a:cubicBezTo>
                    <a:pt x="257" y="1892"/>
                    <a:pt x="228" y="1883"/>
                    <a:pt x="251" y="1878"/>
                  </a:cubicBezTo>
                  <a:close/>
                  <a:moveTo>
                    <a:pt x="259" y="1945"/>
                  </a:moveTo>
                  <a:cubicBezTo>
                    <a:pt x="273" y="1968"/>
                    <a:pt x="234" y="1931"/>
                    <a:pt x="259" y="1945"/>
                  </a:cubicBezTo>
                  <a:close/>
                  <a:moveTo>
                    <a:pt x="257" y="1954"/>
                  </a:moveTo>
                  <a:cubicBezTo>
                    <a:pt x="273" y="1957"/>
                    <a:pt x="254" y="1982"/>
                    <a:pt x="257" y="1954"/>
                  </a:cubicBezTo>
                  <a:close/>
                  <a:moveTo>
                    <a:pt x="257" y="1799"/>
                  </a:moveTo>
                  <a:cubicBezTo>
                    <a:pt x="271" y="1799"/>
                    <a:pt x="254" y="1824"/>
                    <a:pt x="257" y="1799"/>
                  </a:cubicBezTo>
                  <a:close/>
                  <a:moveTo>
                    <a:pt x="257" y="1714"/>
                  </a:moveTo>
                  <a:cubicBezTo>
                    <a:pt x="251" y="1717"/>
                    <a:pt x="251" y="1700"/>
                    <a:pt x="259" y="1700"/>
                  </a:cubicBezTo>
                  <a:cubicBezTo>
                    <a:pt x="262" y="1708"/>
                    <a:pt x="257" y="1708"/>
                    <a:pt x="257" y="1714"/>
                  </a:cubicBezTo>
                  <a:close/>
                  <a:moveTo>
                    <a:pt x="251" y="1768"/>
                  </a:moveTo>
                  <a:cubicBezTo>
                    <a:pt x="245" y="1770"/>
                    <a:pt x="242" y="1768"/>
                    <a:pt x="234" y="1770"/>
                  </a:cubicBezTo>
                  <a:cubicBezTo>
                    <a:pt x="234" y="1759"/>
                    <a:pt x="248" y="1768"/>
                    <a:pt x="251" y="1768"/>
                  </a:cubicBezTo>
                  <a:close/>
                  <a:moveTo>
                    <a:pt x="240" y="1683"/>
                  </a:moveTo>
                  <a:cubicBezTo>
                    <a:pt x="234" y="1686"/>
                    <a:pt x="240" y="1680"/>
                    <a:pt x="240" y="1683"/>
                  </a:cubicBezTo>
                  <a:close/>
                  <a:moveTo>
                    <a:pt x="237" y="1731"/>
                  </a:moveTo>
                  <a:cubicBezTo>
                    <a:pt x="237" y="1728"/>
                    <a:pt x="242" y="1725"/>
                    <a:pt x="248" y="1725"/>
                  </a:cubicBezTo>
                  <a:cubicBezTo>
                    <a:pt x="251" y="1731"/>
                    <a:pt x="240" y="1728"/>
                    <a:pt x="237" y="1731"/>
                  </a:cubicBezTo>
                  <a:close/>
                  <a:moveTo>
                    <a:pt x="240" y="770"/>
                  </a:moveTo>
                  <a:cubicBezTo>
                    <a:pt x="237" y="770"/>
                    <a:pt x="237" y="767"/>
                    <a:pt x="234" y="767"/>
                  </a:cubicBezTo>
                  <a:cubicBezTo>
                    <a:pt x="237" y="767"/>
                    <a:pt x="242" y="770"/>
                    <a:pt x="240" y="770"/>
                  </a:cubicBezTo>
                  <a:close/>
                  <a:moveTo>
                    <a:pt x="240" y="793"/>
                  </a:moveTo>
                  <a:cubicBezTo>
                    <a:pt x="234" y="801"/>
                    <a:pt x="226" y="790"/>
                    <a:pt x="240" y="793"/>
                  </a:cubicBezTo>
                  <a:close/>
                  <a:moveTo>
                    <a:pt x="231" y="1536"/>
                  </a:moveTo>
                  <a:cubicBezTo>
                    <a:pt x="231" y="1536"/>
                    <a:pt x="234" y="1539"/>
                    <a:pt x="231" y="1542"/>
                  </a:cubicBezTo>
                  <a:lnTo>
                    <a:pt x="228" y="1542"/>
                  </a:lnTo>
                  <a:cubicBezTo>
                    <a:pt x="231" y="1542"/>
                    <a:pt x="231" y="1539"/>
                    <a:pt x="231" y="1536"/>
                  </a:cubicBezTo>
                  <a:close/>
                  <a:moveTo>
                    <a:pt x="231" y="1598"/>
                  </a:moveTo>
                  <a:cubicBezTo>
                    <a:pt x="237" y="1601"/>
                    <a:pt x="231" y="1607"/>
                    <a:pt x="231" y="1610"/>
                  </a:cubicBezTo>
                  <a:cubicBezTo>
                    <a:pt x="223" y="1610"/>
                    <a:pt x="231" y="1601"/>
                    <a:pt x="231" y="1598"/>
                  </a:cubicBezTo>
                  <a:close/>
                  <a:moveTo>
                    <a:pt x="226" y="1748"/>
                  </a:moveTo>
                  <a:cubicBezTo>
                    <a:pt x="226" y="1745"/>
                    <a:pt x="226" y="1742"/>
                    <a:pt x="223" y="1739"/>
                  </a:cubicBezTo>
                  <a:cubicBezTo>
                    <a:pt x="226" y="1739"/>
                    <a:pt x="228" y="1739"/>
                    <a:pt x="231" y="1737"/>
                  </a:cubicBezTo>
                  <a:cubicBezTo>
                    <a:pt x="231" y="1739"/>
                    <a:pt x="234" y="1742"/>
                    <a:pt x="234" y="1745"/>
                  </a:cubicBezTo>
                  <a:cubicBezTo>
                    <a:pt x="231" y="1748"/>
                    <a:pt x="226" y="1748"/>
                    <a:pt x="226" y="1748"/>
                  </a:cubicBezTo>
                  <a:close/>
                  <a:moveTo>
                    <a:pt x="231" y="1776"/>
                  </a:moveTo>
                  <a:lnTo>
                    <a:pt x="231" y="1782"/>
                  </a:lnTo>
                  <a:lnTo>
                    <a:pt x="226" y="1782"/>
                  </a:lnTo>
                  <a:lnTo>
                    <a:pt x="226" y="1776"/>
                  </a:lnTo>
                  <a:lnTo>
                    <a:pt x="231" y="1776"/>
                  </a:lnTo>
                  <a:close/>
                  <a:moveTo>
                    <a:pt x="223" y="1711"/>
                  </a:moveTo>
                  <a:cubicBezTo>
                    <a:pt x="223" y="1708"/>
                    <a:pt x="220" y="1714"/>
                    <a:pt x="223" y="1711"/>
                  </a:cubicBezTo>
                  <a:close/>
                  <a:moveTo>
                    <a:pt x="220" y="1821"/>
                  </a:moveTo>
                  <a:cubicBezTo>
                    <a:pt x="217" y="1827"/>
                    <a:pt x="214" y="1824"/>
                    <a:pt x="209" y="1824"/>
                  </a:cubicBezTo>
                  <a:cubicBezTo>
                    <a:pt x="209" y="1818"/>
                    <a:pt x="217" y="1818"/>
                    <a:pt x="220" y="1821"/>
                  </a:cubicBezTo>
                  <a:close/>
                  <a:moveTo>
                    <a:pt x="214" y="1818"/>
                  </a:moveTo>
                  <a:cubicBezTo>
                    <a:pt x="214" y="1818"/>
                    <a:pt x="211" y="1816"/>
                    <a:pt x="211" y="1813"/>
                  </a:cubicBezTo>
                  <a:lnTo>
                    <a:pt x="211" y="1810"/>
                  </a:lnTo>
                  <a:lnTo>
                    <a:pt x="214" y="1810"/>
                  </a:lnTo>
                  <a:lnTo>
                    <a:pt x="211" y="1813"/>
                  </a:lnTo>
                  <a:cubicBezTo>
                    <a:pt x="211" y="1813"/>
                    <a:pt x="214" y="1816"/>
                    <a:pt x="214" y="1818"/>
                  </a:cubicBezTo>
                  <a:close/>
                  <a:moveTo>
                    <a:pt x="203" y="1847"/>
                  </a:moveTo>
                  <a:cubicBezTo>
                    <a:pt x="203" y="1844"/>
                    <a:pt x="203" y="1841"/>
                    <a:pt x="200" y="1838"/>
                  </a:cubicBezTo>
                  <a:cubicBezTo>
                    <a:pt x="203" y="1838"/>
                    <a:pt x="206" y="1838"/>
                    <a:pt x="209" y="1835"/>
                  </a:cubicBezTo>
                  <a:cubicBezTo>
                    <a:pt x="209" y="1838"/>
                    <a:pt x="211" y="1841"/>
                    <a:pt x="211" y="1844"/>
                  </a:cubicBezTo>
                  <a:cubicBezTo>
                    <a:pt x="211" y="1847"/>
                    <a:pt x="206" y="1847"/>
                    <a:pt x="203" y="1847"/>
                  </a:cubicBezTo>
                  <a:close/>
                  <a:moveTo>
                    <a:pt x="200" y="1928"/>
                  </a:moveTo>
                  <a:cubicBezTo>
                    <a:pt x="214" y="1926"/>
                    <a:pt x="197" y="1951"/>
                    <a:pt x="200" y="1928"/>
                  </a:cubicBezTo>
                  <a:close/>
                  <a:moveTo>
                    <a:pt x="211" y="1816"/>
                  </a:moveTo>
                  <a:cubicBezTo>
                    <a:pt x="192" y="1841"/>
                    <a:pt x="189" y="1793"/>
                    <a:pt x="211" y="1816"/>
                  </a:cubicBezTo>
                  <a:close/>
                  <a:moveTo>
                    <a:pt x="206" y="1903"/>
                  </a:moveTo>
                  <a:cubicBezTo>
                    <a:pt x="223" y="1906"/>
                    <a:pt x="203" y="1931"/>
                    <a:pt x="206" y="1903"/>
                  </a:cubicBezTo>
                  <a:close/>
                  <a:moveTo>
                    <a:pt x="192" y="2019"/>
                  </a:moveTo>
                  <a:cubicBezTo>
                    <a:pt x="206" y="2016"/>
                    <a:pt x="189" y="2041"/>
                    <a:pt x="192" y="2019"/>
                  </a:cubicBezTo>
                  <a:close/>
                  <a:moveTo>
                    <a:pt x="203" y="1940"/>
                  </a:moveTo>
                  <a:cubicBezTo>
                    <a:pt x="206" y="1940"/>
                    <a:pt x="209" y="1948"/>
                    <a:pt x="214" y="1945"/>
                  </a:cubicBezTo>
                  <a:cubicBezTo>
                    <a:pt x="217" y="1957"/>
                    <a:pt x="203" y="1959"/>
                    <a:pt x="206" y="1968"/>
                  </a:cubicBezTo>
                  <a:cubicBezTo>
                    <a:pt x="189" y="1974"/>
                    <a:pt x="192" y="1943"/>
                    <a:pt x="203" y="1940"/>
                  </a:cubicBezTo>
                  <a:close/>
                  <a:moveTo>
                    <a:pt x="228" y="2072"/>
                  </a:moveTo>
                  <a:cubicBezTo>
                    <a:pt x="231" y="2075"/>
                    <a:pt x="231" y="2081"/>
                    <a:pt x="234" y="2084"/>
                  </a:cubicBezTo>
                  <a:cubicBezTo>
                    <a:pt x="231" y="2086"/>
                    <a:pt x="228" y="2086"/>
                    <a:pt x="226" y="2089"/>
                  </a:cubicBezTo>
                  <a:cubicBezTo>
                    <a:pt x="223" y="2084"/>
                    <a:pt x="220" y="2081"/>
                    <a:pt x="217" y="2078"/>
                  </a:cubicBezTo>
                  <a:cubicBezTo>
                    <a:pt x="220" y="2075"/>
                    <a:pt x="226" y="2072"/>
                    <a:pt x="228" y="2072"/>
                  </a:cubicBezTo>
                  <a:close/>
                  <a:moveTo>
                    <a:pt x="226" y="2030"/>
                  </a:moveTo>
                  <a:cubicBezTo>
                    <a:pt x="220" y="2033"/>
                    <a:pt x="228" y="2024"/>
                    <a:pt x="226" y="2030"/>
                  </a:cubicBezTo>
                  <a:close/>
                  <a:moveTo>
                    <a:pt x="228" y="1897"/>
                  </a:moveTo>
                  <a:cubicBezTo>
                    <a:pt x="245" y="1897"/>
                    <a:pt x="226" y="1920"/>
                    <a:pt x="228" y="1897"/>
                  </a:cubicBezTo>
                  <a:close/>
                  <a:moveTo>
                    <a:pt x="237" y="1804"/>
                  </a:moveTo>
                  <a:cubicBezTo>
                    <a:pt x="228" y="1813"/>
                    <a:pt x="217" y="1804"/>
                    <a:pt x="211" y="1799"/>
                  </a:cubicBezTo>
                  <a:lnTo>
                    <a:pt x="237" y="1790"/>
                  </a:lnTo>
                  <a:cubicBezTo>
                    <a:pt x="231" y="1793"/>
                    <a:pt x="231" y="1799"/>
                    <a:pt x="237" y="1804"/>
                  </a:cubicBezTo>
                  <a:close/>
                  <a:moveTo>
                    <a:pt x="240" y="1974"/>
                  </a:moveTo>
                  <a:cubicBezTo>
                    <a:pt x="245" y="1974"/>
                    <a:pt x="240" y="1982"/>
                    <a:pt x="237" y="1982"/>
                  </a:cubicBezTo>
                  <a:cubicBezTo>
                    <a:pt x="237" y="1979"/>
                    <a:pt x="240" y="1976"/>
                    <a:pt x="240" y="1974"/>
                  </a:cubicBezTo>
                  <a:close/>
                  <a:moveTo>
                    <a:pt x="296" y="1982"/>
                  </a:moveTo>
                  <a:cubicBezTo>
                    <a:pt x="296" y="1982"/>
                    <a:pt x="293" y="1979"/>
                    <a:pt x="293" y="1976"/>
                  </a:cubicBezTo>
                  <a:lnTo>
                    <a:pt x="296" y="1976"/>
                  </a:lnTo>
                  <a:cubicBezTo>
                    <a:pt x="293" y="1979"/>
                    <a:pt x="296" y="1979"/>
                    <a:pt x="296" y="1982"/>
                  </a:cubicBezTo>
                  <a:close/>
                  <a:moveTo>
                    <a:pt x="316" y="2013"/>
                  </a:moveTo>
                  <a:cubicBezTo>
                    <a:pt x="319" y="2021"/>
                    <a:pt x="319" y="2027"/>
                    <a:pt x="316" y="2036"/>
                  </a:cubicBezTo>
                  <a:cubicBezTo>
                    <a:pt x="313" y="2033"/>
                    <a:pt x="307" y="2033"/>
                    <a:pt x="305" y="2033"/>
                  </a:cubicBezTo>
                  <a:cubicBezTo>
                    <a:pt x="302" y="2024"/>
                    <a:pt x="302" y="2013"/>
                    <a:pt x="316" y="2013"/>
                  </a:cubicBezTo>
                  <a:close/>
                  <a:moveTo>
                    <a:pt x="316" y="1999"/>
                  </a:moveTo>
                  <a:cubicBezTo>
                    <a:pt x="302" y="1990"/>
                    <a:pt x="321" y="1965"/>
                    <a:pt x="316" y="1999"/>
                  </a:cubicBezTo>
                  <a:close/>
                  <a:moveTo>
                    <a:pt x="316" y="1959"/>
                  </a:moveTo>
                  <a:cubicBezTo>
                    <a:pt x="310" y="1959"/>
                    <a:pt x="316" y="1948"/>
                    <a:pt x="316" y="1943"/>
                  </a:cubicBezTo>
                  <a:cubicBezTo>
                    <a:pt x="319" y="1943"/>
                    <a:pt x="319" y="1959"/>
                    <a:pt x="316" y="1959"/>
                  </a:cubicBezTo>
                  <a:close/>
                  <a:moveTo>
                    <a:pt x="310" y="1931"/>
                  </a:moveTo>
                  <a:cubicBezTo>
                    <a:pt x="299" y="1931"/>
                    <a:pt x="305" y="1906"/>
                    <a:pt x="316" y="1909"/>
                  </a:cubicBezTo>
                  <a:cubicBezTo>
                    <a:pt x="321" y="1920"/>
                    <a:pt x="307" y="1920"/>
                    <a:pt x="310" y="1931"/>
                  </a:cubicBezTo>
                  <a:close/>
                  <a:moveTo>
                    <a:pt x="310" y="1813"/>
                  </a:moveTo>
                  <a:cubicBezTo>
                    <a:pt x="330" y="1813"/>
                    <a:pt x="302" y="1841"/>
                    <a:pt x="310" y="1813"/>
                  </a:cubicBezTo>
                  <a:close/>
                  <a:moveTo>
                    <a:pt x="307" y="1813"/>
                  </a:moveTo>
                  <a:cubicBezTo>
                    <a:pt x="305" y="1807"/>
                    <a:pt x="302" y="1801"/>
                    <a:pt x="299" y="1799"/>
                  </a:cubicBezTo>
                  <a:cubicBezTo>
                    <a:pt x="310" y="1790"/>
                    <a:pt x="313" y="1801"/>
                    <a:pt x="321" y="1799"/>
                  </a:cubicBezTo>
                  <a:cubicBezTo>
                    <a:pt x="324" y="1801"/>
                    <a:pt x="313" y="1807"/>
                    <a:pt x="307" y="1813"/>
                  </a:cubicBezTo>
                  <a:close/>
                  <a:moveTo>
                    <a:pt x="321" y="1751"/>
                  </a:moveTo>
                  <a:cubicBezTo>
                    <a:pt x="293" y="1745"/>
                    <a:pt x="316" y="1714"/>
                    <a:pt x="321" y="1751"/>
                  </a:cubicBezTo>
                  <a:close/>
                  <a:moveTo>
                    <a:pt x="316" y="677"/>
                  </a:moveTo>
                  <a:cubicBezTo>
                    <a:pt x="310" y="677"/>
                    <a:pt x="307" y="671"/>
                    <a:pt x="302" y="674"/>
                  </a:cubicBezTo>
                  <a:lnTo>
                    <a:pt x="302" y="668"/>
                  </a:lnTo>
                  <a:lnTo>
                    <a:pt x="299" y="668"/>
                  </a:lnTo>
                  <a:cubicBezTo>
                    <a:pt x="299" y="666"/>
                    <a:pt x="302" y="666"/>
                    <a:pt x="305" y="666"/>
                  </a:cubicBezTo>
                  <a:cubicBezTo>
                    <a:pt x="305" y="663"/>
                    <a:pt x="316" y="668"/>
                    <a:pt x="316" y="677"/>
                  </a:cubicBezTo>
                  <a:close/>
                  <a:moveTo>
                    <a:pt x="305" y="646"/>
                  </a:moveTo>
                  <a:cubicBezTo>
                    <a:pt x="302" y="649"/>
                    <a:pt x="293" y="646"/>
                    <a:pt x="293" y="637"/>
                  </a:cubicBezTo>
                  <a:cubicBezTo>
                    <a:pt x="302" y="640"/>
                    <a:pt x="307" y="640"/>
                    <a:pt x="305" y="646"/>
                  </a:cubicBezTo>
                  <a:close/>
                  <a:moveTo>
                    <a:pt x="302" y="750"/>
                  </a:moveTo>
                  <a:cubicBezTo>
                    <a:pt x="299" y="753"/>
                    <a:pt x="296" y="759"/>
                    <a:pt x="293" y="759"/>
                  </a:cubicBezTo>
                  <a:cubicBezTo>
                    <a:pt x="290" y="753"/>
                    <a:pt x="299" y="750"/>
                    <a:pt x="302" y="750"/>
                  </a:cubicBezTo>
                  <a:close/>
                  <a:moveTo>
                    <a:pt x="299" y="767"/>
                  </a:moveTo>
                  <a:cubicBezTo>
                    <a:pt x="299" y="773"/>
                    <a:pt x="288" y="776"/>
                    <a:pt x="282" y="776"/>
                  </a:cubicBezTo>
                  <a:cubicBezTo>
                    <a:pt x="285" y="770"/>
                    <a:pt x="288" y="764"/>
                    <a:pt x="299" y="767"/>
                  </a:cubicBezTo>
                  <a:close/>
                  <a:moveTo>
                    <a:pt x="282" y="1649"/>
                  </a:moveTo>
                  <a:cubicBezTo>
                    <a:pt x="282" y="1652"/>
                    <a:pt x="276" y="1655"/>
                    <a:pt x="273" y="1655"/>
                  </a:cubicBezTo>
                  <a:cubicBezTo>
                    <a:pt x="282" y="1655"/>
                    <a:pt x="273" y="1666"/>
                    <a:pt x="268" y="1660"/>
                  </a:cubicBezTo>
                  <a:cubicBezTo>
                    <a:pt x="268" y="1660"/>
                    <a:pt x="273" y="1658"/>
                    <a:pt x="273" y="1655"/>
                  </a:cubicBezTo>
                  <a:cubicBezTo>
                    <a:pt x="276" y="1652"/>
                    <a:pt x="279" y="1652"/>
                    <a:pt x="282" y="1649"/>
                  </a:cubicBezTo>
                  <a:close/>
                  <a:moveTo>
                    <a:pt x="273" y="733"/>
                  </a:moveTo>
                  <a:cubicBezTo>
                    <a:pt x="273" y="753"/>
                    <a:pt x="251" y="725"/>
                    <a:pt x="273" y="733"/>
                  </a:cubicBezTo>
                  <a:close/>
                  <a:moveTo>
                    <a:pt x="265" y="1660"/>
                  </a:moveTo>
                  <a:cubicBezTo>
                    <a:pt x="271" y="1675"/>
                    <a:pt x="242" y="1666"/>
                    <a:pt x="265" y="1660"/>
                  </a:cubicBezTo>
                  <a:close/>
                  <a:moveTo>
                    <a:pt x="262" y="1641"/>
                  </a:moveTo>
                  <a:cubicBezTo>
                    <a:pt x="259" y="1652"/>
                    <a:pt x="251" y="1627"/>
                    <a:pt x="262" y="1641"/>
                  </a:cubicBezTo>
                  <a:close/>
                  <a:moveTo>
                    <a:pt x="257" y="801"/>
                  </a:moveTo>
                  <a:cubicBezTo>
                    <a:pt x="248" y="798"/>
                    <a:pt x="251" y="784"/>
                    <a:pt x="262" y="787"/>
                  </a:cubicBezTo>
                  <a:cubicBezTo>
                    <a:pt x="262" y="793"/>
                    <a:pt x="254" y="795"/>
                    <a:pt x="257" y="801"/>
                  </a:cubicBezTo>
                  <a:close/>
                  <a:moveTo>
                    <a:pt x="262" y="691"/>
                  </a:moveTo>
                  <a:cubicBezTo>
                    <a:pt x="262" y="697"/>
                    <a:pt x="257" y="700"/>
                    <a:pt x="254" y="700"/>
                  </a:cubicBezTo>
                  <a:cubicBezTo>
                    <a:pt x="251" y="694"/>
                    <a:pt x="257" y="691"/>
                    <a:pt x="262" y="691"/>
                  </a:cubicBezTo>
                  <a:close/>
                  <a:moveTo>
                    <a:pt x="251" y="680"/>
                  </a:moveTo>
                  <a:cubicBezTo>
                    <a:pt x="254" y="691"/>
                    <a:pt x="242" y="700"/>
                    <a:pt x="234" y="697"/>
                  </a:cubicBezTo>
                  <a:cubicBezTo>
                    <a:pt x="234" y="691"/>
                    <a:pt x="245" y="685"/>
                    <a:pt x="251" y="680"/>
                  </a:cubicBezTo>
                  <a:close/>
                  <a:moveTo>
                    <a:pt x="228" y="739"/>
                  </a:moveTo>
                  <a:cubicBezTo>
                    <a:pt x="237" y="731"/>
                    <a:pt x="245" y="742"/>
                    <a:pt x="254" y="731"/>
                  </a:cubicBezTo>
                  <a:cubicBezTo>
                    <a:pt x="259" y="745"/>
                    <a:pt x="240" y="750"/>
                    <a:pt x="228" y="756"/>
                  </a:cubicBezTo>
                  <a:cubicBezTo>
                    <a:pt x="228" y="750"/>
                    <a:pt x="234" y="745"/>
                    <a:pt x="228" y="739"/>
                  </a:cubicBezTo>
                  <a:close/>
                  <a:moveTo>
                    <a:pt x="228" y="1573"/>
                  </a:moveTo>
                  <a:cubicBezTo>
                    <a:pt x="237" y="1587"/>
                    <a:pt x="209" y="1579"/>
                    <a:pt x="228" y="1573"/>
                  </a:cubicBezTo>
                  <a:close/>
                  <a:moveTo>
                    <a:pt x="217" y="691"/>
                  </a:moveTo>
                  <a:cubicBezTo>
                    <a:pt x="226" y="685"/>
                    <a:pt x="214" y="700"/>
                    <a:pt x="217" y="691"/>
                  </a:cubicBezTo>
                  <a:close/>
                  <a:moveTo>
                    <a:pt x="220" y="1629"/>
                  </a:moveTo>
                  <a:cubicBezTo>
                    <a:pt x="223" y="1629"/>
                    <a:pt x="223" y="1632"/>
                    <a:pt x="223" y="1632"/>
                  </a:cubicBezTo>
                  <a:cubicBezTo>
                    <a:pt x="223" y="1632"/>
                    <a:pt x="220" y="1635"/>
                    <a:pt x="217" y="1635"/>
                  </a:cubicBezTo>
                  <a:cubicBezTo>
                    <a:pt x="214" y="1635"/>
                    <a:pt x="211" y="1632"/>
                    <a:pt x="211" y="1632"/>
                  </a:cubicBezTo>
                  <a:cubicBezTo>
                    <a:pt x="214" y="1632"/>
                    <a:pt x="217" y="1629"/>
                    <a:pt x="220" y="1629"/>
                  </a:cubicBezTo>
                  <a:close/>
                  <a:moveTo>
                    <a:pt x="214" y="1643"/>
                  </a:moveTo>
                  <a:cubicBezTo>
                    <a:pt x="228" y="1658"/>
                    <a:pt x="194" y="1632"/>
                    <a:pt x="214" y="1643"/>
                  </a:cubicBezTo>
                  <a:close/>
                  <a:moveTo>
                    <a:pt x="203" y="1450"/>
                  </a:moveTo>
                  <a:cubicBezTo>
                    <a:pt x="206" y="1453"/>
                    <a:pt x="203" y="1456"/>
                    <a:pt x="203" y="1457"/>
                  </a:cubicBezTo>
                  <a:cubicBezTo>
                    <a:pt x="200" y="1457"/>
                    <a:pt x="203" y="1453"/>
                    <a:pt x="203" y="1450"/>
                  </a:cubicBezTo>
                  <a:close/>
                  <a:moveTo>
                    <a:pt x="206" y="1553"/>
                  </a:moveTo>
                  <a:cubicBezTo>
                    <a:pt x="200" y="1550"/>
                    <a:pt x="209" y="1553"/>
                    <a:pt x="206" y="1553"/>
                  </a:cubicBezTo>
                  <a:close/>
                  <a:moveTo>
                    <a:pt x="217" y="1725"/>
                  </a:moveTo>
                  <a:cubicBezTo>
                    <a:pt x="209" y="1731"/>
                    <a:pt x="194" y="1714"/>
                    <a:pt x="194" y="1722"/>
                  </a:cubicBezTo>
                  <a:cubicBezTo>
                    <a:pt x="192" y="1714"/>
                    <a:pt x="189" y="1703"/>
                    <a:pt x="186" y="1694"/>
                  </a:cubicBezTo>
                  <a:lnTo>
                    <a:pt x="183" y="1694"/>
                  </a:lnTo>
                  <a:lnTo>
                    <a:pt x="186" y="1691"/>
                  </a:lnTo>
                  <a:cubicBezTo>
                    <a:pt x="186" y="1689"/>
                    <a:pt x="183" y="1686"/>
                    <a:pt x="180" y="1686"/>
                  </a:cubicBezTo>
                  <a:cubicBezTo>
                    <a:pt x="186" y="1686"/>
                    <a:pt x="194" y="1686"/>
                    <a:pt x="194" y="1680"/>
                  </a:cubicBezTo>
                  <a:cubicBezTo>
                    <a:pt x="211" y="1680"/>
                    <a:pt x="220" y="1711"/>
                    <a:pt x="217" y="1725"/>
                  </a:cubicBezTo>
                  <a:close/>
                  <a:moveTo>
                    <a:pt x="200" y="1374"/>
                  </a:moveTo>
                  <a:cubicBezTo>
                    <a:pt x="197" y="1382"/>
                    <a:pt x="189" y="1374"/>
                    <a:pt x="200" y="1374"/>
                  </a:cubicBezTo>
                  <a:close/>
                  <a:moveTo>
                    <a:pt x="192" y="1487"/>
                  </a:moveTo>
                  <a:cubicBezTo>
                    <a:pt x="193" y="1487"/>
                    <a:pt x="195" y="1488"/>
                    <a:pt x="192" y="1488"/>
                  </a:cubicBezTo>
                  <a:cubicBezTo>
                    <a:pt x="191" y="1487"/>
                    <a:pt x="191" y="1487"/>
                    <a:pt x="192" y="1487"/>
                  </a:cubicBezTo>
                  <a:close/>
                  <a:moveTo>
                    <a:pt x="183" y="1466"/>
                  </a:moveTo>
                  <a:cubicBezTo>
                    <a:pt x="186" y="1469"/>
                    <a:pt x="183" y="1469"/>
                    <a:pt x="183" y="1466"/>
                  </a:cubicBezTo>
                  <a:close/>
                  <a:moveTo>
                    <a:pt x="189" y="1522"/>
                  </a:moveTo>
                  <a:cubicBezTo>
                    <a:pt x="189" y="1514"/>
                    <a:pt x="183" y="1505"/>
                    <a:pt x="178" y="1500"/>
                  </a:cubicBezTo>
                  <a:cubicBezTo>
                    <a:pt x="189" y="1494"/>
                    <a:pt x="211" y="1514"/>
                    <a:pt x="189" y="1522"/>
                  </a:cubicBezTo>
                  <a:close/>
                  <a:moveTo>
                    <a:pt x="172" y="1477"/>
                  </a:moveTo>
                  <a:cubicBezTo>
                    <a:pt x="180" y="1477"/>
                    <a:pt x="178" y="1486"/>
                    <a:pt x="180" y="1491"/>
                  </a:cubicBezTo>
                  <a:cubicBezTo>
                    <a:pt x="172" y="1494"/>
                    <a:pt x="175" y="1483"/>
                    <a:pt x="172" y="1477"/>
                  </a:cubicBezTo>
                  <a:close/>
                  <a:moveTo>
                    <a:pt x="183" y="1368"/>
                  </a:moveTo>
                  <a:cubicBezTo>
                    <a:pt x="180" y="1368"/>
                    <a:pt x="178" y="1368"/>
                    <a:pt x="175" y="1362"/>
                  </a:cubicBezTo>
                  <a:lnTo>
                    <a:pt x="175" y="1360"/>
                  </a:lnTo>
                  <a:lnTo>
                    <a:pt x="180" y="1360"/>
                  </a:lnTo>
                  <a:cubicBezTo>
                    <a:pt x="183" y="1360"/>
                    <a:pt x="183" y="1365"/>
                    <a:pt x="183" y="1368"/>
                  </a:cubicBezTo>
                  <a:close/>
                  <a:moveTo>
                    <a:pt x="180" y="804"/>
                  </a:moveTo>
                  <a:cubicBezTo>
                    <a:pt x="180" y="810"/>
                    <a:pt x="175" y="812"/>
                    <a:pt x="169" y="812"/>
                  </a:cubicBezTo>
                  <a:cubicBezTo>
                    <a:pt x="172" y="807"/>
                    <a:pt x="175" y="801"/>
                    <a:pt x="180" y="804"/>
                  </a:cubicBezTo>
                  <a:close/>
                  <a:moveTo>
                    <a:pt x="172" y="1320"/>
                  </a:moveTo>
                  <a:cubicBezTo>
                    <a:pt x="169" y="1312"/>
                    <a:pt x="178" y="1334"/>
                    <a:pt x="169" y="1326"/>
                  </a:cubicBezTo>
                  <a:cubicBezTo>
                    <a:pt x="169" y="1323"/>
                    <a:pt x="172" y="1323"/>
                    <a:pt x="172" y="1320"/>
                  </a:cubicBezTo>
                  <a:close/>
                  <a:moveTo>
                    <a:pt x="166" y="1559"/>
                  </a:moveTo>
                  <a:cubicBezTo>
                    <a:pt x="172" y="1553"/>
                    <a:pt x="175" y="1550"/>
                    <a:pt x="180" y="1548"/>
                  </a:cubicBezTo>
                  <a:cubicBezTo>
                    <a:pt x="180" y="1556"/>
                    <a:pt x="175" y="1565"/>
                    <a:pt x="172" y="1570"/>
                  </a:cubicBezTo>
                  <a:lnTo>
                    <a:pt x="172" y="1579"/>
                  </a:lnTo>
                  <a:cubicBezTo>
                    <a:pt x="169" y="1579"/>
                    <a:pt x="166" y="1576"/>
                    <a:pt x="166" y="1576"/>
                  </a:cubicBezTo>
                  <a:cubicBezTo>
                    <a:pt x="163" y="1579"/>
                    <a:pt x="163" y="1581"/>
                    <a:pt x="161" y="1584"/>
                  </a:cubicBezTo>
                  <a:cubicBezTo>
                    <a:pt x="159" y="1586"/>
                    <a:pt x="158" y="1585"/>
                    <a:pt x="157" y="1584"/>
                  </a:cubicBezTo>
                  <a:cubicBezTo>
                    <a:pt x="157" y="1585"/>
                    <a:pt x="156" y="1586"/>
                    <a:pt x="155" y="1587"/>
                  </a:cubicBezTo>
                  <a:cubicBezTo>
                    <a:pt x="152" y="1596"/>
                    <a:pt x="138" y="1587"/>
                    <a:pt x="155" y="1584"/>
                  </a:cubicBezTo>
                  <a:cubicBezTo>
                    <a:pt x="156" y="1584"/>
                    <a:pt x="156" y="1583"/>
                    <a:pt x="157" y="1583"/>
                  </a:cubicBezTo>
                  <a:cubicBezTo>
                    <a:pt x="157" y="1582"/>
                    <a:pt x="157" y="1581"/>
                    <a:pt x="158" y="1581"/>
                  </a:cubicBezTo>
                  <a:cubicBezTo>
                    <a:pt x="159" y="1580"/>
                    <a:pt x="161" y="1578"/>
                    <a:pt x="161" y="1576"/>
                  </a:cubicBezTo>
                  <a:lnTo>
                    <a:pt x="158" y="1576"/>
                  </a:lnTo>
                  <a:cubicBezTo>
                    <a:pt x="152" y="1570"/>
                    <a:pt x="166" y="1562"/>
                    <a:pt x="155" y="1562"/>
                  </a:cubicBezTo>
                  <a:cubicBezTo>
                    <a:pt x="155" y="1559"/>
                    <a:pt x="161" y="1556"/>
                    <a:pt x="163" y="1556"/>
                  </a:cubicBezTo>
                  <a:cubicBezTo>
                    <a:pt x="166" y="1553"/>
                    <a:pt x="166" y="1553"/>
                    <a:pt x="166" y="1556"/>
                  </a:cubicBezTo>
                  <a:lnTo>
                    <a:pt x="166" y="1559"/>
                  </a:lnTo>
                  <a:close/>
                  <a:moveTo>
                    <a:pt x="155" y="1756"/>
                  </a:moveTo>
                  <a:cubicBezTo>
                    <a:pt x="152" y="1754"/>
                    <a:pt x="152" y="1748"/>
                    <a:pt x="149" y="1745"/>
                  </a:cubicBezTo>
                  <a:cubicBezTo>
                    <a:pt x="155" y="1745"/>
                    <a:pt x="158" y="1742"/>
                    <a:pt x="161" y="1742"/>
                  </a:cubicBezTo>
                  <a:cubicBezTo>
                    <a:pt x="163" y="1745"/>
                    <a:pt x="166" y="1748"/>
                    <a:pt x="166" y="1751"/>
                  </a:cubicBezTo>
                  <a:cubicBezTo>
                    <a:pt x="163" y="1754"/>
                    <a:pt x="158" y="1756"/>
                    <a:pt x="155" y="1756"/>
                  </a:cubicBezTo>
                  <a:close/>
                  <a:moveTo>
                    <a:pt x="118" y="1940"/>
                  </a:moveTo>
                  <a:cubicBezTo>
                    <a:pt x="132" y="1934"/>
                    <a:pt x="135" y="1962"/>
                    <a:pt x="121" y="1968"/>
                  </a:cubicBezTo>
                  <a:cubicBezTo>
                    <a:pt x="124" y="1959"/>
                    <a:pt x="121" y="1948"/>
                    <a:pt x="118" y="1940"/>
                  </a:cubicBezTo>
                  <a:close/>
                  <a:moveTo>
                    <a:pt x="110" y="1864"/>
                  </a:moveTo>
                  <a:cubicBezTo>
                    <a:pt x="90" y="1849"/>
                    <a:pt x="135" y="1832"/>
                    <a:pt x="138" y="1855"/>
                  </a:cubicBezTo>
                  <a:cubicBezTo>
                    <a:pt x="138" y="1858"/>
                    <a:pt x="138" y="1861"/>
                    <a:pt x="135" y="1864"/>
                  </a:cubicBezTo>
                  <a:lnTo>
                    <a:pt x="138" y="1864"/>
                  </a:lnTo>
                  <a:lnTo>
                    <a:pt x="138" y="1864"/>
                  </a:lnTo>
                  <a:cubicBezTo>
                    <a:pt x="143" y="1860"/>
                    <a:pt x="151" y="1866"/>
                    <a:pt x="158" y="1866"/>
                  </a:cubicBezTo>
                  <a:cubicBezTo>
                    <a:pt x="155" y="1869"/>
                    <a:pt x="138" y="1869"/>
                    <a:pt x="135" y="1866"/>
                  </a:cubicBezTo>
                  <a:lnTo>
                    <a:pt x="135" y="1866"/>
                  </a:lnTo>
                  <a:cubicBezTo>
                    <a:pt x="130" y="1869"/>
                    <a:pt x="124" y="1862"/>
                    <a:pt x="121" y="1855"/>
                  </a:cubicBezTo>
                  <a:cubicBezTo>
                    <a:pt x="115" y="1852"/>
                    <a:pt x="110" y="1852"/>
                    <a:pt x="110" y="1864"/>
                  </a:cubicBezTo>
                  <a:close/>
                  <a:moveTo>
                    <a:pt x="118" y="1931"/>
                  </a:moveTo>
                  <a:cubicBezTo>
                    <a:pt x="118" y="1951"/>
                    <a:pt x="96" y="1926"/>
                    <a:pt x="118" y="1931"/>
                  </a:cubicBezTo>
                  <a:close/>
                  <a:moveTo>
                    <a:pt x="118" y="1913"/>
                  </a:moveTo>
                  <a:cubicBezTo>
                    <a:pt x="117" y="1913"/>
                    <a:pt x="115" y="1911"/>
                    <a:pt x="118" y="1911"/>
                  </a:cubicBezTo>
                  <a:cubicBezTo>
                    <a:pt x="119" y="1912"/>
                    <a:pt x="119" y="1913"/>
                    <a:pt x="118" y="1913"/>
                  </a:cubicBezTo>
                  <a:close/>
                  <a:moveTo>
                    <a:pt x="101" y="1697"/>
                  </a:moveTo>
                  <a:cubicBezTo>
                    <a:pt x="115" y="1697"/>
                    <a:pt x="99" y="1720"/>
                    <a:pt x="101" y="1697"/>
                  </a:cubicBezTo>
                  <a:close/>
                  <a:moveTo>
                    <a:pt x="104" y="1821"/>
                  </a:moveTo>
                  <a:cubicBezTo>
                    <a:pt x="101" y="1827"/>
                    <a:pt x="107" y="1818"/>
                    <a:pt x="104" y="1821"/>
                  </a:cubicBezTo>
                  <a:close/>
                  <a:moveTo>
                    <a:pt x="104" y="1672"/>
                  </a:moveTo>
                  <a:cubicBezTo>
                    <a:pt x="110" y="1686"/>
                    <a:pt x="82" y="1677"/>
                    <a:pt x="104" y="1672"/>
                  </a:cubicBezTo>
                  <a:close/>
                  <a:moveTo>
                    <a:pt x="99" y="1849"/>
                  </a:moveTo>
                  <a:cubicBezTo>
                    <a:pt x="99" y="1849"/>
                    <a:pt x="97" y="1848"/>
                    <a:pt x="99" y="1849"/>
                  </a:cubicBezTo>
                  <a:close/>
                  <a:moveTo>
                    <a:pt x="96" y="1883"/>
                  </a:moveTo>
                  <a:cubicBezTo>
                    <a:pt x="96" y="1886"/>
                    <a:pt x="90" y="1889"/>
                    <a:pt x="87" y="1889"/>
                  </a:cubicBezTo>
                  <a:cubicBezTo>
                    <a:pt x="87" y="1886"/>
                    <a:pt x="93" y="1883"/>
                    <a:pt x="96" y="1883"/>
                  </a:cubicBezTo>
                  <a:close/>
                  <a:moveTo>
                    <a:pt x="79" y="1610"/>
                  </a:moveTo>
                  <a:lnTo>
                    <a:pt x="79" y="1609"/>
                  </a:lnTo>
                  <a:cubicBezTo>
                    <a:pt x="79" y="1609"/>
                    <a:pt x="80" y="1610"/>
                    <a:pt x="79" y="1610"/>
                  </a:cubicBezTo>
                  <a:cubicBezTo>
                    <a:pt x="75" y="1608"/>
                    <a:pt x="78" y="1608"/>
                    <a:pt x="79" y="1609"/>
                  </a:cubicBezTo>
                  <a:lnTo>
                    <a:pt x="79" y="1610"/>
                  </a:lnTo>
                  <a:close/>
                  <a:moveTo>
                    <a:pt x="70" y="1567"/>
                  </a:moveTo>
                  <a:cubicBezTo>
                    <a:pt x="90" y="1567"/>
                    <a:pt x="65" y="1596"/>
                    <a:pt x="70" y="1567"/>
                  </a:cubicBezTo>
                  <a:close/>
                  <a:moveTo>
                    <a:pt x="87" y="1641"/>
                  </a:moveTo>
                  <a:cubicBezTo>
                    <a:pt x="90" y="1660"/>
                    <a:pt x="68" y="1629"/>
                    <a:pt x="87" y="1641"/>
                  </a:cubicBezTo>
                  <a:close/>
                  <a:moveTo>
                    <a:pt x="93" y="1680"/>
                  </a:moveTo>
                  <a:cubicBezTo>
                    <a:pt x="96" y="1686"/>
                    <a:pt x="87" y="1686"/>
                    <a:pt x="84" y="1686"/>
                  </a:cubicBezTo>
                  <a:lnTo>
                    <a:pt x="84" y="1680"/>
                  </a:lnTo>
                  <a:lnTo>
                    <a:pt x="93" y="1680"/>
                  </a:lnTo>
                  <a:close/>
                  <a:moveTo>
                    <a:pt x="90" y="1748"/>
                  </a:moveTo>
                  <a:cubicBezTo>
                    <a:pt x="87" y="1756"/>
                    <a:pt x="70" y="1745"/>
                    <a:pt x="90" y="1748"/>
                  </a:cubicBezTo>
                  <a:close/>
                  <a:moveTo>
                    <a:pt x="87" y="1765"/>
                  </a:moveTo>
                  <a:cubicBezTo>
                    <a:pt x="87" y="1770"/>
                    <a:pt x="82" y="1770"/>
                    <a:pt x="76" y="1773"/>
                  </a:cubicBezTo>
                  <a:cubicBezTo>
                    <a:pt x="73" y="1765"/>
                    <a:pt x="82" y="1765"/>
                    <a:pt x="87" y="1765"/>
                  </a:cubicBezTo>
                  <a:close/>
                  <a:moveTo>
                    <a:pt x="90" y="1779"/>
                  </a:moveTo>
                  <a:cubicBezTo>
                    <a:pt x="93" y="1785"/>
                    <a:pt x="87" y="1787"/>
                    <a:pt x="90" y="1790"/>
                  </a:cubicBezTo>
                  <a:lnTo>
                    <a:pt x="90" y="1790"/>
                  </a:lnTo>
                  <a:cubicBezTo>
                    <a:pt x="102" y="1792"/>
                    <a:pt x="87" y="1810"/>
                    <a:pt x="90" y="1818"/>
                  </a:cubicBezTo>
                  <a:cubicBezTo>
                    <a:pt x="82" y="1821"/>
                    <a:pt x="76" y="1816"/>
                    <a:pt x="73" y="1810"/>
                  </a:cubicBezTo>
                  <a:cubicBezTo>
                    <a:pt x="73" y="1802"/>
                    <a:pt x="89" y="1799"/>
                    <a:pt x="88" y="1791"/>
                  </a:cubicBezTo>
                  <a:cubicBezTo>
                    <a:pt x="82" y="1792"/>
                    <a:pt x="83" y="1776"/>
                    <a:pt x="90" y="1779"/>
                  </a:cubicBezTo>
                  <a:close/>
                  <a:moveTo>
                    <a:pt x="90" y="1714"/>
                  </a:moveTo>
                  <a:cubicBezTo>
                    <a:pt x="104" y="1728"/>
                    <a:pt x="70" y="1706"/>
                    <a:pt x="90" y="1714"/>
                  </a:cubicBezTo>
                  <a:close/>
                  <a:moveTo>
                    <a:pt x="84" y="1528"/>
                  </a:moveTo>
                  <a:cubicBezTo>
                    <a:pt x="93" y="1525"/>
                    <a:pt x="99" y="1531"/>
                    <a:pt x="104" y="1531"/>
                  </a:cubicBezTo>
                  <a:cubicBezTo>
                    <a:pt x="107" y="1539"/>
                    <a:pt x="107" y="1550"/>
                    <a:pt x="104" y="1559"/>
                  </a:cubicBezTo>
                  <a:cubicBezTo>
                    <a:pt x="79" y="1567"/>
                    <a:pt x="82" y="1542"/>
                    <a:pt x="84" y="1528"/>
                  </a:cubicBezTo>
                  <a:close/>
                  <a:moveTo>
                    <a:pt x="87" y="1512"/>
                  </a:moveTo>
                  <a:cubicBezTo>
                    <a:pt x="86" y="1512"/>
                    <a:pt x="83" y="1511"/>
                    <a:pt x="87" y="1511"/>
                  </a:cubicBezTo>
                  <a:cubicBezTo>
                    <a:pt x="88" y="1512"/>
                    <a:pt x="88" y="1512"/>
                    <a:pt x="87" y="1512"/>
                  </a:cubicBezTo>
                  <a:close/>
                  <a:moveTo>
                    <a:pt x="121" y="1441"/>
                  </a:moveTo>
                  <a:cubicBezTo>
                    <a:pt x="110" y="1447"/>
                    <a:pt x="110" y="1427"/>
                    <a:pt x="110" y="1422"/>
                  </a:cubicBezTo>
                  <a:cubicBezTo>
                    <a:pt x="124" y="1419"/>
                    <a:pt x="113" y="1436"/>
                    <a:pt x="121" y="1441"/>
                  </a:cubicBezTo>
                  <a:close/>
                  <a:moveTo>
                    <a:pt x="110" y="1388"/>
                  </a:moveTo>
                  <a:cubicBezTo>
                    <a:pt x="110" y="1382"/>
                    <a:pt x="118" y="1391"/>
                    <a:pt x="110" y="1388"/>
                  </a:cubicBezTo>
                  <a:close/>
                  <a:moveTo>
                    <a:pt x="104" y="1340"/>
                  </a:moveTo>
                  <a:cubicBezTo>
                    <a:pt x="113" y="1340"/>
                    <a:pt x="110" y="1348"/>
                    <a:pt x="113" y="1354"/>
                  </a:cubicBezTo>
                  <a:cubicBezTo>
                    <a:pt x="104" y="1357"/>
                    <a:pt x="107" y="1345"/>
                    <a:pt x="104" y="1340"/>
                  </a:cubicBezTo>
                  <a:close/>
                  <a:moveTo>
                    <a:pt x="113" y="1607"/>
                  </a:moveTo>
                  <a:cubicBezTo>
                    <a:pt x="121" y="1604"/>
                    <a:pt x="121" y="1601"/>
                    <a:pt x="127" y="1604"/>
                  </a:cubicBezTo>
                  <a:cubicBezTo>
                    <a:pt x="124" y="1607"/>
                    <a:pt x="118" y="1610"/>
                    <a:pt x="113" y="1607"/>
                  </a:cubicBezTo>
                  <a:cubicBezTo>
                    <a:pt x="107" y="1610"/>
                    <a:pt x="110" y="1612"/>
                    <a:pt x="104" y="1612"/>
                  </a:cubicBezTo>
                  <a:cubicBezTo>
                    <a:pt x="107" y="1610"/>
                    <a:pt x="110" y="1607"/>
                    <a:pt x="113" y="1607"/>
                  </a:cubicBezTo>
                  <a:close/>
                  <a:moveTo>
                    <a:pt x="113" y="1584"/>
                  </a:moveTo>
                  <a:cubicBezTo>
                    <a:pt x="107" y="1587"/>
                    <a:pt x="115" y="1579"/>
                    <a:pt x="113" y="1584"/>
                  </a:cubicBezTo>
                  <a:close/>
                  <a:moveTo>
                    <a:pt x="118" y="1587"/>
                  </a:moveTo>
                  <a:cubicBezTo>
                    <a:pt x="121" y="1587"/>
                    <a:pt x="115" y="1584"/>
                    <a:pt x="118" y="1587"/>
                  </a:cubicBezTo>
                  <a:close/>
                  <a:moveTo>
                    <a:pt x="149" y="1525"/>
                  </a:moveTo>
                  <a:cubicBezTo>
                    <a:pt x="155" y="1539"/>
                    <a:pt x="127" y="1531"/>
                    <a:pt x="149" y="1525"/>
                  </a:cubicBezTo>
                  <a:close/>
                  <a:moveTo>
                    <a:pt x="141" y="1500"/>
                  </a:moveTo>
                  <a:cubicBezTo>
                    <a:pt x="141" y="1494"/>
                    <a:pt x="149" y="1502"/>
                    <a:pt x="141" y="1500"/>
                  </a:cubicBezTo>
                  <a:close/>
                  <a:moveTo>
                    <a:pt x="147" y="1565"/>
                  </a:moveTo>
                  <a:cubicBezTo>
                    <a:pt x="155" y="1565"/>
                    <a:pt x="149" y="1581"/>
                    <a:pt x="141" y="1579"/>
                  </a:cubicBezTo>
                  <a:cubicBezTo>
                    <a:pt x="135" y="1573"/>
                    <a:pt x="147" y="1573"/>
                    <a:pt x="147" y="1565"/>
                  </a:cubicBezTo>
                  <a:close/>
                  <a:moveTo>
                    <a:pt x="161" y="1483"/>
                  </a:moveTo>
                  <a:cubicBezTo>
                    <a:pt x="158" y="1505"/>
                    <a:pt x="144" y="1469"/>
                    <a:pt x="161" y="1483"/>
                  </a:cubicBezTo>
                  <a:close/>
                  <a:moveTo>
                    <a:pt x="149" y="1652"/>
                  </a:moveTo>
                  <a:cubicBezTo>
                    <a:pt x="149" y="1658"/>
                    <a:pt x="144" y="1658"/>
                    <a:pt x="141" y="1658"/>
                  </a:cubicBezTo>
                  <a:cubicBezTo>
                    <a:pt x="141" y="1655"/>
                    <a:pt x="147" y="1652"/>
                    <a:pt x="149" y="1652"/>
                  </a:cubicBezTo>
                  <a:close/>
                  <a:moveTo>
                    <a:pt x="155" y="1689"/>
                  </a:moveTo>
                  <a:lnTo>
                    <a:pt x="155" y="1697"/>
                  </a:lnTo>
                  <a:cubicBezTo>
                    <a:pt x="149" y="1697"/>
                    <a:pt x="144" y="1700"/>
                    <a:pt x="138" y="1700"/>
                  </a:cubicBezTo>
                  <a:cubicBezTo>
                    <a:pt x="141" y="1697"/>
                    <a:pt x="141" y="1691"/>
                    <a:pt x="144" y="1689"/>
                  </a:cubicBezTo>
                  <a:cubicBezTo>
                    <a:pt x="141" y="1686"/>
                    <a:pt x="138" y="1683"/>
                    <a:pt x="138" y="1680"/>
                  </a:cubicBezTo>
                  <a:cubicBezTo>
                    <a:pt x="152" y="1669"/>
                    <a:pt x="158" y="1680"/>
                    <a:pt x="155" y="1689"/>
                  </a:cubicBezTo>
                  <a:close/>
                  <a:moveTo>
                    <a:pt x="155" y="1734"/>
                  </a:moveTo>
                  <a:cubicBezTo>
                    <a:pt x="149" y="1728"/>
                    <a:pt x="155" y="1711"/>
                    <a:pt x="163" y="1714"/>
                  </a:cubicBezTo>
                  <a:cubicBezTo>
                    <a:pt x="158" y="1720"/>
                    <a:pt x="155" y="1725"/>
                    <a:pt x="155" y="1734"/>
                  </a:cubicBezTo>
                  <a:close/>
                  <a:moveTo>
                    <a:pt x="166" y="1728"/>
                  </a:moveTo>
                  <a:cubicBezTo>
                    <a:pt x="172" y="1742"/>
                    <a:pt x="144" y="1734"/>
                    <a:pt x="166" y="1728"/>
                  </a:cubicBezTo>
                  <a:close/>
                  <a:moveTo>
                    <a:pt x="149" y="1711"/>
                  </a:moveTo>
                  <a:cubicBezTo>
                    <a:pt x="158" y="1728"/>
                    <a:pt x="132" y="1722"/>
                    <a:pt x="124" y="1725"/>
                  </a:cubicBezTo>
                  <a:cubicBezTo>
                    <a:pt x="127" y="1720"/>
                    <a:pt x="130" y="1717"/>
                    <a:pt x="132" y="1714"/>
                  </a:cubicBezTo>
                  <a:lnTo>
                    <a:pt x="135" y="1714"/>
                  </a:lnTo>
                  <a:cubicBezTo>
                    <a:pt x="141" y="1711"/>
                    <a:pt x="144" y="1711"/>
                    <a:pt x="149" y="1711"/>
                  </a:cubicBezTo>
                  <a:close/>
                  <a:moveTo>
                    <a:pt x="144" y="1737"/>
                  </a:moveTo>
                  <a:cubicBezTo>
                    <a:pt x="147" y="1731"/>
                    <a:pt x="152" y="1745"/>
                    <a:pt x="144" y="1737"/>
                  </a:cubicBezTo>
                  <a:close/>
                  <a:moveTo>
                    <a:pt x="147" y="1783"/>
                  </a:moveTo>
                  <a:cubicBezTo>
                    <a:pt x="148" y="1783"/>
                    <a:pt x="150" y="1785"/>
                    <a:pt x="147" y="1785"/>
                  </a:cubicBezTo>
                  <a:cubicBezTo>
                    <a:pt x="146" y="1784"/>
                    <a:pt x="146" y="1783"/>
                    <a:pt x="147" y="1783"/>
                  </a:cubicBezTo>
                  <a:close/>
                  <a:moveTo>
                    <a:pt x="132" y="1807"/>
                  </a:moveTo>
                  <a:cubicBezTo>
                    <a:pt x="132" y="1804"/>
                    <a:pt x="130" y="1801"/>
                    <a:pt x="127" y="1799"/>
                  </a:cubicBezTo>
                  <a:cubicBezTo>
                    <a:pt x="130" y="1796"/>
                    <a:pt x="132" y="1796"/>
                    <a:pt x="135" y="1793"/>
                  </a:cubicBezTo>
                  <a:cubicBezTo>
                    <a:pt x="138" y="1796"/>
                    <a:pt x="141" y="1799"/>
                    <a:pt x="141" y="1801"/>
                  </a:cubicBezTo>
                  <a:cubicBezTo>
                    <a:pt x="141" y="1804"/>
                    <a:pt x="135" y="1807"/>
                    <a:pt x="132" y="1807"/>
                  </a:cubicBezTo>
                  <a:close/>
                  <a:moveTo>
                    <a:pt x="132" y="1816"/>
                  </a:moveTo>
                  <a:cubicBezTo>
                    <a:pt x="138" y="1807"/>
                    <a:pt x="141" y="1821"/>
                    <a:pt x="132" y="1816"/>
                  </a:cubicBezTo>
                  <a:close/>
                  <a:moveTo>
                    <a:pt x="141" y="1841"/>
                  </a:moveTo>
                  <a:cubicBezTo>
                    <a:pt x="141" y="1838"/>
                    <a:pt x="138" y="1847"/>
                    <a:pt x="141" y="1841"/>
                  </a:cubicBezTo>
                  <a:close/>
                  <a:moveTo>
                    <a:pt x="138" y="1759"/>
                  </a:moveTo>
                  <a:cubicBezTo>
                    <a:pt x="158" y="1762"/>
                    <a:pt x="130" y="1787"/>
                    <a:pt x="138" y="1759"/>
                  </a:cubicBezTo>
                  <a:close/>
                  <a:moveTo>
                    <a:pt x="115" y="1728"/>
                  </a:moveTo>
                  <a:cubicBezTo>
                    <a:pt x="115" y="1728"/>
                    <a:pt x="113" y="1728"/>
                    <a:pt x="115" y="1728"/>
                  </a:cubicBezTo>
                  <a:lnTo>
                    <a:pt x="113" y="1725"/>
                  </a:lnTo>
                  <a:cubicBezTo>
                    <a:pt x="115" y="1722"/>
                    <a:pt x="121" y="1722"/>
                    <a:pt x="124" y="1720"/>
                  </a:cubicBezTo>
                  <a:lnTo>
                    <a:pt x="115" y="1728"/>
                  </a:lnTo>
                  <a:close/>
                  <a:moveTo>
                    <a:pt x="115" y="1731"/>
                  </a:moveTo>
                  <a:cubicBezTo>
                    <a:pt x="130" y="1728"/>
                    <a:pt x="113" y="1754"/>
                    <a:pt x="115" y="1731"/>
                  </a:cubicBezTo>
                  <a:close/>
                  <a:moveTo>
                    <a:pt x="118" y="1773"/>
                  </a:moveTo>
                  <a:cubicBezTo>
                    <a:pt x="118" y="1776"/>
                    <a:pt x="121" y="1779"/>
                    <a:pt x="121" y="1782"/>
                  </a:cubicBezTo>
                  <a:cubicBezTo>
                    <a:pt x="113" y="1785"/>
                    <a:pt x="104" y="1779"/>
                    <a:pt x="118" y="1773"/>
                  </a:cubicBezTo>
                  <a:close/>
                  <a:moveTo>
                    <a:pt x="107" y="1793"/>
                  </a:move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cubicBezTo>
                    <a:pt x="108" y="1792"/>
                    <a:pt x="108" y="1793"/>
                    <a:pt x="107" y="1793"/>
                  </a:cubicBezTo>
                  <a:lnTo>
                    <a:pt x="107" y="1793"/>
                  </a:lnTo>
                  <a:lnTo>
                    <a:pt x="107" y="1793"/>
                  </a:lnTo>
                  <a:lnTo>
                    <a:pt x="107" y="1793"/>
                  </a:lnTo>
                  <a:lnTo>
                    <a:pt x="107" y="1793"/>
                  </a:lnTo>
                  <a:lnTo>
                    <a:pt x="107" y="1793"/>
                  </a:lnTo>
                  <a:lnTo>
                    <a:pt x="107" y="1793"/>
                  </a:lnTo>
                  <a:cubicBezTo>
                    <a:pt x="108" y="1793"/>
                    <a:pt x="108" y="1792"/>
                    <a:pt x="108" y="1792"/>
                  </a:cubicBez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lnTo>
                    <a:pt x="108" y="1792"/>
                  </a:lnTo>
                  <a:cubicBezTo>
                    <a:pt x="108" y="1792"/>
                    <a:pt x="108" y="1793"/>
                    <a:pt x="107" y="1793"/>
                  </a:cubicBezTo>
                  <a:cubicBezTo>
                    <a:pt x="107" y="1792"/>
                    <a:pt x="108" y="1792"/>
                    <a:pt x="108" y="1792"/>
                  </a:cubicBezTo>
                  <a:lnTo>
                    <a:pt x="107" y="1793"/>
                  </a:lnTo>
                  <a:close/>
                  <a:moveTo>
                    <a:pt x="113" y="1810"/>
                  </a:moveTo>
                  <a:cubicBezTo>
                    <a:pt x="113" y="1807"/>
                    <a:pt x="115" y="1807"/>
                    <a:pt x="121" y="1804"/>
                  </a:cubicBezTo>
                  <a:cubicBezTo>
                    <a:pt x="124" y="1810"/>
                    <a:pt x="121" y="1813"/>
                    <a:pt x="118" y="1813"/>
                  </a:cubicBezTo>
                  <a:cubicBezTo>
                    <a:pt x="124" y="1818"/>
                    <a:pt x="127" y="1824"/>
                    <a:pt x="124" y="1832"/>
                  </a:cubicBezTo>
                  <a:cubicBezTo>
                    <a:pt x="115" y="1832"/>
                    <a:pt x="118" y="1816"/>
                    <a:pt x="107" y="1818"/>
                  </a:cubicBezTo>
                  <a:cubicBezTo>
                    <a:pt x="110" y="1813"/>
                    <a:pt x="110" y="1810"/>
                    <a:pt x="113" y="1810"/>
                  </a:cubicBezTo>
                  <a:close/>
                  <a:moveTo>
                    <a:pt x="130" y="1754"/>
                  </a:moveTo>
                  <a:cubicBezTo>
                    <a:pt x="132" y="1770"/>
                    <a:pt x="101" y="1759"/>
                    <a:pt x="130" y="1754"/>
                  </a:cubicBezTo>
                  <a:close/>
                  <a:moveTo>
                    <a:pt x="138" y="1708"/>
                  </a:moveTo>
                  <a:cubicBezTo>
                    <a:pt x="130" y="1711"/>
                    <a:pt x="124" y="1691"/>
                    <a:pt x="130" y="1689"/>
                  </a:cubicBezTo>
                  <a:cubicBezTo>
                    <a:pt x="138" y="1691"/>
                    <a:pt x="138" y="1700"/>
                    <a:pt x="138" y="1708"/>
                  </a:cubicBezTo>
                  <a:close/>
                  <a:moveTo>
                    <a:pt x="132" y="1708"/>
                  </a:moveTo>
                  <a:cubicBezTo>
                    <a:pt x="132" y="1720"/>
                    <a:pt x="115" y="1708"/>
                    <a:pt x="132" y="1708"/>
                  </a:cubicBezTo>
                  <a:close/>
                  <a:moveTo>
                    <a:pt x="113" y="1677"/>
                  </a:moveTo>
                  <a:cubicBezTo>
                    <a:pt x="107" y="1680"/>
                    <a:pt x="115" y="1672"/>
                    <a:pt x="113" y="1677"/>
                  </a:cubicBezTo>
                  <a:close/>
                  <a:moveTo>
                    <a:pt x="101" y="1573"/>
                  </a:moveTo>
                  <a:cubicBezTo>
                    <a:pt x="104" y="1579"/>
                    <a:pt x="96" y="1581"/>
                    <a:pt x="93" y="1584"/>
                  </a:cubicBezTo>
                  <a:cubicBezTo>
                    <a:pt x="93" y="1579"/>
                    <a:pt x="96" y="1576"/>
                    <a:pt x="101" y="1573"/>
                  </a:cubicBezTo>
                  <a:close/>
                  <a:moveTo>
                    <a:pt x="104" y="1683"/>
                  </a:moveTo>
                  <a:cubicBezTo>
                    <a:pt x="127" y="1691"/>
                    <a:pt x="90" y="1691"/>
                    <a:pt x="104" y="1683"/>
                  </a:cubicBezTo>
                  <a:close/>
                  <a:moveTo>
                    <a:pt x="121" y="1835"/>
                  </a:moveTo>
                  <a:cubicBezTo>
                    <a:pt x="115" y="1844"/>
                    <a:pt x="107" y="1832"/>
                    <a:pt x="104" y="1827"/>
                  </a:cubicBezTo>
                  <a:cubicBezTo>
                    <a:pt x="113" y="1824"/>
                    <a:pt x="118" y="1830"/>
                    <a:pt x="121" y="1835"/>
                  </a:cubicBezTo>
                  <a:close/>
                  <a:moveTo>
                    <a:pt x="132" y="1875"/>
                  </a:moveTo>
                  <a:cubicBezTo>
                    <a:pt x="138" y="1889"/>
                    <a:pt x="110" y="1880"/>
                    <a:pt x="132" y="1875"/>
                  </a:cubicBezTo>
                  <a:close/>
                  <a:moveTo>
                    <a:pt x="138" y="1895"/>
                  </a:moveTo>
                  <a:cubicBezTo>
                    <a:pt x="144" y="1906"/>
                    <a:pt x="115" y="1900"/>
                    <a:pt x="138" y="1895"/>
                  </a:cubicBezTo>
                  <a:close/>
                  <a:moveTo>
                    <a:pt x="147" y="1914"/>
                  </a:moveTo>
                  <a:cubicBezTo>
                    <a:pt x="147" y="1920"/>
                    <a:pt x="141" y="1920"/>
                    <a:pt x="135" y="1920"/>
                  </a:cubicBezTo>
                  <a:cubicBezTo>
                    <a:pt x="132" y="1914"/>
                    <a:pt x="144" y="1914"/>
                    <a:pt x="147" y="1914"/>
                  </a:cubicBezTo>
                  <a:close/>
                  <a:moveTo>
                    <a:pt x="144" y="1900"/>
                  </a:moveTo>
                  <a:cubicBezTo>
                    <a:pt x="147" y="1900"/>
                    <a:pt x="141" y="1897"/>
                    <a:pt x="144" y="1900"/>
                  </a:cubicBezTo>
                  <a:close/>
                  <a:moveTo>
                    <a:pt x="155" y="1931"/>
                  </a:moveTo>
                  <a:cubicBezTo>
                    <a:pt x="152" y="1943"/>
                    <a:pt x="135" y="1931"/>
                    <a:pt x="155" y="1931"/>
                  </a:cubicBezTo>
                  <a:close/>
                  <a:moveTo>
                    <a:pt x="158" y="1954"/>
                  </a:moveTo>
                  <a:cubicBezTo>
                    <a:pt x="163" y="1968"/>
                    <a:pt x="135" y="1959"/>
                    <a:pt x="158" y="1954"/>
                  </a:cubicBezTo>
                  <a:close/>
                  <a:moveTo>
                    <a:pt x="149" y="1838"/>
                  </a:moveTo>
                  <a:cubicBezTo>
                    <a:pt x="149" y="1832"/>
                    <a:pt x="158" y="1841"/>
                    <a:pt x="149" y="1838"/>
                  </a:cubicBezTo>
                  <a:close/>
                  <a:moveTo>
                    <a:pt x="163" y="1768"/>
                  </a:moveTo>
                  <a:cubicBezTo>
                    <a:pt x="163" y="1762"/>
                    <a:pt x="172" y="1770"/>
                    <a:pt x="163" y="1768"/>
                  </a:cubicBezTo>
                  <a:close/>
                  <a:moveTo>
                    <a:pt x="158" y="1533"/>
                  </a:moveTo>
                  <a:cubicBezTo>
                    <a:pt x="161" y="1528"/>
                    <a:pt x="166" y="1542"/>
                    <a:pt x="158" y="1533"/>
                  </a:cubicBezTo>
                  <a:close/>
                  <a:moveTo>
                    <a:pt x="158" y="1422"/>
                  </a:moveTo>
                  <a:cubicBezTo>
                    <a:pt x="158" y="1424"/>
                    <a:pt x="152" y="1427"/>
                    <a:pt x="149" y="1427"/>
                  </a:cubicBezTo>
                  <a:cubicBezTo>
                    <a:pt x="152" y="1424"/>
                    <a:pt x="155" y="1422"/>
                    <a:pt x="158" y="1422"/>
                  </a:cubicBezTo>
                  <a:close/>
                  <a:moveTo>
                    <a:pt x="147" y="1289"/>
                  </a:moveTo>
                  <a:cubicBezTo>
                    <a:pt x="147" y="1292"/>
                    <a:pt x="141" y="1292"/>
                    <a:pt x="138" y="1292"/>
                  </a:cubicBezTo>
                  <a:cubicBezTo>
                    <a:pt x="138" y="1289"/>
                    <a:pt x="144" y="1286"/>
                    <a:pt x="147" y="1289"/>
                  </a:cubicBezTo>
                  <a:close/>
                  <a:moveTo>
                    <a:pt x="155" y="1351"/>
                  </a:moveTo>
                  <a:cubicBezTo>
                    <a:pt x="152" y="1357"/>
                    <a:pt x="144" y="1360"/>
                    <a:pt x="138" y="1360"/>
                  </a:cubicBezTo>
                  <a:cubicBezTo>
                    <a:pt x="138" y="1354"/>
                    <a:pt x="149" y="1354"/>
                    <a:pt x="155" y="1351"/>
                  </a:cubicBezTo>
                  <a:close/>
                  <a:moveTo>
                    <a:pt x="138" y="1669"/>
                  </a:moveTo>
                  <a:lnTo>
                    <a:pt x="127" y="1669"/>
                  </a:lnTo>
                  <a:lnTo>
                    <a:pt x="127" y="1658"/>
                  </a:lnTo>
                  <a:cubicBezTo>
                    <a:pt x="130" y="1658"/>
                    <a:pt x="135" y="1655"/>
                    <a:pt x="138" y="1655"/>
                  </a:cubicBezTo>
                  <a:lnTo>
                    <a:pt x="138" y="1669"/>
                  </a:lnTo>
                  <a:close/>
                  <a:moveTo>
                    <a:pt x="132" y="1460"/>
                  </a:moveTo>
                  <a:cubicBezTo>
                    <a:pt x="138" y="1457"/>
                    <a:pt x="130" y="1469"/>
                    <a:pt x="132" y="1460"/>
                  </a:cubicBezTo>
                  <a:close/>
                  <a:moveTo>
                    <a:pt x="135" y="1542"/>
                  </a:moveTo>
                  <a:cubicBezTo>
                    <a:pt x="144" y="1556"/>
                    <a:pt x="115" y="1548"/>
                    <a:pt x="135" y="1542"/>
                  </a:cubicBezTo>
                  <a:close/>
                  <a:moveTo>
                    <a:pt x="124" y="1450"/>
                  </a:moveTo>
                  <a:lnTo>
                    <a:pt x="130" y="1450"/>
                  </a:lnTo>
                  <a:lnTo>
                    <a:pt x="130" y="1456"/>
                  </a:lnTo>
                  <a:lnTo>
                    <a:pt x="124" y="1456"/>
                  </a:lnTo>
                  <a:lnTo>
                    <a:pt x="124" y="1450"/>
                  </a:lnTo>
                  <a:close/>
                  <a:moveTo>
                    <a:pt x="130" y="1573"/>
                  </a:moveTo>
                  <a:cubicBezTo>
                    <a:pt x="135" y="1581"/>
                    <a:pt x="127" y="1587"/>
                    <a:pt x="121" y="1590"/>
                  </a:cubicBezTo>
                  <a:cubicBezTo>
                    <a:pt x="118" y="1584"/>
                    <a:pt x="124" y="1576"/>
                    <a:pt x="130" y="1573"/>
                  </a:cubicBezTo>
                  <a:close/>
                  <a:moveTo>
                    <a:pt x="118" y="1514"/>
                  </a:moveTo>
                  <a:cubicBezTo>
                    <a:pt x="141" y="1522"/>
                    <a:pt x="90" y="1531"/>
                    <a:pt x="118" y="1514"/>
                  </a:cubicBezTo>
                  <a:close/>
                  <a:moveTo>
                    <a:pt x="115" y="1388"/>
                  </a:moveTo>
                  <a:cubicBezTo>
                    <a:pt x="118" y="1388"/>
                    <a:pt x="121" y="1391"/>
                    <a:pt x="124" y="1393"/>
                  </a:cubicBezTo>
                  <a:lnTo>
                    <a:pt x="118" y="1393"/>
                  </a:lnTo>
                  <a:cubicBezTo>
                    <a:pt x="115" y="1391"/>
                    <a:pt x="115" y="1388"/>
                    <a:pt x="115" y="1388"/>
                  </a:cubicBezTo>
                  <a:close/>
                  <a:moveTo>
                    <a:pt x="115" y="1357"/>
                  </a:moveTo>
                  <a:lnTo>
                    <a:pt x="113" y="1357"/>
                  </a:lnTo>
                  <a:cubicBezTo>
                    <a:pt x="113" y="1357"/>
                    <a:pt x="115" y="1354"/>
                    <a:pt x="115" y="1357"/>
                  </a:cubicBezTo>
                  <a:close/>
                  <a:moveTo>
                    <a:pt x="115" y="1309"/>
                  </a:moveTo>
                  <a:cubicBezTo>
                    <a:pt x="115" y="1312"/>
                    <a:pt x="110" y="1314"/>
                    <a:pt x="104" y="1314"/>
                  </a:cubicBezTo>
                  <a:cubicBezTo>
                    <a:pt x="107" y="1312"/>
                    <a:pt x="113" y="1309"/>
                    <a:pt x="115" y="1309"/>
                  </a:cubicBezTo>
                  <a:close/>
                  <a:moveTo>
                    <a:pt x="107" y="1427"/>
                  </a:moveTo>
                  <a:cubicBezTo>
                    <a:pt x="107" y="1433"/>
                    <a:pt x="96" y="1433"/>
                    <a:pt x="90" y="1433"/>
                  </a:cubicBezTo>
                  <a:cubicBezTo>
                    <a:pt x="87" y="1424"/>
                    <a:pt x="101" y="1422"/>
                    <a:pt x="107" y="1427"/>
                  </a:cubicBezTo>
                  <a:close/>
                  <a:moveTo>
                    <a:pt x="90" y="1444"/>
                  </a:moveTo>
                  <a:cubicBezTo>
                    <a:pt x="96" y="1456"/>
                    <a:pt x="79" y="1444"/>
                    <a:pt x="70" y="1455"/>
                  </a:cubicBezTo>
                  <a:cubicBezTo>
                    <a:pt x="68" y="1444"/>
                    <a:pt x="87" y="1447"/>
                    <a:pt x="90" y="1444"/>
                  </a:cubicBezTo>
                  <a:close/>
                  <a:moveTo>
                    <a:pt x="82" y="1385"/>
                  </a:moveTo>
                  <a:cubicBezTo>
                    <a:pt x="82" y="1405"/>
                    <a:pt x="59" y="1377"/>
                    <a:pt x="82" y="1385"/>
                  </a:cubicBezTo>
                  <a:close/>
                  <a:moveTo>
                    <a:pt x="76" y="1402"/>
                  </a:moveTo>
                  <a:cubicBezTo>
                    <a:pt x="79" y="1408"/>
                    <a:pt x="62" y="1413"/>
                    <a:pt x="65" y="1405"/>
                  </a:cubicBezTo>
                  <a:cubicBezTo>
                    <a:pt x="68" y="1405"/>
                    <a:pt x="70" y="1402"/>
                    <a:pt x="76" y="1402"/>
                  </a:cubicBezTo>
                  <a:close/>
                  <a:moveTo>
                    <a:pt x="59" y="1522"/>
                  </a:moveTo>
                  <a:cubicBezTo>
                    <a:pt x="65" y="1536"/>
                    <a:pt x="36" y="1528"/>
                    <a:pt x="59" y="1522"/>
                  </a:cubicBezTo>
                  <a:close/>
                  <a:moveTo>
                    <a:pt x="51" y="1483"/>
                  </a:moveTo>
                  <a:cubicBezTo>
                    <a:pt x="53" y="1474"/>
                    <a:pt x="53" y="1491"/>
                    <a:pt x="51" y="1483"/>
                  </a:cubicBezTo>
                  <a:close/>
                  <a:moveTo>
                    <a:pt x="56" y="1460"/>
                  </a:moveTo>
                  <a:cubicBezTo>
                    <a:pt x="56" y="1455"/>
                    <a:pt x="65" y="1463"/>
                    <a:pt x="56" y="1460"/>
                  </a:cubicBezTo>
                  <a:close/>
                  <a:moveTo>
                    <a:pt x="56" y="1419"/>
                  </a:moveTo>
                  <a:cubicBezTo>
                    <a:pt x="56" y="1413"/>
                    <a:pt x="65" y="1422"/>
                    <a:pt x="56" y="1419"/>
                  </a:cubicBezTo>
                  <a:close/>
                  <a:moveTo>
                    <a:pt x="45" y="1486"/>
                  </a:moveTo>
                  <a:cubicBezTo>
                    <a:pt x="48" y="1486"/>
                    <a:pt x="53" y="1488"/>
                    <a:pt x="53" y="1494"/>
                  </a:cubicBezTo>
                  <a:cubicBezTo>
                    <a:pt x="51" y="1491"/>
                    <a:pt x="42" y="1491"/>
                    <a:pt x="45" y="1486"/>
                  </a:cubicBezTo>
                  <a:close/>
                  <a:moveTo>
                    <a:pt x="53" y="1576"/>
                  </a:moveTo>
                  <a:cubicBezTo>
                    <a:pt x="51" y="1598"/>
                    <a:pt x="39" y="1565"/>
                    <a:pt x="53" y="1576"/>
                  </a:cubicBezTo>
                  <a:close/>
                  <a:moveTo>
                    <a:pt x="48" y="1556"/>
                  </a:moveTo>
                  <a:cubicBezTo>
                    <a:pt x="45" y="1556"/>
                    <a:pt x="48" y="1553"/>
                    <a:pt x="51" y="1553"/>
                  </a:cubicBezTo>
                  <a:cubicBezTo>
                    <a:pt x="53" y="1550"/>
                    <a:pt x="53" y="1550"/>
                    <a:pt x="56" y="1550"/>
                  </a:cubicBezTo>
                  <a:cubicBezTo>
                    <a:pt x="76" y="1556"/>
                    <a:pt x="45" y="1562"/>
                    <a:pt x="48" y="1556"/>
                  </a:cubicBezTo>
                  <a:close/>
                  <a:moveTo>
                    <a:pt x="62" y="1477"/>
                  </a:moveTo>
                  <a:cubicBezTo>
                    <a:pt x="62" y="1477"/>
                    <a:pt x="59" y="1477"/>
                    <a:pt x="62" y="1477"/>
                  </a:cubicBezTo>
                  <a:cubicBezTo>
                    <a:pt x="53" y="1474"/>
                    <a:pt x="65" y="1469"/>
                    <a:pt x="70" y="1471"/>
                  </a:cubicBezTo>
                  <a:cubicBezTo>
                    <a:pt x="70" y="1477"/>
                    <a:pt x="68" y="1477"/>
                    <a:pt x="62" y="1477"/>
                  </a:cubicBezTo>
                  <a:close/>
                  <a:moveTo>
                    <a:pt x="68" y="1424"/>
                  </a:moveTo>
                  <a:cubicBezTo>
                    <a:pt x="70" y="1424"/>
                    <a:pt x="62" y="1422"/>
                    <a:pt x="68" y="1424"/>
                  </a:cubicBezTo>
                  <a:close/>
                  <a:moveTo>
                    <a:pt x="56" y="1391"/>
                  </a:moveTo>
                  <a:cubicBezTo>
                    <a:pt x="56" y="1385"/>
                    <a:pt x="68" y="1396"/>
                    <a:pt x="56" y="1391"/>
                  </a:cubicBezTo>
                  <a:close/>
                  <a:moveTo>
                    <a:pt x="62" y="1377"/>
                  </a:moveTo>
                  <a:cubicBezTo>
                    <a:pt x="65" y="1385"/>
                    <a:pt x="45" y="1379"/>
                    <a:pt x="51" y="1382"/>
                  </a:cubicBezTo>
                  <a:lnTo>
                    <a:pt x="51" y="1385"/>
                  </a:lnTo>
                  <a:cubicBezTo>
                    <a:pt x="56" y="1399"/>
                    <a:pt x="31" y="1388"/>
                    <a:pt x="51" y="1382"/>
                  </a:cubicBezTo>
                  <a:lnTo>
                    <a:pt x="48" y="1382"/>
                  </a:lnTo>
                  <a:cubicBezTo>
                    <a:pt x="48" y="1377"/>
                    <a:pt x="56" y="1374"/>
                    <a:pt x="62" y="1377"/>
                  </a:cubicBezTo>
                  <a:close/>
                  <a:moveTo>
                    <a:pt x="45" y="1309"/>
                  </a:moveTo>
                  <a:cubicBezTo>
                    <a:pt x="39" y="1312"/>
                    <a:pt x="34" y="1295"/>
                    <a:pt x="28" y="1300"/>
                  </a:cubicBezTo>
                  <a:cubicBezTo>
                    <a:pt x="25" y="1283"/>
                    <a:pt x="53" y="1298"/>
                    <a:pt x="45" y="1309"/>
                  </a:cubicBezTo>
                  <a:close/>
                  <a:moveTo>
                    <a:pt x="31" y="1326"/>
                  </a:moveTo>
                  <a:cubicBezTo>
                    <a:pt x="31" y="1309"/>
                    <a:pt x="62" y="1317"/>
                    <a:pt x="31" y="1326"/>
                  </a:cubicBezTo>
                  <a:close/>
                  <a:moveTo>
                    <a:pt x="28" y="1343"/>
                  </a:moveTo>
                  <a:cubicBezTo>
                    <a:pt x="31" y="1326"/>
                    <a:pt x="59" y="1334"/>
                    <a:pt x="28" y="1343"/>
                  </a:cubicBezTo>
                  <a:close/>
                  <a:moveTo>
                    <a:pt x="25" y="1303"/>
                  </a:moveTo>
                  <a:cubicBezTo>
                    <a:pt x="28" y="1303"/>
                    <a:pt x="31" y="1306"/>
                    <a:pt x="31" y="1303"/>
                  </a:cubicBezTo>
                  <a:cubicBezTo>
                    <a:pt x="31" y="1306"/>
                    <a:pt x="28" y="1306"/>
                    <a:pt x="25" y="1306"/>
                  </a:cubicBezTo>
                  <a:cubicBezTo>
                    <a:pt x="28" y="1306"/>
                    <a:pt x="25" y="1303"/>
                    <a:pt x="25" y="1303"/>
                  </a:cubicBezTo>
                  <a:close/>
                  <a:moveTo>
                    <a:pt x="25" y="1314"/>
                  </a:moveTo>
                  <a:lnTo>
                    <a:pt x="34" y="1314"/>
                  </a:lnTo>
                  <a:cubicBezTo>
                    <a:pt x="34" y="1320"/>
                    <a:pt x="28" y="1320"/>
                    <a:pt x="25" y="1320"/>
                  </a:cubicBezTo>
                  <a:lnTo>
                    <a:pt x="25" y="1314"/>
                  </a:lnTo>
                  <a:close/>
                  <a:moveTo>
                    <a:pt x="42" y="1357"/>
                  </a:moveTo>
                  <a:cubicBezTo>
                    <a:pt x="42" y="1357"/>
                    <a:pt x="45" y="1360"/>
                    <a:pt x="45" y="1362"/>
                  </a:cubicBezTo>
                  <a:cubicBezTo>
                    <a:pt x="45" y="1360"/>
                    <a:pt x="51" y="1360"/>
                    <a:pt x="51" y="1357"/>
                  </a:cubicBezTo>
                  <a:cubicBezTo>
                    <a:pt x="56" y="1360"/>
                    <a:pt x="51" y="1365"/>
                    <a:pt x="51" y="1368"/>
                  </a:cubicBezTo>
                  <a:lnTo>
                    <a:pt x="48" y="1365"/>
                  </a:lnTo>
                  <a:lnTo>
                    <a:pt x="51" y="1371"/>
                  </a:lnTo>
                  <a:cubicBezTo>
                    <a:pt x="42" y="1374"/>
                    <a:pt x="34" y="1379"/>
                    <a:pt x="25" y="1382"/>
                  </a:cubicBezTo>
                  <a:cubicBezTo>
                    <a:pt x="11" y="1371"/>
                    <a:pt x="34" y="1365"/>
                    <a:pt x="42" y="1357"/>
                  </a:cubicBezTo>
                  <a:close/>
                  <a:moveTo>
                    <a:pt x="31" y="1408"/>
                  </a:moveTo>
                  <a:cubicBezTo>
                    <a:pt x="51" y="1410"/>
                    <a:pt x="22" y="1439"/>
                    <a:pt x="31" y="1408"/>
                  </a:cubicBezTo>
                  <a:close/>
                  <a:moveTo>
                    <a:pt x="22" y="1416"/>
                  </a:moveTo>
                  <a:cubicBezTo>
                    <a:pt x="14" y="1433"/>
                    <a:pt x="25" y="1393"/>
                    <a:pt x="22" y="1416"/>
                  </a:cubicBezTo>
                  <a:close/>
                  <a:moveTo>
                    <a:pt x="17" y="1519"/>
                  </a:moveTo>
                  <a:cubicBezTo>
                    <a:pt x="17" y="1519"/>
                    <a:pt x="17" y="1522"/>
                    <a:pt x="20" y="1522"/>
                  </a:cubicBezTo>
                  <a:lnTo>
                    <a:pt x="22" y="1522"/>
                  </a:lnTo>
                  <a:cubicBezTo>
                    <a:pt x="28" y="1528"/>
                    <a:pt x="25" y="1525"/>
                    <a:pt x="22" y="1522"/>
                  </a:cubicBezTo>
                  <a:cubicBezTo>
                    <a:pt x="22" y="1533"/>
                    <a:pt x="0" y="1525"/>
                    <a:pt x="17" y="1519"/>
                  </a:cubicBezTo>
                  <a:close/>
                  <a:moveTo>
                    <a:pt x="31" y="1469"/>
                  </a:moveTo>
                  <a:cubicBezTo>
                    <a:pt x="25" y="1474"/>
                    <a:pt x="25" y="1460"/>
                    <a:pt x="31" y="1469"/>
                  </a:cubicBezTo>
                  <a:close/>
                  <a:moveTo>
                    <a:pt x="22" y="1441"/>
                  </a:moveTo>
                  <a:cubicBezTo>
                    <a:pt x="28" y="1439"/>
                    <a:pt x="34" y="1436"/>
                    <a:pt x="36" y="1433"/>
                  </a:cubicBezTo>
                  <a:cubicBezTo>
                    <a:pt x="39" y="1436"/>
                    <a:pt x="39" y="1441"/>
                    <a:pt x="42" y="1444"/>
                  </a:cubicBezTo>
                  <a:cubicBezTo>
                    <a:pt x="34" y="1450"/>
                    <a:pt x="25" y="1450"/>
                    <a:pt x="22" y="1441"/>
                  </a:cubicBezTo>
                  <a:close/>
                  <a:moveTo>
                    <a:pt x="36" y="1600"/>
                  </a:moveTo>
                  <a:cubicBezTo>
                    <a:pt x="35" y="1600"/>
                    <a:pt x="33" y="1598"/>
                    <a:pt x="36" y="1598"/>
                  </a:cubicBezTo>
                  <a:cubicBezTo>
                    <a:pt x="37" y="1599"/>
                    <a:pt x="37" y="1600"/>
                    <a:pt x="36" y="1600"/>
                  </a:cubicBezTo>
                  <a:close/>
                  <a:moveTo>
                    <a:pt x="36" y="1463"/>
                  </a:moveTo>
                  <a:cubicBezTo>
                    <a:pt x="42" y="1453"/>
                    <a:pt x="51" y="1460"/>
                    <a:pt x="59" y="1463"/>
                  </a:cubicBezTo>
                  <a:cubicBezTo>
                    <a:pt x="53" y="1474"/>
                    <a:pt x="42" y="1463"/>
                    <a:pt x="36" y="1463"/>
                  </a:cubicBezTo>
                  <a:close/>
                  <a:moveTo>
                    <a:pt x="65" y="1601"/>
                  </a:moveTo>
                  <a:cubicBezTo>
                    <a:pt x="65" y="1610"/>
                    <a:pt x="56" y="1618"/>
                    <a:pt x="59" y="1629"/>
                  </a:cubicBezTo>
                  <a:cubicBezTo>
                    <a:pt x="36" y="1624"/>
                    <a:pt x="39" y="1601"/>
                    <a:pt x="65" y="1601"/>
                  </a:cubicBezTo>
                  <a:close/>
                  <a:moveTo>
                    <a:pt x="65" y="1643"/>
                  </a:moveTo>
                  <a:cubicBezTo>
                    <a:pt x="62" y="1646"/>
                    <a:pt x="68" y="1638"/>
                    <a:pt x="65" y="1643"/>
                  </a:cubicBezTo>
                  <a:close/>
                  <a:moveTo>
                    <a:pt x="53" y="1703"/>
                  </a:moveTo>
                  <a:cubicBezTo>
                    <a:pt x="53" y="1714"/>
                    <a:pt x="48" y="1724"/>
                    <a:pt x="38" y="1730"/>
                  </a:cubicBezTo>
                  <a:lnTo>
                    <a:pt x="39" y="1731"/>
                  </a:lnTo>
                  <a:cubicBezTo>
                    <a:pt x="52" y="1747"/>
                    <a:pt x="24" y="1726"/>
                    <a:pt x="36" y="1730"/>
                  </a:cubicBezTo>
                  <a:cubicBezTo>
                    <a:pt x="29" y="1716"/>
                    <a:pt x="48" y="1711"/>
                    <a:pt x="53" y="1703"/>
                  </a:cubicBezTo>
                  <a:close/>
                  <a:moveTo>
                    <a:pt x="36" y="1775"/>
                  </a:moveTo>
                  <a:cubicBezTo>
                    <a:pt x="38" y="1775"/>
                    <a:pt x="40" y="1776"/>
                    <a:pt x="36" y="1776"/>
                  </a:cubicBezTo>
                  <a:cubicBezTo>
                    <a:pt x="36" y="1775"/>
                    <a:pt x="36" y="1775"/>
                    <a:pt x="36" y="1775"/>
                  </a:cubicBezTo>
                  <a:close/>
                  <a:moveTo>
                    <a:pt x="42" y="1770"/>
                  </a:moveTo>
                  <a:cubicBezTo>
                    <a:pt x="39" y="1768"/>
                    <a:pt x="39" y="1771"/>
                    <a:pt x="36" y="1768"/>
                  </a:cubicBezTo>
                  <a:cubicBezTo>
                    <a:pt x="33" y="1766"/>
                    <a:pt x="36" y="1762"/>
                    <a:pt x="34" y="1759"/>
                  </a:cubicBezTo>
                  <a:cubicBezTo>
                    <a:pt x="53" y="1742"/>
                    <a:pt x="53" y="1773"/>
                    <a:pt x="42" y="1770"/>
                  </a:cubicBezTo>
                  <a:close/>
                  <a:moveTo>
                    <a:pt x="48" y="1742"/>
                  </a:moveTo>
                  <a:cubicBezTo>
                    <a:pt x="51" y="1737"/>
                    <a:pt x="59" y="1748"/>
                    <a:pt x="56" y="1751"/>
                  </a:cubicBezTo>
                  <a:cubicBezTo>
                    <a:pt x="51" y="1751"/>
                    <a:pt x="56" y="1739"/>
                    <a:pt x="48" y="1742"/>
                  </a:cubicBezTo>
                  <a:close/>
                  <a:moveTo>
                    <a:pt x="53" y="1754"/>
                  </a:moveTo>
                  <a:cubicBezTo>
                    <a:pt x="70" y="1754"/>
                    <a:pt x="53" y="1776"/>
                    <a:pt x="53" y="1754"/>
                  </a:cubicBezTo>
                  <a:close/>
                  <a:moveTo>
                    <a:pt x="56" y="1737"/>
                  </a:moveTo>
                  <a:cubicBezTo>
                    <a:pt x="56" y="1734"/>
                    <a:pt x="62" y="1731"/>
                    <a:pt x="65" y="1731"/>
                  </a:cubicBezTo>
                  <a:cubicBezTo>
                    <a:pt x="65" y="1734"/>
                    <a:pt x="59" y="1737"/>
                    <a:pt x="56" y="1737"/>
                  </a:cubicBezTo>
                  <a:close/>
                  <a:moveTo>
                    <a:pt x="68" y="1689"/>
                  </a:moveTo>
                  <a:cubicBezTo>
                    <a:pt x="76" y="1703"/>
                    <a:pt x="48" y="1694"/>
                    <a:pt x="68" y="1689"/>
                  </a:cubicBezTo>
                  <a:close/>
                  <a:moveTo>
                    <a:pt x="68" y="1553"/>
                  </a:moveTo>
                  <a:cubicBezTo>
                    <a:pt x="70" y="1553"/>
                    <a:pt x="73" y="1556"/>
                    <a:pt x="76" y="1559"/>
                  </a:cubicBezTo>
                  <a:lnTo>
                    <a:pt x="70" y="1559"/>
                  </a:lnTo>
                  <a:cubicBezTo>
                    <a:pt x="68" y="1559"/>
                    <a:pt x="68" y="1556"/>
                    <a:pt x="68" y="1553"/>
                  </a:cubicBezTo>
                  <a:close/>
                  <a:moveTo>
                    <a:pt x="70" y="1649"/>
                  </a:moveTo>
                  <a:cubicBezTo>
                    <a:pt x="68" y="1655"/>
                    <a:pt x="73" y="1646"/>
                    <a:pt x="70" y="1649"/>
                  </a:cubicBezTo>
                  <a:close/>
                  <a:moveTo>
                    <a:pt x="70" y="1652"/>
                  </a:moveTo>
                  <a:cubicBezTo>
                    <a:pt x="93" y="1660"/>
                    <a:pt x="62" y="1689"/>
                    <a:pt x="70" y="1652"/>
                  </a:cubicBezTo>
                  <a:close/>
                  <a:moveTo>
                    <a:pt x="79" y="1928"/>
                  </a:moveTo>
                  <a:cubicBezTo>
                    <a:pt x="84" y="1926"/>
                    <a:pt x="93" y="1928"/>
                    <a:pt x="99" y="1934"/>
                  </a:cubicBezTo>
                  <a:cubicBezTo>
                    <a:pt x="100" y="1935"/>
                    <a:pt x="100" y="1937"/>
                    <a:pt x="101" y="1938"/>
                  </a:cubicBezTo>
                  <a:cubicBezTo>
                    <a:pt x="102" y="1937"/>
                    <a:pt x="103" y="1935"/>
                    <a:pt x="104" y="1934"/>
                  </a:cubicBezTo>
                  <a:cubicBezTo>
                    <a:pt x="126" y="1951"/>
                    <a:pt x="93" y="1956"/>
                    <a:pt x="99" y="1942"/>
                  </a:cubicBezTo>
                  <a:cubicBezTo>
                    <a:pt x="89" y="1939"/>
                    <a:pt x="81" y="1936"/>
                    <a:pt x="79" y="1928"/>
                  </a:cubicBezTo>
                  <a:close/>
                  <a:moveTo>
                    <a:pt x="124" y="2027"/>
                  </a:moveTo>
                  <a:cubicBezTo>
                    <a:pt x="130" y="2041"/>
                    <a:pt x="101" y="2033"/>
                    <a:pt x="124" y="2027"/>
                  </a:cubicBezTo>
                  <a:close/>
                  <a:moveTo>
                    <a:pt x="118" y="1988"/>
                  </a:moveTo>
                  <a:cubicBezTo>
                    <a:pt x="118" y="1988"/>
                    <a:pt x="115" y="1988"/>
                    <a:pt x="118" y="1988"/>
                  </a:cubicBezTo>
                  <a:cubicBezTo>
                    <a:pt x="113" y="1982"/>
                    <a:pt x="101" y="1990"/>
                    <a:pt x="101" y="1979"/>
                  </a:cubicBezTo>
                  <a:cubicBezTo>
                    <a:pt x="110" y="1976"/>
                    <a:pt x="113" y="1976"/>
                    <a:pt x="115" y="1982"/>
                  </a:cubicBezTo>
                  <a:cubicBezTo>
                    <a:pt x="118" y="1971"/>
                    <a:pt x="144" y="1965"/>
                    <a:pt x="147" y="1982"/>
                  </a:cubicBezTo>
                  <a:cubicBezTo>
                    <a:pt x="145" y="1983"/>
                    <a:pt x="143" y="1984"/>
                    <a:pt x="141" y="1985"/>
                  </a:cubicBezTo>
                  <a:cubicBezTo>
                    <a:pt x="160" y="1991"/>
                    <a:pt x="127" y="2001"/>
                    <a:pt x="141" y="1985"/>
                  </a:cubicBezTo>
                  <a:cubicBezTo>
                    <a:pt x="133" y="1988"/>
                    <a:pt x="127" y="1983"/>
                    <a:pt x="118" y="1988"/>
                  </a:cubicBezTo>
                  <a:close/>
                  <a:moveTo>
                    <a:pt x="130" y="2013"/>
                  </a:moveTo>
                  <a:cubicBezTo>
                    <a:pt x="127" y="2010"/>
                    <a:pt x="130" y="2010"/>
                    <a:pt x="130" y="2013"/>
                  </a:cubicBezTo>
                  <a:close/>
                  <a:moveTo>
                    <a:pt x="132" y="2019"/>
                  </a:moveTo>
                  <a:lnTo>
                    <a:pt x="138" y="2019"/>
                  </a:lnTo>
                  <a:cubicBezTo>
                    <a:pt x="138" y="2016"/>
                    <a:pt x="138" y="2016"/>
                    <a:pt x="132" y="2019"/>
                  </a:cubicBezTo>
                  <a:lnTo>
                    <a:pt x="132" y="2010"/>
                  </a:lnTo>
                  <a:cubicBezTo>
                    <a:pt x="132" y="2010"/>
                    <a:pt x="135" y="2013"/>
                    <a:pt x="135" y="2016"/>
                  </a:cubicBezTo>
                  <a:lnTo>
                    <a:pt x="141" y="2016"/>
                  </a:lnTo>
                  <a:lnTo>
                    <a:pt x="141" y="2019"/>
                  </a:lnTo>
                  <a:cubicBezTo>
                    <a:pt x="141" y="2013"/>
                    <a:pt x="155" y="2010"/>
                    <a:pt x="152" y="2005"/>
                  </a:cubicBezTo>
                  <a:cubicBezTo>
                    <a:pt x="163" y="2002"/>
                    <a:pt x="155" y="2013"/>
                    <a:pt x="147" y="2019"/>
                  </a:cubicBezTo>
                  <a:cubicBezTo>
                    <a:pt x="149" y="2019"/>
                    <a:pt x="155" y="2021"/>
                    <a:pt x="155" y="2027"/>
                  </a:cubicBezTo>
                  <a:cubicBezTo>
                    <a:pt x="138" y="2027"/>
                    <a:pt x="141" y="2038"/>
                    <a:pt x="127" y="2041"/>
                  </a:cubicBezTo>
                  <a:cubicBezTo>
                    <a:pt x="127" y="2030"/>
                    <a:pt x="138" y="2027"/>
                    <a:pt x="132" y="2019"/>
                  </a:cubicBezTo>
                  <a:close/>
                  <a:moveTo>
                    <a:pt x="138" y="2055"/>
                  </a:moveTo>
                  <a:cubicBezTo>
                    <a:pt x="130" y="2075"/>
                    <a:pt x="141" y="2036"/>
                    <a:pt x="138" y="2055"/>
                  </a:cubicBezTo>
                  <a:close/>
                  <a:moveTo>
                    <a:pt x="147" y="2086"/>
                  </a:moveTo>
                  <a:cubicBezTo>
                    <a:pt x="141" y="2092"/>
                    <a:pt x="130" y="2087"/>
                    <a:pt x="140" y="2081"/>
                  </a:cubicBezTo>
                  <a:cubicBezTo>
                    <a:pt x="132" y="2084"/>
                    <a:pt x="130" y="2061"/>
                    <a:pt x="141" y="2064"/>
                  </a:cubicBezTo>
                  <a:cubicBezTo>
                    <a:pt x="144" y="2064"/>
                    <a:pt x="144" y="2069"/>
                    <a:pt x="144" y="2072"/>
                  </a:cubicBezTo>
                  <a:cubicBezTo>
                    <a:pt x="147" y="2069"/>
                    <a:pt x="149" y="2064"/>
                    <a:pt x="152" y="2064"/>
                  </a:cubicBezTo>
                  <a:cubicBezTo>
                    <a:pt x="161" y="2064"/>
                    <a:pt x="155" y="2084"/>
                    <a:pt x="147" y="2086"/>
                  </a:cubicBezTo>
                  <a:close/>
                  <a:moveTo>
                    <a:pt x="161" y="2115"/>
                  </a:moveTo>
                  <a:cubicBezTo>
                    <a:pt x="152" y="2126"/>
                    <a:pt x="166" y="2100"/>
                    <a:pt x="161" y="2115"/>
                  </a:cubicBezTo>
                  <a:close/>
                  <a:moveTo>
                    <a:pt x="161" y="1897"/>
                  </a:moveTo>
                  <a:cubicBezTo>
                    <a:pt x="175" y="1903"/>
                    <a:pt x="158" y="1926"/>
                    <a:pt x="161" y="1897"/>
                  </a:cubicBezTo>
                  <a:close/>
                  <a:moveTo>
                    <a:pt x="163" y="1979"/>
                  </a:moveTo>
                  <a:cubicBezTo>
                    <a:pt x="186" y="1988"/>
                    <a:pt x="155" y="2016"/>
                    <a:pt x="163" y="1979"/>
                  </a:cubicBezTo>
                  <a:close/>
                  <a:moveTo>
                    <a:pt x="163" y="2078"/>
                  </a:moveTo>
                  <a:lnTo>
                    <a:pt x="163" y="2077"/>
                  </a:lnTo>
                  <a:cubicBezTo>
                    <a:pt x="164" y="2077"/>
                    <a:pt x="165" y="2078"/>
                    <a:pt x="163" y="2078"/>
                  </a:cubicBezTo>
                  <a:cubicBezTo>
                    <a:pt x="162" y="2076"/>
                    <a:pt x="163" y="2076"/>
                    <a:pt x="163" y="2077"/>
                  </a:cubicBezTo>
                  <a:lnTo>
                    <a:pt x="163" y="2078"/>
                  </a:lnTo>
                  <a:close/>
                  <a:moveTo>
                    <a:pt x="172" y="2092"/>
                  </a:moveTo>
                  <a:cubicBezTo>
                    <a:pt x="172" y="2089"/>
                    <a:pt x="169" y="2095"/>
                    <a:pt x="172" y="2092"/>
                  </a:cubicBezTo>
                  <a:close/>
                  <a:moveTo>
                    <a:pt x="175" y="2137"/>
                  </a:moveTo>
                  <a:cubicBezTo>
                    <a:pt x="175" y="2134"/>
                    <a:pt x="175" y="2131"/>
                    <a:pt x="178" y="2131"/>
                  </a:cubicBezTo>
                  <a:cubicBezTo>
                    <a:pt x="175" y="2131"/>
                    <a:pt x="175" y="2126"/>
                    <a:pt x="183" y="2123"/>
                  </a:cubicBezTo>
                  <a:cubicBezTo>
                    <a:pt x="186" y="2129"/>
                    <a:pt x="186" y="2129"/>
                    <a:pt x="183" y="2129"/>
                  </a:cubicBezTo>
                  <a:cubicBezTo>
                    <a:pt x="186" y="2129"/>
                    <a:pt x="186" y="2131"/>
                    <a:pt x="189" y="2131"/>
                  </a:cubicBezTo>
                  <a:cubicBezTo>
                    <a:pt x="186" y="2137"/>
                    <a:pt x="180" y="2137"/>
                    <a:pt x="175" y="2137"/>
                  </a:cubicBezTo>
                  <a:close/>
                  <a:moveTo>
                    <a:pt x="183" y="2100"/>
                  </a:moveTo>
                  <a:cubicBezTo>
                    <a:pt x="183" y="2098"/>
                    <a:pt x="180" y="2103"/>
                    <a:pt x="183" y="2100"/>
                  </a:cubicBezTo>
                  <a:close/>
                  <a:moveTo>
                    <a:pt x="192" y="2098"/>
                  </a:moveTo>
                  <a:cubicBezTo>
                    <a:pt x="194" y="2098"/>
                    <a:pt x="186" y="2095"/>
                    <a:pt x="192" y="2098"/>
                  </a:cubicBezTo>
                  <a:close/>
                  <a:moveTo>
                    <a:pt x="194" y="2100"/>
                  </a:moveTo>
                  <a:cubicBezTo>
                    <a:pt x="193" y="2102"/>
                    <a:pt x="193" y="2101"/>
                    <a:pt x="194" y="2100"/>
                  </a:cubicBezTo>
                  <a:lnTo>
                    <a:pt x="194" y="2100"/>
                  </a:lnTo>
                  <a:cubicBezTo>
                    <a:pt x="197" y="2101"/>
                    <a:pt x="189" y="2107"/>
                    <a:pt x="192" y="2100"/>
                  </a:cubicBezTo>
                  <a:cubicBezTo>
                    <a:pt x="193" y="2100"/>
                    <a:pt x="193" y="2100"/>
                    <a:pt x="194" y="2100"/>
                  </a:cubicBezTo>
                  <a:close/>
                  <a:moveTo>
                    <a:pt x="220" y="2191"/>
                  </a:moveTo>
                  <a:lnTo>
                    <a:pt x="220" y="2196"/>
                  </a:lnTo>
                  <a:cubicBezTo>
                    <a:pt x="214" y="2188"/>
                    <a:pt x="209" y="2179"/>
                    <a:pt x="203" y="2174"/>
                  </a:cubicBezTo>
                  <a:lnTo>
                    <a:pt x="203" y="2177"/>
                  </a:lnTo>
                  <a:cubicBezTo>
                    <a:pt x="197" y="2171"/>
                    <a:pt x="194" y="2165"/>
                    <a:pt x="197" y="2157"/>
                  </a:cubicBezTo>
                  <a:lnTo>
                    <a:pt x="194" y="2154"/>
                  </a:lnTo>
                  <a:cubicBezTo>
                    <a:pt x="197" y="2148"/>
                    <a:pt x="206" y="2148"/>
                    <a:pt x="206" y="2160"/>
                  </a:cubicBezTo>
                  <a:cubicBezTo>
                    <a:pt x="211" y="2163"/>
                    <a:pt x="211" y="2171"/>
                    <a:pt x="214" y="2177"/>
                  </a:cubicBezTo>
                  <a:cubicBezTo>
                    <a:pt x="211" y="2165"/>
                    <a:pt x="226" y="2154"/>
                    <a:pt x="220" y="2182"/>
                  </a:cubicBezTo>
                  <a:cubicBezTo>
                    <a:pt x="226" y="2188"/>
                    <a:pt x="226" y="2191"/>
                    <a:pt x="220" y="2191"/>
                  </a:cubicBezTo>
                  <a:close/>
                  <a:moveTo>
                    <a:pt x="220" y="2154"/>
                  </a:moveTo>
                  <a:cubicBezTo>
                    <a:pt x="237" y="2151"/>
                    <a:pt x="217" y="2177"/>
                    <a:pt x="220" y="2154"/>
                  </a:cubicBezTo>
                  <a:close/>
                  <a:moveTo>
                    <a:pt x="234" y="2219"/>
                  </a:moveTo>
                  <a:cubicBezTo>
                    <a:pt x="231" y="2227"/>
                    <a:pt x="234" y="2213"/>
                    <a:pt x="234" y="2213"/>
                  </a:cubicBezTo>
                  <a:lnTo>
                    <a:pt x="234" y="2219"/>
                  </a:lnTo>
                  <a:close/>
                  <a:moveTo>
                    <a:pt x="240" y="2143"/>
                  </a:moveTo>
                  <a:cubicBezTo>
                    <a:pt x="228" y="2160"/>
                    <a:pt x="240" y="2120"/>
                    <a:pt x="240" y="2143"/>
                  </a:cubicBezTo>
                  <a:close/>
                  <a:moveTo>
                    <a:pt x="234" y="2117"/>
                  </a:moveTo>
                  <a:cubicBezTo>
                    <a:pt x="237" y="2109"/>
                    <a:pt x="240" y="2100"/>
                    <a:pt x="245" y="2092"/>
                  </a:cubicBezTo>
                  <a:cubicBezTo>
                    <a:pt x="251" y="2098"/>
                    <a:pt x="254" y="2106"/>
                    <a:pt x="248" y="2115"/>
                  </a:cubicBezTo>
                  <a:cubicBezTo>
                    <a:pt x="248" y="2117"/>
                    <a:pt x="245" y="2117"/>
                    <a:pt x="242" y="2120"/>
                  </a:cubicBezTo>
                  <a:cubicBezTo>
                    <a:pt x="248" y="2123"/>
                    <a:pt x="231" y="2137"/>
                    <a:pt x="234" y="2117"/>
                  </a:cubicBezTo>
                  <a:close/>
                  <a:moveTo>
                    <a:pt x="240" y="2208"/>
                  </a:moveTo>
                  <a:lnTo>
                    <a:pt x="240" y="2207"/>
                  </a:lnTo>
                  <a:cubicBezTo>
                    <a:pt x="240" y="2207"/>
                    <a:pt x="241" y="2208"/>
                    <a:pt x="240" y="2208"/>
                  </a:cubicBezTo>
                  <a:cubicBezTo>
                    <a:pt x="238" y="2206"/>
                    <a:pt x="239" y="2206"/>
                    <a:pt x="240" y="2207"/>
                  </a:cubicBezTo>
                  <a:lnTo>
                    <a:pt x="240" y="2208"/>
                  </a:lnTo>
                  <a:close/>
                  <a:moveTo>
                    <a:pt x="245" y="2137"/>
                  </a:moveTo>
                  <a:cubicBezTo>
                    <a:pt x="231" y="2137"/>
                    <a:pt x="242" y="2117"/>
                    <a:pt x="245" y="2137"/>
                  </a:cubicBezTo>
                  <a:close/>
                  <a:moveTo>
                    <a:pt x="240" y="2196"/>
                  </a:moveTo>
                  <a:lnTo>
                    <a:pt x="240" y="2188"/>
                  </a:lnTo>
                  <a:cubicBezTo>
                    <a:pt x="245" y="2188"/>
                    <a:pt x="248" y="2191"/>
                    <a:pt x="248" y="2194"/>
                  </a:cubicBezTo>
                  <a:cubicBezTo>
                    <a:pt x="248" y="2194"/>
                    <a:pt x="242" y="2196"/>
                    <a:pt x="240" y="2196"/>
                  </a:cubicBezTo>
                  <a:close/>
                  <a:moveTo>
                    <a:pt x="257" y="2115"/>
                  </a:moveTo>
                  <a:cubicBezTo>
                    <a:pt x="265" y="2129"/>
                    <a:pt x="237" y="2120"/>
                    <a:pt x="257" y="2115"/>
                  </a:cubicBezTo>
                  <a:close/>
                  <a:moveTo>
                    <a:pt x="254" y="2086"/>
                  </a:moveTo>
                  <a:cubicBezTo>
                    <a:pt x="257" y="2086"/>
                    <a:pt x="259" y="2086"/>
                    <a:pt x="262" y="2084"/>
                  </a:cubicBezTo>
                  <a:cubicBezTo>
                    <a:pt x="262" y="2086"/>
                    <a:pt x="262" y="2089"/>
                    <a:pt x="265" y="2092"/>
                  </a:cubicBezTo>
                  <a:cubicBezTo>
                    <a:pt x="262" y="2092"/>
                    <a:pt x="259" y="2095"/>
                    <a:pt x="257" y="2095"/>
                  </a:cubicBezTo>
                  <a:cubicBezTo>
                    <a:pt x="257" y="2095"/>
                    <a:pt x="254" y="2089"/>
                    <a:pt x="254" y="2086"/>
                  </a:cubicBezTo>
                  <a:close/>
                  <a:moveTo>
                    <a:pt x="259" y="2112"/>
                  </a:moveTo>
                  <a:cubicBezTo>
                    <a:pt x="262" y="2112"/>
                    <a:pt x="265" y="2112"/>
                    <a:pt x="268" y="2109"/>
                  </a:cubicBezTo>
                  <a:cubicBezTo>
                    <a:pt x="268" y="2112"/>
                    <a:pt x="268" y="2115"/>
                    <a:pt x="271" y="2117"/>
                  </a:cubicBezTo>
                  <a:cubicBezTo>
                    <a:pt x="268" y="2117"/>
                    <a:pt x="265" y="2120"/>
                    <a:pt x="262" y="2120"/>
                  </a:cubicBezTo>
                  <a:cubicBezTo>
                    <a:pt x="262" y="2120"/>
                    <a:pt x="262" y="2115"/>
                    <a:pt x="259" y="2112"/>
                  </a:cubicBezTo>
                  <a:close/>
                  <a:moveTo>
                    <a:pt x="276" y="2256"/>
                  </a:moveTo>
                  <a:cubicBezTo>
                    <a:pt x="282" y="2270"/>
                    <a:pt x="254" y="2261"/>
                    <a:pt x="276" y="2256"/>
                  </a:cubicBezTo>
                  <a:close/>
                  <a:moveTo>
                    <a:pt x="273" y="2230"/>
                  </a:moveTo>
                  <a:cubicBezTo>
                    <a:pt x="276" y="2230"/>
                    <a:pt x="271" y="2227"/>
                    <a:pt x="273" y="2230"/>
                  </a:cubicBezTo>
                  <a:close/>
                  <a:moveTo>
                    <a:pt x="288" y="2301"/>
                  </a:moveTo>
                  <a:cubicBezTo>
                    <a:pt x="290" y="2304"/>
                    <a:pt x="285" y="2301"/>
                    <a:pt x="288" y="2301"/>
                  </a:cubicBezTo>
                  <a:close/>
                  <a:moveTo>
                    <a:pt x="285" y="2292"/>
                  </a:moveTo>
                  <a:cubicBezTo>
                    <a:pt x="282" y="2287"/>
                    <a:pt x="279" y="2284"/>
                    <a:pt x="282" y="2278"/>
                  </a:cubicBezTo>
                  <a:cubicBezTo>
                    <a:pt x="288" y="2278"/>
                    <a:pt x="290" y="2284"/>
                    <a:pt x="296" y="2284"/>
                  </a:cubicBezTo>
                  <a:cubicBezTo>
                    <a:pt x="293" y="2287"/>
                    <a:pt x="290" y="2292"/>
                    <a:pt x="285" y="2292"/>
                  </a:cubicBezTo>
                  <a:close/>
                  <a:moveTo>
                    <a:pt x="279" y="2210"/>
                  </a:moveTo>
                  <a:cubicBezTo>
                    <a:pt x="279" y="2202"/>
                    <a:pt x="288" y="2213"/>
                    <a:pt x="279" y="2210"/>
                  </a:cubicBezTo>
                  <a:close/>
                  <a:moveTo>
                    <a:pt x="282" y="2225"/>
                  </a:moveTo>
                  <a:cubicBezTo>
                    <a:pt x="282" y="2219"/>
                    <a:pt x="290" y="2222"/>
                    <a:pt x="293" y="2216"/>
                  </a:cubicBezTo>
                  <a:cubicBezTo>
                    <a:pt x="299" y="2219"/>
                    <a:pt x="290" y="2227"/>
                    <a:pt x="282" y="2225"/>
                  </a:cubicBezTo>
                  <a:close/>
                  <a:moveTo>
                    <a:pt x="288" y="2270"/>
                  </a:moveTo>
                  <a:cubicBezTo>
                    <a:pt x="302" y="2267"/>
                    <a:pt x="285" y="2292"/>
                    <a:pt x="288" y="2270"/>
                  </a:cubicBezTo>
                  <a:close/>
                  <a:moveTo>
                    <a:pt x="293" y="2306"/>
                  </a:moveTo>
                  <a:cubicBezTo>
                    <a:pt x="307" y="2306"/>
                    <a:pt x="291" y="2328"/>
                    <a:pt x="293" y="2307"/>
                  </a:cubicBezTo>
                  <a:cubicBezTo>
                    <a:pt x="293" y="2307"/>
                    <a:pt x="293" y="2307"/>
                    <a:pt x="293" y="2306"/>
                  </a:cubicBezTo>
                  <a:close/>
                  <a:moveTo>
                    <a:pt x="293" y="2306"/>
                  </a:moveTo>
                  <a:cubicBezTo>
                    <a:pt x="291" y="2309"/>
                    <a:pt x="293" y="2309"/>
                    <a:pt x="293" y="2307"/>
                  </a:cubicBezTo>
                  <a:cubicBezTo>
                    <a:pt x="293" y="2307"/>
                    <a:pt x="293" y="2307"/>
                    <a:pt x="293" y="2306"/>
                  </a:cubicBezTo>
                  <a:close/>
                  <a:moveTo>
                    <a:pt x="301" y="2239"/>
                  </a:moveTo>
                  <a:cubicBezTo>
                    <a:pt x="300" y="2239"/>
                    <a:pt x="300" y="2239"/>
                    <a:pt x="299" y="2239"/>
                  </a:cubicBezTo>
                  <a:cubicBezTo>
                    <a:pt x="299" y="2238"/>
                    <a:pt x="299" y="2238"/>
                    <a:pt x="300" y="2238"/>
                  </a:cubicBezTo>
                  <a:cubicBezTo>
                    <a:pt x="299" y="2237"/>
                    <a:pt x="299" y="2237"/>
                    <a:pt x="299" y="2237"/>
                  </a:cubicBezTo>
                  <a:cubicBezTo>
                    <a:pt x="298" y="2237"/>
                    <a:pt x="297" y="2238"/>
                    <a:pt x="296" y="2239"/>
                  </a:cubicBezTo>
                  <a:cubicBezTo>
                    <a:pt x="293" y="2227"/>
                    <a:pt x="305" y="2222"/>
                    <a:pt x="302" y="2213"/>
                  </a:cubicBezTo>
                  <a:cubicBezTo>
                    <a:pt x="296" y="2210"/>
                    <a:pt x="290" y="2208"/>
                    <a:pt x="288" y="2205"/>
                  </a:cubicBezTo>
                  <a:cubicBezTo>
                    <a:pt x="285" y="2205"/>
                    <a:pt x="282" y="2205"/>
                    <a:pt x="282" y="2199"/>
                  </a:cubicBezTo>
                  <a:cubicBezTo>
                    <a:pt x="273" y="2188"/>
                    <a:pt x="271" y="2174"/>
                    <a:pt x="271" y="2160"/>
                  </a:cubicBezTo>
                  <a:cubicBezTo>
                    <a:pt x="285" y="2160"/>
                    <a:pt x="285" y="2157"/>
                    <a:pt x="296" y="2151"/>
                  </a:cubicBezTo>
                  <a:cubicBezTo>
                    <a:pt x="296" y="2154"/>
                    <a:pt x="299" y="2157"/>
                    <a:pt x="302" y="2160"/>
                  </a:cubicBezTo>
                  <a:cubicBezTo>
                    <a:pt x="302" y="2157"/>
                    <a:pt x="305" y="2157"/>
                    <a:pt x="305" y="2154"/>
                  </a:cubicBezTo>
                  <a:cubicBezTo>
                    <a:pt x="313" y="2160"/>
                    <a:pt x="313" y="2163"/>
                    <a:pt x="307" y="2165"/>
                  </a:cubicBezTo>
                  <a:cubicBezTo>
                    <a:pt x="313" y="2171"/>
                    <a:pt x="313" y="2179"/>
                    <a:pt x="313" y="2188"/>
                  </a:cubicBezTo>
                  <a:cubicBezTo>
                    <a:pt x="302" y="2188"/>
                    <a:pt x="299" y="2194"/>
                    <a:pt x="305" y="2205"/>
                  </a:cubicBezTo>
                  <a:cubicBezTo>
                    <a:pt x="310" y="2208"/>
                    <a:pt x="319" y="2208"/>
                    <a:pt x="321" y="2210"/>
                  </a:cubicBezTo>
                  <a:cubicBezTo>
                    <a:pt x="324" y="2216"/>
                    <a:pt x="321" y="2222"/>
                    <a:pt x="319" y="2225"/>
                  </a:cubicBezTo>
                  <a:cubicBezTo>
                    <a:pt x="324" y="2227"/>
                    <a:pt x="324" y="2236"/>
                    <a:pt x="307" y="2239"/>
                  </a:cubicBezTo>
                  <a:lnTo>
                    <a:pt x="307" y="2233"/>
                  </a:lnTo>
                  <a:cubicBezTo>
                    <a:pt x="306" y="2235"/>
                    <a:pt x="303" y="2235"/>
                    <a:pt x="301" y="2236"/>
                  </a:cubicBezTo>
                  <a:cubicBezTo>
                    <a:pt x="301" y="2236"/>
                    <a:pt x="301" y="2236"/>
                    <a:pt x="302" y="2237"/>
                  </a:cubicBezTo>
                  <a:cubicBezTo>
                    <a:pt x="303" y="2237"/>
                    <a:pt x="305" y="2238"/>
                    <a:pt x="305" y="2239"/>
                  </a:cubicBezTo>
                  <a:cubicBezTo>
                    <a:pt x="314" y="2251"/>
                    <a:pt x="306" y="2245"/>
                    <a:pt x="301" y="2239"/>
                  </a:cubicBezTo>
                  <a:close/>
                  <a:moveTo>
                    <a:pt x="313" y="2289"/>
                  </a:moveTo>
                  <a:cubicBezTo>
                    <a:pt x="305" y="2287"/>
                    <a:pt x="307" y="2289"/>
                    <a:pt x="299" y="2292"/>
                  </a:cubicBezTo>
                  <a:cubicBezTo>
                    <a:pt x="290" y="2278"/>
                    <a:pt x="313" y="2270"/>
                    <a:pt x="313" y="2289"/>
                  </a:cubicBezTo>
                  <a:close/>
                  <a:moveTo>
                    <a:pt x="299" y="2247"/>
                  </a:moveTo>
                  <a:cubicBezTo>
                    <a:pt x="313" y="2244"/>
                    <a:pt x="296" y="2270"/>
                    <a:pt x="299" y="2247"/>
                  </a:cubicBezTo>
                  <a:close/>
                  <a:moveTo>
                    <a:pt x="305" y="2298"/>
                  </a:moveTo>
                  <a:cubicBezTo>
                    <a:pt x="299" y="2312"/>
                    <a:pt x="296" y="2287"/>
                    <a:pt x="305" y="2298"/>
                  </a:cubicBezTo>
                  <a:close/>
                  <a:moveTo>
                    <a:pt x="319" y="2329"/>
                  </a:moveTo>
                  <a:lnTo>
                    <a:pt x="319" y="2335"/>
                  </a:lnTo>
                  <a:cubicBezTo>
                    <a:pt x="313" y="2337"/>
                    <a:pt x="313" y="2332"/>
                    <a:pt x="307" y="2332"/>
                  </a:cubicBezTo>
                  <a:cubicBezTo>
                    <a:pt x="313" y="2337"/>
                    <a:pt x="316" y="2343"/>
                    <a:pt x="319" y="2349"/>
                  </a:cubicBezTo>
                  <a:lnTo>
                    <a:pt x="310" y="2349"/>
                  </a:lnTo>
                  <a:cubicBezTo>
                    <a:pt x="310" y="2354"/>
                    <a:pt x="299" y="2357"/>
                    <a:pt x="296" y="2343"/>
                  </a:cubicBezTo>
                  <a:lnTo>
                    <a:pt x="302" y="2343"/>
                  </a:lnTo>
                  <a:cubicBezTo>
                    <a:pt x="302" y="2337"/>
                    <a:pt x="299" y="2332"/>
                    <a:pt x="296" y="2326"/>
                  </a:cubicBezTo>
                  <a:cubicBezTo>
                    <a:pt x="299" y="2326"/>
                    <a:pt x="305" y="2329"/>
                    <a:pt x="307" y="2329"/>
                  </a:cubicBezTo>
                  <a:lnTo>
                    <a:pt x="307" y="2323"/>
                  </a:lnTo>
                  <a:lnTo>
                    <a:pt x="302" y="2320"/>
                  </a:lnTo>
                  <a:cubicBezTo>
                    <a:pt x="305" y="2320"/>
                    <a:pt x="307" y="2318"/>
                    <a:pt x="310" y="2315"/>
                  </a:cubicBezTo>
                  <a:cubicBezTo>
                    <a:pt x="310" y="2315"/>
                    <a:pt x="313" y="2315"/>
                    <a:pt x="313" y="2312"/>
                  </a:cubicBezTo>
                  <a:cubicBezTo>
                    <a:pt x="316" y="2315"/>
                    <a:pt x="316" y="2318"/>
                    <a:pt x="319" y="2320"/>
                  </a:cubicBezTo>
                  <a:cubicBezTo>
                    <a:pt x="321" y="2326"/>
                    <a:pt x="321" y="2329"/>
                    <a:pt x="319" y="2329"/>
                  </a:cubicBezTo>
                  <a:close/>
                  <a:moveTo>
                    <a:pt x="321" y="2250"/>
                  </a:moveTo>
                  <a:cubicBezTo>
                    <a:pt x="324" y="2261"/>
                    <a:pt x="305" y="2250"/>
                    <a:pt x="321" y="2250"/>
                  </a:cubicBezTo>
                  <a:close/>
                  <a:moveTo>
                    <a:pt x="321" y="2304"/>
                  </a:moveTo>
                  <a:lnTo>
                    <a:pt x="321" y="2312"/>
                  </a:lnTo>
                  <a:lnTo>
                    <a:pt x="316" y="2312"/>
                  </a:lnTo>
                  <a:cubicBezTo>
                    <a:pt x="316" y="2309"/>
                    <a:pt x="316" y="2304"/>
                    <a:pt x="321" y="2304"/>
                  </a:cubicBezTo>
                  <a:close/>
                  <a:moveTo>
                    <a:pt x="310" y="1880"/>
                  </a:moveTo>
                  <a:cubicBezTo>
                    <a:pt x="319" y="1883"/>
                    <a:pt x="327" y="1892"/>
                    <a:pt x="324" y="1903"/>
                  </a:cubicBezTo>
                  <a:cubicBezTo>
                    <a:pt x="310" y="1906"/>
                    <a:pt x="310" y="1889"/>
                    <a:pt x="310" y="1880"/>
                  </a:cubicBezTo>
                  <a:close/>
                  <a:moveTo>
                    <a:pt x="321" y="1720"/>
                  </a:moveTo>
                  <a:cubicBezTo>
                    <a:pt x="327" y="1720"/>
                    <a:pt x="333" y="1717"/>
                    <a:pt x="336" y="1717"/>
                  </a:cubicBezTo>
                  <a:cubicBezTo>
                    <a:pt x="338" y="1725"/>
                    <a:pt x="336" y="1734"/>
                    <a:pt x="324" y="1734"/>
                  </a:cubicBezTo>
                  <a:cubicBezTo>
                    <a:pt x="324" y="1731"/>
                    <a:pt x="321" y="1725"/>
                    <a:pt x="321" y="1720"/>
                  </a:cubicBezTo>
                  <a:close/>
                  <a:moveTo>
                    <a:pt x="330" y="2326"/>
                  </a:moveTo>
                  <a:cubicBezTo>
                    <a:pt x="333" y="2323"/>
                    <a:pt x="324" y="2329"/>
                    <a:pt x="330" y="2326"/>
                  </a:cubicBezTo>
                  <a:close/>
                  <a:moveTo>
                    <a:pt x="347" y="2368"/>
                  </a:moveTo>
                  <a:cubicBezTo>
                    <a:pt x="350" y="2374"/>
                    <a:pt x="341" y="2377"/>
                    <a:pt x="344" y="2383"/>
                  </a:cubicBezTo>
                  <a:cubicBezTo>
                    <a:pt x="341" y="2383"/>
                    <a:pt x="338" y="2377"/>
                    <a:pt x="333" y="2380"/>
                  </a:cubicBezTo>
                  <a:cubicBezTo>
                    <a:pt x="333" y="2377"/>
                    <a:pt x="330" y="2371"/>
                    <a:pt x="330" y="2368"/>
                  </a:cubicBezTo>
                  <a:cubicBezTo>
                    <a:pt x="333" y="2366"/>
                    <a:pt x="341" y="2368"/>
                    <a:pt x="347" y="2368"/>
                  </a:cubicBezTo>
                  <a:cubicBezTo>
                    <a:pt x="347" y="2366"/>
                    <a:pt x="350" y="2363"/>
                    <a:pt x="352" y="2363"/>
                  </a:cubicBezTo>
                  <a:cubicBezTo>
                    <a:pt x="352" y="2366"/>
                    <a:pt x="350" y="2366"/>
                    <a:pt x="347" y="2368"/>
                  </a:cubicBezTo>
                  <a:close/>
                  <a:moveTo>
                    <a:pt x="355" y="2363"/>
                  </a:moveTo>
                  <a:lnTo>
                    <a:pt x="352" y="2363"/>
                  </a:lnTo>
                  <a:lnTo>
                    <a:pt x="344" y="2363"/>
                  </a:lnTo>
                  <a:cubicBezTo>
                    <a:pt x="336" y="2340"/>
                    <a:pt x="369" y="2352"/>
                    <a:pt x="355" y="2363"/>
                  </a:cubicBezTo>
                  <a:close/>
                  <a:moveTo>
                    <a:pt x="355" y="2383"/>
                  </a:moveTo>
                  <a:cubicBezTo>
                    <a:pt x="358" y="2380"/>
                    <a:pt x="361" y="2380"/>
                    <a:pt x="364" y="2377"/>
                  </a:cubicBezTo>
                  <a:cubicBezTo>
                    <a:pt x="369" y="2377"/>
                    <a:pt x="372" y="2377"/>
                    <a:pt x="372" y="2380"/>
                  </a:cubicBezTo>
                  <a:lnTo>
                    <a:pt x="369" y="2380"/>
                  </a:lnTo>
                  <a:cubicBezTo>
                    <a:pt x="381" y="2388"/>
                    <a:pt x="355" y="2397"/>
                    <a:pt x="355" y="2383"/>
                  </a:cubicBezTo>
                  <a:close/>
                  <a:moveTo>
                    <a:pt x="367" y="2340"/>
                  </a:moveTo>
                  <a:cubicBezTo>
                    <a:pt x="364" y="2335"/>
                    <a:pt x="369" y="2326"/>
                    <a:pt x="369" y="2320"/>
                  </a:cubicBezTo>
                  <a:cubicBezTo>
                    <a:pt x="381" y="2318"/>
                    <a:pt x="378" y="2340"/>
                    <a:pt x="367" y="2340"/>
                  </a:cubicBezTo>
                  <a:close/>
                  <a:moveTo>
                    <a:pt x="381" y="2335"/>
                  </a:moveTo>
                  <a:cubicBezTo>
                    <a:pt x="398" y="2337"/>
                    <a:pt x="378" y="2354"/>
                    <a:pt x="386" y="2366"/>
                  </a:cubicBezTo>
                  <a:cubicBezTo>
                    <a:pt x="367" y="2360"/>
                    <a:pt x="381" y="2352"/>
                    <a:pt x="381" y="2335"/>
                  </a:cubicBezTo>
                  <a:close/>
                  <a:moveTo>
                    <a:pt x="386" y="2371"/>
                  </a:moveTo>
                  <a:cubicBezTo>
                    <a:pt x="384" y="2377"/>
                    <a:pt x="389" y="2368"/>
                    <a:pt x="386" y="2371"/>
                  </a:cubicBezTo>
                  <a:close/>
                  <a:moveTo>
                    <a:pt x="384" y="2385"/>
                  </a:moveTo>
                  <a:cubicBezTo>
                    <a:pt x="409" y="2391"/>
                    <a:pt x="389" y="2419"/>
                    <a:pt x="384" y="2385"/>
                  </a:cubicBezTo>
                  <a:close/>
                  <a:moveTo>
                    <a:pt x="395" y="2436"/>
                  </a:moveTo>
                  <a:cubicBezTo>
                    <a:pt x="409" y="2436"/>
                    <a:pt x="392" y="2459"/>
                    <a:pt x="395" y="2436"/>
                  </a:cubicBezTo>
                  <a:close/>
                  <a:moveTo>
                    <a:pt x="398" y="2453"/>
                  </a:moveTo>
                  <a:cubicBezTo>
                    <a:pt x="412" y="2450"/>
                    <a:pt x="395" y="2476"/>
                    <a:pt x="398" y="2453"/>
                  </a:cubicBezTo>
                  <a:close/>
                  <a:moveTo>
                    <a:pt x="403" y="2408"/>
                  </a:moveTo>
                  <a:cubicBezTo>
                    <a:pt x="415" y="2405"/>
                    <a:pt x="409" y="2428"/>
                    <a:pt x="415" y="2433"/>
                  </a:cubicBezTo>
                  <a:cubicBezTo>
                    <a:pt x="403" y="2433"/>
                    <a:pt x="409" y="2414"/>
                    <a:pt x="403" y="2408"/>
                  </a:cubicBezTo>
                  <a:close/>
                  <a:moveTo>
                    <a:pt x="426" y="2391"/>
                  </a:moveTo>
                  <a:lnTo>
                    <a:pt x="423" y="2391"/>
                  </a:lnTo>
                  <a:cubicBezTo>
                    <a:pt x="423" y="2389"/>
                    <a:pt x="424" y="2389"/>
                    <a:pt x="425" y="2388"/>
                  </a:cubicBezTo>
                  <a:cubicBezTo>
                    <a:pt x="424" y="2389"/>
                    <a:pt x="426" y="2391"/>
                    <a:pt x="426" y="2391"/>
                  </a:cubicBezTo>
                  <a:close/>
                  <a:moveTo>
                    <a:pt x="426" y="2473"/>
                  </a:moveTo>
                  <a:cubicBezTo>
                    <a:pt x="440" y="2473"/>
                    <a:pt x="423" y="2495"/>
                    <a:pt x="426" y="2473"/>
                  </a:cubicBezTo>
                  <a:close/>
                  <a:moveTo>
                    <a:pt x="443" y="2473"/>
                  </a:moveTo>
                  <a:lnTo>
                    <a:pt x="443" y="2472"/>
                  </a:lnTo>
                  <a:cubicBezTo>
                    <a:pt x="442" y="2473"/>
                    <a:pt x="439" y="2475"/>
                    <a:pt x="443" y="2473"/>
                  </a:cubicBezTo>
                  <a:cubicBezTo>
                    <a:pt x="444" y="2472"/>
                    <a:pt x="443" y="2472"/>
                    <a:pt x="443" y="2472"/>
                  </a:cubicBezTo>
                  <a:lnTo>
                    <a:pt x="443" y="2473"/>
                  </a:lnTo>
                  <a:close/>
                  <a:moveTo>
                    <a:pt x="432" y="2462"/>
                  </a:moveTo>
                  <a:cubicBezTo>
                    <a:pt x="423" y="2447"/>
                    <a:pt x="446" y="2453"/>
                    <a:pt x="440" y="2439"/>
                  </a:cubicBezTo>
                  <a:cubicBezTo>
                    <a:pt x="457" y="2439"/>
                    <a:pt x="446" y="2459"/>
                    <a:pt x="432" y="2462"/>
                  </a:cubicBezTo>
                  <a:close/>
                  <a:moveTo>
                    <a:pt x="448" y="2385"/>
                  </a:moveTo>
                  <a:lnTo>
                    <a:pt x="463" y="2385"/>
                  </a:lnTo>
                  <a:lnTo>
                    <a:pt x="463" y="2399"/>
                  </a:lnTo>
                  <a:lnTo>
                    <a:pt x="448" y="2399"/>
                  </a:lnTo>
                  <a:lnTo>
                    <a:pt x="448" y="2385"/>
                  </a:lnTo>
                  <a:close/>
                  <a:moveTo>
                    <a:pt x="460" y="2473"/>
                  </a:moveTo>
                  <a:cubicBezTo>
                    <a:pt x="477" y="2478"/>
                    <a:pt x="443" y="2490"/>
                    <a:pt x="460" y="2473"/>
                  </a:cubicBezTo>
                  <a:close/>
                  <a:moveTo>
                    <a:pt x="463" y="2535"/>
                  </a:moveTo>
                  <a:lnTo>
                    <a:pt x="463" y="2507"/>
                  </a:lnTo>
                  <a:lnTo>
                    <a:pt x="463" y="2501"/>
                  </a:lnTo>
                  <a:cubicBezTo>
                    <a:pt x="465" y="2493"/>
                    <a:pt x="474" y="2487"/>
                    <a:pt x="482" y="2490"/>
                  </a:cubicBezTo>
                  <a:cubicBezTo>
                    <a:pt x="482" y="2509"/>
                    <a:pt x="485" y="2535"/>
                    <a:pt x="463" y="2535"/>
                  </a:cubicBezTo>
                  <a:close/>
                  <a:moveTo>
                    <a:pt x="475" y="2481"/>
                  </a:moveTo>
                  <a:cubicBezTo>
                    <a:pt x="475" y="2483"/>
                    <a:pt x="474" y="2485"/>
                    <a:pt x="474" y="2481"/>
                  </a:cubicBezTo>
                  <a:cubicBezTo>
                    <a:pt x="475" y="2480"/>
                    <a:pt x="475" y="2481"/>
                    <a:pt x="475" y="2481"/>
                  </a:cubicBezTo>
                  <a:close/>
                  <a:moveTo>
                    <a:pt x="494" y="2473"/>
                  </a:moveTo>
                  <a:cubicBezTo>
                    <a:pt x="496" y="2476"/>
                    <a:pt x="499" y="2476"/>
                    <a:pt x="499" y="2476"/>
                  </a:cubicBezTo>
                  <a:lnTo>
                    <a:pt x="491" y="2476"/>
                  </a:lnTo>
                  <a:cubicBezTo>
                    <a:pt x="490" y="2478"/>
                    <a:pt x="487" y="2480"/>
                    <a:pt x="488" y="2474"/>
                  </a:cubicBezTo>
                  <a:cubicBezTo>
                    <a:pt x="487" y="2473"/>
                    <a:pt x="486" y="2473"/>
                    <a:pt x="485" y="2473"/>
                  </a:cubicBezTo>
                  <a:cubicBezTo>
                    <a:pt x="488" y="2473"/>
                    <a:pt x="491" y="2470"/>
                    <a:pt x="494" y="2473"/>
                  </a:cubicBezTo>
                  <a:close/>
                  <a:moveTo>
                    <a:pt x="508" y="2555"/>
                  </a:moveTo>
                  <a:cubicBezTo>
                    <a:pt x="505" y="2552"/>
                    <a:pt x="511" y="2555"/>
                    <a:pt x="508" y="2555"/>
                  </a:cubicBezTo>
                  <a:close/>
                  <a:moveTo>
                    <a:pt x="519" y="2546"/>
                  </a:moveTo>
                  <a:cubicBezTo>
                    <a:pt x="511" y="2563"/>
                    <a:pt x="488" y="2526"/>
                    <a:pt x="502" y="2515"/>
                  </a:cubicBezTo>
                  <a:lnTo>
                    <a:pt x="496" y="2515"/>
                  </a:lnTo>
                  <a:cubicBezTo>
                    <a:pt x="496" y="2512"/>
                    <a:pt x="499" y="2507"/>
                    <a:pt x="499" y="2504"/>
                  </a:cubicBezTo>
                  <a:cubicBezTo>
                    <a:pt x="502" y="2504"/>
                    <a:pt x="508" y="2509"/>
                    <a:pt x="511" y="2509"/>
                  </a:cubicBezTo>
                  <a:lnTo>
                    <a:pt x="511" y="2512"/>
                  </a:lnTo>
                  <a:lnTo>
                    <a:pt x="522" y="2512"/>
                  </a:lnTo>
                  <a:cubicBezTo>
                    <a:pt x="522" y="2524"/>
                    <a:pt x="499" y="2541"/>
                    <a:pt x="519" y="2546"/>
                  </a:cubicBezTo>
                  <a:close/>
                  <a:moveTo>
                    <a:pt x="536" y="2498"/>
                  </a:moveTo>
                  <a:lnTo>
                    <a:pt x="536" y="2507"/>
                  </a:lnTo>
                  <a:cubicBezTo>
                    <a:pt x="494" y="2509"/>
                    <a:pt x="544" y="2459"/>
                    <a:pt x="496" y="2467"/>
                  </a:cubicBezTo>
                  <a:lnTo>
                    <a:pt x="496" y="2439"/>
                  </a:lnTo>
                  <a:cubicBezTo>
                    <a:pt x="499" y="2450"/>
                    <a:pt x="505" y="2456"/>
                    <a:pt x="511" y="2456"/>
                  </a:cubicBezTo>
                  <a:lnTo>
                    <a:pt x="511" y="2450"/>
                  </a:lnTo>
                  <a:cubicBezTo>
                    <a:pt x="513" y="2450"/>
                    <a:pt x="516" y="2450"/>
                    <a:pt x="516" y="2453"/>
                  </a:cubicBezTo>
                  <a:cubicBezTo>
                    <a:pt x="525" y="2453"/>
                    <a:pt x="530" y="2453"/>
                    <a:pt x="539" y="2459"/>
                  </a:cubicBezTo>
                  <a:cubicBezTo>
                    <a:pt x="547" y="2459"/>
                    <a:pt x="544" y="2447"/>
                    <a:pt x="544" y="2439"/>
                  </a:cubicBezTo>
                  <a:cubicBezTo>
                    <a:pt x="556" y="2439"/>
                    <a:pt x="564" y="2442"/>
                    <a:pt x="575" y="2442"/>
                  </a:cubicBezTo>
                  <a:cubicBezTo>
                    <a:pt x="567" y="2450"/>
                    <a:pt x="558" y="2459"/>
                    <a:pt x="547" y="2467"/>
                  </a:cubicBezTo>
                  <a:cubicBezTo>
                    <a:pt x="550" y="2467"/>
                    <a:pt x="553" y="2467"/>
                    <a:pt x="556" y="2470"/>
                  </a:cubicBezTo>
                  <a:cubicBezTo>
                    <a:pt x="553" y="2473"/>
                    <a:pt x="547" y="2473"/>
                    <a:pt x="544" y="2470"/>
                  </a:cubicBezTo>
                  <a:cubicBezTo>
                    <a:pt x="539" y="2476"/>
                    <a:pt x="536" y="2481"/>
                    <a:pt x="536" y="2487"/>
                  </a:cubicBezTo>
                  <a:cubicBezTo>
                    <a:pt x="542" y="2493"/>
                    <a:pt x="539" y="2498"/>
                    <a:pt x="536" y="2498"/>
                  </a:cubicBezTo>
                  <a:close/>
                  <a:moveTo>
                    <a:pt x="542" y="2532"/>
                  </a:moveTo>
                  <a:cubicBezTo>
                    <a:pt x="544" y="2529"/>
                    <a:pt x="539" y="2538"/>
                    <a:pt x="542" y="2532"/>
                  </a:cubicBezTo>
                  <a:close/>
                  <a:moveTo>
                    <a:pt x="542" y="2569"/>
                  </a:moveTo>
                  <a:cubicBezTo>
                    <a:pt x="550" y="2563"/>
                    <a:pt x="539" y="2543"/>
                    <a:pt x="556" y="2546"/>
                  </a:cubicBezTo>
                  <a:cubicBezTo>
                    <a:pt x="558" y="2557"/>
                    <a:pt x="558" y="2572"/>
                    <a:pt x="542" y="2569"/>
                  </a:cubicBezTo>
                  <a:close/>
                  <a:moveTo>
                    <a:pt x="561" y="2507"/>
                  </a:moveTo>
                  <a:cubicBezTo>
                    <a:pt x="564" y="2501"/>
                    <a:pt x="558" y="2487"/>
                    <a:pt x="570" y="2481"/>
                  </a:cubicBezTo>
                  <a:cubicBezTo>
                    <a:pt x="573" y="2493"/>
                    <a:pt x="575" y="2501"/>
                    <a:pt x="567" y="2504"/>
                  </a:cubicBezTo>
                  <a:cubicBezTo>
                    <a:pt x="572" y="2505"/>
                    <a:pt x="576" y="2510"/>
                    <a:pt x="578" y="2515"/>
                  </a:cubicBezTo>
                  <a:cubicBezTo>
                    <a:pt x="579" y="2511"/>
                    <a:pt x="581" y="2507"/>
                    <a:pt x="581" y="2504"/>
                  </a:cubicBezTo>
                  <a:cubicBezTo>
                    <a:pt x="575" y="2495"/>
                    <a:pt x="575" y="2484"/>
                    <a:pt x="567" y="2478"/>
                  </a:cubicBezTo>
                  <a:cubicBezTo>
                    <a:pt x="570" y="2473"/>
                    <a:pt x="606" y="2493"/>
                    <a:pt x="604" y="2512"/>
                  </a:cubicBezTo>
                  <a:cubicBezTo>
                    <a:pt x="598" y="2512"/>
                    <a:pt x="595" y="2512"/>
                    <a:pt x="590" y="2509"/>
                  </a:cubicBezTo>
                  <a:cubicBezTo>
                    <a:pt x="592" y="2517"/>
                    <a:pt x="588" y="2527"/>
                    <a:pt x="579" y="2525"/>
                  </a:cubicBezTo>
                  <a:lnTo>
                    <a:pt x="578" y="2526"/>
                  </a:lnTo>
                  <a:cubicBezTo>
                    <a:pt x="578" y="2529"/>
                    <a:pt x="575" y="2532"/>
                    <a:pt x="575" y="2532"/>
                  </a:cubicBezTo>
                  <a:cubicBezTo>
                    <a:pt x="561" y="2529"/>
                    <a:pt x="558" y="2518"/>
                    <a:pt x="561" y="2507"/>
                  </a:cubicBezTo>
                  <a:close/>
                  <a:moveTo>
                    <a:pt x="575" y="2620"/>
                  </a:moveTo>
                  <a:cubicBezTo>
                    <a:pt x="573" y="2620"/>
                    <a:pt x="567" y="2614"/>
                    <a:pt x="564" y="2617"/>
                  </a:cubicBezTo>
                  <a:cubicBezTo>
                    <a:pt x="564" y="2614"/>
                    <a:pt x="570" y="2611"/>
                    <a:pt x="567" y="2605"/>
                  </a:cubicBezTo>
                  <a:cubicBezTo>
                    <a:pt x="570" y="2605"/>
                    <a:pt x="575" y="2608"/>
                    <a:pt x="578" y="2608"/>
                  </a:cubicBezTo>
                  <a:cubicBezTo>
                    <a:pt x="578" y="2611"/>
                    <a:pt x="575" y="2614"/>
                    <a:pt x="575" y="2620"/>
                  </a:cubicBezTo>
                  <a:close/>
                  <a:moveTo>
                    <a:pt x="598" y="2521"/>
                  </a:moveTo>
                  <a:lnTo>
                    <a:pt x="595" y="2524"/>
                  </a:lnTo>
                  <a:cubicBezTo>
                    <a:pt x="595" y="2521"/>
                    <a:pt x="598" y="2518"/>
                    <a:pt x="598" y="2521"/>
                  </a:cubicBezTo>
                  <a:close/>
                  <a:moveTo>
                    <a:pt x="604" y="2622"/>
                  </a:moveTo>
                  <a:cubicBezTo>
                    <a:pt x="590" y="2620"/>
                    <a:pt x="581" y="2605"/>
                    <a:pt x="587" y="2591"/>
                  </a:cubicBezTo>
                  <a:lnTo>
                    <a:pt x="587" y="2588"/>
                  </a:lnTo>
                  <a:cubicBezTo>
                    <a:pt x="601" y="2594"/>
                    <a:pt x="615" y="2611"/>
                    <a:pt x="604" y="2622"/>
                  </a:cubicBezTo>
                  <a:close/>
                  <a:moveTo>
                    <a:pt x="606" y="2591"/>
                  </a:moveTo>
                  <a:cubicBezTo>
                    <a:pt x="598" y="2588"/>
                    <a:pt x="592" y="2580"/>
                    <a:pt x="592" y="2572"/>
                  </a:cubicBezTo>
                  <a:cubicBezTo>
                    <a:pt x="598" y="2572"/>
                    <a:pt x="601" y="2569"/>
                    <a:pt x="604" y="2566"/>
                  </a:cubicBezTo>
                  <a:cubicBezTo>
                    <a:pt x="612" y="2572"/>
                    <a:pt x="618" y="2586"/>
                    <a:pt x="606" y="2591"/>
                  </a:cubicBezTo>
                  <a:close/>
                  <a:moveTo>
                    <a:pt x="626" y="2614"/>
                  </a:moveTo>
                  <a:cubicBezTo>
                    <a:pt x="640" y="2617"/>
                    <a:pt x="621" y="2642"/>
                    <a:pt x="626" y="2614"/>
                  </a:cubicBezTo>
                  <a:close/>
                  <a:moveTo>
                    <a:pt x="618" y="2597"/>
                  </a:moveTo>
                  <a:cubicBezTo>
                    <a:pt x="615" y="2600"/>
                    <a:pt x="612" y="2603"/>
                    <a:pt x="615" y="2597"/>
                  </a:cubicBezTo>
                  <a:lnTo>
                    <a:pt x="615" y="2594"/>
                  </a:lnTo>
                  <a:lnTo>
                    <a:pt x="615" y="2586"/>
                  </a:lnTo>
                  <a:cubicBezTo>
                    <a:pt x="626" y="2583"/>
                    <a:pt x="632" y="2594"/>
                    <a:pt x="635" y="2603"/>
                  </a:cubicBezTo>
                  <a:cubicBezTo>
                    <a:pt x="629" y="2603"/>
                    <a:pt x="621" y="2603"/>
                    <a:pt x="618" y="2597"/>
                  </a:cubicBezTo>
                  <a:close/>
                  <a:moveTo>
                    <a:pt x="629" y="2566"/>
                  </a:moveTo>
                  <a:cubicBezTo>
                    <a:pt x="637" y="2566"/>
                    <a:pt x="626" y="2580"/>
                    <a:pt x="629" y="2566"/>
                  </a:cubicBezTo>
                  <a:close/>
                  <a:moveTo>
                    <a:pt x="635" y="2557"/>
                  </a:moveTo>
                  <a:cubicBezTo>
                    <a:pt x="637" y="2555"/>
                    <a:pt x="632" y="2563"/>
                    <a:pt x="635" y="2557"/>
                  </a:cubicBezTo>
                  <a:close/>
                  <a:moveTo>
                    <a:pt x="632" y="2560"/>
                  </a:moveTo>
                  <a:cubicBezTo>
                    <a:pt x="615" y="2560"/>
                    <a:pt x="629" y="2535"/>
                    <a:pt x="632" y="2532"/>
                  </a:cubicBezTo>
                  <a:cubicBezTo>
                    <a:pt x="649" y="2535"/>
                    <a:pt x="623" y="2549"/>
                    <a:pt x="632" y="2560"/>
                  </a:cubicBezTo>
                  <a:close/>
                  <a:moveTo>
                    <a:pt x="646" y="2526"/>
                  </a:moveTo>
                  <a:cubicBezTo>
                    <a:pt x="649" y="2538"/>
                    <a:pt x="629" y="2526"/>
                    <a:pt x="646" y="2526"/>
                  </a:cubicBezTo>
                  <a:close/>
                  <a:moveTo>
                    <a:pt x="643" y="2549"/>
                  </a:moveTo>
                  <a:cubicBezTo>
                    <a:pt x="643" y="2546"/>
                    <a:pt x="649" y="2543"/>
                    <a:pt x="652" y="2543"/>
                  </a:cubicBezTo>
                  <a:cubicBezTo>
                    <a:pt x="652" y="2546"/>
                    <a:pt x="649" y="2549"/>
                    <a:pt x="643" y="2549"/>
                  </a:cubicBezTo>
                  <a:close/>
                  <a:moveTo>
                    <a:pt x="649" y="2476"/>
                  </a:moveTo>
                  <a:cubicBezTo>
                    <a:pt x="666" y="2476"/>
                    <a:pt x="646" y="2498"/>
                    <a:pt x="649" y="2476"/>
                  </a:cubicBezTo>
                  <a:close/>
                  <a:moveTo>
                    <a:pt x="657" y="2577"/>
                  </a:moveTo>
                  <a:lnTo>
                    <a:pt x="652" y="2577"/>
                  </a:lnTo>
                  <a:lnTo>
                    <a:pt x="652" y="2572"/>
                  </a:lnTo>
                  <a:lnTo>
                    <a:pt x="657" y="2572"/>
                  </a:lnTo>
                  <a:lnTo>
                    <a:pt x="657" y="2577"/>
                  </a:lnTo>
                  <a:close/>
                  <a:moveTo>
                    <a:pt x="657" y="2549"/>
                  </a:moveTo>
                  <a:lnTo>
                    <a:pt x="657" y="2538"/>
                  </a:lnTo>
                  <a:lnTo>
                    <a:pt x="669" y="2538"/>
                  </a:lnTo>
                  <a:cubicBezTo>
                    <a:pt x="669" y="2541"/>
                    <a:pt x="671" y="2546"/>
                    <a:pt x="671" y="2549"/>
                  </a:cubicBezTo>
                  <a:cubicBezTo>
                    <a:pt x="669" y="2546"/>
                    <a:pt x="663" y="2546"/>
                    <a:pt x="657" y="2549"/>
                  </a:cubicBezTo>
                  <a:close/>
                  <a:moveTo>
                    <a:pt x="683" y="2648"/>
                  </a:moveTo>
                  <a:cubicBezTo>
                    <a:pt x="674" y="2653"/>
                    <a:pt x="660" y="2639"/>
                    <a:pt x="660" y="2631"/>
                  </a:cubicBezTo>
                  <a:cubicBezTo>
                    <a:pt x="674" y="2625"/>
                    <a:pt x="669" y="2645"/>
                    <a:pt x="683" y="2642"/>
                  </a:cubicBezTo>
                  <a:lnTo>
                    <a:pt x="683" y="2645"/>
                  </a:lnTo>
                  <a:lnTo>
                    <a:pt x="683" y="2648"/>
                  </a:lnTo>
                  <a:close/>
                  <a:moveTo>
                    <a:pt x="674" y="2628"/>
                  </a:moveTo>
                  <a:lnTo>
                    <a:pt x="674" y="2611"/>
                  </a:lnTo>
                  <a:cubicBezTo>
                    <a:pt x="680" y="2611"/>
                    <a:pt x="680" y="2608"/>
                    <a:pt x="680" y="2605"/>
                  </a:cubicBezTo>
                  <a:cubicBezTo>
                    <a:pt x="694" y="2603"/>
                    <a:pt x="691" y="2636"/>
                    <a:pt x="674" y="2628"/>
                  </a:cubicBezTo>
                  <a:close/>
                  <a:moveTo>
                    <a:pt x="691" y="2651"/>
                  </a:moveTo>
                  <a:lnTo>
                    <a:pt x="697" y="2651"/>
                  </a:lnTo>
                  <a:cubicBezTo>
                    <a:pt x="694" y="2648"/>
                    <a:pt x="697" y="2648"/>
                    <a:pt x="700" y="2648"/>
                  </a:cubicBezTo>
                  <a:cubicBezTo>
                    <a:pt x="705" y="2653"/>
                    <a:pt x="691" y="2670"/>
                    <a:pt x="691" y="2651"/>
                  </a:cubicBezTo>
                  <a:close/>
                  <a:moveTo>
                    <a:pt x="728" y="2698"/>
                  </a:moveTo>
                  <a:cubicBezTo>
                    <a:pt x="719" y="2701"/>
                    <a:pt x="705" y="2698"/>
                    <a:pt x="705" y="2693"/>
                  </a:cubicBezTo>
                  <a:cubicBezTo>
                    <a:pt x="700" y="2682"/>
                    <a:pt x="714" y="2679"/>
                    <a:pt x="722" y="2679"/>
                  </a:cubicBezTo>
                  <a:cubicBezTo>
                    <a:pt x="722" y="2676"/>
                    <a:pt x="722" y="2673"/>
                    <a:pt x="725" y="2673"/>
                  </a:cubicBezTo>
                  <a:cubicBezTo>
                    <a:pt x="728" y="2656"/>
                    <a:pt x="742" y="2642"/>
                    <a:pt x="753" y="2642"/>
                  </a:cubicBezTo>
                  <a:cubicBezTo>
                    <a:pt x="755" y="2659"/>
                    <a:pt x="754" y="2674"/>
                    <a:pt x="750" y="2689"/>
                  </a:cubicBezTo>
                  <a:cubicBezTo>
                    <a:pt x="751" y="2687"/>
                    <a:pt x="753" y="2686"/>
                    <a:pt x="756" y="2684"/>
                  </a:cubicBezTo>
                  <a:cubicBezTo>
                    <a:pt x="765" y="2683"/>
                    <a:pt x="770" y="2688"/>
                    <a:pt x="773" y="2694"/>
                  </a:cubicBezTo>
                  <a:cubicBezTo>
                    <a:pt x="774" y="2692"/>
                    <a:pt x="776" y="2690"/>
                    <a:pt x="779" y="2687"/>
                  </a:cubicBezTo>
                  <a:cubicBezTo>
                    <a:pt x="784" y="2684"/>
                    <a:pt x="781" y="2693"/>
                    <a:pt x="787" y="2693"/>
                  </a:cubicBezTo>
                  <a:cubicBezTo>
                    <a:pt x="784" y="2698"/>
                    <a:pt x="779" y="2698"/>
                    <a:pt x="774" y="2696"/>
                  </a:cubicBezTo>
                  <a:cubicBezTo>
                    <a:pt x="776" y="2702"/>
                    <a:pt x="777" y="2708"/>
                    <a:pt x="779" y="2713"/>
                  </a:cubicBezTo>
                  <a:cubicBezTo>
                    <a:pt x="766" y="2715"/>
                    <a:pt x="749" y="2703"/>
                    <a:pt x="749" y="2693"/>
                  </a:cubicBezTo>
                  <a:cubicBezTo>
                    <a:pt x="748" y="2697"/>
                    <a:pt x="746" y="2700"/>
                    <a:pt x="745" y="2704"/>
                  </a:cubicBezTo>
                  <a:cubicBezTo>
                    <a:pt x="736" y="2707"/>
                    <a:pt x="731" y="2704"/>
                    <a:pt x="728" y="2698"/>
                  </a:cubicBezTo>
                  <a:close/>
                  <a:moveTo>
                    <a:pt x="756" y="2679"/>
                  </a:moveTo>
                  <a:cubicBezTo>
                    <a:pt x="756" y="2673"/>
                    <a:pt x="764" y="2682"/>
                    <a:pt x="756" y="2679"/>
                  </a:cubicBezTo>
                  <a:close/>
                  <a:moveTo>
                    <a:pt x="762" y="2670"/>
                  </a:moveTo>
                  <a:cubicBezTo>
                    <a:pt x="767" y="2665"/>
                    <a:pt x="764" y="2679"/>
                    <a:pt x="762" y="2670"/>
                  </a:cubicBezTo>
                  <a:close/>
                  <a:moveTo>
                    <a:pt x="776" y="2724"/>
                  </a:moveTo>
                  <a:cubicBezTo>
                    <a:pt x="776" y="2730"/>
                    <a:pt x="770" y="2730"/>
                    <a:pt x="767" y="2730"/>
                  </a:cubicBezTo>
                  <a:cubicBezTo>
                    <a:pt x="770" y="2727"/>
                    <a:pt x="773" y="2724"/>
                    <a:pt x="776" y="2724"/>
                  </a:cubicBezTo>
                  <a:close/>
                  <a:moveTo>
                    <a:pt x="776" y="2752"/>
                  </a:moveTo>
                  <a:cubicBezTo>
                    <a:pt x="776" y="2746"/>
                    <a:pt x="781" y="2746"/>
                    <a:pt x="784" y="2744"/>
                  </a:cubicBezTo>
                  <a:cubicBezTo>
                    <a:pt x="784" y="2749"/>
                    <a:pt x="779" y="2752"/>
                    <a:pt x="776" y="2752"/>
                  </a:cubicBezTo>
                  <a:close/>
                  <a:moveTo>
                    <a:pt x="779" y="2614"/>
                  </a:moveTo>
                  <a:cubicBezTo>
                    <a:pt x="770" y="2623"/>
                    <a:pt x="762" y="2634"/>
                    <a:pt x="748" y="2634"/>
                  </a:cubicBezTo>
                  <a:cubicBezTo>
                    <a:pt x="745" y="2622"/>
                    <a:pt x="748" y="2608"/>
                    <a:pt x="756" y="2597"/>
                  </a:cubicBezTo>
                  <a:cubicBezTo>
                    <a:pt x="776" y="2605"/>
                    <a:pt x="773" y="2597"/>
                    <a:pt x="790" y="2605"/>
                  </a:cubicBezTo>
                  <a:cubicBezTo>
                    <a:pt x="787" y="2607"/>
                    <a:pt x="784" y="2610"/>
                    <a:pt x="781" y="2612"/>
                  </a:cubicBezTo>
                  <a:cubicBezTo>
                    <a:pt x="783" y="2613"/>
                    <a:pt x="783" y="2615"/>
                    <a:pt x="779" y="2614"/>
                  </a:cubicBezTo>
                  <a:close/>
                  <a:moveTo>
                    <a:pt x="781" y="302"/>
                  </a:moveTo>
                  <a:cubicBezTo>
                    <a:pt x="787" y="299"/>
                    <a:pt x="793" y="302"/>
                    <a:pt x="793" y="310"/>
                  </a:cubicBezTo>
                  <a:cubicBezTo>
                    <a:pt x="787" y="313"/>
                    <a:pt x="784" y="307"/>
                    <a:pt x="781" y="302"/>
                  </a:cubicBezTo>
                  <a:close/>
                  <a:moveTo>
                    <a:pt x="793" y="2546"/>
                  </a:moveTo>
                  <a:cubicBezTo>
                    <a:pt x="810" y="2543"/>
                    <a:pt x="793" y="2569"/>
                    <a:pt x="793" y="2546"/>
                  </a:cubicBezTo>
                  <a:close/>
                  <a:moveTo>
                    <a:pt x="804" y="2634"/>
                  </a:moveTo>
                  <a:lnTo>
                    <a:pt x="804" y="2639"/>
                  </a:lnTo>
                  <a:lnTo>
                    <a:pt x="798" y="2639"/>
                  </a:lnTo>
                  <a:lnTo>
                    <a:pt x="798" y="2634"/>
                  </a:lnTo>
                  <a:lnTo>
                    <a:pt x="804" y="2634"/>
                  </a:lnTo>
                  <a:close/>
                  <a:moveTo>
                    <a:pt x="797" y="2566"/>
                  </a:moveTo>
                  <a:cubicBezTo>
                    <a:pt x="798" y="2565"/>
                    <a:pt x="798" y="2565"/>
                    <a:pt x="798" y="2566"/>
                  </a:cubicBezTo>
                  <a:cubicBezTo>
                    <a:pt x="795" y="2570"/>
                    <a:pt x="796" y="2567"/>
                    <a:pt x="797" y="2566"/>
                  </a:cubicBezTo>
                  <a:close/>
                  <a:moveTo>
                    <a:pt x="793" y="2752"/>
                  </a:moveTo>
                  <a:cubicBezTo>
                    <a:pt x="804" y="2746"/>
                    <a:pt x="793" y="2718"/>
                    <a:pt x="815" y="2724"/>
                  </a:cubicBezTo>
                  <a:cubicBezTo>
                    <a:pt x="818" y="2741"/>
                    <a:pt x="815" y="2761"/>
                    <a:pt x="793" y="2752"/>
                  </a:cubicBezTo>
                  <a:close/>
                  <a:moveTo>
                    <a:pt x="804" y="2693"/>
                  </a:moveTo>
                  <a:cubicBezTo>
                    <a:pt x="801" y="2682"/>
                    <a:pt x="804" y="2670"/>
                    <a:pt x="818" y="2670"/>
                  </a:cubicBezTo>
                  <a:cubicBezTo>
                    <a:pt x="821" y="2682"/>
                    <a:pt x="815" y="2690"/>
                    <a:pt x="804" y="2693"/>
                  </a:cubicBezTo>
                  <a:close/>
                  <a:moveTo>
                    <a:pt x="812" y="2631"/>
                  </a:moveTo>
                  <a:cubicBezTo>
                    <a:pt x="813" y="2631"/>
                    <a:pt x="814" y="2630"/>
                    <a:pt x="814" y="2630"/>
                  </a:cubicBezTo>
                  <a:cubicBezTo>
                    <a:pt x="814" y="2630"/>
                    <a:pt x="813" y="2631"/>
                    <a:pt x="812" y="2631"/>
                  </a:cubicBezTo>
                  <a:close/>
                  <a:moveTo>
                    <a:pt x="824" y="2682"/>
                  </a:moveTo>
                  <a:cubicBezTo>
                    <a:pt x="824" y="2676"/>
                    <a:pt x="832" y="2684"/>
                    <a:pt x="824" y="2682"/>
                  </a:cubicBezTo>
                  <a:close/>
                  <a:moveTo>
                    <a:pt x="824" y="2639"/>
                  </a:moveTo>
                  <a:cubicBezTo>
                    <a:pt x="818" y="2636"/>
                    <a:pt x="824" y="2625"/>
                    <a:pt x="829" y="2628"/>
                  </a:cubicBezTo>
                  <a:cubicBezTo>
                    <a:pt x="829" y="2634"/>
                    <a:pt x="824" y="2634"/>
                    <a:pt x="824" y="2639"/>
                  </a:cubicBezTo>
                  <a:close/>
                  <a:moveTo>
                    <a:pt x="829" y="2698"/>
                  </a:moveTo>
                  <a:cubicBezTo>
                    <a:pt x="846" y="2698"/>
                    <a:pt x="829" y="2721"/>
                    <a:pt x="829" y="2698"/>
                  </a:cubicBezTo>
                  <a:close/>
                  <a:moveTo>
                    <a:pt x="843" y="2701"/>
                  </a:moveTo>
                  <a:cubicBezTo>
                    <a:pt x="841" y="2701"/>
                    <a:pt x="841" y="2690"/>
                    <a:pt x="846" y="2693"/>
                  </a:cubicBezTo>
                  <a:cubicBezTo>
                    <a:pt x="849" y="2696"/>
                    <a:pt x="843" y="2696"/>
                    <a:pt x="843" y="2701"/>
                  </a:cubicBezTo>
                  <a:close/>
                  <a:moveTo>
                    <a:pt x="846" y="2701"/>
                  </a:moveTo>
                  <a:cubicBezTo>
                    <a:pt x="860" y="2701"/>
                    <a:pt x="843" y="2724"/>
                    <a:pt x="846" y="2701"/>
                  </a:cubicBezTo>
                  <a:close/>
                  <a:moveTo>
                    <a:pt x="855" y="2673"/>
                  </a:moveTo>
                  <a:cubicBezTo>
                    <a:pt x="849" y="2670"/>
                    <a:pt x="843" y="2670"/>
                    <a:pt x="843" y="2662"/>
                  </a:cubicBezTo>
                  <a:cubicBezTo>
                    <a:pt x="849" y="2659"/>
                    <a:pt x="852" y="2665"/>
                    <a:pt x="855" y="2659"/>
                  </a:cubicBezTo>
                  <a:cubicBezTo>
                    <a:pt x="858" y="2659"/>
                    <a:pt x="860" y="2662"/>
                    <a:pt x="860" y="2665"/>
                  </a:cubicBezTo>
                  <a:cubicBezTo>
                    <a:pt x="858" y="2667"/>
                    <a:pt x="855" y="2670"/>
                    <a:pt x="855" y="2673"/>
                  </a:cubicBezTo>
                  <a:close/>
                  <a:moveTo>
                    <a:pt x="858" y="2797"/>
                  </a:moveTo>
                  <a:lnTo>
                    <a:pt x="858" y="2792"/>
                  </a:lnTo>
                  <a:lnTo>
                    <a:pt x="869" y="2792"/>
                  </a:lnTo>
                  <a:cubicBezTo>
                    <a:pt x="869" y="2797"/>
                    <a:pt x="860" y="2797"/>
                    <a:pt x="858" y="2797"/>
                  </a:cubicBezTo>
                  <a:close/>
                  <a:moveTo>
                    <a:pt x="875" y="2794"/>
                  </a:moveTo>
                  <a:cubicBezTo>
                    <a:pt x="866" y="2789"/>
                    <a:pt x="860" y="2777"/>
                    <a:pt x="860" y="2766"/>
                  </a:cubicBezTo>
                  <a:cubicBezTo>
                    <a:pt x="869" y="2766"/>
                    <a:pt x="875" y="2766"/>
                    <a:pt x="875" y="2761"/>
                  </a:cubicBezTo>
                  <a:cubicBezTo>
                    <a:pt x="889" y="2769"/>
                    <a:pt x="891" y="2789"/>
                    <a:pt x="875" y="2794"/>
                  </a:cubicBezTo>
                  <a:close/>
                  <a:moveTo>
                    <a:pt x="875" y="2741"/>
                  </a:moveTo>
                  <a:cubicBezTo>
                    <a:pt x="875" y="2735"/>
                    <a:pt x="883" y="2744"/>
                    <a:pt x="875" y="2741"/>
                  </a:cubicBezTo>
                  <a:close/>
                  <a:moveTo>
                    <a:pt x="894" y="2732"/>
                  </a:moveTo>
                  <a:cubicBezTo>
                    <a:pt x="894" y="2730"/>
                    <a:pt x="897" y="2727"/>
                    <a:pt x="897" y="2724"/>
                  </a:cubicBezTo>
                  <a:cubicBezTo>
                    <a:pt x="900" y="2724"/>
                    <a:pt x="900" y="2735"/>
                    <a:pt x="894" y="2732"/>
                  </a:cubicBezTo>
                  <a:close/>
                  <a:moveTo>
                    <a:pt x="894" y="2673"/>
                  </a:moveTo>
                  <a:cubicBezTo>
                    <a:pt x="894" y="2667"/>
                    <a:pt x="903" y="2665"/>
                    <a:pt x="903" y="2659"/>
                  </a:cubicBezTo>
                  <a:cubicBezTo>
                    <a:pt x="908" y="2659"/>
                    <a:pt x="911" y="2665"/>
                    <a:pt x="917" y="2665"/>
                  </a:cubicBezTo>
                  <a:cubicBezTo>
                    <a:pt x="917" y="2670"/>
                    <a:pt x="911" y="2673"/>
                    <a:pt x="911" y="2679"/>
                  </a:cubicBezTo>
                  <a:cubicBezTo>
                    <a:pt x="906" y="2679"/>
                    <a:pt x="900" y="2673"/>
                    <a:pt x="894" y="2673"/>
                  </a:cubicBezTo>
                  <a:close/>
                  <a:moveTo>
                    <a:pt x="906" y="2744"/>
                  </a:moveTo>
                  <a:cubicBezTo>
                    <a:pt x="903" y="2735"/>
                    <a:pt x="908" y="2727"/>
                    <a:pt x="914" y="2727"/>
                  </a:cubicBezTo>
                  <a:lnTo>
                    <a:pt x="920" y="2727"/>
                  </a:lnTo>
                  <a:cubicBezTo>
                    <a:pt x="920" y="2732"/>
                    <a:pt x="920" y="2738"/>
                    <a:pt x="922" y="2744"/>
                  </a:cubicBezTo>
                  <a:lnTo>
                    <a:pt x="906" y="2744"/>
                  </a:lnTo>
                  <a:close/>
                  <a:moveTo>
                    <a:pt x="922" y="299"/>
                  </a:moveTo>
                  <a:cubicBezTo>
                    <a:pt x="928" y="302"/>
                    <a:pt x="937" y="305"/>
                    <a:pt x="934" y="313"/>
                  </a:cubicBezTo>
                  <a:cubicBezTo>
                    <a:pt x="925" y="310"/>
                    <a:pt x="914" y="293"/>
                    <a:pt x="920" y="285"/>
                  </a:cubicBezTo>
                  <a:cubicBezTo>
                    <a:pt x="928" y="282"/>
                    <a:pt x="931" y="299"/>
                    <a:pt x="922" y="299"/>
                  </a:cubicBezTo>
                  <a:close/>
                  <a:moveTo>
                    <a:pt x="922" y="262"/>
                  </a:moveTo>
                  <a:cubicBezTo>
                    <a:pt x="928" y="262"/>
                    <a:pt x="928" y="268"/>
                    <a:pt x="925" y="271"/>
                  </a:cubicBezTo>
                  <a:cubicBezTo>
                    <a:pt x="922" y="271"/>
                    <a:pt x="922" y="265"/>
                    <a:pt x="922" y="262"/>
                  </a:cubicBezTo>
                  <a:close/>
                  <a:moveTo>
                    <a:pt x="925" y="234"/>
                  </a:moveTo>
                  <a:cubicBezTo>
                    <a:pt x="931" y="226"/>
                    <a:pt x="928" y="243"/>
                    <a:pt x="925" y="234"/>
                  </a:cubicBezTo>
                  <a:close/>
                  <a:moveTo>
                    <a:pt x="920" y="2656"/>
                  </a:moveTo>
                  <a:cubicBezTo>
                    <a:pt x="920" y="2648"/>
                    <a:pt x="928" y="2659"/>
                    <a:pt x="920" y="2656"/>
                  </a:cubicBezTo>
                  <a:close/>
                  <a:moveTo>
                    <a:pt x="917" y="2622"/>
                  </a:moveTo>
                  <a:cubicBezTo>
                    <a:pt x="917" y="2617"/>
                    <a:pt x="928" y="2625"/>
                    <a:pt x="917" y="2622"/>
                  </a:cubicBezTo>
                  <a:close/>
                  <a:moveTo>
                    <a:pt x="917" y="2543"/>
                  </a:moveTo>
                  <a:cubicBezTo>
                    <a:pt x="928" y="2543"/>
                    <a:pt x="931" y="2555"/>
                    <a:pt x="931" y="2569"/>
                  </a:cubicBezTo>
                  <a:cubicBezTo>
                    <a:pt x="922" y="2563"/>
                    <a:pt x="917" y="2555"/>
                    <a:pt x="917" y="2543"/>
                  </a:cubicBezTo>
                  <a:close/>
                  <a:moveTo>
                    <a:pt x="922" y="1683"/>
                  </a:moveTo>
                  <a:lnTo>
                    <a:pt x="922" y="1675"/>
                  </a:lnTo>
                  <a:cubicBezTo>
                    <a:pt x="928" y="1672"/>
                    <a:pt x="928" y="1686"/>
                    <a:pt x="922" y="1683"/>
                  </a:cubicBezTo>
                  <a:close/>
                  <a:moveTo>
                    <a:pt x="928" y="2541"/>
                  </a:moveTo>
                  <a:cubicBezTo>
                    <a:pt x="931" y="2532"/>
                    <a:pt x="931" y="2549"/>
                    <a:pt x="928" y="2541"/>
                  </a:cubicBezTo>
                  <a:close/>
                  <a:moveTo>
                    <a:pt x="928" y="2806"/>
                  </a:moveTo>
                  <a:lnTo>
                    <a:pt x="917" y="2806"/>
                  </a:lnTo>
                  <a:cubicBezTo>
                    <a:pt x="920" y="2800"/>
                    <a:pt x="922" y="2797"/>
                    <a:pt x="928" y="2800"/>
                  </a:cubicBezTo>
                  <a:lnTo>
                    <a:pt x="928" y="2806"/>
                  </a:lnTo>
                  <a:close/>
                  <a:moveTo>
                    <a:pt x="934" y="2783"/>
                  </a:moveTo>
                  <a:cubicBezTo>
                    <a:pt x="948" y="2780"/>
                    <a:pt x="931" y="2806"/>
                    <a:pt x="934" y="2783"/>
                  </a:cubicBezTo>
                  <a:close/>
                  <a:moveTo>
                    <a:pt x="937" y="2735"/>
                  </a:moveTo>
                  <a:lnTo>
                    <a:pt x="928" y="2727"/>
                  </a:lnTo>
                  <a:cubicBezTo>
                    <a:pt x="927" y="2727"/>
                    <a:pt x="927" y="2726"/>
                    <a:pt x="927" y="2725"/>
                  </a:cubicBezTo>
                  <a:cubicBezTo>
                    <a:pt x="927" y="2726"/>
                    <a:pt x="928" y="2726"/>
                    <a:pt x="928" y="2727"/>
                  </a:cubicBezTo>
                  <a:cubicBezTo>
                    <a:pt x="931" y="2730"/>
                    <a:pt x="937" y="2730"/>
                    <a:pt x="937" y="2732"/>
                  </a:cubicBezTo>
                  <a:cubicBezTo>
                    <a:pt x="942" y="2735"/>
                    <a:pt x="939" y="2738"/>
                    <a:pt x="937" y="2735"/>
                  </a:cubicBezTo>
                  <a:close/>
                  <a:moveTo>
                    <a:pt x="925" y="2721"/>
                  </a:moveTo>
                  <a:cubicBezTo>
                    <a:pt x="925" y="2721"/>
                    <a:pt x="925" y="2723"/>
                    <a:pt x="927" y="2725"/>
                  </a:cubicBezTo>
                  <a:cubicBezTo>
                    <a:pt x="927" y="2724"/>
                    <a:pt x="927" y="2722"/>
                    <a:pt x="925" y="2721"/>
                  </a:cubicBezTo>
                  <a:close/>
                  <a:moveTo>
                    <a:pt x="934" y="1720"/>
                  </a:moveTo>
                  <a:cubicBezTo>
                    <a:pt x="934" y="1714"/>
                    <a:pt x="942" y="1722"/>
                    <a:pt x="934" y="1720"/>
                  </a:cubicBezTo>
                  <a:close/>
                  <a:moveTo>
                    <a:pt x="937" y="206"/>
                  </a:moveTo>
                  <a:cubicBezTo>
                    <a:pt x="937" y="209"/>
                    <a:pt x="928" y="203"/>
                    <a:pt x="925" y="212"/>
                  </a:cubicBezTo>
                  <a:cubicBezTo>
                    <a:pt x="942" y="212"/>
                    <a:pt x="934" y="234"/>
                    <a:pt x="914" y="234"/>
                  </a:cubicBezTo>
                  <a:cubicBezTo>
                    <a:pt x="908" y="223"/>
                    <a:pt x="900" y="234"/>
                    <a:pt x="894" y="231"/>
                  </a:cubicBezTo>
                  <a:cubicBezTo>
                    <a:pt x="891" y="217"/>
                    <a:pt x="903" y="212"/>
                    <a:pt x="906" y="197"/>
                  </a:cubicBezTo>
                  <a:cubicBezTo>
                    <a:pt x="912" y="199"/>
                    <a:pt x="913" y="194"/>
                    <a:pt x="917" y="195"/>
                  </a:cubicBezTo>
                  <a:lnTo>
                    <a:pt x="917" y="195"/>
                  </a:lnTo>
                  <a:cubicBezTo>
                    <a:pt x="918" y="195"/>
                    <a:pt x="920" y="196"/>
                    <a:pt x="921" y="198"/>
                  </a:cubicBezTo>
                  <a:cubicBezTo>
                    <a:pt x="921" y="197"/>
                    <a:pt x="920" y="197"/>
                    <a:pt x="920" y="197"/>
                  </a:cubicBezTo>
                  <a:cubicBezTo>
                    <a:pt x="920" y="198"/>
                    <a:pt x="921" y="199"/>
                    <a:pt x="922" y="200"/>
                  </a:cubicBezTo>
                  <a:cubicBezTo>
                    <a:pt x="923" y="200"/>
                    <a:pt x="923" y="200"/>
                    <a:pt x="923" y="199"/>
                  </a:cubicBezTo>
                  <a:cubicBezTo>
                    <a:pt x="924" y="200"/>
                    <a:pt x="925" y="200"/>
                    <a:pt x="925" y="200"/>
                  </a:cubicBezTo>
                  <a:cubicBezTo>
                    <a:pt x="925" y="192"/>
                    <a:pt x="920" y="197"/>
                    <a:pt x="922" y="192"/>
                  </a:cubicBezTo>
                  <a:cubicBezTo>
                    <a:pt x="928" y="189"/>
                    <a:pt x="931" y="200"/>
                    <a:pt x="939" y="195"/>
                  </a:cubicBezTo>
                  <a:cubicBezTo>
                    <a:pt x="948" y="203"/>
                    <a:pt x="928" y="200"/>
                    <a:pt x="937" y="206"/>
                  </a:cubicBezTo>
                  <a:close/>
                  <a:moveTo>
                    <a:pt x="921" y="198"/>
                  </a:moveTo>
                  <a:cubicBezTo>
                    <a:pt x="922" y="198"/>
                    <a:pt x="922" y="199"/>
                    <a:pt x="923" y="199"/>
                  </a:cubicBezTo>
                  <a:cubicBezTo>
                    <a:pt x="923" y="199"/>
                    <a:pt x="922" y="198"/>
                    <a:pt x="921" y="198"/>
                  </a:cubicBezTo>
                  <a:close/>
                  <a:moveTo>
                    <a:pt x="951" y="2820"/>
                  </a:moveTo>
                  <a:cubicBezTo>
                    <a:pt x="945" y="2823"/>
                    <a:pt x="939" y="2811"/>
                    <a:pt x="942" y="2808"/>
                  </a:cubicBezTo>
                  <a:cubicBezTo>
                    <a:pt x="945" y="2811"/>
                    <a:pt x="954" y="2814"/>
                    <a:pt x="951" y="2820"/>
                  </a:cubicBezTo>
                  <a:close/>
                  <a:moveTo>
                    <a:pt x="954" y="2806"/>
                  </a:moveTo>
                  <a:lnTo>
                    <a:pt x="954" y="2800"/>
                  </a:lnTo>
                  <a:lnTo>
                    <a:pt x="951" y="2800"/>
                  </a:lnTo>
                  <a:cubicBezTo>
                    <a:pt x="951" y="2800"/>
                    <a:pt x="954" y="2803"/>
                    <a:pt x="954" y="2806"/>
                  </a:cubicBezTo>
                  <a:cubicBezTo>
                    <a:pt x="948" y="2806"/>
                    <a:pt x="945" y="2803"/>
                    <a:pt x="945" y="2797"/>
                  </a:cubicBezTo>
                  <a:cubicBezTo>
                    <a:pt x="948" y="2797"/>
                    <a:pt x="948" y="2794"/>
                    <a:pt x="951" y="2794"/>
                  </a:cubicBezTo>
                  <a:lnTo>
                    <a:pt x="954" y="2797"/>
                  </a:lnTo>
                  <a:cubicBezTo>
                    <a:pt x="954" y="2794"/>
                    <a:pt x="959" y="2794"/>
                    <a:pt x="962" y="2794"/>
                  </a:cubicBezTo>
                  <a:lnTo>
                    <a:pt x="962" y="2800"/>
                  </a:lnTo>
                  <a:cubicBezTo>
                    <a:pt x="962" y="2803"/>
                    <a:pt x="959" y="2806"/>
                    <a:pt x="954" y="2806"/>
                  </a:cubicBezTo>
                  <a:close/>
                  <a:moveTo>
                    <a:pt x="962" y="2803"/>
                  </a:moveTo>
                  <a:cubicBezTo>
                    <a:pt x="968" y="2803"/>
                    <a:pt x="970" y="2803"/>
                    <a:pt x="962" y="2800"/>
                  </a:cubicBezTo>
                  <a:lnTo>
                    <a:pt x="962" y="2803"/>
                  </a:lnTo>
                  <a:close/>
                  <a:moveTo>
                    <a:pt x="965" y="2763"/>
                  </a:moveTo>
                  <a:cubicBezTo>
                    <a:pt x="959" y="2761"/>
                    <a:pt x="962" y="2749"/>
                    <a:pt x="973" y="2752"/>
                  </a:cubicBezTo>
                  <a:cubicBezTo>
                    <a:pt x="970" y="2758"/>
                    <a:pt x="970" y="2763"/>
                    <a:pt x="965" y="2763"/>
                  </a:cubicBezTo>
                  <a:close/>
                  <a:moveTo>
                    <a:pt x="985" y="2653"/>
                  </a:moveTo>
                  <a:cubicBezTo>
                    <a:pt x="979" y="2662"/>
                    <a:pt x="979" y="2670"/>
                    <a:pt x="990" y="2670"/>
                  </a:cubicBezTo>
                  <a:cubicBezTo>
                    <a:pt x="990" y="2673"/>
                    <a:pt x="987" y="2673"/>
                    <a:pt x="985" y="2676"/>
                  </a:cubicBezTo>
                  <a:cubicBezTo>
                    <a:pt x="987" y="2676"/>
                    <a:pt x="990" y="2673"/>
                    <a:pt x="996" y="2673"/>
                  </a:cubicBezTo>
                  <a:lnTo>
                    <a:pt x="996" y="2684"/>
                  </a:lnTo>
                  <a:cubicBezTo>
                    <a:pt x="993" y="2684"/>
                    <a:pt x="987" y="2687"/>
                    <a:pt x="985" y="2687"/>
                  </a:cubicBezTo>
                  <a:cubicBezTo>
                    <a:pt x="985" y="2684"/>
                    <a:pt x="982" y="2682"/>
                    <a:pt x="982" y="2679"/>
                  </a:cubicBezTo>
                  <a:cubicBezTo>
                    <a:pt x="979" y="2679"/>
                    <a:pt x="979" y="2682"/>
                    <a:pt x="979" y="2682"/>
                  </a:cubicBezTo>
                  <a:cubicBezTo>
                    <a:pt x="976" y="2673"/>
                    <a:pt x="968" y="2653"/>
                    <a:pt x="985" y="2653"/>
                  </a:cubicBezTo>
                  <a:close/>
                  <a:moveTo>
                    <a:pt x="976" y="2817"/>
                  </a:moveTo>
                  <a:cubicBezTo>
                    <a:pt x="979" y="2808"/>
                    <a:pt x="985" y="2820"/>
                    <a:pt x="985" y="2825"/>
                  </a:cubicBezTo>
                  <a:cubicBezTo>
                    <a:pt x="1001" y="2831"/>
                    <a:pt x="970" y="2831"/>
                    <a:pt x="976" y="2817"/>
                  </a:cubicBezTo>
                  <a:close/>
                  <a:moveTo>
                    <a:pt x="990" y="2721"/>
                  </a:moveTo>
                  <a:cubicBezTo>
                    <a:pt x="985" y="2724"/>
                    <a:pt x="993" y="2715"/>
                    <a:pt x="990" y="2721"/>
                  </a:cubicBezTo>
                  <a:close/>
                  <a:moveTo>
                    <a:pt x="985" y="2704"/>
                  </a:moveTo>
                  <a:cubicBezTo>
                    <a:pt x="982" y="2698"/>
                    <a:pt x="987" y="2696"/>
                    <a:pt x="990" y="2693"/>
                  </a:cubicBezTo>
                  <a:cubicBezTo>
                    <a:pt x="993" y="2693"/>
                    <a:pt x="990" y="2707"/>
                    <a:pt x="985" y="2704"/>
                  </a:cubicBezTo>
                  <a:close/>
                  <a:moveTo>
                    <a:pt x="1004" y="2682"/>
                  </a:moveTo>
                  <a:cubicBezTo>
                    <a:pt x="1004" y="2687"/>
                    <a:pt x="999" y="2690"/>
                    <a:pt x="993" y="2690"/>
                  </a:cubicBezTo>
                  <a:cubicBezTo>
                    <a:pt x="996" y="2687"/>
                    <a:pt x="999" y="2682"/>
                    <a:pt x="1004" y="2682"/>
                  </a:cubicBezTo>
                  <a:close/>
                  <a:moveTo>
                    <a:pt x="993" y="2727"/>
                  </a:moveTo>
                  <a:lnTo>
                    <a:pt x="996" y="2727"/>
                  </a:lnTo>
                  <a:cubicBezTo>
                    <a:pt x="996" y="2724"/>
                    <a:pt x="999" y="2721"/>
                    <a:pt x="1001" y="2721"/>
                  </a:cubicBezTo>
                  <a:cubicBezTo>
                    <a:pt x="1013" y="2727"/>
                    <a:pt x="1010" y="2732"/>
                    <a:pt x="1001" y="2738"/>
                  </a:cubicBezTo>
                  <a:cubicBezTo>
                    <a:pt x="999" y="2738"/>
                    <a:pt x="999" y="2735"/>
                    <a:pt x="996" y="2735"/>
                  </a:cubicBezTo>
                  <a:cubicBezTo>
                    <a:pt x="996" y="2735"/>
                    <a:pt x="993" y="2735"/>
                    <a:pt x="993" y="2727"/>
                  </a:cubicBezTo>
                  <a:close/>
                  <a:moveTo>
                    <a:pt x="1001" y="2825"/>
                  </a:moveTo>
                  <a:cubicBezTo>
                    <a:pt x="1001" y="2825"/>
                    <a:pt x="1004" y="2820"/>
                    <a:pt x="1004" y="2817"/>
                  </a:cubicBezTo>
                  <a:lnTo>
                    <a:pt x="996" y="2817"/>
                  </a:lnTo>
                  <a:lnTo>
                    <a:pt x="996" y="2806"/>
                  </a:lnTo>
                  <a:lnTo>
                    <a:pt x="1013" y="2806"/>
                  </a:lnTo>
                  <a:lnTo>
                    <a:pt x="1013" y="2808"/>
                  </a:lnTo>
                  <a:cubicBezTo>
                    <a:pt x="1016" y="2817"/>
                    <a:pt x="1013" y="2834"/>
                    <a:pt x="1001" y="2825"/>
                  </a:cubicBezTo>
                  <a:close/>
                  <a:moveTo>
                    <a:pt x="1001" y="2701"/>
                  </a:moveTo>
                  <a:cubicBezTo>
                    <a:pt x="1004" y="2693"/>
                    <a:pt x="1013" y="2682"/>
                    <a:pt x="1016" y="2673"/>
                  </a:cubicBezTo>
                  <a:cubicBezTo>
                    <a:pt x="1030" y="2673"/>
                    <a:pt x="1021" y="2713"/>
                    <a:pt x="1001" y="2701"/>
                  </a:cubicBezTo>
                  <a:close/>
                  <a:moveTo>
                    <a:pt x="1024" y="2775"/>
                  </a:moveTo>
                  <a:cubicBezTo>
                    <a:pt x="1019" y="2777"/>
                    <a:pt x="1023" y="2771"/>
                    <a:pt x="1024" y="2773"/>
                  </a:cubicBezTo>
                  <a:cubicBezTo>
                    <a:pt x="1023" y="2768"/>
                    <a:pt x="1024" y="2762"/>
                    <a:pt x="1030" y="2769"/>
                  </a:cubicBezTo>
                  <a:cubicBezTo>
                    <a:pt x="1033" y="2766"/>
                    <a:pt x="1035" y="2763"/>
                    <a:pt x="1035" y="2758"/>
                  </a:cubicBezTo>
                  <a:cubicBezTo>
                    <a:pt x="1041" y="2758"/>
                    <a:pt x="1041" y="2766"/>
                    <a:pt x="1047" y="2766"/>
                  </a:cubicBezTo>
                  <a:cubicBezTo>
                    <a:pt x="1044" y="2772"/>
                    <a:pt x="1044" y="2775"/>
                    <a:pt x="1044" y="2777"/>
                  </a:cubicBezTo>
                  <a:cubicBezTo>
                    <a:pt x="1041" y="2775"/>
                    <a:pt x="1035" y="2775"/>
                    <a:pt x="1033" y="2775"/>
                  </a:cubicBezTo>
                  <a:cubicBezTo>
                    <a:pt x="1029" y="2782"/>
                    <a:pt x="1025" y="2779"/>
                    <a:pt x="1024" y="2774"/>
                  </a:cubicBezTo>
                  <a:lnTo>
                    <a:pt x="1024" y="2775"/>
                  </a:lnTo>
                  <a:close/>
                  <a:moveTo>
                    <a:pt x="1035" y="2845"/>
                  </a:moveTo>
                  <a:lnTo>
                    <a:pt x="1035" y="2842"/>
                  </a:lnTo>
                  <a:cubicBezTo>
                    <a:pt x="1033" y="2842"/>
                    <a:pt x="1030" y="2842"/>
                    <a:pt x="1027" y="2840"/>
                  </a:cubicBezTo>
                  <a:cubicBezTo>
                    <a:pt x="1027" y="2834"/>
                    <a:pt x="1030" y="2831"/>
                    <a:pt x="1035" y="2831"/>
                  </a:cubicBezTo>
                  <a:lnTo>
                    <a:pt x="1035" y="2828"/>
                  </a:lnTo>
                  <a:cubicBezTo>
                    <a:pt x="1038" y="2828"/>
                    <a:pt x="1044" y="2825"/>
                    <a:pt x="1047" y="2825"/>
                  </a:cubicBezTo>
                  <a:cubicBezTo>
                    <a:pt x="1049" y="2837"/>
                    <a:pt x="1044" y="2845"/>
                    <a:pt x="1035" y="2845"/>
                  </a:cubicBezTo>
                  <a:close/>
                  <a:moveTo>
                    <a:pt x="1041" y="2755"/>
                  </a:moveTo>
                  <a:cubicBezTo>
                    <a:pt x="1041" y="2749"/>
                    <a:pt x="1049" y="2758"/>
                    <a:pt x="1041" y="2755"/>
                  </a:cubicBezTo>
                  <a:close/>
                  <a:moveTo>
                    <a:pt x="1041" y="2611"/>
                  </a:moveTo>
                  <a:cubicBezTo>
                    <a:pt x="1058" y="2600"/>
                    <a:pt x="1049" y="2634"/>
                    <a:pt x="1061" y="2628"/>
                  </a:cubicBezTo>
                  <a:cubicBezTo>
                    <a:pt x="1058" y="2651"/>
                    <a:pt x="1038" y="2631"/>
                    <a:pt x="1041" y="2611"/>
                  </a:cubicBezTo>
                  <a:close/>
                  <a:moveTo>
                    <a:pt x="1052" y="2718"/>
                  </a:moveTo>
                  <a:cubicBezTo>
                    <a:pt x="1055" y="2718"/>
                    <a:pt x="1058" y="2721"/>
                    <a:pt x="1061" y="2724"/>
                  </a:cubicBezTo>
                  <a:lnTo>
                    <a:pt x="1055" y="2724"/>
                  </a:lnTo>
                  <a:cubicBezTo>
                    <a:pt x="1055" y="2721"/>
                    <a:pt x="1052" y="2718"/>
                    <a:pt x="1052" y="2718"/>
                  </a:cubicBezTo>
                  <a:close/>
                  <a:moveTo>
                    <a:pt x="1083" y="2752"/>
                  </a:moveTo>
                  <a:cubicBezTo>
                    <a:pt x="1066" y="2755"/>
                    <a:pt x="1052" y="2746"/>
                    <a:pt x="1055" y="2730"/>
                  </a:cubicBezTo>
                  <a:cubicBezTo>
                    <a:pt x="1066" y="2735"/>
                    <a:pt x="1086" y="2735"/>
                    <a:pt x="1083" y="2752"/>
                  </a:cubicBezTo>
                  <a:close/>
                  <a:moveTo>
                    <a:pt x="1089" y="2854"/>
                  </a:moveTo>
                  <a:cubicBezTo>
                    <a:pt x="1075" y="2854"/>
                    <a:pt x="1064" y="2848"/>
                    <a:pt x="1055" y="2834"/>
                  </a:cubicBezTo>
                  <a:cubicBezTo>
                    <a:pt x="1069" y="2840"/>
                    <a:pt x="1092" y="2834"/>
                    <a:pt x="1089" y="2854"/>
                  </a:cubicBezTo>
                  <a:close/>
                  <a:moveTo>
                    <a:pt x="1097" y="2645"/>
                  </a:moveTo>
                  <a:cubicBezTo>
                    <a:pt x="1080" y="2645"/>
                    <a:pt x="1086" y="2625"/>
                    <a:pt x="1106" y="2625"/>
                  </a:cubicBezTo>
                  <a:cubicBezTo>
                    <a:pt x="1103" y="2634"/>
                    <a:pt x="1095" y="2636"/>
                    <a:pt x="1097" y="2645"/>
                  </a:cubicBezTo>
                  <a:close/>
                  <a:moveTo>
                    <a:pt x="1106" y="2611"/>
                  </a:moveTo>
                  <a:cubicBezTo>
                    <a:pt x="1123" y="2608"/>
                    <a:pt x="1103" y="2634"/>
                    <a:pt x="1106" y="2611"/>
                  </a:cubicBezTo>
                  <a:close/>
                  <a:moveTo>
                    <a:pt x="1117" y="2876"/>
                  </a:moveTo>
                  <a:lnTo>
                    <a:pt x="1109" y="2876"/>
                  </a:lnTo>
                  <a:cubicBezTo>
                    <a:pt x="1112" y="2873"/>
                    <a:pt x="1112" y="2871"/>
                    <a:pt x="1117" y="2871"/>
                  </a:cubicBezTo>
                  <a:cubicBezTo>
                    <a:pt x="1114" y="2871"/>
                    <a:pt x="1117" y="2873"/>
                    <a:pt x="1117" y="2876"/>
                  </a:cubicBezTo>
                  <a:close/>
                  <a:moveTo>
                    <a:pt x="1109" y="2651"/>
                  </a:moveTo>
                  <a:cubicBezTo>
                    <a:pt x="1128" y="2651"/>
                    <a:pt x="1100" y="2679"/>
                    <a:pt x="1109" y="2651"/>
                  </a:cubicBezTo>
                  <a:close/>
                  <a:moveTo>
                    <a:pt x="1123" y="2693"/>
                  </a:moveTo>
                  <a:cubicBezTo>
                    <a:pt x="1137" y="2693"/>
                    <a:pt x="1120" y="2715"/>
                    <a:pt x="1123" y="2693"/>
                  </a:cubicBezTo>
                  <a:close/>
                  <a:moveTo>
                    <a:pt x="1134" y="2769"/>
                  </a:moveTo>
                  <a:cubicBezTo>
                    <a:pt x="1154" y="2772"/>
                    <a:pt x="1128" y="2800"/>
                    <a:pt x="1134" y="2769"/>
                  </a:cubicBezTo>
                  <a:close/>
                  <a:moveTo>
                    <a:pt x="1145" y="2591"/>
                  </a:moveTo>
                  <a:cubicBezTo>
                    <a:pt x="1168" y="2600"/>
                    <a:pt x="1137" y="2588"/>
                    <a:pt x="1145" y="2591"/>
                  </a:cubicBezTo>
                  <a:close/>
                  <a:moveTo>
                    <a:pt x="1154" y="2696"/>
                  </a:moveTo>
                  <a:cubicBezTo>
                    <a:pt x="1174" y="2698"/>
                    <a:pt x="1148" y="2727"/>
                    <a:pt x="1154" y="2696"/>
                  </a:cubicBezTo>
                  <a:close/>
                  <a:moveTo>
                    <a:pt x="1162" y="2710"/>
                  </a:moveTo>
                  <a:cubicBezTo>
                    <a:pt x="1165" y="2704"/>
                    <a:pt x="1174" y="2710"/>
                    <a:pt x="1165" y="2710"/>
                  </a:cubicBezTo>
                  <a:cubicBezTo>
                    <a:pt x="1179" y="2710"/>
                    <a:pt x="1162" y="2730"/>
                    <a:pt x="1162" y="2710"/>
                  </a:cubicBezTo>
                  <a:close/>
                  <a:moveTo>
                    <a:pt x="1162" y="2656"/>
                  </a:moveTo>
                  <a:lnTo>
                    <a:pt x="1162" y="2645"/>
                  </a:lnTo>
                  <a:cubicBezTo>
                    <a:pt x="1168" y="2645"/>
                    <a:pt x="1168" y="2642"/>
                    <a:pt x="1168" y="2639"/>
                  </a:cubicBezTo>
                  <a:cubicBezTo>
                    <a:pt x="1174" y="2636"/>
                    <a:pt x="1174" y="2662"/>
                    <a:pt x="1162" y="2656"/>
                  </a:cubicBezTo>
                  <a:close/>
                  <a:moveTo>
                    <a:pt x="1171" y="310"/>
                  </a:moveTo>
                  <a:cubicBezTo>
                    <a:pt x="1171" y="305"/>
                    <a:pt x="1179" y="313"/>
                    <a:pt x="1171" y="310"/>
                  </a:cubicBezTo>
                  <a:close/>
                  <a:moveTo>
                    <a:pt x="1185" y="285"/>
                  </a:moveTo>
                  <a:lnTo>
                    <a:pt x="1176" y="285"/>
                  </a:lnTo>
                  <a:cubicBezTo>
                    <a:pt x="1174" y="282"/>
                    <a:pt x="1185" y="279"/>
                    <a:pt x="1185" y="285"/>
                  </a:cubicBezTo>
                  <a:close/>
                  <a:moveTo>
                    <a:pt x="1179" y="2797"/>
                  </a:moveTo>
                  <a:cubicBezTo>
                    <a:pt x="1188" y="2794"/>
                    <a:pt x="1176" y="2806"/>
                    <a:pt x="1179" y="2797"/>
                  </a:cubicBezTo>
                  <a:close/>
                  <a:moveTo>
                    <a:pt x="1179" y="2687"/>
                  </a:moveTo>
                  <a:cubicBezTo>
                    <a:pt x="1182" y="2687"/>
                    <a:pt x="1182" y="2684"/>
                    <a:pt x="1188" y="2684"/>
                  </a:cubicBezTo>
                  <a:cubicBezTo>
                    <a:pt x="1199" y="2684"/>
                    <a:pt x="1185" y="2687"/>
                    <a:pt x="1179" y="2687"/>
                  </a:cubicBezTo>
                  <a:close/>
                  <a:moveTo>
                    <a:pt x="1202" y="2840"/>
                  </a:moveTo>
                  <a:cubicBezTo>
                    <a:pt x="1193" y="2840"/>
                    <a:pt x="1193" y="2825"/>
                    <a:pt x="1193" y="2817"/>
                  </a:cubicBezTo>
                  <a:lnTo>
                    <a:pt x="1216" y="2817"/>
                  </a:lnTo>
                  <a:cubicBezTo>
                    <a:pt x="1210" y="2825"/>
                    <a:pt x="1202" y="2825"/>
                    <a:pt x="1202" y="2840"/>
                  </a:cubicBezTo>
                  <a:close/>
                  <a:moveTo>
                    <a:pt x="1210" y="2467"/>
                  </a:moveTo>
                  <a:cubicBezTo>
                    <a:pt x="1224" y="2464"/>
                    <a:pt x="1207" y="2490"/>
                    <a:pt x="1210" y="2467"/>
                  </a:cubicBezTo>
                  <a:close/>
                  <a:moveTo>
                    <a:pt x="1216" y="2532"/>
                  </a:moveTo>
                  <a:cubicBezTo>
                    <a:pt x="1224" y="2526"/>
                    <a:pt x="1213" y="2538"/>
                    <a:pt x="1216" y="2532"/>
                  </a:cubicBezTo>
                  <a:close/>
                  <a:moveTo>
                    <a:pt x="1219" y="200"/>
                  </a:moveTo>
                  <a:cubicBezTo>
                    <a:pt x="1230" y="195"/>
                    <a:pt x="1227" y="209"/>
                    <a:pt x="1219" y="200"/>
                  </a:cubicBezTo>
                  <a:close/>
                  <a:moveTo>
                    <a:pt x="1224" y="2631"/>
                  </a:moveTo>
                  <a:lnTo>
                    <a:pt x="1224" y="2636"/>
                  </a:lnTo>
                  <a:cubicBezTo>
                    <a:pt x="1222" y="2636"/>
                    <a:pt x="1222" y="2631"/>
                    <a:pt x="1222" y="2628"/>
                  </a:cubicBezTo>
                  <a:cubicBezTo>
                    <a:pt x="1224" y="2628"/>
                    <a:pt x="1227" y="2628"/>
                    <a:pt x="1227" y="2625"/>
                  </a:cubicBezTo>
                  <a:cubicBezTo>
                    <a:pt x="1233" y="2622"/>
                    <a:pt x="1227" y="2631"/>
                    <a:pt x="1224" y="2631"/>
                  </a:cubicBezTo>
                  <a:close/>
                  <a:moveTo>
                    <a:pt x="1236" y="2744"/>
                  </a:moveTo>
                  <a:cubicBezTo>
                    <a:pt x="1255" y="2744"/>
                    <a:pt x="1227" y="2772"/>
                    <a:pt x="1236" y="2744"/>
                  </a:cubicBezTo>
                  <a:close/>
                  <a:moveTo>
                    <a:pt x="1233" y="2775"/>
                  </a:moveTo>
                  <a:cubicBezTo>
                    <a:pt x="1233" y="2772"/>
                    <a:pt x="1241" y="2772"/>
                    <a:pt x="1241" y="2766"/>
                  </a:cubicBezTo>
                  <a:cubicBezTo>
                    <a:pt x="1247" y="2772"/>
                    <a:pt x="1238" y="2777"/>
                    <a:pt x="1233" y="2775"/>
                  </a:cubicBezTo>
                  <a:close/>
                  <a:moveTo>
                    <a:pt x="1250" y="2698"/>
                  </a:moveTo>
                  <a:lnTo>
                    <a:pt x="1244" y="2698"/>
                  </a:lnTo>
                  <a:lnTo>
                    <a:pt x="1244" y="2693"/>
                  </a:lnTo>
                  <a:lnTo>
                    <a:pt x="1250" y="2693"/>
                  </a:lnTo>
                  <a:lnTo>
                    <a:pt x="1250" y="2698"/>
                  </a:lnTo>
                  <a:close/>
                  <a:moveTo>
                    <a:pt x="1241" y="240"/>
                  </a:moveTo>
                  <a:cubicBezTo>
                    <a:pt x="1244" y="240"/>
                    <a:pt x="1250" y="243"/>
                    <a:pt x="1250" y="248"/>
                  </a:cubicBezTo>
                  <a:cubicBezTo>
                    <a:pt x="1247" y="248"/>
                    <a:pt x="1241" y="245"/>
                    <a:pt x="1241" y="240"/>
                  </a:cubicBezTo>
                  <a:close/>
                  <a:moveTo>
                    <a:pt x="1247" y="2098"/>
                  </a:moveTo>
                  <a:cubicBezTo>
                    <a:pt x="1247" y="2092"/>
                    <a:pt x="1258" y="2100"/>
                    <a:pt x="1247" y="2098"/>
                  </a:cubicBezTo>
                  <a:close/>
                  <a:moveTo>
                    <a:pt x="1255" y="2808"/>
                  </a:moveTo>
                  <a:cubicBezTo>
                    <a:pt x="1255" y="2803"/>
                    <a:pt x="1264" y="2811"/>
                    <a:pt x="1255" y="2808"/>
                  </a:cubicBezTo>
                  <a:close/>
                  <a:moveTo>
                    <a:pt x="1261" y="2763"/>
                  </a:moveTo>
                  <a:cubicBezTo>
                    <a:pt x="1281" y="2766"/>
                    <a:pt x="1253" y="2792"/>
                    <a:pt x="1261" y="2763"/>
                  </a:cubicBezTo>
                  <a:close/>
                  <a:moveTo>
                    <a:pt x="1270" y="2783"/>
                  </a:moveTo>
                  <a:cubicBezTo>
                    <a:pt x="1292" y="2794"/>
                    <a:pt x="1244" y="2806"/>
                    <a:pt x="1270" y="2783"/>
                  </a:cubicBezTo>
                  <a:close/>
                  <a:moveTo>
                    <a:pt x="1272" y="2673"/>
                  </a:moveTo>
                  <a:cubicBezTo>
                    <a:pt x="1272" y="2667"/>
                    <a:pt x="1284" y="2676"/>
                    <a:pt x="1272" y="2673"/>
                  </a:cubicBezTo>
                  <a:close/>
                  <a:moveTo>
                    <a:pt x="1281" y="2684"/>
                  </a:moveTo>
                  <a:cubicBezTo>
                    <a:pt x="1306" y="2696"/>
                    <a:pt x="1258" y="2707"/>
                    <a:pt x="1281" y="2684"/>
                  </a:cubicBezTo>
                  <a:close/>
                  <a:moveTo>
                    <a:pt x="1289" y="214"/>
                  </a:moveTo>
                  <a:cubicBezTo>
                    <a:pt x="1284" y="214"/>
                    <a:pt x="1289" y="206"/>
                    <a:pt x="1292" y="206"/>
                  </a:cubicBezTo>
                  <a:cubicBezTo>
                    <a:pt x="1292" y="209"/>
                    <a:pt x="1289" y="212"/>
                    <a:pt x="1289" y="214"/>
                  </a:cubicBezTo>
                  <a:close/>
                  <a:moveTo>
                    <a:pt x="1286" y="183"/>
                  </a:moveTo>
                  <a:cubicBezTo>
                    <a:pt x="1281" y="178"/>
                    <a:pt x="1295" y="186"/>
                    <a:pt x="1286" y="183"/>
                  </a:cubicBezTo>
                  <a:close/>
                  <a:moveTo>
                    <a:pt x="1284" y="87"/>
                  </a:moveTo>
                  <a:cubicBezTo>
                    <a:pt x="1286" y="87"/>
                    <a:pt x="1289" y="85"/>
                    <a:pt x="1292" y="85"/>
                  </a:cubicBezTo>
                  <a:cubicBezTo>
                    <a:pt x="1295" y="96"/>
                    <a:pt x="1301" y="93"/>
                    <a:pt x="1298" y="102"/>
                  </a:cubicBezTo>
                  <a:cubicBezTo>
                    <a:pt x="1292" y="102"/>
                    <a:pt x="1286" y="96"/>
                    <a:pt x="1284" y="87"/>
                  </a:cubicBezTo>
                  <a:close/>
                  <a:moveTo>
                    <a:pt x="1301" y="254"/>
                  </a:moveTo>
                  <a:cubicBezTo>
                    <a:pt x="1301" y="248"/>
                    <a:pt x="1312" y="254"/>
                    <a:pt x="1301" y="254"/>
                  </a:cubicBezTo>
                  <a:close/>
                  <a:moveTo>
                    <a:pt x="1301" y="226"/>
                  </a:moveTo>
                  <a:cubicBezTo>
                    <a:pt x="1301" y="223"/>
                    <a:pt x="1309" y="223"/>
                    <a:pt x="1312" y="223"/>
                  </a:cubicBezTo>
                  <a:cubicBezTo>
                    <a:pt x="1315" y="226"/>
                    <a:pt x="1303" y="226"/>
                    <a:pt x="1301" y="226"/>
                  </a:cubicBezTo>
                  <a:close/>
                  <a:moveTo>
                    <a:pt x="1298" y="203"/>
                  </a:moveTo>
                  <a:cubicBezTo>
                    <a:pt x="1301" y="195"/>
                    <a:pt x="1312" y="203"/>
                    <a:pt x="1298" y="203"/>
                  </a:cubicBezTo>
                  <a:close/>
                  <a:moveTo>
                    <a:pt x="1306" y="189"/>
                  </a:moveTo>
                  <a:cubicBezTo>
                    <a:pt x="1315" y="186"/>
                    <a:pt x="1306" y="200"/>
                    <a:pt x="1306" y="189"/>
                  </a:cubicBezTo>
                  <a:close/>
                  <a:moveTo>
                    <a:pt x="1312" y="268"/>
                  </a:moveTo>
                  <a:cubicBezTo>
                    <a:pt x="1312" y="262"/>
                    <a:pt x="1320" y="271"/>
                    <a:pt x="1312" y="268"/>
                  </a:cubicBezTo>
                  <a:close/>
                  <a:moveTo>
                    <a:pt x="1315" y="130"/>
                  </a:moveTo>
                  <a:lnTo>
                    <a:pt x="1315" y="130"/>
                  </a:lnTo>
                  <a:cubicBezTo>
                    <a:pt x="1313" y="128"/>
                    <a:pt x="1312" y="126"/>
                    <a:pt x="1312" y="124"/>
                  </a:cubicBezTo>
                  <a:cubicBezTo>
                    <a:pt x="1318" y="121"/>
                    <a:pt x="1323" y="127"/>
                    <a:pt x="1323" y="133"/>
                  </a:cubicBezTo>
                  <a:cubicBezTo>
                    <a:pt x="1322" y="133"/>
                    <a:pt x="1321" y="132"/>
                    <a:pt x="1320" y="132"/>
                  </a:cubicBezTo>
                  <a:cubicBezTo>
                    <a:pt x="1322" y="133"/>
                    <a:pt x="1323" y="135"/>
                    <a:pt x="1323" y="138"/>
                  </a:cubicBezTo>
                  <a:cubicBezTo>
                    <a:pt x="1318" y="141"/>
                    <a:pt x="1315" y="135"/>
                    <a:pt x="1315" y="130"/>
                  </a:cubicBezTo>
                  <a:close/>
                  <a:moveTo>
                    <a:pt x="1301" y="82"/>
                  </a:moveTo>
                  <a:cubicBezTo>
                    <a:pt x="1303" y="73"/>
                    <a:pt x="1301" y="62"/>
                    <a:pt x="1289" y="68"/>
                  </a:cubicBezTo>
                  <a:cubicBezTo>
                    <a:pt x="1301" y="54"/>
                    <a:pt x="1309" y="73"/>
                    <a:pt x="1320" y="73"/>
                  </a:cubicBezTo>
                  <a:cubicBezTo>
                    <a:pt x="1318" y="76"/>
                    <a:pt x="1309" y="85"/>
                    <a:pt x="1301" y="82"/>
                  </a:cubicBezTo>
                  <a:close/>
                  <a:moveTo>
                    <a:pt x="1320" y="192"/>
                  </a:moveTo>
                  <a:cubicBezTo>
                    <a:pt x="1323" y="186"/>
                    <a:pt x="1334" y="195"/>
                    <a:pt x="1320" y="192"/>
                  </a:cubicBezTo>
                  <a:close/>
                  <a:moveTo>
                    <a:pt x="1326" y="203"/>
                  </a:moveTo>
                  <a:cubicBezTo>
                    <a:pt x="1334" y="197"/>
                    <a:pt x="1323" y="209"/>
                    <a:pt x="1326" y="203"/>
                  </a:cubicBezTo>
                  <a:close/>
                  <a:moveTo>
                    <a:pt x="1329" y="99"/>
                  </a:moveTo>
                  <a:lnTo>
                    <a:pt x="1334" y="99"/>
                  </a:lnTo>
                  <a:lnTo>
                    <a:pt x="1334" y="104"/>
                  </a:lnTo>
                  <a:cubicBezTo>
                    <a:pt x="1334" y="104"/>
                    <a:pt x="1332" y="107"/>
                    <a:pt x="1329" y="107"/>
                  </a:cubicBezTo>
                  <a:cubicBezTo>
                    <a:pt x="1332" y="104"/>
                    <a:pt x="1329" y="102"/>
                    <a:pt x="1329" y="99"/>
                  </a:cubicBezTo>
                  <a:close/>
                  <a:moveTo>
                    <a:pt x="1349" y="2591"/>
                  </a:moveTo>
                  <a:cubicBezTo>
                    <a:pt x="1346" y="2586"/>
                    <a:pt x="1357" y="2586"/>
                    <a:pt x="1363" y="2586"/>
                  </a:cubicBezTo>
                  <a:cubicBezTo>
                    <a:pt x="1363" y="2588"/>
                    <a:pt x="1354" y="2591"/>
                    <a:pt x="1349" y="2591"/>
                  </a:cubicBezTo>
                  <a:close/>
                  <a:moveTo>
                    <a:pt x="1363" y="2614"/>
                  </a:moveTo>
                  <a:cubicBezTo>
                    <a:pt x="1365" y="2617"/>
                    <a:pt x="1368" y="2617"/>
                    <a:pt x="1371" y="2617"/>
                  </a:cubicBezTo>
                  <a:cubicBezTo>
                    <a:pt x="1371" y="2620"/>
                    <a:pt x="1368" y="2622"/>
                    <a:pt x="1365" y="2622"/>
                  </a:cubicBezTo>
                  <a:cubicBezTo>
                    <a:pt x="1365" y="2625"/>
                    <a:pt x="1368" y="2628"/>
                    <a:pt x="1365" y="2628"/>
                  </a:cubicBezTo>
                  <a:lnTo>
                    <a:pt x="1363" y="2625"/>
                  </a:lnTo>
                  <a:cubicBezTo>
                    <a:pt x="1357" y="2617"/>
                    <a:pt x="1360" y="2617"/>
                    <a:pt x="1363" y="2614"/>
                  </a:cubicBezTo>
                  <a:close/>
                  <a:moveTo>
                    <a:pt x="1371" y="2831"/>
                  </a:moveTo>
                  <a:cubicBezTo>
                    <a:pt x="1380" y="2828"/>
                    <a:pt x="1391" y="2834"/>
                    <a:pt x="1397" y="2837"/>
                  </a:cubicBezTo>
                  <a:cubicBezTo>
                    <a:pt x="1388" y="2845"/>
                    <a:pt x="1371" y="2834"/>
                    <a:pt x="1371" y="2831"/>
                  </a:cubicBezTo>
                  <a:close/>
                  <a:moveTo>
                    <a:pt x="1391" y="2910"/>
                  </a:moveTo>
                  <a:cubicBezTo>
                    <a:pt x="1391" y="2907"/>
                    <a:pt x="1397" y="2907"/>
                    <a:pt x="1397" y="2904"/>
                  </a:cubicBezTo>
                  <a:cubicBezTo>
                    <a:pt x="1405" y="2907"/>
                    <a:pt x="1397" y="2916"/>
                    <a:pt x="1391" y="2910"/>
                  </a:cubicBezTo>
                  <a:close/>
                  <a:moveTo>
                    <a:pt x="1399" y="2859"/>
                  </a:moveTo>
                  <a:cubicBezTo>
                    <a:pt x="1408" y="2862"/>
                    <a:pt x="1416" y="2871"/>
                    <a:pt x="1413" y="2882"/>
                  </a:cubicBezTo>
                  <a:cubicBezTo>
                    <a:pt x="1405" y="2879"/>
                    <a:pt x="1399" y="2871"/>
                    <a:pt x="1399" y="2859"/>
                  </a:cubicBezTo>
                  <a:close/>
                  <a:moveTo>
                    <a:pt x="1419" y="2907"/>
                  </a:moveTo>
                  <a:cubicBezTo>
                    <a:pt x="1419" y="2904"/>
                    <a:pt x="1416" y="2904"/>
                    <a:pt x="1416" y="2902"/>
                  </a:cubicBezTo>
                  <a:lnTo>
                    <a:pt x="1422" y="2902"/>
                  </a:lnTo>
                  <a:cubicBezTo>
                    <a:pt x="1419" y="2904"/>
                    <a:pt x="1419" y="2907"/>
                    <a:pt x="1419" y="2907"/>
                  </a:cubicBezTo>
                  <a:close/>
                  <a:moveTo>
                    <a:pt x="1413" y="2803"/>
                  </a:moveTo>
                  <a:cubicBezTo>
                    <a:pt x="1416" y="2797"/>
                    <a:pt x="1419" y="2811"/>
                    <a:pt x="1413" y="2803"/>
                  </a:cubicBezTo>
                  <a:close/>
                  <a:moveTo>
                    <a:pt x="1428" y="2662"/>
                  </a:moveTo>
                  <a:cubicBezTo>
                    <a:pt x="1447" y="2687"/>
                    <a:pt x="1388" y="2687"/>
                    <a:pt x="1428" y="2662"/>
                  </a:cubicBezTo>
                  <a:close/>
                  <a:moveTo>
                    <a:pt x="1428" y="2462"/>
                  </a:moveTo>
                  <a:cubicBezTo>
                    <a:pt x="1428" y="2456"/>
                    <a:pt x="1433" y="2456"/>
                    <a:pt x="1439" y="2456"/>
                  </a:cubicBezTo>
                  <a:cubicBezTo>
                    <a:pt x="1439" y="2459"/>
                    <a:pt x="1433" y="2462"/>
                    <a:pt x="1428" y="2462"/>
                  </a:cubicBezTo>
                  <a:close/>
                  <a:moveTo>
                    <a:pt x="1433" y="1988"/>
                  </a:moveTo>
                  <a:cubicBezTo>
                    <a:pt x="1436" y="1982"/>
                    <a:pt x="1447" y="1990"/>
                    <a:pt x="1433" y="1988"/>
                  </a:cubicBezTo>
                  <a:close/>
                  <a:moveTo>
                    <a:pt x="1442" y="2825"/>
                  </a:moveTo>
                  <a:cubicBezTo>
                    <a:pt x="1442" y="2823"/>
                    <a:pt x="1444" y="2820"/>
                    <a:pt x="1444" y="2817"/>
                  </a:cubicBezTo>
                  <a:cubicBezTo>
                    <a:pt x="1447" y="2817"/>
                    <a:pt x="1447" y="2828"/>
                    <a:pt x="1442" y="2825"/>
                  </a:cubicBezTo>
                  <a:close/>
                  <a:moveTo>
                    <a:pt x="1439" y="2642"/>
                  </a:moveTo>
                  <a:cubicBezTo>
                    <a:pt x="1439" y="2639"/>
                    <a:pt x="1447" y="2639"/>
                    <a:pt x="1444" y="2634"/>
                  </a:cubicBezTo>
                  <a:cubicBezTo>
                    <a:pt x="1450" y="2634"/>
                    <a:pt x="1444" y="2642"/>
                    <a:pt x="1439" y="2642"/>
                  </a:cubicBezTo>
                  <a:close/>
                  <a:moveTo>
                    <a:pt x="1450" y="2309"/>
                  </a:moveTo>
                  <a:cubicBezTo>
                    <a:pt x="1450" y="2306"/>
                    <a:pt x="1456" y="2304"/>
                    <a:pt x="1459" y="2304"/>
                  </a:cubicBezTo>
                  <a:cubicBezTo>
                    <a:pt x="1459" y="2306"/>
                    <a:pt x="1453" y="2309"/>
                    <a:pt x="1450" y="2309"/>
                  </a:cubicBezTo>
                  <a:close/>
                  <a:moveTo>
                    <a:pt x="1469" y="2648"/>
                  </a:moveTo>
                  <a:cubicBezTo>
                    <a:pt x="1477" y="2653"/>
                    <a:pt x="1459" y="2653"/>
                    <a:pt x="1459" y="2656"/>
                  </a:cubicBezTo>
                  <a:cubicBezTo>
                    <a:pt x="1450" y="2651"/>
                    <a:pt x="1469" y="2651"/>
                    <a:pt x="1469" y="2648"/>
                  </a:cubicBezTo>
                  <a:close/>
                  <a:moveTo>
                    <a:pt x="1466" y="2780"/>
                  </a:moveTo>
                  <a:cubicBezTo>
                    <a:pt x="1483" y="2803"/>
                    <a:pt x="1444" y="2763"/>
                    <a:pt x="1466" y="2780"/>
                  </a:cubicBezTo>
                  <a:close/>
                  <a:moveTo>
                    <a:pt x="1472" y="2792"/>
                  </a:moveTo>
                  <a:cubicBezTo>
                    <a:pt x="1472" y="2794"/>
                    <a:pt x="1466" y="2797"/>
                    <a:pt x="1463" y="2797"/>
                  </a:cubicBezTo>
                  <a:cubicBezTo>
                    <a:pt x="1466" y="2794"/>
                    <a:pt x="1469" y="2794"/>
                    <a:pt x="1472" y="2792"/>
                  </a:cubicBezTo>
                  <a:close/>
                  <a:moveTo>
                    <a:pt x="1475" y="2902"/>
                  </a:moveTo>
                  <a:cubicBezTo>
                    <a:pt x="1459" y="2899"/>
                    <a:pt x="1475" y="2873"/>
                    <a:pt x="1489" y="2879"/>
                  </a:cubicBezTo>
                  <a:cubicBezTo>
                    <a:pt x="1483" y="2887"/>
                    <a:pt x="1472" y="2890"/>
                    <a:pt x="1475" y="2902"/>
                  </a:cubicBezTo>
                  <a:close/>
                  <a:moveTo>
                    <a:pt x="1486" y="2893"/>
                  </a:moveTo>
                  <a:cubicBezTo>
                    <a:pt x="1506" y="2902"/>
                    <a:pt x="1477" y="2930"/>
                    <a:pt x="1486" y="2893"/>
                  </a:cubicBezTo>
                  <a:close/>
                  <a:moveTo>
                    <a:pt x="1486" y="2659"/>
                  </a:moveTo>
                  <a:cubicBezTo>
                    <a:pt x="1486" y="2656"/>
                    <a:pt x="1489" y="2653"/>
                    <a:pt x="1486" y="2653"/>
                  </a:cubicBezTo>
                  <a:cubicBezTo>
                    <a:pt x="1489" y="2648"/>
                    <a:pt x="1497" y="2648"/>
                    <a:pt x="1503" y="2648"/>
                  </a:cubicBezTo>
                  <a:cubicBezTo>
                    <a:pt x="1500" y="2656"/>
                    <a:pt x="1491" y="2659"/>
                    <a:pt x="1486" y="2659"/>
                  </a:cubicBezTo>
                  <a:close/>
                  <a:moveTo>
                    <a:pt x="1500" y="2625"/>
                  </a:moveTo>
                  <a:cubicBezTo>
                    <a:pt x="1494" y="2622"/>
                    <a:pt x="1503" y="2614"/>
                    <a:pt x="1508" y="2614"/>
                  </a:cubicBezTo>
                  <a:cubicBezTo>
                    <a:pt x="1508" y="2620"/>
                    <a:pt x="1500" y="2622"/>
                    <a:pt x="1500" y="2625"/>
                  </a:cubicBezTo>
                  <a:close/>
                  <a:moveTo>
                    <a:pt x="1503" y="2428"/>
                  </a:moveTo>
                  <a:lnTo>
                    <a:pt x="1503" y="2419"/>
                  </a:lnTo>
                  <a:lnTo>
                    <a:pt x="1511" y="2419"/>
                  </a:lnTo>
                  <a:cubicBezTo>
                    <a:pt x="1508" y="2425"/>
                    <a:pt x="1506" y="2431"/>
                    <a:pt x="1503" y="2428"/>
                  </a:cubicBezTo>
                  <a:close/>
                  <a:moveTo>
                    <a:pt x="1511" y="2854"/>
                  </a:moveTo>
                  <a:cubicBezTo>
                    <a:pt x="1537" y="2842"/>
                    <a:pt x="1517" y="2885"/>
                    <a:pt x="1534" y="2882"/>
                  </a:cubicBezTo>
                  <a:cubicBezTo>
                    <a:pt x="1525" y="2910"/>
                    <a:pt x="1503" y="2879"/>
                    <a:pt x="1511" y="2854"/>
                  </a:cubicBezTo>
                  <a:close/>
                  <a:moveTo>
                    <a:pt x="1539" y="186"/>
                  </a:moveTo>
                  <a:cubicBezTo>
                    <a:pt x="1545" y="186"/>
                    <a:pt x="1539" y="197"/>
                    <a:pt x="1534" y="195"/>
                  </a:cubicBezTo>
                  <a:cubicBezTo>
                    <a:pt x="1528" y="189"/>
                    <a:pt x="1539" y="192"/>
                    <a:pt x="1539" y="186"/>
                  </a:cubicBezTo>
                  <a:close/>
                  <a:moveTo>
                    <a:pt x="1539" y="223"/>
                  </a:moveTo>
                  <a:cubicBezTo>
                    <a:pt x="1537" y="220"/>
                    <a:pt x="1539" y="214"/>
                    <a:pt x="1539" y="214"/>
                  </a:cubicBezTo>
                  <a:cubicBezTo>
                    <a:pt x="1545" y="212"/>
                    <a:pt x="1548" y="223"/>
                    <a:pt x="1539" y="223"/>
                  </a:cubicBezTo>
                  <a:close/>
                  <a:moveTo>
                    <a:pt x="1539" y="178"/>
                  </a:moveTo>
                  <a:cubicBezTo>
                    <a:pt x="1542" y="175"/>
                    <a:pt x="1545" y="180"/>
                    <a:pt x="1548" y="180"/>
                  </a:cubicBezTo>
                  <a:cubicBezTo>
                    <a:pt x="1548" y="186"/>
                    <a:pt x="1539" y="183"/>
                    <a:pt x="1539" y="178"/>
                  </a:cubicBezTo>
                  <a:close/>
                  <a:moveTo>
                    <a:pt x="1548" y="110"/>
                  </a:moveTo>
                  <a:cubicBezTo>
                    <a:pt x="1556" y="110"/>
                    <a:pt x="1554" y="121"/>
                    <a:pt x="1554" y="127"/>
                  </a:cubicBezTo>
                  <a:cubicBezTo>
                    <a:pt x="1545" y="124"/>
                    <a:pt x="1551" y="116"/>
                    <a:pt x="1548" y="110"/>
                  </a:cubicBezTo>
                  <a:close/>
                  <a:moveTo>
                    <a:pt x="1551" y="2783"/>
                  </a:moveTo>
                  <a:cubicBezTo>
                    <a:pt x="1551" y="2777"/>
                    <a:pt x="1559" y="2786"/>
                    <a:pt x="1551" y="2783"/>
                  </a:cubicBezTo>
                  <a:close/>
                  <a:moveTo>
                    <a:pt x="1554" y="189"/>
                  </a:moveTo>
                  <a:cubicBezTo>
                    <a:pt x="1551" y="186"/>
                    <a:pt x="1556" y="183"/>
                    <a:pt x="1559" y="180"/>
                  </a:cubicBezTo>
                  <a:cubicBezTo>
                    <a:pt x="1559" y="183"/>
                    <a:pt x="1556" y="186"/>
                    <a:pt x="1554" y="189"/>
                  </a:cubicBezTo>
                  <a:close/>
                  <a:moveTo>
                    <a:pt x="1559" y="186"/>
                  </a:moveTo>
                  <a:cubicBezTo>
                    <a:pt x="1565" y="183"/>
                    <a:pt x="1565" y="192"/>
                    <a:pt x="1568" y="195"/>
                  </a:cubicBezTo>
                  <a:cubicBezTo>
                    <a:pt x="1565" y="195"/>
                    <a:pt x="1562" y="195"/>
                    <a:pt x="1562" y="197"/>
                  </a:cubicBezTo>
                  <a:cubicBezTo>
                    <a:pt x="1559" y="192"/>
                    <a:pt x="1556" y="189"/>
                    <a:pt x="1559" y="186"/>
                  </a:cubicBezTo>
                  <a:close/>
                  <a:moveTo>
                    <a:pt x="1565" y="228"/>
                  </a:moveTo>
                  <a:cubicBezTo>
                    <a:pt x="1568" y="228"/>
                    <a:pt x="1568" y="234"/>
                    <a:pt x="1568" y="237"/>
                  </a:cubicBezTo>
                  <a:cubicBezTo>
                    <a:pt x="1565" y="237"/>
                    <a:pt x="1562" y="234"/>
                    <a:pt x="1559" y="234"/>
                  </a:cubicBezTo>
                  <a:cubicBezTo>
                    <a:pt x="1559" y="231"/>
                    <a:pt x="1565" y="231"/>
                    <a:pt x="1565" y="228"/>
                  </a:cubicBezTo>
                  <a:close/>
                  <a:moveTo>
                    <a:pt x="1570" y="2653"/>
                  </a:moveTo>
                  <a:cubicBezTo>
                    <a:pt x="1570" y="2656"/>
                    <a:pt x="1565" y="2659"/>
                    <a:pt x="1562" y="2659"/>
                  </a:cubicBezTo>
                  <a:cubicBezTo>
                    <a:pt x="1565" y="2656"/>
                    <a:pt x="1568" y="2653"/>
                    <a:pt x="1570" y="2653"/>
                  </a:cubicBezTo>
                  <a:close/>
                  <a:moveTo>
                    <a:pt x="1579" y="2910"/>
                  </a:moveTo>
                  <a:cubicBezTo>
                    <a:pt x="1556" y="2907"/>
                    <a:pt x="1568" y="2882"/>
                    <a:pt x="1593" y="2887"/>
                  </a:cubicBezTo>
                  <a:cubicBezTo>
                    <a:pt x="1587" y="2893"/>
                    <a:pt x="1576" y="2896"/>
                    <a:pt x="1579" y="2910"/>
                  </a:cubicBezTo>
                  <a:close/>
                  <a:moveTo>
                    <a:pt x="1590" y="2780"/>
                  </a:moveTo>
                  <a:lnTo>
                    <a:pt x="1590" y="2772"/>
                  </a:lnTo>
                  <a:lnTo>
                    <a:pt x="1596" y="2772"/>
                  </a:lnTo>
                  <a:cubicBezTo>
                    <a:pt x="1596" y="2772"/>
                    <a:pt x="1599" y="2780"/>
                    <a:pt x="1590" y="2780"/>
                  </a:cubicBezTo>
                  <a:close/>
                  <a:moveTo>
                    <a:pt x="1599" y="2865"/>
                  </a:moveTo>
                  <a:cubicBezTo>
                    <a:pt x="1618" y="2868"/>
                    <a:pt x="1590" y="2896"/>
                    <a:pt x="1599" y="2865"/>
                  </a:cubicBezTo>
                  <a:close/>
                  <a:moveTo>
                    <a:pt x="1613" y="2769"/>
                  </a:moveTo>
                  <a:lnTo>
                    <a:pt x="1607" y="2769"/>
                  </a:lnTo>
                  <a:lnTo>
                    <a:pt x="1607" y="2763"/>
                  </a:lnTo>
                  <a:lnTo>
                    <a:pt x="1613" y="2763"/>
                  </a:lnTo>
                  <a:lnTo>
                    <a:pt x="1613" y="2769"/>
                  </a:lnTo>
                  <a:close/>
                  <a:moveTo>
                    <a:pt x="1610" y="2583"/>
                  </a:moveTo>
                  <a:cubicBezTo>
                    <a:pt x="1610" y="2577"/>
                    <a:pt x="1621" y="2577"/>
                    <a:pt x="1624" y="2577"/>
                  </a:cubicBezTo>
                  <a:cubicBezTo>
                    <a:pt x="1627" y="2583"/>
                    <a:pt x="1616" y="2583"/>
                    <a:pt x="1610" y="2583"/>
                  </a:cubicBezTo>
                  <a:close/>
                  <a:moveTo>
                    <a:pt x="1638" y="2910"/>
                  </a:moveTo>
                  <a:cubicBezTo>
                    <a:pt x="1593" y="2902"/>
                    <a:pt x="1633" y="2862"/>
                    <a:pt x="1638" y="2910"/>
                  </a:cubicBezTo>
                  <a:close/>
                  <a:moveTo>
                    <a:pt x="1633" y="195"/>
                  </a:moveTo>
                  <a:cubicBezTo>
                    <a:pt x="1635" y="195"/>
                    <a:pt x="1638" y="192"/>
                    <a:pt x="1641" y="192"/>
                  </a:cubicBezTo>
                  <a:cubicBezTo>
                    <a:pt x="1641" y="189"/>
                    <a:pt x="1647" y="189"/>
                    <a:pt x="1647" y="189"/>
                  </a:cubicBezTo>
                  <a:cubicBezTo>
                    <a:pt x="1649" y="192"/>
                    <a:pt x="1647" y="197"/>
                    <a:pt x="1649" y="200"/>
                  </a:cubicBezTo>
                  <a:cubicBezTo>
                    <a:pt x="1644" y="203"/>
                    <a:pt x="1638" y="197"/>
                    <a:pt x="1633" y="195"/>
                  </a:cubicBezTo>
                  <a:close/>
                  <a:moveTo>
                    <a:pt x="1644" y="2744"/>
                  </a:moveTo>
                  <a:cubicBezTo>
                    <a:pt x="1641" y="2741"/>
                    <a:pt x="1647" y="2732"/>
                    <a:pt x="1652" y="2732"/>
                  </a:cubicBezTo>
                  <a:cubicBezTo>
                    <a:pt x="1649" y="2738"/>
                    <a:pt x="1649" y="2744"/>
                    <a:pt x="1644" y="2744"/>
                  </a:cubicBezTo>
                  <a:close/>
                  <a:moveTo>
                    <a:pt x="1652" y="2845"/>
                  </a:moveTo>
                  <a:cubicBezTo>
                    <a:pt x="1655" y="2848"/>
                    <a:pt x="1661" y="2851"/>
                    <a:pt x="1661" y="2854"/>
                  </a:cubicBezTo>
                  <a:cubicBezTo>
                    <a:pt x="1661" y="2854"/>
                    <a:pt x="1647" y="2842"/>
                    <a:pt x="1652" y="2845"/>
                  </a:cubicBezTo>
                  <a:close/>
                  <a:moveTo>
                    <a:pt x="1664" y="2690"/>
                  </a:moveTo>
                  <a:cubicBezTo>
                    <a:pt x="1661" y="2682"/>
                    <a:pt x="1678" y="2679"/>
                    <a:pt x="1675" y="2690"/>
                  </a:cubicBezTo>
                  <a:cubicBezTo>
                    <a:pt x="1672" y="2687"/>
                    <a:pt x="1666" y="2690"/>
                    <a:pt x="1664" y="2690"/>
                  </a:cubicBezTo>
                  <a:close/>
                  <a:moveTo>
                    <a:pt x="1675" y="2780"/>
                  </a:moveTo>
                  <a:lnTo>
                    <a:pt x="1676" y="2780"/>
                  </a:lnTo>
                  <a:cubicBezTo>
                    <a:pt x="1676" y="2783"/>
                    <a:pt x="1675" y="2787"/>
                    <a:pt x="1675" y="2780"/>
                  </a:cubicBezTo>
                  <a:cubicBezTo>
                    <a:pt x="1676" y="2777"/>
                    <a:pt x="1676" y="2778"/>
                    <a:pt x="1676" y="2780"/>
                  </a:cubicBezTo>
                  <a:lnTo>
                    <a:pt x="1675" y="2780"/>
                  </a:lnTo>
                  <a:close/>
                  <a:moveTo>
                    <a:pt x="1678" y="2766"/>
                  </a:moveTo>
                  <a:cubicBezTo>
                    <a:pt x="1683" y="2763"/>
                    <a:pt x="1695" y="2763"/>
                    <a:pt x="1695" y="2772"/>
                  </a:cubicBezTo>
                  <a:cubicBezTo>
                    <a:pt x="1689" y="2772"/>
                    <a:pt x="1678" y="2775"/>
                    <a:pt x="1678" y="2766"/>
                  </a:cubicBezTo>
                  <a:close/>
                  <a:moveTo>
                    <a:pt x="1689" y="2885"/>
                  </a:moveTo>
                  <a:cubicBezTo>
                    <a:pt x="1692" y="2879"/>
                    <a:pt x="1697" y="2876"/>
                    <a:pt x="1703" y="2876"/>
                  </a:cubicBezTo>
                  <a:cubicBezTo>
                    <a:pt x="1703" y="2882"/>
                    <a:pt x="1692" y="2882"/>
                    <a:pt x="1689" y="2885"/>
                  </a:cubicBezTo>
                  <a:close/>
                  <a:moveTo>
                    <a:pt x="1703" y="2676"/>
                  </a:moveTo>
                  <a:cubicBezTo>
                    <a:pt x="1709" y="2670"/>
                    <a:pt x="1706" y="2684"/>
                    <a:pt x="1703" y="2676"/>
                  </a:cubicBezTo>
                  <a:close/>
                  <a:moveTo>
                    <a:pt x="1706" y="2899"/>
                  </a:moveTo>
                  <a:cubicBezTo>
                    <a:pt x="1706" y="2893"/>
                    <a:pt x="1714" y="2893"/>
                    <a:pt x="1720" y="2890"/>
                  </a:cubicBezTo>
                  <a:cubicBezTo>
                    <a:pt x="1720" y="2899"/>
                    <a:pt x="1709" y="2899"/>
                    <a:pt x="1706" y="2899"/>
                  </a:cubicBezTo>
                  <a:close/>
                  <a:moveTo>
                    <a:pt x="1706" y="2865"/>
                  </a:moveTo>
                  <a:cubicBezTo>
                    <a:pt x="1712" y="2865"/>
                    <a:pt x="1714" y="2865"/>
                    <a:pt x="1717" y="2868"/>
                  </a:cubicBezTo>
                  <a:cubicBezTo>
                    <a:pt x="1717" y="2871"/>
                    <a:pt x="1706" y="2873"/>
                    <a:pt x="1706" y="2865"/>
                  </a:cubicBezTo>
                  <a:close/>
                  <a:moveTo>
                    <a:pt x="1726" y="2766"/>
                  </a:moveTo>
                  <a:cubicBezTo>
                    <a:pt x="1726" y="2769"/>
                    <a:pt x="1720" y="2772"/>
                    <a:pt x="1717" y="2772"/>
                  </a:cubicBezTo>
                  <a:cubicBezTo>
                    <a:pt x="1720" y="2769"/>
                    <a:pt x="1723" y="2769"/>
                    <a:pt x="1726" y="2766"/>
                  </a:cubicBezTo>
                  <a:close/>
                  <a:moveTo>
                    <a:pt x="1720" y="2766"/>
                  </a:moveTo>
                  <a:cubicBezTo>
                    <a:pt x="1720" y="2761"/>
                    <a:pt x="1728" y="2769"/>
                    <a:pt x="1720" y="2766"/>
                  </a:cubicBezTo>
                  <a:close/>
                  <a:moveTo>
                    <a:pt x="1726" y="2862"/>
                  </a:moveTo>
                  <a:lnTo>
                    <a:pt x="1720" y="2862"/>
                  </a:lnTo>
                  <a:lnTo>
                    <a:pt x="1720" y="2856"/>
                  </a:lnTo>
                  <a:lnTo>
                    <a:pt x="1726" y="2856"/>
                  </a:lnTo>
                  <a:cubicBezTo>
                    <a:pt x="1728" y="2856"/>
                    <a:pt x="1726" y="2859"/>
                    <a:pt x="1726" y="2862"/>
                  </a:cubicBezTo>
                  <a:close/>
                  <a:moveTo>
                    <a:pt x="1717" y="2752"/>
                  </a:moveTo>
                  <a:cubicBezTo>
                    <a:pt x="1714" y="2744"/>
                    <a:pt x="1728" y="2738"/>
                    <a:pt x="1734" y="2744"/>
                  </a:cubicBezTo>
                  <a:cubicBezTo>
                    <a:pt x="1728" y="2749"/>
                    <a:pt x="1723" y="2752"/>
                    <a:pt x="1717" y="2752"/>
                  </a:cubicBezTo>
                  <a:close/>
                  <a:moveTo>
                    <a:pt x="1734" y="135"/>
                  </a:moveTo>
                  <a:cubicBezTo>
                    <a:pt x="1739" y="134"/>
                    <a:pt x="1737" y="137"/>
                    <a:pt x="1735" y="138"/>
                  </a:cubicBezTo>
                  <a:cubicBezTo>
                    <a:pt x="1735" y="141"/>
                    <a:pt x="1732" y="144"/>
                    <a:pt x="1726" y="144"/>
                  </a:cubicBezTo>
                  <a:cubicBezTo>
                    <a:pt x="1726" y="141"/>
                    <a:pt x="1723" y="137"/>
                    <a:pt x="1723" y="135"/>
                  </a:cubicBezTo>
                  <a:cubicBezTo>
                    <a:pt x="1723" y="132"/>
                    <a:pt x="1728" y="130"/>
                    <a:pt x="1734" y="135"/>
                  </a:cubicBezTo>
                  <a:close/>
                  <a:moveTo>
                    <a:pt x="1731" y="37"/>
                  </a:moveTo>
                  <a:cubicBezTo>
                    <a:pt x="1734" y="31"/>
                    <a:pt x="1740" y="45"/>
                    <a:pt x="1731" y="37"/>
                  </a:cubicBezTo>
                  <a:close/>
                  <a:moveTo>
                    <a:pt x="1737" y="2741"/>
                  </a:moveTo>
                  <a:cubicBezTo>
                    <a:pt x="1737" y="2735"/>
                    <a:pt x="1748" y="2744"/>
                    <a:pt x="1737" y="2741"/>
                  </a:cubicBezTo>
                  <a:close/>
                  <a:moveTo>
                    <a:pt x="1743" y="2741"/>
                  </a:moveTo>
                  <a:cubicBezTo>
                    <a:pt x="1743" y="2735"/>
                    <a:pt x="1754" y="2744"/>
                    <a:pt x="1743" y="2741"/>
                  </a:cubicBezTo>
                  <a:close/>
                  <a:moveTo>
                    <a:pt x="1751" y="2656"/>
                  </a:moveTo>
                  <a:lnTo>
                    <a:pt x="1752" y="2656"/>
                  </a:lnTo>
                  <a:cubicBezTo>
                    <a:pt x="1751" y="2657"/>
                    <a:pt x="1751" y="2657"/>
                    <a:pt x="1751" y="2656"/>
                  </a:cubicBezTo>
                  <a:cubicBezTo>
                    <a:pt x="1755" y="2650"/>
                    <a:pt x="1753" y="2655"/>
                    <a:pt x="1752" y="2656"/>
                  </a:cubicBezTo>
                  <a:lnTo>
                    <a:pt x="1751" y="2656"/>
                  </a:lnTo>
                  <a:close/>
                  <a:moveTo>
                    <a:pt x="1748" y="2569"/>
                  </a:moveTo>
                  <a:cubicBezTo>
                    <a:pt x="1745" y="2563"/>
                    <a:pt x="1757" y="2563"/>
                    <a:pt x="1762" y="2563"/>
                  </a:cubicBezTo>
                  <a:cubicBezTo>
                    <a:pt x="1762" y="2569"/>
                    <a:pt x="1754" y="2569"/>
                    <a:pt x="1748" y="2569"/>
                  </a:cubicBezTo>
                  <a:close/>
                  <a:moveTo>
                    <a:pt x="1762" y="149"/>
                  </a:moveTo>
                  <a:cubicBezTo>
                    <a:pt x="1768" y="147"/>
                    <a:pt x="1762" y="161"/>
                    <a:pt x="1762" y="149"/>
                  </a:cubicBezTo>
                  <a:close/>
                  <a:moveTo>
                    <a:pt x="1760" y="195"/>
                  </a:moveTo>
                  <a:cubicBezTo>
                    <a:pt x="1762" y="189"/>
                    <a:pt x="1768" y="186"/>
                    <a:pt x="1774" y="189"/>
                  </a:cubicBezTo>
                  <a:cubicBezTo>
                    <a:pt x="1774" y="195"/>
                    <a:pt x="1765" y="197"/>
                    <a:pt x="1760" y="195"/>
                  </a:cubicBezTo>
                  <a:close/>
                  <a:moveTo>
                    <a:pt x="1774" y="2698"/>
                  </a:moveTo>
                  <a:cubicBezTo>
                    <a:pt x="1765" y="2698"/>
                    <a:pt x="1771" y="2684"/>
                    <a:pt x="1771" y="2679"/>
                  </a:cubicBezTo>
                  <a:cubicBezTo>
                    <a:pt x="1782" y="2682"/>
                    <a:pt x="1774" y="2696"/>
                    <a:pt x="1774" y="2698"/>
                  </a:cubicBezTo>
                  <a:close/>
                  <a:moveTo>
                    <a:pt x="1779" y="2507"/>
                  </a:moveTo>
                  <a:lnTo>
                    <a:pt x="1774" y="2507"/>
                  </a:lnTo>
                  <a:lnTo>
                    <a:pt x="1774" y="2501"/>
                  </a:lnTo>
                  <a:lnTo>
                    <a:pt x="1779" y="2501"/>
                  </a:lnTo>
                  <a:lnTo>
                    <a:pt x="1779" y="2507"/>
                  </a:lnTo>
                  <a:close/>
                  <a:moveTo>
                    <a:pt x="1779" y="2625"/>
                  </a:moveTo>
                  <a:lnTo>
                    <a:pt x="1785" y="2625"/>
                  </a:lnTo>
                  <a:lnTo>
                    <a:pt x="1785" y="2631"/>
                  </a:lnTo>
                  <a:lnTo>
                    <a:pt x="1779" y="2631"/>
                  </a:lnTo>
                  <a:lnTo>
                    <a:pt x="1779" y="2625"/>
                  </a:lnTo>
                  <a:close/>
                  <a:moveTo>
                    <a:pt x="1779" y="2873"/>
                  </a:moveTo>
                  <a:cubicBezTo>
                    <a:pt x="1779" y="2868"/>
                    <a:pt x="1785" y="2862"/>
                    <a:pt x="1791" y="2865"/>
                  </a:cubicBezTo>
                  <a:cubicBezTo>
                    <a:pt x="1791" y="2871"/>
                    <a:pt x="1788" y="2876"/>
                    <a:pt x="1779" y="2873"/>
                  </a:cubicBezTo>
                  <a:close/>
                  <a:moveTo>
                    <a:pt x="1788" y="2854"/>
                  </a:moveTo>
                  <a:cubicBezTo>
                    <a:pt x="1791" y="2848"/>
                    <a:pt x="1793" y="2865"/>
                    <a:pt x="1788" y="2854"/>
                  </a:cubicBezTo>
                  <a:close/>
                  <a:moveTo>
                    <a:pt x="1802" y="2447"/>
                  </a:moveTo>
                  <a:cubicBezTo>
                    <a:pt x="1802" y="2450"/>
                    <a:pt x="1796" y="2453"/>
                    <a:pt x="1793" y="2453"/>
                  </a:cubicBezTo>
                  <a:cubicBezTo>
                    <a:pt x="1793" y="2450"/>
                    <a:pt x="1799" y="2447"/>
                    <a:pt x="1802" y="2447"/>
                  </a:cubicBezTo>
                  <a:close/>
                  <a:moveTo>
                    <a:pt x="1805" y="2625"/>
                  </a:moveTo>
                  <a:lnTo>
                    <a:pt x="1793" y="2625"/>
                  </a:lnTo>
                  <a:cubicBezTo>
                    <a:pt x="1793" y="2620"/>
                    <a:pt x="1807" y="2617"/>
                    <a:pt x="1805" y="2625"/>
                  </a:cubicBezTo>
                  <a:close/>
                  <a:moveTo>
                    <a:pt x="1796" y="2834"/>
                  </a:moveTo>
                  <a:cubicBezTo>
                    <a:pt x="1799" y="2825"/>
                    <a:pt x="1799" y="2842"/>
                    <a:pt x="1796" y="2834"/>
                  </a:cubicBezTo>
                  <a:close/>
                  <a:moveTo>
                    <a:pt x="1802" y="2876"/>
                  </a:moveTo>
                  <a:cubicBezTo>
                    <a:pt x="1802" y="2868"/>
                    <a:pt x="1813" y="2871"/>
                    <a:pt x="1819" y="2871"/>
                  </a:cubicBezTo>
                  <a:cubicBezTo>
                    <a:pt x="1816" y="2876"/>
                    <a:pt x="1807" y="2876"/>
                    <a:pt x="1802" y="2876"/>
                  </a:cubicBezTo>
                  <a:close/>
                  <a:moveTo>
                    <a:pt x="1805" y="2834"/>
                  </a:moveTo>
                  <a:cubicBezTo>
                    <a:pt x="1805" y="2828"/>
                    <a:pt x="1816" y="2831"/>
                    <a:pt x="1822" y="2831"/>
                  </a:cubicBezTo>
                  <a:cubicBezTo>
                    <a:pt x="1822" y="2840"/>
                    <a:pt x="1805" y="2837"/>
                    <a:pt x="1805" y="2834"/>
                  </a:cubicBezTo>
                  <a:close/>
                  <a:moveTo>
                    <a:pt x="1805" y="2366"/>
                  </a:moveTo>
                  <a:cubicBezTo>
                    <a:pt x="1805" y="2360"/>
                    <a:pt x="1824" y="2349"/>
                    <a:pt x="1824" y="2360"/>
                  </a:cubicBezTo>
                  <a:cubicBezTo>
                    <a:pt x="1816" y="2360"/>
                    <a:pt x="1813" y="2366"/>
                    <a:pt x="1805" y="2366"/>
                  </a:cubicBezTo>
                  <a:close/>
                  <a:moveTo>
                    <a:pt x="1839" y="2411"/>
                  </a:moveTo>
                  <a:cubicBezTo>
                    <a:pt x="1839" y="2419"/>
                    <a:pt x="1824" y="2419"/>
                    <a:pt x="1824" y="2411"/>
                  </a:cubicBezTo>
                  <a:cubicBezTo>
                    <a:pt x="1830" y="2408"/>
                    <a:pt x="1833" y="2411"/>
                    <a:pt x="1839" y="2411"/>
                  </a:cubicBezTo>
                  <a:close/>
                  <a:moveTo>
                    <a:pt x="1824" y="2825"/>
                  </a:moveTo>
                  <a:cubicBezTo>
                    <a:pt x="1824" y="2820"/>
                    <a:pt x="1833" y="2820"/>
                    <a:pt x="1839" y="2817"/>
                  </a:cubicBezTo>
                  <a:cubicBezTo>
                    <a:pt x="1836" y="2823"/>
                    <a:pt x="1830" y="2825"/>
                    <a:pt x="1824" y="2825"/>
                  </a:cubicBezTo>
                  <a:close/>
                  <a:moveTo>
                    <a:pt x="1824" y="2696"/>
                  </a:moveTo>
                  <a:cubicBezTo>
                    <a:pt x="1824" y="2693"/>
                    <a:pt x="1841" y="2687"/>
                    <a:pt x="1839" y="2696"/>
                  </a:cubicBezTo>
                  <a:cubicBezTo>
                    <a:pt x="1836" y="2693"/>
                    <a:pt x="1833" y="2698"/>
                    <a:pt x="1824" y="2696"/>
                  </a:cubicBezTo>
                  <a:close/>
                  <a:moveTo>
                    <a:pt x="1847" y="2529"/>
                  </a:moveTo>
                  <a:cubicBezTo>
                    <a:pt x="1839" y="2535"/>
                    <a:pt x="1839" y="2521"/>
                    <a:pt x="1847" y="2529"/>
                  </a:cubicBezTo>
                  <a:close/>
                  <a:moveTo>
                    <a:pt x="1847" y="2871"/>
                  </a:moveTo>
                  <a:cubicBezTo>
                    <a:pt x="1850" y="2862"/>
                    <a:pt x="1850" y="2879"/>
                    <a:pt x="1847" y="2871"/>
                  </a:cubicBezTo>
                  <a:close/>
                  <a:moveTo>
                    <a:pt x="1844" y="2405"/>
                  </a:moveTo>
                  <a:cubicBezTo>
                    <a:pt x="1847" y="2399"/>
                    <a:pt x="1855" y="2408"/>
                    <a:pt x="1844" y="2405"/>
                  </a:cubicBezTo>
                  <a:close/>
                  <a:moveTo>
                    <a:pt x="1850" y="2715"/>
                  </a:moveTo>
                  <a:cubicBezTo>
                    <a:pt x="1850" y="2710"/>
                    <a:pt x="1858" y="2718"/>
                    <a:pt x="1850" y="2715"/>
                  </a:cubicBezTo>
                  <a:close/>
                  <a:moveTo>
                    <a:pt x="2555" y="2431"/>
                  </a:moveTo>
                  <a:cubicBezTo>
                    <a:pt x="2555" y="2425"/>
                    <a:pt x="2564" y="2433"/>
                    <a:pt x="2555" y="2431"/>
                  </a:cubicBezTo>
                  <a:close/>
                  <a:moveTo>
                    <a:pt x="2851" y="1368"/>
                  </a:moveTo>
                  <a:cubicBezTo>
                    <a:pt x="2852" y="1366"/>
                    <a:pt x="2853" y="1365"/>
                    <a:pt x="2854" y="1365"/>
                  </a:cubicBezTo>
                  <a:cubicBezTo>
                    <a:pt x="2853" y="1365"/>
                    <a:pt x="2852" y="1365"/>
                    <a:pt x="2851" y="1365"/>
                  </a:cubicBezTo>
                  <a:lnTo>
                    <a:pt x="2849" y="1365"/>
                  </a:lnTo>
                  <a:cubicBezTo>
                    <a:pt x="2849" y="1362"/>
                    <a:pt x="2851" y="1360"/>
                    <a:pt x="2857" y="1360"/>
                  </a:cubicBezTo>
                  <a:cubicBezTo>
                    <a:pt x="2857" y="1361"/>
                    <a:pt x="2856" y="1363"/>
                    <a:pt x="2855" y="1364"/>
                  </a:cubicBezTo>
                  <a:cubicBezTo>
                    <a:pt x="2862" y="1360"/>
                    <a:pt x="2869" y="1385"/>
                    <a:pt x="2874" y="1371"/>
                  </a:cubicBezTo>
                  <a:cubicBezTo>
                    <a:pt x="2888" y="1385"/>
                    <a:pt x="2846" y="1385"/>
                    <a:pt x="2851" y="1368"/>
                  </a:cubicBezTo>
                  <a:close/>
                  <a:moveTo>
                    <a:pt x="2868" y="1402"/>
                  </a:moveTo>
                  <a:cubicBezTo>
                    <a:pt x="2874" y="1399"/>
                    <a:pt x="2866" y="1402"/>
                    <a:pt x="2868" y="1402"/>
                  </a:cubicBezTo>
                  <a:close/>
                  <a:moveTo>
                    <a:pt x="2866" y="1466"/>
                  </a:moveTo>
                  <a:cubicBezTo>
                    <a:pt x="2880" y="1471"/>
                    <a:pt x="2854" y="1486"/>
                    <a:pt x="2866" y="1466"/>
                  </a:cubicBezTo>
                  <a:close/>
                  <a:moveTo>
                    <a:pt x="2863" y="1635"/>
                  </a:moveTo>
                  <a:cubicBezTo>
                    <a:pt x="2854" y="1615"/>
                    <a:pt x="2874" y="1655"/>
                    <a:pt x="2863" y="1635"/>
                  </a:cubicBezTo>
                  <a:close/>
                  <a:moveTo>
                    <a:pt x="2854" y="1610"/>
                  </a:moveTo>
                  <a:cubicBezTo>
                    <a:pt x="2857" y="1604"/>
                    <a:pt x="2866" y="1615"/>
                    <a:pt x="2854" y="1610"/>
                  </a:cubicBezTo>
                  <a:close/>
                  <a:moveTo>
                    <a:pt x="2863" y="1439"/>
                  </a:moveTo>
                  <a:cubicBezTo>
                    <a:pt x="2857" y="1439"/>
                    <a:pt x="2854" y="1436"/>
                    <a:pt x="2849" y="1436"/>
                  </a:cubicBezTo>
                  <a:cubicBezTo>
                    <a:pt x="2849" y="1436"/>
                    <a:pt x="2866" y="1433"/>
                    <a:pt x="2863" y="1439"/>
                  </a:cubicBezTo>
                  <a:close/>
                  <a:moveTo>
                    <a:pt x="2804" y="1759"/>
                  </a:moveTo>
                  <a:cubicBezTo>
                    <a:pt x="2804" y="1756"/>
                    <a:pt x="2806" y="1756"/>
                    <a:pt x="2809" y="1756"/>
                  </a:cubicBezTo>
                  <a:lnTo>
                    <a:pt x="2815" y="1756"/>
                  </a:lnTo>
                  <a:cubicBezTo>
                    <a:pt x="2815" y="1759"/>
                    <a:pt x="2815" y="1762"/>
                    <a:pt x="2812" y="1762"/>
                  </a:cubicBezTo>
                  <a:cubicBezTo>
                    <a:pt x="2814" y="1762"/>
                    <a:pt x="2812" y="1763"/>
                    <a:pt x="2810" y="1763"/>
                  </a:cubicBezTo>
                  <a:cubicBezTo>
                    <a:pt x="2809" y="1763"/>
                    <a:pt x="2806" y="1765"/>
                    <a:pt x="2804" y="1765"/>
                  </a:cubicBezTo>
                  <a:cubicBezTo>
                    <a:pt x="2801" y="1765"/>
                    <a:pt x="2805" y="1763"/>
                    <a:pt x="2808" y="1762"/>
                  </a:cubicBezTo>
                  <a:cubicBezTo>
                    <a:pt x="2807" y="1762"/>
                    <a:pt x="2805" y="1761"/>
                    <a:pt x="2804" y="1759"/>
                  </a:cubicBezTo>
                  <a:close/>
                  <a:moveTo>
                    <a:pt x="2792" y="1770"/>
                  </a:moveTo>
                  <a:cubicBezTo>
                    <a:pt x="2790" y="1766"/>
                    <a:pt x="2797" y="1767"/>
                    <a:pt x="2798" y="1770"/>
                  </a:cubicBezTo>
                  <a:cubicBezTo>
                    <a:pt x="2799" y="1770"/>
                    <a:pt x="2800" y="1770"/>
                    <a:pt x="2801" y="1770"/>
                  </a:cubicBezTo>
                  <a:cubicBezTo>
                    <a:pt x="2801" y="1768"/>
                    <a:pt x="2804" y="1770"/>
                    <a:pt x="2804" y="1773"/>
                  </a:cubicBezTo>
                  <a:cubicBezTo>
                    <a:pt x="2804" y="1771"/>
                    <a:pt x="2805" y="1772"/>
                    <a:pt x="2805" y="1773"/>
                  </a:cubicBezTo>
                  <a:cubicBezTo>
                    <a:pt x="2812" y="1771"/>
                    <a:pt x="2815" y="1773"/>
                    <a:pt x="2820" y="1776"/>
                  </a:cubicBezTo>
                  <a:cubicBezTo>
                    <a:pt x="2822" y="1775"/>
                    <a:pt x="2825" y="1775"/>
                    <a:pt x="2829" y="1776"/>
                  </a:cubicBezTo>
                  <a:cubicBezTo>
                    <a:pt x="2830" y="1777"/>
                    <a:pt x="2830" y="1778"/>
                    <a:pt x="2831" y="1779"/>
                  </a:cubicBezTo>
                  <a:lnTo>
                    <a:pt x="2832" y="1779"/>
                  </a:lnTo>
                  <a:lnTo>
                    <a:pt x="2832" y="1782"/>
                  </a:lnTo>
                  <a:cubicBezTo>
                    <a:pt x="2837" y="1787"/>
                    <a:pt x="2837" y="1799"/>
                    <a:pt x="2846" y="1804"/>
                  </a:cubicBezTo>
                  <a:cubicBezTo>
                    <a:pt x="2843" y="1812"/>
                    <a:pt x="2824" y="1799"/>
                    <a:pt x="2825" y="1786"/>
                  </a:cubicBezTo>
                  <a:cubicBezTo>
                    <a:pt x="2824" y="1785"/>
                    <a:pt x="2822" y="1785"/>
                    <a:pt x="2820" y="1785"/>
                  </a:cubicBezTo>
                  <a:cubicBezTo>
                    <a:pt x="2818" y="1787"/>
                    <a:pt x="2809" y="1785"/>
                    <a:pt x="2806" y="1782"/>
                  </a:cubicBezTo>
                  <a:cubicBezTo>
                    <a:pt x="2804" y="1785"/>
                    <a:pt x="2804" y="1785"/>
                    <a:pt x="2801" y="1785"/>
                  </a:cubicBezTo>
                  <a:cubicBezTo>
                    <a:pt x="2812" y="1801"/>
                    <a:pt x="2829" y="1804"/>
                    <a:pt x="2829" y="1824"/>
                  </a:cubicBezTo>
                  <a:cubicBezTo>
                    <a:pt x="2809" y="1827"/>
                    <a:pt x="2798" y="1804"/>
                    <a:pt x="2798" y="1785"/>
                  </a:cubicBezTo>
                  <a:cubicBezTo>
                    <a:pt x="2795" y="1785"/>
                    <a:pt x="2792" y="1782"/>
                    <a:pt x="2792" y="1776"/>
                  </a:cubicBezTo>
                  <a:cubicBezTo>
                    <a:pt x="2792" y="1774"/>
                    <a:pt x="2792" y="1773"/>
                    <a:pt x="2793" y="1772"/>
                  </a:cubicBezTo>
                  <a:cubicBezTo>
                    <a:pt x="2793" y="1772"/>
                    <a:pt x="2792" y="1771"/>
                    <a:pt x="2792" y="1770"/>
                  </a:cubicBezTo>
                  <a:close/>
                  <a:moveTo>
                    <a:pt x="2792" y="1762"/>
                  </a:moveTo>
                  <a:cubicBezTo>
                    <a:pt x="2798" y="1756"/>
                    <a:pt x="2789" y="1770"/>
                    <a:pt x="2792" y="1762"/>
                  </a:cubicBezTo>
                  <a:close/>
                  <a:moveTo>
                    <a:pt x="2789" y="1382"/>
                  </a:moveTo>
                  <a:cubicBezTo>
                    <a:pt x="2789" y="1393"/>
                    <a:pt x="2781" y="1405"/>
                    <a:pt x="2770" y="1405"/>
                  </a:cubicBezTo>
                  <a:lnTo>
                    <a:pt x="2761" y="1405"/>
                  </a:lnTo>
                  <a:cubicBezTo>
                    <a:pt x="2764" y="1399"/>
                    <a:pt x="2787" y="1391"/>
                    <a:pt x="2767" y="1385"/>
                  </a:cubicBezTo>
                  <a:cubicBezTo>
                    <a:pt x="2772" y="1379"/>
                    <a:pt x="2778" y="1371"/>
                    <a:pt x="2792" y="1374"/>
                  </a:cubicBezTo>
                  <a:cubicBezTo>
                    <a:pt x="2789" y="1374"/>
                    <a:pt x="2789" y="1377"/>
                    <a:pt x="2789" y="1382"/>
                  </a:cubicBezTo>
                  <a:close/>
                  <a:moveTo>
                    <a:pt x="2778" y="1629"/>
                  </a:moveTo>
                  <a:cubicBezTo>
                    <a:pt x="2764" y="1615"/>
                    <a:pt x="2804" y="1624"/>
                    <a:pt x="2778" y="1629"/>
                  </a:cubicBezTo>
                  <a:close/>
                  <a:moveTo>
                    <a:pt x="2787" y="1666"/>
                  </a:moveTo>
                  <a:cubicBezTo>
                    <a:pt x="2787" y="1672"/>
                    <a:pt x="2781" y="1675"/>
                    <a:pt x="2778" y="1675"/>
                  </a:cubicBezTo>
                  <a:cubicBezTo>
                    <a:pt x="2775" y="1669"/>
                    <a:pt x="2784" y="1666"/>
                    <a:pt x="2787" y="1666"/>
                  </a:cubicBezTo>
                  <a:close/>
                  <a:moveTo>
                    <a:pt x="2784" y="1855"/>
                  </a:moveTo>
                  <a:cubicBezTo>
                    <a:pt x="2784" y="1858"/>
                    <a:pt x="2781" y="1861"/>
                    <a:pt x="2781" y="1861"/>
                  </a:cubicBezTo>
                  <a:cubicBezTo>
                    <a:pt x="2781" y="1864"/>
                    <a:pt x="2778" y="1866"/>
                    <a:pt x="2775" y="1869"/>
                  </a:cubicBezTo>
                  <a:cubicBezTo>
                    <a:pt x="2736" y="1841"/>
                    <a:pt x="2798" y="1827"/>
                    <a:pt x="2784" y="1855"/>
                  </a:cubicBezTo>
                  <a:close/>
                  <a:moveTo>
                    <a:pt x="2725" y="1940"/>
                  </a:moveTo>
                  <a:cubicBezTo>
                    <a:pt x="2736" y="1937"/>
                    <a:pt x="2750" y="1962"/>
                    <a:pt x="2747" y="1968"/>
                  </a:cubicBezTo>
                  <a:lnTo>
                    <a:pt x="2739" y="1959"/>
                  </a:lnTo>
                  <a:lnTo>
                    <a:pt x="2736" y="1959"/>
                  </a:lnTo>
                  <a:cubicBezTo>
                    <a:pt x="2736" y="1959"/>
                    <a:pt x="2739" y="1959"/>
                    <a:pt x="2739" y="1957"/>
                  </a:cubicBezTo>
                  <a:cubicBezTo>
                    <a:pt x="2733" y="1954"/>
                    <a:pt x="2727" y="1948"/>
                    <a:pt x="2725" y="1940"/>
                  </a:cubicBezTo>
                  <a:close/>
                  <a:moveTo>
                    <a:pt x="2600" y="2216"/>
                  </a:moveTo>
                  <a:cubicBezTo>
                    <a:pt x="2603" y="2208"/>
                    <a:pt x="2614" y="2202"/>
                    <a:pt x="2614" y="2188"/>
                  </a:cubicBezTo>
                  <a:cubicBezTo>
                    <a:pt x="2629" y="2194"/>
                    <a:pt x="2609" y="2213"/>
                    <a:pt x="2600" y="2216"/>
                  </a:cubicBezTo>
                  <a:close/>
                  <a:moveTo>
                    <a:pt x="2620" y="2250"/>
                  </a:moveTo>
                  <a:cubicBezTo>
                    <a:pt x="2620" y="2253"/>
                    <a:pt x="2620" y="2253"/>
                    <a:pt x="2617" y="2253"/>
                  </a:cubicBezTo>
                  <a:lnTo>
                    <a:pt x="2614" y="2253"/>
                  </a:lnTo>
                  <a:cubicBezTo>
                    <a:pt x="2612" y="2253"/>
                    <a:pt x="2612" y="2256"/>
                    <a:pt x="2609" y="2253"/>
                  </a:cubicBezTo>
                  <a:lnTo>
                    <a:pt x="2609" y="2250"/>
                  </a:lnTo>
                  <a:cubicBezTo>
                    <a:pt x="2609" y="2247"/>
                    <a:pt x="2606" y="2247"/>
                    <a:pt x="2609" y="2244"/>
                  </a:cubicBezTo>
                  <a:cubicBezTo>
                    <a:pt x="2612" y="2244"/>
                    <a:pt x="2612" y="2244"/>
                    <a:pt x="2612" y="2242"/>
                  </a:cubicBezTo>
                  <a:cubicBezTo>
                    <a:pt x="2614" y="2242"/>
                    <a:pt x="2614" y="2242"/>
                    <a:pt x="2617" y="2244"/>
                  </a:cubicBezTo>
                  <a:cubicBezTo>
                    <a:pt x="2617" y="2247"/>
                    <a:pt x="2620" y="2250"/>
                    <a:pt x="2620" y="2250"/>
                  </a:cubicBezTo>
                  <a:close/>
                  <a:moveTo>
                    <a:pt x="2612" y="2134"/>
                  </a:moveTo>
                  <a:cubicBezTo>
                    <a:pt x="2623" y="2126"/>
                    <a:pt x="2637" y="2143"/>
                    <a:pt x="2646" y="2137"/>
                  </a:cubicBezTo>
                  <a:cubicBezTo>
                    <a:pt x="2648" y="2154"/>
                    <a:pt x="2620" y="2143"/>
                    <a:pt x="2612" y="2134"/>
                  </a:cubicBezTo>
                  <a:close/>
                  <a:moveTo>
                    <a:pt x="2589" y="1444"/>
                  </a:moveTo>
                  <a:cubicBezTo>
                    <a:pt x="2589" y="1441"/>
                    <a:pt x="2595" y="1439"/>
                    <a:pt x="2592" y="1433"/>
                  </a:cubicBezTo>
                  <a:lnTo>
                    <a:pt x="2603" y="1433"/>
                  </a:lnTo>
                  <a:cubicBezTo>
                    <a:pt x="2600" y="1439"/>
                    <a:pt x="2595" y="1441"/>
                    <a:pt x="2589" y="1444"/>
                  </a:cubicBezTo>
                  <a:close/>
                  <a:moveTo>
                    <a:pt x="2600" y="2050"/>
                  </a:moveTo>
                  <a:lnTo>
                    <a:pt x="2592" y="2050"/>
                  </a:lnTo>
                  <a:cubicBezTo>
                    <a:pt x="2589" y="2047"/>
                    <a:pt x="2592" y="2044"/>
                    <a:pt x="2595" y="2041"/>
                  </a:cubicBezTo>
                  <a:cubicBezTo>
                    <a:pt x="2598" y="2041"/>
                    <a:pt x="2600" y="2044"/>
                    <a:pt x="2600" y="2050"/>
                  </a:cubicBezTo>
                  <a:close/>
                  <a:moveTo>
                    <a:pt x="2575" y="2005"/>
                  </a:moveTo>
                  <a:cubicBezTo>
                    <a:pt x="2575" y="1999"/>
                    <a:pt x="2586" y="1999"/>
                    <a:pt x="2589" y="2002"/>
                  </a:cubicBezTo>
                  <a:cubicBezTo>
                    <a:pt x="2583" y="2005"/>
                    <a:pt x="2578" y="2007"/>
                    <a:pt x="2575" y="2005"/>
                  </a:cubicBezTo>
                  <a:close/>
                  <a:moveTo>
                    <a:pt x="2586" y="2098"/>
                  </a:moveTo>
                  <a:cubicBezTo>
                    <a:pt x="2589" y="2098"/>
                    <a:pt x="2584" y="2100"/>
                    <a:pt x="2581" y="2100"/>
                  </a:cubicBezTo>
                  <a:cubicBezTo>
                    <a:pt x="2579" y="2100"/>
                    <a:pt x="2583" y="2098"/>
                    <a:pt x="2586" y="2098"/>
                  </a:cubicBezTo>
                  <a:close/>
                  <a:moveTo>
                    <a:pt x="2533" y="2177"/>
                  </a:moveTo>
                  <a:cubicBezTo>
                    <a:pt x="2519" y="2168"/>
                    <a:pt x="2504" y="2174"/>
                    <a:pt x="2504" y="2157"/>
                  </a:cubicBezTo>
                  <a:cubicBezTo>
                    <a:pt x="2533" y="2134"/>
                    <a:pt x="2547" y="2174"/>
                    <a:pt x="2567" y="2191"/>
                  </a:cubicBezTo>
                  <a:lnTo>
                    <a:pt x="2569" y="2191"/>
                  </a:lnTo>
                  <a:lnTo>
                    <a:pt x="2567" y="2194"/>
                  </a:lnTo>
                  <a:lnTo>
                    <a:pt x="2569" y="2194"/>
                  </a:lnTo>
                  <a:lnTo>
                    <a:pt x="2569" y="2196"/>
                  </a:lnTo>
                  <a:cubicBezTo>
                    <a:pt x="2555" y="2208"/>
                    <a:pt x="2544" y="2182"/>
                    <a:pt x="2533" y="2177"/>
                  </a:cubicBezTo>
                  <a:close/>
                  <a:moveTo>
                    <a:pt x="2552" y="2196"/>
                  </a:moveTo>
                  <a:cubicBezTo>
                    <a:pt x="2555" y="2205"/>
                    <a:pt x="2535" y="2202"/>
                    <a:pt x="2535" y="2196"/>
                  </a:cubicBezTo>
                  <a:cubicBezTo>
                    <a:pt x="2541" y="2194"/>
                    <a:pt x="2547" y="2196"/>
                    <a:pt x="2552" y="2196"/>
                  </a:cubicBezTo>
                  <a:close/>
                  <a:moveTo>
                    <a:pt x="2524" y="2225"/>
                  </a:moveTo>
                  <a:cubicBezTo>
                    <a:pt x="2527" y="2219"/>
                    <a:pt x="2535" y="2227"/>
                    <a:pt x="2524" y="2225"/>
                  </a:cubicBezTo>
                  <a:close/>
                  <a:moveTo>
                    <a:pt x="2530" y="2233"/>
                  </a:moveTo>
                  <a:cubicBezTo>
                    <a:pt x="2527" y="2242"/>
                    <a:pt x="2519" y="2247"/>
                    <a:pt x="2510" y="2247"/>
                  </a:cubicBezTo>
                  <a:cubicBezTo>
                    <a:pt x="2513" y="2244"/>
                    <a:pt x="2516" y="2244"/>
                    <a:pt x="2516" y="2242"/>
                  </a:cubicBezTo>
                  <a:lnTo>
                    <a:pt x="2516" y="2239"/>
                  </a:lnTo>
                  <a:lnTo>
                    <a:pt x="2519" y="2242"/>
                  </a:lnTo>
                  <a:cubicBezTo>
                    <a:pt x="2521" y="2236"/>
                    <a:pt x="2527" y="2233"/>
                    <a:pt x="2530" y="2233"/>
                  </a:cubicBezTo>
                  <a:close/>
                  <a:moveTo>
                    <a:pt x="2473" y="2163"/>
                  </a:moveTo>
                  <a:cubicBezTo>
                    <a:pt x="2473" y="2157"/>
                    <a:pt x="2482" y="2165"/>
                    <a:pt x="2473" y="2163"/>
                  </a:cubicBezTo>
                  <a:close/>
                  <a:moveTo>
                    <a:pt x="2482" y="725"/>
                  </a:moveTo>
                  <a:cubicBezTo>
                    <a:pt x="2479" y="725"/>
                    <a:pt x="2476" y="719"/>
                    <a:pt x="2473" y="719"/>
                  </a:cubicBezTo>
                  <a:cubicBezTo>
                    <a:pt x="2479" y="716"/>
                    <a:pt x="2482" y="711"/>
                    <a:pt x="2485" y="705"/>
                  </a:cubicBezTo>
                  <a:cubicBezTo>
                    <a:pt x="2493" y="714"/>
                    <a:pt x="2482" y="719"/>
                    <a:pt x="2482" y="725"/>
                  </a:cubicBezTo>
                  <a:close/>
                  <a:moveTo>
                    <a:pt x="2482" y="621"/>
                  </a:moveTo>
                  <a:cubicBezTo>
                    <a:pt x="2485" y="621"/>
                    <a:pt x="2487" y="621"/>
                    <a:pt x="2490" y="626"/>
                  </a:cubicBezTo>
                  <a:lnTo>
                    <a:pt x="2490" y="629"/>
                  </a:lnTo>
                  <a:cubicBezTo>
                    <a:pt x="2487" y="626"/>
                    <a:pt x="2482" y="623"/>
                    <a:pt x="2482" y="621"/>
                  </a:cubicBezTo>
                  <a:close/>
                  <a:moveTo>
                    <a:pt x="2490" y="2084"/>
                  </a:moveTo>
                  <a:cubicBezTo>
                    <a:pt x="2485" y="2089"/>
                    <a:pt x="2482" y="2075"/>
                    <a:pt x="2490" y="2084"/>
                  </a:cubicBezTo>
                  <a:close/>
                  <a:moveTo>
                    <a:pt x="2485" y="753"/>
                  </a:moveTo>
                  <a:cubicBezTo>
                    <a:pt x="2490" y="745"/>
                    <a:pt x="2493" y="759"/>
                    <a:pt x="2502" y="756"/>
                  </a:cubicBezTo>
                  <a:cubicBezTo>
                    <a:pt x="2496" y="764"/>
                    <a:pt x="2490" y="756"/>
                    <a:pt x="2485" y="753"/>
                  </a:cubicBezTo>
                  <a:close/>
                  <a:moveTo>
                    <a:pt x="2487" y="556"/>
                  </a:moveTo>
                  <a:lnTo>
                    <a:pt x="2493" y="544"/>
                  </a:lnTo>
                  <a:lnTo>
                    <a:pt x="2490" y="544"/>
                  </a:lnTo>
                  <a:cubicBezTo>
                    <a:pt x="2490" y="542"/>
                    <a:pt x="2493" y="542"/>
                    <a:pt x="2493" y="539"/>
                  </a:cubicBezTo>
                  <a:lnTo>
                    <a:pt x="2493" y="544"/>
                  </a:lnTo>
                  <a:lnTo>
                    <a:pt x="2493" y="547"/>
                  </a:lnTo>
                  <a:cubicBezTo>
                    <a:pt x="2493" y="550"/>
                    <a:pt x="2490" y="553"/>
                    <a:pt x="2487" y="556"/>
                  </a:cubicBezTo>
                  <a:close/>
                  <a:moveTo>
                    <a:pt x="2493" y="716"/>
                  </a:moveTo>
                  <a:lnTo>
                    <a:pt x="2493" y="716"/>
                  </a:lnTo>
                  <a:cubicBezTo>
                    <a:pt x="2494" y="716"/>
                    <a:pt x="2494" y="716"/>
                    <a:pt x="2494" y="715"/>
                  </a:cubicBezTo>
                  <a:cubicBezTo>
                    <a:pt x="2493" y="715"/>
                    <a:pt x="2491" y="716"/>
                    <a:pt x="2493" y="716"/>
                  </a:cubicBezTo>
                  <a:close/>
                  <a:moveTo>
                    <a:pt x="2494" y="715"/>
                  </a:moveTo>
                  <a:cubicBezTo>
                    <a:pt x="2494" y="714"/>
                    <a:pt x="2495" y="713"/>
                    <a:pt x="2496" y="711"/>
                  </a:cubicBezTo>
                  <a:cubicBezTo>
                    <a:pt x="2509" y="716"/>
                    <a:pt x="2490" y="728"/>
                    <a:pt x="2493" y="716"/>
                  </a:cubicBezTo>
                  <a:cubicBezTo>
                    <a:pt x="2494" y="715"/>
                    <a:pt x="2494" y="715"/>
                    <a:pt x="2494" y="715"/>
                  </a:cubicBezTo>
                  <a:close/>
                  <a:moveTo>
                    <a:pt x="2504" y="1847"/>
                  </a:moveTo>
                  <a:lnTo>
                    <a:pt x="2504" y="1852"/>
                  </a:lnTo>
                  <a:lnTo>
                    <a:pt x="2499" y="1852"/>
                  </a:lnTo>
                  <a:lnTo>
                    <a:pt x="2499" y="1847"/>
                  </a:lnTo>
                  <a:lnTo>
                    <a:pt x="2504" y="1847"/>
                  </a:lnTo>
                  <a:close/>
                  <a:moveTo>
                    <a:pt x="2504" y="1999"/>
                  </a:moveTo>
                  <a:cubicBezTo>
                    <a:pt x="2504" y="2002"/>
                    <a:pt x="2502" y="2007"/>
                    <a:pt x="2496" y="2007"/>
                  </a:cubicBezTo>
                  <a:cubicBezTo>
                    <a:pt x="2499" y="2005"/>
                    <a:pt x="2502" y="1999"/>
                    <a:pt x="2504" y="1999"/>
                  </a:cubicBezTo>
                  <a:close/>
                  <a:moveTo>
                    <a:pt x="2504" y="691"/>
                  </a:moveTo>
                  <a:cubicBezTo>
                    <a:pt x="2504" y="685"/>
                    <a:pt x="2513" y="694"/>
                    <a:pt x="2504" y="691"/>
                  </a:cubicBezTo>
                  <a:close/>
                  <a:moveTo>
                    <a:pt x="2507" y="604"/>
                  </a:moveTo>
                  <a:cubicBezTo>
                    <a:pt x="2510" y="601"/>
                    <a:pt x="2502" y="606"/>
                    <a:pt x="2507" y="604"/>
                  </a:cubicBezTo>
                  <a:close/>
                  <a:moveTo>
                    <a:pt x="2544" y="795"/>
                  </a:moveTo>
                  <a:cubicBezTo>
                    <a:pt x="2555" y="810"/>
                    <a:pt x="2527" y="812"/>
                    <a:pt x="2524" y="824"/>
                  </a:cubicBezTo>
                  <a:cubicBezTo>
                    <a:pt x="2510" y="832"/>
                    <a:pt x="2533" y="812"/>
                    <a:pt x="2533" y="798"/>
                  </a:cubicBezTo>
                  <a:cubicBezTo>
                    <a:pt x="2535" y="801"/>
                    <a:pt x="2541" y="798"/>
                    <a:pt x="2544" y="795"/>
                  </a:cubicBezTo>
                  <a:close/>
                  <a:moveTo>
                    <a:pt x="2533" y="700"/>
                  </a:moveTo>
                  <a:cubicBezTo>
                    <a:pt x="2538" y="694"/>
                    <a:pt x="2530" y="705"/>
                    <a:pt x="2533" y="700"/>
                  </a:cubicBezTo>
                  <a:close/>
                  <a:moveTo>
                    <a:pt x="2558" y="787"/>
                  </a:moveTo>
                  <a:cubicBezTo>
                    <a:pt x="2558" y="787"/>
                    <a:pt x="2558" y="790"/>
                    <a:pt x="2558" y="787"/>
                  </a:cubicBezTo>
                  <a:lnTo>
                    <a:pt x="2558" y="793"/>
                  </a:lnTo>
                  <a:cubicBezTo>
                    <a:pt x="2555" y="793"/>
                    <a:pt x="2552" y="795"/>
                    <a:pt x="2550" y="795"/>
                  </a:cubicBezTo>
                  <a:cubicBezTo>
                    <a:pt x="2550" y="795"/>
                    <a:pt x="2552" y="793"/>
                    <a:pt x="2552" y="790"/>
                  </a:cubicBezTo>
                  <a:cubicBezTo>
                    <a:pt x="2555" y="790"/>
                    <a:pt x="2558" y="787"/>
                    <a:pt x="2558" y="787"/>
                  </a:cubicBezTo>
                  <a:close/>
                  <a:moveTo>
                    <a:pt x="2567" y="1581"/>
                  </a:moveTo>
                  <a:cubicBezTo>
                    <a:pt x="2567" y="1587"/>
                    <a:pt x="2561" y="1590"/>
                    <a:pt x="2555" y="1590"/>
                  </a:cubicBezTo>
                  <a:cubicBezTo>
                    <a:pt x="2555" y="1587"/>
                    <a:pt x="2564" y="1584"/>
                    <a:pt x="2567" y="1581"/>
                  </a:cubicBezTo>
                  <a:close/>
                  <a:moveTo>
                    <a:pt x="2564" y="805"/>
                  </a:moveTo>
                  <a:cubicBezTo>
                    <a:pt x="2565" y="804"/>
                    <a:pt x="2567" y="803"/>
                    <a:pt x="2564" y="807"/>
                  </a:cubicBezTo>
                  <a:cubicBezTo>
                    <a:pt x="2563" y="807"/>
                    <a:pt x="2563" y="806"/>
                    <a:pt x="2564" y="805"/>
                  </a:cubicBezTo>
                  <a:close/>
                  <a:moveTo>
                    <a:pt x="2578" y="725"/>
                  </a:moveTo>
                  <a:cubicBezTo>
                    <a:pt x="2581" y="725"/>
                    <a:pt x="2575" y="728"/>
                    <a:pt x="2578" y="725"/>
                  </a:cubicBezTo>
                  <a:close/>
                  <a:moveTo>
                    <a:pt x="2578" y="773"/>
                  </a:moveTo>
                  <a:cubicBezTo>
                    <a:pt x="2578" y="772"/>
                    <a:pt x="2578" y="771"/>
                    <a:pt x="2579" y="771"/>
                  </a:cubicBezTo>
                  <a:cubicBezTo>
                    <a:pt x="2579" y="768"/>
                    <a:pt x="2579" y="765"/>
                    <a:pt x="2581" y="762"/>
                  </a:cubicBezTo>
                  <a:cubicBezTo>
                    <a:pt x="2592" y="764"/>
                    <a:pt x="2600" y="767"/>
                    <a:pt x="2609" y="767"/>
                  </a:cubicBezTo>
                  <a:cubicBezTo>
                    <a:pt x="2606" y="773"/>
                    <a:pt x="2603" y="776"/>
                    <a:pt x="2598" y="779"/>
                  </a:cubicBezTo>
                  <a:lnTo>
                    <a:pt x="2600" y="779"/>
                  </a:lnTo>
                  <a:cubicBezTo>
                    <a:pt x="2599" y="779"/>
                    <a:pt x="2599" y="781"/>
                    <a:pt x="2598" y="782"/>
                  </a:cubicBezTo>
                  <a:cubicBezTo>
                    <a:pt x="2600" y="783"/>
                    <a:pt x="2604" y="784"/>
                    <a:pt x="2606" y="784"/>
                  </a:cubicBezTo>
                  <a:cubicBezTo>
                    <a:pt x="2603" y="795"/>
                    <a:pt x="2598" y="801"/>
                    <a:pt x="2589" y="798"/>
                  </a:cubicBezTo>
                  <a:cubicBezTo>
                    <a:pt x="2589" y="794"/>
                    <a:pt x="2590" y="790"/>
                    <a:pt x="2592" y="786"/>
                  </a:cubicBezTo>
                  <a:cubicBezTo>
                    <a:pt x="2591" y="787"/>
                    <a:pt x="2590" y="787"/>
                    <a:pt x="2589" y="787"/>
                  </a:cubicBezTo>
                  <a:cubicBezTo>
                    <a:pt x="2589" y="784"/>
                    <a:pt x="2592" y="781"/>
                    <a:pt x="2592" y="781"/>
                  </a:cubicBezTo>
                  <a:cubicBezTo>
                    <a:pt x="2586" y="781"/>
                    <a:pt x="2581" y="779"/>
                    <a:pt x="2579" y="773"/>
                  </a:cubicBezTo>
                  <a:lnTo>
                    <a:pt x="2578" y="773"/>
                  </a:lnTo>
                  <a:close/>
                  <a:moveTo>
                    <a:pt x="2589" y="784"/>
                  </a:moveTo>
                  <a:cubicBezTo>
                    <a:pt x="2586" y="798"/>
                    <a:pt x="2572" y="795"/>
                    <a:pt x="2564" y="795"/>
                  </a:cubicBezTo>
                  <a:cubicBezTo>
                    <a:pt x="2572" y="790"/>
                    <a:pt x="2578" y="781"/>
                    <a:pt x="2589" y="784"/>
                  </a:cubicBezTo>
                  <a:close/>
                  <a:moveTo>
                    <a:pt x="2603" y="716"/>
                  </a:moveTo>
                  <a:cubicBezTo>
                    <a:pt x="2609" y="719"/>
                    <a:pt x="2600" y="722"/>
                    <a:pt x="2600" y="728"/>
                  </a:cubicBezTo>
                  <a:cubicBezTo>
                    <a:pt x="2592" y="722"/>
                    <a:pt x="2603" y="719"/>
                    <a:pt x="2603" y="716"/>
                  </a:cubicBezTo>
                  <a:close/>
                  <a:moveTo>
                    <a:pt x="2634" y="1207"/>
                  </a:moveTo>
                  <a:cubicBezTo>
                    <a:pt x="2637" y="1207"/>
                    <a:pt x="2643" y="1210"/>
                    <a:pt x="2646" y="1210"/>
                  </a:cubicBezTo>
                  <a:cubicBezTo>
                    <a:pt x="2646" y="1221"/>
                    <a:pt x="2640" y="1224"/>
                    <a:pt x="2631" y="1221"/>
                  </a:cubicBezTo>
                  <a:cubicBezTo>
                    <a:pt x="2634" y="1219"/>
                    <a:pt x="2634" y="1213"/>
                    <a:pt x="2634" y="1207"/>
                  </a:cubicBezTo>
                  <a:close/>
                  <a:moveTo>
                    <a:pt x="2631" y="1204"/>
                  </a:moveTo>
                  <a:cubicBezTo>
                    <a:pt x="2631" y="1204"/>
                    <a:pt x="2634" y="1202"/>
                    <a:pt x="2637" y="1202"/>
                  </a:cubicBezTo>
                  <a:lnTo>
                    <a:pt x="2637" y="1204"/>
                  </a:lnTo>
                  <a:cubicBezTo>
                    <a:pt x="2634" y="1207"/>
                    <a:pt x="2631" y="1204"/>
                    <a:pt x="2631" y="1204"/>
                  </a:cubicBezTo>
                  <a:close/>
                  <a:moveTo>
                    <a:pt x="2646" y="1314"/>
                  </a:moveTo>
                  <a:cubicBezTo>
                    <a:pt x="2657" y="1303"/>
                    <a:pt x="2668" y="1340"/>
                    <a:pt x="2643" y="1329"/>
                  </a:cubicBezTo>
                  <a:cubicBezTo>
                    <a:pt x="2646" y="1326"/>
                    <a:pt x="2651" y="1317"/>
                    <a:pt x="2646" y="1314"/>
                  </a:cubicBezTo>
                  <a:close/>
                  <a:moveTo>
                    <a:pt x="2716" y="1365"/>
                  </a:moveTo>
                  <a:cubicBezTo>
                    <a:pt x="2719" y="1365"/>
                    <a:pt x="2725" y="1365"/>
                    <a:pt x="2727" y="1368"/>
                  </a:cubicBezTo>
                  <a:cubicBezTo>
                    <a:pt x="2727" y="1371"/>
                    <a:pt x="2710" y="1374"/>
                    <a:pt x="2716" y="1365"/>
                  </a:cubicBezTo>
                  <a:close/>
                  <a:moveTo>
                    <a:pt x="2730" y="1382"/>
                  </a:moveTo>
                  <a:cubicBezTo>
                    <a:pt x="2727" y="1385"/>
                    <a:pt x="2725" y="1388"/>
                    <a:pt x="2722" y="1388"/>
                  </a:cubicBezTo>
                  <a:cubicBezTo>
                    <a:pt x="2719" y="1382"/>
                    <a:pt x="2727" y="1385"/>
                    <a:pt x="2730" y="1382"/>
                  </a:cubicBezTo>
                  <a:close/>
                  <a:moveTo>
                    <a:pt x="2710" y="1455"/>
                  </a:moveTo>
                  <a:cubicBezTo>
                    <a:pt x="2696" y="1441"/>
                    <a:pt x="2736" y="1447"/>
                    <a:pt x="2710" y="1455"/>
                  </a:cubicBezTo>
                  <a:close/>
                  <a:moveTo>
                    <a:pt x="2750" y="1517"/>
                  </a:moveTo>
                  <a:cubicBezTo>
                    <a:pt x="2747" y="1519"/>
                    <a:pt x="2756" y="1514"/>
                    <a:pt x="2750" y="1517"/>
                  </a:cubicBezTo>
                  <a:close/>
                  <a:moveTo>
                    <a:pt x="2756" y="1528"/>
                  </a:moveTo>
                  <a:cubicBezTo>
                    <a:pt x="2741" y="1531"/>
                    <a:pt x="2758" y="1514"/>
                    <a:pt x="2756" y="1528"/>
                  </a:cubicBezTo>
                  <a:close/>
                  <a:moveTo>
                    <a:pt x="2753" y="1691"/>
                  </a:moveTo>
                  <a:cubicBezTo>
                    <a:pt x="2753" y="1689"/>
                    <a:pt x="2753" y="1683"/>
                    <a:pt x="2758" y="1672"/>
                  </a:cubicBezTo>
                  <a:cubicBezTo>
                    <a:pt x="2767" y="1686"/>
                    <a:pt x="2758" y="1700"/>
                    <a:pt x="2756" y="1694"/>
                  </a:cubicBezTo>
                  <a:cubicBezTo>
                    <a:pt x="2753" y="1697"/>
                    <a:pt x="2741" y="1694"/>
                    <a:pt x="2744" y="1689"/>
                  </a:cubicBezTo>
                  <a:cubicBezTo>
                    <a:pt x="2747" y="1691"/>
                    <a:pt x="2750" y="1691"/>
                    <a:pt x="2753" y="1691"/>
                  </a:cubicBezTo>
                  <a:close/>
                  <a:moveTo>
                    <a:pt x="2758" y="1441"/>
                  </a:moveTo>
                  <a:cubicBezTo>
                    <a:pt x="2764" y="1447"/>
                    <a:pt x="2767" y="1453"/>
                    <a:pt x="2764" y="1460"/>
                  </a:cubicBezTo>
                  <a:cubicBezTo>
                    <a:pt x="2753" y="1460"/>
                    <a:pt x="2756" y="1450"/>
                    <a:pt x="2758" y="1441"/>
                  </a:cubicBezTo>
                  <a:close/>
                  <a:moveTo>
                    <a:pt x="2761" y="1601"/>
                  </a:moveTo>
                  <a:cubicBezTo>
                    <a:pt x="2772" y="1610"/>
                    <a:pt x="2747" y="1624"/>
                    <a:pt x="2761" y="1601"/>
                  </a:cubicBezTo>
                  <a:close/>
                  <a:moveTo>
                    <a:pt x="2744" y="1683"/>
                  </a:moveTo>
                  <a:cubicBezTo>
                    <a:pt x="2741" y="1683"/>
                    <a:pt x="2741" y="1677"/>
                    <a:pt x="2741" y="1675"/>
                  </a:cubicBezTo>
                  <a:cubicBezTo>
                    <a:pt x="2750" y="1675"/>
                    <a:pt x="2750" y="1680"/>
                    <a:pt x="2744" y="1683"/>
                  </a:cubicBezTo>
                  <a:close/>
                  <a:moveTo>
                    <a:pt x="2741" y="1601"/>
                  </a:moveTo>
                  <a:cubicBezTo>
                    <a:pt x="2741" y="1598"/>
                    <a:pt x="2744" y="1593"/>
                    <a:pt x="2750" y="1593"/>
                  </a:cubicBezTo>
                  <a:lnTo>
                    <a:pt x="2750" y="1598"/>
                  </a:lnTo>
                  <a:cubicBezTo>
                    <a:pt x="2747" y="1601"/>
                    <a:pt x="2744" y="1601"/>
                    <a:pt x="2741" y="1601"/>
                  </a:cubicBezTo>
                  <a:close/>
                  <a:moveTo>
                    <a:pt x="2741" y="1517"/>
                  </a:moveTo>
                  <a:cubicBezTo>
                    <a:pt x="2750" y="1508"/>
                    <a:pt x="2750" y="1522"/>
                    <a:pt x="2741" y="1517"/>
                  </a:cubicBezTo>
                  <a:close/>
                  <a:moveTo>
                    <a:pt x="2741" y="1463"/>
                  </a:moveTo>
                  <a:cubicBezTo>
                    <a:pt x="2741" y="1457"/>
                    <a:pt x="2747" y="1457"/>
                    <a:pt x="2747" y="1456"/>
                  </a:cubicBezTo>
                  <a:cubicBezTo>
                    <a:pt x="2750" y="1457"/>
                    <a:pt x="2744" y="1466"/>
                    <a:pt x="2741" y="1463"/>
                  </a:cubicBezTo>
                  <a:close/>
                  <a:moveTo>
                    <a:pt x="2750" y="1528"/>
                  </a:moveTo>
                  <a:cubicBezTo>
                    <a:pt x="2747" y="1531"/>
                    <a:pt x="2744" y="1536"/>
                    <a:pt x="2741" y="1536"/>
                  </a:cubicBezTo>
                  <a:cubicBezTo>
                    <a:pt x="2739" y="1531"/>
                    <a:pt x="2744" y="1528"/>
                    <a:pt x="2750" y="1528"/>
                  </a:cubicBezTo>
                  <a:close/>
                  <a:moveTo>
                    <a:pt x="2739" y="1878"/>
                  </a:moveTo>
                  <a:cubicBezTo>
                    <a:pt x="2739" y="1878"/>
                    <a:pt x="2736" y="1872"/>
                    <a:pt x="2739" y="1869"/>
                  </a:cubicBezTo>
                  <a:cubicBezTo>
                    <a:pt x="2741" y="1869"/>
                    <a:pt x="2744" y="1880"/>
                    <a:pt x="2739" y="1878"/>
                  </a:cubicBezTo>
                  <a:close/>
                  <a:moveTo>
                    <a:pt x="2739" y="1553"/>
                  </a:moveTo>
                  <a:lnTo>
                    <a:pt x="2733" y="1553"/>
                  </a:lnTo>
                  <a:lnTo>
                    <a:pt x="2733" y="1548"/>
                  </a:lnTo>
                  <a:lnTo>
                    <a:pt x="2739" y="1548"/>
                  </a:lnTo>
                  <a:lnTo>
                    <a:pt x="2739" y="1553"/>
                  </a:lnTo>
                  <a:close/>
                  <a:moveTo>
                    <a:pt x="2736" y="1612"/>
                  </a:moveTo>
                  <a:lnTo>
                    <a:pt x="2736" y="1618"/>
                  </a:lnTo>
                  <a:lnTo>
                    <a:pt x="2730" y="1618"/>
                  </a:lnTo>
                  <a:lnTo>
                    <a:pt x="2730" y="1612"/>
                  </a:lnTo>
                  <a:lnTo>
                    <a:pt x="2736" y="1612"/>
                  </a:lnTo>
                  <a:close/>
                  <a:moveTo>
                    <a:pt x="2733" y="1691"/>
                  </a:moveTo>
                  <a:cubicBezTo>
                    <a:pt x="2733" y="1697"/>
                    <a:pt x="2725" y="1697"/>
                    <a:pt x="2722" y="1700"/>
                  </a:cubicBezTo>
                  <a:cubicBezTo>
                    <a:pt x="2722" y="1694"/>
                    <a:pt x="2727" y="1691"/>
                    <a:pt x="2733" y="1691"/>
                  </a:cubicBezTo>
                  <a:close/>
                  <a:moveTo>
                    <a:pt x="2713" y="1804"/>
                  </a:moveTo>
                  <a:cubicBezTo>
                    <a:pt x="2722" y="1804"/>
                    <a:pt x="2730" y="1810"/>
                    <a:pt x="2730" y="1818"/>
                  </a:cubicBezTo>
                  <a:lnTo>
                    <a:pt x="2730" y="1821"/>
                  </a:lnTo>
                  <a:cubicBezTo>
                    <a:pt x="2722" y="1821"/>
                    <a:pt x="2705" y="1813"/>
                    <a:pt x="2713" y="1804"/>
                  </a:cubicBezTo>
                  <a:close/>
                  <a:moveTo>
                    <a:pt x="2727" y="1861"/>
                  </a:moveTo>
                  <a:cubicBezTo>
                    <a:pt x="2725" y="1861"/>
                    <a:pt x="2722" y="1858"/>
                    <a:pt x="2719" y="1855"/>
                  </a:cubicBezTo>
                  <a:cubicBezTo>
                    <a:pt x="2719" y="1852"/>
                    <a:pt x="2722" y="1852"/>
                    <a:pt x="2722" y="1849"/>
                  </a:cubicBezTo>
                  <a:cubicBezTo>
                    <a:pt x="2727" y="1852"/>
                    <a:pt x="2730" y="1855"/>
                    <a:pt x="2727" y="1861"/>
                  </a:cubicBezTo>
                  <a:close/>
                  <a:moveTo>
                    <a:pt x="2699" y="1945"/>
                  </a:moveTo>
                  <a:cubicBezTo>
                    <a:pt x="2699" y="1943"/>
                    <a:pt x="2702" y="1940"/>
                    <a:pt x="2702" y="1934"/>
                  </a:cubicBezTo>
                  <a:lnTo>
                    <a:pt x="2710" y="1934"/>
                  </a:lnTo>
                  <a:cubicBezTo>
                    <a:pt x="2710" y="1940"/>
                    <a:pt x="2705" y="1945"/>
                    <a:pt x="2699" y="1945"/>
                  </a:cubicBezTo>
                  <a:close/>
                  <a:moveTo>
                    <a:pt x="2699" y="1982"/>
                  </a:moveTo>
                  <a:cubicBezTo>
                    <a:pt x="2699" y="1976"/>
                    <a:pt x="2708" y="1988"/>
                    <a:pt x="2699" y="1982"/>
                  </a:cubicBezTo>
                  <a:close/>
                  <a:moveTo>
                    <a:pt x="2710" y="1739"/>
                  </a:moveTo>
                  <a:cubicBezTo>
                    <a:pt x="2705" y="1739"/>
                    <a:pt x="2705" y="1734"/>
                    <a:pt x="2699" y="1734"/>
                  </a:cubicBezTo>
                  <a:cubicBezTo>
                    <a:pt x="2699" y="1731"/>
                    <a:pt x="2705" y="1731"/>
                    <a:pt x="2710" y="1731"/>
                  </a:cubicBezTo>
                  <a:cubicBezTo>
                    <a:pt x="2713" y="1734"/>
                    <a:pt x="2713" y="1737"/>
                    <a:pt x="2710" y="1739"/>
                  </a:cubicBezTo>
                  <a:close/>
                  <a:moveTo>
                    <a:pt x="2688" y="1312"/>
                  </a:moveTo>
                  <a:cubicBezTo>
                    <a:pt x="2691" y="1298"/>
                    <a:pt x="2702" y="1298"/>
                    <a:pt x="2708" y="1306"/>
                  </a:cubicBezTo>
                  <a:cubicBezTo>
                    <a:pt x="2702" y="1312"/>
                    <a:pt x="2693" y="1314"/>
                    <a:pt x="2688" y="1312"/>
                  </a:cubicBezTo>
                  <a:close/>
                  <a:moveTo>
                    <a:pt x="2699" y="1343"/>
                  </a:moveTo>
                  <a:cubicBezTo>
                    <a:pt x="2702" y="1343"/>
                    <a:pt x="2696" y="1345"/>
                    <a:pt x="2699" y="1343"/>
                  </a:cubicBezTo>
                  <a:close/>
                  <a:moveTo>
                    <a:pt x="2685" y="1235"/>
                  </a:moveTo>
                  <a:cubicBezTo>
                    <a:pt x="2688" y="1238"/>
                    <a:pt x="2691" y="1244"/>
                    <a:pt x="2696" y="1244"/>
                  </a:cubicBezTo>
                  <a:cubicBezTo>
                    <a:pt x="2696" y="1247"/>
                    <a:pt x="2693" y="1252"/>
                    <a:pt x="2691" y="1255"/>
                  </a:cubicBezTo>
                  <a:cubicBezTo>
                    <a:pt x="2687" y="1254"/>
                    <a:pt x="2684" y="1253"/>
                    <a:pt x="2681" y="1252"/>
                  </a:cubicBezTo>
                  <a:cubicBezTo>
                    <a:pt x="2683" y="1257"/>
                    <a:pt x="2668" y="1266"/>
                    <a:pt x="2676" y="1251"/>
                  </a:cubicBezTo>
                  <a:cubicBezTo>
                    <a:pt x="2675" y="1250"/>
                    <a:pt x="2674" y="1250"/>
                    <a:pt x="2674" y="1250"/>
                  </a:cubicBezTo>
                  <a:cubicBezTo>
                    <a:pt x="2679" y="1247"/>
                    <a:pt x="2685" y="1241"/>
                    <a:pt x="2685" y="1235"/>
                  </a:cubicBezTo>
                  <a:close/>
                  <a:moveTo>
                    <a:pt x="2674" y="1244"/>
                  </a:moveTo>
                  <a:cubicBezTo>
                    <a:pt x="2677" y="1238"/>
                    <a:pt x="2682" y="1252"/>
                    <a:pt x="2674" y="1244"/>
                  </a:cubicBezTo>
                  <a:close/>
                  <a:moveTo>
                    <a:pt x="2691" y="1264"/>
                  </a:moveTo>
                  <a:cubicBezTo>
                    <a:pt x="2691" y="1258"/>
                    <a:pt x="2702" y="1267"/>
                    <a:pt x="2691" y="1264"/>
                  </a:cubicBezTo>
                  <a:close/>
                  <a:moveTo>
                    <a:pt x="2705" y="1244"/>
                  </a:moveTo>
                  <a:cubicBezTo>
                    <a:pt x="2699" y="1247"/>
                    <a:pt x="2708" y="1241"/>
                    <a:pt x="2705" y="1244"/>
                  </a:cubicBezTo>
                  <a:close/>
                  <a:moveTo>
                    <a:pt x="2705" y="1385"/>
                  </a:moveTo>
                  <a:cubicBezTo>
                    <a:pt x="2705" y="1379"/>
                    <a:pt x="2716" y="1388"/>
                    <a:pt x="2705" y="1385"/>
                  </a:cubicBezTo>
                  <a:close/>
                  <a:moveTo>
                    <a:pt x="2710" y="1227"/>
                  </a:moveTo>
                  <a:lnTo>
                    <a:pt x="2709" y="1226"/>
                  </a:lnTo>
                  <a:cubicBezTo>
                    <a:pt x="2710" y="1226"/>
                    <a:pt x="2712" y="1226"/>
                    <a:pt x="2710" y="1227"/>
                  </a:cubicBezTo>
                  <a:cubicBezTo>
                    <a:pt x="2708" y="1227"/>
                    <a:pt x="2708" y="1226"/>
                    <a:pt x="2709" y="1226"/>
                  </a:cubicBezTo>
                  <a:lnTo>
                    <a:pt x="2710" y="1227"/>
                  </a:lnTo>
                  <a:close/>
                  <a:moveTo>
                    <a:pt x="2710" y="1396"/>
                  </a:moveTo>
                  <a:cubicBezTo>
                    <a:pt x="2716" y="1399"/>
                    <a:pt x="2710" y="1408"/>
                    <a:pt x="2710" y="1410"/>
                  </a:cubicBezTo>
                  <a:cubicBezTo>
                    <a:pt x="2702" y="1408"/>
                    <a:pt x="2713" y="1402"/>
                    <a:pt x="2710" y="1396"/>
                  </a:cubicBezTo>
                  <a:close/>
                  <a:moveTo>
                    <a:pt x="2705" y="1669"/>
                  </a:moveTo>
                  <a:cubicBezTo>
                    <a:pt x="2710" y="1660"/>
                    <a:pt x="2713" y="1675"/>
                    <a:pt x="2705" y="1669"/>
                  </a:cubicBezTo>
                  <a:close/>
                  <a:moveTo>
                    <a:pt x="2710" y="1632"/>
                  </a:moveTo>
                  <a:cubicBezTo>
                    <a:pt x="2713" y="1627"/>
                    <a:pt x="2722" y="1624"/>
                    <a:pt x="2722" y="1629"/>
                  </a:cubicBezTo>
                  <a:cubicBezTo>
                    <a:pt x="2725" y="1632"/>
                    <a:pt x="2713" y="1629"/>
                    <a:pt x="2710" y="1632"/>
                  </a:cubicBezTo>
                  <a:close/>
                  <a:moveTo>
                    <a:pt x="2713" y="1354"/>
                  </a:moveTo>
                  <a:cubicBezTo>
                    <a:pt x="2699" y="1348"/>
                    <a:pt x="2727" y="1334"/>
                    <a:pt x="2713" y="1354"/>
                  </a:cubicBezTo>
                  <a:close/>
                  <a:moveTo>
                    <a:pt x="2713" y="812"/>
                  </a:moveTo>
                  <a:cubicBezTo>
                    <a:pt x="2705" y="812"/>
                    <a:pt x="2699" y="804"/>
                    <a:pt x="2702" y="795"/>
                  </a:cubicBezTo>
                  <a:cubicBezTo>
                    <a:pt x="2702" y="793"/>
                    <a:pt x="2702" y="793"/>
                    <a:pt x="2705" y="790"/>
                  </a:cubicBezTo>
                  <a:cubicBezTo>
                    <a:pt x="2713" y="790"/>
                    <a:pt x="2719" y="798"/>
                    <a:pt x="2716" y="807"/>
                  </a:cubicBezTo>
                  <a:cubicBezTo>
                    <a:pt x="2713" y="810"/>
                    <a:pt x="2713" y="812"/>
                    <a:pt x="2713" y="812"/>
                  </a:cubicBezTo>
                  <a:close/>
                  <a:moveTo>
                    <a:pt x="2702" y="1182"/>
                  </a:moveTo>
                  <a:lnTo>
                    <a:pt x="2699" y="1182"/>
                  </a:lnTo>
                  <a:lnTo>
                    <a:pt x="2699" y="1179"/>
                  </a:lnTo>
                  <a:cubicBezTo>
                    <a:pt x="2702" y="1179"/>
                    <a:pt x="2702" y="1182"/>
                    <a:pt x="2702" y="1182"/>
                  </a:cubicBezTo>
                  <a:close/>
                  <a:moveTo>
                    <a:pt x="2699" y="1207"/>
                  </a:moveTo>
                  <a:cubicBezTo>
                    <a:pt x="2691" y="1204"/>
                    <a:pt x="2679" y="1199"/>
                    <a:pt x="2677" y="1207"/>
                  </a:cubicBezTo>
                  <a:cubicBezTo>
                    <a:pt x="2662" y="1190"/>
                    <a:pt x="2710" y="1179"/>
                    <a:pt x="2699" y="1207"/>
                  </a:cubicBezTo>
                  <a:close/>
                  <a:moveTo>
                    <a:pt x="2682" y="1385"/>
                  </a:moveTo>
                  <a:lnTo>
                    <a:pt x="2677" y="1385"/>
                  </a:lnTo>
                  <a:cubicBezTo>
                    <a:pt x="2677" y="1382"/>
                    <a:pt x="2677" y="1382"/>
                    <a:pt x="2674" y="1382"/>
                  </a:cubicBezTo>
                  <a:cubicBezTo>
                    <a:pt x="2674" y="1379"/>
                    <a:pt x="2685" y="1382"/>
                    <a:pt x="2682" y="1385"/>
                  </a:cubicBezTo>
                  <a:close/>
                  <a:moveTo>
                    <a:pt x="2657" y="1317"/>
                  </a:moveTo>
                  <a:cubicBezTo>
                    <a:pt x="2651" y="1295"/>
                    <a:pt x="2671" y="1334"/>
                    <a:pt x="2657" y="1317"/>
                  </a:cubicBezTo>
                  <a:close/>
                  <a:moveTo>
                    <a:pt x="2657" y="1275"/>
                  </a:moveTo>
                  <a:cubicBezTo>
                    <a:pt x="2657" y="1269"/>
                    <a:pt x="2665" y="1281"/>
                    <a:pt x="2657" y="1275"/>
                  </a:cubicBezTo>
                  <a:close/>
                  <a:moveTo>
                    <a:pt x="2668" y="1396"/>
                  </a:moveTo>
                  <a:lnTo>
                    <a:pt x="2662" y="1396"/>
                  </a:lnTo>
                  <a:lnTo>
                    <a:pt x="2662" y="1391"/>
                  </a:lnTo>
                  <a:lnTo>
                    <a:pt x="2668" y="1391"/>
                  </a:lnTo>
                  <a:lnTo>
                    <a:pt x="2668" y="1396"/>
                  </a:lnTo>
                  <a:close/>
                  <a:moveTo>
                    <a:pt x="2660" y="1494"/>
                  </a:moveTo>
                  <a:cubicBezTo>
                    <a:pt x="2679" y="1486"/>
                    <a:pt x="2643" y="1505"/>
                    <a:pt x="2660" y="1494"/>
                  </a:cubicBezTo>
                  <a:close/>
                  <a:moveTo>
                    <a:pt x="2677" y="1500"/>
                  </a:moveTo>
                  <a:cubicBezTo>
                    <a:pt x="2674" y="1502"/>
                    <a:pt x="2671" y="1508"/>
                    <a:pt x="2665" y="1508"/>
                  </a:cubicBezTo>
                  <a:cubicBezTo>
                    <a:pt x="2665" y="1505"/>
                    <a:pt x="2671" y="1500"/>
                    <a:pt x="2677" y="1500"/>
                  </a:cubicBezTo>
                  <a:close/>
                  <a:moveTo>
                    <a:pt x="2665" y="1154"/>
                  </a:moveTo>
                  <a:cubicBezTo>
                    <a:pt x="2665" y="1151"/>
                    <a:pt x="2668" y="1148"/>
                    <a:pt x="2671" y="1148"/>
                  </a:cubicBezTo>
                  <a:lnTo>
                    <a:pt x="2674" y="1148"/>
                  </a:lnTo>
                  <a:cubicBezTo>
                    <a:pt x="2674" y="1151"/>
                    <a:pt x="2668" y="1154"/>
                    <a:pt x="2665" y="1154"/>
                  </a:cubicBezTo>
                  <a:close/>
                  <a:moveTo>
                    <a:pt x="2662" y="1261"/>
                  </a:moveTo>
                  <a:cubicBezTo>
                    <a:pt x="2671" y="1258"/>
                    <a:pt x="2660" y="1269"/>
                    <a:pt x="2662" y="1261"/>
                  </a:cubicBezTo>
                  <a:close/>
                  <a:moveTo>
                    <a:pt x="2665" y="1171"/>
                  </a:moveTo>
                  <a:cubicBezTo>
                    <a:pt x="2671" y="1188"/>
                    <a:pt x="2651" y="1154"/>
                    <a:pt x="2665" y="1171"/>
                  </a:cubicBezTo>
                  <a:close/>
                  <a:moveTo>
                    <a:pt x="2660" y="1185"/>
                  </a:moveTo>
                  <a:cubicBezTo>
                    <a:pt x="2654" y="1188"/>
                    <a:pt x="2662" y="1182"/>
                    <a:pt x="2660" y="1185"/>
                  </a:cubicBezTo>
                  <a:close/>
                  <a:moveTo>
                    <a:pt x="2657" y="1199"/>
                  </a:moveTo>
                  <a:cubicBezTo>
                    <a:pt x="2640" y="1193"/>
                    <a:pt x="2668" y="1179"/>
                    <a:pt x="2657" y="1199"/>
                  </a:cubicBezTo>
                  <a:close/>
                  <a:moveTo>
                    <a:pt x="2598" y="1323"/>
                  </a:moveTo>
                  <a:cubicBezTo>
                    <a:pt x="2609" y="1323"/>
                    <a:pt x="2606" y="1334"/>
                    <a:pt x="2620" y="1334"/>
                  </a:cubicBezTo>
                  <a:cubicBezTo>
                    <a:pt x="2620" y="1345"/>
                    <a:pt x="2586" y="1337"/>
                    <a:pt x="2598" y="1323"/>
                  </a:cubicBezTo>
                  <a:close/>
                  <a:moveTo>
                    <a:pt x="2600" y="1348"/>
                  </a:moveTo>
                  <a:cubicBezTo>
                    <a:pt x="2595" y="1345"/>
                    <a:pt x="2603" y="1340"/>
                    <a:pt x="2600" y="1337"/>
                  </a:cubicBezTo>
                  <a:cubicBezTo>
                    <a:pt x="2606" y="1337"/>
                    <a:pt x="2598" y="1345"/>
                    <a:pt x="2600" y="1348"/>
                  </a:cubicBezTo>
                  <a:close/>
                  <a:moveTo>
                    <a:pt x="2595" y="1182"/>
                  </a:moveTo>
                  <a:cubicBezTo>
                    <a:pt x="2595" y="1185"/>
                    <a:pt x="2589" y="1188"/>
                    <a:pt x="2586" y="1185"/>
                  </a:cubicBezTo>
                  <a:cubicBezTo>
                    <a:pt x="2586" y="1182"/>
                    <a:pt x="2586" y="1179"/>
                    <a:pt x="2589" y="1176"/>
                  </a:cubicBezTo>
                  <a:cubicBezTo>
                    <a:pt x="2583" y="1165"/>
                    <a:pt x="2609" y="1171"/>
                    <a:pt x="2595" y="1182"/>
                  </a:cubicBezTo>
                  <a:close/>
                  <a:moveTo>
                    <a:pt x="2598" y="1190"/>
                  </a:moveTo>
                  <a:cubicBezTo>
                    <a:pt x="2598" y="1185"/>
                    <a:pt x="2606" y="1193"/>
                    <a:pt x="2598" y="1190"/>
                  </a:cubicBezTo>
                  <a:close/>
                  <a:moveTo>
                    <a:pt x="2598" y="1289"/>
                  </a:moveTo>
                  <a:cubicBezTo>
                    <a:pt x="2598" y="1283"/>
                    <a:pt x="2606" y="1292"/>
                    <a:pt x="2598" y="1289"/>
                  </a:cubicBezTo>
                  <a:close/>
                  <a:moveTo>
                    <a:pt x="2617" y="1162"/>
                  </a:moveTo>
                  <a:cubicBezTo>
                    <a:pt x="2614" y="1162"/>
                    <a:pt x="2603" y="1156"/>
                    <a:pt x="2614" y="1151"/>
                  </a:cubicBezTo>
                  <a:cubicBezTo>
                    <a:pt x="2617" y="1148"/>
                    <a:pt x="2620" y="1145"/>
                    <a:pt x="2623" y="1145"/>
                  </a:cubicBezTo>
                  <a:cubicBezTo>
                    <a:pt x="2637" y="1145"/>
                    <a:pt x="2629" y="1171"/>
                    <a:pt x="2617" y="1162"/>
                  </a:cubicBezTo>
                  <a:close/>
                  <a:moveTo>
                    <a:pt x="2629" y="801"/>
                  </a:moveTo>
                  <a:lnTo>
                    <a:pt x="2628" y="800"/>
                  </a:lnTo>
                  <a:cubicBezTo>
                    <a:pt x="2628" y="799"/>
                    <a:pt x="2631" y="797"/>
                    <a:pt x="2629" y="801"/>
                  </a:cubicBezTo>
                  <a:cubicBezTo>
                    <a:pt x="2628" y="801"/>
                    <a:pt x="2628" y="801"/>
                    <a:pt x="2628" y="800"/>
                  </a:cubicBezTo>
                  <a:lnTo>
                    <a:pt x="2629" y="801"/>
                  </a:lnTo>
                  <a:close/>
                  <a:moveTo>
                    <a:pt x="2623" y="1320"/>
                  </a:moveTo>
                  <a:cubicBezTo>
                    <a:pt x="2623" y="1312"/>
                    <a:pt x="2631" y="1323"/>
                    <a:pt x="2623" y="1320"/>
                  </a:cubicBezTo>
                  <a:close/>
                  <a:moveTo>
                    <a:pt x="2631" y="1340"/>
                  </a:moveTo>
                  <a:lnTo>
                    <a:pt x="2623" y="1340"/>
                  </a:lnTo>
                  <a:lnTo>
                    <a:pt x="2623" y="1334"/>
                  </a:lnTo>
                  <a:cubicBezTo>
                    <a:pt x="2629" y="1334"/>
                    <a:pt x="2631" y="1337"/>
                    <a:pt x="2631" y="1340"/>
                  </a:cubicBezTo>
                  <a:close/>
                  <a:moveTo>
                    <a:pt x="2623" y="1227"/>
                  </a:moveTo>
                  <a:lnTo>
                    <a:pt x="2623" y="1221"/>
                  </a:lnTo>
                  <a:lnTo>
                    <a:pt x="2629" y="1221"/>
                  </a:lnTo>
                  <a:lnTo>
                    <a:pt x="2629" y="1227"/>
                  </a:lnTo>
                  <a:lnTo>
                    <a:pt x="2623" y="1227"/>
                  </a:lnTo>
                  <a:close/>
                  <a:moveTo>
                    <a:pt x="2623" y="1168"/>
                  </a:moveTo>
                  <a:cubicBezTo>
                    <a:pt x="2626" y="1162"/>
                    <a:pt x="2634" y="1171"/>
                    <a:pt x="2623" y="1168"/>
                  </a:cubicBezTo>
                  <a:close/>
                  <a:moveTo>
                    <a:pt x="2631" y="1413"/>
                  </a:moveTo>
                  <a:cubicBezTo>
                    <a:pt x="2631" y="1419"/>
                    <a:pt x="2623" y="1419"/>
                    <a:pt x="2617" y="1422"/>
                  </a:cubicBezTo>
                  <a:cubicBezTo>
                    <a:pt x="2620" y="1419"/>
                    <a:pt x="2626" y="1410"/>
                    <a:pt x="2631" y="1413"/>
                  </a:cubicBezTo>
                  <a:close/>
                  <a:moveTo>
                    <a:pt x="2609" y="1173"/>
                  </a:moveTo>
                  <a:cubicBezTo>
                    <a:pt x="2612" y="1173"/>
                    <a:pt x="2606" y="1176"/>
                    <a:pt x="2609" y="1173"/>
                  </a:cubicBezTo>
                  <a:close/>
                  <a:moveTo>
                    <a:pt x="2606" y="790"/>
                  </a:moveTo>
                  <a:cubicBezTo>
                    <a:pt x="2612" y="787"/>
                    <a:pt x="2603" y="793"/>
                    <a:pt x="2606" y="790"/>
                  </a:cubicBezTo>
                  <a:close/>
                  <a:moveTo>
                    <a:pt x="2606" y="1275"/>
                  </a:moveTo>
                  <a:cubicBezTo>
                    <a:pt x="2609" y="1275"/>
                    <a:pt x="2600" y="1278"/>
                    <a:pt x="2606" y="1275"/>
                  </a:cubicBezTo>
                  <a:close/>
                  <a:moveTo>
                    <a:pt x="2612" y="1419"/>
                  </a:moveTo>
                  <a:cubicBezTo>
                    <a:pt x="2626" y="1424"/>
                    <a:pt x="2600" y="1439"/>
                    <a:pt x="2612" y="1419"/>
                  </a:cubicBezTo>
                  <a:close/>
                  <a:moveTo>
                    <a:pt x="2603" y="1517"/>
                  </a:moveTo>
                  <a:cubicBezTo>
                    <a:pt x="2612" y="1511"/>
                    <a:pt x="2614" y="1525"/>
                    <a:pt x="2603" y="1517"/>
                  </a:cubicBezTo>
                  <a:close/>
                  <a:moveTo>
                    <a:pt x="2612" y="1500"/>
                  </a:moveTo>
                  <a:cubicBezTo>
                    <a:pt x="2609" y="1500"/>
                    <a:pt x="2612" y="1488"/>
                    <a:pt x="2614" y="1491"/>
                  </a:cubicBezTo>
                  <a:cubicBezTo>
                    <a:pt x="2617" y="1495"/>
                    <a:pt x="2612" y="1494"/>
                    <a:pt x="2612" y="1500"/>
                  </a:cubicBezTo>
                  <a:close/>
                  <a:moveTo>
                    <a:pt x="2623" y="1343"/>
                  </a:moveTo>
                  <a:cubicBezTo>
                    <a:pt x="2617" y="1348"/>
                    <a:pt x="2609" y="1340"/>
                    <a:pt x="2623" y="1343"/>
                  </a:cubicBezTo>
                  <a:close/>
                  <a:moveTo>
                    <a:pt x="2629" y="1508"/>
                  </a:moveTo>
                  <a:cubicBezTo>
                    <a:pt x="2629" y="1514"/>
                    <a:pt x="2623" y="1514"/>
                    <a:pt x="2617" y="1514"/>
                  </a:cubicBezTo>
                  <a:cubicBezTo>
                    <a:pt x="2620" y="1511"/>
                    <a:pt x="2626" y="1508"/>
                    <a:pt x="2629" y="1508"/>
                  </a:cubicBezTo>
                  <a:close/>
                  <a:moveTo>
                    <a:pt x="2623" y="1618"/>
                  </a:moveTo>
                  <a:cubicBezTo>
                    <a:pt x="2626" y="1618"/>
                    <a:pt x="2623" y="1624"/>
                    <a:pt x="2623" y="1627"/>
                  </a:cubicBezTo>
                  <a:cubicBezTo>
                    <a:pt x="2620" y="1627"/>
                    <a:pt x="2620" y="1621"/>
                    <a:pt x="2623" y="1618"/>
                  </a:cubicBezTo>
                  <a:close/>
                  <a:moveTo>
                    <a:pt x="2629" y="2123"/>
                  </a:moveTo>
                  <a:cubicBezTo>
                    <a:pt x="2629" y="2126"/>
                    <a:pt x="2623" y="2129"/>
                    <a:pt x="2620" y="2129"/>
                  </a:cubicBezTo>
                  <a:cubicBezTo>
                    <a:pt x="2623" y="2126"/>
                    <a:pt x="2626" y="2123"/>
                    <a:pt x="2629" y="2123"/>
                  </a:cubicBezTo>
                  <a:close/>
                  <a:moveTo>
                    <a:pt x="2626" y="1962"/>
                  </a:moveTo>
                  <a:cubicBezTo>
                    <a:pt x="2623" y="1959"/>
                    <a:pt x="2620" y="1957"/>
                    <a:pt x="2623" y="1954"/>
                  </a:cubicBezTo>
                  <a:cubicBezTo>
                    <a:pt x="2626" y="1954"/>
                    <a:pt x="2626" y="1954"/>
                    <a:pt x="2629" y="1957"/>
                  </a:cubicBezTo>
                  <a:cubicBezTo>
                    <a:pt x="2629" y="1957"/>
                    <a:pt x="2629" y="1959"/>
                    <a:pt x="2626" y="1962"/>
                  </a:cubicBezTo>
                  <a:close/>
                  <a:moveTo>
                    <a:pt x="2626" y="1439"/>
                  </a:moveTo>
                  <a:cubicBezTo>
                    <a:pt x="2626" y="1436"/>
                    <a:pt x="2629" y="1430"/>
                    <a:pt x="2629" y="1427"/>
                  </a:cubicBezTo>
                  <a:cubicBezTo>
                    <a:pt x="2631" y="1427"/>
                    <a:pt x="2637" y="1430"/>
                    <a:pt x="2640" y="1430"/>
                  </a:cubicBezTo>
                  <a:cubicBezTo>
                    <a:pt x="2640" y="1433"/>
                    <a:pt x="2640" y="1439"/>
                    <a:pt x="2637" y="1441"/>
                  </a:cubicBezTo>
                  <a:cubicBezTo>
                    <a:pt x="2634" y="1441"/>
                    <a:pt x="2629" y="1439"/>
                    <a:pt x="2626" y="1439"/>
                  </a:cubicBezTo>
                  <a:close/>
                  <a:moveTo>
                    <a:pt x="2640" y="1377"/>
                  </a:moveTo>
                  <a:cubicBezTo>
                    <a:pt x="2654" y="1382"/>
                    <a:pt x="2629" y="1396"/>
                    <a:pt x="2640" y="1377"/>
                  </a:cubicBezTo>
                  <a:close/>
                  <a:moveTo>
                    <a:pt x="2637" y="1289"/>
                  </a:moveTo>
                  <a:cubicBezTo>
                    <a:pt x="2646" y="1286"/>
                    <a:pt x="2634" y="1298"/>
                    <a:pt x="2637" y="1289"/>
                  </a:cubicBezTo>
                  <a:close/>
                  <a:moveTo>
                    <a:pt x="2637" y="1511"/>
                  </a:moveTo>
                  <a:cubicBezTo>
                    <a:pt x="2637" y="1505"/>
                    <a:pt x="2646" y="1502"/>
                    <a:pt x="2648" y="1505"/>
                  </a:cubicBezTo>
                  <a:cubicBezTo>
                    <a:pt x="2648" y="1508"/>
                    <a:pt x="2643" y="1511"/>
                    <a:pt x="2637" y="1511"/>
                  </a:cubicBezTo>
                  <a:close/>
                  <a:moveTo>
                    <a:pt x="2637" y="1545"/>
                  </a:moveTo>
                  <a:cubicBezTo>
                    <a:pt x="2640" y="1539"/>
                    <a:pt x="2648" y="1548"/>
                    <a:pt x="2637" y="1545"/>
                  </a:cubicBezTo>
                  <a:close/>
                  <a:moveTo>
                    <a:pt x="2643" y="1497"/>
                  </a:moveTo>
                  <a:cubicBezTo>
                    <a:pt x="2637" y="1494"/>
                    <a:pt x="2640" y="1480"/>
                    <a:pt x="2648" y="1483"/>
                  </a:cubicBezTo>
                  <a:cubicBezTo>
                    <a:pt x="2648" y="1488"/>
                    <a:pt x="2643" y="1494"/>
                    <a:pt x="2643" y="1497"/>
                  </a:cubicBezTo>
                  <a:close/>
                  <a:moveTo>
                    <a:pt x="2634" y="1447"/>
                  </a:moveTo>
                  <a:cubicBezTo>
                    <a:pt x="2637" y="1447"/>
                    <a:pt x="2629" y="1450"/>
                    <a:pt x="2634" y="1447"/>
                  </a:cubicBezTo>
                  <a:close/>
                  <a:moveTo>
                    <a:pt x="2629" y="1889"/>
                  </a:moveTo>
                  <a:cubicBezTo>
                    <a:pt x="2634" y="1883"/>
                    <a:pt x="2631" y="1897"/>
                    <a:pt x="2629" y="1889"/>
                  </a:cubicBezTo>
                  <a:close/>
                  <a:moveTo>
                    <a:pt x="2646" y="2067"/>
                  </a:moveTo>
                  <a:cubicBezTo>
                    <a:pt x="2648" y="2075"/>
                    <a:pt x="2634" y="2072"/>
                    <a:pt x="2631" y="2069"/>
                  </a:cubicBezTo>
                  <a:cubicBezTo>
                    <a:pt x="2631" y="2064"/>
                    <a:pt x="2640" y="2067"/>
                    <a:pt x="2646" y="2067"/>
                  </a:cubicBezTo>
                  <a:close/>
                  <a:moveTo>
                    <a:pt x="2634" y="2055"/>
                  </a:moveTo>
                  <a:cubicBezTo>
                    <a:pt x="2634" y="2053"/>
                    <a:pt x="2634" y="2050"/>
                    <a:pt x="2637" y="2050"/>
                  </a:cubicBezTo>
                  <a:cubicBezTo>
                    <a:pt x="2643" y="2047"/>
                    <a:pt x="2654" y="2053"/>
                    <a:pt x="2651" y="2061"/>
                  </a:cubicBezTo>
                  <a:cubicBezTo>
                    <a:pt x="2643" y="2061"/>
                    <a:pt x="2637" y="2061"/>
                    <a:pt x="2634" y="2055"/>
                  </a:cubicBezTo>
                  <a:close/>
                  <a:moveTo>
                    <a:pt x="2643" y="1999"/>
                  </a:moveTo>
                  <a:cubicBezTo>
                    <a:pt x="2646" y="1996"/>
                    <a:pt x="2651" y="2010"/>
                    <a:pt x="2643" y="2007"/>
                  </a:cubicBezTo>
                  <a:cubicBezTo>
                    <a:pt x="2643" y="2005"/>
                    <a:pt x="2640" y="1999"/>
                    <a:pt x="2643" y="1999"/>
                  </a:cubicBezTo>
                  <a:close/>
                  <a:moveTo>
                    <a:pt x="2643" y="1914"/>
                  </a:moveTo>
                  <a:cubicBezTo>
                    <a:pt x="2646" y="1909"/>
                    <a:pt x="2654" y="1920"/>
                    <a:pt x="2643" y="1914"/>
                  </a:cubicBezTo>
                  <a:close/>
                  <a:moveTo>
                    <a:pt x="2637" y="1827"/>
                  </a:moveTo>
                  <a:cubicBezTo>
                    <a:pt x="2637" y="1824"/>
                    <a:pt x="2637" y="1824"/>
                    <a:pt x="2640" y="1821"/>
                  </a:cubicBezTo>
                  <a:cubicBezTo>
                    <a:pt x="2646" y="1821"/>
                    <a:pt x="2651" y="1821"/>
                    <a:pt x="2654" y="1824"/>
                  </a:cubicBezTo>
                  <a:cubicBezTo>
                    <a:pt x="2654" y="1827"/>
                    <a:pt x="2657" y="1830"/>
                    <a:pt x="2657" y="1832"/>
                  </a:cubicBezTo>
                  <a:lnTo>
                    <a:pt x="2654" y="1832"/>
                  </a:lnTo>
                  <a:cubicBezTo>
                    <a:pt x="2646" y="1832"/>
                    <a:pt x="2637" y="1830"/>
                    <a:pt x="2637" y="1827"/>
                  </a:cubicBezTo>
                  <a:close/>
                  <a:moveTo>
                    <a:pt x="2637" y="1728"/>
                  </a:moveTo>
                  <a:cubicBezTo>
                    <a:pt x="2637" y="1725"/>
                    <a:pt x="2648" y="1728"/>
                    <a:pt x="2654" y="1728"/>
                  </a:cubicBezTo>
                  <a:cubicBezTo>
                    <a:pt x="2657" y="1737"/>
                    <a:pt x="2640" y="1734"/>
                    <a:pt x="2637" y="1728"/>
                  </a:cubicBezTo>
                  <a:close/>
                  <a:moveTo>
                    <a:pt x="2648" y="1483"/>
                  </a:moveTo>
                  <a:cubicBezTo>
                    <a:pt x="2648" y="1480"/>
                    <a:pt x="2654" y="1477"/>
                    <a:pt x="2657" y="1477"/>
                  </a:cubicBezTo>
                  <a:cubicBezTo>
                    <a:pt x="2654" y="1480"/>
                    <a:pt x="2651" y="1483"/>
                    <a:pt x="2648" y="1483"/>
                  </a:cubicBezTo>
                  <a:close/>
                  <a:moveTo>
                    <a:pt x="2654" y="2024"/>
                  </a:moveTo>
                  <a:lnTo>
                    <a:pt x="2660" y="2024"/>
                  </a:lnTo>
                  <a:lnTo>
                    <a:pt x="2660" y="2030"/>
                  </a:lnTo>
                  <a:lnTo>
                    <a:pt x="2654" y="2030"/>
                  </a:lnTo>
                  <a:lnTo>
                    <a:pt x="2654" y="2024"/>
                  </a:lnTo>
                  <a:close/>
                  <a:moveTo>
                    <a:pt x="2648" y="1419"/>
                  </a:moveTo>
                  <a:cubicBezTo>
                    <a:pt x="2637" y="1413"/>
                    <a:pt x="2654" y="1393"/>
                    <a:pt x="2657" y="1408"/>
                  </a:cubicBezTo>
                  <a:cubicBezTo>
                    <a:pt x="2654" y="1413"/>
                    <a:pt x="2648" y="1413"/>
                    <a:pt x="2648" y="1419"/>
                  </a:cubicBezTo>
                  <a:close/>
                  <a:moveTo>
                    <a:pt x="2629" y="1360"/>
                  </a:moveTo>
                  <a:cubicBezTo>
                    <a:pt x="2643" y="1368"/>
                    <a:pt x="2614" y="1382"/>
                    <a:pt x="2629" y="1360"/>
                  </a:cubicBezTo>
                  <a:close/>
                  <a:moveTo>
                    <a:pt x="2626" y="1267"/>
                  </a:moveTo>
                  <a:cubicBezTo>
                    <a:pt x="2631" y="1258"/>
                    <a:pt x="2629" y="1275"/>
                    <a:pt x="2626" y="1267"/>
                  </a:cubicBezTo>
                  <a:close/>
                  <a:moveTo>
                    <a:pt x="2609" y="784"/>
                  </a:moveTo>
                  <a:cubicBezTo>
                    <a:pt x="2609" y="781"/>
                    <a:pt x="2612" y="779"/>
                    <a:pt x="2612" y="779"/>
                  </a:cubicBezTo>
                  <a:cubicBezTo>
                    <a:pt x="2614" y="776"/>
                    <a:pt x="2620" y="773"/>
                    <a:pt x="2620" y="776"/>
                  </a:cubicBezTo>
                  <a:cubicBezTo>
                    <a:pt x="2623" y="776"/>
                    <a:pt x="2626" y="779"/>
                    <a:pt x="2631" y="781"/>
                  </a:cubicBezTo>
                  <a:cubicBezTo>
                    <a:pt x="2631" y="793"/>
                    <a:pt x="2617" y="784"/>
                    <a:pt x="2609" y="784"/>
                  </a:cubicBezTo>
                  <a:close/>
                  <a:moveTo>
                    <a:pt x="2612" y="736"/>
                  </a:moveTo>
                  <a:cubicBezTo>
                    <a:pt x="2614" y="733"/>
                    <a:pt x="2617" y="736"/>
                    <a:pt x="2617" y="736"/>
                  </a:cubicBezTo>
                  <a:cubicBezTo>
                    <a:pt x="2614" y="736"/>
                    <a:pt x="2595" y="750"/>
                    <a:pt x="2612" y="736"/>
                  </a:cubicBezTo>
                  <a:close/>
                  <a:moveTo>
                    <a:pt x="2612" y="728"/>
                  </a:moveTo>
                  <a:cubicBezTo>
                    <a:pt x="2598" y="722"/>
                    <a:pt x="2626" y="708"/>
                    <a:pt x="2612" y="728"/>
                  </a:cubicBezTo>
                  <a:close/>
                  <a:moveTo>
                    <a:pt x="2567" y="1455"/>
                  </a:moveTo>
                  <a:cubicBezTo>
                    <a:pt x="2569" y="1453"/>
                    <a:pt x="2572" y="1447"/>
                    <a:pt x="2578" y="1447"/>
                  </a:cubicBezTo>
                  <a:lnTo>
                    <a:pt x="2578" y="1453"/>
                  </a:lnTo>
                  <a:cubicBezTo>
                    <a:pt x="2572" y="1455"/>
                    <a:pt x="2569" y="1455"/>
                    <a:pt x="2567" y="1455"/>
                  </a:cubicBezTo>
                  <a:close/>
                  <a:moveTo>
                    <a:pt x="2569" y="1666"/>
                  </a:moveTo>
                  <a:cubicBezTo>
                    <a:pt x="2569" y="1660"/>
                    <a:pt x="2581" y="1669"/>
                    <a:pt x="2569" y="1666"/>
                  </a:cubicBezTo>
                  <a:close/>
                  <a:moveTo>
                    <a:pt x="2572" y="1708"/>
                  </a:moveTo>
                  <a:cubicBezTo>
                    <a:pt x="2572" y="1711"/>
                    <a:pt x="2567" y="1714"/>
                    <a:pt x="2564" y="1714"/>
                  </a:cubicBezTo>
                  <a:cubicBezTo>
                    <a:pt x="2567" y="1711"/>
                    <a:pt x="2569" y="1708"/>
                    <a:pt x="2572" y="1708"/>
                  </a:cubicBezTo>
                  <a:close/>
                  <a:moveTo>
                    <a:pt x="2572" y="1329"/>
                  </a:moveTo>
                  <a:cubicBezTo>
                    <a:pt x="2569" y="1323"/>
                    <a:pt x="2581" y="1326"/>
                    <a:pt x="2578" y="1320"/>
                  </a:cubicBezTo>
                  <a:cubicBezTo>
                    <a:pt x="2583" y="1323"/>
                    <a:pt x="2578" y="1329"/>
                    <a:pt x="2572" y="1329"/>
                  </a:cubicBezTo>
                  <a:close/>
                  <a:moveTo>
                    <a:pt x="2578" y="1804"/>
                  </a:moveTo>
                  <a:cubicBezTo>
                    <a:pt x="2583" y="1804"/>
                    <a:pt x="2581" y="1813"/>
                    <a:pt x="2578" y="1816"/>
                  </a:cubicBezTo>
                  <a:cubicBezTo>
                    <a:pt x="2575" y="1813"/>
                    <a:pt x="2581" y="1807"/>
                    <a:pt x="2578" y="1804"/>
                  </a:cubicBezTo>
                  <a:close/>
                  <a:moveTo>
                    <a:pt x="2578" y="1300"/>
                  </a:moveTo>
                  <a:cubicBezTo>
                    <a:pt x="2575" y="1295"/>
                    <a:pt x="2586" y="1292"/>
                    <a:pt x="2586" y="1298"/>
                  </a:cubicBezTo>
                  <a:cubicBezTo>
                    <a:pt x="2581" y="1295"/>
                    <a:pt x="2583" y="1303"/>
                    <a:pt x="2578" y="1300"/>
                  </a:cubicBezTo>
                  <a:close/>
                  <a:moveTo>
                    <a:pt x="2575" y="1286"/>
                  </a:moveTo>
                  <a:lnTo>
                    <a:pt x="2576" y="1287"/>
                  </a:lnTo>
                  <a:cubicBezTo>
                    <a:pt x="2575" y="1288"/>
                    <a:pt x="2573" y="1290"/>
                    <a:pt x="2575" y="1286"/>
                  </a:cubicBezTo>
                  <a:cubicBezTo>
                    <a:pt x="2576" y="1286"/>
                    <a:pt x="2576" y="1287"/>
                    <a:pt x="2576" y="1287"/>
                  </a:cubicBezTo>
                  <a:lnTo>
                    <a:pt x="2575" y="1286"/>
                  </a:lnTo>
                  <a:close/>
                  <a:moveTo>
                    <a:pt x="2583" y="1283"/>
                  </a:moveTo>
                  <a:cubicBezTo>
                    <a:pt x="2589" y="1292"/>
                    <a:pt x="2575" y="1292"/>
                    <a:pt x="2583" y="1283"/>
                  </a:cubicBezTo>
                  <a:close/>
                  <a:moveTo>
                    <a:pt x="2586" y="1134"/>
                  </a:moveTo>
                  <a:cubicBezTo>
                    <a:pt x="2583" y="1134"/>
                    <a:pt x="2589" y="1131"/>
                    <a:pt x="2586" y="1134"/>
                  </a:cubicBezTo>
                  <a:close/>
                  <a:moveTo>
                    <a:pt x="2572" y="1216"/>
                  </a:moveTo>
                  <a:cubicBezTo>
                    <a:pt x="2578" y="1227"/>
                    <a:pt x="2578" y="1238"/>
                    <a:pt x="2575" y="1250"/>
                  </a:cubicBezTo>
                  <a:cubicBezTo>
                    <a:pt x="2555" y="1247"/>
                    <a:pt x="2572" y="1224"/>
                    <a:pt x="2572" y="1216"/>
                  </a:cubicBezTo>
                  <a:close/>
                  <a:moveTo>
                    <a:pt x="2555" y="1869"/>
                  </a:moveTo>
                  <a:cubicBezTo>
                    <a:pt x="2561" y="1869"/>
                    <a:pt x="2558" y="1880"/>
                    <a:pt x="2552" y="1880"/>
                  </a:cubicBezTo>
                  <a:cubicBezTo>
                    <a:pt x="2552" y="1878"/>
                    <a:pt x="2555" y="1872"/>
                    <a:pt x="2555" y="1869"/>
                  </a:cubicBezTo>
                  <a:close/>
                  <a:moveTo>
                    <a:pt x="2552" y="1852"/>
                  </a:moveTo>
                  <a:cubicBezTo>
                    <a:pt x="2552" y="1849"/>
                    <a:pt x="2558" y="1847"/>
                    <a:pt x="2561" y="1847"/>
                  </a:cubicBezTo>
                  <a:cubicBezTo>
                    <a:pt x="2561" y="1849"/>
                    <a:pt x="2555" y="1852"/>
                    <a:pt x="2552" y="1852"/>
                  </a:cubicBezTo>
                  <a:close/>
                  <a:moveTo>
                    <a:pt x="2555" y="2146"/>
                  </a:moveTo>
                  <a:cubicBezTo>
                    <a:pt x="2558" y="2146"/>
                    <a:pt x="2558" y="2146"/>
                    <a:pt x="2561" y="2148"/>
                  </a:cubicBezTo>
                  <a:cubicBezTo>
                    <a:pt x="2561" y="2148"/>
                    <a:pt x="2561" y="2151"/>
                    <a:pt x="2564" y="2151"/>
                  </a:cubicBezTo>
                  <a:cubicBezTo>
                    <a:pt x="2564" y="2154"/>
                    <a:pt x="2567" y="2154"/>
                    <a:pt x="2564" y="2157"/>
                  </a:cubicBezTo>
                  <a:cubicBezTo>
                    <a:pt x="2561" y="2157"/>
                    <a:pt x="2561" y="2154"/>
                    <a:pt x="2561" y="2157"/>
                  </a:cubicBezTo>
                  <a:cubicBezTo>
                    <a:pt x="2558" y="2157"/>
                    <a:pt x="2558" y="2160"/>
                    <a:pt x="2555" y="2157"/>
                  </a:cubicBezTo>
                  <a:lnTo>
                    <a:pt x="2552" y="2154"/>
                  </a:lnTo>
                  <a:cubicBezTo>
                    <a:pt x="2552" y="2151"/>
                    <a:pt x="2552" y="2151"/>
                    <a:pt x="2555" y="2148"/>
                  </a:cubicBezTo>
                  <a:cubicBezTo>
                    <a:pt x="2552" y="2146"/>
                    <a:pt x="2555" y="2146"/>
                    <a:pt x="2555" y="2146"/>
                  </a:cubicBezTo>
                  <a:close/>
                  <a:moveTo>
                    <a:pt x="2558" y="2033"/>
                  </a:moveTo>
                  <a:cubicBezTo>
                    <a:pt x="2561" y="2027"/>
                    <a:pt x="2567" y="2041"/>
                    <a:pt x="2558" y="2033"/>
                  </a:cubicBezTo>
                  <a:close/>
                  <a:moveTo>
                    <a:pt x="2555" y="1188"/>
                  </a:moveTo>
                  <a:cubicBezTo>
                    <a:pt x="2550" y="1188"/>
                    <a:pt x="2558" y="1176"/>
                    <a:pt x="2561" y="1182"/>
                  </a:cubicBezTo>
                  <a:cubicBezTo>
                    <a:pt x="2561" y="1185"/>
                    <a:pt x="2555" y="1185"/>
                    <a:pt x="2555" y="1188"/>
                  </a:cubicBezTo>
                  <a:close/>
                  <a:moveTo>
                    <a:pt x="2538" y="1497"/>
                  </a:moveTo>
                  <a:cubicBezTo>
                    <a:pt x="2541" y="1491"/>
                    <a:pt x="2550" y="1500"/>
                    <a:pt x="2552" y="1494"/>
                  </a:cubicBezTo>
                  <a:cubicBezTo>
                    <a:pt x="2561" y="1500"/>
                    <a:pt x="2538" y="1505"/>
                    <a:pt x="2538" y="1497"/>
                  </a:cubicBezTo>
                  <a:close/>
                  <a:moveTo>
                    <a:pt x="2547" y="1525"/>
                  </a:moveTo>
                  <a:cubicBezTo>
                    <a:pt x="2538" y="1522"/>
                    <a:pt x="2544" y="1511"/>
                    <a:pt x="2550" y="1511"/>
                  </a:cubicBezTo>
                  <a:cubicBezTo>
                    <a:pt x="2552" y="1517"/>
                    <a:pt x="2547" y="1519"/>
                    <a:pt x="2547" y="1525"/>
                  </a:cubicBezTo>
                  <a:close/>
                  <a:moveTo>
                    <a:pt x="2541" y="1711"/>
                  </a:moveTo>
                  <a:cubicBezTo>
                    <a:pt x="2541" y="1708"/>
                    <a:pt x="2544" y="1706"/>
                    <a:pt x="2544" y="1703"/>
                  </a:cubicBezTo>
                  <a:cubicBezTo>
                    <a:pt x="2547" y="1700"/>
                    <a:pt x="2547" y="1714"/>
                    <a:pt x="2541" y="1711"/>
                  </a:cubicBezTo>
                  <a:close/>
                  <a:moveTo>
                    <a:pt x="2544" y="1292"/>
                  </a:moveTo>
                  <a:lnTo>
                    <a:pt x="2535" y="1292"/>
                  </a:lnTo>
                  <a:lnTo>
                    <a:pt x="2535" y="1286"/>
                  </a:lnTo>
                  <a:cubicBezTo>
                    <a:pt x="2538" y="1286"/>
                    <a:pt x="2544" y="1289"/>
                    <a:pt x="2544" y="1292"/>
                  </a:cubicBezTo>
                  <a:close/>
                  <a:moveTo>
                    <a:pt x="2535" y="1244"/>
                  </a:moveTo>
                  <a:lnTo>
                    <a:pt x="2544" y="1244"/>
                  </a:lnTo>
                  <a:lnTo>
                    <a:pt x="2544" y="1250"/>
                  </a:lnTo>
                  <a:cubicBezTo>
                    <a:pt x="2538" y="1252"/>
                    <a:pt x="2535" y="1250"/>
                    <a:pt x="2535" y="1244"/>
                  </a:cubicBezTo>
                  <a:close/>
                  <a:moveTo>
                    <a:pt x="2535" y="2027"/>
                  </a:moveTo>
                  <a:cubicBezTo>
                    <a:pt x="2535" y="2021"/>
                    <a:pt x="2544" y="2030"/>
                    <a:pt x="2535" y="2027"/>
                  </a:cubicBezTo>
                  <a:close/>
                  <a:moveTo>
                    <a:pt x="2538" y="1683"/>
                  </a:moveTo>
                  <a:cubicBezTo>
                    <a:pt x="2538" y="1677"/>
                    <a:pt x="2547" y="1689"/>
                    <a:pt x="2538" y="1683"/>
                  </a:cubicBezTo>
                  <a:close/>
                  <a:moveTo>
                    <a:pt x="2547" y="784"/>
                  </a:moveTo>
                  <a:cubicBezTo>
                    <a:pt x="2550" y="784"/>
                    <a:pt x="2544" y="787"/>
                    <a:pt x="2547" y="784"/>
                  </a:cubicBezTo>
                  <a:close/>
                  <a:moveTo>
                    <a:pt x="2550" y="747"/>
                  </a:moveTo>
                  <a:cubicBezTo>
                    <a:pt x="2550" y="750"/>
                    <a:pt x="2552" y="750"/>
                    <a:pt x="2552" y="750"/>
                  </a:cubicBezTo>
                  <a:cubicBezTo>
                    <a:pt x="2550" y="750"/>
                    <a:pt x="2547" y="747"/>
                    <a:pt x="2550" y="747"/>
                  </a:cubicBezTo>
                  <a:close/>
                  <a:moveTo>
                    <a:pt x="2548" y="720"/>
                  </a:moveTo>
                  <a:cubicBezTo>
                    <a:pt x="2548" y="720"/>
                    <a:pt x="2547" y="721"/>
                    <a:pt x="2547" y="722"/>
                  </a:cubicBezTo>
                  <a:cubicBezTo>
                    <a:pt x="2534" y="717"/>
                    <a:pt x="2556" y="705"/>
                    <a:pt x="2550" y="717"/>
                  </a:cubicBezTo>
                  <a:cubicBezTo>
                    <a:pt x="2552" y="718"/>
                    <a:pt x="2554" y="721"/>
                    <a:pt x="2548" y="720"/>
                  </a:cubicBezTo>
                  <a:close/>
                  <a:moveTo>
                    <a:pt x="2541" y="702"/>
                  </a:moveTo>
                  <a:cubicBezTo>
                    <a:pt x="2541" y="697"/>
                    <a:pt x="2550" y="705"/>
                    <a:pt x="2541" y="702"/>
                  </a:cubicBezTo>
                  <a:close/>
                  <a:moveTo>
                    <a:pt x="2541" y="711"/>
                  </a:moveTo>
                  <a:cubicBezTo>
                    <a:pt x="2538" y="711"/>
                    <a:pt x="2538" y="705"/>
                    <a:pt x="2538" y="702"/>
                  </a:cubicBezTo>
                  <a:cubicBezTo>
                    <a:pt x="2547" y="702"/>
                    <a:pt x="2544" y="711"/>
                    <a:pt x="2541" y="711"/>
                  </a:cubicBezTo>
                  <a:close/>
                  <a:moveTo>
                    <a:pt x="2541" y="578"/>
                  </a:moveTo>
                  <a:cubicBezTo>
                    <a:pt x="2527" y="573"/>
                    <a:pt x="2555" y="558"/>
                    <a:pt x="2541" y="578"/>
                  </a:cubicBezTo>
                  <a:close/>
                  <a:moveTo>
                    <a:pt x="2513" y="2089"/>
                  </a:moveTo>
                  <a:cubicBezTo>
                    <a:pt x="2513" y="2084"/>
                    <a:pt x="2521" y="2084"/>
                    <a:pt x="2527" y="2084"/>
                  </a:cubicBezTo>
                  <a:cubicBezTo>
                    <a:pt x="2527" y="2089"/>
                    <a:pt x="2519" y="2089"/>
                    <a:pt x="2513" y="2089"/>
                  </a:cubicBezTo>
                  <a:close/>
                  <a:moveTo>
                    <a:pt x="2516" y="2117"/>
                  </a:moveTo>
                  <a:cubicBezTo>
                    <a:pt x="2524" y="2112"/>
                    <a:pt x="2513" y="2126"/>
                    <a:pt x="2516" y="2117"/>
                  </a:cubicBezTo>
                  <a:close/>
                  <a:moveTo>
                    <a:pt x="2530" y="1627"/>
                  </a:moveTo>
                  <a:cubicBezTo>
                    <a:pt x="2521" y="1632"/>
                    <a:pt x="2521" y="1618"/>
                    <a:pt x="2530" y="1627"/>
                  </a:cubicBezTo>
                  <a:close/>
                  <a:moveTo>
                    <a:pt x="2524" y="1711"/>
                  </a:moveTo>
                  <a:cubicBezTo>
                    <a:pt x="2524" y="1714"/>
                    <a:pt x="2519" y="1717"/>
                    <a:pt x="2516" y="1717"/>
                  </a:cubicBezTo>
                  <a:cubicBezTo>
                    <a:pt x="2519" y="1714"/>
                    <a:pt x="2521" y="1711"/>
                    <a:pt x="2524" y="1711"/>
                  </a:cubicBezTo>
                  <a:close/>
                  <a:moveTo>
                    <a:pt x="2521" y="1607"/>
                  </a:moveTo>
                  <a:cubicBezTo>
                    <a:pt x="2521" y="1604"/>
                    <a:pt x="2524" y="1601"/>
                    <a:pt x="2524" y="1598"/>
                  </a:cubicBezTo>
                  <a:cubicBezTo>
                    <a:pt x="2527" y="1596"/>
                    <a:pt x="2527" y="1610"/>
                    <a:pt x="2521" y="1607"/>
                  </a:cubicBezTo>
                  <a:close/>
                  <a:moveTo>
                    <a:pt x="2521" y="1556"/>
                  </a:moveTo>
                  <a:cubicBezTo>
                    <a:pt x="2521" y="1553"/>
                    <a:pt x="2527" y="1550"/>
                    <a:pt x="2527" y="1545"/>
                  </a:cubicBezTo>
                  <a:cubicBezTo>
                    <a:pt x="2533" y="1545"/>
                    <a:pt x="2524" y="1559"/>
                    <a:pt x="2521" y="1556"/>
                  </a:cubicBezTo>
                  <a:close/>
                  <a:moveTo>
                    <a:pt x="2521" y="1522"/>
                  </a:moveTo>
                  <a:cubicBezTo>
                    <a:pt x="2524" y="1522"/>
                    <a:pt x="2527" y="1525"/>
                    <a:pt x="2530" y="1525"/>
                  </a:cubicBezTo>
                  <a:cubicBezTo>
                    <a:pt x="2530" y="1528"/>
                    <a:pt x="2519" y="1525"/>
                    <a:pt x="2521" y="1522"/>
                  </a:cubicBezTo>
                  <a:close/>
                  <a:moveTo>
                    <a:pt x="2516" y="1457"/>
                  </a:moveTo>
                  <a:cubicBezTo>
                    <a:pt x="2519" y="1455"/>
                    <a:pt x="2524" y="1453"/>
                    <a:pt x="2527" y="1453"/>
                  </a:cubicBezTo>
                  <a:cubicBezTo>
                    <a:pt x="2527" y="1457"/>
                    <a:pt x="2521" y="1457"/>
                    <a:pt x="2516" y="1457"/>
                  </a:cubicBezTo>
                  <a:close/>
                  <a:moveTo>
                    <a:pt x="2521" y="1565"/>
                  </a:moveTo>
                  <a:cubicBezTo>
                    <a:pt x="2519" y="1570"/>
                    <a:pt x="2510" y="1573"/>
                    <a:pt x="2504" y="1573"/>
                  </a:cubicBezTo>
                  <a:cubicBezTo>
                    <a:pt x="2504" y="1567"/>
                    <a:pt x="2513" y="1565"/>
                    <a:pt x="2521" y="1565"/>
                  </a:cubicBezTo>
                  <a:close/>
                  <a:moveTo>
                    <a:pt x="2513" y="1937"/>
                  </a:moveTo>
                  <a:lnTo>
                    <a:pt x="2504" y="1937"/>
                  </a:lnTo>
                  <a:lnTo>
                    <a:pt x="2504" y="1931"/>
                  </a:lnTo>
                  <a:cubicBezTo>
                    <a:pt x="2510" y="1931"/>
                    <a:pt x="2513" y="1934"/>
                    <a:pt x="2513" y="1937"/>
                  </a:cubicBezTo>
                  <a:close/>
                  <a:moveTo>
                    <a:pt x="2504" y="1776"/>
                  </a:moveTo>
                  <a:cubicBezTo>
                    <a:pt x="2504" y="1770"/>
                    <a:pt x="2513" y="1779"/>
                    <a:pt x="2504" y="1776"/>
                  </a:cubicBezTo>
                  <a:close/>
                  <a:moveTo>
                    <a:pt x="2507" y="807"/>
                  </a:moveTo>
                  <a:lnTo>
                    <a:pt x="2507" y="806"/>
                  </a:lnTo>
                  <a:cubicBezTo>
                    <a:pt x="2508" y="805"/>
                    <a:pt x="2509" y="805"/>
                    <a:pt x="2507" y="807"/>
                  </a:cubicBezTo>
                  <a:cubicBezTo>
                    <a:pt x="2506" y="807"/>
                    <a:pt x="2507" y="806"/>
                    <a:pt x="2507" y="806"/>
                  </a:cubicBezTo>
                  <a:lnTo>
                    <a:pt x="2507" y="807"/>
                  </a:lnTo>
                  <a:close/>
                  <a:moveTo>
                    <a:pt x="2504" y="2092"/>
                  </a:moveTo>
                  <a:cubicBezTo>
                    <a:pt x="2510" y="2086"/>
                    <a:pt x="2507" y="2100"/>
                    <a:pt x="2504" y="2092"/>
                  </a:cubicBezTo>
                  <a:close/>
                  <a:moveTo>
                    <a:pt x="2511" y="2067"/>
                  </a:moveTo>
                  <a:cubicBezTo>
                    <a:pt x="2512" y="2065"/>
                    <a:pt x="2514" y="2062"/>
                    <a:pt x="2513" y="2067"/>
                  </a:cubicBezTo>
                  <a:cubicBezTo>
                    <a:pt x="2509" y="2071"/>
                    <a:pt x="2509" y="2069"/>
                    <a:pt x="2511" y="2067"/>
                  </a:cubicBezTo>
                  <a:close/>
                  <a:moveTo>
                    <a:pt x="2507" y="2126"/>
                  </a:moveTo>
                  <a:cubicBezTo>
                    <a:pt x="2507" y="2120"/>
                    <a:pt x="2516" y="2129"/>
                    <a:pt x="2507" y="2126"/>
                  </a:cubicBezTo>
                  <a:close/>
                  <a:moveTo>
                    <a:pt x="2516" y="2024"/>
                  </a:moveTo>
                  <a:cubicBezTo>
                    <a:pt x="2510" y="2033"/>
                    <a:pt x="2507" y="2019"/>
                    <a:pt x="2516" y="2024"/>
                  </a:cubicBezTo>
                  <a:close/>
                  <a:moveTo>
                    <a:pt x="2524" y="2072"/>
                  </a:moveTo>
                  <a:lnTo>
                    <a:pt x="2524" y="2067"/>
                  </a:lnTo>
                  <a:lnTo>
                    <a:pt x="2533" y="2067"/>
                  </a:lnTo>
                  <a:cubicBezTo>
                    <a:pt x="2533" y="2072"/>
                    <a:pt x="2527" y="2072"/>
                    <a:pt x="2524" y="2072"/>
                  </a:cubicBezTo>
                  <a:close/>
                  <a:moveTo>
                    <a:pt x="2530" y="2115"/>
                  </a:moveTo>
                  <a:lnTo>
                    <a:pt x="2535" y="2115"/>
                  </a:lnTo>
                  <a:lnTo>
                    <a:pt x="2535" y="2120"/>
                  </a:lnTo>
                  <a:lnTo>
                    <a:pt x="2530" y="2120"/>
                  </a:lnTo>
                  <a:lnTo>
                    <a:pt x="2530" y="2115"/>
                  </a:lnTo>
                  <a:close/>
                  <a:moveTo>
                    <a:pt x="2516" y="750"/>
                  </a:moveTo>
                  <a:cubicBezTo>
                    <a:pt x="2502" y="742"/>
                    <a:pt x="2530" y="728"/>
                    <a:pt x="2516" y="750"/>
                  </a:cubicBezTo>
                  <a:close/>
                  <a:moveTo>
                    <a:pt x="2507" y="708"/>
                  </a:moveTo>
                  <a:cubicBezTo>
                    <a:pt x="2510" y="705"/>
                    <a:pt x="2513" y="700"/>
                    <a:pt x="2519" y="700"/>
                  </a:cubicBezTo>
                  <a:cubicBezTo>
                    <a:pt x="2519" y="705"/>
                    <a:pt x="2513" y="708"/>
                    <a:pt x="2507" y="708"/>
                  </a:cubicBezTo>
                  <a:close/>
                  <a:moveTo>
                    <a:pt x="2504" y="1548"/>
                  </a:moveTo>
                  <a:cubicBezTo>
                    <a:pt x="2504" y="1542"/>
                    <a:pt x="2513" y="1550"/>
                    <a:pt x="2504" y="1548"/>
                  </a:cubicBezTo>
                  <a:close/>
                  <a:moveTo>
                    <a:pt x="2504" y="747"/>
                  </a:moveTo>
                  <a:cubicBezTo>
                    <a:pt x="2513" y="742"/>
                    <a:pt x="2502" y="753"/>
                    <a:pt x="2504" y="747"/>
                  </a:cubicBezTo>
                  <a:close/>
                  <a:moveTo>
                    <a:pt x="2564" y="1940"/>
                  </a:moveTo>
                  <a:cubicBezTo>
                    <a:pt x="2567" y="1937"/>
                    <a:pt x="2569" y="1934"/>
                    <a:pt x="2572" y="1934"/>
                  </a:cubicBezTo>
                  <a:cubicBezTo>
                    <a:pt x="2572" y="1937"/>
                    <a:pt x="2569" y="1940"/>
                    <a:pt x="2564" y="1940"/>
                  </a:cubicBezTo>
                  <a:close/>
                  <a:moveTo>
                    <a:pt x="2567" y="1951"/>
                  </a:moveTo>
                  <a:cubicBezTo>
                    <a:pt x="2569" y="1951"/>
                    <a:pt x="2575" y="1954"/>
                    <a:pt x="2575" y="1954"/>
                  </a:cubicBezTo>
                  <a:cubicBezTo>
                    <a:pt x="2578" y="1957"/>
                    <a:pt x="2564" y="1957"/>
                    <a:pt x="2567" y="1951"/>
                  </a:cubicBezTo>
                  <a:close/>
                  <a:moveTo>
                    <a:pt x="2569" y="2100"/>
                  </a:moveTo>
                  <a:cubicBezTo>
                    <a:pt x="2567" y="2095"/>
                    <a:pt x="2578" y="2095"/>
                    <a:pt x="2581" y="2095"/>
                  </a:cubicBezTo>
                  <a:cubicBezTo>
                    <a:pt x="2581" y="2098"/>
                    <a:pt x="2575" y="2100"/>
                    <a:pt x="2569" y="2100"/>
                  </a:cubicBezTo>
                  <a:close/>
                  <a:moveTo>
                    <a:pt x="2581" y="2126"/>
                  </a:moveTo>
                  <a:cubicBezTo>
                    <a:pt x="2581" y="2131"/>
                    <a:pt x="2572" y="2131"/>
                    <a:pt x="2569" y="2129"/>
                  </a:cubicBezTo>
                  <a:cubicBezTo>
                    <a:pt x="2572" y="2126"/>
                    <a:pt x="2578" y="2126"/>
                    <a:pt x="2581" y="2126"/>
                  </a:cubicBezTo>
                  <a:close/>
                  <a:moveTo>
                    <a:pt x="2583" y="1275"/>
                  </a:moveTo>
                  <a:cubicBezTo>
                    <a:pt x="2583" y="1269"/>
                    <a:pt x="2592" y="1281"/>
                    <a:pt x="2583" y="1275"/>
                  </a:cubicBezTo>
                  <a:close/>
                  <a:moveTo>
                    <a:pt x="2595" y="1230"/>
                  </a:moveTo>
                  <a:cubicBezTo>
                    <a:pt x="2595" y="1230"/>
                    <a:pt x="2598" y="1233"/>
                    <a:pt x="2600" y="1233"/>
                  </a:cubicBezTo>
                  <a:cubicBezTo>
                    <a:pt x="2617" y="1264"/>
                    <a:pt x="2569" y="1213"/>
                    <a:pt x="2595" y="1230"/>
                  </a:cubicBezTo>
                  <a:close/>
                  <a:moveTo>
                    <a:pt x="2600" y="2027"/>
                  </a:moveTo>
                  <a:cubicBezTo>
                    <a:pt x="2603" y="2027"/>
                    <a:pt x="2606" y="2030"/>
                    <a:pt x="2609" y="2033"/>
                  </a:cubicBezTo>
                  <a:lnTo>
                    <a:pt x="2603" y="2033"/>
                  </a:lnTo>
                  <a:cubicBezTo>
                    <a:pt x="2600" y="2030"/>
                    <a:pt x="2600" y="2027"/>
                    <a:pt x="2600" y="2027"/>
                  </a:cubicBezTo>
                  <a:close/>
                  <a:moveTo>
                    <a:pt x="2612" y="1607"/>
                  </a:moveTo>
                  <a:lnTo>
                    <a:pt x="2612" y="1615"/>
                  </a:lnTo>
                  <a:cubicBezTo>
                    <a:pt x="2600" y="1618"/>
                    <a:pt x="2603" y="1604"/>
                    <a:pt x="2612" y="1607"/>
                  </a:cubicBezTo>
                  <a:close/>
                  <a:moveTo>
                    <a:pt x="2609" y="2131"/>
                  </a:moveTo>
                  <a:cubicBezTo>
                    <a:pt x="2609" y="2126"/>
                    <a:pt x="2617" y="2134"/>
                    <a:pt x="2609" y="2131"/>
                  </a:cubicBezTo>
                  <a:close/>
                  <a:moveTo>
                    <a:pt x="2643" y="2168"/>
                  </a:moveTo>
                  <a:cubicBezTo>
                    <a:pt x="2643" y="2171"/>
                    <a:pt x="2648" y="2174"/>
                    <a:pt x="2646" y="2179"/>
                  </a:cubicBezTo>
                  <a:cubicBezTo>
                    <a:pt x="2640" y="2179"/>
                    <a:pt x="2634" y="2177"/>
                    <a:pt x="2629" y="2174"/>
                  </a:cubicBezTo>
                  <a:cubicBezTo>
                    <a:pt x="2629" y="2168"/>
                    <a:pt x="2637" y="2165"/>
                    <a:pt x="2643" y="2168"/>
                  </a:cubicBezTo>
                  <a:close/>
                  <a:moveTo>
                    <a:pt x="2646" y="2191"/>
                  </a:moveTo>
                  <a:cubicBezTo>
                    <a:pt x="2654" y="2194"/>
                    <a:pt x="2646" y="2210"/>
                    <a:pt x="2640" y="2205"/>
                  </a:cubicBezTo>
                  <a:cubicBezTo>
                    <a:pt x="2640" y="2199"/>
                    <a:pt x="2646" y="2194"/>
                    <a:pt x="2646" y="2191"/>
                  </a:cubicBezTo>
                  <a:close/>
                  <a:moveTo>
                    <a:pt x="2648" y="2143"/>
                  </a:moveTo>
                  <a:cubicBezTo>
                    <a:pt x="2662" y="2146"/>
                    <a:pt x="2671" y="2154"/>
                    <a:pt x="2668" y="2163"/>
                  </a:cubicBezTo>
                  <a:cubicBezTo>
                    <a:pt x="2657" y="2160"/>
                    <a:pt x="2646" y="2151"/>
                    <a:pt x="2648" y="2143"/>
                  </a:cubicBezTo>
                  <a:close/>
                  <a:moveTo>
                    <a:pt x="2662" y="1773"/>
                  </a:moveTo>
                  <a:cubicBezTo>
                    <a:pt x="2663" y="1773"/>
                    <a:pt x="2664" y="1772"/>
                    <a:pt x="2665" y="1772"/>
                  </a:cubicBezTo>
                  <a:cubicBezTo>
                    <a:pt x="2661" y="1771"/>
                    <a:pt x="2657" y="1769"/>
                    <a:pt x="2654" y="1768"/>
                  </a:cubicBezTo>
                  <a:cubicBezTo>
                    <a:pt x="2654" y="1765"/>
                    <a:pt x="2654" y="1765"/>
                    <a:pt x="2657" y="1762"/>
                  </a:cubicBezTo>
                  <a:cubicBezTo>
                    <a:pt x="2662" y="1762"/>
                    <a:pt x="2668" y="1762"/>
                    <a:pt x="2674" y="1765"/>
                  </a:cubicBezTo>
                  <a:cubicBezTo>
                    <a:pt x="2677" y="1768"/>
                    <a:pt x="2677" y="1770"/>
                    <a:pt x="2674" y="1773"/>
                  </a:cubicBezTo>
                  <a:cubicBezTo>
                    <a:pt x="2671" y="1773"/>
                    <a:pt x="2668" y="1773"/>
                    <a:pt x="2666" y="1772"/>
                  </a:cubicBezTo>
                  <a:cubicBezTo>
                    <a:pt x="2666" y="1774"/>
                    <a:pt x="2660" y="1779"/>
                    <a:pt x="2662" y="1773"/>
                  </a:cubicBezTo>
                  <a:close/>
                  <a:moveTo>
                    <a:pt x="2665" y="1612"/>
                  </a:moveTo>
                  <a:cubicBezTo>
                    <a:pt x="2665" y="1607"/>
                    <a:pt x="2677" y="1607"/>
                    <a:pt x="2679" y="1610"/>
                  </a:cubicBezTo>
                  <a:cubicBezTo>
                    <a:pt x="2679" y="1612"/>
                    <a:pt x="2671" y="1615"/>
                    <a:pt x="2665" y="1612"/>
                  </a:cubicBezTo>
                  <a:close/>
                  <a:moveTo>
                    <a:pt x="2679" y="1593"/>
                  </a:moveTo>
                  <a:cubicBezTo>
                    <a:pt x="2682" y="1590"/>
                    <a:pt x="2674" y="1596"/>
                    <a:pt x="2679" y="1593"/>
                  </a:cubicBezTo>
                  <a:close/>
                  <a:moveTo>
                    <a:pt x="2702" y="1360"/>
                  </a:moveTo>
                  <a:cubicBezTo>
                    <a:pt x="2705" y="1379"/>
                    <a:pt x="2682" y="1360"/>
                    <a:pt x="2682" y="1371"/>
                  </a:cubicBezTo>
                  <a:cubicBezTo>
                    <a:pt x="2671" y="1362"/>
                    <a:pt x="2693" y="1357"/>
                    <a:pt x="2702" y="1360"/>
                  </a:cubicBezTo>
                  <a:close/>
                  <a:moveTo>
                    <a:pt x="2696" y="1427"/>
                  </a:moveTo>
                  <a:cubicBezTo>
                    <a:pt x="2696" y="1422"/>
                    <a:pt x="2705" y="1430"/>
                    <a:pt x="2696" y="1427"/>
                  </a:cubicBezTo>
                  <a:close/>
                  <a:moveTo>
                    <a:pt x="2708" y="2058"/>
                  </a:moveTo>
                  <a:cubicBezTo>
                    <a:pt x="2699" y="2064"/>
                    <a:pt x="2691" y="2053"/>
                    <a:pt x="2708" y="2058"/>
                  </a:cubicBezTo>
                  <a:close/>
                  <a:moveTo>
                    <a:pt x="2705" y="2129"/>
                  </a:moveTo>
                  <a:cubicBezTo>
                    <a:pt x="2710" y="2129"/>
                    <a:pt x="2716" y="2134"/>
                    <a:pt x="2719" y="2143"/>
                  </a:cubicBezTo>
                  <a:cubicBezTo>
                    <a:pt x="2714" y="2146"/>
                    <a:pt x="2708" y="2142"/>
                    <a:pt x="2705" y="2138"/>
                  </a:cubicBezTo>
                  <a:lnTo>
                    <a:pt x="2705" y="2140"/>
                  </a:lnTo>
                  <a:cubicBezTo>
                    <a:pt x="2705" y="2143"/>
                    <a:pt x="2708" y="2143"/>
                    <a:pt x="2705" y="2146"/>
                  </a:cubicBezTo>
                  <a:cubicBezTo>
                    <a:pt x="2702" y="2146"/>
                    <a:pt x="2702" y="2146"/>
                    <a:pt x="2702" y="2148"/>
                  </a:cubicBezTo>
                  <a:cubicBezTo>
                    <a:pt x="2699" y="2148"/>
                    <a:pt x="2699" y="2148"/>
                    <a:pt x="2696" y="2146"/>
                  </a:cubicBezTo>
                  <a:cubicBezTo>
                    <a:pt x="2696" y="2143"/>
                    <a:pt x="2693" y="2140"/>
                    <a:pt x="2693" y="2140"/>
                  </a:cubicBezTo>
                  <a:cubicBezTo>
                    <a:pt x="2693" y="2137"/>
                    <a:pt x="2693" y="2137"/>
                    <a:pt x="2696" y="2137"/>
                  </a:cubicBezTo>
                  <a:lnTo>
                    <a:pt x="2699" y="2137"/>
                  </a:lnTo>
                  <a:cubicBezTo>
                    <a:pt x="2702" y="2137"/>
                    <a:pt x="2702" y="2135"/>
                    <a:pt x="2704" y="2137"/>
                  </a:cubicBezTo>
                  <a:cubicBezTo>
                    <a:pt x="2703" y="2134"/>
                    <a:pt x="2703" y="2131"/>
                    <a:pt x="2705" y="2129"/>
                  </a:cubicBezTo>
                  <a:close/>
                  <a:moveTo>
                    <a:pt x="2722" y="2109"/>
                  </a:moveTo>
                  <a:cubicBezTo>
                    <a:pt x="2727" y="2117"/>
                    <a:pt x="2708" y="2117"/>
                    <a:pt x="2722" y="2109"/>
                  </a:cubicBezTo>
                  <a:close/>
                  <a:moveTo>
                    <a:pt x="2716" y="1883"/>
                  </a:moveTo>
                  <a:cubicBezTo>
                    <a:pt x="2719" y="1883"/>
                    <a:pt x="2725" y="1889"/>
                    <a:pt x="2722" y="1889"/>
                  </a:cubicBezTo>
                  <a:cubicBezTo>
                    <a:pt x="2716" y="1883"/>
                    <a:pt x="2713" y="1883"/>
                    <a:pt x="2716" y="1883"/>
                  </a:cubicBezTo>
                  <a:close/>
                  <a:moveTo>
                    <a:pt x="2725" y="2098"/>
                  </a:moveTo>
                  <a:cubicBezTo>
                    <a:pt x="2730" y="2098"/>
                    <a:pt x="2727" y="2103"/>
                    <a:pt x="2736" y="2103"/>
                  </a:cubicBezTo>
                  <a:cubicBezTo>
                    <a:pt x="2733" y="2103"/>
                    <a:pt x="2725" y="2106"/>
                    <a:pt x="2722" y="2103"/>
                  </a:cubicBezTo>
                  <a:cubicBezTo>
                    <a:pt x="2722" y="2100"/>
                    <a:pt x="2722" y="2098"/>
                    <a:pt x="2725" y="2098"/>
                  </a:cubicBezTo>
                  <a:close/>
                  <a:moveTo>
                    <a:pt x="2725" y="2072"/>
                  </a:moveTo>
                  <a:cubicBezTo>
                    <a:pt x="2725" y="2067"/>
                    <a:pt x="2736" y="2069"/>
                    <a:pt x="2739" y="2072"/>
                  </a:cubicBezTo>
                  <a:cubicBezTo>
                    <a:pt x="2739" y="2075"/>
                    <a:pt x="2727" y="2075"/>
                    <a:pt x="2725" y="2072"/>
                  </a:cubicBezTo>
                  <a:close/>
                  <a:moveTo>
                    <a:pt x="2725" y="2044"/>
                  </a:moveTo>
                  <a:cubicBezTo>
                    <a:pt x="2727" y="2044"/>
                    <a:pt x="2730" y="2050"/>
                    <a:pt x="2727" y="2047"/>
                  </a:cubicBezTo>
                  <a:lnTo>
                    <a:pt x="2725" y="2044"/>
                  </a:lnTo>
                  <a:close/>
                  <a:moveTo>
                    <a:pt x="2730" y="2041"/>
                  </a:moveTo>
                  <a:cubicBezTo>
                    <a:pt x="2736" y="2041"/>
                    <a:pt x="2733" y="2047"/>
                    <a:pt x="2736" y="2047"/>
                  </a:cubicBezTo>
                  <a:cubicBezTo>
                    <a:pt x="2736" y="2050"/>
                    <a:pt x="2727" y="2044"/>
                    <a:pt x="2730" y="2041"/>
                  </a:cubicBezTo>
                  <a:close/>
                  <a:moveTo>
                    <a:pt x="2727" y="1976"/>
                  </a:moveTo>
                  <a:cubicBezTo>
                    <a:pt x="2727" y="1971"/>
                    <a:pt x="2733" y="1976"/>
                    <a:pt x="2739" y="1976"/>
                  </a:cubicBezTo>
                  <a:cubicBezTo>
                    <a:pt x="2736" y="1979"/>
                    <a:pt x="2727" y="1976"/>
                    <a:pt x="2727" y="1976"/>
                  </a:cubicBezTo>
                  <a:close/>
                  <a:moveTo>
                    <a:pt x="2753" y="2058"/>
                  </a:moveTo>
                  <a:cubicBezTo>
                    <a:pt x="2759" y="2064"/>
                    <a:pt x="2772" y="2069"/>
                    <a:pt x="2772" y="2075"/>
                  </a:cubicBezTo>
                  <a:cubicBezTo>
                    <a:pt x="2764" y="2075"/>
                    <a:pt x="2750" y="2067"/>
                    <a:pt x="2753" y="2058"/>
                  </a:cubicBezTo>
                  <a:cubicBezTo>
                    <a:pt x="2752" y="2059"/>
                    <a:pt x="2750" y="2059"/>
                    <a:pt x="2747" y="2058"/>
                  </a:cubicBezTo>
                  <a:cubicBezTo>
                    <a:pt x="2747" y="2056"/>
                    <a:pt x="2748" y="2054"/>
                    <a:pt x="2751" y="2053"/>
                  </a:cubicBezTo>
                  <a:cubicBezTo>
                    <a:pt x="2750" y="2052"/>
                    <a:pt x="2748" y="2051"/>
                    <a:pt x="2747" y="2050"/>
                  </a:cubicBezTo>
                  <a:cubicBezTo>
                    <a:pt x="2747" y="2047"/>
                    <a:pt x="2750" y="2044"/>
                    <a:pt x="2750" y="2044"/>
                  </a:cubicBezTo>
                  <a:cubicBezTo>
                    <a:pt x="2753" y="2044"/>
                    <a:pt x="2753" y="2047"/>
                    <a:pt x="2756" y="2047"/>
                  </a:cubicBezTo>
                  <a:cubicBezTo>
                    <a:pt x="2756" y="2047"/>
                    <a:pt x="2758" y="2050"/>
                    <a:pt x="2756" y="2053"/>
                  </a:cubicBezTo>
                  <a:cubicBezTo>
                    <a:pt x="2754" y="2054"/>
                    <a:pt x="2754" y="2057"/>
                    <a:pt x="2753" y="2058"/>
                  </a:cubicBezTo>
                  <a:close/>
                  <a:moveTo>
                    <a:pt x="2747" y="1985"/>
                  </a:moveTo>
                  <a:lnTo>
                    <a:pt x="2747" y="1979"/>
                  </a:lnTo>
                  <a:lnTo>
                    <a:pt x="2753" y="1979"/>
                  </a:lnTo>
                  <a:lnTo>
                    <a:pt x="2753" y="1985"/>
                  </a:lnTo>
                  <a:lnTo>
                    <a:pt x="2747" y="1985"/>
                  </a:lnTo>
                  <a:close/>
                  <a:moveTo>
                    <a:pt x="2750" y="2041"/>
                  </a:moveTo>
                  <a:cubicBezTo>
                    <a:pt x="2750" y="2038"/>
                    <a:pt x="2753" y="2036"/>
                    <a:pt x="2756" y="2033"/>
                  </a:cubicBezTo>
                  <a:cubicBezTo>
                    <a:pt x="2761" y="2033"/>
                    <a:pt x="2761" y="2038"/>
                    <a:pt x="2764" y="2041"/>
                  </a:cubicBezTo>
                  <a:cubicBezTo>
                    <a:pt x="2758" y="2044"/>
                    <a:pt x="2753" y="2044"/>
                    <a:pt x="2750" y="2041"/>
                  </a:cubicBezTo>
                  <a:close/>
                  <a:moveTo>
                    <a:pt x="2727" y="1889"/>
                  </a:moveTo>
                  <a:cubicBezTo>
                    <a:pt x="2736" y="1872"/>
                    <a:pt x="2772" y="1897"/>
                    <a:pt x="2781" y="1914"/>
                  </a:cubicBezTo>
                  <a:cubicBezTo>
                    <a:pt x="2764" y="1909"/>
                    <a:pt x="2741" y="1892"/>
                    <a:pt x="2727" y="1889"/>
                  </a:cubicBezTo>
                  <a:close/>
                  <a:moveTo>
                    <a:pt x="2775" y="1463"/>
                  </a:moveTo>
                  <a:cubicBezTo>
                    <a:pt x="2767" y="1463"/>
                    <a:pt x="2775" y="1433"/>
                    <a:pt x="2787" y="1444"/>
                  </a:cubicBezTo>
                  <a:cubicBezTo>
                    <a:pt x="2785" y="1452"/>
                    <a:pt x="2781" y="1456"/>
                    <a:pt x="2778" y="1459"/>
                  </a:cubicBezTo>
                  <a:cubicBezTo>
                    <a:pt x="2781" y="1461"/>
                    <a:pt x="2788" y="1478"/>
                    <a:pt x="2778" y="1466"/>
                  </a:cubicBezTo>
                  <a:cubicBezTo>
                    <a:pt x="2777" y="1463"/>
                    <a:pt x="2777" y="1461"/>
                    <a:pt x="2777" y="1460"/>
                  </a:cubicBezTo>
                  <a:cubicBezTo>
                    <a:pt x="2776" y="1461"/>
                    <a:pt x="2776" y="1462"/>
                    <a:pt x="2775" y="1463"/>
                  </a:cubicBezTo>
                  <a:close/>
                  <a:moveTo>
                    <a:pt x="2764" y="1610"/>
                  </a:moveTo>
                  <a:cubicBezTo>
                    <a:pt x="2770" y="1601"/>
                    <a:pt x="2781" y="1610"/>
                    <a:pt x="2764" y="1610"/>
                  </a:cubicBezTo>
                  <a:close/>
                  <a:moveTo>
                    <a:pt x="2784" y="1553"/>
                  </a:moveTo>
                  <a:cubicBezTo>
                    <a:pt x="2792" y="1550"/>
                    <a:pt x="2781" y="1562"/>
                    <a:pt x="2784" y="1553"/>
                  </a:cubicBezTo>
                  <a:close/>
                  <a:moveTo>
                    <a:pt x="2758" y="1345"/>
                  </a:moveTo>
                  <a:cubicBezTo>
                    <a:pt x="2781" y="1331"/>
                    <a:pt x="2770" y="1368"/>
                    <a:pt x="2758" y="1345"/>
                  </a:cubicBezTo>
                  <a:close/>
                  <a:moveTo>
                    <a:pt x="2787" y="1267"/>
                  </a:moveTo>
                  <a:cubicBezTo>
                    <a:pt x="2787" y="1267"/>
                    <a:pt x="2781" y="1267"/>
                    <a:pt x="2778" y="1264"/>
                  </a:cubicBezTo>
                  <a:cubicBezTo>
                    <a:pt x="2778" y="1261"/>
                    <a:pt x="2781" y="1255"/>
                    <a:pt x="2781" y="1252"/>
                  </a:cubicBezTo>
                  <a:cubicBezTo>
                    <a:pt x="2784" y="1255"/>
                    <a:pt x="2787" y="1255"/>
                    <a:pt x="2787" y="1252"/>
                  </a:cubicBezTo>
                  <a:cubicBezTo>
                    <a:pt x="2789" y="1252"/>
                    <a:pt x="2792" y="1258"/>
                    <a:pt x="2792" y="1261"/>
                  </a:cubicBezTo>
                  <a:lnTo>
                    <a:pt x="2792" y="1264"/>
                  </a:lnTo>
                  <a:cubicBezTo>
                    <a:pt x="2795" y="1269"/>
                    <a:pt x="2795" y="1278"/>
                    <a:pt x="2787" y="1267"/>
                  </a:cubicBezTo>
                  <a:close/>
                  <a:moveTo>
                    <a:pt x="2775" y="1371"/>
                  </a:moveTo>
                  <a:cubicBezTo>
                    <a:pt x="2775" y="1365"/>
                    <a:pt x="2784" y="1374"/>
                    <a:pt x="2775" y="1371"/>
                  </a:cubicBezTo>
                  <a:close/>
                  <a:moveTo>
                    <a:pt x="2806" y="1306"/>
                  </a:moveTo>
                  <a:cubicBezTo>
                    <a:pt x="2815" y="1306"/>
                    <a:pt x="2806" y="1337"/>
                    <a:pt x="2795" y="1326"/>
                  </a:cubicBezTo>
                  <a:cubicBezTo>
                    <a:pt x="2798" y="1317"/>
                    <a:pt x="2804" y="1312"/>
                    <a:pt x="2806" y="1306"/>
                  </a:cubicBezTo>
                  <a:close/>
                  <a:moveTo>
                    <a:pt x="2801" y="1207"/>
                  </a:moveTo>
                  <a:lnTo>
                    <a:pt x="2801" y="1199"/>
                  </a:lnTo>
                  <a:cubicBezTo>
                    <a:pt x="2806" y="1199"/>
                    <a:pt x="2806" y="1210"/>
                    <a:pt x="2801" y="1207"/>
                  </a:cubicBezTo>
                  <a:close/>
                  <a:moveTo>
                    <a:pt x="2815" y="1354"/>
                  </a:moveTo>
                  <a:lnTo>
                    <a:pt x="2809" y="1354"/>
                  </a:lnTo>
                  <a:lnTo>
                    <a:pt x="2809" y="1348"/>
                  </a:lnTo>
                  <a:lnTo>
                    <a:pt x="2815" y="1348"/>
                  </a:lnTo>
                  <a:lnTo>
                    <a:pt x="2815" y="1354"/>
                  </a:lnTo>
                  <a:close/>
                  <a:moveTo>
                    <a:pt x="2818" y="1416"/>
                  </a:moveTo>
                  <a:cubicBezTo>
                    <a:pt x="2815" y="1419"/>
                    <a:pt x="2812" y="1422"/>
                    <a:pt x="2806" y="1422"/>
                  </a:cubicBezTo>
                  <a:cubicBezTo>
                    <a:pt x="2806" y="1413"/>
                    <a:pt x="2815" y="1413"/>
                    <a:pt x="2818" y="1416"/>
                  </a:cubicBezTo>
                  <a:close/>
                  <a:moveTo>
                    <a:pt x="2806" y="1340"/>
                  </a:moveTo>
                  <a:lnTo>
                    <a:pt x="2798" y="1340"/>
                  </a:lnTo>
                  <a:cubicBezTo>
                    <a:pt x="2798" y="1337"/>
                    <a:pt x="2801" y="1337"/>
                    <a:pt x="2804" y="1334"/>
                  </a:cubicBezTo>
                  <a:lnTo>
                    <a:pt x="2806" y="1334"/>
                  </a:lnTo>
                  <a:lnTo>
                    <a:pt x="2806" y="1337"/>
                  </a:lnTo>
                  <a:lnTo>
                    <a:pt x="2806" y="1337"/>
                  </a:lnTo>
                  <a:cubicBezTo>
                    <a:pt x="2806" y="1338"/>
                    <a:pt x="2806" y="1339"/>
                    <a:pt x="2806" y="1340"/>
                  </a:cubicBezTo>
                  <a:close/>
                  <a:moveTo>
                    <a:pt x="2809" y="1337"/>
                  </a:moveTo>
                  <a:cubicBezTo>
                    <a:pt x="2807" y="1335"/>
                    <a:pt x="2807" y="1336"/>
                    <a:pt x="2806" y="1337"/>
                  </a:cubicBezTo>
                  <a:lnTo>
                    <a:pt x="2809" y="1337"/>
                  </a:lnTo>
                  <a:close/>
                  <a:moveTo>
                    <a:pt x="2798" y="1176"/>
                  </a:moveTo>
                  <a:cubicBezTo>
                    <a:pt x="2801" y="1176"/>
                    <a:pt x="2795" y="1179"/>
                    <a:pt x="2798" y="1176"/>
                  </a:cubicBezTo>
                  <a:close/>
                  <a:moveTo>
                    <a:pt x="2798" y="1360"/>
                  </a:moveTo>
                  <a:cubicBezTo>
                    <a:pt x="2801" y="1362"/>
                    <a:pt x="2804" y="1360"/>
                    <a:pt x="2804" y="1357"/>
                  </a:cubicBezTo>
                  <a:cubicBezTo>
                    <a:pt x="2812" y="1357"/>
                    <a:pt x="2804" y="1382"/>
                    <a:pt x="2795" y="1371"/>
                  </a:cubicBezTo>
                  <a:cubicBezTo>
                    <a:pt x="2795" y="1368"/>
                    <a:pt x="2795" y="1362"/>
                    <a:pt x="2798" y="1360"/>
                  </a:cubicBezTo>
                  <a:close/>
                  <a:moveTo>
                    <a:pt x="2818" y="1436"/>
                  </a:moveTo>
                  <a:cubicBezTo>
                    <a:pt x="2823" y="1441"/>
                    <a:pt x="2826" y="1450"/>
                    <a:pt x="2823" y="1456"/>
                  </a:cubicBezTo>
                  <a:cubicBezTo>
                    <a:pt x="2818" y="1453"/>
                    <a:pt x="2818" y="1447"/>
                    <a:pt x="2812" y="1444"/>
                  </a:cubicBezTo>
                  <a:lnTo>
                    <a:pt x="2812" y="1441"/>
                  </a:lnTo>
                  <a:lnTo>
                    <a:pt x="2798" y="1441"/>
                  </a:lnTo>
                  <a:cubicBezTo>
                    <a:pt x="2801" y="1439"/>
                    <a:pt x="2809" y="1436"/>
                    <a:pt x="2818" y="1436"/>
                  </a:cubicBezTo>
                  <a:close/>
                  <a:moveTo>
                    <a:pt x="2843" y="1219"/>
                  </a:moveTo>
                  <a:cubicBezTo>
                    <a:pt x="2857" y="1230"/>
                    <a:pt x="2820" y="1227"/>
                    <a:pt x="2843" y="1219"/>
                  </a:cubicBezTo>
                  <a:close/>
                  <a:moveTo>
                    <a:pt x="2843" y="1207"/>
                  </a:moveTo>
                  <a:cubicBezTo>
                    <a:pt x="2846" y="1207"/>
                    <a:pt x="2846" y="1210"/>
                    <a:pt x="2846" y="1210"/>
                  </a:cubicBezTo>
                  <a:cubicBezTo>
                    <a:pt x="2843" y="1210"/>
                    <a:pt x="2843" y="1207"/>
                    <a:pt x="2843" y="1207"/>
                  </a:cubicBezTo>
                  <a:close/>
                  <a:moveTo>
                    <a:pt x="2829" y="1441"/>
                  </a:moveTo>
                  <a:cubicBezTo>
                    <a:pt x="2815" y="1433"/>
                    <a:pt x="2843" y="1419"/>
                    <a:pt x="2829" y="1441"/>
                  </a:cubicBezTo>
                  <a:close/>
                  <a:moveTo>
                    <a:pt x="2826" y="1601"/>
                  </a:moveTo>
                  <a:cubicBezTo>
                    <a:pt x="2812" y="1596"/>
                    <a:pt x="2840" y="1581"/>
                    <a:pt x="2826" y="1601"/>
                  </a:cubicBezTo>
                  <a:close/>
                  <a:moveTo>
                    <a:pt x="2826" y="1500"/>
                  </a:moveTo>
                  <a:cubicBezTo>
                    <a:pt x="2832" y="1494"/>
                    <a:pt x="2832" y="1508"/>
                    <a:pt x="2826" y="1500"/>
                  </a:cubicBezTo>
                  <a:close/>
                  <a:moveTo>
                    <a:pt x="2829" y="1694"/>
                  </a:moveTo>
                  <a:cubicBezTo>
                    <a:pt x="2832" y="1694"/>
                    <a:pt x="2826" y="1697"/>
                    <a:pt x="2823" y="1697"/>
                  </a:cubicBezTo>
                  <a:cubicBezTo>
                    <a:pt x="2820" y="1697"/>
                    <a:pt x="2829" y="1694"/>
                    <a:pt x="2829" y="1694"/>
                  </a:cubicBezTo>
                  <a:close/>
                  <a:moveTo>
                    <a:pt x="2826" y="1739"/>
                  </a:moveTo>
                  <a:cubicBezTo>
                    <a:pt x="2826" y="1734"/>
                    <a:pt x="2837" y="1742"/>
                    <a:pt x="2826" y="1739"/>
                  </a:cubicBezTo>
                  <a:close/>
                  <a:moveTo>
                    <a:pt x="2832" y="1618"/>
                  </a:moveTo>
                  <a:cubicBezTo>
                    <a:pt x="2818" y="1607"/>
                    <a:pt x="2857" y="1612"/>
                    <a:pt x="2832" y="1618"/>
                  </a:cubicBezTo>
                  <a:close/>
                  <a:moveTo>
                    <a:pt x="2840" y="1643"/>
                  </a:moveTo>
                  <a:cubicBezTo>
                    <a:pt x="2837" y="1643"/>
                    <a:pt x="2835" y="1644"/>
                    <a:pt x="2835" y="1641"/>
                  </a:cubicBezTo>
                  <a:cubicBezTo>
                    <a:pt x="2835" y="1639"/>
                    <a:pt x="2837" y="1638"/>
                    <a:pt x="2837" y="1635"/>
                  </a:cubicBezTo>
                  <a:cubicBezTo>
                    <a:pt x="2840" y="1635"/>
                    <a:pt x="2840" y="1635"/>
                    <a:pt x="2843" y="1638"/>
                  </a:cubicBezTo>
                  <a:cubicBezTo>
                    <a:pt x="2843" y="1641"/>
                    <a:pt x="2840" y="1643"/>
                    <a:pt x="2840" y="1643"/>
                  </a:cubicBezTo>
                  <a:close/>
                  <a:moveTo>
                    <a:pt x="2840" y="1720"/>
                  </a:moveTo>
                  <a:cubicBezTo>
                    <a:pt x="2837" y="1722"/>
                    <a:pt x="2832" y="1714"/>
                    <a:pt x="2832" y="1711"/>
                  </a:cubicBezTo>
                  <a:cubicBezTo>
                    <a:pt x="2837" y="1714"/>
                    <a:pt x="2837" y="1717"/>
                    <a:pt x="2840" y="1720"/>
                  </a:cubicBezTo>
                  <a:close/>
                  <a:moveTo>
                    <a:pt x="2843" y="1711"/>
                  </a:moveTo>
                  <a:cubicBezTo>
                    <a:pt x="2846" y="1711"/>
                    <a:pt x="2840" y="1714"/>
                    <a:pt x="2837" y="1714"/>
                  </a:cubicBezTo>
                  <a:cubicBezTo>
                    <a:pt x="2835" y="1714"/>
                    <a:pt x="2840" y="1711"/>
                    <a:pt x="2843" y="1711"/>
                  </a:cubicBezTo>
                  <a:close/>
                  <a:moveTo>
                    <a:pt x="2843" y="1601"/>
                  </a:moveTo>
                  <a:cubicBezTo>
                    <a:pt x="2840" y="1601"/>
                    <a:pt x="2835" y="1598"/>
                    <a:pt x="2832" y="1598"/>
                  </a:cubicBezTo>
                  <a:cubicBezTo>
                    <a:pt x="2832" y="1596"/>
                    <a:pt x="2835" y="1590"/>
                    <a:pt x="2835" y="1587"/>
                  </a:cubicBezTo>
                  <a:cubicBezTo>
                    <a:pt x="2837" y="1587"/>
                    <a:pt x="2843" y="1587"/>
                    <a:pt x="2846" y="1590"/>
                  </a:cubicBezTo>
                  <a:cubicBezTo>
                    <a:pt x="2846" y="1593"/>
                    <a:pt x="2843" y="1598"/>
                    <a:pt x="2843" y="1601"/>
                  </a:cubicBezTo>
                  <a:close/>
                  <a:moveTo>
                    <a:pt x="2840" y="1519"/>
                  </a:moveTo>
                  <a:cubicBezTo>
                    <a:pt x="2854" y="1536"/>
                    <a:pt x="2820" y="1522"/>
                    <a:pt x="2840" y="1519"/>
                  </a:cubicBezTo>
                  <a:close/>
                  <a:moveTo>
                    <a:pt x="2837" y="1491"/>
                  </a:moveTo>
                  <a:cubicBezTo>
                    <a:pt x="2843" y="1488"/>
                    <a:pt x="2832" y="1500"/>
                    <a:pt x="2837" y="1491"/>
                  </a:cubicBezTo>
                  <a:close/>
                  <a:moveTo>
                    <a:pt x="2846" y="1306"/>
                  </a:moveTo>
                  <a:cubicBezTo>
                    <a:pt x="2857" y="1317"/>
                    <a:pt x="2820" y="1314"/>
                    <a:pt x="2846" y="1306"/>
                  </a:cubicBezTo>
                  <a:close/>
                  <a:moveTo>
                    <a:pt x="2835" y="1213"/>
                  </a:moveTo>
                  <a:lnTo>
                    <a:pt x="2835" y="1214"/>
                  </a:lnTo>
                  <a:cubicBezTo>
                    <a:pt x="2834" y="1214"/>
                    <a:pt x="2833" y="1214"/>
                    <a:pt x="2835" y="1213"/>
                  </a:cubicBezTo>
                  <a:cubicBezTo>
                    <a:pt x="2836" y="1213"/>
                    <a:pt x="2835" y="1214"/>
                    <a:pt x="2835" y="1214"/>
                  </a:cubicBezTo>
                  <a:lnTo>
                    <a:pt x="2835" y="1213"/>
                  </a:lnTo>
                  <a:close/>
                  <a:moveTo>
                    <a:pt x="2835" y="1334"/>
                  </a:moveTo>
                  <a:cubicBezTo>
                    <a:pt x="2837" y="1334"/>
                    <a:pt x="2832" y="1340"/>
                    <a:pt x="2835" y="1334"/>
                  </a:cubicBezTo>
                  <a:close/>
                  <a:moveTo>
                    <a:pt x="2837" y="1430"/>
                  </a:moveTo>
                  <a:cubicBezTo>
                    <a:pt x="2846" y="1430"/>
                    <a:pt x="2837" y="1466"/>
                    <a:pt x="2826" y="1455"/>
                  </a:cubicBezTo>
                  <a:cubicBezTo>
                    <a:pt x="2835" y="1447"/>
                    <a:pt x="2837" y="1439"/>
                    <a:pt x="2837" y="1430"/>
                  </a:cubicBezTo>
                  <a:close/>
                  <a:moveTo>
                    <a:pt x="2832" y="1337"/>
                  </a:moveTo>
                  <a:cubicBezTo>
                    <a:pt x="2829" y="1337"/>
                    <a:pt x="2823" y="1334"/>
                    <a:pt x="2820" y="1334"/>
                  </a:cubicBezTo>
                  <a:cubicBezTo>
                    <a:pt x="2820" y="1331"/>
                    <a:pt x="2823" y="1326"/>
                    <a:pt x="2823" y="1323"/>
                  </a:cubicBezTo>
                  <a:cubicBezTo>
                    <a:pt x="2826" y="1323"/>
                    <a:pt x="2832" y="1323"/>
                    <a:pt x="2835" y="1326"/>
                  </a:cubicBezTo>
                  <a:cubicBezTo>
                    <a:pt x="2835" y="1329"/>
                    <a:pt x="2832" y="1334"/>
                    <a:pt x="2832" y="1337"/>
                  </a:cubicBezTo>
                  <a:close/>
                  <a:moveTo>
                    <a:pt x="2815" y="1584"/>
                  </a:moveTo>
                  <a:cubicBezTo>
                    <a:pt x="2820" y="1590"/>
                    <a:pt x="2823" y="1601"/>
                    <a:pt x="2820" y="1610"/>
                  </a:cubicBezTo>
                  <a:cubicBezTo>
                    <a:pt x="2804" y="1610"/>
                    <a:pt x="2812" y="1593"/>
                    <a:pt x="2815" y="1584"/>
                  </a:cubicBezTo>
                  <a:close/>
                  <a:moveTo>
                    <a:pt x="2812" y="1641"/>
                  </a:moveTo>
                  <a:cubicBezTo>
                    <a:pt x="2818" y="1632"/>
                    <a:pt x="2820" y="1646"/>
                    <a:pt x="2812" y="1641"/>
                  </a:cubicBezTo>
                  <a:close/>
                  <a:moveTo>
                    <a:pt x="2812" y="1649"/>
                  </a:moveTo>
                  <a:cubicBezTo>
                    <a:pt x="2801" y="1649"/>
                    <a:pt x="2812" y="1635"/>
                    <a:pt x="2812" y="1649"/>
                  </a:cubicBezTo>
                  <a:close/>
                  <a:moveTo>
                    <a:pt x="2806" y="1669"/>
                  </a:moveTo>
                  <a:cubicBezTo>
                    <a:pt x="2812" y="1666"/>
                    <a:pt x="2804" y="1672"/>
                    <a:pt x="2806" y="1669"/>
                  </a:cubicBezTo>
                  <a:close/>
                  <a:moveTo>
                    <a:pt x="2801" y="1491"/>
                  </a:moveTo>
                  <a:cubicBezTo>
                    <a:pt x="2804" y="1486"/>
                    <a:pt x="2812" y="1488"/>
                    <a:pt x="2815" y="1483"/>
                  </a:cubicBezTo>
                  <a:cubicBezTo>
                    <a:pt x="2826" y="1491"/>
                    <a:pt x="2801" y="1502"/>
                    <a:pt x="2801" y="1491"/>
                  </a:cubicBezTo>
                  <a:close/>
                  <a:moveTo>
                    <a:pt x="2820" y="1511"/>
                  </a:moveTo>
                  <a:lnTo>
                    <a:pt x="2820" y="1517"/>
                  </a:lnTo>
                  <a:lnTo>
                    <a:pt x="2815" y="1517"/>
                  </a:lnTo>
                  <a:lnTo>
                    <a:pt x="2815" y="1511"/>
                  </a:lnTo>
                  <a:lnTo>
                    <a:pt x="2820" y="1511"/>
                  </a:lnTo>
                  <a:close/>
                  <a:moveTo>
                    <a:pt x="2801" y="1621"/>
                  </a:moveTo>
                  <a:cubicBezTo>
                    <a:pt x="2801" y="1615"/>
                    <a:pt x="2812" y="1624"/>
                    <a:pt x="2801" y="1621"/>
                  </a:cubicBezTo>
                  <a:close/>
                  <a:moveTo>
                    <a:pt x="2801" y="1579"/>
                  </a:moveTo>
                  <a:cubicBezTo>
                    <a:pt x="2804" y="1576"/>
                    <a:pt x="2798" y="1579"/>
                    <a:pt x="2801" y="1579"/>
                  </a:cubicBezTo>
                  <a:close/>
                  <a:moveTo>
                    <a:pt x="2806" y="1751"/>
                  </a:moveTo>
                  <a:cubicBezTo>
                    <a:pt x="2809" y="1751"/>
                    <a:pt x="2804" y="1754"/>
                    <a:pt x="2801" y="1754"/>
                  </a:cubicBezTo>
                  <a:cubicBezTo>
                    <a:pt x="2798" y="1754"/>
                    <a:pt x="2804" y="1751"/>
                    <a:pt x="2806" y="1751"/>
                  </a:cubicBezTo>
                  <a:close/>
                  <a:moveTo>
                    <a:pt x="2815" y="1731"/>
                  </a:moveTo>
                  <a:cubicBezTo>
                    <a:pt x="2798" y="1725"/>
                    <a:pt x="2826" y="1711"/>
                    <a:pt x="2815" y="1731"/>
                  </a:cubicBezTo>
                  <a:close/>
                  <a:moveTo>
                    <a:pt x="2806" y="1683"/>
                  </a:moveTo>
                  <a:cubicBezTo>
                    <a:pt x="2812" y="1675"/>
                    <a:pt x="2818" y="1686"/>
                    <a:pt x="2823" y="1689"/>
                  </a:cubicBezTo>
                  <a:cubicBezTo>
                    <a:pt x="2818" y="1697"/>
                    <a:pt x="2812" y="1686"/>
                    <a:pt x="2806" y="1683"/>
                  </a:cubicBezTo>
                  <a:close/>
                  <a:moveTo>
                    <a:pt x="2829" y="1748"/>
                  </a:moveTo>
                  <a:cubicBezTo>
                    <a:pt x="2829" y="1754"/>
                    <a:pt x="2823" y="1754"/>
                    <a:pt x="2820" y="1751"/>
                  </a:cubicBezTo>
                  <a:cubicBezTo>
                    <a:pt x="2823" y="1748"/>
                    <a:pt x="2826" y="1748"/>
                    <a:pt x="2829" y="1748"/>
                  </a:cubicBezTo>
                  <a:close/>
                  <a:moveTo>
                    <a:pt x="2843" y="1861"/>
                  </a:moveTo>
                  <a:cubicBezTo>
                    <a:pt x="2841" y="1861"/>
                    <a:pt x="2843" y="1858"/>
                    <a:pt x="2844" y="1858"/>
                  </a:cubicBezTo>
                  <a:cubicBezTo>
                    <a:pt x="2844" y="1857"/>
                    <a:pt x="2844" y="1855"/>
                    <a:pt x="2846" y="1855"/>
                  </a:cubicBezTo>
                  <a:cubicBezTo>
                    <a:pt x="2846" y="1849"/>
                    <a:pt x="2863" y="1858"/>
                    <a:pt x="2857" y="1864"/>
                  </a:cubicBezTo>
                  <a:cubicBezTo>
                    <a:pt x="2854" y="1864"/>
                    <a:pt x="2851" y="1861"/>
                    <a:pt x="2849" y="1861"/>
                  </a:cubicBezTo>
                  <a:lnTo>
                    <a:pt x="2846" y="1861"/>
                  </a:lnTo>
                  <a:cubicBezTo>
                    <a:pt x="2845" y="1861"/>
                    <a:pt x="2844" y="1860"/>
                    <a:pt x="2844" y="1859"/>
                  </a:cubicBezTo>
                  <a:cubicBezTo>
                    <a:pt x="2844" y="1859"/>
                    <a:pt x="2844" y="1860"/>
                    <a:pt x="2843" y="1861"/>
                  </a:cubicBezTo>
                  <a:close/>
                  <a:moveTo>
                    <a:pt x="2835" y="1748"/>
                  </a:moveTo>
                  <a:cubicBezTo>
                    <a:pt x="2835" y="1745"/>
                    <a:pt x="2835" y="1742"/>
                    <a:pt x="2837" y="1742"/>
                  </a:cubicBezTo>
                  <a:cubicBezTo>
                    <a:pt x="2846" y="1742"/>
                    <a:pt x="2849" y="1745"/>
                    <a:pt x="2849" y="1751"/>
                  </a:cubicBezTo>
                  <a:cubicBezTo>
                    <a:pt x="2846" y="1751"/>
                    <a:pt x="2840" y="1748"/>
                    <a:pt x="2835" y="1748"/>
                  </a:cubicBezTo>
                  <a:close/>
                  <a:moveTo>
                    <a:pt x="2846" y="1700"/>
                  </a:moveTo>
                  <a:cubicBezTo>
                    <a:pt x="2846" y="1697"/>
                    <a:pt x="2849" y="1694"/>
                    <a:pt x="2851" y="1691"/>
                  </a:cubicBezTo>
                  <a:cubicBezTo>
                    <a:pt x="2854" y="1691"/>
                    <a:pt x="2857" y="1697"/>
                    <a:pt x="2854" y="1700"/>
                  </a:cubicBezTo>
                  <a:cubicBezTo>
                    <a:pt x="2849" y="1703"/>
                    <a:pt x="2846" y="1703"/>
                    <a:pt x="2846" y="1700"/>
                  </a:cubicBezTo>
                  <a:close/>
                  <a:moveTo>
                    <a:pt x="2849" y="1536"/>
                  </a:moveTo>
                  <a:cubicBezTo>
                    <a:pt x="2835" y="1525"/>
                    <a:pt x="2866" y="1511"/>
                    <a:pt x="2849" y="1536"/>
                  </a:cubicBezTo>
                  <a:close/>
                  <a:moveTo>
                    <a:pt x="2849" y="1466"/>
                  </a:moveTo>
                  <a:cubicBezTo>
                    <a:pt x="2851" y="1466"/>
                    <a:pt x="2843" y="1469"/>
                    <a:pt x="2849" y="1466"/>
                  </a:cubicBezTo>
                  <a:close/>
                  <a:moveTo>
                    <a:pt x="2849" y="1457"/>
                  </a:moveTo>
                  <a:lnTo>
                    <a:pt x="2849" y="1453"/>
                  </a:lnTo>
                  <a:cubicBezTo>
                    <a:pt x="2851" y="1453"/>
                    <a:pt x="2854" y="1455"/>
                    <a:pt x="2854" y="1457"/>
                  </a:cubicBezTo>
                  <a:cubicBezTo>
                    <a:pt x="2854" y="1455"/>
                    <a:pt x="2851" y="1457"/>
                    <a:pt x="2849" y="1457"/>
                  </a:cubicBezTo>
                  <a:close/>
                  <a:moveTo>
                    <a:pt x="2849" y="1666"/>
                  </a:moveTo>
                  <a:cubicBezTo>
                    <a:pt x="2846" y="1660"/>
                    <a:pt x="2854" y="1660"/>
                    <a:pt x="2857" y="1660"/>
                  </a:cubicBezTo>
                  <a:cubicBezTo>
                    <a:pt x="2857" y="1666"/>
                    <a:pt x="2851" y="1666"/>
                    <a:pt x="2849" y="1666"/>
                  </a:cubicBezTo>
                  <a:close/>
                  <a:moveTo>
                    <a:pt x="2863" y="1235"/>
                  </a:moveTo>
                  <a:cubicBezTo>
                    <a:pt x="2857" y="1235"/>
                    <a:pt x="2854" y="1230"/>
                    <a:pt x="2849" y="1233"/>
                  </a:cubicBezTo>
                  <a:cubicBezTo>
                    <a:pt x="2849" y="1227"/>
                    <a:pt x="2851" y="1224"/>
                    <a:pt x="2851" y="1221"/>
                  </a:cubicBezTo>
                  <a:cubicBezTo>
                    <a:pt x="2857" y="1221"/>
                    <a:pt x="2863" y="1224"/>
                    <a:pt x="2863" y="1233"/>
                  </a:cubicBezTo>
                  <a:lnTo>
                    <a:pt x="2863" y="1235"/>
                  </a:lnTo>
                  <a:close/>
                  <a:moveTo>
                    <a:pt x="2871" y="1345"/>
                  </a:moveTo>
                  <a:cubicBezTo>
                    <a:pt x="2868" y="1348"/>
                    <a:pt x="2860" y="1345"/>
                    <a:pt x="2866" y="1337"/>
                  </a:cubicBezTo>
                  <a:cubicBezTo>
                    <a:pt x="2860" y="1343"/>
                    <a:pt x="2854" y="1345"/>
                    <a:pt x="2849" y="1348"/>
                  </a:cubicBezTo>
                  <a:cubicBezTo>
                    <a:pt x="2849" y="1340"/>
                    <a:pt x="2857" y="1337"/>
                    <a:pt x="2866" y="1337"/>
                  </a:cubicBezTo>
                  <a:cubicBezTo>
                    <a:pt x="2868" y="1337"/>
                    <a:pt x="2868" y="1340"/>
                    <a:pt x="2871" y="1340"/>
                  </a:cubicBezTo>
                  <a:lnTo>
                    <a:pt x="2871" y="1337"/>
                  </a:lnTo>
                  <a:lnTo>
                    <a:pt x="2874" y="1340"/>
                  </a:lnTo>
                  <a:cubicBezTo>
                    <a:pt x="2874" y="1340"/>
                    <a:pt x="2877" y="1343"/>
                    <a:pt x="2877" y="1345"/>
                  </a:cubicBezTo>
                  <a:lnTo>
                    <a:pt x="2871" y="1345"/>
                  </a:lnTo>
                  <a:close/>
                  <a:moveTo>
                    <a:pt x="2868" y="1348"/>
                  </a:moveTo>
                  <a:cubicBezTo>
                    <a:pt x="2868" y="1354"/>
                    <a:pt x="2854" y="1357"/>
                    <a:pt x="2857" y="1348"/>
                  </a:cubicBezTo>
                  <a:lnTo>
                    <a:pt x="2868" y="1348"/>
                  </a:lnTo>
                  <a:close/>
                  <a:moveTo>
                    <a:pt x="2866" y="1269"/>
                  </a:moveTo>
                  <a:cubicBezTo>
                    <a:pt x="2854" y="1258"/>
                    <a:pt x="2883" y="1244"/>
                    <a:pt x="2866" y="1269"/>
                  </a:cubicBezTo>
                  <a:close/>
                  <a:moveTo>
                    <a:pt x="2854" y="1317"/>
                  </a:moveTo>
                  <a:cubicBezTo>
                    <a:pt x="2857" y="1312"/>
                    <a:pt x="2866" y="1320"/>
                    <a:pt x="2854" y="1317"/>
                  </a:cubicBezTo>
                  <a:close/>
                  <a:moveTo>
                    <a:pt x="2849" y="1430"/>
                  </a:moveTo>
                  <a:cubicBezTo>
                    <a:pt x="2846" y="1433"/>
                    <a:pt x="2854" y="1427"/>
                    <a:pt x="2849" y="1430"/>
                  </a:cubicBezTo>
                  <a:close/>
                  <a:moveTo>
                    <a:pt x="2874" y="1255"/>
                  </a:moveTo>
                  <a:cubicBezTo>
                    <a:pt x="2874" y="1252"/>
                    <a:pt x="2868" y="1258"/>
                    <a:pt x="2874" y="1255"/>
                  </a:cubicBezTo>
                  <a:close/>
                  <a:moveTo>
                    <a:pt x="2885" y="1182"/>
                  </a:moveTo>
                  <a:cubicBezTo>
                    <a:pt x="2894" y="1202"/>
                    <a:pt x="2871" y="1165"/>
                    <a:pt x="2885" y="1182"/>
                  </a:cubicBezTo>
                  <a:close/>
                  <a:moveTo>
                    <a:pt x="2897" y="1190"/>
                  </a:moveTo>
                  <a:cubicBezTo>
                    <a:pt x="2885" y="1199"/>
                    <a:pt x="2871" y="1202"/>
                    <a:pt x="2860" y="1196"/>
                  </a:cubicBezTo>
                  <a:cubicBezTo>
                    <a:pt x="2863" y="1182"/>
                    <a:pt x="2883" y="1190"/>
                    <a:pt x="2897" y="1190"/>
                  </a:cubicBezTo>
                  <a:close/>
                  <a:moveTo>
                    <a:pt x="2860" y="1125"/>
                  </a:moveTo>
                  <a:cubicBezTo>
                    <a:pt x="2874" y="1142"/>
                    <a:pt x="2840" y="1159"/>
                    <a:pt x="2835" y="1140"/>
                  </a:cubicBezTo>
                  <a:cubicBezTo>
                    <a:pt x="2837" y="1131"/>
                    <a:pt x="2854" y="1140"/>
                    <a:pt x="2860" y="1125"/>
                  </a:cubicBezTo>
                  <a:close/>
                  <a:moveTo>
                    <a:pt x="2835" y="1156"/>
                  </a:moveTo>
                  <a:cubicBezTo>
                    <a:pt x="2849" y="1162"/>
                    <a:pt x="2823" y="1176"/>
                    <a:pt x="2835" y="1156"/>
                  </a:cubicBezTo>
                  <a:close/>
                  <a:moveTo>
                    <a:pt x="2835" y="1275"/>
                  </a:moveTo>
                  <a:cubicBezTo>
                    <a:pt x="2829" y="1281"/>
                    <a:pt x="2826" y="1272"/>
                    <a:pt x="2812" y="1275"/>
                  </a:cubicBezTo>
                  <a:cubicBezTo>
                    <a:pt x="2815" y="1269"/>
                    <a:pt x="2815" y="1261"/>
                    <a:pt x="2818" y="1255"/>
                  </a:cubicBezTo>
                  <a:cubicBezTo>
                    <a:pt x="2835" y="1255"/>
                    <a:pt x="2826" y="1269"/>
                    <a:pt x="2835" y="1275"/>
                  </a:cubicBezTo>
                  <a:close/>
                  <a:moveTo>
                    <a:pt x="2829" y="1238"/>
                  </a:moveTo>
                  <a:cubicBezTo>
                    <a:pt x="2820" y="1235"/>
                    <a:pt x="2820" y="1224"/>
                    <a:pt x="2823" y="1213"/>
                  </a:cubicBezTo>
                  <a:cubicBezTo>
                    <a:pt x="2832" y="1219"/>
                    <a:pt x="2832" y="1230"/>
                    <a:pt x="2829" y="1238"/>
                  </a:cubicBezTo>
                  <a:close/>
                  <a:moveTo>
                    <a:pt x="2820" y="1151"/>
                  </a:moveTo>
                  <a:cubicBezTo>
                    <a:pt x="2822" y="1151"/>
                    <a:pt x="2820" y="1152"/>
                    <a:pt x="2819" y="1153"/>
                  </a:cubicBezTo>
                  <a:cubicBezTo>
                    <a:pt x="2820" y="1153"/>
                    <a:pt x="2820" y="1153"/>
                    <a:pt x="2820" y="1154"/>
                  </a:cubicBezTo>
                  <a:cubicBezTo>
                    <a:pt x="2815" y="1159"/>
                    <a:pt x="2812" y="1154"/>
                    <a:pt x="2809" y="1151"/>
                  </a:cubicBezTo>
                  <a:cubicBezTo>
                    <a:pt x="2806" y="1159"/>
                    <a:pt x="2801" y="1162"/>
                    <a:pt x="2792" y="1162"/>
                  </a:cubicBezTo>
                  <a:lnTo>
                    <a:pt x="2789" y="1162"/>
                  </a:lnTo>
                  <a:cubicBezTo>
                    <a:pt x="2792" y="1159"/>
                    <a:pt x="2795" y="1145"/>
                    <a:pt x="2804" y="1145"/>
                  </a:cubicBezTo>
                  <a:cubicBezTo>
                    <a:pt x="2809" y="1140"/>
                    <a:pt x="2814" y="1149"/>
                    <a:pt x="2819" y="1153"/>
                  </a:cubicBezTo>
                  <a:cubicBezTo>
                    <a:pt x="2819" y="1152"/>
                    <a:pt x="2820" y="1152"/>
                    <a:pt x="2820" y="1151"/>
                  </a:cubicBezTo>
                  <a:close/>
                  <a:moveTo>
                    <a:pt x="2820" y="1173"/>
                  </a:moveTo>
                  <a:cubicBezTo>
                    <a:pt x="2835" y="1176"/>
                    <a:pt x="2832" y="1190"/>
                    <a:pt x="2829" y="1199"/>
                  </a:cubicBezTo>
                  <a:cubicBezTo>
                    <a:pt x="2823" y="1196"/>
                    <a:pt x="2820" y="1190"/>
                    <a:pt x="2818" y="1185"/>
                  </a:cubicBezTo>
                  <a:cubicBezTo>
                    <a:pt x="2818" y="1188"/>
                    <a:pt x="2820" y="1190"/>
                    <a:pt x="2818" y="1193"/>
                  </a:cubicBezTo>
                  <a:cubicBezTo>
                    <a:pt x="2806" y="1193"/>
                    <a:pt x="2812" y="1190"/>
                    <a:pt x="2806" y="1188"/>
                  </a:cubicBezTo>
                  <a:cubicBezTo>
                    <a:pt x="2804" y="1188"/>
                    <a:pt x="2809" y="1196"/>
                    <a:pt x="2804" y="1199"/>
                  </a:cubicBezTo>
                  <a:cubicBezTo>
                    <a:pt x="2798" y="1199"/>
                    <a:pt x="2798" y="1188"/>
                    <a:pt x="2798" y="1182"/>
                  </a:cubicBezTo>
                  <a:cubicBezTo>
                    <a:pt x="2804" y="1179"/>
                    <a:pt x="2809" y="1179"/>
                    <a:pt x="2818" y="1179"/>
                  </a:cubicBezTo>
                  <a:cubicBezTo>
                    <a:pt x="2818" y="1176"/>
                    <a:pt x="2818" y="1173"/>
                    <a:pt x="2820" y="1173"/>
                  </a:cubicBezTo>
                  <a:close/>
                  <a:moveTo>
                    <a:pt x="2795" y="1199"/>
                  </a:moveTo>
                  <a:cubicBezTo>
                    <a:pt x="2789" y="1216"/>
                    <a:pt x="2787" y="1216"/>
                    <a:pt x="2772" y="1224"/>
                  </a:cubicBezTo>
                  <a:cubicBezTo>
                    <a:pt x="2775" y="1207"/>
                    <a:pt x="2781" y="1193"/>
                    <a:pt x="2795" y="1199"/>
                  </a:cubicBezTo>
                  <a:close/>
                  <a:moveTo>
                    <a:pt x="2767" y="1204"/>
                  </a:moveTo>
                  <a:lnTo>
                    <a:pt x="2772" y="1204"/>
                  </a:lnTo>
                  <a:cubicBezTo>
                    <a:pt x="2775" y="1207"/>
                    <a:pt x="2773" y="1212"/>
                    <a:pt x="2768" y="1213"/>
                  </a:cubicBezTo>
                  <a:lnTo>
                    <a:pt x="2768" y="1213"/>
                  </a:lnTo>
                  <a:cubicBezTo>
                    <a:pt x="2766" y="1215"/>
                    <a:pt x="2763" y="1218"/>
                    <a:pt x="2767" y="1213"/>
                  </a:cubicBezTo>
                  <a:lnTo>
                    <a:pt x="2767" y="1204"/>
                  </a:lnTo>
                  <a:close/>
                  <a:moveTo>
                    <a:pt x="2781" y="1171"/>
                  </a:moveTo>
                  <a:cubicBezTo>
                    <a:pt x="2795" y="1176"/>
                    <a:pt x="2770" y="1190"/>
                    <a:pt x="2781" y="1171"/>
                  </a:cubicBezTo>
                  <a:close/>
                  <a:moveTo>
                    <a:pt x="2772" y="1142"/>
                  </a:moveTo>
                  <a:cubicBezTo>
                    <a:pt x="2787" y="1148"/>
                    <a:pt x="2761" y="1162"/>
                    <a:pt x="2772" y="1142"/>
                  </a:cubicBezTo>
                  <a:close/>
                  <a:moveTo>
                    <a:pt x="2778" y="1131"/>
                  </a:moveTo>
                  <a:cubicBezTo>
                    <a:pt x="2775" y="1134"/>
                    <a:pt x="2770" y="1137"/>
                    <a:pt x="2767" y="1137"/>
                  </a:cubicBezTo>
                  <a:cubicBezTo>
                    <a:pt x="2764" y="1131"/>
                    <a:pt x="2775" y="1131"/>
                    <a:pt x="2778" y="1131"/>
                  </a:cubicBezTo>
                  <a:close/>
                  <a:moveTo>
                    <a:pt x="2758" y="1171"/>
                  </a:moveTo>
                  <a:cubicBezTo>
                    <a:pt x="2761" y="1173"/>
                    <a:pt x="2764" y="1179"/>
                    <a:pt x="2761" y="1179"/>
                  </a:cubicBezTo>
                  <a:cubicBezTo>
                    <a:pt x="2764" y="1179"/>
                    <a:pt x="2764" y="1181"/>
                    <a:pt x="2760" y="1182"/>
                  </a:cubicBezTo>
                  <a:cubicBezTo>
                    <a:pt x="2754" y="1181"/>
                    <a:pt x="2745" y="1173"/>
                    <a:pt x="2758" y="1171"/>
                  </a:cubicBezTo>
                  <a:close/>
                  <a:moveTo>
                    <a:pt x="2758" y="1182"/>
                  </a:moveTo>
                  <a:lnTo>
                    <a:pt x="2761" y="1182"/>
                  </a:lnTo>
                  <a:lnTo>
                    <a:pt x="2760" y="1182"/>
                  </a:lnTo>
                  <a:cubicBezTo>
                    <a:pt x="2760" y="1182"/>
                    <a:pt x="2759" y="1182"/>
                    <a:pt x="2758" y="1182"/>
                  </a:cubicBezTo>
                  <a:close/>
                  <a:moveTo>
                    <a:pt x="2750" y="795"/>
                  </a:moveTo>
                  <a:cubicBezTo>
                    <a:pt x="2753" y="793"/>
                    <a:pt x="2744" y="798"/>
                    <a:pt x="2750" y="795"/>
                  </a:cubicBezTo>
                  <a:close/>
                  <a:moveTo>
                    <a:pt x="2753" y="1427"/>
                  </a:moveTo>
                  <a:cubicBezTo>
                    <a:pt x="2753" y="1433"/>
                    <a:pt x="2750" y="1436"/>
                    <a:pt x="2747" y="1439"/>
                  </a:cubicBezTo>
                  <a:cubicBezTo>
                    <a:pt x="2744" y="1433"/>
                    <a:pt x="2747" y="1430"/>
                    <a:pt x="2753" y="1427"/>
                  </a:cubicBezTo>
                  <a:close/>
                  <a:moveTo>
                    <a:pt x="2744" y="767"/>
                  </a:moveTo>
                  <a:cubicBezTo>
                    <a:pt x="2756" y="773"/>
                    <a:pt x="2730" y="787"/>
                    <a:pt x="2744" y="767"/>
                  </a:cubicBezTo>
                  <a:close/>
                  <a:moveTo>
                    <a:pt x="2741" y="1416"/>
                  </a:moveTo>
                  <a:cubicBezTo>
                    <a:pt x="2727" y="1408"/>
                    <a:pt x="2756" y="1393"/>
                    <a:pt x="2741" y="1416"/>
                  </a:cubicBezTo>
                  <a:close/>
                  <a:moveTo>
                    <a:pt x="2741" y="1480"/>
                  </a:moveTo>
                  <a:cubicBezTo>
                    <a:pt x="2733" y="1483"/>
                    <a:pt x="2725" y="1486"/>
                    <a:pt x="2716" y="1486"/>
                  </a:cubicBezTo>
                  <a:cubicBezTo>
                    <a:pt x="2725" y="1477"/>
                    <a:pt x="2733" y="1477"/>
                    <a:pt x="2739" y="1469"/>
                  </a:cubicBezTo>
                  <a:cubicBezTo>
                    <a:pt x="2741" y="1471"/>
                    <a:pt x="2739" y="1474"/>
                    <a:pt x="2741" y="1480"/>
                  </a:cubicBezTo>
                  <a:close/>
                  <a:moveTo>
                    <a:pt x="2725" y="1283"/>
                  </a:moveTo>
                  <a:cubicBezTo>
                    <a:pt x="2736" y="1286"/>
                    <a:pt x="2733" y="1298"/>
                    <a:pt x="2730" y="1303"/>
                  </a:cubicBezTo>
                  <a:cubicBezTo>
                    <a:pt x="2725" y="1298"/>
                    <a:pt x="2722" y="1289"/>
                    <a:pt x="2725" y="1283"/>
                  </a:cubicBezTo>
                  <a:close/>
                  <a:moveTo>
                    <a:pt x="2722" y="1354"/>
                  </a:moveTo>
                  <a:cubicBezTo>
                    <a:pt x="2725" y="1345"/>
                    <a:pt x="2727" y="1362"/>
                    <a:pt x="2722" y="1354"/>
                  </a:cubicBezTo>
                  <a:close/>
                  <a:moveTo>
                    <a:pt x="2719" y="1295"/>
                  </a:moveTo>
                  <a:cubicBezTo>
                    <a:pt x="2716" y="1295"/>
                    <a:pt x="2716" y="1292"/>
                    <a:pt x="2713" y="1292"/>
                  </a:cubicBezTo>
                  <a:cubicBezTo>
                    <a:pt x="2713" y="1289"/>
                    <a:pt x="2716" y="1289"/>
                    <a:pt x="2716" y="1286"/>
                  </a:cubicBezTo>
                  <a:lnTo>
                    <a:pt x="2722" y="1286"/>
                  </a:lnTo>
                  <a:cubicBezTo>
                    <a:pt x="2722" y="1292"/>
                    <a:pt x="2722" y="1292"/>
                    <a:pt x="2719" y="1295"/>
                  </a:cubicBezTo>
                  <a:close/>
                  <a:moveTo>
                    <a:pt x="2713" y="763"/>
                  </a:moveTo>
                  <a:cubicBezTo>
                    <a:pt x="2714" y="761"/>
                    <a:pt x="2717" y="761"/>
                    <a:pt x="2713" y="764"/>
                  </a:cubicBezTo>
                  <a:cubicBezTo>
                    <a:pt x="2712" y="764"/>
                    <a:pt x="2713" y="764"/>
                    <a:pt x="2713" y="763"/>
                  </a:cubicBezTo>
                  <a:close/>
                  <a:moveTo>
                    <a:pt x="2708" y="722"/>
                  </a:moveTo>
                  <a:cubicBezTo>
                    <a:pt x="2708" y="725"/>
                    <a:pt x="2702" y="728"/>
                    <a:pt x="2699" y="728"/>
                  </a:cubicBezTo>
                  <a:cubicBezTo>
                    <a:pt x="2702" y="725"/>
                    <a:pt x="2705" y="722"/>
                    <a:pt x="2708" y="722"/>
                  </a:cubicBezTo>
                  <a:close/>
                  <a:moveTo>
                    <a:pt x="2719" y="781"/>
                  </a:moveTo>
                  <a:cubicBezTo>
                    <a:pt x="2713" y="790"/>
                    <a:pt x="2710" y="784"/>
                    <a:pt x="2705" y="781"/>
                  </a:cubicBezTo>
                  <a:lnTo>
                    <a:pt x="2702" y="781"/>
                  </a:lnTo>
                  <a:cubicBezTo>
                    <a:pt x="2702" y="781"/>
                    <a:pt x="2699" y="779"/>
                    <a:pt x="2699" y="776"/>
                  </a:cubicBezTo>
                  <a:lnTo>
                    <a:pt x="2702" y="776"/>
                  </a:lnTo>
                  <a:cubicBezTo>
                    <a:pt x="2699" y="773"/>
                    <a:pt x="2696" y="773"/>
                    <a:pt x="2693" y="773"/>
                  </a:cubicBezTo>
                  <a:cubicBezTo>
                    <a:pt x="2702" y="762"/>
                    <a:pt x="2716" y="779"/>
                    <a:pt x="2719" y="781"/>
                  </a:cubicBezTo>
                  <a:close/>
                  <a:moveTo>
                    <a:pt x="2696" y="680"/>
                  </a:moveTo>
                  <a:cubicBezTo>
                    <a:pt x="2677" y="694"/>
                    <a:pt x="2685" y="660"/>
                    <a:pt x="2696" y="680"/>
                  </a:cubicBezTo>
                  <a:close/>
                  <a:moveTo>
                    <a:pt x="2688" y="1171"/>
                  </a:moveTo>
                  <a:cubicBezTo>
                    <a:pt x="2688" y="1173"/>
                    <a:pt x="2685" y="1179"/>
                    <a:pt x="2685" y="1182"/>
                  </a:cubicBezTo>
                  <a:cubicBezTo>
                    <a:pt x="2682" y="1182"/>
                    <a:pt x="2677" y="1179"/>
                    <a:pt x="2674" y="1179"/>
                  </a:cubicBezTo>
                  <a:cubicBezTo>
                    <a:pt x="2674" y="1176"/>
                    <a:pt x="2674" y="1171"/>
                    <a:pt x="2677" y="1168"/>
                  </a:cubicBezTo>
                  <a:cubicBezTo>
                    <a:pt x="2679" y="1168"/>
                    <a:pt x="2685" y="1171"/>
                    <a:pt x="2688" y="1171"/>
                  </a:cubicBezTo>
                  <a:close/>
                  <a:moveTo>
                    <a:pt x="2671" y="691"/>
                  </a:moveTo>
                  <a:cubicBezTo>
                    <a:pt x="2668" y="694"/>
                    <a:pt x="2677" y="688"/>
                    <a:pt x="2671" y="691"/>
                  </a:cubicBezTo>
                  <a:close/>
                  <a:moveTo>
                    <a:pt x="2677" y="762"/>
                  </a:moveTo>
                  <a:cubicBezTo>
                    <a:pt x="2662" y="762"/>
                    <a:pt x="2668" y="747"/>
                    <a:pt x="2660" y="742"/>
                  </a:cubicBezTo>
                  <a:cubicBezTo>
                    <a:pt x="2662" y="733"/>
                    <a:pt x="2682" y="750"/>
                    <a:pt x="2677" y="762"/>
                  </a:cubicBezTo>
                  <a:close/>
                  <a:moveTo>
                    <a:pt x="2648" y="623"/>
                  </a:moveTo>
                  <a:cubicBezTo>
                    <a:pt x="2651" y="629"/>
                    <a:pt x="2634" y="635"/>
                    <a:pt x="2637" y="626"/>
                  </a:cubicBezTo>
                  <a:cubicBezTo>
                    <a:pt x="2640" y="623"/>
                    <a:pt x="2643" y="623"/>
                    <a:pt x="2648" y="623"/>
                  </a:cubicBezTo>
                  <a:close/>
                  <a:moveTo>
                    <a:pt x="2640" y="609"/>
                  </a:moveTo>
                  <a:cubicBezTo>
                    <a:pt x="2654" y="615"/>
                    <a:pt x="2629" y="629"/>
                    <a:pt x="2640" y="609"/>
                  </a:cubicBezTo>
                  <a:close/>
                  <a:moveTo>
                    <a:pt x="2643" y="762"/>
                  </a:moveTo>
                  <a:cubicBezTo>
                    <a:pt x="2646" y="756"/>
                    <a:pt x="2657" y="756"/>
                    <a:pt x="2662" y="756"/>
                  </a:cubicBezTo>
                  <a:cubicBezTo>
                    <a:pt x="2662" y="764"/>
                    <a:pt x="2648" y="767"/>
                    <a:pt x="2643" y="764"/>
                  </a:cubicBezTo>
                  <a:cubicBezTo>
                    <a:pt x="2640" y="767"/>
                    <a:pt x="2637" y="767"/>
                    <a:pt x="2634" y="767"/>
                  </a:cubicBezTo>
                  <a:cubicBezTo>
                    <a:pt x="2626" y="756"/>
                    <a:pt x="2640" y="759"/>
                    <a:pt x="2643" y="762"/>
                  </a:cubicBezTo>
                  <a:close/>
                  <a:moveTo>
                    <a:pt x="2646" y="1148"/>
                  </a:moveTo>
                  <a:cubicBezTo>
                    <a:pt x="2648" y="1148"/>
                    <a:pt x="2637" y="1154"/>
                    <a:pt x="2631" y="1156"/>
                  </a:cubicBezTo>
                  <a:cubicBezTo>
                    <a:pt x="2634" y="1145"/>
                    <a:pt x="2637" y="1142"/>
                    <a:pt x="2646" y="1148"/>
                  </a:cubicBezTo>
                  <a:close/>
                  <a:moveTo>
                    <a:pt x="2623" y="606"/>
                  </a:moveTo>
                  <a:cubicBezTo>
                    <a:pt x="2617" y="598"/>
                    <a:pt x="2617" y="587"/>
                    <a:pt x="2606" y="581"/>
                  </a:cubicBezTo>
                  <a:cubicBezTo>
                    <a:pt x="2629" y="567"/>
                    <a:pt x="2646" y="590"/>
                    <a:pt x="2623" y="606"/>
                  </a:cubicBezTo>
                  <a:close/>
                  <a:moveTo>
                    <a:pt x="2609" y="609"/>
                  </a:moveTo>
                  <a:lnTo>
                    <a:pt x="2609" y="610"/>
                  </a:lnTo>
                  <a:cubicBezTo>
                    <a:pt x="2608" y="611"/>
                    <a:pt x="2607" y="611"/>
                    <a:pt x="2609" y="609"/>
                  </a:cubicBezTo>
                  <a:cubicBezTo>
                    <a:pt x="2610" y="609"/>
                    <a:pt x="2610" y="610"/>
                    <a:pt x="2609" y="610"/>
                  </a:cubicBezTo>
                  <a:lnTo>
                    <a:pt x="2609" y="609"/>
                  </a:lnTo>
                  <a:close/>
                  <a:moveTo>
                    <a:pt x="2609" y="705"/>
                  </a:moveTo>
                  <a:cubicBezTo>
                    <a:pt x="2595" y="697"/>
                    <a:pt x="2623" y="683"/>
                    <a:pt x="2609" y="705"/>
                  </a:cubicBezTo>
                  <a:close/>
                  <a:moveTo>
                    <a:pt x="2609" y="595"/>
                  </a:moveTo>
                  <a:cubicBezTo>
                    <a:pt x="2606" y="601"/>
                    <a:pt x="2600" y="604"/>
                    <a:pt x="2595" y="604"/>
                  </a:cubicBezTo>
                  <a:cubicBezTo>
                    <a:pt x="2595" y="598"/>
                    <a:pt x="2606" y="598"/>
                    <a:pt x="2609" y="595"/>
                  </a:cubicBezTo>
                  <a:close/>
                  <a:moveTo>
                    <a:pt x="2595" y="612"/>
                  </a:moveTo>
                  <a:lnTo>
                    <a:pt x="2603" y="612"/>
                  </a:lnTo>
                  <a:cubicBezTo>
                    <a:pt x="2600" y="615"/>
                    <a:pt x="2600" y="621"/>
                    <a:pt x="2598" y="618"/>
                  </a:cubicBezTo>
                  <a:cubicBezTo>
                    <a:pt x="2595" y="618"/>
                    <a:pt x="2595" y="615"/>
                    <a:pt x="2595" y="612"/>
                  </a:cubicBezTo>
                  <a:close/>
                  <a:moveTo>
                    <a:pt x="2595" y="674"/>
                  </a:moveTo>
                  <a:cubicBezTo>
                    <a:pt x="2583" y="671"/>
                    <a:pt x="2586" y="660"/>
                    <a:pt x="2589" y="654"/>
                  </a:cubicBezTo>
                  <a:cubicBezTo>
                    <a:pt x="2595" y="660"/>
                    <a:pt x="2598" y="668"/>
                    <a:pt x="2595" y="674"/>
                  </a:cubicBezTo>
                  <a:close/>
                  <a:moveTo>
                    <a:pt x="2578" y="567"/>
                  </a:moveTo>
                  <a:cubicBezTo>
                    <a:pt x="2586" y="542"/>
                    <a:pt x="2606" y="575"/>
                    <a:pt x="2578" y="567"/>
                  </a:cubicBezTo>
                  <a:close/>
                  <a:moveTo>
                    <a:pt x="2578" y="592"/>
                  </a:moveTo>
                  <a:cubicBezTo>
                    <a:pt x="2564" y="578"/>
                    <a:pt x="2603" y="584"/>
                    <a:pt x="2578" y="592"/>
                  </a:cubicBezTo>
                  <a:close/>
                  <a:moveTo>
                    <a:pt x="2572" y="533"/>
                  </a:moveTo>
                  <a:cubicBezTo>
                    <a:pt x="2575" y="533"/>
                    <a:pt x="2569" y="536"/>
                    <a:pt x="2572" y="533"/>
                  </a:cubicBezTo>
                  <a:close/>
                  <a:moveTo>
                    <a:pt x="2589" y="626"/>
                  </a:moveTo>
                  <a:cubicBezTo>
                    <a:pt x="2586" y="640"/>
                    <a:pt x="2575" y="635"/>
                    <a:pt x="2575" y="652"/>
                  </a:cubicBezTo>
                  <a:cubicBezTo>
                    <a:pt x="2567" y="649"/>
                    <a:pt x="2578" y="612"/>
                    <a:pt x="2589" y="626"/>
                  </a:cubicBezTo>
                  <a:close/>
                  <a:moveTo>
                    <a:pt x="2567" y="680"/>
                  </a:moveTo>
                  <a:cubicBezTo>
                    <a:pt x="2567" y="697"/>
                    <a:pt x="2578" y="714"/>
                    <a:pt x="2572" y="733"/>
                  </a:cubicBezTo>
                  <a:cubicBezTo>
                    <a:pt x="2561" y="719"/>
                    <a:pt x="2558" y="697"/>
                    <a:pt x="2567" y="680"/>
                  </a:cubicBezTo>
                  <a:close/>
                  <a:moveTo>
                    <a:pt x="2578" y="762"/>
                  </a:moveTo>
                  <a:cubicBezTo>
                    <a:pt x="2578" y="773"/>
                    <a:pt x="2567" y="767"/>
                    <a:pt x="2564" y="776"/>
                  </a:cubicBezTo>
                  <a:cubicBezTo>
                    <a:pt x="2552" y="773"/>
                    <a:pt x="2569" y="753"/>
                    <a:pt x="2578" y="762"/>
                  </a:cubicBezTo>
                  <a:close/>
                  <a:moveTo>
                    <a:pt x="2555" y="539"/>
                  </a:moveTo>
                  <a:cubicBezTo>
                    <a:pt x="2552" y="537"/>
                    <a:pt x="2551" y="536"/>
                    <a:pt x="2551" y="534"/>
                  </a:cubicBezTo>
                  <a:cubicBezTo>
                    <a:pt x="2545" y="537"/>
                    <a:pt x="2538" y="538"/>
                    <a:pt x="2533" y="536"/>
                  </a:cubicBezTo>
                  <a:cubicBezTo>
                    <a:pt x="2538" y="533"/>
                    <a:pt x="2541" y="525"/>
                    <a:pt x="2547" y="525"/>
                  </a:cubicBezTo>
                  <a:cubicBezTo>
                    <a:pt x="2544" y="522"/>
                    <a:pt x="2544" y="522"/>
                    <a:pt x="2544" y="519"/>
                  </a:cubicBezTo>
                  <a:cubicBezTo>
                    <a:pt x="2547" y="519"/>
                    <a:pt x="2550" y="522"/>
                    <a:pt x="2552" y="522"/>
                  </a:cubicBezTo>
                  <a:cubicBezTo>
                    <a:pt x="2552" y="522"/>
                    <a:pt x="2552" y="525"/>
                    <a:pt x="2550" y="525"/>
                  </a:cubicBezTo>
                  <a:cubicBezTo>
                    <a:pt x="2552" y="525"/>
                    <a:pt x="2555" y="525"/>
                    <a:pt x="2558" y="527"/>
                  </a:cubicBezTo>
                  <a:cubicBezTo>
                    <a:pt x="2558" y="528"/>
                    <a:pt x="2558" y="528"/>
                    <a:pt x="2557" y="529"/>
                  </a:cubicBezTo>
                  <a:cubicBezTo>
                    <a:pt x="2560" y="528"/>
                    <a:pt x="2561" y="531"/>
                    <a:pt x="2555" y="539"/>
                  </a:cubicBezTo>
                  <a:close/>
                  <a:moveTo>
                    <a:pt x="2538" y="629"/>
                  </a:moveTo>
                  <a:cubicBezTo>
                    <a:pt x="2535" y="632"/>
                    <a:pt x="2533" y="637"/>
                    <a:pt x="2530" y="637"/>
                  </a:cubicBezTo>
                  <a:cubicBezTo>
                    <a:pt x="2530" y="635"/>
                    <a:pt x="2535" y="629"/>
                    <a:pt x="2538" y="629"/>
                  </a:cubicBezTo>
                  <a:close/>
                  <a:moveTo>
                    <a:pt x="2521" y="592"/>
                  </a:moveTo>
                  <a:cubicBezTo>
                    <a:pt x="2504" y="587"/>
                    <a:pt x="2533" y="573"/>
                    <a:pt x="2521" y="592"/>
                  </a:cubicBezTo>
                  <a:close/>
                  <a:moveTo>
                    <a:pt x="2521" y="485"/>
                  </a:moveTo>
                  <a:cubicBezTo>
                    <a:pt x="2510" y="496"/>
                    <a:pt x="2507" y="468"/>
                    <a:pt x="2504" y="460"/>
                  </a:cubicBezTo>
                  <a:cubicBezTo>
                    <a:pt x="2524" y="460"/>
                    <a:pt x="2513" y="479"/>
                    <a:pt x="2521" y="485"/>
                  </a:cubicBezTo>
                  <a:close/>
                  <a:moveTo>
                    <a:pt x="2510" y="598"/>
                  </a:moveTo>
                  <a:cubicBezTo>
                    <a:pt x="2502" y="635"/>
                    <a:pt x="2476" y="584"/>
                    <a:pt x="2510" y="598"/>
                  </a:cubicBezTo>
                  <a:close/>
                  <a:moveTo>
                    <a:pt x="2499" y="434"/>
                  </a:moveTo>
                  <a:cubicBezTo>
                    <a:pt x="2496" y="434"/>
                    <a:pt x="2504" y="432"/>
                    <a:pt x="2499" y="434"/>
                  </a:cubicBezTo>
                  <a:close/>
                  <a:moveTo>
                    <a:pt x="2499" y="434"/>
                  </a:moveTo>
                  <a:cubicBezTo>
                    <a:pt x="2513" y="451"/>
                    <a:pt x="2496" y="451"/>
                    <a:pt x="2487" y="468"/>
                  </a:cubicBezTo>
                  <a:cubicBezTo>
                    <a:pt x="2473" y="457"/>
                    <a:pt x="2499" y="451"/>
                    <a:pt x="2499" y="434"/>
                  </a:cubicBezTo>
                  <a:close/>
                  <a:moveTo>
                    <a:pt x="2482" y="420"/>
                  </a:moveTo>
                  <a:cubicBezTo>
                    <a:pt x="2496" y="440"/>
                    <a:pt x="2473" y="451"/>
                    <a:pt x="2482" y="420"/>
                  </a:cubicBezTo>
                  <a:close/>
                  <a:moveTo>
                    <a:pt x="2479" y="694"/>
                  </a:moveTo>
                  <a:lnTo>
                    <a:pt x="2479" y="697"/>
                  </a:lnTo>
                  <a:lnTo>
                    <a:pt x="2476" y="697"/>
                  </a:lnTo>
                  <a:cubicBezTo>
                    <a:pt x="2476" y="697"/>
                    <a:pt x="2476" y="694"/>
                    <a:pt x="2479" y="694"/>
                  </a:cubicBezTo>
                  <a:close/>
                  <a:moveTo>
                    <a:pt x="2476" y="705"/>
                  </a:moveTo>
                  <a:cubicBezTo>
                    <a:pt x="2473" y="705"/>
                    <a:pt x="2468" y="702"/>
                    <a:pt x="2468" y="702"/>
                  </a:cubicBezTo>
                  <a:cubicBezTo>
                    <a:pt x="2465" y="700"/>
                    <a:pt x="2479" y="700"/>
                    <a:pt x="2476" y="705"/>
                  </a:cubicBezTo>
                  <a:close/>
                  <a:moveTo>
                    <a:pt x="2468" y="745"/>
                  </a:moveTo>
                  <a:cubicBezTo>
                    <a:pt x="2468" y="739"/>
                    <a:pt x="2479" y="747"/>
                    <a:pt x="2468" y="745"/>
                  </a:cubicBezTo>
                  <a:close/>
                  <a:moveTo>
                    <a:pt x="2423" y="1379"/>
                  </a:moveTo>
                  <a:cubicBezTo>
                    <a:pt x="2423" y="1374"/>
                    <a:pt x="2434" y="1382"/>
                    <a:pt x="2423" y="1379"/>
                  </a:cubicBezTo>
                  <a:close/>
                  <a:moveTo>
                    <a:pt x="2425" y="523"/>
                  </a:moveTo>
                  <a:cubicBezTo>
                    <a:pt x="2425" y="523"/>
                    <a:pt x="2424" y="523"/>
                    <a:pt x="2425" y="522"/>
                  </a:cubicBezTo>
                  <a:cubicBezTo>
                    <a:pt x="2429" y="522"/>
                    <a:pt x="2427" y="523"/>
                    <a:pt x="2425" y="523"/>
                  </a:cubicBezTo>
                  <a:close/>
                  <a:moveTo>
                    <a:pt x="2431" y="1306"/>
                  </a:moveTo>
                  <a:cubicBezTo>
                    <a:pt x="2425" y="1306"/>
                    <a:pt x="2434" y="1303"/>
                    <a:pt x="2431" y="1306"/>
                  </a:cubicBezTo>
                  <a:close/>
                  <a:moveTo>
                    <a:pt x="2431" y="2222"/>
                  </a:moveTo>
                  <a:cubicBezTo>
                    <a:pt x="2434" y="2216"/>
                    <a:pt x="2442" y="2225"/>
                    <a:pt x="2431" y="2222"/>
                  </a:cubicBezTo>
                  <a:close/>
                  <a:moveTo>
                    <a:pt x="2428" y="2013"/>
                  </a:moveTo>
                  <a:cubicBezTo>
                    <a:pt x="2428" y="2007"/>
                    <a:pt x="2434" y="2007"/>
                    <a:pt x="2437" y="2005"/>
                  </a:cubicBezTo>
                  <a:cubicBezTo>
                    <a:pt x="2437" y="2007"/>
                    <a:pt x="2434" y="2013"/>
                    <a:pt x="2428" y="2013"/>
                  </a:cubicBezTo>
                  <a:close/>
                  <a:moveTo>
                    <a:pt x="2440" y="1525"/>
                  </a:moveTo>
                  <a:cubicBezTo>
                    <a:pt x="2431" y="1531"/>
                    <a:pt x="2423" y="1519"/>
                    <a:pt x="2440" y="1525"/>
                  </a:cubicBezTo>
                  <a:close/>
                  <a:moveTo>
                    <a:pt x="2442" y="2318"/>
                  </a:moveTo>
                  <a:lnTo>
                    <a:pt x="2442" y="2315"/>
                  </a:lnTo>
                  <a:lnTo>
                    <a:pt x="2448" y="2315"/>
                  </a:lnTo>
                  <a:cubicBezTo>
                    <a:pt x="2445" y="2318"/>
                    <a:pt x="2445" y="2326"/>
                    <a:pt x="2437" y="2323"/>
                  </a:cubicBezTo>
                  <a:cubicBezTo>
                    <a:pt x="2437" y="2320"/>
                    <a:pt x="2440" y="2318"/>
                    <a:pt x="2442" y="2318"/>
                  </a:cubicBezTo>
                  <a:close/>
                  <a:moveTo>
                    <a:pt x="2442" y="2264"/>
                  </a:moveTo>
                  <a:cubicBezTo>
                    <a:pt x="2448" y="2264"/>
                    <a:pt x="2442" y="2273"/>
                    <a:pt x="2442" y="2275"/>
                  </a:cubicBezTo>
                  <a:cubicBezTo>
                    <a:pt x="2437" y="2275"/>
                    <a:pt x="2442" y="2267"/>
                    <a:pt x="2442" y="2264"/>
                  </a:cubicBezTo>
                  <a:close/>
                  <a:moveTo>
                    <a:pt x="2451" y="581"/>
                  </a:moveTo>
                  <a:cubicBezTo>
                    <a:pt x="2437" y="575"/>
                    <a:pt x="2465" y="561"/>
                    <a:pt x="2451" y="581"/>
                  </a:cubicBezTo>
                  <a:close/>
                  <a:moveTo>
                    <a:pt x="2454" y="508"/>
                  </a:moveTo>
                  <a:cubicBezTo>
                    <a:pt x="2440" y="502"/>
                    <a:pt x="2468" y="488"/>
                    <a:pt x="2454" y="508"/>
                  </a:cubicBezTo>
                  <a:close/>
                  <a:moveTo>
                    <a:pt x="2456" y="668"/>
                  </a:moveTo>
                  <a:cubicBezTo>
                    <a:pt x="2465" y="671"/>
                    <a:pt x="2454" y="683"/>
                    <a:pt x="2456" y="668"/>
                  </a:cubicBezTo>
                  <a:close/>
                  <a:moveTo>
                    <a:pt x="2456" y="1533"/>
                  </a:moveTo>
                  <a:cubicBezTo>
                    <a:pt x="2462" y="1531"/>
                    <a:pt x="2462" y="1545"/>
                    <a:pt x="2456" y="1542"/>
                  </a:cubicBezTo>
                  <a:lnTo>
                    <a:pt x="2456" y="1533"/>
                  </a:lnTo>
                  <a:close/>
                  <a:moveTo>
                    <a:pt x="2462" y="533"/>
                  </a:moveTo>
                  <a:cubicBezTo>
                    <a:pt x="2448" y="522"/>
                    <a:pt x="2479" y="508"/>
                    <a:pt x="2462" y="533"/>
                  </a:cubicBezTo>
                  <a:close/>
                  <a:moveTo>
                    <a:pt x="2465" y="1519"/>
                  </a:moveTo>
                  <a:cubicBezTo>
                    <a:pt x="2465" y="1517"/>
                    <a:pt x="2465" y="1511"/>
                    <a:pt x="2468" y="1508"/>
                  </a:cubicBezTo>
                  <a:cubicBezTo>
                    <a:pt x="2471" y="1508"/>
                    <a:pt x="2471" y="1522"/>
                    <a:pt x="2465" y="1519"/>
                  </a:cubicBezTo>
                  <a:close/>
                  <a:moveTo>
                    <a:pt x="2465" y="2143"/>
                  </a:moveTo>
                  <a:cubicBezTo>
                    <a:pt x="2465" y="2137"/>
                    <a:pt x="2473" y="2146"/>
                    <a:pt x="2465" y="2143"/>
                  </a:cubicBezTo>
                  <a:close/>
                  <a:moveTo>
                    <a:pt x="2471" y="474"/>
                  </a:moveTo>
                  <a:cubicBezTo>
                    <a:pt x="2456" y="488"/>
                    <a:pt x="2456" y="457"/>
                    <a:pt x="2445" y="454"/>
                  </a:cubicBezTo>
                  <a:cubicBezTo>
                    <a:pt x="2451" y="448"/>
                    <a:pt x="2456" y="446"/>
                    <a:pt x="2465" y="448"/>
                  </a:cubicBezTo>
                  <a:cubicBezTo>
                    <a:pt x="2471" y="454"/>
                    <a:pt x="2462" y="468"/>
                    <a:pt x="2471" y="474"/>
                  </a:cubicBezTo>
                  <a:close/>
                  <a:moveTo>
                    <a:pt x="2468" y="415"/>
                  </a:moveTo>
                  <a:cubicBezTo>
                    <a:pt x="2468" y="432"/>
                    <a:pt x="2448" y="415"/>
                    <a:pt x="2451" y="432"/>
                  </a:cubicBezTo>
                  <a:cubicBezTo>
                    <a:pt x="2428" y="429"/>
                    <a:pt x="2459" y="409"/>
                    <a:pt x="2468" y="415"/>
                  </a:cubicBezTo>
                  <a:close/>
                  <a:moveTo>
                    <a:pt x="2440" y="550"/>
                  </a:moveTo>
                  <a:cubicBezTo>
                    <a:pt x="2442" y="550"/>
                    <a:pt x="2448" y="553"/>
                    <a:pt x="2451" y="556"/>
                  </a:cubicBezTo>
                  <a:cubicBezTo>
                    <a:pt x="2451" y="558"/>
                    <a:pt x="2448" y="564"/>
                    <a:pt x="2445" y="567"/>
                  </a:cubicBezTo>
                  <a:cubicBezTo>
                    <a:pt x="2442" y="567"/>
                    <a:pt x="2437" y="564"/>
                    <a:pt x="2434" y="564"/>
                  </a:cubicBezTo>
                  <a:cubicBezTo>
                    <a:pt x="2437" y="558"/>
                    <a:pt x="2437" y="553"/>
                    <a:pt x="2440" y="550"/>
                  </a:cubicBezTo>
                  <a:close/>
                  <a:moveTo>
                    <a:pt x="2428" y="1320"/>
                  </a:moveTo>
                  <a:cubicBezTo>
                    <a:pt x="2428" y="1314"/>
                    <a:pt x="2440" y="1323"/>
                    <a:pt x="2428" y="1320"/>
                  </a:cubicBezTo>
                  <a:close/>
                  <a:moveTo>
                    <a:pt x="2428" y="488"/>
                  </a:moveTo>
                  <a:cubicBezTo>
                    <a:pt x="2414" y="482"/>
                    <a:pt x="2442" y="468"/>
                    <a:pt x="2428" y="488"/>
                  </a:cubicBezTo>
                  <a:close/>
                  <a:moveTo>
                    <a:pt x="2417" y="437"/>
                  </a:moveTo>
                  <a:cubicBezTo>
                    <a:pt x="2423" y="434"/>
                    <a:pt x="2414" y="437"/>
                    <a:pt x="2417" y="437"/>
                  </a:cubicBezTo>
                  <a:close/>
                  <a:moveTo>
                    <a:pt x="2408" y="409"/>
                  </a:moveTo>
                  <a:cubicBezTo>
                    <a:pt x="2414" y="403"/>
                    <a:pt x="2411" y="417"/>
                    <a:pt x="2408" y="409"/>
                  </a:cubicBezTo>
                  <a:close/>
                  <a:moveTo>
                    <a:pt x="2411" y="454"/>
                  </a:moveTo>
                  <a:cubicBezTo>
                    <a:pt x="2417" y="446"/>
                    <a:pt x="2420" y="448"/>
                    <a:pt x="2423" y="454"/>
                  </a:cubicBezTo>
                  <a:lnTo>
                    <a:pt x="2431" y="454"/>
                  </a:lnTo>
                  <a:cubicBezTo>
                    <a:pt x="2428" y="457"/>
                    <a:pt x="2428" y="457"/>
                    <a:pt x="2425" y="457"/>
                  </a:cubicBezTo>
                  <a:cubicBezTo>
                    <a:pt x="2428" y="460"/>
                    <a:pt x="2431" y="463"/>
                    <a:pt x="2437" y="463"/>
                  </a:cubicBezTo>
                  <a:cubicBezTo>
                    <a:pt x="2428" y="474"/>
                    <a:pt x="2423" y="468"/>
                    <a:pt x="2417" y="463"/>
                  </a:cubicBezTo>
                  <a:cubicBezTo>
                    <a:pt x="2414" y="463"/>
                    <a:pt x="2411" y="463"/>
                    <a:pt x="2408" y="460"/>
                  </a:cubicBezTo>
                  <a:cubicBezTo>
                    <a:pt x="2408" y="460"/>
                    <a:pt x="2408" y="457"/>
                    <a:pt x="2411" y="454"/>
                  </a:cubicBezTo>
                  <a:close/>
                  <a:moveTo>
                    <a:pt x="2414" y="533"/>
                  </a:moveTo>
                  <a:cubicBezTo>
                    <a:pt x="2411" y="533"/>
                    <a:pt x="2420" y="530"/>
                    <a:pt x="2414" y="533"/>
                  </a:cubicBezTo>
                  <a:close/>
                  <a:moveTo>
                    <a:pt x="2406" y="415"/>
                  </a:moveTo>
                  <a:cubicBezTo>
                    <a:pt x="2408" y="415"/>
                    <a:pt x="2403" y="417"/>
                    <a:pt x="2406" y="415"/>
                  </a:cubicBezTo>
                  <a:close/>
                  <a:moveTo>
                    <a:pt x="2392" y="1216"/>
                  </a:moveTo>
                  <a:cubicBezTo>
                    <a:pt x="2392" y="1210"/>
                    <a:pt x="2400" y="1207"/>
                    <a:pt x="2406" y="1207"/>
                  </a:cubicBezTo>
                  <a:cubicBezTo>
                    <a:pt x="2403" y="1213"/>
                    <a:pt x="2397" y="1216"/>
                    <a:pt x="2392" y="1216"/>
                  </a:cubicBezTo>
                  <a:close/>
                  <a:moveTo>
                    <a:pt x="2408" y="1444"/>
                  </a:moveTo>
                  <a:cubicBezTo>
                    <a:pt x="2408" y="1447"/>
                    <a:pt x="2403" y="1450"/>
                    <a:pt x="2403" y="1453"/>
                  </a:cubicBezTo>
                  <a:cubicBezTo>
                    <a:pt x="2400" y="1453"/>
                    <a:pt x="2406" y="1444"/>
                    <a:pt x="2408" y="1444"/>
                  </a:cubicBezTo>
                  <a:close/>
                  <a:moveTo>
                    <a:pt x="2392" y="1171"/>
                  </a:moveTo>
                  <a:cubicBezTo>
                    <a:pt x="2397" y="1165"/>
                    <a:pt x="2386" y="1179"/>
                    <a:pt x="2392" y="1171"/>
                  </a:cubicBezTo>
                  <a:close/>
                  <a:moveTo>
                    <a:pt x="2394" y="1173"/>
                  </a:moveTo>
                  <a:cubicBezTo>
                    <a:pt x="2408" y="1179"/>
                    <a:pt x="2383" y="1193"/>
                    <a:pt x="2394" y="1173"/>
                  </a:cubicBezTo>
                  <a:close/>
                  <a:moveTo>
                    <a:pt x="2397" y="1427"/>
                  </a:moveTo>
                  <a:lnTo>
                    <a:pt x="2397" y="1436"/>
                  </a:lnTo>
                  <a:cubicBezTo>
                    <a:pt x="2392" y="1436"/>
                    <a:pt x="2389" y="1433"/>
                    <a:pt x="2392" y="1430"/>
                  </a:cubicBezTo>
                  <a:cubicBezTo>
                    <a:pt x="2392" y="1427"/>
                    <a:pt x="2394" y="1427"/>
                    <a:pt x="2397" y="1427"/>
                  </a:cubicBezTo>
                  <a:close/>
                  <a:moveTo>
                    <a:pt x="2380" y="505"/>
                  </a:moveTo>
                  <a:cubicBezTo>
                    <a:pt x="2349" y="491"/>
                    <a:pt x="2392" y="471"/>
                    <a:pt x="2406" y="465"/>
                  </a:cubicBezTo>
                  <a:cubicBezTo>
                    <a:pt x="2411" y="477"/>
                    <a:pt x="2383" y="488"/>
                    <a:pt x="2380" y="505"/>
                  </a:cubicBezTo>
                  <a:close/>
                  <a:moveTo>
                    <a:pt x="2377" y="2123"/>
                  </a:moveTo>
                  <a:cubicBezTo>
                    <a:pt x="2375" y="2117"/>
                    <a:pt x="2386" y="2117"/>
                    <a:pt x="2392" y="2117"/>
                  </a:cubicBezTo>
                  <a:cubicBezTo>
                    <a:pt x="2392" y="2123"/>
                    <a:pt x="2383" y="2123"/>
                    <a:pt x="2377" y="2123"/>
                  </a:cubicBezTo>
                  <a:close/>
                  <a:moveTo>
                    <a:pt x="2383" y="2258"/>
                  </a:moveTo>
                  <a:cubicBezTo>
                    <a:pt x="2383" y="2253"/>
                    <a:pt x="2392" y="2261"/>
                    <a:pt x="2383" y="2258"/>
                  </a:cubicBezTo>
                  <a:close/>
                  <a:moveTo>
                    <a:pt x="2375" y="2374"/>
                  </a:moveTo>
                  <a:cubicBezTo>
                    <a:pt x="2375" y="2377"/>
                    <a:pt x="2369" y="2380"/>
                    <a:pt x="2366" y="2380"/>
                  </a:cubicBezTo>
                  <a:cubicBezTo>
                    <a:pt x="2369" y="2377"/>
                    <a:pt x="2372" y="2374"/>
                    <a:pt x="2375" y="2374"/>
                  </a:cubicBezTo>
                  <a:close/>
                  <a:moveTo>
                    <a:pt x="2372" y="790"/>
                  </a:moveTo>
                  <a:cubicBezTo>
                    <a:pt x="2375" y="787"/>
                    <a:pt x="2366" y="793"/>
                    <a:pt x="2372" y="790"/>
                  </a:cubicBezTo>
                  <a:close/>
                  <a:moveTo>
                    <a:pt x="2380" y="2383"/>
                  </a:moveTo>
                  <a:cubicBezTo>
                    <a:pt x="2377" y="2388"/>
                    <a:pt x="2375" y="2391"/>
                    <a:pt x="2369" y="2391"/>
                  </a:cubicBezTo>
                  <a:cubicBezTo>
                    <a:pt x="2369" y="2388"/>
                    <a:pt x="2375" y="2383"/>
                    <a:pt x="2380" y="2383"/>
                  </a:cubicBezTo>
                  <a:close/>
                  <a:moveTo>
                    <a:pt x="2380" y="1483"/>
                  </a:moveTo>
                  <a:cubicBezTo>
                    <a:pt x="2380" y="1486"/>
                    <a:pt x="2377" y="1491"/>
                    <a:pt x="2372" y="1491"/>
                  </a:cubicBezTo>
                  <a:cubicBezTo>
                    <a:pt x="2372" y="1486"/>
                    <a:pt x="2375" y="1483"/>
                    <a:pt x="2380" y="1483"/>
                  </a:cubicBezTo>
                  <a:close/>
                  <a:moveTo>
                    <a:pt x="2383" y="1210"/>
                  </a:moveTo>
                  <a:cubicBezTo>
                    <a:pt x="2380" y="1213"/>
                    <a:pt x="2377" y="1216"/>
                    <a:pt x="2375" y="1216"/>
                  </a:cubicBezTo>
                  <a:cubicBezTo>
                    <a:pt x="2372" y="1213"/>
                    <a:pt x="2380" y="1213"/>
                    <a:pt x="2383" y="1210"/>
                  </a:cubicBezTo>
                  <a:close/>
                  <a:moveTo>
                    <a:pt x="2375" y="1660"/>
                  </a:moveTo>
                  <a:cubicBezTo>
                    <a:pt x="2375" y="1655"/>
                    <a:pt x="2386" y="1663"/>
                    <a:pt x="2375" y="1660"/>
                  </a:cubicBezTo>
                  <a:close/>
                  <a:moveTo>
                    <a:pt x="2386" y="1227"/>
                  </a:moveTo>
                  <a:cubicBezTo>
                    <a:pt x="2383" y="1227"/>
                    <a:pt x="2389" y="1224"/>
                    <a:pt x="2386" y="1227"/>
                  </a:cubicBezTo>
                  <a:close/>
                  <a:moveTo>
                    <a:pt x="2366" y="426"/>
                  </a:moveTo>
                  <a:cubicBezTo>
                    <a:pt x="2366" y="420"/>
                    <a:pt x="2375" y="429"/>
                    <a:pt x="2366" y="426"/>
                  </a:cubicBezTo>
                  <a:close/>
                  <a:moveTo>
                    <a:pt x="2403" y="398"/>
                  </a:moveTo>
                  <a:cubicBezTo>
                    <a:pt x="2408" y="395"/>
                    <a:pt x="2400" y="401"/>
                    <a:pt x="2403" y="398"/>
                  </a:cubicBezTo>
                  <a:close/>
                  <a:moveTo>
                    <a:pt x="2397" y="341"/>
                  </a:moveTo>
                  <a:cubicBezTo>
                    <a:pt x="2400" y="341"/>
                    <a:pt x="2406" y="344"/>
                    <a:pt x="2408" y="344"/>
                  </a:cubicBezTo>
                  <a:cubicBezTo>
                    <a:pt x="2408" y="355"/>
                    <a:pt x="2403" y="358"/>
                    <a:pt x="2394" y="355"/>
                  </a:cubicBezTo>
                  <a:cubicBezTo>
                    <a:pt x="2394" y="353"/>
                    <a:pt x="2394" y="344"/>
                    <a:pt x="2397" y="341"/>
                  </a:cubicBezTo>
                  <a:close/>
                  <a:moveTo>
                    <a:pt x="2394" y="460"/>
                  </a:moveTo>
                  <a:cubicBezTo>
                    <a:pt x="2389" y="457"/>
                    <a:pt x="2383" y="454"/>
                    <a:pt x="2377" y="454"/>
                  </a:cubicBezTo>
                  <a:cubicBezTo>
                    <a:pt x="2377" y="434"/>
                    <a:pt x="2408" y="446"/>
                    <a:pt x="2394" y="460"/>
                  </a:cubicBezTo>
                  <a:close/>
                  <a:moveTo>
                    <a:pt x="2377" y="423"/>
                  </a:moveTo>
                  <a:cubicBezTo>
                    <a:pt x="2383" y="420"/>
                    <a:pt x="2375" y="423"/>
                    <a:pt x="2377" y="423"/>
                  </a:cubicBezTo>
                  <a:close/>
                  <a:moveTo>
                    <a:pt x="2377" y="353"/>
                  </a:moveTo>
                  <a:cubicBezTo>
                    <a:pt x="2375" y="353"/>
                    <a:pt x="2383" y="350"/>
                    <a:pt x="2377" y="353"/>
                  </a:cubicBezTo>
                  <a:close/>
                  <a:moveTo>
                    <a:pt x="2372" y="440"/>
                  </a:moveTo>
                  <a:cubicBezTo>
                    <a:pt x="2358" y="434"/>
                    <a:pt x="2386" y="420"/>
                    <a:pt x="2372" y="440"/>
                  </a:cubicBezTo>
                  <a:close/>
                  <a:moveTo>
                    <a:pt x="2375" y="358"/>
                  </a:moveTo>
                  <a:cubicBezTo>
                    <a:pt x="2372" y="367"/>
                    <a:pt x="2363" y="369"/>
                    <a:pt x="2355" y="367"/>
                  </a:cubicBezTo>
                  <a:cubicBezTo>
                    <a:pt x="2352" y="367"/>
                    <a:pt x="2349" y="364"/>
                    <a:pt x="2346" y="361"/>
                  </a:cubicBezTo>
                  <a:cubicBezTo>
                    <a:pt x="2358" y="358"/>
                    <a:pt x="2366" y="355"/>
                    <a:pt x="2375" y="358"/>
                  </a:cubicBezTo>
                  <a:close/>
                  <a:moveTo>
                    <a:pt x="2324" y="454"/>
                  </a:moveTo>
                  <a:cubicBezTo>
                    <a:pt x="2327" y="451"/>
                    <a:pt x="2318" y="457"/>
                    <a:pt x="2324" y="454"/>
                  </a:cubicBezTo>
                  <a:close/>
                  <a:moveTo>
                    <a:pt x="2315" y="2225"/>
                  </a:moveTo>
                  <a:cubicBezTo>
                    <a:pt x="2324" y="2219"/>
                    <a:pt x="2324" y="2233"/>
                    <a:pt x="2315" y="2225"/>
                  </a:cubicBezTo>
                  <a:close/>
                  <a:moveTo>
                    <a:pt x="2327" y="2419"/>
                  </a:moveTo>
                  <a:cubicBezTo>
                    <a:pt x="2327" y="2422"/>
                    <a:pt x="2321" y="2425"/>
                    <a:pt x="2318" y="2425"/>
                  </a:cubicBezTo>
                  <a:cubicBezTo>
                    <a:pt x="2321" y="2422"/>
                    <a:pt x="2324" y="2419"/>
                    <a:pt x="2327" y="2419"/>
                  </a:cubicBezTo>
                  <a:close/>
                  <a:moveTo>
                    <a:pt x="2310" y="1348"/>
                  </a:moveTo>
                  <a:cubicBezTo>
                    <a:pt x="2307" y="1340"/>
                    <a:pt x="2321" y="1345"/>
                    <a:pt x="2318" y="1337"/>
                  </a:cubicBezTo>
                  <a:cubicBezTo>
                    <a:pt x="2324" y="1340"/>
                    <a:pt x="2315" y="1351"/>
                    <a:pt x="2310" y="1348"/>
                  </a:cubicBezTo>
                  <a:close/>
                  <a:moveTo>
                    <a:pt x="2315" y="511"/>
                  </a:moveTo>
                  <a:cubicBezTo>
                    <a:pt x="2307" y="508"/>
                    <a:pt x="2307" y="496"/>
                    <a:pt x="2310" y="485"/>
                  </a:cubicBezTo>
                  <a:cubicBezTo>
                    <a:pt x="2318" y="488"/>
                    <a:pt x="2318" y="499"/>
                    <a:pt x="2315" y="511"/>
                  </a:cubicBezTo>
                  <a:close/>
                  <a:moveTo>
                    <a:pt x="2307" y="2532"/>
                  </a:moveTo>
                  <a:cubicBezTo>
                    <a:pt x="2321" y="2529"/>
                    <a:pt x="2304" y="2555"/>
                    <a:pt x="2307" y="2532"/>
                  </a:cubicBezTo>
                  <a:close/>
                  <a:moveTo>
                    <a:pt x="2310" y="2507"/>
                  </a:moveTo>
                  <a:cubicBezTo>
                    <a:pt x="2329" y="2507"/>
                    <a:pt x="2304" y="2535"/>
                    <a:pt x="2310" y="2507"/>
                  </a:cubicBezTo>
                  <a:close/>
                  <a:moveTo>
                    <a:pt x="2313" y="2493"/>
                  </a:moveTo>
                  <a:cubicBezTo>
                    <a:pt x="2313" y="2487"/>
                    <a:pt x="2321" y="2487"/>
                    <a:pt x="2324" y="2487"/>
                  </a:cubicBezTo>
                  <a:cubicBezTo>
                    <a:pt x="2327" y="2495"/>
                    <a:pt x="2315" y="2495"/>
                    <a:pt x="2313" y="2493"/>
                  </a:cubicBezTo>
                  <a:close/>
                  <a:moveTo>
                    <a:pt x="2346" y="2526"/>
                  </a:moveTo>
                  <a:cubicBezTo>
                    <a:pt x="2349" y="2541"/>
                    <a:pt x="2335" y="2541"/>
                    <a:pt x="2324" y="2541"/>
                  </a:cubicBezTo>
                  <a:cubicBezTo>
                    <a:pt x="2327" y="2532"/>
                    <a:pt x="2335" y="2526"/>
                    <a:pt x="2346" y="2526"/>
                  </a:cubicBezTo>
                  <a:close/>
                  <a:moveTo>
                    <a:pt x="2324" y="2024"/>
                  </a:moveTo>
                  <a:cubicBezTo>
                    <a:pt x="2327" y="2019"/>
                    <a:pt x="2335" y="2027"/>
                    <a:pt x="2324" y="2024"/>
                  </a:cubicBezTo>
                  <a:close/>
                  <a:moveTo>
                    <a:pt x="2363" y="700"/>
                  </a:moveTo>
                  <a:cubicBezTo>
                    <a:pt x="2366" y="716"/>
                    <a:pt x="2335" y="708"/>
                    <a:pt x="2346" y="697"/>
                  </a:cubicBezTo>
                  <a:cubicBezTo>
                    <a:pt x="2352" y="697"/>
                    <a:pt x="2358" y="700"/>
                    <a:pt x="2363" y="700"/>
                  </a:cubicBezTo>
                  <a:close/>
                  <a:moveTo>
                    <a:pt x="2355" y="401"/>
                  </a:moveTo>
                  <a:cubicBezTo>
                    <a:pt x="2352" y="401"/>
                    <a:pt x="2361" y="398"/>
                    <a:pt x="2355" y="401"/>
                  </a:cubicBezTo>
                  <a:close/>
                  <a:moveTo>
                    <a:pt x="2341" y="384"/>
                  </a:moveTo>
                  <a:cubicBezTo>
                    <a:pt x="2327" y="369"/>
                    <a:pt x="2366" y="372"/>
                    <a:pt x="2341" y="384"/>
                  </a:cubicBezTo>
                  <a:close/>
                  <a:moveTo>
                    <a:pt x="2335" y="338"/>
                  </a:moveTo>
                  <a:lnTo>
                    <a:pt x="2334" y="338"/>
                  </a:lnTo>
                  <a:cubicBezTo>
                    <a:pt x="2331" y="343"/>
                    <a:pt x="2326" y="347"/>
                    <a:pt x="2318" y="350"/>
                  </a:cubicBezTo>
                  <a:cubicBezTo>
                    <a:pt x="2313" y="347"/>
                    <a:pt x="2315" y="333"/>
                    <a:pt x="2318" y="324"/>
                  </a:cubicBezTo>
                  <a:cubicBezTo>
                    <a:pt x="2324" y="324"/>
                    <a:pt x="2328" y="327"/>
                    <a:pt x="2332" y="330"/>
                  </a:cubicBezTo>
                  <a:cubicBezTo>
                    <a:pt x="2334" y="325"/>
                    <a:pt x="2345" y="323"/>
                    <a:pt x="2335" y="338"/>
                  </a:cubicBezTo>
                  <a:close/>
                  <a:moveTo>
                    <a:pt x="2341" y="426"/>
                  </a:moveTo>
                  <a:cubicBezTo>
                    <a:pt x="2352" y="432"/>
                    <a:pt x="2338" y="451"/>
                    <a:pt x="2332" y="451"/>
                  </a:cubicBezTo>
                  <a:cubicBezTo>
                    <a:pt x="2324" y="448"/>
                    <a:pt x="2338" y="429"/>
                    <a:pt x="2341" y="426"/>
                  </a:cubicBezTo>
                  <a:close/>
                  <a:moveTo>
                    <a:pt x="2338" y="776"/>
                  </a:moveTo>
                  <a:cubicBezTo>
                    <a:pt x="2335" y="770"/>
                    <a:pt x="2329" y="767"/>
                    <a:pt x="2335" y="759"/>
                  </a:cubicBezTo>
                  <a:cubicBezTo>
                    <a:pt x="2349" y="759"/>
                    <a:pt x="2338" y="804"/>
                    <a:pt x="2338" y="776"/>
                  </a:cubicBezTo>
                  <a:close/>
                  <a:moveTo>
                    <a:pt x="2338" y="2481"/>
                  </a:moveTo>
                  <a:cubicBezTo>
                    <a:pt x="2338" y="2484"/>
                    <a:pt x="2332" y="2487"/>
                    <a:pt x="2332" y="2490"/>
                  </a:cubicBezTo>
                  <a:cubicBezTo>
                    <a:pt x="2327" y="2487"/>
                    <a:pt x="2335" y="2481"/>
                    <a:pt x="2338" y="2481"/>
                  </a:cubicBezTo>
                  <a:close/>
                  <a:moveTo>
                    <a:pt x="2338" y="2512"/>
                  </a:moveTo>
                  <a:cubicBezTo>
                    <a:pt x="2341" y="2504"/>
                    <a:pt x="2346" y="2518"/>
                    <a:pt x="2338" y="2512"/>
                  </a:cubicBezTo>
                  <a:close/>
                  <a:moveTo>
                    <a:pt x="2338" y="1502"/>
                  </a:moveTo>
                  <a:cubicBezTo>
                    <a:pt x="2338" y="1500"/>
                    <a:pt x="2344" y="1497"/>
                    <a:pt x="2346" y="1497"/>
                  </a:cubicBezTo>
                  <a:cubicBezTo>
                    <a:pt x="2346" y="1500"/>
                    <a:pt x="2341" y="1502"/>
                    <a:pt x="2338" y="1502"/>
                  </a:cubicBezTo>
                  <a:close/>
                  <a:moveTo>
                    <a:pt x="2338" y="1433"/>
                  </a:moveTo>
                  <a:cubicBezTo>
                    <a:pt x="2338" y="1430"/>
                    <a:pt x="2344" y="1424"/>
                    <a:pt x="2349" y="1427"/>
                  </a:cubicBezTo>
                  <a:cubicBezTo>
                    <a:pt x="2344" y="1433"/>
                    <a:pt x="2341" y="1433"/>
                    <a:pt x="2338" y="1433"/>
                  </a:cubicBezTo>
                  <a:close/>
                  <a:moveTo>
                    <a:pt x="2352" y="1770"/>
                  </a:moveTo>
                  <a:cubicBezTo>
                    <a:pt x="2352" y="1773"/>
                    <a:pt x="2346" y="1776"/>
                    <a:pt x="2344" y="1776"/>
                  </a:cubicBezTo>
                  <a:cubicBezTo>
                    <a:pt x="2344" y="1770"/>
                    <a:pt x="2349" y="1770"/>
                    <a:pt x="2352" y="1770"/>
                  </a:cubicBezTo>
                  <a:close/>
                  <a:moveTo>
                    <a:pt x="2349" y="2383"/>
                  </a:moveTo>
                  <a:lnTo>
                    <a:pt x="2355" y="2383"/>
                  </a:lnTo>
                  <a:lnTo>
                    <a:pt x="2355" y="2388"/>
                  </a:lnTo>
                  <a:lnTo>
                    <a:pt x="2349" y="2388"/>
                  </a:lnTo>
                  <a:lnTo>
                    <a:pt x="2349" y="2383"/>
                  </a:lnTo>
                  <a:close/>
                  <a:moveTo>
                    <a:pt x="2355" y="1219"/>
                  </a:moveTo>
                  <a:cubicBezTo>
                    <a:pt x="2341" y="1204"/>
                    <a:pt x="2366" y="1190"/>
                    <a:pt x="2355" y="1219"/>
                  </a:cubicBezTo>
                  <a:close/>
                  <a:moveTo>
                    <a:pt x="2346" y="1188"/>
                  </a:moveTo>
                  <a:cubicBezTo>
                    <a:pt x="2349" y="1185"/>
                    <a:pt x="2349" y="1179"/>
                    <a:pt x="2355" y="1179"/>
                  </a:cubicBezTo>
                  <a:cubicBezTo>
                    <a:pt x="2355" y="1185"/>
                    <a:pt x="2352" y="1188"/>
                    <a:pt x="2346" y="1188"/>
                  </a:cubicBezTo>
                  <a:close/>
                  <a:moveTo>
                    <a:pt x="2361" y="1173"/>
                  </a:moveTo>
                  <a:cubicBezTo>
                    <a:pt x="2372" y="1185"/>
                    <a:pt x="2346" y="1199"/>
                    <a:pt x="2361" y="1173"/>
                  </a:cubicBezTo>
                  <a:close/>
                  <a:moveTo>
                    <a:pt x="2358" y="2470"/>
                  </a:moveTo>
                  <a:cubicBezTo>
                    <a:pt x="2358" y="2464"/>
                    <a:pt x="2366" y="2473"/>
                    <a:pt x="2358" y="2470"/>
                  </a:cubicBezTo>
                  <a:close/>
                  <a:moveTo>
                    <a:pt x="2361" y="1137"/>
                  </a:moveTo>
                  <a:cubicBezTo>
                    <a:pt x="2358" y="1137"/>
                    <a:pt x="2352" y="1134"/>
                    <a:pt x="2352" y="1131"/>
                  </a:cubicBezTo>
                  <a:cubicBezTo>
                    <a:pt x="2355" y="1131"/>
                    <a:pt x="2358" y="1131"/>
                    <a:pt x="2361" y="1134"/>
                  </a:cubicBezTo>
                  <a:cubicBezTo>
                    <a:pt x="2361" y="1134"/>
                    <a:pt x="2363" y="1140"/>
                    <a:pt x="2361" y="1137"/>
                  </a:cubicBezTo>
                  <a:close/>
                  <a:moveTo>
                    <a:pt x="2352" y="1131"/>
                  </a:moveTo>
                  <a:cubicBezTo>
                    <a:pt x="2349" y="1131"/>
                    <a:pt x="2352" y="1128"/>
                    <a:pt x="2352" y="1131"/>
                  </a:cubicBezTo>
                  <a:close/>
                  <a:moveTo>
                    <a:pt x="2363" y="807"/>
                  </a:moveTo>
                  <a:cubicBezTo>
                    <a:pt x="2377" y="812"/>
                    <a:pt x="2352" y="826"/>
                    <a:pt x="2363" y="807"/>
                  </a:cubicBezTo>
                  <a:close/>
                  <a:moveTo>
                    <a:pt x="2361" y="525"/>
                  </a:moveTo>
                  <a:cubicBezTo>
                    <a:pt x="2361" y="519"/>
                    <a:pt x="2369" y="527"/>
                    <a:pt x="2361" y="525"/>
                  </a:cubicBezTo>
                  <a:close/>
                  <a:moveTo>
                    <a:pt x="2358" y="338"/>
                  </a:moveTo>
                  <a:cubicBezTo>
                    <a:pt x="2344" y="319"/>
                    <a:pt x="2377" y="338"/>
                    <a:pt x="2358" y="338"/>
                  </a:cubicBezTo>
                  <a:close/>
                  <a:moveTo>
                    <a:pt x="2344" y="296"/>
                  </a:moveTo>
                  <a:cubicBezTo>
                    <a:pt x="2352" y="296"/>
                    <a:pt x="2352" y="302"/>
                    <a:pt x="2358" y="305"/>
                  </a:cubicBezTo>
                  <a:cubicBezTo>
                    <a:pt x="2358" y="307"/>
                    <a:pt x="2355" y="310"/>
                    <a:pt x="2349" y="310"/>
                  </a:cubicBezTo>
                  <a:cubicBezTo>
                    <a:pt x="2349" y="310"/>
                    <a:pt x="2346" y="310"/>
                    <a:pt x="2346" y="307"/>
                  </a:cubicBezTo>
                  <a:cubicBezTo>
                    <a:pt x="2346" y="310"/>
                    <a:pt x="2346" y="316"/>
                    <a:pt x="2344" y="319"/>
                  </a:cubicBezTo>
                  <a:cubicBezTo>
                    <a:pt x="2332" y="313"/>
                    <a:pt x="2335" y="299"/>
                    <a:pt x="2329" y="293"/>
                  </a:cubicBezTo>
                  <a:cubicBezTo>
                    <a:pt x="2332" y="290"/>
                    <a:pt x="2338" y="290"/>
                    <a:pt x="2344" y="296"/>
                  </a:cubicBezTo>
                  <a:close/>
                  <a:moveTo>
                    <a:pt x="2313" y="324"/>
                  </a:moveTo>
                  <a:cubicBezTo>
                    <a:pt x="2307" y="327"/>
                    <a:pt x="2313" y="322"/>
                    <a:pt x="2313" y="324"/>
                  </a:cubicBezTo>
                  <a:close/>
                  <a:moveTo>
                    <a:pt x="2307" y="330"/>
                  </a:moveTo>
                  <a:cubicBezTo>
                    <a:pt x="2307" y="329"/>
                    <a:pt x="2306" y="328"/>
                    <a:pt x="2306" y="327"/>
                  </a:cubicBezTo>
                  <a:cubicBezTo>
                    <a:pt x="2306" y="328"/>
                    <a:pt x="2306" y="329"/>
                    <a:pt x="2307" y="330"/>
                  </a:cubicBezTo>
                  <a:close/>
                  <a:moveTo>
                    <a:pt x="2304" y="324"/>
                  </a:moveTo>
                  <a:cubicBezTo>
                    <a:pt x="2304" y="322"/>
                    <a:pt x="2307" y="322"/>
                    <a:pt x="2307" y="319"/>
                  </a:cubicBezTo>
                  <a:cubicBezTo>
                    <a:pt x="2307" y="316"/>
                    <a:pt x="2304" y="316"/>
                    <a:pt x="2304" y="313"/>
                  </a:cubicBezTo>
                  <a:cubicBezTo>
                    <a:pt x="2304" y="310"/>
                    <a:pt x="2304" y="310"/>
                    <a:pt x="2307" y="307"/>
                  </a:cubicBezTo>
                  <a:cubicBezTo>
                    <a:pt x="2307" y="307"/>
                    <a:pt x="2310" y="310"/>
                    <a:pt x="2310" y="313"/>
                  </a:cubicBezTo>
                  <a:lnTo>
                    <a:pt x="2310" y="319"/>
                  </a:lnTo>
                  <a:cubicBezTo>
                    <a:pt x="2308" y="322"/>
                    <a:pt x="2306" y="325"/>
                    <a:pt x="2306" y="327"/>
                  </a:cubicBezTo>
                  <a:cubicBezTo>
                    <a:pt x="2305" y="325"/>
                    <a:pt x="2304" y="324"/>
                    <a:pt x="2304" y="324"/>
                  </a:cubicBezTo>
                  <a:close/>
                  <a:moveTo>
                    <a:pt x="2307" y="2174"/>
                  </a:moveTo>
                  <a:cubicBezTo>
                    <a:pt x="2301" y="2177"/>
                    <a:pt x="2301" y="2185"/>
                    <a:pt x="2293" y="2185"/>
                  </a:cubicBezTo>
                  <a:cubicBezTo>
                    <a:pt x="2293" y="2177"/>
                    <a:pt x="2301" y="2174"/>
                    <a:pt x="2307" y="2174"/>
                  </a:cubicBezTo>
                  <a:close/>
                  <a:moveTo>
                    <a:pt x="2296" y="525"/>
                  </a:moveTo>
                  <a:cubicBezTo>
                    <a:pt x="2298" y="519"/>
                    <a:pt x="2307" y="530"/>
                    <a:pt x="2296" y="525"/>
                  </a:cubicBezTo>
                  <a:close/>
                  <a:moveTo>
                    <a:pt x="2293" y="451"/>
                  </a:moveTo>
                  <a:cubicBezTo>
                    <a:pt x="2293" y="448"/>
                    <a:pt x="2298" y="446"/>
                    <a:pt x="2301" y="446"/>
                  </a:cubicBezTo>
                  <a:cubicBezTo>
                    <a:pt x="2298" y="448"/>
                    <a:pt x="2296" y="451"/>
                    <a:pt x="2293" y="451"/>
                  </a:cubicBezTo>
                  <a:close/>
                  <a:moveTo>
                    <a:pt x="2296" y="481"/>
                  </a:moveTo>
                  <a:cubicBezTo>
                    <a:pt x="2295" y="482"/>
                    <a:pt x="2292" y="483"/>
                    <a:pt x="2296" y="479"/>
                  </a:cubicBezTo>
                  <a:cubicBezTo>
                    <a:pt x="2297" y="479"/>
                    <a:pt x="2297" y="480"/>
                    <a:pt x="2296" y="481"/>
                  </a:cubicBezTo>
                  <a:close/>
                  <a:moveTo>
                    <a:pt x="2290" y="305"/>
                  </a:moveTo>
                  <a:cubicBezTo>
                    <a:pt x="2284" y="282"/>
                    <a:pt x="2304" y="322"/>
                    <a:pt x="2290" y="305"/>
                  </a:cubicBezTo>
                  <a:close/>
                  <a:moveTo>
                    <a:pt x="2290" y="485"/>
                  </a:moveTo>
                  <a:lnTo>
                    <a:pt x="2296" y="485"/>
                  </a:lnTo>
                  <a:lnTo>
                    <a:pt x="2296" y="491"/>
                  </a:lnTo>
                  <a:lnTo>
                    <a:pt x="2290" y="491"/>
                  </a:lnTo>
                  <a:lnTo>
                    <a:pt x="2290" y="485"/>
                  </a:lnTo>
                  <a:close/>
                  <a:moveTo>
                    <a:pt x="2284" y="398"/>
                  </a:moveTo>
                  <a:cubicBezTo>
                    <a:pt x="2284" y="392"/>
                    <a:pt x="2296" y="401"/>
                    <a:pt x="2284" y="398"/>
                  </a:cubicBezTo>
                  <a:close/>
                  <a:moveTo>
                    <a:pt x="2284" y="288"/>
                  </a:moveTo>
                  <a:lnTo>
                    <a:pt x="2285" y="288"/>
                  </a:lnTo>
                  <a:cubicBezTo>
                    <a:pt x="2284" y="288"/>
                    <a:pt x="2283" y="289"/>
                    <a:pt x="2284" y="288"/>
                  </a:cubicBezTo>
                  <a:cubicBezTo>
                    <a:pt x="2287" y="286"/>
                    <a:pt x="2286" y="287"/>
                    <a:pt x="2285" y="288"/>
                  </a:cubicBezTo>
                  <a:lnTo>
                    <a:pt x="2284" y="288"/>
                  </a:lnTo>
                  <a:close/>
                  <a:moveTo>
                    <a:pt x="2293" y="1453"/>
                  </a:moveTo>
                  <a:cubicBezTo>
                    <a:pt x="2284" y="1457"/>
                    <a:pt x="2284" y="1444"/>
                    <a:pt x="2293" y="1453"/>
                  </a:cubicBezTo>
                  <a:close/>
                  <a:moveTo>
                    <a:pt x="2265" y="333"/>
                  </a:moveTo>
                  <a:cubicBezTo>
                    <a:pt x="2267" y="338"/>
                    <a:pt x="2267" y="341"/>
                    <a:pt x="2259" y="344"/>
                  </a:cubicBezTo>
                  <a:cubicBezTo>
                    <a:pt x="2265" y="336"/>
                    <a:pt x="2250" y="338"/>
                    <a:pt x="2250" y="330"/>
                  </a:cubicBezTo>
                  <a:cubicBezTo>
                    <a:pt x="2259" y="330"/>
                    <a:pt x="2273" y="330"/>
                    <a:pt x="2284" y="341"/>
                  </a:cubicBezTo>
                  <a:cubicBezTo>
                    <a:pt x="2279" y="344"/>
                    <a:pt x="2270" y="344"/>
                    <a:pt x="2267" y="338"/>
                  </a:cubicBezTo>
                  <a:lnTo>
                    <a:pt x="2265" y="333"/>
                  </a:lnTo>
                  <a:close/>
                  <a:moveTo>
                    <a:pt x="2282" y="448"/>
                  </a:moveTo>
                  <a:cubicBezTo>
                    <a:pt x="2276" y="451"/>
                    <a:pt x="2284" y="446"/>
                    <a:pt x="2282" y="448"/>
                  </a:cubicBezTo>
                  <a:close/>
                  <a:moveTo>
                    <a:pt x="2262" y="2337"/>
                  </a:moveTo>
                  <a:cubicBezTo>
                    <a:pt x="2265" y="2332"/>
                    <a:pt x="2273" y="2340"/>
                    <a:pt x="2262" y="2337"/>
                  </a:cubicBezTo>
                  <a:close/>
                  <a:moveTo>
                    <a:pt x="2267" y="798"/>
                  </a:moveTo>
                  <a:cubicBezTo>
                    <a:pt x="2267" y="800"/>
                    <a:pt x="2267" y="803"/>
                    <a:pt x="2269" y="805"/>
                  </a:cubicBezTo>
                  <a:cubicBezTo>
                    <a:pt x="2268" y="804"/>
                    <a:pt x="2267" y="802"/>
                    <a:pt x="2267" y="801"/>
                  </a:cubicBezTo>
                  <a:cubicBezTo>
                    <a:pt x="2265" y="801"/>
                    <a:pt x="2267" y="798"/>
                    <a:pt x="2267" y="798"/>
                  </a:cubicBezTo>
                  <a:close/>
                  <a:moveTo>
                    <a:pt x="2270" y="807"/>
                  </a:moveTo>
                  <a:cubicBezTo>
                    <a:pt x="2270" y="807"/>
                    <a:pt x="2269" y="806"/>
                    <a:pt x="2269" y="805"/>
                  </a:cubicBezTo>
                  <a:cubicBezTo>
                    <a:pt x="2269" y="805"/>
                    <a:pt x="2270" y="806"/>
                    <a:pt x="2270" y="807"/>
                  </a:cubicBezTo>
                  <a:close/>
                  <a:moveTo>
                    <a:pt x="2267" y="1728"/>
                  </a:moveTo>
                  <a:cubicBezTo>
                    <a:pt x="2273" y="1722"/>
                    <a:pt x="2265" y="1734"/>
                    <a:pt x="2267" y="1728"/>
                  </a:cubicBezTo>
                  <a:close/>
                  <a:moveTo>
                    <a:pt x="2270" y="2157"/>
                  </a:moveTo>
                  <a:cubicBezTo>
                    <a:pt x="2267" y="2151"/>
                    <a:pt x="2287" y="2154"/>
                    <a:pt x="2270" y="2157"/>
                  </a:cubicBezTo>
                  <a:close/>
                  <a:moveTo>
                    <a:pt x="2270" y="440"/>
                  </a:moveTo>
                  <a:cubicBezTo>
                    <a:pt x="2273" y="434"/>
                    <a:pt x="2282" y="443"/>
                    <a:pt x="2270" y="440"/>
                  </a:cubicBezTo>
                  <a:close/>
                  <a:moveTo>
                    <a:pt x="2276" y="2515"/>
                  </a:moveTo>
                  <a:lnTo>
                    <a:pt x="2277" y="2514"/>
                  </a:lnTo>
                  <a:cubicBezTo>
                    <a:pt x="2277" y="2514"/>
                    <a:pt x="2277" y="2515"/>
                    <a:pt x="2276" y="2515"/>
                  </a:cubicBezTo>
                  <a:cubicBezTo>
                    <a:pt x="2276" y="2514"/>
                    <a:pt x="2277" y="2514"/>
                    <a:pt x="2277" y="2514"/>
                  </a:cubicBezTo>
                  <a:lnTo>
                    <a:pt x="2276" y="2515"/>
                  </a:lnTo>
                  <a:close/>
                  <a:moveTo>
                    <a:pt x="2256" y="2388"/>
                  </a:moveTo>
                  <a:cubicBezTo>
                    <a:pt x="2259" y="2383"/>
                    <a:pt x="2267" y="2391"/>
                    <a:pt x="2256" y="2388"/>
                  </a:cubicBezTo>
                  <a:close/>
                  <a:moveTo>
                    <a:pt x="2256" y="2337"/>
                  </a:moveTo>
                  <a:cubicBezTo>
                    <a:pt x="2258" y="2334"/>
                    <a:pt x="2262" y="2336"/>
                    <a:pt x="2262" y="2337"/>
                  </a:cubicBezTo>
                  <a:cubicBezTo>
                    <a:pt x="2261" y="2338"/>
                    <a:pt x="2260" y="2338"/>
                    <a:pt x="2256" y="2337"/>
                  </a:cubicBezTo>
                  <a:close/>
                  <a:moveTo>
                    <a:pt x="2267" y="254"/>
                  </a:moveTo>
                  <a:cubicBezTo>
                    <a:pt x="2287" y="243"/>
                    <a:pt x="2282" y="282"/>
                    <a:pt x="2267" y="288"/>
                  </a:cubicBezTo>
                  <a:cubicBezTo>
                    <a:pt x="2256" y="285"/>
                    <a:pt x="2282" y="259"/>
                    <a:pt x="2267" y="254"/>
                  </a:cubicBezTo>
                  <a:close/>
                  <a:moveTo>
                    <a:pt x="2265" y="316"/>
                  </a:moveTo>
                  <a:cubicBezTo>
                    <a:pt x="2265" y="333"/>
                    <a:pt x="2250" y="310"/>
                    <a:pt x="2265" y="316"/>
                  </a:cubicBezTo>
                  <a:close/>
                  <a:moveTo>
                    <a:pt x="2253" y="265"/>
                  </a:moveTo>
                  <a:cubicBezTo>
                    <a:pt x="2259" y="262"/>
                    <a:pt x="2248" y="274"/>
                    <a:pt x="2253" y="265"/>
                  </a:cubicBezTo>
                  <a:close/>
                  <a:moveTo>
                    <a:pt x="2248" y="254"/>
                  </a:moveTo>
                  <a:cubicBezTo>
                    <a:pt x="2248" y="248"/>
                    <a:pt x="2256" y="254"/>
                    <a:pt x="2248" y="254"/>
                  </a:cubicBezTo>
                  <a:close/>
                  <a:moveTo>
                    <a:pt x="2253" y="324"/>
                  </a:moveTo>
                  <a:cubicBezTo>
                    <a:pt x="2253" y="327"/>
                    <a:pt x="2245" y="330"/>
                    <a:pt x="2242" y="330"/>
                  </a:cubicBezTo>
                  <a:cubicBezTo>
                    <a:pt x="2242" y="322"/>
                    <a:pt x="2239" y="319"/>
                    <a:pt x="2239" y="313"/>
                  </a:cubicBezTo>
                  <a:cubicBezTo>
                    <a:pt x="2250" y="313"/>
                    <a:pt x="2245" y="324"/>
                    <a:pt x="2253" y="324"/>
                  </a:cubicBezTo>
                  <a:close/>
                  <a:moveTo>
                    <a:pt x="2245" y="2552"/>
                  </a:moveTo>
                  <a:cubicBezTo>
                    <a:pt x="2248" y="2552"/>
                    <a:pt x="2250" y="2549"/>
                    <a:pt x="2250" y="2546"/>
                  </a:cubicBezTo>
                  <a:cubicBezTo>
                    <a:pt x="2250" y="2546"/>
                    <a:pt x="2253" y="2546"/>
                    <a:pt x="2253" y="2544"/>
                  </a:cubicBezTo>
                  <a:cubicBezTo>
                    <a:pt x="2251" y="2543"/>
                    <a:pt x="2248" y="2543"/>
                    <a:pt x="2245" y="2546"/>
                  </a:cubicBezTo>
                  <a:cubicBezTo>
                    <a:pt x="2239" y="2532"/>
                    <a:pt x="2242" y="2518"/>
                    <a:pt x="2253" y="2509"/>
                  </a:cubicBezTo>
                  <a:cubicBezTo>
                    <a:pt x="2265" y="2518"/>
                    <a:pt x="2267" y="2535"/>
                    <a:pt x="2262" y="2549"/>
                  </a:cubicBezTo>
                  <a:cubicBezTo>
                    <a:pt x="2261" y="2549"/>
                    <a:pt x="2260" y="2549"/>
                    <a:pt x="2259" y="2548"/>
                  </a:cubicBezTo>
                  <a:cubicBezTo>
                    <a:pt x="2258" y="2550"/>
                    <a:pt x="2255" y="2552"/>
                    <a:pt x="2253" y="2552"/>
                  </a:cubicBezTo>
                  <a:cubicBezTo>
                    <a:pt x="2270" y="2560"/>
                    <a:pt x="2245" y="2577"/>
                    <a:pt x="2250" y="2591"/>
                  </a:cubicBezTo>
                  <a:cubicBezTo>
                    <a:pt x="2228" y="2580"/>
                    <a:pt x="2245" y="2574"/>
                    <a:pt x="2245" y="2552"/>
                  </a:cubicBezTo>
                  <a:lnTo>
                    <a:pt x="2248" y="2555"/>
                  </a:lnTo>
                  <a:lnTo>
                    <a:pt x="2250" y="2555"/>
                  </a:lnTo>
                  <a:cubicBezTo>
                    <a:pt x="2250" y="2555"/>
                    <a:pt x="2248" y="2552"/>
                    <a:pt x="2245" y="2552"/>
                  </a:cubicBezTo>
                  <a:close/>
                  <a:moveTo>
                    <a:pt x="2242" y="240"/>
                  </a:moveTo>
                  <a:cubicBezTo>
                    <a:pt x="2256" y="259"/>
                    <a:pt x="2222" y="251"/>
                    <a:pt x="2242" y="240"/>
                  </a:cubicBezTo>
                  <a:close/>
                  <a:moveTo>
                    <a:pt x="2231" y="2543"/>
                  </a:moveTo>
                  <a:cubicBezTo>
                    <a:pt x="2236" y="2538"/>
                    <a:pt x="2228" y="2552"/>
                    <a:pt x="2231" y="2543"/>
                  </a:cubicBezTo>
                  <a:close/>
                  <a:moveTo>
                    <a:pt x="2205" y="479"/>
                  </a:moveTo>
                  <a:cubicBezTo>
                    <a:pt x="2191" y="465"/>
                    <a:pt x="2222" y="474"/>
                    <a:pt x="2217" y="454"/>
                  </a:cubicBezTo>
                  <a:cubicBezTo>
                    <a:pt x="2234" y="465"/>
                    <a:pt x="2211" y="471"/>
                    <a:pt x="2205" y="479"/>
                  </a:cubicBezTo>
                  <a:close/>
                  <a:moveTo>
                    <a:pt x="2228" y="2684"/>
                  </a:moveTo>
                  <a:cubicBezTo>
                    <a:pt x="2231" y="2693"/>
                    <a:pt x="2219" y="2693"/>
                    <a:pt x="2219" y="2698"/>
                  </a:cubicBezTo>
                  <a:cubicBezTo>
                    <a:pt x="2214" y="2693"/>
                    <a:pt x="2222" y="2682"/>
                    <a:pt x="2228" y="2684"/>
                  </a:cubicBezTo>
                  <a:close/>
                  <a:moveTo>
                    <a:pt x="2222" y="505"/>
                  </a:moveTo>
                  <a:cubicBezTo>
                    <a:pt x="2225" y="499"/>
                    <a:pt x="2228" y="513"/>
                    <a:pt x="2222" y="505"/>
                  </a:cubicBezTo>
                  <a:close/>
                  <a:moveTo>
                    <a:pt x="2222" y="338"/>
                  </a:moveTo>
                  <a:cubicBezTo>
                    <a:pt x="2225" y="338"/>
                    <a:pt x="2228" y="341"/>
                    <a:pt x="2228" y="344"/>
                  </a:cubicBezTo>
                  <a:lnTo>
                    <a:pt x="2228" y="347"/>
                  </a:lnTo>
                  <a:lnTo>
                    <a:pt x="2222" y="347"/>
                  </a:lnTo>
                  <a:cubicBezTo>
                    <a:pt x="2225" y="344"/>
                    <a:pt x="2225" y="341"/>
                    <a:pt x="2222" y="338"/>
                  </a:cubicBezTo>
                  <a:close/>
                  <a:moveTo>
                    <a:pt x="2228" y="488"/>
                  </a:moveTo>
                  <a:cubicBezTo>
                    <a:pt x="2242" y="491"/>
                    <a:pt x="2217" y="508"/>
                    <a:pt x="2228" y="488"/>
                  </a:cubicBezTo>
                  <a:close/>
                  <a:moveTo>
                    <a:pt x="2222" y="228"/>
                  </a:moveTo>
                  <a:cubicBezTo>
                    <a:pt x="2225" y="228"/>
                    <a:pt x="2231" y="231"/>
                    <a:pt x="2234" y="231"/>
                  </a:cubicBezTo>
                  <a:cubicBezTo>
                    <a:pt x="2234" y="234"/>
                    <a:pt x="2231" y="240"/>
                    <a:pt x="2231" y="243"/>
                  </a:cubicBezTo>
                  <a:cubicBezTo>
                    <a:pt x="2228" y="243"/>
                    <a:pt x="2222" y="243"/>
                    <a:pt x="2219" y="240"/>
                  </a:cubicBezTo>
                  <a:cubicBezTo>
                    <a:pt x="2219" y="240"/>
                    <a:pt x="2222" y="234"/>
                    <a:pt x="2222" y="228"/>
                  </a:cubicBezTo>
                  <a:close/>
                  <a:moveTo>
                    <a:pt x="2222" y="285"/>
                  </a:moveTo>
                  <a:cubicBezTo>
                    <a:pt x="2228" y="290"/>
                    <a:pt x="2222" y="296"/>
                    <a:pt x="2219" y="299"/>
                  </a:cubicBezTo>
                  <a:cubicBezTo>
                    <a:pt x="2219" y="296"/>
                    <a:pt x="2219" y="290"/>
                    <a:pt x="2222" y="285"/>
                  </a:cubicBezTo>
                  <a:close/>
                  <a:moveTo>
                    <a:pt x="2219" y="310"/>
                  </a:moveTo>
                  <a:cubicBezTo>
                    <a:pt x="2234" y="316"/>
                    <a:pt x="2208" y="330"/>
                    <a:pt x="2219" y="310"/>
                  </a:cubicBezTo>
                  <a:close/>
                  <a:moveTo>
                    <a:pt x="2214" y="358"/>
                  </a:moveTo>
                  <a:cubicBezTo>
                    <a:pt x="2214" y="353"/>
                    <a:pt x="2222" y="358"/>
                    <a:pt x="2214" y="358"/>
                  </a:cubicBezTo>
                  <a:close/>
                  <a:moveTo>
                    <a:pt x="2217" y="369"/>
                  </a:moveTo>
                  <a:cubicBezTo>
                    <a:pt x="2231" y="389"/>
                    <a:pt x="2197" y="372"/>
                    <a:pt x="2217" y="369"/>
                  </a:cubicBezTo>
                  <a:close/>
                  <a:moveTo>
                    <a:pt x="2208" y="338"/>
                  </a:moveTo>
                  <a:cubicBezTo>
                    <a:pt x="2214" y="333"/>
                    <a:pt x="2208" y="347"/>
                    <a:pt x="2208" y="338"/>
                  </a:cubicBezTo>
                  <a:close/>
                  <a:moveTo>
                    <a:pt x="2214" y="327"/>
                  </a:moveTo>
                  <a:cubicBezTo>
                    <a:pt x="2214" y="333"/>
                    <a:pt x="2205" y="327"/>
                    <a:pt x="2205" y="324"/>
                  </a:cubicBezTo>
                  <a:cubicBezTo>
                    <a:pt x="2211" y="324"/>
                    <a:pt x="2211" y="327"/>
                    <a:pt x="2214" y="327"/>
                  </a:cubicBezTo>
                  <a:close/>
                  <a:moveTo>
                    <a:pt x="2203" y="257"/>
                  </a:moveTo>
                  <a:cubicBezTo>
                    <a:pt x="2203" y="251"/>
                    <a:pt x="2214" y="257"/>
                    <a:pt x="2203" y="257"/>
                  </a:cubicBezTo>
                  <a:close/>
                  <a:moveTo>
                    <a:pt x="2197" y="282"/>
                  </a:moveTo>
                  <a:cubicBezTo>
                    <a:pt x="2197" y="279"/>
                    <a:pt x="2200" y="276"/>
                    <a:pt x="2203" y="274"/>
                  </a:cubicBezTo>
                  <a:cubicBezTo>
                    <a:pt x="2203" y="276"/>
                    <a:pt x="2200" y="279"/>
                    <a:pt x="2197" y="282"/>
                  </a:cubicBezTo>
                  <a:close/>
                  <a:moveTo>
                    <a:pt x="2200" y="313"/>
                  </a:moveTo>
                  <a:cubicBezTo>
                    <a:pt x="2214" y="319"/>
                    <a:pt x="2188" y="333"/>
                    <a:pt x="2200" y="313"/>
                  </a:cubicBezTo>
                  <a:close/>
                  <a:moveTo>
                    <a:pt x="2203" y="237"/>
                  </a:moveTo>
                  <a:cubicBezTo>
                    <a:pt x="2203" y="243"/>
                    <a:pt x="2197" y="237"/>
                    <a:pt x="2191" y="237"/>
                  </a:cubicBezTo>
                  <a:cubicBezTo>
                    <a:pt x="2191" y="234"/>
                    <a:pt x="2200" y="237"/>
                    <a:pt x="2203" y="237"/>
                  </a:cubicBezTo>
                  <a:close/>
                  <a:moveTo>
                    <a:pt x="2180" y="248"/>
                  </a:moveTo>
                  <a:cubicBezTo>
                    <a:pt x="2183" y="240"/>
                    <a:pt x="2186" y="257"/>
                    <a:pt x="2180" y="248"/>
                  </a:cubicBezTo>
                  <a:close/>
                  <a:moveTo>
                    <a:pt x="2191" y="257"/>
                  </a:moveTo>
                  <a:cubicBezTo>
                    <a:pt x="2194" y="262"/>
                    <a:pt x="2194" y="268"/>
                    <a:pt x="2194" y="274"/>
                  </a:cubicBezTo>
                  <a:cubicBezTo>
                    <a:pt x="2188" y="274"/>
                    <a:pt x="2186" y="276"/>
                    <a:pt x="2180" y="279"/>
                  </a:cubicBezTo>
                  <a:cubicBezTo>
                    <a:pt x="2174" y="274"/>
                    <a:pt x="2174" y="268"/>
                    <a:pt x="2171" y="262"/>
                  </a:cubicBezTo>
                  <a:cubicBezTo>
                    <a:pt x="2177" y="259"/>
                    <a:pt x="2186" y="259"/>
                    <a:pt x="2191" y="257"/>
                  </a:cubicBezTo>
                  <a:close/>
                  <a:moveTo>
                    <a:pt x="2188" y="367"/>
                  </a:moveTo>
                  <a:cubicBezTo>
                    <a:pt x="2188" y="367"/>
                    <a:pt x="2186" y="367"/>
                    <a:pt x="2183" y="364"/>
                  </a:cubicBezTo>
                  <a:cubicBezTo>
                    <a:pt x="2183" y="364"/>
                    <a:pt x="2183" y="361"/>
                    <a:pt x="2180" y="361"/>
                  </a:cubicBezTo>
                  <a:lnTo>
                    <a:pt x="2183" y="358"/>
                  </a:lnTo>
                  <a:lnTo>
                    <a:pt x="2183" y="361"/>
                  </a:lnTo>
                  <a:cubicBezTo>
                    <a:pt x="2186" y="367"/>
                    <a:pt x="2188" y="367"/>
                    <a:pt x="2188" y="367"/>
                  </a:cubicBezTo>
                  <a:close/>
                  <a:moveTo>
                    <a:pt x="2186" y="313"/>
                  </a:moveTo>
                  <a:lnTo>
                    <a:pt x="2186" y="314"/>
                  </a:lnTo>
                  <a:cubicBezTo>
                    <a:pt x="2185" y="314"/>
                    <a:pt x="2184" y="314"/>
                    <a:pt x="2186" y="313"/>
                  </a:cubicBezTo>
                  <a:cubicBezTo>
                    <a:pt x="2187" y="313"/>
                    <a:pt x="2186" y="314"/>
                    <a:pt x="2186" y="314"/>
                  </a:cubicBezTo>
                  <a:lnTo>
                    <a:pt x="2186" y="313"/>
                  </a:lnTo>
                  <a:close/>
                  <a:moveTo>
                    <a:pt x="2171" y="361"/>
                  </a:moveTo>
                  <a:cubicBezTo>
                    <a:pt x="2169" y="364"/>
                    <a:pt x="2166" y="367"/>
                    <a:pt x="2163" y="367"/>
                  </a:cubicBezTo>
                  <a:cubicBezTo>
                    <a:pt x="2163" y="364"/>
                    <a:pt x="2166" y="361"/>
                    <a:pt x="2171" y="361"/>
                  </a:cubicBezTo>
                  <a:close/>
                  <a:moveTo>
                    <a:pt x="2166" y="542"/>
                  </a:moveTo>
                  <a:cubicBezTo>
                    <a:pt x="2166" y="553"/>
                    <a:pt x="2157" y="556"/>
                    <a:pt x="2155" y="561"/>
                  </a:cubicBezTo>
                  <a:cubicBezTo>
                    <a:pt x="2143" y="556"/>
                    <a:pt x="2155" y="536"/>
                    <a:pt x="2166" y="542"/>
                  </a:cubicBezTo>
                  <a:close/>
                  <a:moveTo>
                    <a:pt x="2135" y="333"/>
                  </a:moveTo>
                  <a:cubicBezTo>
                    <a:pt x="2132" y="336"/>
                    <a:pt x="2132" y="347"/>
                    <a:pt x="2138" y="350"/>
                  </a:cubicBezTo>
                  <a:cubicBezTo>
                    <a:pt x="2112" y="347"/>
                    <a:pt x="2146" y="307"/>
                    <a:pt x="2157" y="341"/>
                  </a:cubicBezTo>
                  <a:cubicBezTo>
                    <a:pt x="2157" y="341"/>
                    <a:pt x="2155" y="344"/>
                    <a:pt x="2160" y="350"/>
                  </a:cubicBezTo>
                  <a:cubicBezTo>
                    <a:pt x="2152" y="355"/>
                    <a:pt x="2138" y="344"/>
                    <a:pt x="2135" y="333"/>
                  </a:cubicBezTo>
                  <a:close/>
                  <a:moveTo>
                    <a:pt x="2143" y="2555"/>
                  </a:moveTo>
                  <a:cubicBezTo>
                    <a:pt x="2152" y="2549"/>
                    <a:pt x="2140" y="2563"/>
                    <a:pt x="2143" y="2555"/>
                  </a:cubicBezTo>
                  <a:close/>
                  <a:moveTo>
                    <a:pt x="2132" y="401"/>
                  </a:moveTo>
                  <a:cubicBezTo>
                    <a:pt x="2132" y="398"/>
                    <a:pt x="2138" y="395"/>
                    <a:pt x="2138" y="392"/>
                  </a:cubicBezTo>
                  <a:cubicBezTo>
                    <a:pt x="2143" y="392"/>
                    <a:pt x="2138" y="401"/>
                    <a:pt x="2132" y="401"/>
                  </a:cubicBezTo>
                  <a:close/>
                  <a:moveTo>
                    <a:pt x="2135" y="1604"/>
                  </a:moveTo>
                  <a:cubicBezTo>
                    <a:pt x="2138" y="1596"/>
                    <a:pt x="2138" y="1612"/>
                    <a:pt x="2135" y="1604"/>
                  </a:cubicBezTo>
                  <a:close/>
                  <a:moveTo>
                    <a:pt x="2124" y="293"/>
                  </a:moveTo>
                  <a:cubicBezTo>
                    <a:pt x="2121" y="288"/>
                    <a:pt x="2126" y="285"/>
                    <a:pt x="2126" y="282"/>
                  </a:cubicBezTo>
                  <a:cubicBezTo>
                    <a:pt x="2135" y="282"/>
                    <a:pt x="2129" y="293"/>
                    <a:pt x="2124" y="293"/>
                  </a:cubicBezTo>
                  <a:close/>
                  <a:moveTo>
                    <a:pt x="2126" y="313"/>
                  </a:moveTo>
                  <a:lnTo>
                    <a:pt x="2126" y="319"/>
                  </a:lnTo>
                  <a:lnTo>
                    <a:pt x="2121" y="319"/>
                  </a:lnTo>
                  <a:lnTo>
                    <a:pt x="2121" y="313"/>
                  </a:lnTo>
                  <a:lnTo>
                    <a:pt x="2126" y="313"/>
                  </a:lnTo>
                  <a:close/>
                  <a:moveTo>
                    <a:pt x="2135" y="307"/>
                  </a:moveTo>
                  <a:lnTo>
                    <a:pt x="2129" y="307"/>
                  </a:lnTo>
                  <a:lnTo>
                    <a:pt x="2129" y="302"/>
                  </a:lnTo>
                  <a:cubicBezTo>
                    <a:pt x="2129" y="302"/>
                    <a:pt x="2132" y="299"/>
                    <a:pt x="2135" y="299"/>
                  </a:cubicBezTo>
                  <a:cubicBezTo>
                    <a:pt x="2132" y="302"/>
                    <a:pt x="2132" y="305"/>
                    <a:pt x="2135" y="307"/>
                  </a:cubicBezTo>
                  <a:close/>
                  <a:moveTo>
                    <a:pt x="2157" y="296"/>
                  </a:moveTo>
                  <a:cubicBezTo>
                    <a:pt x="2163" y="293"/>
                    <a:pt x="2152" y="305"/>
                    <a:pt x="2157" y="296"/>
                  </a:cubicBezTo>
                  <a:close/>
                  <a:moveTo>
                    <a:pt x="2157" y="206"/>
                  </a:moveTo>
                  <a:cubicBezTo>
                    <a:pt x="2155" y="206"/>
                    <a:pt x="2143" y="203"/>
                    <a:pt x="2143" y="209"/>
                  </a:cubicBezTo>
                  <a:cubicBezTo>
                    <a:pt x="2138" y="203"/>
                    <a:pt x="2160" y="197"/>
                    <a:pt x="2157" y="206"/>
                  </a:cubicBezTo>
                  <a:close/>
                  <a:moveTo>
                    <a:pt x="2121" y="180"/>
                  </a:moveTo>
                  <a:cubicBezTo>
                    <a:pt x="2115" y="178"/>
                    <a:pt x="2112" y="172"/>
                    <a:pt x="2109" y="169"/>
                  </a:cubicBezTo>
                  <a:cubicBezTo>
                    <a:pt x="2118" y="164"/>
                    <a:pt x="2121" y="175"/>
                    <a:pt x="2121" y="180"/>
                  </a:cubicBezTo>
                  <a:close/>
                  <a:moveTo>
                    <a:pt x="2107" y="220"/>
                  </a:moveTo>
                  <a:cubicBezTo>
                    <a:pt x="2112" y="223"/>
                    <a:pt x="2109" y="237"/>
                    <a:pt x="2104" y="237"/>
                  </a:cubicBezTo>
                  <a:cubicBezTo>
                    <a:pt x="2104" y="231"/>
                    <a:pt x="2104" y="226"/>
                    <a:pt x="2107" y="220"/>
                  </a:cubicBezTo>
                  <a:close/>
                  <a:moveTo>
                    <a:pt x="2101" y="319"/>
                  </a:moveTo>
                  <a:cubicBezTo>
                    <a:pt x="2095" y="313"/>
                    <a:pt x="2090" y="302"/>
                    <a:pt x="2098" y="296"/>
                  </a:cubicBezTo>
                  <a:cubicBezTo>
                    <a:pt x="2098" y="298"/>
                    <a:pt x="2100" y="300"/>
                    <a:pt x="2101" y="302"/>
                  </a:cubicBezTo>
                  <a:cubicBezTo>
                    <a:pt x="2102" y="303"/>
                    <a:pt x="2104" y="304"/>
                    <a:pt x="2107" y="302"/>
                  </a:cubicBezTo>
                  <a:lnTo>
                    <a:pt x="2109" y="305"/>
                  </a:lnTo>
                  <a:lnTo>
                    <a:pt x="2107" y="305"/>
                  </a:lnTo>
                  <a:cubicBezTo>
                    <a:pt x="2109" y="307"/>
                    <a:pt x="2107" y="313"/>
                    <a:pt x="2101" y="319"/>
                  </a:cubicBezTo>
                  <a:close/>
                  <a:moveTo>
                    <a:pt x="2101" y="341"/>
                  </a:moveTo>
                  <a:cubicBezTo>
                    <a:pt x="2101" y="336"/>
                    <a:pt x="2112" y="344"/>
                    <a:pt x="2101" y="341"/>
                  </a:cubicBezTo>
                  <a:close/>
                  <a:moveTo>
                    <a:pt x="2098" y="2428"/>
                  </a:moveTo>
                  <a:cubicBezTo>
                    <a:pt x="2098" y="2422"/>
                    <a:pt x="2095" y="2442"/>
                    <a:pt x="2098" y="2428"/>
                  </a:cubicBezTo>
                  <a:close/>
                  <a:moveTo>
                    <a:pt x="2092" y="1610"/>
                  </a:moveTo>
                  <a:cubicBezTo>
                    <a:pt x="2092" y="1604"/>
                    <a:pt x="2104" y="1612"/>
                    <a:pt x="2092" y="1610"/>
                  </a:cubicBezTo>
                  <a:close/>
                  <a:moveTo>
                    <a:pt x="2104" y="240"/>
                  </a:moveTo>
                  <a:lnTo>
                    <a:pt x="2099" y="240"/>
                  </a:lnTo>
                  <a:cubicBezTo>
                    <a:pt x="2100" y="256"/>
                    <a:pt x="2063" y="250"/>
                    <a:pt x="2098" y="237"/>
                  </a:cubicBezTo>
                  <a:lnTo>
                    <a:pt x="2098" y="234"/>
                  </a:lnTo>
                  <a:lnTo>
                    <a:pt x="2104" y="234"/>
                  </a:lnTo>
                  <a:lnTo>
                    <a:pt x="2104" y="237"/>
                  </a:lnTo>
                  <a:lnTo>
                    <a:pt x="2104" y="240"/>
                  </a:lnTo>
                  <a:close/>
                  <a:moveTo>
                    <a:pt x="2109" y="274"/>
                  </a:moveTo>
                  <a:cubicBezTo>
                    <a:pt x="2104" y="276"/>
                    <a:pt x="2104" y="268"/>
                    <a:pt x="2101" y="265"/>
                  </a:cubicBezTo>
                  <a:cubicBezTo>
                    <a:pt x="2104" y="265"/>
                    <a:pt x="2109" y="271"/>
                    <a:pt x="2109" y="274"/>
                  </a:cubicBezTo>
                  <a:close/>
                  <a:moveTo>
                    <a:pt x="2098" y="217"/>
                  </a:moveTo>
                  <a:cubicBezTo>
                    <a:pt x="2084" y="209"/>
                    <a:pt x="2112" y="197"/>
                    <a:pt x="2098" y="217"/>
                  </a:cubicBezTo>
                  <a:close/>
                  <a:moveTo>
                    <a:pt x="2104" y="265"/>
                  </a:moveTo>
                  <a:cubicBezTo>
                    <a:pt x="2101" y="265"/>
                    <a:pt x="2092" y="259"/>
                    <a:pt x="2095" y="254"/>
                  </a:cubicBezTo>
                  <a:cubicBezTo>
                    <a:pt x="2098" y="257"/>
                    <a:pt x="2101" y="262"/>
                    <a:pt x="2104" y="265"/>
                  </a:cubicBezTo>
                  <a:close/>
                  <a:moveTo>
                    <a:pt x="2098" y="166"/>
                  </a:moveTo>
                  <a:cubicBezTo>
                    <a:pt x="2084" y="161"/>
                    <a:pt x="2112" y="147"/>
                    <a:pt x="2098" y="166"/>
                  </a:cubicBezTo>
                  <a:close/>
                  <a:moveTo>
                    <a:pt x="2087" y="147"/>
                  </a:moveTo>
                  <a:cubicBezTo>
                    <a:pt x="2090" y="141"/>
                    <a:pt x="2098" y="152"/>
                    <a:pt x="2087" y="147"/>
                  </a:cubicBezTo>
                  <a:close/>
                  <a:moveTo>
                    <a:pt x="2087" y="195"/>
                  </a:moveTo>
                  <a:cubicBezTo>
                    <a:pt x="2101" y="175"/>
                    <a:pt x="2115" y="206"/>
                    <a:pt x="2087" y="195"/>
                  </a:cubicBezTo>
                  <a:close/>
                  <a:moveTo>
                    <a:pt x="2087" y="307"/>
                  </a:moveTo>
                  <a:cubicBezTo>
                    <a:pt x="2092" y="299"/>
                    <a:pt x="2092" y="313"/>
                    <a:pt x="2087" y="307"/>
                  </a:cubicBezTo>
                  <a:close/>
                  <a:moveTo>
                    <a:pt x="2090" y="468"/>
                  </a:moveTo>
                  <a:cubicBezTo>
                    <a:pt x="2090" y="471"/>
                    <a:pt x="2084" y="474"/>
                    <a:pt x="2081" y="474"/>
                  </a:cubicBezTo>
                  <a:cubicBezTo>
                    <a:pt x="2084" y="471"/>
                    <a:pt x="2087" y="468"/>
                    <a:pt x="2090" y="468"/>
                  </a:cubicBezTo>
                  <a:close/>
                  <a:moveTo>
                    <a:pt x="2081" y="265"/>
                  </a:moveTo>
                  <a:cubicBezTo>
                    <a:pt x="2081" y="262"/>
                    <a:pt x="2087" y="259"/>
                    <a:pt x="2090" y="259"/>
                  </a:cubicBezTo>
                  <a:cubicBezTo>
                    <a:pt x="2090" y="265"/>
                    <a:pt x="2084" y="265"/>
                    <a:pt x="2081" y="265"/>
                  </a:cubicBezTo>
                  <a:close/>
                  <a:moveTo>
                    <a:pt x="2087" y="279"/>
                  </a:moveTo>
                  <a:cubicBezTo>
                    <a:pt x="2090" y="271"/>
                    <a:pt x="2092" y="288"/>
                    <a:pt x="2087" y="279"/>
                  </a:cubicBezTo>
                  <a:close/>
                  <a:moveTo>
                    <a:pt x="2078" y="341"/>
                  </a:moveTo>
                  <a:cubicBezTo>
                    <a:pt x="2084" y="341"/>
                    <a:pt x="2087" y="350"/>
                    <a:pt x="2087" y="353"/>
                  </a:cubicBezTo>
                  <a:cubicBezTo>
                    <a:pt x="2084" y="353"/>
                    <a:pt x="2081" y="350"/>
                    <a:pt x="2078" y="353"/>
                  </a:cubicBezTo>
                  <a:cubicBezTo>
                    <a:pt x="2078" y="347"/>
                    <a:pt x="2081" y="347"/>
                    <a:pt x="2078" y="341"/>
                  </a:cubicBezTo>
                  <a:close/>
                  <a:moveTo>
                    <a:pt x="2084" y="1601"/>
                  </a:moveTo>
                  <a:cubicBezTo>
                    <a:pt x="2078" y="1607"/>
                    <a:pt x="2076" y="1593"/>
                    <a:pt x="2084" y="1601"/>
                  </a:cubicBezTo>
                  <a:close/>
                  <a:moveTo>
                    <a:pt x="2067" y="2447"/>
                  </a:moveTo>
                  <a:cubicBezTo>
                    <a:pt x="2061" y="2442"/>
                    <a:pt x="2073" y="2436"/>
                    <a:pt x="2078" y="2439"/>
                  </a:cubicBezTo>
                  <a:cubicBezTo>
                    <a:pt x="2076" y="2442"/>
                    <a:pt x="2067" y="2442"/>
                    <a:pt x="2067" y="2447"/>
                  </a:cubicBezTo>
                  <a:close/>
                  <a:moveTo>
                    <a:pt x="2073" y="2591"/>
                  </a:moveTo>
                  <a:cubicBezTo>
                    <a:pt x="2078" y="2586"/>
                    <a:pt x="2076" y="2600"/>
                    <a:pt x="2073" y="2591"/>
                  </a:cubicBezTo>
                  <a:close/>
                  <a:moveTo>
                    <a:pt x="2070" y="2402"/>
                  </a:moveTo>
                  <a:cubicBezTo>
                    <a:pt x="2070" y="2397"/>
                    <a:pt x="2078" y="2397"/>
                    <a:pt x="2084" y="2397"/>
                  </a:cubicBezTo>
                  <a:cubicBezTo>
                    <a:pt x="2081" y="2399"/>
                    <a:pt x="2073" y="2402"/>
                    <a:pt x="2070" y="2402"/>
                  </a:cubicBezTo>
                  <a:close/>
                  <a:moveTo>
                    <a:pt x="2073" y="344"/>
                  </a:moveTo>
                  <a:cubicBezTo>
                    <a:pt x="2076" y="336"/>
                    <a:pt x="2078" y="350"/>
                    <a:pt x="2073" y="344"/>
                  </a:cubicBezTo>
                  <a:close/>
                  <a:moveTo>
                    <a:pt x="2070" y="251"/>
                  </a:moveTo>
                  <a:cubicBezTo>
                    <a:pt x="2076" y="243"/>
                    <a:pt x="2067" y="257"/>
                    <a:pt x="2070" y="251"/>
                  </a:cubicBezTo>
                  <a:close/>
                  <a:moveTo>
                    <a:pt x="2061" y="296"/>
                  </a:moveTo>
                  <a:cubicBezTo>
                    <a:pt x="2061" y="293"/>
                    <a:pt x="2064" y="288"/>
                    <a:pt x="2070" y="288"/>
                  </a:cubicBezTo>
                  <a:cubicBezTo>
                    <a:pt x="2070" y="290"/>
                    <a:pt x="2070" y="293"/>
                    <a:pt x="2073" y="293"/>
                  </a:cubicBezTo>
                  <a:cubicBezTo>
                    <a:pt x="2067" y="296"/>
                    <a:pt x="2064" y="296"/>
                    <a:pt x="2061" y="296"/>
                  </a:cubicBezTo>
                  <a:close/>
                  <a:moveTo>
                    <a:pt x="2061" y="282"/>
                  </a:moveTo>
                  <a:cubicBezTo>
                    <a:pt x="2061" y="276"/>
                    <a:pt x="2073" y="282"/>
                    <a:pt x="2061" y="282"/>
                  </a:cubicBezTo>
                  <a:close/>
                  <a:moveTo>
                    <a:pt x="2070" y="262"/>
                  </a:moveTo>
                  <a:cubicBezTo>
                    <a:pt x="2070" y="265"/>
                    <a:pt x="2070" y="268"/>
                    <a:pt x="2073" y="271"/>
                  </a:cubicBezTo>
                  <a:cubicBezTo>
                    <a:pt x="2070" y="271"/>
                    <a:pt x="2067" y="271"/>
                    <a:pt x="2067" y="274"/>
                  </a:cubicBezTo>
                  <a:cubicBezTo>
                    <a:pt x="2061" y="271"/>
                    <a:pt x="2067" y="271"/>
                    <a:pt x="2067" y="268"/>
                  </a:cubicBezTo>
                  <a:cubicBezTo>
                    <a:pt x="2062" y="271"/>
                    <a:pt x="2059" y="273"/>
                    <a:pt x="2056" y="266"/>
                  </a:cubicBezTo>
                  <a:cubicBezTo>
                    <a:pt x="2057" y="267"/>
                    <a:pt x="2067" y="260"/>
                    <a:pt x="2070" y="262"/>
                  </a:cubicBezTo>
                  <a:close/>
                  <a:moveTo>
                    <a:pt x="2056" y="209"/>
                  </a:moveTo>
                  <a:cubicBezTo>
                    <a:pt x="2056" y="212"/>
                    <a:pt x="2053" y="217"/>
                    <a:pt x="2050" y="220"/>
                  </a:cubicBezTo>
                  <a:cubicBezTo>
                    <a:pt x="2047" y="217"/>
                    <a:pt x="2044" y="220"/>
                    <a:pt x="2044" y="223"/>
                  </a:cubicBezTo>
                  <a:cubicBezTo>
                    <a:pt x="2033" y="223"/>
                    <a:pt x="2047" y="197"/>
                    <a:pt x="2056" y="209"/>
                  </a:cubicBezTo>
                  <a:close/>
                  <a:moveTo>
                    <a:pt x="2036" y="172"/>
                  </a:moveTo>
                  <a:cubicBezTo>
                    <a:pt x="2036" y="169"/>
                    <a:pt x="2042" y="166"/>
                    <a:pt x="2044" y="166"/>
                  </a:cubicBezTo>
                  <a:cubicBezTo>
                    <a:pt x="2042" y="169"/>
                    <a:pt x="2039" y="172"/>
                    <a:pt x="2036" y="172"/>
                  </a:cubicBezTo>
                  <a:close/>
                  <a:moveTo>
                    <a:pt x="2053" y="265"/>
                  </a:moveTo>
                  <a:cubicBezTo>
                    <a:pt x="2053" y="268"/>
                    <a:pt x="2047" y="271"/>
                    <a:pt x="2044" y="271"/>
                  </a:cubicBezTo>
                  <a:cubicBezTo>
                    <a:pt x="2044" y="268"/>
                    <a:pt x="2050" y="265"/>
                    <a:pt x="2053" y="265"/>
                  </a:cubicBezTo>
                  <a:close/>
                  <a:moveTo>
                    <a:pt x="2044" y="570"/>
                  </a:moveTo>
                  <a:lnTo>
                    <a:pt x="2036" y="570"/>
                  </a:lnTo>
                  <a:lnTo>
                    <a:pt x="2036" y="564"/>
                  </a:lnTo>
                  <a:cubicBezTo>
                    <a:pt x="2042" y="564"/>
                    <a:pt x="2044" y="567"/>
                    <a:pt x="2044" y="570"/>
                  </a:cubicBezTo>
                  <a:close/>
                  <a:moveTo>
                    <a:pt x="2039" y="2273"/>
                  </a:moveTo>
                  <a:cubicBezTo>
                    <a:pt x="2042" y="2275"/>
                    <a:pt x="2047" y="2278"/>
                    <a:pt x="2047" y="2284"/>
                  </a:cubicBezTo>
                  <a:cubicBezTo>
                    <a:pt x="2042" y="2287"/>
                    <a:pt x="2039" y="2278"/>
                    <a:pt x="2039" y="2273"/>
                  </a:cubicBezTo>
                  <a:close/>
                  <a:moveTo>
                    <a:pt x="2044" y="2422"/>
                  </a:moveTo>
                  <a:cubicBezTo>
                    <a:pt x="2044" y="2416"/>
                    <a:pt x="2053" y="2425"/>
                    <a:pt x="2044" y="2422"/>
                  </a:cubicBezTo>
                  <a:close/>
                  <a:moveTo>
                    <a:pt x="2050" y="338"/>
                  </a:moveTo>
                  <a:cubicBezTo>
                    <a:pt x="2047" y="344"/>
                    <a:pt x="2039" y="336"/>
                    <a:pt x="2050" y="338"/>
                  </a:cubicBezTo>
                  <a:close/>
                  <a:moveTo>
                    <a:pt x="2044" y="293"/>
                  </a:moveTo>
                  <a:cubicBezTo>
                    <a:pt x="2047" y="290"/>
                    <a:pt x="2050" y="288"/>
                    <a:pt x="2053" y="288"/>
                  </a:cubicBezTo>
                  <a:cubicBezTo>
                    <a:pt x="2053" y="293"/>
                    <a:pt x="2047" y="296"/>
                    <a:pt x="2044" y="293"/>
                  </a:cubicBezTo>
                  <a:close/>
                  <a:moveTo>
                    <a:pt x="2053" y="457"/>
                  </a:moveTo>
                  <a:cubicBezTo>
                    <a:pt x="2053" y="451"/>
                    <a:pt x="2061" y="460"/>
                    <a:pt x="2053" y="457"/>
                  </a:cubicBezTo>
                  <a:close/>
                  <a:moveTo>
                    <a:pt x="2064" y="426"/>
                  </a:moveTo>
                  <a:lnTo>
                    <a:pt x="2064" y="432"/>
                  </a:lnTo>
                  <a:cubicBezTo>
                    <a:pt x="2053" y="434"/>
                    <a:pt x="2059" y="420"/>
                    <a:pt x="2064" y="426"/>
                  </a:cubicBezTo>
                  <a:close/>
                  <a:moveTo>
                    <a:pt x="2059" y="2275"/>
                  </a:moveTo>
                  <a:cubicBezTo>
                    <a:pt x="2053" y="2284"/>
                    <a:pt x="2044" y="2275"/>
                    <a:pt x="2059" y="2275"/>
                  </a:cubicBezTo>
                  <a:close/>
                  <a:moveTo>
                    <a:pt x="2059" y="2478"/>
                  </a:moveTo>
                  <a:lnTo>
                    <a:pt x="2059" y="2481"/>
                  </a:lnTo>
                  <a:lnTo>
                    <a:pt x="2056" y="2481"/>
                  </a:lnTo>
                  <a:lnTo>
                    <a:pt x="2059" y="2478"/>
                  </a:lnTo>
                  <a:close/>
                  <a:moveTo>
                    <a:pt x="2056" y="2620"/>
                  </a:moveTo>
                  <a:lnTo>
                    <a:pt x="2061" y="2620"/>
                  </a:lnTo>
                  <a:lnTo>
                    <a:pt x="2061" y="2625"/>
                  </a:lnTo>
                  <a:lnTo>
                    <a:pt x="2056" y="2625"/>
                  </a:lnTo>
                  <a:lnTo>
                    <a:pt x="2056" y="2620"/>
                  </a:lnTo>
                  <a:close/>
                  <a:moveTo>
                    <a:pt x="2047" y="169"/>
                  </a:moveTo>
                  <a:cubicBezTo>
                    <a:pt x="2047" y="166"/>
                    <a:pt x="2047" y="164"/>
                    <a:pt x="2050" y="164"/>
                  </a:cubicBezTo>
                  <a:cubicBezTo>
                    <a:pt x="2053" y="164"/>
                    <a:pt x="2059" y="166"/>
                    <a:pt x="2061" y="169"/>
                  </a:cubicBezTo>
                  <a:cubicBezTo>
                    <a:pt x="2061" y="172"/>
                    <a:pt x="2061" y="175"/>
                    <a:pt x="2059" y="178"/>
                  </a:cubicBezTo>
                  <a:cubicBezTo>
                    <a:pt x="2061" y="180"/>
                    <a:pt x="2056" y="189"/>
                    <a:pt x="2050" y="189"/>
                  </a:cubicBezTo>
                  <a:cubicBezTo>
                    <a:pt x="2050" y="183"/>
                    <a:pt x="2053" y="183"/>
                    <a:pt x="2053" y="180"/>
                  </a:cubicBezTo>
                  <a:cubicBezTo>
                    <a:pt x="2050" y="180"/>
                    <a:pt x="2047" y="180"/>
                    <a:pt x="2044" y="178"/>
                  </a:cubicBezTo>
                  <a:lnTo>
                    <a:pt x="2044" y="175"/>
                  </a:lnTo>
                  <a:lnTo>
                    <a:pt x="2044" y="172"/>
                  </a:lnTo>
                  <a:cubicBezTo>
                    <a:pt x="2044" y="166"/>
                    <a:pt x="2044" y="166"/>
                    <a:pt x="2047" y="169"/>
                  </a:cubicBezTo>
                  <a:close/>
                  <a:moveTo>
                    <a:pt x="2042" y="118"/>
                  </a:moveTo>
                  <a:cubicBezTo>
                    <a:pt x="2042" y="121"/>
                    <a:pt x="2042" y="124"/>
                    <a:pt x="2044" y="127"/>
                  </a:cubicBezTo>
                  <a:cubicBezTo>
                    <a:pt x="2039" y="130"/>
                    <a:pt x="2036" y="124"/>
                    <a:pt x="2036" y="121"/>
                  </a:cubicBezTo>
                  <a:lnTo>
                    <a:pt x="2042" y="118"/>
                  </a:lnTo>
                  <a:close/>
                  <a:moveTo>
                    <a:pt x="2033" y="296"/>
                  </a:moveTo>
                  <a:cubicBezTo>
                    <a:pt x="2033" y="290"/>
                    <a:pt x="2044" y="296"/>
                    <a:pt x="2033" y="296"/>
                  </a:cubicBezTo>
                  <a:close/>
                  <a:moveTo>
                    <a:pt x="2042" y="319"/>
                  </a:moveTo>
                  <a:cubicBezTo>
                    <a:pt x="2036" y="319"/>
                    <a:pt x="2022" y="313"/>
                    <a:pt x="2028" y="307"/>
                  </a:cubicBezTo>
                  <a:cubicBezTo>
                    <a:pt x="2033" y="310"/>
                    <a:pt x="2036" y="313"/>
                    <a:pt x="2042" y="319"/>
                  </a:cubicBezTo>
                  <a:close/>
                  <a:moveTo>
                    <a:pt x="2030" y="355"/>
                  </a:moveTo>
                  <a:cubicBezTo>
                    <a:pt x="2030" y="361"/>
                    <a:pt x="2019" y="355"/>
                    <a:pt x="2019" y="355"/>
                  </a:cubicBezTo>
                  <a:cubicBezTo>
                    <a:pt x="2019" y="350"/>
                    <a:pt x="2028" y="350"/>
                    <a:pt x="2030" y="355"/>
                  </a:cubicBezTo>
                  <a:close/>
                  <a:moveTo>
                    <a:pt x="2016" y="212"/>
                  </a:moveTo>
                  <a:cubicBezTo>
                    <a:pt x="2019" y="203"/>
                    <a:pt x="2025" y="217"/>
                    <a:pt x="2016" y="212"/>
                  </a:cubicBezTo>
                  <a:close/>
                  <a:moveTo>
                    <a:pt x="2028" y="195"/>
                  </a:moveTo>
                  <a:lnTo>
                    <a:pt x="2028" y="203"/>
                  </a:lnTo>
                  <a:cubicBezTo>
                    <a:pt x="2022" y="206"/>
                    <a:pt x="2019" y="200"/>
                    <a:pt x="2016" y="200"/>
                  </a:cubicBezTo>
                  <a:cubicBezTo>
                    <a:pt x="2016" y="192"/>
                    <a:pt x="2025" y="195"/>
                    <a:pt x="2028" y="195"/>
                  </a:cubicBezTo>
                  <a:close/>
                  <a:moveTo>
                    <a:pt x="2019" y="2301"/>
                  </a:moveTo>
                  <a:cubicBezTo>
                    <a:pt x="2008" y="2304"/>
                    <a:pt x="2022" y="2287"/>
                    <a:pt x="2019" y="2301"/>
                  </a:cubicBezTo>
                  <a:close/>
                  <a:moveTo>
                    <a:pt x="2022" y="2501"/>
                  </a:moveTo>
                  <a:cubicBezTo>
                    <a:pt x="2030" y="2507"/>
                    <a:pt x="2011" y="2507"/>
                    <a:pt x="2022" y="2501"/>
                  </a:cubicBezTo>
                  <a:close/>
                  <a:moveTo>
                    <a:pt x="2013" y="381"/>
                  </a:moveTo>
                  <a:lnTo>
                    <a:pt x="2008" y="381"/>
                  </a:lnTo>
                  <a:lnTo>
                    <a:pt x="2008" y="375"/>
                  </a:lnTo>
                  <a:cubicBezTo>
                    <a:pt x="2011" y="375"/>
                    <a:pt x="2013" y="378"/>
                    <a:pt x="2016" y="378"/>
                  </a:cubicBezTo>
                  <a:lnTo>
                    <a:pt x="2013" y="381"/>
                  </a:lnTo>
                  <a:close/>
                  <a:moveTo>
                    <a:pt x="2013" y="231"/>
                  </a:moveTo>
                  <a:cubicBezTo>
                    <a:pt x="2008" y="234"/>
                    <a:pt x="2002" y="240"/>
                    <a:pt x="1997" y="240"/>
                  </a:cubicBezTo>
                  <a:cubicBezTo>
                    <a:pt x="1998" y="237"/>
                    <a:pt x="2000" y="234"/>
                    <a:pt x="2003" y="232"/>
                  </a:cubicBezTo>
                  <a:cubicBezTo>
                    <a:pt x="1994" y="235"/>
                    <a:pt x="1994" y="223"/>
                    <a:pt x="2002" y="220"/>
                  </a:cubicBezTo>
                  <a:cubicBezTo>
                    <a:pt x="2002" y="223"/>
                    <a:pt x="2005" y="228"/>
                    <a:pt x="2005" y="231"/>
                  </a:cubicBezTo>
                  <a:cubicBezTo>
                    <a:pt x="2008" y="229"/>
                    <a:pt x="2011" y="229"/>
                    <a:pt x="2013" y="231"/>
                  </a:cubicBezTo>
                  <a:close/>
                  <a:moveTo>
                    <a:pt x="2002" y="550"/>
                  </a:moveTo>
                  <a:cubicBezTo>
                    <a:pt x="2005" y="544"/>
                    <a:pt x="2013" y="553"/>
                    <a:pt x="2002" y="550"/>
                  </a:cubicBezTo>
                  <a:close/>
                  <a:moveTo>
                    <a:pt x="2002" y="206"/>
                  </a:moveTo>
                  <a:lnTo>
                    <a:pt x="2008" y="206"/>
                  </a:lnTo>
                  <a:lnTo>
                    <a:pt x="2008" y="212"/>
                  </a:lnTo>
                  <a:lnTo>
                    <a:pt x="2002" y="212"/>
                  </a:lnTo>
                  <a:lnTo>
                    <a:pt x="2002" y="206"/>
                  </a:lnTo>
                  <a:close/>
                  <a:moveTo>
                    <a:pt x="1994" y="133"/>
                  </a:moveTo>
                  <a:cubicBezTo>
                    <a:pt x="1997" y="127"/>
                    <a:pt x="2008" y="133"/>
                    <a:pt x="1994" y="133"/>
                  </a:cubicBezTo>
                  <a:close/>
                  <a:moveTo>
                    <a:pt x="1999" y="212"/>
                  </a:moveTo>
                  <a:cubicBezTo>
                    <a:pt x="1999" y="214"/>
                    <a:pt x="1994" y="217"/>
                    <a:pt x="1994" y="220"/>
                  </a:cubicBezTo>
                  <a:cubicBezTo>
                    <a:pt x="1988" y="220"/>
                    <a:pt x="1994" y="212"/>
                    <a:pt x="1999" y="212"/>
                  </a:cubicBezTo>
                  <a:close/>
                  <a:moveTo>
                    <a:pt x="1982" y="389"/>
                  </a:moveTo>
                  <a:cubicBezTo>
                    <a:pt x="1985" y="386"/>
                    <a:pt x="1991" y="384"/>
                    <a:pt x="1997" y="384"/>
                  </a:cubicBezTo>
                  <a:cubicBezTo>
                    <a:pt x="1997" y="386"/>
                    <a:pt x="1997" y="389"/>
                    <a:pt x="1999" y="389"/>
                  </a:cubicBezTo>
                  <a:cubicBezTo>
                    <a:pt x="1997" y="395"/>
                    <a:pt x="1985" y="389"/>
                    <a:pt x="1982" y="389"/>
                  </a:cubicBezTo>
                  <a:close/>
                  <a:moveTo>
                    <a:pt x="1997" y="2605"/>
                  </a:moveTo>
                  <a:cubicBezTo>
                    <a:pt x="1994" y="2603"/>
                    <a:pt x="1997" y="2600"/>
                    <a:pt x="1997" y="2597"/>
                  </a:cubicBezTo>
                  <a:cubicBezTo>
                    <a:pt x="1999" y="2600"/>
                    <a:pt x="1997" y="2605"/>
                    <a:pt x="1997" y="2605"/>
                  </a:cubicBezTo>
                  <a:close/>
                  <a:moveTo>
                    <a:pt x="1974" y="276"/>
                  </a:moveTo>
                  <a:cubicBezTo>
                    <a:pt x="1977" y="271"/>
                    <a:pt x="1985" y="279"/>
                    <a:pt x="1974" y="276"/>
                  </a:cubicBezTo>
                  <a:close/>
                  <a:moveTo>
                    <a:pt x="1974" y="226"/>
                  </a:moveTo>
                  <a:cubicBezTo>
                    <a:pt x="1974" y="220"/>
                    <a:pt x="1985" y="226"/>
                    <a:pt x="1974" y="226"/>
                  </a:cubicBezTo>
                  <a:close/>
                  <a:moveTo>
                    <a:pt x="1977" y="330"/>
                  </a:moveTo>
                  <a:cubicBezTo>
                    <a:pt x="1982" y="324"/>
                    <a:pt x="1974" y="338"/>
                    <a:pt x="1977" y="330"/>
                  </a:cubicBezTo>
                  <a:close/>
                  <a:moveTo>
                    <a:pt x="1980" y="392"/>
                  </a:moveTo>
                  <a:cubicBezTo>
                    <a:pt x="1991" y="395"/>
                    <a:pt x="1971" y="403"/>
                    <a:pt x="1980" y="392"/>
                  </a:cubicBezTo>
                  <a:close/>
                  <a:moveTo>
                    <a:pt x="1980" y="570"/>
                  </a:moveTo>
                  <a:cubicBezTo>
                    <a:pt x="1988" y="567"/>
                    <a:pt x="1977" y="578"/>
                    <a:pt x="1980" y="570"/>
                  </a:cubicBezTo>
                  <a:close/>
                  <a:moveTo>
                    <a:pt x="1982" y="1453"/>
                  </a:moveTo>
                  <a:cubicBezTo>
                    <a:pt x="1982" y="1447"/>
                    <a:pt x="1991" y="1455"/>
                    <a:pt x="1982" y="1453"/>
                  </a:cubicBezTo>
                  <a:close/>
                  <a:moveTo>
                    <a:pt x="1994" y="2622"/>
                  </a:moveTo>
                  <a:cubicBezTo>
                    <a:pt x="1994" y="2628"/>
                    <a:pt x="1982" y="2625"/>
                    <a:pt x="1980" y="2625"/>
                  </a:cubicBezTo>
                  <a:cubicBezTo>
                    <a:pt x="1980" y="2622"/>
                    <a:pt x="1991" y="2620"/>
                    <a:pt x="1994" y="2622"/>
                  </a:cubicBezTo>
                  <a:close/>
                  <a:moveTo>
                    <a:pt x="1994" y="2250"/>
                  </a:moveTo>
                  <a:cubicBezTo>
                    <a:pt x="1994" y="2253"/>
                    <a:pt x="1988" y="2256"/>
                    <a:pt x="1988" y="2258"/>
                  </a:cubicBezTo>
                  <a:cubicBezTo>
                    <a:pt x="1982" y="2258"/>
                    <a:pt x="1988" y="2250"/>
                    <a:pt x="1994" y="2250"/>
                  </a:cubicBezTo>
                  <a:close/>
                  <a:moveTo>
                    <a:pt x="1985" y="592"/>
                  </a:moveTo>
                  <a:cubicBezTo>
                    <a:pt x="1985" y="587"/>
                    <a:pt x="1997" y="598"/>
                    <a:pt x="1985" y="592"/>
                  </a:cubicBezTo>
                  <a:close/>
                  <a:moveTo>
                    <a:pt x="1997" y="274"/>
                  </a:moveTo>
                  <a:lnTo>
                    <a:pt x="1991" y="274"/>
                  </a:lnTo>
                  <a:lnTo>
                    <a:pt x="1991" y="268"/>
                  </a:lnTo>
                  <a:lnTo>
                    <a:pt x="1997" y="268"/>
                  </a:lnTo>
                  <a:lnTo>
                    <a:pt x="1997" y="274"/>
                  </a:lnTo>
                  <a:close/>
                  <a:moveTo>
                    <a:pt x="1985" y="251"/>
                  </a:moveTo>
                  <a:cubicBezTo>
                    <a:pt x="1985" y="245"/>
                    <a:pt x="1985" y="240"/>
                    <a:pt x="1988" y="234"/>
                  </a:cubicBezTo>
                  <a:cubicBezTo>
                    <a:pt x="1994" y="231"/>
                    <a:pt x="1994" y="251"/>
                    <a:pt x="1985" y="251"/>
                  </a:cubicBezTo>
                  <a:close/>
                  <a:moveTo>
                    <a:pt x="1985" y="220"/>
                  </a:moveTo>
                  <a:cubicBezTo>
                    <a:pt x="1985" y="214"/>
                    <a:pt x="1994" y="223"/>
                    <a:pt x="1985" y="220"/>
                  </a:cubicBezTo>
                  <a:close/>
                  <a:moveTo>
                    <a:pt x="1991" y="257"/>
                  </a:moveTo>
                  <a:cubicBezTo>
                    <a:pt x="1991" y="265"/>
                    <a:pt x="1982" y="251"/>
                    <a:pt x="1991" y="257"/>
                  </a:cubicBezTo>
                  <a:close/>
                  <a:moveTo>
                    <a:pt x="1982" y="271"/>
                  </a:moveTo>
                  <a:cubicBezTo>
                    <a:pt x="1968" y="265"/>
                    <a:pt x="1997" y="251"/>
                    <a:pt x="1982" y="271"/>
                  </a:cubicBezTo>
                  <a:close/>
                  <a:moveTo>
                    <a:pt x="1971" y="166"/>
                  </a:moveTo>
                  <a:lnTo>
                    <a:pt x="1977" y="166"/>
                  </a:lnTo>
                  <a:lnTo>
                    <a:pt x="1980" y="169"/>
                  </a:lnTo>
                  <a:cubicBezTo>
                    <a:pt x="1980" y="175"/>
                    <a:pt x="1968" y="175"/>
                    <a:pt x="1971" y="166"/>
                  </a:cubicBezTo>
                  <a:close/>
                  <a:moveTo>
                    <a:pt x="1960" y="158"/>
                  </a:moveTo>
                  <a:cubicBezTo>
                    <a:pt x="1963" y="158"/>
                    <a:pt x="1963" y="161"/>
                    <a:pt x="1965" y="161"/>
                  </a:cubicBezTo>
                  <a:lnTo>
                    <a:pt x="1965" y="164"/>
                  </a:lnTo>
                  <a:lnTo>
                    <a:pt x="1957" y="164"/>
                  </a:lnTo>
                  <a:cubicBezTo>
                    <a:pt x="1957" y="164"/>
                    <a:pt x="1957" y="161"/>
                    <a:pt x="1960" y="158"/>
                  </a:cubicBezTo>
                  <a:close/>
                  <a:moveTo>
                    <a:pt x="1957" y="206"/>
                  </a:moveTo>
                  <a:cubicBezTo>
                    <a:pt x="1957" y="200"/>
                    <a:pt x="1965" y="206"/>
                    <a:pt x="1957" y="206"/>
                  </a:cubicBezTo>
                  <a:close/>
                  <a:moveTo>
                    <a:pt x="1965" y="217"/>
                  </a:moveTo>
                  <a:cubicBezTo>
                    <a:pt x="1965" y="220"/>
                    <a:pt x="1963" y="226"/>
                    <a:pt x="1963" y="228"/>
                  </a:cubicBezTo>
                  <a:cubicBezTo>
                    <a:pt x="1962" y="228"/>
                    <a:pt x="1961" y="227"/>
                    <a:pt x="1960" y="226"/>
                  </a:cubicBezTo>
                  <a:cubicBezTo>
                    <a:pt x="1962" y="233"/>
                    <a:pt x="1944" y="226"/>
                    <a:pt x="1959" y="226"/>
                  </a:cubicBezTo>
                  <a:lnTo>
                    <a:pt x="1959" y="226"/>
                  </a:lnTo>
                  <a:lnTo>
                    <a:pt x="1960" y="226"/>
                  </a:lnTo>
                  <a:lnTo>
                    <a:pt x="1959" y="226"/>
                  </a:lnTo>
                  <a:cubicBezTo>
                    <a:pt x="1958" y="225"/>
                    <a:pt x="1957" y="223"/>
                    <a:pt x="1957" y="220"/>
                  </a:cubicBezTo>
                  <a:cubicBezTo>
                    <a:pt x="1960" y="220"/>
                    <a:pt x="1963" y="217"/>
                    <a:pt x="1965" y="217"/>
                  </a:cubicBezTo>
                  <a:close/>
                  <a:moveTo>
                    <a:pt x="1949" y="110"/>
                  </a:moveTo>
                  <a:cubicBezTo>
                    <a:pt x="1946" y="104"/>
                    <a:pt x="1957" y="110"/>
                    <a:pt x="1949" y="110"/>
                  </a:cubicBezTo>
                  <a:close/>
                  <a:moveTo>
                    <a:pt x="1929" y="2360"/>
                  </a:moveTo>
                  <a:cubicBezTo>
                    <a:pt x="1932" y="2357"/>
                    <a:pt x="1934" y="2352"/>
                    <a:pt x="1937" y="2352"/>
                  </a:cubicBezTo>
                  <a:cubicBezTo>
                    <a:pt x="1940" y="2357"/>
                    <a:pt x="1934" y="2363"/>
                    <a:pt x="1929" y="2360"/>
                  </a:cubicBezTo>
                  <a:close/>
                  <a:moveTo>
                    <a:pt x="1934" y="2806"/>
                  </a:moveTo>
                  <a:lnTo>
                    <a:pt x="1934" y="2811"/>
                  </a:lnTo>
                  <a:lnTo>
                    <a:pt x="1929" y="2811"/>
                  </a:lnTo>
                  <a:lnTo>
                    <a:pt x="1929" y="2806"/>
                  </a:lnTo>
                  <a:lnTo>
                    <a:pt x="1934" y="2806"/>
                  </a:lnTo>
                  <a:close/>
                  <a:moveTo>
                    <a:pt x="1923" y="2174"/>
                  </a:moveTo>
                  <a:cubicBezTo>
                    <a:pt x="1926" y="2174"/>
                    <a:pt x="1926" y="2185"/>
                    <a:pt x="1920" y="2182"/>
                  </a:cubicBezTo>
                  <a:cubicBezTo>
                    <a:pt x="1920" y="2179"/>
                    <a:pt x="1923" y="2177"/>
                    <a:pt x="1923" y="2174"/>
                  </a:cubicBezTo>
                  <a:close/>
                  <a:moveTo>
                    <a:pt x="1906" y="536"/>
                  </a:moveTo>
                  <a:cubicBezTo>
                    <a:pt x="1909" y="530"/>
                    <a:pt x="1918" y="542"/>
                    <a:pt x="1906" y="536"/>
                  </a:cubicBezTo>
                  <a:close/>
                  <a:moveTo>
                    <a:pt x="1903" y="178"/>
                  </a:moveTo>
                  <a:lnTo>
                    <a:pt x="1909" y="178"/>
                  </a:lnTo>
                  <a:lnTo>
                    <a:pt x="1909" y="183"/>
                  </a:lnTo>
                  <a:lnTo>
                    <a:pt x="1903" y="183"/>
                  </a:lnTo>
                  <a:lnTo>
                    <a:pt x="1903" y="178"/>
                  </a:lnTo>
                  <a:close/>
                  <a:moveTo>
                    <a:pt x="1898" y="2267"/>
                  </a:moveTo>
                  <a:cubicBezTo>
                    <a:pt x="1901" y="2261"/>
                    <a:pt x="1901" y="2275"/>
                    <a:pt x="1898" y="2267"/>
                  </a:cubicBezTo>
                  <a:close/>
                  <a:moveTo>
                    <a:pt x="1903" y="2490"/>
                  </a:moveTo>
                  <a:cubicBezTo>
                    <a:pt x="1906" y="2498"/>
                    <a:pt x="1889" y="2498"/>
                    <a:pt x="1903" y="2490"/>
                  </a:cubicBezTo>
                  <a:close/>
                  <a:moveTo>
                    <a:pt x="1881" y="141"/>
                  </a:moveTo>
                  <a:cubicBezTo>
                    <a:pt x="1886" y="139"/>
                    <a:pt x="1888" y="140"/>
                    <a:pt x="1891" y="141"/>
                  </a:cubicBezTo>
                  <a:cubicBezTo>
                    <a:pt x="1890" y="139"/>
                    <a:pt x="1889" y="138"/>
                    <a:pt x="1889" y="138"/>
                  </a:cubicBezTo>
                  <a:cubicBezTo>
                    <a:pt x="1895" y="133"/>
                    <a:pt x="1898" y="141"/>
                    <a:pt x="1895" y="144"/>
                  </a:cubicBezTo>
                  <a:cubicBezTo>
                    <a:pt x="1894" y="144"/>
                    <a:pt x="1893" y="143"/>
                    <a:pt x="1892" y="142"/>
                  </a:cubicBezTo>
                  <a:cubicBezTo>
                    <a:pt x="1891" y="147"/>
                    <a:pt x="1881" y="146"/>
                    <a:pt x="1881" y="141"/>
                  </a:cubicBezTo>
                  <a:close/>
                  <a:moveTo>
                    <a:pt x="1889" y="2687"/>
                  </a:moveTo>
                  <a:cubicBezTo>
                    <a:pt x="1889" y="2693"/>
                    <a:pt x="1886" y="2696"/>
                    <a:pt x="1884" y="2698"/>
                  </a:cubicBezTo>
                  <a:cubicBezTo>
                    <a:pt x="1884" y="2698"/>
                    <a:pt x="1881" y="2687"/>
                    <a:pt x="1889" y="2687"/>
                  </a:cubicBezTo>
                  <a:close/>
                  <a:moveTo>
                    <a:pt x="1870" y="2478"/>
                  </a:moveTo>
                  <a:cubicBezTo>
                    <a:pt x="1867" y="2476"/>
                    <a:pt x="1867" y="2473"/>
                    <a:pt x="1867" y="2470"/>
                  </a:cubicBezTo>
                  <a:cubicBezTo>
                    <a:pt x="1870" y="2467"/>
                    <a:pt x="1878" y="2470"/>
                    <a:pt x="1881" y="2473"/>
                  </a:cubicBezTo>
                  <a:cubicBezTo>
                    <a:pt x="1881" y="2476"/>
                    <a:pt x="1875" y="2478"/>
                    <a:pt x="1870" y="2478"/>
                  </a:cubicBezTo>
                  <a:close/>
                  <a:moveTo>
                    <a:pt x="1884" y="2679"/>
                  </a:moveTo>
                  <a:cubicBezTo>
                    <a:pt x="1886" y="2676"/>
                    <a:pt x="1889" y="2679"/>
                    <a:pt x="1895" y="2679"/>
                  </a:cubicBezTo>
                  <a:cubicBezTo>
                    <a:pt x="1895" y="2687"/>
                    <a:pt x="1884" y="2687"/>
                    <a:pt x="1884" y="2679"/>
                  </a:cubicBezTo>
                  <a:close/>
                  <a:moveTo>
                    <a:pt x="1889" y="2645"/>
                  </a:moveTo>
                  <a:cubicBezTo>
                    <a:pt x="1889" y="2639"/>
                    <a:pt x="1898" y="2648"/>
                    <a:pt x="1889" y="2645"/>
                  </a:cubicBezTo>
                  <a:close/>
                  <a:moveTo>
                    <a:pt x="1884" y="2543"/>
                  </a:moveTo>
                  <a:cubicBezTo>
                    <a:pt x="1886" y="2541"/>
                    <a:pt x="1892" y="2538"/>
                    <a:pt x="1895" y="2538"/>
                  </a:cubicBezTo>
                  <a:cubicBezTo>
                    <a:pt x="1895" y="2541"/>
                    <a:pt x="1889" y="2543"/>
                    <a:pt x="1884" y="2543"/>
                  </a:cubicBezTo>
                  <a:close/>
                  <a:moveTo>
                    <a:pt x="1886" y="2306"/>
                  </a:moveTo>
                  <a:cubicBezTo>
                    <a:pt x="1886" y="2301"/>
                    <a:pt x="1898" y="2309"/>
                    <a:pt x="1886" y="2306"/>
                  </a:cubicBezTo>
                  <a:close/>
                  <a:moveTo>
                    <a:pt x="1872" y="155"/>
                  </a:moveTo>
                  <a:cubicBezTo>
                    <a:pt x="1872" y="149"/>
                    <a:pt x="1881" y="152"/>
                    <a:pt x="1881" y="147"/>
                  </a:cubicBezTo>
                  <a:cubicBezTo>
                    <a:pt x="1889" y="149"/>
                    <a:pt x="1881" y="158"/>
                    <a:pt x="1872" y="155"/>
                  </a:cubicBezTo>
                  <a:close/>
                  <a:moveTo>
                    <a:pt x="1881" y="124"/>
                  </a:moveTo>
                  <a:cubicBezTo>
                    <a:pt x="1881" y="124"/>
                    <a:pt x="1884" y="127"/>
                    <a:pt x="1886" y="127"/>
                  </a:cubicBezTo>
                  <a:cubicBezTo>
                    <a:pt x="1884" y="130"/>
                    <a:pt x="1878" y="133"/>
                    <a:pt x="1878" y="135"/>
                  </a:cubicBezTo>
                  <a:cubicBezTo>
                    <a:pt x="1875" y="133"/>
                    <a:pt x="1878" y="127"/>
                    <a:pt x="1881" y="124"/>
                  </a:cubicBezTo>
                  <a:close/>
                  <a:moveTo>
                    <a:pt x="1872" y="96"/>
                  </a:moveTo>
                  <a:cubicBezTo>
                    <a:pt x="1875" y="90"/>
                    <a:pt x="1881" y="102"/>
                    <a:pt x="1872" y="96"/>
                  </a:cubicBezTo>
                  <a:close/>
                  <a:moveTo>
                    <a:pt x="1878" y="147"/>
                  </a:moveTo>
                  <a:cubicBezTo>
                    <a:pt x="1881" y="149"/>
                    <a:pt x="1867" y="152"/>
                    <a:pt x="1870" y="147"/>
                  </a:cubicBezTo>
                  <a:cubicBezTo>
                    <a:pt x="1872" y="147"/>
                    <a:pt x="1875" y="144"/>
                    <a:pt x="1878" y="147"/>
                  </a:cubicBezTo>
                  <a:close/>
                  <a:moveTo>
                    <a:pt x="1875" y="178"/>
                  </a:moveTo>
                  <a:cubicBezTo>
                    <a:pt x="1881" y="180"/>
                    <a:pt x="1886" y="183"/>
                    <a:pt x="1892" y="183"/>
                  </a:cubicBezTo>
                  <a:cubicBezTo>
                    <a:pt x="1892" y="192"/>
                    <a:pt x="1884" y="197"/>
                    <a:pt x="1875" y="195"/>
                  </a:cubicBezTo>
                  <a:cubicBezTo>
                    <a:pt x="1872" y="195"/>
                    <a:pt x="1872" y="195"/>
                    <a:pt x="1870" y="192"/>
                  </a:cubicBezTo>
                  <a:cubicBezTo>
                    <a:pt x="1872" y="192"/>
                    <a:pt x="1872" y="183"/>
                    <a:pt x="1875" y="178"/>
                  </a:cubicBezTo>
                  <a:close/>
                  <a:moveTo>
                    <a:pt x="1870" y="2411"/>
                  </a:moveTo>
                  <a:cubicBezTo>
                    <a:pt x="1875" y="2411"/>
                    <a:pt x="1870" y="2419"/>
                    <a:pt x="1867" y="2419"/>
                  </a:cubicBezTo>
                  <a:cubicBezTo>
                    <a:pt x="1867" y="2416"/>
                    <a:pt x="1870" y="2414"/>
                    <a:pt x="1870" y="2411"/>
                  </a:cubicBezTo>
                  <a:close/>
                  <a:moveTo>
                    <a:pt x="1861" y="116"/>
                  </a:moveTo>
                  <a:cubicBezTo>
                    <a:pt x="1864" y="116"/>
                    <a:pt x="1864" y="121"/>
                    <a:pt x="1864" y="121"/>
                  </a:cubicBezTo>
                  <a:cubicBezTo>
                    <a:pt x="1861" y="121"/>
                    <a:pt x="1858" y="118"/>
                    <a:pt x="1858" y="118"/>
                  </a:cubicBezTo>
                  <a:lnTo>
                    <a:pt x="1853" y="118"/>
                  </a:lnTo>
                  <a:cubicBezTo>
                    <a:pt x="1855" y="113"/>
                    <a:pt x="1861" y="113"/>
                    <a:pt x="1861" y="116"/>
                  </a:cubicBezTo>
                  <a:close/>
                  <a:moveTo>
                    <a:pt x="1864" y="2521"/>
                  </a:moveTo>
                  <a:cubicBezTo>
                    <a:pt x="1870" y="2526"/>
                    <a:pt x="1850" y="2526"/>
                    <a:pt x="1864" y="2521"/>
                  </a:cubicBezTo>
                  <a:close/>
                  <a:moveTo>
                    <a:pt x="1858" y="2825"/>
                  </a:moveTo>
                  <a:cubicBezTo>
                    <a:pt x="1853" y="2825"/>
                    <a:pt x="1858" y="2817"/>
                    <a:pt x="1861" y="2817"/>
                  </a:cubicBezTo>
                  <a:cubicBezTo>
                    <a:pt x="1864" y="2820"/>
                    <a:pt x="1858" y="2823"/>
                    <a:pt x="1858" y="2825"/>
                  </a:cubicBezTo>
                  <a:close/>
                  <a:moveTo>
                    <a:pt x="1867" y="2721"/>
                  </a:moveTo>
                  <a:lnTo>
                    <a:pt x="1861" y="2721"/>
                  </a:lnTo>
                  <a:lnTo>
                    <a:pt x="1861" y="2715"/>
                  </a:lnTo>
                  <a:lnTo>
                    <a:pt x="1867" y="2715"/>
                  </a:lnTo>
                  <a:cubicBezTo>
                    <a:pt x="1870" y="2715"/>
                    <a:pt x="1867" y="2718"/>
                    <a:pt x="1867" y="2721"/>
                  </a:cubicBezTo>
                  <a:close/>
                  <a:moveTo>
                    <a:pt x="1864" y="2631"/>
                  </a:moveTo>
                  <a:lnTo>
                    <a:pt x="1864" y="2622"/>
                  </a:lnTo>
                  <a:lnTo>
                    <a:pt x="1870" y="2622"/>
                  </a:lnTo>
                  <a:cubicBezTo>
                    <a:pt x="1872" y="2625"/>
                    <a:pt x="1870" y="2628"/>
                    <a:pt x="1864" y="2631"/>
                  </a:cubicBezTo>
                  <a:close/>
                  <a:moveTo>
                    <a:pt x="1872" y="2521"/>
                  </a:moveTo>
                  <a:cubicBezTo>
                    <a:pt x="1870" y="2518"/>
                    <a:pt x="1867" y="2515"/>
                    <a:pt x="1867" y="2509"/>
                  </a:cubicBezTo>
                  <a:cubicBezTo>
                    <a:pt x="1872" y="2509"/>
                    <a:pt x="1875" y="2512"/>
                    <a:pt x="1878" y="2515"/>
                  </a:cubicBezTo>
                  <a:cubicBezTo>
                    <a:pt x="1878" y="2518"/>
                    <a:pt x="1872" y="2518"/>
                    <a:pt x="1872" y="2521"/>
                  </a:cubicBezTo>
                  <a:close/>
                  <a:moveTo>
                    <a:pt x="1872" y="2715"/>
                  </a:moveTo>
                  <a:cubicBezTo>
                    <a:pt x="1875" y="2710"/>
                    <a:pt x="1881" y="2704"/>
                    <a:pt x="1886" y="2704"/>
                  </a:cubicBezTo>
                  <a:cubicBezTo>
                    <a:pt x="1895" y="2713"/>
                    <a:pt x="1889" y="2718"/>
                    <a:pt x="1872" y="2715"/>
                  </a:cubicBezTo>
                  <a:close/>
                  <a:moveTo>
                    <a:pt x="1886" y="2825"/>
                  </a:moveTo>
                  <a:cubicBezTo>
                    <a:pt x="1886" y="2823"/>
                    <a:pt x="1892" y="2820"/>
                    <a:pt x="1895" y="2820"/>
                  </a:cubicBezTo>
                  <a:cubicBezTo>
                    <a:pt x="1892" y="2823"/>
                    <a:pt x="1889" y="2823"/>
                    <a:pt x="1886" y="2825"/>
                  </a:cubicBezTo>
                  <a:close/>
                  <a:moveTo>
                    <a:pt x="1889" y="2811"/>
                  </a:moveTo>
                  <a:cubicBezTo>
                    <a:pt x="1889" y="2806"/>
                    <a:pt x="1901" y="2814"/>
                    <a:pt x="1889" y="2811"/>
                  </a:cubicBezTo>
                  <a:close/>
                  <a:moveTo>
                    <a:pt x="1895" y="2541"/>
                  </a:moveTo>
                  <a:cubicBezTo>
                    <a:pt x="1903" y="2541"/>
                    <a:pt x="1915" y="2532"/>
                    <a:pt x="1918" y="2543"/>
                  </a:cubicBezTo>
                  <a:cubicBezTo>
                    <a:pt x="1903" y="2541"/>
                    <a:pt x="1903" y="2552"/>
                    <a:pt x="1895" y="2552"/>
                  </a:cubicBezTo>
                  <a:lnTo>
                    <a:pt x="1895" y="2541"/>
                  </a:lnTo>
                  <a:close/>
                  <a:moveTo>
                    <a:pt x="1898" y="2628"/>
                  </a:moveTo>
                  <a:cubicBezTo>
                    <a:pt x="1895" y="2620"/>
                    <a:pt x="1903" y="2620"/>
                    <a:pt x="1906" y="2617"/>
                  </a:cubicBezTo>
                  <a:cubicBezTo>
                    <a:pt x="1909" y="2617"/>
                    <a:pt x="1903" y="2631"/>
                    <a:pt x="1898" y="2628"/>
                  </a:cubicBezTo>
                  <a:close/>
                  <a:moveTo>
                    <a:pt x="1906" y="2636"/>
                  </a:moveTo>
                  <a:cubicBezTo>
                    <a:pt x="1903" y="2636"/>
                    <a:pt x="1903" y="2631"/>
                    <a:pt x="1903" y="2628"/>
                  </a:cubicBezTo>
                  <a:cubicBezTo>
                    <a:pt x="1906" y="2628"/>
                    <a:pt x="1909" y="2631"/>
                    <a:pt x="1909" y="2631"/>
                  </a:cubicBezTo>
                  <a:cubicBezTo>
                    <a:pt x="1912" y="2634"/>
                    <a:pt x="1906" y="2634"/>
                    <a:pt x="1906" y="2636"/>
                  </a:cubicBezTo>
                  <a:close/>
                  <a:moveTo>
                    <a:pt x="1909" y="2825"/>
                  </a:moveTo>
                  <a:cubicBezTo>
                    <a:pt x="1909" y="2820"/>
                    <a:pt x="1918" y="2828"/>
                    <a:pt x="1909" y="2825"/>
                  </a:cubicBezTo>
                  <a:close/>
                  <a:moveTo>
                    <a:pt x="1912" y="2701"/>
                  </a:moveTo>
                  <a:cubicBezTo>
                    <a:pt x="1915" y="2698"/>
                    <a:pt x="1923" y="2693"/>
                    <a:pt x="1926" y="2696"/>
                  </a:cubicBezTo>
                  <a:cubicBezTo>
                    <a:pt x="1920" y="2698"/>
                    <a:pt x="1918" y="2701"/>
                    <a:pt x="1912" y="2701"/>
                  </a:cubicBezTo>
                  <a:close/>
                  <a:moveTo>
                    <a:pt x="1920" y="2684"/>
                  </a:moveTo>
                  <a:cubicBezTo>
                    <a:pt x="1920" y="2679"/>
                    <a:pt x="1932" y="2690"/>
                    <a:pt x="1920" y="2684"/>
                  </a:cubicBezTo>
                  <a:close/>
                  <a:moveTo>
                    <a:pt x="1918" y="2586"/>
                  </a:moveTo>
                  <a:cubicBezTo>
                    <a:pt x="1915" y="2580"/>
                    <a:pt x="1923" y="2580"/>
                    <a:pt x="1926" y="2580"/>
                  </a:cubicBezTo>
                  <a:cubicBezTo>
                    <a:pt x="1926" y="2583"/>
                    <a:pt x="1923" y="2586"/>
                    <a:pt x="1918" y="2586"/>
                  </a:cubicBezTo>
                  <a:close/>
                  <a:moveTo>
                    <a:pt x="1901" y="2470"/>
                  </a:moveTo>
                  <a:cubicBezTo>
                    <a:pt x="1909" y="2467"/>
                    <a:pt x="1923" y="2445"/>
                    <a:pt x="1929" y="2456"/>
                  </a:cubicBezTo>
                  <a:cubicBezTo>
                    <a:pt x="1918" y="2459"/>
                    <a:pt x="1915" y="2470"/>
                    <a:pt x="1901" y="2470"/>
                  </a:cubicBezTo>
                  <a:close/>
                  <a:moveTo>
                    <a:pt x="1929" y="82"/>
                  </a:moveTo>
                  <a:cubicBezTo>
                    <a:pt x="1929" y="73"/>
                    <a:pt x="1937" y="85"/>
                    <a:pt x="1929" y="82"/>
                  </a:cubicBezTo>
                  <a:close/>
                  <a:moveTo>
                    <a:pt x="1940" y="2851"/>
                  </a:moveTo>
                  <a:cubicBezTo>
                    <a:pt x="1934" y="2854"/>
                    <a:pt x="1934" y="2845"/>
                    <a:pt x="1932" y="2845"/>
                  </a:cubicBezTo>
                  <a:cubicBezTo>
                    <a:pt x="1932" y="2842"/>
                    <a:pt x="1937" y="2842"/>
                    <a:pt x="1940" y="2842"/>
                  </a:cubicBezTo>
                  <a:cubicBezTo>
                    <a:pt x="1937" y="2842"/>
                    <a:pt x="1940" y="2848"/>
                    <a:pt x="1940" y="2851"/>
                  </a:cubicBezTo>
                  <a:close/>
                  <a:moveTo>
                    <a:pt x="1937" y="2631"/>
                  </a:moveTo>
                  <a:cubicBezTo>
                    <a:pt x="1932" y="2628"/>
                    <a:pt x="1940" y="2620"/>
                    <a:pt x="1946" y="2620"/>
                  </a:cubicBezTo>
                  <a:cubicBezTo>
                    <a:pt x="1946" y="2625"/>
                    <a:pt x="1940" y="2625"/>
                    <a:pt x="1937" y="2631"/>
                  </a:cubicBezTo>
                  <a:close/>
                  <a:moveTo>
                    <a:pt x="1937" y="212"/>
                  </a:moveTo>
                  <a:lnTo>
                    <a:pt x="1937" y="206"/>
                  </a:lnTo>
                  <a:cubicBezTo>
                    <a:pt x="1940" y="206"/>
                    <a:pt x="1943" y="209"/>
                    <a:pt x="1943" y="212"/>
                  </a:cubicBezTo>
                  <a:cubicBezTo>
                    <a:pt x="1943" y="209"/>
                    <a:pt x="1940" y="212"/>
                    <a:pt x="1937" y="212"/>
                  </a:cubicBezTo>
                  <a:close/>
                  <a:moveTo>
                    <a:pt x="1946" y="2524"/>
                  </a:moveTo>
                  <a:cubicBezTo>
                    <a:pt x="1949" y="2518"/>
                    <a:pt x="1954" y="2512"/>
                    <a:pt x="1963" y="2512"/>
                  </a:cubicBezTo>
                  <a:cubicBezTo>
                    <a:pt x="1960" y="2521"/>
                    <a:pt x="1965" y="2526"/>
                    <a:pt x="1963" y="2532"/>
                  </a:cubicBezTo>
                  <a:cubicBezTo>
                    <a:pt x="1954" y="2529"/>
                    <a:pt x="1951" y="2524"/>
                    <a:pt x="1946" y="2524"/>
                  </a:cubicBezTo>
                  <a:close/>
                  <a:moveTo>
                    <a:pt x="1963" y="2789"/>
                  </a:moveTo>
                  <a:lnTo>
                    <a:pt x="1963" y="2786"/>
                  </a:lnTo>
                  <a:cubicBezTo>
                    <a:pt x="1965" y="2780"/>
                    <a:pt x="1963" y="2786"/>
                    <a:pt x="1963" y="2789"/>
                  </a:cubicBezTo>
                  <a:close/>
                  <a:moveTo>
                    <a:pt x="1963" y="556"/>
                  </a:moveTo>
                  <a:cubicBezTo>
                    <a:pt x="1963" y="553"/>
                    <a:pt x="1971" y="553"/>
                    <a:pt x="1974" y="553"/>
                  </a:cubicBezTo>
                  <a:cubicBezTo>
                    <a:pt x="1974" y="556"/>
                    <a:pt x="1965" y="556"/>
                    <a:pt x="1963" y="556"/>
                  </a:cubicBezTo>
                  <a:close/>
                  <a:moveTo>
                    <a:pt x="1971" y="598"/>
                  </a:moveTo>
                  <a:cubicBezTo>
                    <a:pt x="1977" y="592"/>
                    <a:pt x="1965" y="606"/>
                    <a:pt x="1971" y="598"/>
                  </a:cubicBezTo>
                  <a:close/>
                  <a:moveTo>
                    <a:pt x="1974" y="2772"/>
                  </a:moveTo>
                  <a:cubicBezTo>
                    <a:pt x="1974" y="2766"/>
                    <a:pt x="1982" y="2775"/>
                    <a:pt x="1974" y="2772"/>
                  </a:cubicBezTo>
                  <a:close/>
                  <a:moveTo>
                    <a:pt x="1974" y="578"/>
                  </a:moveTo>
                  <a:cubicBezTo>
                    <a:pt x="1974" y="573"/>
                    <a:pt x="1985" y="584"/>
                    <a:pt x="1974" y="578"/>
                  </a:cubicBezTo>
                  <a:close/>
                  <a:moveTo>
                    <a:pt x="1977" y="2642"/>
                  </a:moveTo>
                  <a:cubicBezTo>
                    <a:pt x="1980" y="2639"/>
                    <a:pt x="1988" y="2639"/>
                    <a:pt x="1994" y="2636"/>
                  </a:cubicBezTo>
                  <a:cubicBezTo>
                    <a:pt x="1991" y="2639"/>
                    <a:pt x="1985" y="2642"/>
                    <a:pt x="1977" y="2642"/>
                  </a:cubicBezTo>
                  <a:close/>
                  <a:moveTo>
                    <a:pt x="1988" y="2617"/>
                  </a:moveTo>
                  <a:cubicBezTo>
                    <a:pt x="1991" y="2611"/>
                    <a:pt x="1994" y="2608"/>
                    <a:pt x="1999" y="2611"/>
                  </a:cubicBezTo>
                  <a:cubicBezTo>
                    <a:pt x="1999" y="2617"/>
                    <a:pt x="1991" y="2622"/>
                    <a:pt x="1988" y="2617"/>
                  </a:cubicBezTo>
                  <a:close/>
                  <a:moveTo>
                    <a:pt x="1994" y="262"/>
                  </a:moveTo>
                  <a:cubicBezTo>
                    <a:pt x="1994" y="257"/>
                    <a:pt x="1997" y="257"/>
                    <a:pt x="1997" y="251"/>
                  </a:cubicBezTo>
                  <a:cubicBezTo>
                    <a:pt x="1999" y="251"/>
                    <a:pt x="1999" y="265"/>
                    <a:pt x="1994" y="262"/>
                  </a:cubicBezTo>
                  <a:close/>
                  <a:moveTo>
                    <a:pt x="2013" y="2667"/>
                  </a:moveTo>
                  <a:cubicBezTo>
                    <a:pt x="2011" y="2673"/>
                    <a:pt x="2008" y="2676"/>
                    <a:pt x="2002" y="2676"/>
                  </a:cubicBezTo>
                  <a:cubicBezTo>
                    <a:pt x="2002" y="2673"/>
                    <a:pt x="2008" y="2667"/>
                    <a:pt x="2013" y="2667"/>
                  </a:cubicBezTo>
                  <a:close/>
                  <a:moveTo>
                    <a:pt x="2011" y="2645"/>
                  </a:moveTo>
                  <a:cubicBezTo>
                    <a:pt x="2016" y="2639"/>
                    <a:pt x="2008" y="2651"/>
                    <a:pt x="2011" y="2645"/>
                  </a:cubicBezTo>
                  <a:close/>
                  <a:moveTo>
                    <a:pt x="2005" y="2820"/>
                  </a:moveTo>
                  <a:cubicBezTo>
                    <a:pt x="2008" y="2814"/>
                    <a:pt x="2011" y="2828"/>
                    <a:pt x="2005" y="2820"/>
                  </a:cubicBezTo>
                  <a:close/>
                  <a:moveTo>
                    <a:pt x="2011" y="2808"/>
                  </a:moveTo>
                  <a:cubicBezTo>
                    <a:pt x="2019" y="2808"/>
                    <a:pt x="2011" y="2820"/>
                    <a:pt x="2011" y="2808"/>
                  </a:cubicBezTo>
                  <a:close/>
                  <a:moveTo>
                    <a:pt x="2019" y="2659"/>
                  </a:moveTo>
                  <a:lnTo>
                    <a:pt x="2013" y="2659"/>
                  </a:lnTo>
                  <a:lnTo>
                    <a:pt x="2013" y="2653"/>
                  </a:lnTo>
                  <a:lnTo>
                    <a:pt x="2019" y="2653"/>
                  </a:lnTo>
                  <a:lnTo>
                    <a:pt x="2019" y="2659"/>
                  </a:lnTo>
                  <a:close/>
                  <a:moveTo>
                    <a:pt x="2016" y="2605"/>
                  </a:moveTo>
                  <a:cubicBezTo>
                    <a:pt x="2011" y="2605"/>
                    <a:pt x="2016" y="2597"/>
                    <a:pt x="2019" y="2597"/>
                  </a:cubicBezTo>
                  <a:cubicBezTo>
                    <a:pt x="2019" y="2600"/>
                    <a:pt x="2016" y="2603"/>
                    <a:pt x="2016" y="2605"/>
                  </a:cubicBezTo>
                  <a:close/>
                  <a:moveTo>
                    <a:pt x="2022" y="2642"/>
                  </a:moveTo>
                  <a:cubicBezTo>
                    <a:pt x="2016" y="2642"/>
                    <a:pt x="2016" y="2631"/>
                    <a:pt x="2025" y="2631"/>
                  </a:cubicBezTo>
                  <a:cubicBezTo>
                    <a:pt x="2025" y="2634"/>
                    <a:pt x="2025" y="2639"/>
                    <a:pt x="2022" y="2642"/>
                  </a:cubicBezTo>
                  <a:close/>
                  <a:moveTo>
                    <a:pt x="2016" y="2549"/>
                  </a:moveTo>
                  <a:cubicBezTo>
                    <a:pt x="2019" y="2546"/>
                    <a:pt x="2022" y="2543"/>
                    <a:pt x="2025" y="2543"/>
                  </a:cubicBezTo>
                  <a:cubicBezTo>
                    <a:pt x="2028" y="2549"/>
                    <a:pt x="2019" y="2549"/>
                    <a:pt x="2016" y="2549"/>
                  </a:cubicBezTo>
                  <a:close/>
                  <a:moveTo>
                    <a:pt x="2028" y="2261"/>
                  </a:moveTo>
                  <a:cubicBezTo>
                    <a:pt x="2025" y="2261"/>
                    <a:pt x="2019" y="2258"/>
                    <a:pt x="2019" y="2253"/>
                  </a:cubicBezTo>
                  <a:lnTo>
                    <a:pt x="2025" y="2253"/>
                  </a:lnTo>
                  <a:cubicBezTo>
                    <a:pt x="2028" y="2256"/>
                    <a:pt x="2028" y="2258"/>
                    <a:pt x="2028" y="2261"/>
                  </a:cubicBezTo>
                  <a:close/>
                  <a:moveTo>
                    <a:pt x="2016" y="381"/>
                  </a:moveTo>
                  <a:cubicBezTo>
                    <a:pt x="2019" y="378"/>
                    <a:pt x="2025" y="375"/>
                    <a:pt x="2033" y="375"/>
                  </a:cubicBezTo>
                  <a:cubicBezTo>
                    <a:pt x="2030" y="378"/>
                    <a:pt x="2022" y="381"/>
                    <a:pt x="2016" y="381"/>
                  </a:cubicBezTo>
                  <a:close/>
                  <a:moveTo>
                    <a:pt x="2044" y="2298"/>
                  </a:moveTo>
                  <a:cubicBezTo>
                    <a:pt x="2042" y="2304"/>
                    <a:pt x="2039" y="2301"/>
                    <a:pt x="2030" y="2304"/>
                  </a:cubicBezTo>
                  <a:cubicBezTo>
                    <a:pt x="2033" y="2298"/>
                    <a:pt x="2042" y="2295"/>
                    <a:pt x="2044" y="2298"/>
                  </a:cubicBezTo>
                  <a:close/>
                  <a:moveTo>
                    <a:pt x="2044" y="2577"/>
                  </a:moveTo>
                  <a:cubicBezTo>
                    <a:pt x="2044" y="2580"/>
                    <a:pt x="2039" y="2583"/>
                    <a:pt x="2039" y="2586"/>
                  </a:cubicBezTo>
                  <a:cubicBezTo>
                    <a:pt x="2036" y="2586"/>
                    <a:pt x="2036" y="2580"/>
                    <a:pt x="2036" y="2580"/>
                  </a:cubicBezTo>
                  <a:cubicBezTo>
                    <a:pt x="2039" y="2577"/>
                    <a:pt x="2042" y="2577"/>
                    <a:pt x="2044" y="2577"/>
                  </a:cubicBezTo>
                  <a:close/>
                  <a:moveTo>
                    <a:pt x="2030" y="2600"/>
                  </a:moveTo>
                  <a:cubicBezTo>
                    <a:pt x="2033" y="2594"/>
                    <a:pt x="2042" y="2603"/>
                    <a:pt x="2030" y="2600"/>
                  </a:cubicBezTo>
                  <a:close/>
                  <a:moveTo>
                    <a:pt x="2033" y="2634"/>
                  </a:moveTo>
                  <a:cubicBezTo>
                    <a:pt x="2033" y="2622"/>
                    <a:pt x="2047" y="2625"/>
                    <a:pt x="2056" y="2625"/>
                  </a:cubicBezTo>
                  <a:cubicBezTo>
                    <a:pt x="2050" y="2628"/>
                    <a:pt x="2042" y="2631"/>
                    <a:pt x="2033" y="2634"/>
                  </a:cubicBezTo>
                  <a:close/>
                  <a:moveTo>
                    <a:pt x="2056" y="2758"/>
                  </a:moveTo>
                  <a:cubicBezTo>
                    <a:pt x="2061" y="2755"/>
                    <a:pt x="2067" y="2755"/>
                    <a:pt x="2073" y="2755"/>
                  </a:cubicBezTo>
                  <a:cubicBezTo>
                    <a:pt x="2073" y="2758"/>
                    <a:pt x="2056" y="2766"/>
                    <a:pt x="2056" y="2758"/>
                  </a:cubicBezTo>
                  <a:close/>
                  <a:moveTo>
                    <a:pt x="2073" y="2648"/>
                  </a:moveTo>
                  <a:cubicBezTo>
                    <a:pt x="2070" y="2645"/>
                    <a:pt x="2067" y="2639"/>
                    <a:pt x="2067" y="2634"/>
                  </a:cubicBezTo>
                  <a:lnTo>
                    <a:pt x="2081" y="2634"/>
                  </a:lnTo>
                  <a:cubicBezTo>
                    <a:pt x="2081" y="2639"/>
                    <a:pt x="2076" y="2642"/>
                    <a:pt x="2073" y="2648"/>
                  </a:cubicBezTo>
                  <a:close/>
                  <a:moveTo>
                    <a:pt x="2084" y="2546"/>
                  </a:moveTo>
                  <a:lnTo>
                    <a:pt x="2083" y="2546"/>
                  </a:lnTo>
                  <a:cubicBezTo>
                    <a:pt x="2084" y="2545"/>
                    <a:pt x="2085" y="2544"/>
                    <a:pt x="2084" y="2546"/>
                  </a:cubicBezTo>
                  <a:cubicBezTo>
                    <a:pt x="2079" y="2551"/>
                    <a:pt x="2081" y="2548"/>
                    <a:pt x="2083" y="2546"/>
                  </a:cubicBezTo>
                  <a:lnTo>
                    <a:pt x="2084" y="2546"/>
                  </a:lnTo>
                  <a:close/>
                  <a:moveTo>
                    <a:pt x="2081" y="2543"/>
                  </a:moveTo>
                  <a:lnTo>
                    <a:pt x="2081" y="2535"/>
                  </a:lnTo>
                  <a:cubicBezTo>
                    <a:pt x="2087" y="2532"/>
                    <a:pt x="2087" y="2546"/>
                    <a:pt x="2081" y="2543"/>
                  </a:cubicBezTo>
                  <a:close/>
                  <a:moveTo>
                    <a:pt x="2081" y="2462"/>
                  </a:moveTo>
                  <a:cubicBezTo>
                    <a:pt x="2084" y="2453"/>
                    <a:pt x="2090" y="2447"/>
                    <a:pt x="2098" y="2445"/>
                  </a:cubicBezTo>
                  <a:cubicBezTo>
                    <a:pt x="2101" y="2456"/>
                    <a:pt x="2092" y="2462"/>
                    <a:pt x="2081" y="2462"/>
                  </a:cubicBezTo>
                  <a:close/>
                  <a:moveTo>
                    <a:pt x="2087" y="2591"/>
                  </a:moveTo>
                  <a:cubicBezTo>
                    <a:pt x="2090" y="2591"/>
                    <a:pt x="2092" y="2588"/>
                    <a:pt x="2095" y="2588"/>
                  </a:cubicBezTo>
                  <a:lnTo>
                    <a:pt x="2095" y="2594"/>
                  </a:lnTo>
                  <a:cubicBezTo>
                    <a:pt x="2092" y="2597"/>
                    <a:pt x="2084" y="2597"/>
                    <a:pt x="2087" y="2591"/>
                  </a:cubicBezTo>
                  <a:close/>
                  <a:moveTo>
                    <a:pt x="2092" y="2769"/>
                  </a:moveTo>
                  <a:lnTo>
                    <a:pt x="2087" y="2769"/>
                  </a:lnTo>
                  <a:lnTo>
                    <a:pt x="2087" y="2763"/>
                  </a:lnTo>
                  <a:lnTo>
                    <a:pt x="2092" y="2763"/>
                  </a:lnTo>
                  <a:cubicBezTo>
                    <a:pt x="2095" y="2763"/>
                    <a:pt x="2092" y="2766"/>
                    <a:pt x="2092" y="2769"/>
                  </a:cubicBezTo>
                  <a:close/>
                  <a:moveTo>
                    <a:pt x="2087" y="2696"/>
                  </a:moveTo>
                  <a:cubicBezTo>
                    <a:pt x="2090" y="2693"/>
                    <a:pt x="2092" y="2690"/>
                    <a:pt x="2095" y="2690"/>
                  </a:cubicBezTo>
                  <a:cubicBezTo>
                    <a:pt x="2095" y="2696"/>
                    <a:pt x="2092" y="2698"/>
                    <a:pt x="2087" y="2696"/>
                  </a:cubicBezTo>
                  <a:close/>
                  <a:moveTo>
                    <a:pt x="2092" y="2586"/>
                  </a:moveTo>
                  <a:cubicBezTo>
                    <a:pt x="2092" y="2580"/>
                    <a:pt x="2098" y="2580"/>
                    <a:pt x="2103" y="2577"/>
                  </a:cubicBezTo>
                  <a:lnTo>
                    <a:pt x="2104" y="2577"/>
                  </a:lnTo>
                  <a:cubicBezTo>
                    <a:pt x="2104" y="2578"/>
                    <a:pt x="2104" y="2578"/>
                    <a:pt x="2103" y="2579"/>
                  </a:cubicBezTo>
                  <a:cubicBezTo>
                    <a:pt x="2103" y="2578"/>
                    <a:pt x="2103" y="2578"/>
                    <a:pt x="2103" y="2577"/>
                  </a:cubicBezTo>
                  <a:cubicBezTo>
                    <a:pt x="2104" y="2574"/>
                    <a:pt x="2112" y="2579"/>
                    <a:pt x="2109" y="2572"/>
                  </a:cubicBezTo>
                  <a:cubicBezTo>
                    <a:pt x="2115" y="2569"/>
                    <a:pt x="2112" y="2574"/>
                    <a:pt x="2115" y="2580"/>
                  </a:cubicBezTo>
                  <a:lnTo>
                    <a:pt x="2104" y="2580"/>
                  </a:lnTo>
                  <a:cubicBezTo>
                    <a:pt x="2104" y="2580"/>
                    <a:pt x="2104" y="2579"/>
                    <a:pt x="2103" y="2579"/>
                  </a:cubicBezTo>
                  <a:cubicBezTo>
                    <a:pt x="2102" y="2584"/>
                    <a:pt x="2095" y="2591"/>
                    <a:pt x="2092" y="2586"/>
                  </a:cubicBezTo>
                  <a:close/>
                  <a:moveTo>
                    <a:pt x="2098" y="2631"/>
                  </a:moveTo>
                  <a:cubicBezTo>
                    <a:pt x="2098" y="2625"/>
                    <a:pt x="2104" y="2625"/>
                    <a:pt x="2104" y="2622"/>
                  </a:cubicBezTo>
                  <a:cubicBezTo>
                    <a:pt x="2109" y="2625"/>
                    <a:pt x="2104" y="2634"/>
                    <a:pt x="2098" y="2631"/>
                  </a:cubicBezTo>
                  <a:close/>
                  <a:moveTo>
                    <a:pt x="2109" y="2617"/>
                  </a:moveTo>
                  <a:cubicBezTo>
                    <a:pt x="2104" y="2625"/>
                    <a:pt x="2104" y="2611"/>
                    <a:pt x="2109" y="2617"/>
                  </a:cubicBezTo>
                  <a:close/>
                  <a:moveTo>
                    <a:pt x="2109" y="217"/>
                  </a:moveTo>
                  <a:cubicBezTo>
                    <a:pt x="2112" y="212"/>
                    <a:pt x="2115" y="209"/>
                    <a:pt x="2118" y="203"/>
                  </a:cubicBezTo>
                  <a:cubicBezTo>
                    <a:pt x="2121" y="209"/>
                    <a:pt x="2126" y="212"/>
                    <a:pt x="2129" y="217"/>
                  </a:cubicBezTo>
                  <a:cubicBezTo>
                    <a:pt x="2132" y="212"/>
                    <a:pt x="2135" y="206"/>
                    <a:pt x="2138" y="203"/>
                  </a:cubicBezTo>
                  <a:cubicBezTo>
                    <a:pt x="2140" y="217"/>
                    <a:pt x="2155" y="243"/>
                    <a:pt x="2140" y="251"/>
                  </a:cubicBezTo>
                  <a:cubicBezTo>
                    <a:pt x="2132" y="245"/>
                    <a:pt x="2126" y="237"/>
                    <a:pt x="2126" y="226"/>
                  </a:cubicBezTo>
                  <a:lnTo>
                    <a:pt x="2124" y="226"/>
                  </a:lnTo>
                  <a:cubicBezTo>
                    <a:pt x="2126" y="212"/>
                    <a:pt x="2115" y="228"/>
                    <a:pt x="2109" y="217"/>
                  </a:cubicBezTo>
                  <a:close/>
                  <a:moveTo>
                    <a:pt x="2115" y="429"/>
                  </a:moveTo>
                  <a:cubicBezTo>
                    <a:pt x="2115" y="423"/>
                    <a:pt x="2126" y="432"/>
                    <a:pt x="2115" y="429"/>
                  </a:cubicBezTo>
                  <a:close/>
                  <a:moveTo>
                    <a:pt x="2124" y="1483"/>
                  </a:moveTo>
                  <a:cubicBezTo>
                    <a:pt x="2132" y="1486"/>
                    <a:pt x="2118" y="1488"/>
                    <a:pt x="2121" y="1491"/>
                  </a:cubicBezTo>
                  <a:cubicBezTo>
                    <a:pt x="2115" y="1488"/>
                    <a:pt x="2124" y="1486"/>
                    <a:pt x="2124" y="1483"/>
                  </a:cubicBezTo>
                  <a:close/>
                  <a:moveTo>
                    <a:pt x="2118" y="2758"/>
                  </a:moveTo>
                  <a:cubicBezTo>
                    <a:pt x="2118" y="2752"/>
                    <a:pt x="2126" y="2761"/>
                    <a:pt x="2118" y="2758"/>
                  </a:cubicBezTo>
                  <a:close/>
                  <a:moveTo>
                    <a:pt x="2126" y="2541"/>
                  </a:moveTo>
                  <a:lnTo>
                    <a:pt x="2124" y="2543"/>
                  </a:lnTo>
                  <a:cubicBezTo>
                    <a:pt x="2124" y="2541"/>
                    <a:pt x="2126" y="2538"/>
                    <a:pt x="2126" y="2541"/>
                  </a:cubicBezTo>
                  <a:close/>
                  <a:moveTo>
                    <a:pt x="2132" y="2670"/>
                  </a:moveTo>
                  <a:lnTo>
                    <a:pt x="2126" y="2670"/>
                  </a:lnTo>
                  <a:lnTo>
                    <a:pt x="2126" y="2665"/>
                  </a:lnTo>
                  <a:lnTo>
                    <a:pt x="2132" y="2665"/>
                  </a:lnTo>
                  <a:cubicBezTo>
                    <a:pt x="2135" y="2665"/>
                    <a:pt x="2132" y="2667"/>
                    <a:pt x="2132" y="2670"/>
                  </a:cubicBezTo>
                  <a:close/>
                  <a:moveTo>
                    <a:pt x="2124" y="2600"/>
                  </a:moveTo>
                  <a:cubicBezTo>
                    <a:pt x="2124" y="2597"/>
                    <a:pt x="2129" y="2594"/>
                    <a:pt x="2132" y="2594"/>
                  </a:cubicBezTo>
                  <a:cubicBezTo>
                    <a:pt x="2132" y="2600"/>
                    <a:pt x="2129" y="2600"/>
                    <a:pt x="2124" y="2600"/>
                  </a:cubicBezTo>
                  <a:close/>
                  <a:moveTo>
                    <a:pt x="2121" y="2464"/>
                  </a:moveTo>
                  <a:cubicBezTo>
                    <a:pt x="2121" y="2459"/>
                    <a:pt x="2132" y="2459"/>
                    <a:pt x="2138" y="2456"/>
                  </a:cubicBezTo>
                  <a:cubicBezTo>
                    <a:pt x="2138" y="2462"/>
                    <a:pt x="2126" y="2462"/>
                    <a:pt x="2121" y="2464"/>
                  </a:cubicBezTo>
                  <a:close/>
                  <a:moveTo>
                    <a:pt x="2129" y="2433"/>
                  </a:moveTo>
                  <a:lnTo>
                    <a:pt x="2140" y="2433"/>
                  </a:lnTo>
                  <a:cubicBezTo>
                    <a:pt x="2140" y="2439"/>
                    <a:pt x="2126" y="2442"/>
                    <a:pt x="2129" y="2433"/>
                  </a:cubicBezTo>
                  <a:close/>
                  <a:moveTo>
                    <a:pt x="2143" y="2696"/>
                  </a:moveTo>
                  <a:lnTo>
                    <a:pt x="2138" y="2696"/>
                  </a:lnTo>
                  <a:cubicBezTo>
                    <a:pt x="2138" y="2693"/>
                    <a:pt x="2138" y="2693"/>
                    <a:pt x="2135" y="2693"/>
                  </a:cubicBezTo>
                  <a:cubicBezTo>
                    <a:pt x="2135" y="2687"/>
                    <a:pt x="2146" y="2690"/>
                    <a:pt x="2143" y="2696"/>
                  </a:cubicBezTo>
                  <a:close/>
                  <a:moveTo>
                    <a:pt x="2140" y="2684"/>
                  </a:moveTo>
                  <a:cubicBezTo>
                    <a:pt x="2140" y="2682"/>
                    <a:pt x="2143" y="2676"/>
                    <a:pt x="2149" y="2676"/>
                  </a:cubicBezTo>
                  <a:cubicBezTo>
                    <a:pt x="2146" y="2679"/>
                    <a:pt x="2146" y="2687"/>
                    <a:pt x="2140" y="2684"/>
                  </a:cubicBezTo>
                  <a:close/>
                  <a:moveTo>
                    <a:pt x="2149" y="2445"/>
                  </a:moveTo>
                  <a:cubicBezTo>
                    <a:pt x="2152" y="2442"/>
                    <a:pt x="2152" y="2436"/>
                    <a:pt x="2157" y="2436"/>
                  </a:cubicBezTo>
                  <a:cubicBezTo>
                    <a:pt x="2157" y="2445"/>
                    <a:pt x="2152" y="2447"/>
                    <a:pt x="2149" y="2445"/>
                  </a:cubicBezTo>
                  <a:close/>
                  <a:moveTo>
                    <a:pt x="2169" y="2433"/>
                  </a:moveTo>
                  <a:cubicBezTo>
                    <a:pt x="2166" y="2431"/>
                    <a:pt x="2163" y="2428"/>
                    <a:pt x="2163" y="2425"/>
                  </a:cubicBezTo>
                  <a:cubicBezTo>
                    <a:pt x="2169" y="2422"/>
                    <a:pt x="2169" y="2431"/>
                    <a:pt x="2169" y="2433"/>
                  </a:cubicBezTo>
                  <a:close/>
                  <a:moveTo>
                    <a:pt x="2169" y="409"/>
                  </a:moveTo>
                  <a:cubicBezTo>
                    <a:pt x="2183" y="415"/>
                    <a:pt x="2157" y="429"/>
                    <a:pt x="2169" y="409"/>
                  </a:cubicBezTo>
                  <a:close/>
                  <a:moveTo>
                    <a:pt x="2183" y="336"/>
                  </a:moveTo>
                  <a:cubicBezTo>
                    <a:pt x="2180" y="336"/>
                    <a:pt x="2174" y="333"/>
                    <a:pt x="2174" y="327"/>
                  </a:cubicBezTo>
                  <a:cubicBezTo>
                    <a:pt x="2180" y="324"/>
                    <a:pt x="2180" y="333"/>
                    <a:pt x="2183" y="336"/>
                  </a:cubicBezTo>
                  <a:close/>
                  <a:moveTo>
                    <a:pt x="2186" y="544"/>
                  </a:moveTo>
                  <a:lnTo>
                    <a:pt x="2180" y="544"/>
                  </a:lnTo>
                  <a:cubicBezTo>
                    <a:pt x="2166" y="527"/>
                    <a:pt x="2186" y="542"/>
                    <a:pt x="2186" y="544"/>
                  </a:cubicBezTo>
                  <a:close/>
                  <a:moveTo>
                    <a:pt x="2183" y="2546"/>
                  </a:moveTo>
                  <a:cubicBezTo>
                    <a:pt x="2183" y="2543"/>
                    <a:pt x="2191" y="2543"/>
                    <a:pt x="2191" y="2546"/>
                  </a:cubicBezTo>
                  <a:cubicBezTo>
                    <a:pt x="2191" y="2552"/>
                    <a:pt x="2180" y="2552"/>
                    <a:pt x="2183" y="2546"/>
                  </a:cubicBezTo>
                  <a:close/>
                  <a:moveTo>
                    <a:pt x="2183" y="1391"/>
                  </a:moveTo>
                  <a:cubicBezTo>
                    <a:pt x="2186" y="1385"/>
                    <a:pt x="2197" y="1393"/>
                    <a:pt x="2183" y="1391"/>
                  </a:cubicBezTo>
                  <a:close/>
                  <a:moveTo>
                    <a:pt x="2188" y="324"/>
                  </a:moveTo>
                  <a:cubicBezTo>
                    <a:pt x="2191" y="316"/>
                    <a:pt x="2194" y="333"/>
                    <a:pt x="2188" y="324"/>
                  </a:cubicBezTo>
                  <a:close/>
                  <a:moveTo>
                    <a:pt x="2203" y="341"/>
                  </a:moveTo>
                  <a:cubicBezTo>
                    <a:pt x="2203" y="344"/>
                    <a:pt x="2197" y="347"/>
                    <a:pt x="2191" y="347"/>
                  </a:cubicBezTo>
                  <a:cubicBezTo>
                    <a:pt x="2194" y="344"/>
                    <a:pt x="2200" y="341"/>
                    <a:pt x="2203" y="341"/>
                  </a:cubicBezTo>
                  <a:close/>
                  <a:moveTo>
                    <a:pt x="2194" y="2690"/>
                  </a:moveTo>
                  <a:cubicBezTo>
                    <a:pt x="2194" y="2684"/>
                    <a:pt x="2203" y="2693"/>
                    <a:pt x="2194" y="2690"/>
                  </a:cubicBezTo>
                  <a:close/>
                  <a:moveTo>
                    <a:pt x="2191" y="536"/>
                  </a:moveTo>
                  <a:cubicBezTo>
                    <a:pt x="2197" y="519"/>
                    <a:pt x="2205" y="553"/>
                    <a:pt x="2214" y="536"/>
                  </a:cubicBezTo>
                  <a:cubicBezTo>
                    <a:pt x="2225" y="527"/>
                    <a:pt x="2214" y="544"/>
                    <a:pt x="2211" y="550"/>
                  </a:cubicBezTo>
                  <a:cubicBezTo>
                    <a:pt x="2197" y="550"/>
                    <a:pt x="2200" y="539"/>
                    <a:pt x="2191" y="536"/>
                  </a:cubicBezTo>
                  <a:close/>
                  <a:moveTo>
                    <a:pt x="2205" y="2368"/>
                  </a:moveTo>
                  <a:cubicBezTo>
                    <a:pt x="2208" y="2363"/>
                    <a:pt x="2217" y="2371"/>
                    <a:pt x="2205" y="2368"/>
                  </a:cubicBezTo>
                  <a:close/>
                  <a:moveTo>
                    <a:pt x="2208" y="2636"/>
                  </a:moveTo>
                  <a:cubicBezTo>
                    <a:pt x="2208" y="2631"/>
                    <a:pt x="2211" y="2622"/>
                    <a:pt x="2217" y="2622"/>
                  </a:cubicBezTo>
                  <a:cubicBezTo>
                    <a:pt x="2214" y="2625"/>
                    <a:pt x="2214" y="2636"/>
                    <a:pt x="2208" y="2636"/>
                  </a:cubicBezTo>
                  <a:close/>
                  <a:moveTo>
                    <a:pt x="2222" y="2701"/>
                  </a:moveTo>
                  <a:cubicBezTo>
                    <a:pt x="2222" y="2718"/>
                    <a:pt x="2203" y="2701"/>
                    <a:pt x="2222" y="2701"/>
                  </a:cubicBezTo>
                  <a:close/>
                  <a:moveTo>
                    <a:pt x="2222" y="2710"/>
                  </a:moveTo>
                  <a:cubicBezTo>
                    <a:pt x="2222" y="2704"/>
                    <a:pt x="2228" y="2704"/>
                    <a:pt x="2231" y="2701"/>
                  </a:cubicBezTo>
                  <a:cubicBezTo>
                    <a:pt x="2234" y="2704"/>
                    <a:pt x="2236" y="2707"/>
                    <a:pt x="2236" y="2713"/>
                  </a:cubicBezTo>
                  <a:cubicBezTo>
                    <a:pt x="2228" y="2713"/>
                    <a:pt x="2225" y="2713"/>
                    <a:pt x="2222" y="2710"/>
                  </a:cubicBezTo>
                  <a:close/>
                  <a:moveTo>
                    <a:pt x="2222" y="2617"/>
                  </a:moveTo>
                  <a:cubicBezTo>
                    <a:pt x="2234" y="2617"/>
                    <a:pt x="2239" y="2597"/>
                    <a:pt x="2253" y="2600"/>
                  </a:cubicBezTo>
                  <a:cubicBezTo>
                    <a:pt x="2248" y="2611"/>
                    <a:pt x="2228" y="2634"/>
                    <a:pt x="2222" y="2617"/>
                  </a:cubicBezTo>
                  <a:close/>
                  <a:moveTo>
                    <a:pt x="2262" y="2645"/>
                  </a:moveTo>
                  <a:lnTo>
                    <a:pt x="2256" y="2645"/>
                  </a:lnTo>
                  <a:cubicBezTo>
                    <a:pt x="2253" y="2648"/>
                    <a:pt x="2242" y="2642"/>
                    <a:pt x="2242" y="2620"/>
                  </a:cubicBezTo>
                  <a:cubicBezTo>
                    <a:pt x="2256" y="2625"/>
                    <a:pt x="2259" y="2636"/>
                    <a:pt x="2259" y="2639"/>
                  </a:cubicBezTo>
                  <a:lnTo>
                    <a:pt x="2262" y="2639"/>
                  </a:lnTo>
                  <a:cubicBezTo>
                    <a:pt x="2265" y="2639"/>
                    <a:pt x="2262" y="2642"/>
                    <a:pt x="2262" y="2645"/>
                  </a:cubicBezTo>
                  <a:close/>
                  <a:moveTo>
                    <a:pt x="2265" y="2383"/>
                  </a:moveTo>
                  <a:cubicBezTo>
                    <a:pt x="2259" y="2383"/>
                    <a:pt x="2265" y="2374"/>
                    <a:pt x="2267" y="2374"/>
                  </a:cubicBezTo>
                  <a:cubicBezTo>
                    <a:pt x="2270" y="2380"/>
                    <a:pt x="2265" y="2380"/>
                    <a:pt x="2265" y="2383"/>
                  </a:cubicBezTo>
                  <a:close/>
                  <a:moveTo>
                    <a:pt x="2279" y="2597"/>
                  </a:moveTo>
                  <a:cubicBezTo>
                    <a:pt x="2279" y="2600"/>
                    <a:pt x="2276" y="2605"/>
                    <a:pt x="2279" y="2608"/>
                  </a:cubicBezTo>
                  <a:cubicBezTo>
                    <a:pt x="2253" y="2594"/>
                    <a:pt x="2273" y="2572"/>
                    <a:pt x="2279" y="2597"/>
                  </a:cubicBezTo>
                  <a:close/>
                  <a:moveTo>
                    <a:pt x="2270" y="2543"/>
                  </a:moveTo>
                  <a:cubicBezTo>
                    <a:pt x="2270" y="2541"/>
                    <a:pt x="2270" y="2541"/>
                    <a:pt x="2273" y="2538"/>
                  </a:cubicBezTo>
                  <a:cubicBezTo>
                    <a:pt x="2273" y="2538"/>
                    <a:pt x="2270" y="2535"/>
                    <a:pt x="2273" y="2529"/>
                  </a:cubicBezTo>
                  <a:cubicBezTo>
                    <a:pt x="2279" y="2529"/>
                    <a:pt x="2282" y="2529"/>
                    <a:pt x="2279" y="2532"/>
                  </a:cubicBezTo>
                  <a:cubicBezTo>
                    <a:pt x="2287" y="2529"/>
                    <a:pt x="2296" y="2555"/>
                    <a:pt x="2304" y="2555"/>
                  </a:cubicBezTo>
                  <a:cubicBezTo>
                    <a:pt x="2301" y="2563"/>
                    <a:pt x="2293" y="2572"/>
                    <a:pt x="2284" y="2569"/>
                  </a:cubicBezTo>
                  <a:cubicBezTo>
                    <a:pt x="2273" y="2566"/>
                    <a:pt x="2282" y="2543"/>
                    <a:pt x="2270" y="2543"/>
                  </a:cubicBezTo>
                  <a:close/>
                  <a:moveTo>
                    <a:pt x="2298" y="2572"/>
                  </a:moveTo>
                  <a:cubicBezTo>
                    <a:pt x="2298" y="2574"/>
                    <a:pt x="2293" y="2577"/>
                    <a:pt x="2290" y="2577"/>
                  </a:cubicBezTo>
                  <a:cubicBezTo>
                    <a:pt x="2290" y="2572"/>
                    <a:pt x="2296" y="2572"/>
                    <a:pt x="2298" y="2572"/>
                  </a:cubicBezTo>
                  <a:close/>
                  <a:moveTo>
                    <a:pt x="2298" y="2574"/>
                  </a:moveTo>
                  <a:cubicBezTo>
                    <a:pt x="2296" y="2580"/>
                    <a:pt x="2301" y="2572"/>
                    <a:pt x="2298" y="2574"/>
                  </a:cubicBezTo>
                  <a:close/>
                  <a:moveTo>
                    <a:pt x="2296" y="2634"/>
                  </a:moveTo>
                  <a:cubicBezTo>
                    <a:pt x="2296" y="2631"/>
                    <a:pt x="2298" y="2631"/>
                    <a:pt x="2298" y="2628"/>
                  </a:cubicBezTo>
                  <a:lnTo>
                    <a:pt x="2298" y="2631"/>
                  </a:lnTo>
                  <a:lnTo>
                    <a:pt x="2298" y="2634"/>
                  </a:lnTo>
                  <a:cubicBezTo>
                    <a:pt x="2298" y="2636"/>
                    <a:pt x="2296" y="2636"/>
                    <a:pt x="2293" y="2636"/>
                  </a:cubicBezTo>
                  <a:lnTo>
                    <a:pt x="2293" y="2642"/>
                  </a:lnTo>
                  <a:lnTo>
                    <a:pt x="2290" y="2636"/>
                  </a:lnTo>
                  <a:cubicBezTo>
                    <a:pt x="2293" y="2636"/>
                    <a:pt x="2293" y="2636"/>
                    <a:pt x="2296" y="2634"/>
                  </a:cubicBezTo>
                  <a:close/>
                  <a:moveTo>
                    <a:pt x="2296" y="2665"/>
                  </a:moveTo>
                  <a:cubicBezTo>
                    <a:pt x="2290" y="2665"/>
                    <a:pt x="2296" y="2656"/>
                    <a:pt x="2298" y="2656"/>
                  </a:cubicBezTo>
                  <a:cubicBezTo>
                    <a:pt x="2301" y="2662"/>
                    <a:pt x="2298" y="2662"/>
                    <a:pt x="2296" y="2665"/>
                  </a:cubicBezTo>
                  <a:close/>
                  <a:moveTo>
                    <a:pt x="2296" y="2608"/>
                  </a:moveTo>
                  <a:cubicBezTo>
                    <a:pt x="2287" y="2586"/>
                    <a:pt x="2318" y="2603"/>
                    <a:pt x="2310" y="2580"/>
                  </a:cubicBezTo>
                  <a:cubicBezTo>
                    <a:pt x="2335" y="2574"/>
                    <a:pt x="2310" y="2611"/>
                    <a:pt x="2296" y="2608"/>
                  </a:cubicBezTo>
                  <a:close/>
                  <a:moveTo>
                    <a:pt x="2324" y="2634"/>
                  </a:moveTo>
                  <a:cubicBezTo>
                    <a:pt x="2338" y="2653"/>
                    <a:pt x="2296" y="2659"/>
                    <a:pt x="2324" y="2634"/>
                  </a:cubicBezTo>
                  <a:close/>
                  <a:moveTo>
                    <a:pt x="2327" y="2588"/>
                  </a:moveTo>
                  <a:cubicBezTo>
                    <a:pt x="2335" y="2591"/>
                    <a:pt x="2324" y="2603"/>
                    <a:pt x="2327" y="2588"/>
                  </a:cubicBezTo>
                  <a:close/>
                  <a:moveTo>
                    <a:pt x="2335" y="2569"/>
                  </a:moveTo>
                  <a:cubicBezTo>
                    <a:pt x="2318" y="2572"/>
                    <a:pt x="2315" y="2549"/>
                    <a:pt x="2324" y="2541"/>
                  </a:cubicBezTo>
                  <a:cubicBezTo>
                    <a:pt x="2332" y="2549"/>
                    <a:pt x="2341" y="2557"/>
                    <a:pt x="2335" y="2569"/>
                  </a:cubicBezTo>
                  <a:close/>
                  <a:moveTo>
                    <a:pt x="2346" y="2563"/>
                  </a:moveTo>
                  <a:cubicBezTo>
                    <a:pt x="2341" y="2566"/>
                    <a:pt x="2346" y="2557"/>
                    <a:pt x="2346" y="2563"/>
                  </a:cubicBezTo>
                  <a:close/>
                  <a:moveTo>
                    <a:pt x="2344" y="2140"/>
                  </a:moveTo>
                  <a:cubicBezTo>
                    <a:pt x="2346" y="2134"/>
                    <a:pt x="2355" y="2146"/>
                    <a:pt x="2344" y="2140"/>
                  </a:cubicBezTo>
                  <a:close/>
                  <a:moveTo>
                    <a:pt x="2349" y="2622"/>
                  </a:moveTo>
                  <a:cubicBezTo>
                    <a:pt x="2346" y="2617"/>
                    <a:pt x="2346" y="2608"/>
                    <a:pt x="2346" y="2603"/>
                  </a:cubicBezTo>
                  <a:cubicBezTo>
                    <a:pt x="2352" y="2603"/>
                    <a:pt x="2358" y="2611"/>
                    <a:pt x="2363" y="2611"/>
                  </a:cubicBezTo>
                  <a:cubicBezTo>
                    <a:pt x="2363" y="2622"/>
                    <a:pt x="2355" y="2622"/>
                    <a:pt x="2349" y="2622"/>
                  </a:cubicBezTo>
                  <a:close/>
                  <a:moveTo>
                    <a:pt x="2369" y="2574"/>
                  </a:moveTo>
                  <a:cubicBezTo>
                    <a:pt x="2363" y="2574"/>
                    <a:pt x="2366" y="2566"/>
                    <a:pt x="2366" y="2563"/>
                  </a:cubicBezTo>
                  <a:cubicBezTo>
                    <a:pt x="2372" y="2563"/>
                    <a:pt x="2369" y="2572"/>
                    <a:pt x="2369" y="2574"/>
                  </a:cubicBezTo>
                  <a:close/>
                  <a:moveTo>
                    <a:pt x="2377" y="2603"/>
                  </a:moveTo>
                  <a:cubicBezTo>
                    <a:pt x="2375" y="2605"/>
                    <a:pt x="2380" y="2597"/>
                    <a:pt x="2377" y="2603"/>
                  </a:cubicBezTo>
                  <a:close/>
                  <a:moveTo>
                    <a:pt x="2380" y="2543"/>
                  </a:moveTo>
                  <a:lnTo>
                    <a:pt x="2383" y="2543"/>
                  </a:lnTo>
                  <a:cubicBezTo>
                    <a:pt x="2386" y="2548"/>
                    <a:pt x="2373" y="2551"/>
                    <a:pt x="2372" y="2546"/>
                  </a:cubicBezTo>
                  <a:cubicBezTo>
                    <a:pt x="2366" y="2546"/>
                    <a:pt x="2363" y="2540"/>
                    <a:pt x="2363" y="2535"/>
                  </a:cubicBezTo>
                  <a:cubicBezTo>
                    <a:pt x="2363" y="2532"/>
                    <a:pt x="2363" y="2532"/>
                    <a:pt x="2366" y="2529"/>
                  </a:cubicBezTo>
                  <a:cubicBezTo>
                    <a:pt x="2372" y="2529"/>
                    <a:pt x="2380" y="2526"/>
                    <a:pt x="2389" y="2526"/>
                  </a:cubicBezTo>
                  <a:cubicBezTo>
                    <a:pt x="2389" y="2532"/>
                    <a:pt x="2386" y="2538"/>
                    <a:pt x="2380" y="2543"/>
                  </a:cubicBezTo>
                  <a:close/>
                  <a:moveTo>
                    <a:pt x="2389" y="2504"/>
                  </a:moveTo>
                  <a:cubicBezTo>
                    <a:pt x="2408" y="2512"/>
                    <a:pt x="2375" y="2524"/>
                    <a:pt x="2389" y="2504"/>
                  </a:cubicBezTo>
                  <a:close/>
                  <a:moveTo>
                    <a:pt x="2386" y="2086"/>
                  </a:moveTo>
                  <a:cubicBezTo>
                    <a:pt x="2386" y="2084"/>
                    <a:pt x="2394" y="2081"/>
                    <a:pt x="2397" y="2081"/>
                  </a:cubicBezTo>
                  <a:cubicBezTo>
                    <a:pt x="2394" y="2086"/>
                    <a:pt x="2389" y="2089"/>
                    <a:pt x="2386" y="2086"/>
                  </a:cubicBezTo>
                  <a:close/>
                  <a:moveTo>
                    <a:pt x="2400" y="2572"/>
                  </a:moveTo>
                  <a:cubicBezTo>
                    <a:pt x="2392" y="2580"/>
                    <a:pt x="2406" y="2557"/>
                    <a:pt x="2400" y="2572"/>
                  </a:cubicBezTo>
                  <a:close/>
                  <a:moveTo>
                    <a:pt x="2397" y="2563"/>
                  </a:moveTo>
                  <a:cubicBezTo>
                    <a:pt x="2394" y="2566"/>
                    <a:pt x="2400" y="2557"/>
                    <a:pt x="2397" y="2563"/>
                  </a:cubicBezTo>
                  <a:close/>
                  <a:moveTo>
                    <a:pt x="2397" y="2538"/>
                  </a:moveTo>
                  <a:cubicBezTo>
                    <a:pt x="2417" y="2541"/>
                    <a:pt x="2389" y="2569"/>
                    <a:pt x="2397" y="2538"/>
                  </a:cubicBezTo>
                  <a:close/>
                  <a:moveTo>
                    <a:pt x="2403" y="2563"/>
                  </a:moveTo>
                  <a:cubicBezTo>
                    <a:pt x="2408" y="2552"/>
                    <a:pt x="2420" y="2574"/>
                    <a:pt x="2403" y="2563"/>
                  </a:cubicBezTo>
                  <a:close/>
                  <a:moveTo>
                    <a:pt x="2417" y="1697"/>
                  </a:moveTo>
                  <a:cubicBezTo>
                    <a:pt x="2420" y="1689"/>
                    <a:pt x="2420" y="1706"/>
                    <a:pt x="2417" y="1697"/>
                  </a:cubicBezTo>
                  <a:close/>
                  <a:moveTo>
                    <a:pt x="2414" y="1235"/>
                  </a:moveTo>
                  <a:cubicBezTo>
                    <a:pt x="2411" y="1235"/>
                    <a:pt x="2406" y="1233"/>
                    <a:pt x="2403" y="1230"/>
                  </a:cubicBezTo>
                  <a:cubicBezTo>
                    <a:pt x="2406" y="1204"/>
                    <a:pt x="2431" y="1230"/>
                    <a:pt x="2414" y="1235"/>
                  </a:cubicBezTo>
                  <a:close/>
                  <a:moveTo>
                    <a:pt x="2417" y="505"/>
                  </a:moveTo>
                  <a:cubicBezTo>
                    <a:pt x="2417" y="502"/>
                    <a:pt x="2420" y="496"/>
                    <a:pt x="2423" y="494"/>
                  </a:cubicBezTo>
                  <a:cubicBezTo>
                    <a:pt x="2425" y="494"/>
                    <a:pt x="2431" y="496"/>
                    <a:pt x="2434" y="496"/>
                  </a:cubicBezTo>
                  <a:cubicBezTo>
                    <a:pt x="2434" y="499"/>
                    <a:pt x="2431" y="505"/>
                    <a:pt x="2431" y="508"/>
                  </a:cubicBezTo>
                  <a:cubicBezTo>
                    <a:pt x="2425" y="508"/>
                    <a:pt x="2420" y="508"/>
                    <a:pt x="2417" y="505"/>
                  </a:cubicBezTo>
                  <a:close/>
                  <a:moveTo>
                    <a:pt x="2423" y="2380"/>
                  </a:moveTo>
                  <a:cubicBezTo>
                    <a:pt x="2423" y="2374"/>
                    <a:pt x="2434" y="2385"/>
                    <a:pt x="2423" y="2380"/>
                  </a:cubicBezTo>
                  <a:close/>
                  <a:moveTo>
                    <a:pt x="2425" y="2450"/>
                  </a:moveTo>
                  <a:cubicBezTo>
                    <a:pt x="2425" y="2445"/>
                    <a:pt x="2437" y="2445"/>
                    <a:pt x="2440" y="2442"/>
                  </a:cubicBezTo>
                  <a:cubicBezTo>
                    <a:pt x="2448" y="2442"/>
                    <a:pt x="2431" y="2456"/>
                    <a:pt x="2425" y="2450"/>
                  </a:cubicBezTo>
                  <a:close/>
                  <a:moveTo>
                    <a:pt x="2428" y="2436"/>
                  </a:moveTo>
                  <a:cubicBezTo>
                    <a:pt x="2431" y="2433"/>
                    <a:pt x="2440" y="2431"/>
                    <a:pt x="2440" y="2425"/>
                  </a:cubicBezTo>
                  <a:cubicBezTo>
                    <a:pt x="2448" y="2428"/>
                    <a:pt x="2440" y="2439"/>
                    <a:pt x="2428" y="2436"/>
                  </a:cubicBezTo>
                  <a:close/>
                  <a:moveTo>
                    <a:pt x="2445" y="2529"/>
                  </a:moveTo>
                  <a:lnTo>
                    <a:pt x="2445" y="2526"/>
                  </a:lnTo>
                  <a:cubicBezTo>
                    <a:pt x="2445" y="2526"/>
                    <a:pt x="2448" y="2526"/>
                    <a:pt x="2448" y="2529"/>
                  </a:cubicBezTo>
                  <a:cubicBezTo>
                    <a:pt x="2451" y="2532"/>
                    <a:pt x="2451" y="2535"/>
                    <a:pt x="2451" y="2538"/>
                  </a:cubicBezTo>
                  <a:cubicBezTo>
                    <a:pt x="2451" y="2535"/>
                    <a:pt x="2448" y="2532"/>
                    <a:pt x="2445" y="2529"/>
                  </a:cubicBezTo>
                  <a:close/>
                  <a:moveTo>
                    <a:pt x="2448" y="1505"/>
                  </a:moveTo>
                  <a:cubicBezTo>
                    <a:pt x="2454" y="1500"/>
                    <a:pt x="2445" y="1514"/>
                    <a:pt x="2448" y="1505"/>
                  </a:cubicBezTo>
                  <a:close/>
                  <a:moveTo>
                    <a:pt x="2451" y="2377"/>
                  </a:moveTo>
                  <a:lnTo>
                    <a:pt x="2451" y="2368"/>
                  </a:lnTo>
                  <a:cubicBezTo>
                    <a:pt x="2454" y="2368"/>
                    <a:pt x="2454" y="2371"/>
                    <a:pt x="2456" y="2371"/>
                  </a:cubicBezTo>
                  <a:lnTo>
                    <a:pt x="2456" y="2377"/>
                  </a:lnTo>
                  <a:cubicBezTo>
                    <a:pt x="2456" y="2380"/>
                    <a:pt x="2451" y="2377"/>
                    <a:pt x="2451" y="2377"/>
                  </a:cubicBezTo>
                  <a:close/>
                  <a:moveTo>
                    <a:pt x="2456" y="2439"/>
                  </a:moveTo>
                  <a:cubicBezTo>
                    <a:pt x="2456" y="2433"/>
                    <a:pt x="2462" y="2433"/>
                    <a:pt x="2465" y="2431"/>
                  </a:cubicBezTo>
                  <a:cubicBezTo>
                    <a:pt x="2465" y="2436"/>
                    <a:pt x="2462" y="2442"/>
                    <a:pt x="2456" y="2439"/>
                  </a:cubicBezTo>
                  <a:close/>
                  <a:moveTo>
                    <a:pt x="2465" y="2431"/>
                  </a:moveTo>
                  <a:cubicBezTo>
                    <a:pt x="2465" y="2429"/>
                    <a:pt x="2471" y="2425"/>
                    <a:pt x="2473" y="2425"/>
                  </a:cubicBezTo>
                  <a:lnTo>
                    <a:pt x="2473" y="2428"/>
                  </a:lnTo>
                  <a:cubicBezTo>
                    <a:pt x="2471" y="2431"/>
                    <a:pt x="2471" y="2433"/>
                    <a:pt x="2471" y="2433"/>
                  </a:cubicBezTo>
                  <a:cubicBezTo>
                    <a:pt x="2468" y="2433"/>
                    <a:pt x="2465" y="2434"/>
                    <a:pt x="2465" y="2431"/>
                  </a:cubicBezTo>
                  <a:close/>
                  <a:moveTo>
                    <a:pt x="2476" y="2464"/>
                  </a:moveTo>
                  <a:cubicBezTo>
                    <a:pt x="2473" y="2464"/>
                    <a:pt x="2473" y="2462"/>
                    <a:pt x="2471" y="2462"/>
                  </a:cubicBezTo>
                  <a:lnTo>
                    <a:pt x="2471" y="2459"/>
                  </a:lnTo>
                  <a:cubicBezTo>
                    <a:pt x="2476" y="2459"/>
                    <a:pt x="2476" y="2464"/>
                    <a:pt x="2476" y="2464"/>
                  </a:cubicBezTo>
                  <a:close/>
                  <a:moveTo>
                    <a:pt x="2471" y="2383"/>
                  </a:moveTo>
                  <a:cubicBezTo>
                    <a:pt x="2462" y="2377"/>
                    <a:pt x="2476" y="2360"/>
                    <a:pt x="2479" y="2363"/>
                  </a:cubicBezTo>
                  <a:cubicBezTo>
                    <a:pt x="2482" y="2371"/>
                    <a:pt x="2476" y="2380"/>
                    <a:pt x="2471" y="2383"/>
                  </a:cubicBezTo>
                  <a:close/>
                  <a:moveTo>
                    <a:pt x="2476" y="2436"/>
                  </a:moveTo>
                  <a:cubicBezTo>
                    <a:pt x="2476" y="2436"/>
                    <a:pt x="2473" y="2431"/>
                    <a:pt x="2476" y="2428"/>
                  </a:cubicBezTo>
                  <a:cubicBezTo>
                    <a:pt x="2479" y="2425"/>
                    <a:pt x="2485" y="2439"/>
                    <a:pt x="2476" y="2436"/>
                  </a:cubicBezTo>
                  <a:close/>
                  <a:moveTo>
                    <a:pt x="2482" y="2270"/>
                  </a:moveTo>
                  <a:cubicBezTo>
                    <a:pt x="2485" y="2264"/>
                    <a:pt x="2493" y="2273"/>
                    <a:pt x="2482" y="2270"/>
                  </a:cubicBezTo>
                  <a:close/>
                  <a:moveTo>
                    <a:pt x="2485" y="2357"/>
                  </a:moveTo>
                  <a:cubicBezTo>
                    <a:pt x="2485" y="2357"/>
                    <a:pt x="2485" y="2360"/>
                    <a:pt x="2485" y="2357"/>
                  </a:cubicBezTo>
                  <a:lnTo>
                    <a:pt x="2485" y="2360"/>
                  </a:lnTo>
                  <a:cubicBezTo>
                    <a:pt x="2485" y="2360"/>
                    <a:pt x="2482" y="2360"/>
                    <a:pt x="2485" y="2357"/>
                  </a:cubicBezTo>
                  <a:close/>
                  <a:moveTo>
                    <a:pt x="2482" y="2205"/>
                  </a:moveTo>
                  <a:cubicBezTo>
                    <a:pt x="2476" y="2202"/>
                    <a:pt x="2487" y="2196"/>
                    <a:pt x="2490" y="2194"/>
                  </a:cubicBezTo>
                  <a:cubicBezTo>
                    <a:pt x="2490" y="2202"/>
                    <a:pt x="2482" y="2202"/>
                    <a:pt x="2482" y="2205"/>
                  </a:cubicBezTo>
                  <a:close/>
                  <a:moveTo>
                    <a:pt x="2493" y="2385"/>
                  </a:moveTo>
                  <a:cubicBezTo>
                    <a:pt x="2490" y="2391"/>
                    <a:pt x="2485" y="2391"/>
                    <a:pt x="2479" y="2391"/>
                  </a:cubicBezTo>
                  <a:cubicBezTo>
                    <a:pt x="2482" y="2388"/>
                    <a:pt x="2490" y="2383"/>
                    <a:pt x="2493" y="2385"/>
                  </a:cubicBezTo>
                  <a:close/>
                  <a:moveTo>
                    <a:pt x="2487" y="2439"/>
                  </a:moveTo>
                  <a:cubicBezTo>
                    <a:pt x="2490" y="2433"/>
                    <a:pt x="2499" y="2445"/>
                    <a:pt x="2487" y="2439"/>
                  </a:cubicBezTo>
                  <a:close/>
                  <a:moveTo>
                    <a:pt x="2487" y="2168"/>
                  </a:moveTo>
                  <a:cubicBezTo>
                    <a:pt x="2487" y="2163"/>
                    <a:pt x="2493" y="2163"/>
                    <a:pt x="2493" y="2160"/>
                  </a:cubicBezTo>
                  <a:cubicBezTo>
                    <a:pt x="2496" y="2160"/>
                    <a:pt x="2490" y="2171"/>
                    <a:pt x="2487" y="2168"/>
                  </a:cubicBezTo>
                  <a:close/>
                  <a:moveTo>
                    <a:pt x="2487" y="2148"/>
                  </a:moveTo>
                  <a:cubicBezTo>
                    <a:pt x="2487" y="2143"/>
                    <a:pt x="2496" y="2151"/>
                    <a:pt x="2487" y="2148"/>
                  </a:cubicBezTo>
                  <a:close/>
                  <a:moveTo>
                    <a:pt x="2479" y="2131"/>
                  </a:moveTo>
                  <a:cubicBezTo>
                    <a:pt x="2485" y="2126"/>
                    <a:pt x="2496" y="2123"/>
                    <a:pt x="2504" y="2123"/>
                  </a:cubicBezTo>
                  <a:cubicBezTo>
                    <a:pt x="2502" y="2131"/>
                    <a:pt x="2487" y="2131"/>
                    <a:pt x="2479" y="2131"/>
                  </a:cubicBezTo>
                  <a:close/>
                  <a:moveTo>
                    <a:pt x="2499" y="2227"/>
                  </a:moveTo>
                  <a:cubicBezTo>
                    <a:pt x="2499" y="2222"/>
                    <a:pt x="2510" y="2219"/>
                    <a:pt x="2510" y="2222"/>
                  </a:cubicBezTo>
                  <a:cubicBezTo>
                    <a:pt x="2507" y="2227"/>
                    <a:pt x="2504" y="2227"/>
                    <a:pt x="2499" y="2227"/>
                  </a:cubicBezTo>
                  <a:close/>
                  <a:moveTo>
                    <a:pt x="2502" y="2459"/>
                  </a:moveTo>
                  <a:cubicBezTo>
                    <a:pt x="2502" y="2456"/>
                    <a:pt x="2502" y="2453"/>
                    <a:pt x="2504" y="2453"/>
                  </a:cubicBezTo>
                  <a:cubicBezTo>
                    <a:pt x="2507" y="2453"/>
                    <a:pt x="2510" y="2453"/>
                    <a:pt x="2510" y="2456"/>
                  </a:cubicBezTo>
                  <a:cubicBezTo>
                    <a:pt x="2510" y="2456"/>
                    <a:pt x="2507" y="2459"/>
                    <a:pt x="2502" y="2459"/>
                  </a:cubicBezTo>
                  <a:close/>
                  <a:moveTo>
                    <a:pt x="2502" y="2363"/>
                  </a:moveTo>
                  <a:cubicBezTo>
                    <a:pt x="2504" y="2360"/>
                    <a:pt x="2507" y="2354"/>
                    <a:pt x="2513" y="2354"/>
                  </a:cubicBezTo>
                  <a:cubicBezTo>
                    <a:pt x="2516" y="2360"/>
                    <a:pt x="2507" y="2363"/>
                    <a:pt x="2502" y="2363"/>
                  </a:cubicBezTo>
                  <a:close/>
                  <a:moveTo>
                    <a:pt x="2504" y="2253"/>
                  </a:moveTo>
                  <a:cubicBezTo>
                    <a:pt x="2507" y="2250"/>
                    <a:pt x="2513" y="2250"/>
                    <a:pt x="2516" y="2250"/>
                  </a:cubicBezTo>
                  <a:cubicBezTo>
                    <a:pt x="2519" y="2258"/>
                    <a:pt x="2504" y="2261"/>
                    <a:pt x="2504" y="2253"/>
                  </a:cubicBezTo>
                  <a:close/>
                  <a:moveTo>
                    <a:pt x="2521" y="2349"/>
                  </a:moveTo>
                  <a:cubicBezTo>
                    <a:pt x="2524" y="2349"/>
                    <a:pt x="2519" y="2357"/>
                    <a:pt x="2516" y="2357"/>
                  </a:cubicBezTo>
                  <a:cubicBezTo>
                    <a:pt x="2513" y="2349"/>
                    <a:pt x="2524" y="2354"/>
                    <a:pt x="2521" y="2349"/>
                  </a:cubicBezTo>
                  <a:close/>
                  <a:moveTo>
                    <a:pt x="2527" y="2456"/>
                  </a:moveTo>
                  <a:lnTo>
                    <a:pt x="2530" y="2453"/>
                  </a:lnTo>
                  <a:cubicBezTo>
                    <a:pt x="2533" y="2453"/>
                    <a:pt x="2533" y="2462"/>
                    <a:pt x="2527" y="2456"/>
                  </a:cubicBezTo>
                  <a:close/>
                  <a:moveTo>
                    <a:pt x="2541" y="2323"/>
                  </a:moveTo>
                  <a:cubicBezTo>
                    <a:pt x="2538" y="2323"/>
                    <a:pt x="2535" y="2318"/>
                    <a:pt x="2535" y="2315"/>
                  </a:cubicBezTo>
                  <a:cubicBezTo>
                    <a:pt x="2538" y="2315"/>
                    <a:pt x="2541" y="2320"/>
                    <a:pt x="2541" y="2323"/>
                  </a:cubicBezTo>
                  <a:close/>
                  <a:moveTo>
                    <a:pt x="2541" y="2343"/>
                  </a:moveTo>
                  <a:cubicBezTo>
                    <a:pt x="2541" y="2343"/>
                    <a:pt x="2538" y="2346"/>
                    <a:pt x="2538" y="2349"/>
                  </a:cubicBezTo>
                  <a:lnTo>
                    <a:pt x="2527" y="2349"/>
                  </a:lnTo>
                  <a:cubicBezTo>
                    <a:pt x="2530" y="2343"/>
                    <a:pt x="2538" y="2337"/>
                    <a:pt x="2541" y="2343"/>
                  </a:cubicBezTo>
                  <a:close/>
                  <a:moveTo>
                    <a:pt x="2524" y="2320"/>
                  </a:moveTo>
                  <a:cubicBezTo>
                    <a:pt x="2527" y="2320"/>
                    <a:pt x="2530" y="2323"/>
                    <a:pt x="2533" y="2326"/>
                  </a:cubicBezTo>
                  <a:lnTo>
                    <a:pt x="2527" y="2326"/>
                  </a:lnTo>
                  <a:cubicBezTo>
                    <a:pt x="2524" y="2326"/>
                    <a:pt x="2524" y="2323"/>
                    <a:pt x="2524" y="2320"/>
                  </a:cubicBezTo>
                  <a:close/>
                  <a:moveTo>
                    <a:pt x="2544" y="2419"/>
                  </a:moveTo>
                  <a:cubicBezTo>
                    <a:pt x="2544" y="2425"/>
                    <a:pt x="2538" y="2425"/>
                    <a:pt x="2535" y="2428"/>
                  </a:cubicBezTo>
                  <a:lnTo>
                    <a:pt x="2519" y="2419"/>
                  </a:lnTo>
                  <a:cubicBezTo>
                    <a:pt x="2519" y="2405"/>
                    <a:pt x="2544" y="2411"/>
                    <a:pt x="2544" y="2419"/>
                  </a:cubicBezTo>
                  <a:close/>
                  <a:moveTo>
                    <a:pt x="2521" y="2264"/>
                  </a:moveTo>
                  <a:cubicBezTo>
                    <a:pt x="2519" y="2256"/>
                    <a:pt x="2530" y="2256"/>
                    <a:pt x="2530" y="2253"/>
                  </a:cubicBezTo>
                  <a:cubicBezTo>
                    <a:pt x="2538" y="2256"/>
                    <a:pt x="2527" y="2264"/>
                    <a:pt x="2521" y="2264"/>
                  </a:cubicBezTo>
                  <a:close/>
                  <a:moveTo>
                    <a:pt x="2533" y="2205"/>
                  </a:moveTo>
                  <a:cubicBezTo>
                    <a:pt x="2538" y="2205"/>
                    <a:pt x="2541" y="2205"/>
                    <a:pt x="2547" y="2208"/>
                  </a:cubicBezTo>
                  <a:cubicBezTo>
                    <a:pt x="2550" y="2210"/>
                    <a:pt x="2547" y="2216"/>
                    <a:pt x="2544" y="2219"/>
                  </a:cubicBezTo>
                  <a:cubicBezTo>
                    <a:pt x="2538" y="2216"/>
                    <a:pt x="2530" y="2213"/>
                    <a:pt x="2533" y="2205"/>
                  </a:cubicBezTo>
                  <a:close/>
                  <a:moveTo>
                    <a:pt x="2541" y="2242"/>
                  </a:moveTo>
                  <a:cubicBezTo>
                    <a:pt x="2544" y="2242"/>
                    <a:pt x="2547" y="2244"/>
                    <a:pt x="2550" y="2247"/>
                  </a:cubicBezTo>
                  <a:lnTo>
                    <a:pt x="2544" y="2247"/>
                  </a:lnTo>
                  <a:cubicBezTo>
                    <a:pt x="2544" y="2247"/>
                    <a:pt x="2541" y="2244"/>
                    <a:pt x="2541" y="2242"/>
                  </a:cubicBezTo>
                  <a:close/>
                  <a:moveTo>
                    <a:pt x="2547" y="2278"/>
                  </a:moveTo>
                  <a:cubicBezTo>
                    <a:pt x="2550" y="2278"/>
                    <a:pt x="2552" y="2284"/>
                    <a:pt x="2550" y="2281"/>
                  </a:cubicBezTo>
                  <a:cubicBezTo>
                    <a:pt x="2550" y="2281"/>
                    <a:pt x="2544" y="2278"/>
                    <a:pt x="2547" y="2278"/>
                  </a:cubicBezTo>
                  <a:close/>
                  <a:moveTo>
                    <a:pt x="2569" y="2239"/>
                  </a:moveTo>
                  <a:cubicBezTo>
                    <a:pt x="2564" y="2236"/>
                    <a:pt x="2572" y="2230"/>
                    <a:pt x="2567" y="2227"/>
                  </a:cubicBezTo>
                  <a:cubicBezTo>
                    <a:pt x="2558" y="2227"/>
                    <a:pt x="2555" y="2230"/>
                    <a:pt x="2550" y="2233"/>
                  </a:cubicBezTo>
                  <a:cubicBezTo>
                    <a:pt x="2550" y="2225"/>
                    <a:pt x="2564" y="2225"/>
                    <a:pt x="2569" y="2222"/>
                  </a:cubicBezTo>
                  <a:cubicBezTo>
                    <a:pt x="2575" y="2225"/>
                    <a:pt x="2572" y="2233"/>
                    <a:pt x="2569" y="2239"/>
                  </a:cubicBezTo>
                  <a:close/>
                  <a:moveTo>
                    <a:pt x="2581" y="2222"/>
                  </a:moveTo>
                  <a:cubicBezTo>
                    <a:pt x="2578" y="2222"/>
                    <a:pt x="2578" y="2213"/>
                    <a:pt x="2578" y="2210"/>
                  </a:cubicBezTo>
                  <a:cubicBezTo>
                    <a:pt x="2581" y="2210"/>
                    <a:pt x="2583" y="2219"/>
                    <a:pt x="2581" y="2222"/>
                  </a:cubicBezTo>
                  <a:close/>
                  <a:moveTo>
                    <a:pt x="2572" y="2185"/>
                  </a:moveTo>
                  <a:cubicBezTo>
                    <a:pt x="2572" y="2177"/>
                    <a:pt x="2592" y="2174"/>
                    <a:pt x="2592" y="2182"/>
                  </a:cubicBezTo>
                  <a:cubicBezTo>
                    <a:pt x="2586" y="2179"/>
                    <a:pt x="2578" y="2179"/>
                    <a:pt x="2572" y="2185"/>
                  </a:cubicBezTo>
                  <a:close/>
                  <a:moveTo>
                    <a:pt x="2589" y="2154"/>
                  </a:moveTo>
                  <a:cubicBezTo>
                    <a:pt x="2598" y="2148"/>
                    <a:pt x="2606" y="2143"/>
                    <a:pt x="2617" y="2143"/>
                  </a:cubicBezTo>
                  <a:cubicBezTo>
                    <a:pt x="2609" y="2148"/>
                    <a:pt x="2600" y="2157"/>
                    <a:pt x="2589" y="2154"/>
                  </a:cubicBezTo>
                  <a:close/>
                  <a:moveTo>
                    <a:pt x="2598" y="2219"/>
                  </a:moveTo>
                  <a:cubicBezTo>
                    <a:pt x="2598" y="2213"/>
                    <a:pt x="2606" y="2222"/>
                    <a:pt x="2598" y="2219"/>
                  </a:cubicBezTo>
                  <a:close/>
                  <a:moveTo>
                    <a:pt x="2609" y="2371"/>
                  </a:moveTo>
                  <a:cubicBezTo>
                    <a:pt x="2600" y="2366"/>
                    <a:pt x="2609" y="2352"/>
                    <a:pt x="2598" y="2352"/>
                  </a:cubicBezTo>
                  <a:cubicBezTo>
                    <a:pt x="2598" y="2346"/>
                    <a:pt x="2603" y="2343"/>
                    <a:pt x="2606" y="2340"/>
                  </a:cubicBezTo>
                  <a:cubicBezTo>
                    <a:pt x="2612" y="2349"/>
                    <a:pt x="2614" y="2354"/>
                    <a:pt x="2620" y="2360"/>
                  </a:cubicBezTo>
                  <a:cubicBezTo>
                    <a:pt x="2620" y="2368"/>
                    <a:pt x="2614" y="2371"/>
                    <a:pt x="2609" y="2371"/>
                  </a:cubicBezTo>
                  <a:close/>
                  <a:moveTo>
                    <a:pt x="2629" y="2194"/>
                  </a:moveTo>
                  <a:cubicBezTo>
                    <a:pt x="2626" y="2194"/>
                    <a:pt x="2626" y="2188"/>
                    <a:pt x="2623" y="2188"/>
                  </a:cubicBezTo>
                  <a:cubicBezTo>
                    <a:pt x="2626" y="2185"/>
                    <a:pt x="2626" y="2188"/>
                    <a:pt x="2631" y="2185"/>
                  </a:cubicBezTo>
                  <a:cubicBezTo>
                    <a:pt x="2631" y="2191"/>
                    <a:pt x="2629" y="2191"/>
                    <a:pt x="2629" y="2194"/>
                  </a:cubicBezTo>
                  <a:close/>
                  <a:moveTo>
                    <a:pt x="2629" y="2343"/>
                  </a:moveTo>
                  <a:cubicBezTo>
                    <a:pt x="2631" y="2340"/>
                    <a:pt x="2634" y="2335"/>
                    <a:pt x="2637" y="2332"/>
                  </a:cubicBezTo>
                  <a:lnTo>
                    <a:pt x="2643" y="2332"/>
                  </a:lnTo>
                  <a:cubicBezTo>
                    <a:pt x="2640" y="2337"/>
                    <a:pt x="2634" y="2340"/>
                    <a:pt x="2629" y="2343"/>
                  </a:cubicBezTo>
                  <a:close/>
                  <a:moveTo>
                    <a:pt x="2654" y="2304"/>
                  </a:moveTo>
                  <a:cubicBezTo>
                    <a:pt x="2643" y="2295"/>
                    <a:pt x="2626" y="2284"/>
                    <a:pt x="2631" y="2267"/>
                  </a:cubicBezTo>
                  <a:cubicBezTo>
                    <a:pt x="2640" y="2273"/>
                    <a:pt x="2662" y="2289"/>
                    <a:pt x="2654" y="2304"/>
                  </a:cubicBezTo>
                  <a:close/>
                  <a:moveTo>
                    <a:pt x="2654" y="2185"/>
                  </a:moveTo>
                  <a:cubicBezTo>
                    <a:pt x="2654" y="2179"/>
                    <a:pt x="2662" y="2188"/>
                    <a:pt x="2654" y="2185"/>
                  </a:cubicBezTo>
                  <a:close/>
                  <a:moveTo>
                    <a:pt x="2662" y="2298"/>
                  </a:moveTo>
                  <a:cubicBezTo>
                    <a:pt x="2665" y="2295"/>
                    <a:pt x="2668" y="2289"/>
                    <a:pt x="2671" y="2284"/>
                  </a:cubicBezTo>
                  <a:lnTo>
                    <a:pt x="2674" y="2284"/>
                  </a:lnTo>
                  <a:cubicBezTo>
                    <a:pt x="2671" y="2289"/>
                    <a:pt x="2668" y="2295"/>
                    <a:pt x="2662" y="2298"/>
                  </a:cubicBezTo>
                  <a:close/>
                  <a:moveTo>
                    <a:pt x="2668" y="1824"/>
                  </a:moveTo>
                  <a:cubicBezTo>
                    <a:pt x="2668" y="1818"/>
                    <a:pt x="2685" y="1821"/>
                    <a:pt x="2688" y="1824"/>
                  </a:cubicBezTo>
                  <a:cubicBezTo>
                    <a:pt x="2688" y="1827"/>
                    <a:pt x="2688" y="1830"/>
                    <a:pt x="2685" y="1830"/>
                  </a:cubicBezTo>
                  <a:cubicBezTo>
                    <a:pt x="2679" y="1830"/>
                    <a:pt x="2674" y="1827"/>
                    <a:pt x="2668" y="1824"/>
                  </a:cubicBezTo>
                  <a:close/>
                  <a:moveTo>
                    <a:pt x="2682" y="2072"/>
                  </a:moveTo>
                  <a:lnTo>
                    <a:pt x="2677" y="2072"/>
                  </a:lnTo>
                  <a:lnTo>
                    <a:pt x="2677" y="2067"/>
                  </a:lnTo>
                  <a:lnTo>
                    <a:pt x="2682" y="2067"/>
                  </a:lnTo>
                  <a:lnTo>
                    <a:pt x="2682" y="2072"/>
                  </a:lnTo>
                  <a:close/>
                  <a:moveTo>
                    <a:pt x="2685" y="2146"/>
                  </a:moveTo>
                  <a:cubicBezTo>
                    <a:pt x="2682" y="2146"/>
                    <a:pt x="2677" y="2143"/>
                    <a:pt x="2674" y="2140"/>
                  </a:cubicBezTo>
                  <a:cubicBezTo>
                    <a:pt x="2677" y="2140"/>
                    <a:pt x="2691" y="2143"/>
                    <a:pt x="2685" y="2146"/>
                  </a:cubicBezTo>
                  <a:close/>
                  <a:moveTo>
                    <a:pt x="2677" y="2281"/>
                  </a:moveTo>
                  <a:cubicBezTo>
                    <a:pt x="2674" y="2278"/>
                    <a:pt x="2677" y="2278"/>
                    <a:pt x="2677" y="2281"/>
                  </a:cubicBezTo>
                  <a:close/>
                  <a:moveTo>
                    <a:pt x="2682" y="2205"/>
                  </a:moveTo>
                  <a:cubicBezTo>
                    <a:pt x="2685" y="2208"/>
                    <a:pt x="2685" y="2210"/>
                    <a:pt x="2685" y="2213"/>
                  </a:cubicBezTo>
                  <a:cubicBezTo>
                    <a:pt x="2682" y="2213"/>
                    <a:pt x="2682" y="2208"/>
                    <a:pt x="2682" y="2205"/>
                  </a:cubicBezTo>
                  <a:close/>
                  <a:moveTo>
                    <a:pt x="2679" y="2058"/>
                  </a:moveTo>
                  <a:cubicBezTo>
                    <a:pt x="2682" y="2053"/>
                    <a:pt x="2685" y="2055"/>
                    <a:pt x="2691" y="2055"/>
                  </a:cubicBezTo>
                  <a:cubicBezTo>
                    <a:pt x="2693" y="2061"/>
                    <a:pt x="2682" y="2058"/>
                    <a:pt x="2679" y="2058"/>
                  </a:cubicBezTo>
                  <a:close/>
                  <a:moveTo>
                    <a:pt x="2691" y="2205"/>
                  </a:moveTo>
                  <a:cubicBezTo>
                    <a:pt x="2691" y="2205"/>
                    <a:pt x="2688" y="2199"/>
                    <a:pt x="2691" y="2196"/>
                  </a:cubicBezTo>
                  <a:cubicBezTo>
                    <a:pt x="2693" y="2196"/>
                    <a:pt x="2696" y="2210"/>
                    <a:pt x="2691" y="2205"/>
                  </a:cubicBezTo>
                  <a:close/>
                  <a:moveTo>
                    <a:pt x="2708" y="2163"/>
                  </a:moveTo>
                  <a:cubicBezTo>
                    <a:pt x="2702" y="2163"/>
                    <a:pt x="2699" y="2160"/>
                    <a:pt x="2696" y="2157"/>
                  </a:cubicBezTo>
                  <a:cubicBezTo>
                    <a:pt x="2696" y="2148"/>
                    <a:pt x="2713" y="2154"/>
                    <a:pt x="2708" y="2163"/>
                  </a:cubicBezTo>
                  <a:close/>
                  <a:moveTo>
                    <a:pt x="2710" y="2233"/>
                  </a:moveTo>
                  <a:cubicBezTo>
                    <a:pt x="2705" y="2230"/>
                    <a:pt x="2702" y="2225"/>
                    <a:pt x="2702" y="2219"/>
                  </a:cubicBezTo>
                  <a:lnTo>
                    <a:pt x="2710" y="2219"/>
                  </a:lnTo>
                  <a:cubicBezTo>
                    <a:pt x="2710" y="2222"/>
                    <a:pt x="2716" y="2230"/>
                    <a:pt x="2710" y="2233"/>
                  </a:cubicBezTo>
                  <a:close/>
                  <a:moveTo>
                    <a:pt x="2699" y="2216"/>
                  </a:moveTo>
                  <a:cubicBezTo>
                    <a:pt x="2696" y="2210"/>
                    <a:pt x="2693" y="2191"/>
                    <a:pt x="2705" y="2194"/>
                  </a:cubicBezTo>
                  <a:cubicBezTo>
                    <a:pt x="2702" y="2196"/>
                    <a:pt x="2702" y="2208"/>
                    <a:pt x="2710" y="2210"/>
                  </a:cubicBezTo>
                  <a:cubicBezTo>
                    <a:pt x="2710" y="2210"/>
                    <a:pt x="2708" y="2216"/>
                    <a:pt x="2699" y="2216"/>
                  </a:cubicBezTo>
                  <a:close/>
                  <a:moveTo>
                    <a:pt x="2722" y="2202"/>
                  </a:moveTo>
                  <a:cubicBezTo>
                    <a:pt x="2719" y="2202"/>
                    <a:pt x="2716" y="2199"/>
                    <a:pt x="2713" y="2196"/>
                  </a:cubicBezTo>
                  <a:cubicBezTo>
                    <a:pt x="2713" y="2194"/>
                    <a:pt x="2716" y="2191"/>
                    <a:pt x="2719" y="2191"/>
                  </a:cubicBezTo>
                  <a:cubicBezTo>
                    <a:pt x="2719" y="2188"/>
                    <a:pt x="2719" y="2185"/>
                    <a:pt x="2722" y="2185"/>
                  </a:cubicBezTo>
                  <a:cubicBezTo>
                    <a:pt x="2727" y="2188"/>
                    <a:pt x="2730" y="2185"/>
                    <a:pt x="2733" y="2188"/>
                  </a:cubicBezTo>
                  <a:cubicBezTo>
                    <a:pt x="2727" y="2191"/>
                    <a:pt x="2722" y="2191"/>
                    <a:pt x="2719" y="2191"/>
                  </a:cubicBezTo>
                  <a:cubicBezTo>
                    <a:pt x="2719" y="2194"/>
                    <a:pt x="2725" y="2196"/>
                    <a:pt x="2722" y="2202"/>
                  </a:cubicBezTo>
                  <a:close/>
                  <a:moveTo>
                    <a:pt x="2710" y="2157"/>
                  </a:moveTo>
                  <a:cubicBezTo>
                    <a:pt x="2708" y="2157"/>
                    <a:pt x="2710" y="2151"/>
                    <a:pt x="2713" y="2151"/>
                  </a:cubicBezTo>
                  <a:cubicBezTo>
                    <a:pt x="2727" y="2151"/>
                    <a:pt x="2739" y="2157"/>
                    <a:pt x="2739" y="2165"/>
                  </a:cubicBezTo>
                  <a:cubicBezTo>
                    <a:pt x="2733" y="2163"/>
                    <a:pt x="2722" y="2160"/>
                    <a:pt x="2710" y="2157"/>
                  </a:cubicBezTo>
                  <a:close/>
                  <a:moveTo>
                    <a:pt x="2736" y="2024"/>
                  </a:moveTo>
                  <a:cubicBezTo>
                    <a:pt x="2739" y="2030"/>
                    <a:pt x="2744" y="2027"/>
                    <a:pt x="2747" y="2033"/>
                  </a:cubicBezTo>
                  <a:cubicBezTo>
                    <a:pt x="2744" y="2044"/>
                    <a:pt x="2727" y="2027"/>
                    <a:pt x="2736" y="2024"/>
                  </a:cubicBezTo>
                  <a:close/>
                  <a:moveTo>
                    <a:pt x="2741" y="2115"/>
                  </a:moveTo>
                  <a:cubicBezTo>
                    <a:pt x="2744" y="2115"/>
                    <a:pt x="2747" y="2120"/>
                    <a:pt x="2744" y="2117"/>
                  </a:cubicBezTo>
                  <a:lnTo>
                    <a:pt x="2741" y="2115"/>
                  </a:lnTo>
                  <a:close/>
                  <a:moveTo>
                    <a:pt x="2750" y="2137"/>
                  </a:moveTo>
                  <a:cubicBezTo>
                    <a:pt x="2750" y="2134"/>
                    <a:pt x="2750" y="2131"/>
                    <a:pt x="2753" y="2129"/>
                  </a:cubicBezTo>
                  <a:cubicBezTo>
                    <a:pt x="2756" y="2129"/>
                    <a:pt x="2761" y="2131"/>
                    <a:pt x="2764" y="2134"/>
                  </a:cubicBezTo>
                  <a:cubicBezTo>
                    <a:pt x="2761" y="2140"/>
                    <a:pt x="2756" y="2140"/>
                    <a:pt x="2750" y="2137"/>
                  </a:cubicBezTo>
                  <a:close/>
                  <a:moveTo>
                    <a:pt x="2750" y="2086"/>
                  </a:moveTo>
                  <a:cubicBezTo>
                    <a:pt x="2750" y="2081"/>
                    <a:pt x="2756" y="2084"/>
                    <a:pt x="2756" y="2078"/>
                  </a:cubicBezTo>
                  <a:cubicBezTo>
                    <a:pt x="2756" y="2075"/>
                    <a:pt x="2744" y="2075"/>
                    <a:pt x="2741" y="2072"/>
                  </a:cubicBezTo>
                  <a:cubicBezTo>
                    <a:pt x="2739" y="2067"/>
                    <a:pt x="2741" y="2061"/>
                    <a:pt x="2744" y="2058"/>
                  </a:cubicBezTo>
                  <a:cubicBezTo>
                    <a:pt x="2756" y="2064"/>
                    <a:pt x="2758" y="2072"/>
                    <a:pt x="2764" y="2081"/>
                  </a:cubicBezTo>
                  <a:cubicBezTo>
                    <a:pt x="2756" y="2084"/>
                    <a:pt x="2761" y="2089"/>
                    <a:pt x="2750" y="2086"/>
                  </a:cubicBezTo>
                  <a:close/>
                  <a:moveTo>
                    <a:pt x="2772" y="1917"/>
                  </a:moveTo>
                  <a:cubicBezTo>
                    <a:pt x="2778" y="1917"/>
                    <a:pt x="2778" y="1920"/>
                    <a:pt x="2781" y="1923"/>
                  </a:cubicBezTo>
                  <a:cubicBezTo>
                    <a:pt x="2781" y="1926"/>
                    <a:pt x="2770" y="1920"/>
                    <a:pt x="2772" y="1917"/>
                  </a:cubicBezTo>
                  <a:close/>
                  <a:moveTo>
                    <a:pt x="2787" y="2027"/>
                  </a:moveTo>
                  <a:cubicBezTo>
                    <a:pt x="2784" y="2027"/>
                    <a:pt x="2781" y="2027"/>
                    <a:pt x="2778" y="2024"/>
                  </a:cubicBezTo>
                  <a:cubicBezTo>
                    <a:pt x="2775" y="2021"/>
                    <a:pt x="2778" y="2021"/>
                    <a:pt x="2781" y="2019"/>
                  </a:cubicBezTo>
                  <a:cubicBezTo>
                    <a:pt x="2784" y="2019"/>
                    <a:pt x="2787" y="2019"/>
                    <a:pt x="2789" y="2021"/>
                  </a:cubicBezTo>
                  <a:cubicBezTo>
                    <a:pt x="2790" y="2023"/>
                    <a:pt x="2791" y="2024"/>
                    <a:pt x="2791" y="2024"/>
                  </a:cubicBezTo>
                  <a:cubicBezTo>
                    <a:pt x="2795" y="2025"/>
                    <a:pt x="2809" y="2030"/>
                    <a:pt x="2806" y="2036"/>
                  </a:cubicBezTo>
                  <a:cubicBezTo>
                    <a:pt x="2801" y="2038"/>
                    <a:pt x="2789" y="2034"/>
                    <a:pt x="2789" y="2026"/>
                  </a:cubicBezTo>
                  <a:cubicBezTo>
                    <a:pt x="2788" y="2027"/>
                    <a:pt x="2787" y="2027"/>
                    <a:pt x="2787" y="2027"/>
                  </a:cubicBezTo>
                  <a:close/>
                  <a:moveTo>
                    <a:pt x="2784" y="1948"/>
                  </a:moveTo>
                  <a:cubicBezTo>
                    <a:pt x="2787" y="1948"/>
                    <a:pt x="2789" y="1954"/>
                    <a:pt x="2787" y="1951"/>
                  </a:cubicBezTo>
                  <a:cubicBezTo>
                    <a:pt x="2787" y="1951"/>
                    <a:pt x="2781" y="1948"/>
                    <a:pt x="2784" y="1948"/>
                  </a:cubicBezTo>
                  <a:close/>
                  <a:moveTo>
                    <a:pt x="2775" y="1754"/>
                  </a:moveTo>
                  <a:cubicBezTo>
                    <a:pt x="2775" y="1751"/>
                    <a:pt x="2775" y="1748"/>
                    <a:pt x="2778" y="1748"/>
                  </a:cubicBezTo>
                  <a:cubicBezTo>
                    <a:pt x="2784" y="1748"/>
                    <a:pt x="2787" y="1748"/>
                    <a:pt x="2789" y="1751"/>
                  </a:cubicBezTo>
                  <a:cubicBezTo>
                    <a:pt x="2789" y="1759"/>
                    <a:pt x="2778" y="1759"/>
                    <a:pt x="2775" y="1754"/>
                  </a:cubicBezTo>
                  <a:close/>
                  <a:moveTo>
                    <a:pt x="2787" y="1615"/>
                  </a:moveTo>
                  <a:cubicBezTo>
                    <a:pt x="2792" y="1610"/>
                    <a:pt x="2789" y="1624"/>
                    <a:pt x="2787" y="1615"/>
                  </a:cubicBezTo>
                  <a:close/>
                  <a:moveTo>
                    <a:pt x="2832" y="1928"/>
                  </a:moveTo>
                  <a:cubicBezTo>
                    <a:pt x="2832" y="1931"/>
                    <a:pt x="2829" y="1931"/>
                    <a:pt x="2829" y="1931"/>
                  </a:cubicBezTo>
                  <a:cubicBezTo>
                    <a:pt x="2826" y="1931"/>
                    <a:pt x="2826" y="1931"/>
                    <a:pt x="2823" y="1928"/>
                  </a:cubicBezTo>
                  <a:cubicBezTo>
                    <a:pt x="2823" y="1923"/>
                    <a:pt x="2829" y="1926"/>
                    <a:pt x="2832" y="1928"/>
                  </a:cubicBezTo>
                  <a:close/>
                  <a:moveTo>
                    <a:pt x="2829" y="1903"/>
                  </a:moveTo>
                  <a:cubicBezTo>
                    <a:pt x="2832" y="1906"/>
                    <a:pt x="2832" y="1909"/>
                    <a:pt x="2832" y="1911"/>
                  </a:cubicBezTo>
                  <a:cubicBezTo>
                    <a:pt x="2829" y="1909"/>
                    <a:pt x="2829" y="1906"/>
                    <a:pt x="2829" y="1903"/>
                  </a:cubicBezTo>
                  <a:close/>
                  <a:moveTo>
                    <a:pt x="2809" y="1923"/>
                  </a:moveTo>
                  <a:cubicBezTo>
                    <a:pt x="2806" y="1920"/>
                    <a:pt x="2804" y="1920"/>
                    <a:pt x="2801" y="1917"/>
                  </a:cubicBezTo>
                  <a:cubicBezTo>
                    <a:pt x="2801" y="1909"/>
                    <a:pt x="2812" y="1911"/>
                    <a:pt x="2818" y="1906"/>
                  </a:cubicBezTo>
                  <a:cubicBezTo>
                    <a:pt x="2823" y="1906"/>
                    <a:pt x="2823" y="1911"/>
                    <a:pt x="2826" y="1911"/>
                  </a:cubicBezTo>
                  <a:cubicBezTo>
                    <a:pt x="2823" y="1917"/>
                    <a:pt x="2815" y="1920"/>
                    <a:pt x="2809" y="1923"/>
                  </a:cubicBezTo>
                  <a:close/>
                  <a:moveTo>
                    <a:pt x="2795" y="1931"/>
                  </a:moveTo>
                  <a:cubicBezTo>
                    <a:pt x="2801" y="1928"/>
                    <a:pt x="2809" y="1928"/>
                    <a:pt x="2815" y="1931"/>
                  </a:cubicBezTo>
                  <a:cubicBezTo>
                    <a:pt x="2815" y="1934"/>
                    <a:pt x="2809" y="1937"/>
                    <a:pt x="2806" y="1937"/>
                  </a:cubicBezTo>
                  <a:cubicBezTo>
                    <a:pt x="2798" y="1937"/>
                    <a:pt x="2801" y="1931"/>
                    <a:pt x="2795" y="1931"/>
                  </a:cubicBezTo>
                  <a:close/>
                  <a:moveTo>
                    <a:pt x="2806" y="1988"/>
                  </a:moveTo>
                  <a:cubicBezTo>
                    <a:pt x="2806" y="1990"/>
                    <a:pt x="2798" y="1990"/>
                    <a:pt x="2795" y="1988"/>
                  </a:cubicBezTo>
                  <a:cubicBezTo>
                    <a:pt x="2795" y="1982"/>
                    <a:pt x="2804" y="1985"/>
                    <a:pt x="2806" y="1988"/>
                  </a:cubicBezTo>
                  <a:close/>
                  <a:moveTo>
                    <a:pt x="2795" y="1824"/>
                  </a:moveTo>
                  <a:cubicBezTo>
                    <a:pt x="2795" y="1818"/>
                    <a:pt x="2806" y="1827"/>
                    <a:pt x="2795" y="1824"/>
                  </a:cubicBezTo>
                  <a:close/>
                  <a:moveTo>
                    <a:pt x="2812" y="1954"/>
                  </a:moveTo>
                  <a:cubicBezTo>
                    <a:pt x="2815" y="1954"/>
                    <a:pt x="2809" y="1957"/>
                    <a:pt x="2806" y="1957"/>
                  </a:cubicBezTo>
                  <a:cubicBezTo>
                    <a:pt x="2804" y="1957"/>
                    <a:pt x="2812" y="1954"/>
                    <a:pt x="2812" y="1954"/>
                  </a:cubicBezTo>
                  <a:close/>
                  <a:moveTo>
                    <a:pt x="2804" y="2041"/>
                  </a:moveTo>
                  <a:cubicBezTo>
                    <a:pt x="2806" y="2041"/>
                    <a:pt x="2812" y="2047"/>
                    <a:pt x="2809" y="2047"/>
                  </a:cubicBezTo>
                  <a:cubicBezTo>
                    <a:pt x="2804" y="2044"/>
                    <a:pt x="2801" y="2041"/>
                    <a:pt x="2804" y="2041"/>
                  </a:cubicBezTo>
                  <a:close/>
                  <a:moveTo>
                    <a:pt x="2806" y="2027"/>
                  </a:moveTo>
                  <a:cubicBezTo>
                    <a:pt x="2804" y="2024"/>
                    <a:pt x="2806" y="2021"/>
                    <a:pt x="2809" y="2019"/>
                  </a:cubicBezTo>
                  <a:lnTo>
                    <a:pt x="2820" y="2019"/>
                  </a:lnTo>
                  <a:cubicBezTo>
                    <a:pt x="2815" y="2024"/>
                    <a:pt x="2815" y="2033"/>
                    <a:pt x="2806" y="2027"/>
                  </a:cubicBezTo>
                  <a:close/>
                  <a:moveTo>
                    <a:pt x="2829" y="1957"/>
                  </a:moveTo>
                  <a:cubicBezTo>
                    <a:pt x="2823" y="1957"/>
                    <a:pt x="2820" y="1951"/>
                    <a:pt x="2823" y="1948"/>
                  </a:cubicBezTo>
                  <a:cubicBezTo>
                    <a:pt x="2820" y="1948"/>
                    <a:pt x="2820" y="1951"/>
                    <a:pt x="2815" y="1948"/>
                  </a:cubicBezTo>
                  <a:cubicBezTo>
                    <a:pt x="2812" y="1945"/>
                    <a:pt x="2815" y="1937"/>
                    <a:pt x="2820" y="1940"/>
                  </a:cubicBezTo>
                  <a:cubicBezTo>
                    <a:pt x="2826" y="1943"/>
                    <a:pt x="2823" y="1951"/>
                    <a:pt x="2832" y="1951"/>
                  </a:cubicBezTo>
                  <a:cubicBezTo>
                    <a:pt x="2832" y="1951"/>
                    <a:pt x="2832" y="1954"/>
                    <a:pt x="2829" y="1957"/>
                  </a:cubicBezTo>
                  <a:close/>
                  <a:moveTo>
                    <a:pt x="2843" y="1945"/>
                  </a:moveTo>
                  <a:cubicBezTo>
                    <a:pt x="2840" y="1945"/>
                    <a:pt x="2840" y="1943"/>
                    <a:pt x="2837" y="1943"/>
                  </a:cubicBezTo>
                  <a:lnTo>
                    <a:pt x="2840" y="1940"/>
                  </a:lnTo>
                  <a:cubicBezTo>
                    <a:pt x="2843" y="1940"/>
                    <a:pt x="2843" y="1940"/>
                    <a:pt x="2845" y="1942"/>
                  </a:cubicBezTo>
                  <a:cubicBezTo>
                    <a:pt x="2845" y="1943"/>
                    <a:pt x="2844" y="1944"/>
                    <a:pt x="2843" y="1945"/>
                  </a:cubicBezTo>
                  <a:close/>
                  <a:moveTo>
                    <a:pt x="2846" y="1943"/>
                  </a:moveTo>
                  <a:cubicBezTo>
                    <a:pt x="2846" y="1941"/>
                    <a:pt x="2846" y="1941"/>
                    <a:pt x="2845" y="1942"/>
                  </a:cubicBezTo>
                  <a:cubicBezTo>
                    <a:pt x="2846" y="1942"/>
                    <a:pt x="2846" y="1942"/>
                    <a:pt x="2846" y="1943"/>
                  </a:cubicBezTo>
                  <a:close/>
                  <a:moveTo>
                    <a:pt x="2820" y="1866"/>
                  </a:moveTo>
                  <a:lnTo>
                    <a:pt x="2823" y="1864"/>
                  </a:lnTo>
                  <a:lnTo>
                    <a:pt x="2826" y="1864"/>
                  </a:lnTo>
                  <a:lnTo>
                    <a:pt x="2826" y="1861"/>
                  </a:lnTo>
                  <a:cubicBezTo>
                    <a:pt x="2843" y="1864"/>
                    <a:pt x="2851" y="1872"/>
                    <a:pt x="2851" y="1878"/>
                  </a:cubicBezTo>
                  <a:cubicBezTo>
                    <a:pt x="2849" y="1897"/>
                    <a:pt x="2806" y="1878"/>
                    <a:pt x="2820" y="1866"/>
                  </a:cubicBezTo>
                  <a:close/>
                  <a:moveTo>
                    <a:pt x="2860" y="1816"/>
                  </a:moveTo>
                  <a:cubicBezTo>
                    <a:pt x="2857" y="1816"/>
                    <a:pt x="2863" y="1813"/>
                    <a:pt x="2860" y="1816"/>
                  </a:cubicBezTo>
                  <a:close/>
                  <a:moveTo>
                    <a:pt x="2854" y="1720"/>
                  </a:moveTo>
                  <a:cubicBezTo>
                    <a:pt x="2854" y="1717"/>
                    <a:pt x="2854" y="1714"/>
                    <a:pt x="2857" y="1711"/>
                  </a:cubicBezTo>
                  <a:cubicBezTo>
                    <a:pt x="2858" y="1711"/>
                    <a:pt x="2859" y="1711"/>
                    <a:pt x="2859" y="1712"/>
                  </a:cubicBezTo>
                  <a:cubicBezTo>
                    <a:pt x="2861" y="1713"/>
                    <a:pt x="2864" y="1714"/>
                    <a:pt x="2866" y="1714"/>
                  </a:cubicBezTo>
                  <a:cubicBezTo>
                    <a:pt x="2866" y="1720"/>
                    <a:pt x="2860" y="1722"/>
                    <a:pt x="2854" y="1720"/>
                  </a:cubicBezTo>
                  <a:close/>
                  <a:moveTo>
                    <a:pt x="2863" y="1652"/>
                  </a:moveTo>
                  <a:lnTo>
                    <a:pt x="2863" y="1643"/>
                  </a:lnTo>
                  <a:cubicBezTo>
                    <a:pt x="2866" y="1643"/>
                    <a:pt x="2868" y="1643"/>
                    <a:pt x="2871" y="1646"/>
                  </a:cubicBezTo>
                  <a:cubicBezTo>
                    <a:pt x="2871" y="1649"/>
                    <a:pt x="2868" y="1655"/>
                    <a:pt x="2863" y="1652"/>
                  </a:cubicBezTo>
                  <a:close/>
                  <a:moveTo>
                    <a:pt x="2868" y="1553"/>
                  </a:moveTo>
                  <a:cubicBezTo>
                    <a:pt x="2874" y="1550"/>
                    <a:pt x="2863" y="1562"/>
                    <a:pt x="2868" y="1553"/>
                  </a:cubicBezTo>
                  <a:close/>
                  <a:moveTo>
                    <a:pt x="2880" y="1759"/>
                  </a:moveTo>
                  <a:cubicBezTo>
                    <a:pt x="2874" y="1754"/>
                    <a:pt x="2871" y="1748"/>
                    <a:pt x="2874" y="1739"/>
                  </a:cubicBezTo>
                  <a:cubicBezTo>
                    <a:pt x="2883" y="1742"/>
                    <a:pt x="2883" y="1754"/>
                    <a:pt x="2880" y="1759"/>
                  </a:cubicBezTo>
                  <a:close/>
                  <a:moveTo>
                    <a:pt x="2888" y="1334"/>
                  </a:moveTo>
                  <a:cubicBezTo>
                    <a:pt x="2899" y="1345"/>
                    <a:pt x="2874" y="1360"/>
                    <a:pt x="2888" y="1334"/>
                  </a:cubicBezTo>
                  <a:close/>
                  <a:moveTo>
                    <a:pt x="2885" y="1455"/>
                  </a:moveTo>
                  <a:cubicBezTo>
                    <a:pt x="2868" y="1439"/>
                    <a:pt x="2908" y="1444"/>
                    <a:pt x="2885" y="1455"/>
                  </a:cubicBezTo>
                  <a:close/>
                  <a:moveTo>
                    <a:pt x="2885" y="1615"/>
                  </a:moveTo>
                  <a:cubicBezTo>
                    <a:pt x="2888" y="1615"/>
                    <a:pt x="2891" y="1621"/>
                    <a:pt x="2888" y="1618"/>
                  </a:cubicBezTo>
                  <a:cubicBezTo>
                    <a:pt x="2885" y="1615"/>
                    <a:pt x="2883" y="1615"/>
                    <a:pt x="2885" y="1615"/>
                  </a:cubicBezTo>
                  <a:close/>
                  <a:moveTo>
                    <a:pt x="2891" y="1624"/>
                  </a:moveTo>
                  <a:cubicBezTo>
                    <a:pt x="2891" y="1621"/>
                    <a:pt x="2897" y="1621"/>
                    <a:pt x="2897" y="1621"/>
                  </a:cubicBezTo>
                  <a:cubicBezTo>
                    <a:pt x="2897" y="1621"/>
                    <a:pt x="2897" y="1624"/>
                    <a:pt x="2899" y="1624"/>
                  </a:cubicBezTo>
                  <a:lnTo>
                    <a:pt x="2891" y="1624"/>
                  </a:lnTo>
                  <a:close/>
                  <a:moveTo>
                    <a:pt x="2902" y="1612"/>
                  </a:moveTo>
                  <a:cubicBezTo>
                    <a:pt x="2894" y="1612"/>
                    <a:pt x="2891" y="1607"/>
                    <a:pt x="2883" y="1604"/>
                  </a:cubicBezTo>
                  <a:cubicBezTo>
                    <a:pt x="2877" y="1587"/>
                    <a:pt x="2916" y="1601"/>
                    <a:pt x="2902" y="1612"/>
                  </a:cubicBezTo>
                  <a:close/>
                  <a:moveTo>
                    <a:pt x="2891" y="1528"/>
                  </a:moveTo>
                  <a:cubicBezTo>
                    <a:pt x="2894" y="1522"/>
                    <a:pt x="2905" y="1525"/>
                    <a:pt x="2905" y="1519"/>
                  </a:cubicBezTo>
                  <a:cubicBezTo>
                    <a:pt x="2919" y="1528"/>
                    <a:pt x="2899" y="1536"/>
                    <a:pt x="2891" y="1528"/>
                  </a:cubicBezTo>
                  <a:close/>
                  <a:moveTo>
                    <a:pt x="2914" y="1604"/>
                  </a:moveTo>
                  <a:cubicBezTo>
                    <a:pt x="2930" y="1621"/>
                    <a:pt x="2894" y="1607"/>
                    <a:pt x="2914" y="1604"/>
                  </a:cubicBezTo>
                  <a:close/>
                  <a:moveTo>
                    <a:pt x="2911" y="1463"/>
                  </a:moveTo>
                  <a:cubicBezTo>
                    <a:pt x="2899" y="1447"/>
                    <a:pt x="2936" y="1447"/>
                    <a:pt x="2911" y="1463"/>
                  </a:cubicBezTo>
                  <a:close/>
                  <a:moveTo>
                    <a:pt x="2916" y="1416"/>
                  </a:moveTo>
                  <a:cubicBezTo>
                    <a:pt x="2914" y="1430"/>
                    <a:pt x="2902" y="1424"/>
                    <a:pt x="2902" y="1441"/>
                  </a:cubicBezTo>
                  <a:cubicBezTo>
                    <a:pt x="2888" y="1436"/>
                    <a:pt x="2899" y="1416"/>
                    <a:pt x="2905" y="1402"/>
                  </a:cubicBezTo>
                  <a:cubicBezTo>
                    <a:pt x="2908" y="1408"/>
                    <a:pt x="2905" y="1416"/>
                    <a:pt x="2916" y="1416"/>
                  </a:cubicBezTo>
                  <a:close/>
                  <a:moveTo>
                    <a:pt x="2899" y="1317"/>
                  </a:moveTo>
                  <a:cubicBezTo>
                    <a:pt x="2894" y="1309"/>
                    <a:pt x="2896" y="1306"/>
                    <a:pt x="2900" y="1305"/>
                  </a:cubicBezTo>
                  <a:cubicBezTo>
                    <a:pt x="2897" y="1300"/>
                    <a:pt x="2900" y="1291"/>
                    <a:pt x="2894" y="1289"/>
                  </a:cubicBezTo>
                  <a:cubicBezTo>
                    <a:pt x="2902" y="1276"/>
                    <a:pt x="2913" y="1296"/>
                    <a:pt x="2906" y="1307"/>
                  </a:cubicBezTo>
                  <a:cubicBezTo>
                    <a:pt x="2908" y="1310"/>
                    <a:pt x="2907" y="1313"/>
                    <a:pt x="2899" y="1317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" name="Freeform 5"/>
            <p:cNvSpPr>
              <a:spLocks noChangeArrowheads="1"/>
            </p:cNvSpPr>
            <p:nvPr/>
          </p:nvSpPr>
          <p:spPr bwMode="auto">
            <a:xfrm>
              <a:off x="3633788" y="2085975"/>
              <a:ext cx="987425" cy="990600"/>
            </a:xfrm>
            <a:custGeom>
              <a:avLst/>
              <a:gdLst>
                <a:gd name="T0" fmla="*/ 2705 w 2743"/>
                <a:gd name="T1" fmla="*/ 1063 h 2753"/>
                <a:gd name="T2" fmla="*/ 2609 w 2743"/>
                <a:gd name="T3" fmla="*/ 784 h 2753"/>
                <a:gd name="T4" fmla="*/ 2457 w 2743"/>
                <a:gd name="T5" fmla="*/ 533 h 2753"/>
                <a:gd name="T6" fmla="*/ 2245 w 2743"/>
                <a:gd name="T7" fmla="*/ 310 h 2753"/>
                <a:gd name="T8" fmla="*/ 1974 w 2743"/>
                <a:gd name="T9" fmla="*/ 141 h 2753"/>
                <a:gd name="T10" fmla="*/ 1689 w 2743"/>
                <a:gd name="T11" fmla="*/ 36 h 2753"/>
                <a:gd name="T12" fmla="*/ 1393 w 2743"/>
                <a:gd name="T13" fmla="*/ 0 h 2753"/>
                <a:gd name="T14" fmla="*/ 1100 w 2743"/>
                <a:gd name="T15" fmla="*/ 25 h 2753"/>
                <a:gd name="T16" fmla="*/ 818 w 2743"/>
                <a:gd name="T17" fmla="*/ 115 h 2753"/>
                <a:gd name="T18" fmla="*/ 564 w 2743"/>
                <a:gd name="T19" fmla="*/ 262 h 2753"/>
                <a:gd name="T20" fmla="*/ 339 w 2743"/>
                <a:gd name="T21" fmla="*/ 468 h 2753"/>
                <a:gd name="T22" fmla="*/ 161 w 2743"/>
                <a:gd name="T23" fmla="*/ 727 h 2753"/>
                <a:gd name="T24" fmla="*/ 45 w 2743"/>
                <a:gd name="T25" fmla="*/ 1015 h 2753"/>
                <a:gd name="T26" fmla="*/ 0 w 2743"/>
                <a:gd name="T27" fmla="*/ 1314 h 2753"/>
                <a:gd name="T28" fmla="*/ 25 w 2743"/>
                <a:gd name="T29" fmla="*/ 1604 h 2753"/>
                <a:gd name="T30" fmla="*/ 104 w 2743"/>
                <a:gd name="T31" fmla="*/ 1889 h 2753"/>
                <a:gd name="T32" fmla="*/ 248 w 2743"/>
                <a:gd name="T33" fmla="*/ 2154 h 2753"/>
                <a:gd name="T34" fmla="*/ 449 w 2743"/>
                <a:gd name="T35" fmla="*/ 2385 h 2753"/>
                <a:gd name="T36" fmla="*/ 708 w 2743"/>
                <a:gd name="T37" fmla="*/ 2571 h 2753"/>
                <a:gd name="T38" fmla="*/ 987 w 2743"/>
                <a:gd name="T39" fmla="*/ 2693 h 2753"/>
                <a:gd name="T40" fmla="*/ 1284 w 2743"/>
                <a:gd name="T41" fmla="*/ 2749 h 2753"/>
                <a:gd name="T42" fmla="*/ 1585 w 2743"/>
                <a:gd name="T43" fmla="*/ 2735 h 2753"/>
                <a:gd name="T44" fmla="*/ 1867 w 2743"/>
                <a:gd name="T45" fmla="*/ 2659 h 2753"/>
                <a:gd name="T46" fmla="*/ 2132 w 2743"/>
                <a:gd name="T47" fmla="*/ 2523 h 2753"/>
                <a:gd name="T48" fmla="*/ 2366 w 2743"/>
                <a:gd name="T49" fmla="*/ 2329 h 2753"/>
                <a:gd name="T50" fmla="*/ 2555 w 2743"/>
                <a:gd name="T51" fmla="*/ 2078 h 2753"/>
                <a:gd name="T52" fmla="*/ 2679 w 2743"/>
                <a:gd name="T53" fmla="*/ 1796 h 2753"/>
                <a:gd name="T54" fmla="*/ 2736 w 2743"/>
                <a:gd name="T55" fmla="*/ 1499 h 2753"/>
                <a:gd name="T56" fmla="*/ 2694 w 2743"/>
                <a:gd name="T57" fmla="*/ 1482 h 2753"/>
                <a:gd name="T58" fmla="*/ 2637 w 2743"/>
                <a:gd name="T59" fmla="*/ 1762 h 2753"/>
                <a:gd name="T60" fmla="*/ 2516 w 2743"/>
                <a:gd name="T61" fmla="*/ 2038 h 2753"/>
                <a:gd name="T62" fmla="*/ 2332 w 2743"/>
                <a:gd name="T63" fmla="*/ 2281 h 2753"/>
                <a:gd name="T64" fmla="*/ 2104 w 2743"/>
                <a:gd name="T65" fmla="*/ 2470 h 2753"/>
                <a:gd name="T66" fmla="*/ 1847 w 2743"/>
                <a:gd name="T67" fmla="*/ 2605 h 2753"/>
                <a:gd name="T68" fmla="*/ 1571 w 2743"/>
                <a:gd name="T69" fmla="*/ 2687 h 2753"/>
                <a:gd name="T70" fmla="*/ 1292 w 2743"/>
                <a:gd name="T71" fmla="*/ 2698 h 2753"/>
                <a:gd name="T72" fmla="*/ 1013 w 2743"/>
                <a:gd name="T73" fmla="*/ 2645 h 2753"/>
                <a:gd name="T74" fmla="*/ 736 w 2743"/>
                <a:gd name="T75" fmla="*/ 2529 h 2753"/>
                <a:gd name="T76" fmla="*/ 485 w 2743"/>
                <a:gd name="T77" fmla="*/ 2354 h 2753"/>
                <a:gd name="T78" fmla="*/ 291 w 2743"/>
                <a:gd name="T79" fmla="*/ 2128 h 2753"/>
                <a:gd name="T80" fmla="*/ 152 w 2743"/>
                <a:gd name="T81" fmla="*/ 1875 h 2753"/>
                <a:gd name="T82" fmla="*/ 56 w 2743"/>
                <a:gd name="T83" fmla="*/ 1598 h 2753"/>
                <a:gd name="T84" fmla="*/ 37 w 2743"/>
                <a:gd name="T85" fmla="*/ 1314 h 2753"/>
                <a:gd name="T86" fmla="*/ 79 w 2743"/>
                <a:gd name="T87" fmla="*/ 1026 h 2753"/>
                <a:gd name="T88" fmla="*/ 189 w 2743"/>
                <a:gd name="T89" fmla="*/ 753 h 2753"/>
                <a:gd name="T90" fmla="*/ 361 w 2743"/>
                <a:gd name="T91" fmla="*/ 502 h 2753"/>
                <a:gd name="T92" fmla="*/ 578 w 2743"/>
                <a:gd name="T93" fmla="*/ 296 h 2753"/>
                <a:gd name="T94" fmla="*/ 832 w 2743"/>
                <a:gd name="T95" fmla="*/ 155 h 2753"/>
                <a:gd name="T96" fmla="*/ 1106 w 2743"/>
                <a:gd name="T97" fmla="*/ 62 h 2753"/>
                <a:gd name="T98" fmla="*/ 1390 w 2743"/>
                <a:gd name="T99" fmla="*/ 36 h 2753"/>
                <a:gd name="T100" fmla="*/ 1675 w 2743"/>
                <a:gd name="T101" fmla="*/ 67 h 2753"/>
                <a:gd name="T102" fmla="*/ 1954 w 2743"/>
                <a:gd name="T103" fmla="*/ 166 h 2753"/>
                <a:gd name="T104" fmla="*/ 2217 w 2743"/>
                <a:gd name="T105" fmla="*/ 333 h 2753"/>
                <a:gd name="T106" fmla="*/ 2426 w 2743"/>
                <a:gd name="T107" fmla="*/ 550 h 2753"/>
                <a:gd name="T108" fmla="*/ 2572 w 2743"/>
                <a:gd name="T109" fmla="*/ 801 h 2753"/>
                <a:gd name="T110" fmla="*/ 2668 w 2743"/>
                <a:gd name="T111" fmla="*/ 1072 h 2753"/>
                <a:gd name="T112" fmla="*/ 2699 w 2743"/>
                <a:gd name="T113" fmla="*/ 1351 h 2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43" h="2753">
                  <a:moveTo>
                    <a:pt x="2739" y="1325"/>
                  </a:moveTo>
                  <a:cubicBezTo>
                    <a:pt x="2739" y="1314"/>
                    <a:pt x="2736" y="1303"/>
                    <a:pt x="2736" y="1292"/>
                  </a:cubicBezTo>
                  <a:cubicBezTo>
                    <a:pt x="2736" y="1280"/>
                    <a:pt x="2736" y="1269"/>
                    <a:pt x="2736" y="1258"/>
                  </a:cubicBezTo>
                  <a:cubicBezTo>
                    <a:pt x="2736" y="1246"/>
                    <a:pt x="2733" y="1235"/>
                    <a:pt x="2733" y="1224"/>
                  </a:cubicBezTo>
                  <a:cubicBezTo>
                    <a:pt x="2733" y="1213"/>
                    <a:pt x="2727" y="1201"/>
                    <a:pt x="2727" y="1193"/>
                  </a:cubicBezTo>
                  <a:cubicBezTo>
                    <a:pt x="2727" y="1184"/>
                    <a:pt x="2725" y="1170"/>
                    <a:pt x="2722" y="1159"/>
                  </a:cubicBezTo>
                  <a:cubicBezTo>
                    <a:pt x="2719" y="1148"/>
                    <a:pt x="2719" y="1136"/>
                    <a:pt x="2716" y="1125"/>
                  </a:cubicBezTo>
                  <a:cubicBezTo>
                    <a:pt x="2713" y="1114"/>
                    <a:pt x="2711" y="1102"/>
                    <a:pt x="2711" y="1094"/>
                  </a:cubicBezTo>
                  <a:cubicBezTo>
                    <a:pt x="2711" y="1085"/>
                    <a:pt x="2708" y="1071"/>
                    <a:pt x="2705" y="1063"/>
                  </a:cubicBezTo>
                  <a:cubicBezTo>
                    <a:pt x="2702" y="1054"/>
                    <a:pt x="2699" y="1040"/>
                    <a:pt x="2696" y="1032"/>
                  </a:cubicBezTo>
                  <a:cubicBezTo>
                    <a:pt x="2694" y="1023"/>
                    <a:pt x="2694" y="1009"/>
                    <a:pt x="2691" y="1001"/>
                  </a:cubicBezTo>
                  <a:cubicBezTo>
                    <a:pt x="2688" y="992"/>
                    <a:pt x="2682" y="981"/>
                    <a:pt x="2679" y="970"/>
                  </a:cubicBezTo>
                  <a:cubicBezTo>
                    <a:pt x="2677" y="959"/>
                    <a:pt x="2677" y="947"/>
                    <a:pt x="2671" y="939"/>
                  </a:cubicBezTo>
                  <a:cubicBezTo>
                    <a:pt x="2665" y="931"/>
                    <a:pt x="2663" y="919"/>
                    <a:pt x="2657" y="908"/>
                  </a:cubicBezTo>
                  <a:cubicBezTo>
                    <a:pt x="2651" y="897"/>
                    <a:pt x="2651" y="885"/>
                    <a:pt x="2648" y="877"/>
                  </a:cubicBezTo>
                  <a:cubicBezTo>
                    <a:pt x="2646" y="868"/>
                    <a:pt x="2640" y="857"/>
                    <a:pt x="2634" y="846"/>
                  </a:cubicBezTo>
                  <a:cubicBezTo>
                    <a:pt x="2629" y="835"/>
                    <a:pt x="2626" y="826"/>
                    <a:pt x="2623" y="815"/>
                  </a:cubicBezTo>
                  <a:cubicBezTo>
                    <a:pt x="2620" y="804"/>
                    <a:pt x="2612" y="795"/>
                    <a:pt x="2609" y="784"/>
                  </a:cubicBezTo>
                  <a:cubicBezTo>
                    <a:pt x="2606" y="773"/>
                    <a:pt x="2598" y="764"/>
                    <a:pt x="2595" y="756"/>
                  </a:cubicBezTo>
                  <a:cubicBezTo>
                    <a:pt x="2592" y="747"/>
                    <a:pt x="2584" y="735"/>
                    <a:pt x="2581" y="727"/>
                  </a:cubicBezTo>
                  <a:cubicBezTo>
                    <a:pt x="2578" y="718"/>
                    <a:pt x="2570" y="707"/>
                    <a:pt x="2564" y="699"/>
                  </a:cubicBezTo>
                  <a:cubicBezTo>
                    <a:pt x="2559" y="690"/>
                    <a:pt x="2553" y="679"/>
                    <a:pt x="2547" y="671"/>
                  </a:cubicBezTo>
                  <a:cubicBezTo>
                    <a:pt x="2541" y="662"/>
                    <a:pt x="2536" y="651"/>
                    <a:pt x="2530" y="643"/>
                  </a:cubicBezTo>
                  <a:cubicBezTo>
                    <a:pt x="2524" y="634"/>
                    <a:pt x="2519" y="623"/>
                    <a:pt x="2513" y="615"/>
                  </a:cubicBezTo>
                  <a:cubicBezTo>
                    <a:pt x="2507" y="606"/>
                    <a:pt x="2499" y="597"/>
                    <a:pt x="2493" y="586"/>
                  </a:cubicBezTo>
                  <a:cubicBezTo>
                    <a:pt x="2488" y="574"/>
                    <a:pt x="2480" y="569"/>
                    <a:pt x="2474" y="561"/>
                  </a:cubicBezTo>
                  <a:cubicBezTo>
                    <a:pt x="2469" y="553"/>
                    <a:pt x="2463" y="541"/>
                    <a:pt x="2457" y="533"/>
                  </a:cubicBezTo>
                  <a:cubicBezTo>
                    <a:pt x="2452" y="524"/>
                    <a:pt x="2440" y="515"/>
                    <a:pt x="2434" y="507"/>
                  </a:cubicBezTo>
                  <a:cubicBezTo>
                    <a:pt x="2428" y="498"/>
                    <a:pt x="2423" y="487"/>
                    <a:pt x="2414" y="479"/>
                  </a:cubicBezTo>
                  <a:cubicBezTo>
                    <a:pt x="2406" y="470"/>
                    <a:pt x="2401" y="462"/>
                    <a:pt x="2392" y="454"/>
                  </a:cubicBezTo>
                  <a:cubicBezTo>
                    <a:pt x="2384" y="445"/>
                    <a:pt x="2375" y="439"/>
                    <a:pt x="2366" y="431"/>
                  </a:cubicBezTo>
                  <a:cubicBezTo>
                    <a:pt x="2358" y="422"/>
                    <a:pt x="2353" y="414"/>
                    <a:pt x="2344" y="406"/>
                  </a:cubicBezTo>
                  <a:cubicBezTo>
                    <a:pt x="2336" y="397"/>
                    <a:pt x="2330" y="388"/>
                    <a:pt x="2321" y="380"/>
                  </a:cubicBezTo>
                  <a:cubicBezTo>
                    <a:pt x="2313" y="371"/>
                    <a:pt x="2305" y="366"/>
                    <a:pt x="2296" y="358"/>
                  </a:cubicBezTo>
                  <a:cubicBezTo>
                    <a:pt x="2288" y="349"/>
                    <a:pt x="2279" y="343"/>
                    <a:pt x="2270" y="335"/>
                  </a:cubicBezTo>
                  <a:cubicBezTo>
                    <a:pt x="2262" y="326"/>
                    <a:pt x="2254" y="318"/>
                    <a:pt x="2245" y="310"/>
                  </a:cubicBezTo>
                  <a:cubicBezTo>
                    <a:pt x="2237" y="302"/>
                    <a:pt x="2229" y="295"/>
                    <a:pt x="2220" y="287"/>
                  </a:cubicBezTo>
                  <a:cubicBezTo>
                    <a:pt x="2212" y="278"/>
                    <a:pt x="2200" y="276"/>
                    <a:pt x="2191" y="268"/>
                  </a:cubicBezTo>
                  <a:cubicBezTo>
                    <a:pt x="2183" y="259"/>
                    <a:pt x="2172" y="253"/>
                    <a:pt x="2163" y="245"/>
                  </a:cubicBezTo>
                  <a:cubicBezTo>
                    <a:pt x="2155" y="236"/>
                    <a:pt x="2144" y="231"/>
                    <a:pt x="2135" y="223"/>
                  </a:cubicBezTo>
                  <a:cubicBezTo>
                    <a:pt x="2127" y="214"/>
                    <a:pt x="2107" y="211"/>
                    <a:pt x="2098" y="206"/>
                  </a:cubicBezTo>
                  <a:cubicBezTo>
                    <a:pt x="2090" y="200"/>
                    <a:pt x="2076" y="197"/>
                    <a:pt x="2067" y="189"/>
                  </a:cubicBezTo>
                  <a:cubicBezTo>
                    <a:pt x="2059" y="180"/>
                    <a:pt x="2047" y="175"/>
                    <a:pt x="2039" y="169"/>
                  </a:cubicBezTo>
                  <a:cubicBezTo>
                    <a:pt x="2031" y="163"/>
                    <a:pt x="2017" y="160"/>
                    <a:pt x="2008" y="155"/>
                  </a:cubicBezTo>
                  <a:cubicBezTo>
                    <a:pt x="2000" y="149"/>
                    <a:pt x="1985" y="144"/>
                    <a:pt x="1974" y="141"/>
                  </a:cubicBezTo>
                  <a:cubicBezTo>
                    <a:pt x="1963" y="138"/>
                    <a:pt x="1954" y="132"/>
                    <a:pt x="1943" y="127"/>
                  </a:cubicBezTo>
                  <a:cubicBezTo>
                    <a:pt x="1932" y="121"/>
                    <a:pt x="1923" y="118"/>
                    <a:pt x="1912" y="113"/>
                  </a:cubicBezTo>
                  <a:cubicBezTo>
                    <a:pt x="1901" y="107"/>
                    <a:pt x="1892" y="100"/>
                    <a:pt x="1881" y="98"/>
                  </a:cubicBezTo>
                  <a:cubicBezTo>
                    <a:pt x="1870" y="95"/>
                    <a:pt x="1861" y="90"/>
                    <a:pt x="1850" y="87"/>
                  </a:cubicBezTo>
                  <a:cubicBezTo>
                    <a:pt x="1839" y="84"/>
                    <a:pt x="1830" y="79"/>
                    <a:pt x="1819" y="76"/>
                  </a:cubicBezTo>
                  <a:cubicBezTo>
                    <a:pt x="1808" y="73"/>
                    <a:pt x="1796" y="67"/>
                    <a:pt x="1785" y="65"/>
                  </a:cubicBezTo>
                  <a:cubicBezTo>
                    <a:pt x="1774" y="62"/>
                    <a:pt x="1765" y="56"/>
                    <a:pt x="1754" y="53"/>
                  </a:cubicBezTo>
                  <a:cubicBezTo>
                    <a:pt x="1743" y="50"/>
                    <a:pt x="1731" y="50"/>
                    <a:pt x="1720" y="48"/>
                  </a:cubicBezTo>
                  <a:cubicBezTo>
                    <a:pt x="1709" y="45"/>
                    <a:pt x="1700" y="36"/>
                    <a:pt x="1689" y="36"/>
                  </a:cubicBezTo>
                  <a:cubicBezTo>
                    <a:pt x="1678" y="36"/>
                    <a:pt x="1667" y="31"/>
                    <a:pt x="1655" y="31"/>
                  </a:cubicBezTo>
                  <a:cubicBezTo>
                    <a:pt x="1644" y="31"/>
                    <a:pt x="1633" y="25"/>
                    <a:pt x="1621" y="22"/>
                  </a:cubicBezTo>
                  <a:cubicBezTo>
                    <a:pt x="1610" y="19"/>
                    <a:pt x="1600" y="21"/>
                    <a:pt x="1588" y="19"/>
                  </a:cubicBezTo>
                  <a:cubicBezTo>
                    <a:pt x="1577" y="16"/>
                    <a:pt x="1566" y="14"/>
                    <a:pt x="1554" y="11"/>
                  </a:cubicBezTo>
                  <a:cubicBezTo>
                    <a:pt x="1543" y="8"/>
                    <a:pt x="1537" y="8"/>
                    <a:pt x="1525" y="8"/>
                  </a:cubicBezTo>
                  <a:cubicBezTo>
                    <a:pt x="1514" y="8"/>
                    <a:pt x="1504" y="5"/>
                    <a:pt x="1492" y="5"/>
                  </a:cubicBezTo>
                  <a:cubicBezTo>
                    <a:pt x="1481" y="5"/>
                    <a:pt x="1470" y="5"/>
                    <a:pt x="1458" y="3"/>
                  </a:cubicBezTo>
                  <a:cubicBezTo>
                    <a:pt x="1447" y="0"/>
                    <a:pt x="1439" y="5"/>
                    <a:pt x="1427" y="5"/>
                  </a:cubicBezTo>
                  <a:cubicBezTo>
                    <a:pt x="1416" y="5"/>
                    <a:pt x="1404" y="0"/>
                    <a:pt x="1393" y="0"/>
                  </a:cubicBezTo>
                  <a:cubicBezTo>
                    <a:pt x="1382" y="0"/>
                    <a:pt x="1370" y="3"/>
                    <a:pt x="1360" y="3"/>
                  </a:cubicBezTo>
                  <a:cubicBezTo>
                    <a:pt x="1349" y="3"/>
                    <a:pt x="1337" y="0"/>
                    <a:pt x="1326" y="0"/>
                  </a:cubicBezTo>
                  <a:cubicBezTo>
                    <a:pt x="1315" y="0"/>
                    <a:pt x="1303" y="3"/>
                    <a:pt x="1292" y="3"/>
                  </a:cubicBezTo>
                  <a:cubicBezTo>
                    <a:pt x="1280" y="3"/>
                    <a:pt x="1269" y="2"/>
                    <a:pt x="1258" y="5"/>
                  </a:cubicBezTo>
                  <a:cubicBezTo>
                    <a:pt x="1246" y="7"/>
                    <a:pt x="1236" y="5"/>
                    <a:pt x="1225" y="5"/>
                  </a:cubicBezTo>
                  <a:cubicBezTo>
                    <a:pt x="1213" y="5"/>
                    <a:pt x="1201" y="11"/>
                    <a:pt x="1193" y="11"/>
                  </a:cubicBezTo>
                  <a:cubicBezTo>
                    <a:pt x="1184" y="11"/>
                    <a:pt x="1171" y="14"/>
                    <a:pt x="1160" y="14"/>
                  </a:cubicBezTo>
                  <a:cubicBezTo>
                    <a:pt x="1148" y="14"/>
                    <a:pt x="1137" y="14"/>
                    <a:pt x="1126" y="17"/>
                  </a:cubicBezTo>
                  <a:cubicBezTo>
                    <a:pt x="1114" y="19"/>
                    <a:pt x="1111" y="22"/>
                    <a:pt x="1100" y="25"/>
                  </a:cubicBezTo>
                  <a:cubicBezTo>
                    <a:pt x="1088" y="28"/>
                    <a:pt x="1080" y="31"/>
                    <a:pt x="1069" y="34"/>
                  </a:cubicBezTo>
                  <a:cubicBezTo>
                    <a:pt x="1057" y="36"/>
                    <a:pt x="1046" y="39"/>
                    <a:pt x="1038" y="42"/>
                  </a:cubicBezTo>
                  <a:cubicBezTo>
                    <a:pt x="1029" y="45"/>
                    <a:pt x="1015" y="45"/>
                    <a:pt x="1007" y="48"/>
                  </a:cubicBezTo>
                  <a:cubicBezTo>
                    <a:pt x="998" y="50"/>
                    <a:pt x="987" y="56"/>
                    <a:pt x="976" y="59"/>
                  </a:cubicBezTo>
                  <a:cubicBezTo>
                    <a:pt x="965" y="62"/>
                    <a:pt x="950" y="64"/>
                    <a:pt x="942" y="67"/>
                  </a:cubicBezTo>
                  <a:cubicBezTo>
                    <a:pt x="933" y="69"/>
                    <a:pt x="919" y="73"/>
                    <a:pt x="911" y="76"/>
                  </a:cubicBezTo>
                  <a:cubicBezTo>
                    <a:pt x="902" y="79"/>
                    <a:pt x="891" y="81"/>
                    <a:pt x="880" y="87"/>
                  </a:cubicBezTo>
                  <a:cubicBezTo>
                    <a:pt x="868" y="93"/>
                    <a:pt x="860" y="98"/>
                    <a:pt x="852" y="104"/>
                  </a:cubicBezTo>
                  <a:cubicBezTo>
                    <a:pt x="843" y="110"/>
                    <a:pt x="829" y="109"/>
                    <a:pt x="818" y="115"/>
                  </a:cubicBezTo>
                  <a:cubicBezTo>
                    <a:pt x="807" y="120"/>
                    <a:pt x="798" y="126"/>
                    <a:pt x="790" y="129"/>
                  </a:cubicBezTo>
                  <a:cubicBezTo>
                    <a:pt x="782" y="131"/>
                    <a:pt x="770" y="141"/>
                    <a:pt x="762" y="144"/>
                  </a:cubicBezTo>
                  <a:cubicBezTo>
                    <a:pt x="753" y="146"/>
                    <a:pt x="739" y="149"/>
                    <a:pt x="731" y="155"/>
                  </a:cubicBezTo>
                  <a:cubicBezTo>
                    <a:pt x="722" y="160"/>
                    <a:pt x="710" y="166"/>
                    <a:pt x="702" y="172"/>
                  </a:cubicBezTo>
                  <a:cubicBezTo>
                    <a:pt x="693" y="177"/>
                    <a:pt x="685" y="185"/>
                    <a:pt x="674" y="191"/>
                  </a:cubicBezTo>
                  <a:cubicBezTo>
                    <a:pt x="662" y="196"/>
                    <a:pt x="654" y="202"/>
                    <a:pt x="646" y="208"/>
                  </a:cubicBezTo>
                  <a:cubicBezTo>
                    <a:pt x="637" y="213"/>
                    <a:pt x="626" y="219"/>
                    <a:pt x="618" y="225"/>
                  </a:cubicBezTo>
                  <a:cubicBezTo>
                    <a:pt x="609" y="230"/>
                    <a:pt x="598" y="236"/>
                    <a:pt x="590" y="242"/>
                  </a:cubicBezTo>
                  <a:cubicBezTo>
                    <a:pt x="581" y="247"/>
                    <a:pt x="572" y="256"/>
                    <a:pt x="564" y="262"/>
                  </a:cubicBezTo>
                  <a:cubicBezTo>
                    <a:pt x="555" y="268"/>
                    <a:pt x="547" y="276"/>
                    <a:pt x="539" y="285"/>
                  </a:cubicBezTo>
                  <a:cubicBezTo>
                    <a:pt x="530" y="293"/>
                    <a:pt x="519" y="295"/>
                    <a:pt x="511" y="304"/>
                  </a:cubicBezTo>
                  <a:cubicBezTo>
                    <a:pt x="502" y="312"/>
                    <a:pt x="490" y="315"/>
                    <a:pt x="482" y="324"/>
                  </a:cubicBezTo>
                  <a:cubicBezTo>
                    <a:pt x="473" y="332"/>
                    <a:pt x="468" y="340"/>
                    <a:pt x="460" y="349"/>
                  </a:cubicBezTo>
                  <a:cubicBezTo>
                    <a:pt x="451" y="357"/>
                    <a:pt x="442" y="364"/>
                    <a:pt x="434" y="372"/>
                  </a:cubicBezTo>
                  <a:cubicBezTo>
                    <a:pt x="425" y="380"/>
                    <a:pt x="420" y="388"/>
                    <a:pt x="412" y="397"/>
                  </a:cubicBezTo>
                  <a:cubicBezTo>
                    <a:pt x="403" y="405"/>
                    <a:pt x="394" y="412"/>
                    <a:pt x="386" y="420"/>
                  </a:cubicBezTo>
                  <a:cubicBezTo>
                    <a:pt x="377" y="428"/>
                    <a:pt x="372" y="436"/>
                    <a:pt x="364" y="445"/>
                  </a:cubicBezTo>
                  <a:cubicBezTo>
                    <a:pt x="355" y="453"/>
                    <a:pt x="344" y="459"/>
                    <a:pt x="339" y="468"/>
                  </a:cubicBezTo>
                  <a:cubicBezTo>
                    <a:pt x="333" y="476"/>
                    <a:pt x="324" y="485"/>
                    <a:pt x="316" y="496"/>
                  </a:cubicBezTo>
                  <a:cubicBezTo>
                    <a:pt x="307" y="507"/>
                    <a:pt x="301" y="515"/>
                    <a:pt x="293" y="524"/>
                  </a:cubicBezTo>
                  <a:cubicBezTo>
                    <a:pt x="284" y="532"/>
                    <a:pt x="279" y="541"/>
                    <a:pt x="271" y="553"/>
                  </a:cubicBezTo>
                  <a:cubicBezTo>
                    <a:pt x="262" y="564"/>
                    <a:pt x="256" y="572"/>
                    <a:pt x="248" y="581"/>
                  </a:cubicBezTo>
                  <a:cubicBezTo>
                    <a:pt x="239" y="589"/>
                    <a:pt x="233" y="601"/>
                    <a:pt x="228" y="609"/>
                  </a:cubicBezTo>
                  <a:cubicBezTo>
                    <a:pt x="222" y="617"/>
                    <a:pt x="214" y="628"/>
                    <a:pt x="209" y="637"/>
                  </a:cubicBezTo>
                  <a:cubicBezTo>
                    <a:pt x="203" y="645"/>
                    <a:pt x="200" y="659"/>
                    <a:pt x="195" y="668"/>
                  </a:cubicBezTo>
                  <a:cubicBezTo>
                    <a:pt x="189" y="676"/>
                    <a:pt x="180" y="687"/>
                    <a:pt x="175" y="696"/>
                  </a:cubicBezTo>
                  <a:cubicBezTo>
                    <a:pt x="169" y="704"/>
                    <a:pt x="166" y="718"/>
                    <a:pt x="161" y="727"/>
                  </a:cubicBezTo>
                  <a:cubicBezTo>
                    <a:pt x="155" y="735"/>
                    <a:pt x="147" y="744"/>
                    <a:pt x="141" y="756"/>
                  </a:cubicBezTo>
                  <a:cubicBezTo>
                    <a:pt x="135" y="767"/>
                    <a:pt x="130" y="775"/>
                    <a:pt x="127" y="787"/>
                  </a:cubicBezTo>
                  <a:cubicBezTo>
                    <a:pt x="124" y="798"/>
                    <a:pt x="121" y="809"/>
                    <a:pt x="116" y="821"/>
                  </a:cubicBezTo>
                  <a:cubicBezTo>
                    <a:pt x="110" y="832"/>
                    <a:pt x="104" y="842"/>
                    <a:pt x="99" y="854"/>
                  </a:cubicBezTo>
                  <a:cubicBezTo>
                    <a:pt x="93" y="865"/>
                    <a:pt x="89" y="873"/>
                    <a:pt x="87" y="885"/>
                  </a:cubicBezTo>
                  <a:cubicBezTo>
                    <a:pt x="84" y="896"/>
                    <a:pt x="82" y="907"/>
                    <a:pt x="79" y="919"/>
                  </a:cubicBezTo>
                  <a:cubicBezTo>
                    <a:pt x="76" y="930"/>
                    <a:pt x="73" y="941"/>
                    <a:pt x="68" y="950"/>
                  </a:cubicBezTo>
                  <a:cubicBezTo>
                    <a:pt x="62" y="958"/>
                    <a:pt x="56" y="969"/>
                    <a:pt x="54" y="981"/>
                  </a:cubicBezTo>
                  <a:cubicBezTo>
                    <a:pt x="51" y="992"/>
                    <a:pt x="48" y="1004"/>
                    <a:pt x="45" y="1015"/>
                  </a:cubicBezTo>
                  <a:cubicBezTo>
                    <a:pt x="42" y="1026"/>
                    <a:pt x="41" y="1037"/>
                    <a:pt x="39" y="1046"/>
                  </a:cubicBezTo>
                  <a:cubicBezTo>
                    <a:pt x="36" y="1054"/>
                    <a:pt x="34" y="1069"/>
                    <a:pt x="31" y="1080"/>
                  </a:cubicBezTo>
                  <a:cubicBezTo>
                    <a:pt x="28" y="1091"/>
                    <a:pt x="31" y="1103"/>
                    <a:pt x="28" y="1114"/>
                  </a:cubicBezTo>
                  <a:cubicBezTo>
                    <a:pt x="25" y="1125"/>
                    <a:pt x="22" y="1136"/>
                    <a:pt x="22" y="1148"/>
                  </a:cubicBezTo>
                  <a:cubicBezTo>
                    <a:pt x="22" y="1159"/>
                    <a:pt x="17" y="1170"/>
                    <a:pt x="14" y="1179"/>
                  </a:cubicBezTo>
                  <a:cubicBezTo>
                    <a:pt x="11" y="1187"/>
                    <a:pt x="8" y="1201"/>
                    <a:pt x="8" y="1213"/>
                  </a:cubicBezTo>
                  <a:cubicBezTo>
                    <a:pt x="8" y="1224"/>
                    <a:pt x="8" y="1234"/>
                    <a:pt x="6" y="1246"/>
                  </a:cubicBezTo>
                  <a:cubicBezTo>
                    <a:pt x="3" y="1257"/>
                    <a:pt x="6" y="1268"/>
                    <a:pt x="3" y="1280"/>
                  </a:cubicBezTo>
                  <a:cubicBezTo>
                    <a:pt x="0" y="1291"/>
                    <a:pt x="0" y="1303"/>
                    <a:pt x="0" y="1314"/>
                  </a:cubicBezTo>
                  <a:cubicBezTo>
                    <a:pt x="0" y="1325"/>
                    <a:pt x="0" y="1337"/>
                    <a:pt x="0" y="1348"/>
                  </a:cubicBezTo>
                  <a:cubicBezTo>
                    <a:pt x="0" y="1358"/>
                    <a:pt x="0" y="1370"/>
                    <a:pt x="0" y="1381"/>
                  </a:cubicBezTo>
                  <a:cubicBezTo>
                    <a:pt x="0" y="1392"/>
                    <a:pt x="3" y="1404"/>
                    <a:pt x="3" y="1415"/>
                  </a:cubicBezTo>
                  <a:cubicBezTo>
                    <a:pt x="3" y="1427"/>
                    <a:pt x="6" y="1438"/>
                    <a:pt x="6" y="1449"/>
                  </a:cubicBezTo>
                  <a:cubicBezTo>
                    <a:pt x="6" y="1461"/>
                    <a:pt x="3" y="1471"/>
                    <a:pt x="6" y="1482"/>
                  </a:cubicBezTo>
                  <a:cubicBezTo>
                    <a:pt x="8" y="1494"/>
                    <a:pt x="11" y="1494"/>
                    <a:pt x="11" y="1505"/>
                  </a:cubicBezTo>
                  <a:cubicBezTo>
                    <a:pt x="11" y="1516"/>
                    <a:pt x="14" y="1528"/>
                    <a:pt x="17" y="1539"/>
                  </a:cubicBezTo>
                  <a:cubicBezTo>
                    <a:pt x="20" y="1550"/>
                    <a:pt x="17" y="1562"/>
                    <a:pt x="20" y="1573"/>
                  </a:cubicBezTo>
                  <a:cubicBezTo>
                    <a:pt x="22" y="1585"/>
                    <a:pt x="22" y="1596"/>
                    <a:pt x="25" y="1604"/>
                  </a:cubicBezTo>
                  <a:cubicBezTo>
                    <a:pt x="28" y="1613"/>
                    <a:pt x="31" y="1627"/>
                    <a:pt x="34" y="1635"/>
                  </a:cubicBezTo>
                  <a:cubicBezTo>
                    <a:pt x="37" y="1644"/>
                    <a:pt x="34" y="1657"/>
                    <a:pt x="37" y="1669"/>
                  </a:cubicBezTo>
                  <a:cubicBezTo>
                    <a:pt x="39" y="1680"/>
                    <a:pt x="39" y="1689"/>
                    <a:pt x="42" y="1700"/>
                  </a:cubicBezTo>
                  <a:cubicBezTo>
                    <a:pt x="45" y="1712"/>
                    <a:pt x="51" y="1720"/>
                    <a:pt x="54" y="1731"/>
                  </a:cubicBezTo>
                  <a:cubicBezTo>
                    <a:pt x="56" y="1743"/>
                    <a:pt x="53" y="1754"/>
                    <a:pt x="59" y="1765"/>
                  </a:cubicBezTo>
                  <a:cubicBezTo>
                    <a:pt x="64" y="1777"/>
                    <a:pt x="67" y="1785"/>
                    <a:pt x="70" y="1796"/>
                  </a:cubicBezTo>
                  <a:cubicBezTo>
                    <a:pt x="72" y="1808"/>
                    <a:pt x="79" y="1816"/>
                    <a:pt x="85" y="1827"/>
                  </a:cubicBezTo>
                  <a:cubicBezTo>
                    <a:pt x="90" y="1839"/>
                    <a:pt x="93" y="1846"/>
                    <a:pt x="96" y="1858"/>
                  </a:cubicBezTo>
                  <a:cubicBezTo>
                    <a:pt x="99" y="1869"/>
                    <a:pt x="101" y="1881"/>
                    <a:pt x="104" y="1889"/>
                  </a:cubicBezTo>
                  <a:cubicBezTo>
                    <a:pt x="107" y="1898"/>
                    <a:pt x="115" y="1909"/>
                    <a:pt x="118" y="1920"/>
                  </a:cubicBezTo>
                  <a:cubicBezTo>
                    <a:pt x="120" y="1932"/>
                    <a:pt x="129" y="1940"/>
                    <a:pt x="135" y="1948"/>
                  </a:cubicBezTo>
                  <a:cubicBezTo>
                    <a:pt x="140" y="1957"/>
                    <a:pt x="143" y="1968"/>
                    <a:pt x="149" y="1979"/>
                  </a:cubicBezTo>
                  <a:cubicBezTo>
                    <a:pt x="154" y="1990"/>
                    <a:pt x="158" y="1999"/>
                    <a:pt x="164" y="2010"/>
                  </a:cubicBezTo>
                  <a:cubicBezTo>
                    <a:pt x="169" y="2021"/>
                    <a:pt x="172" y="2030"/>
                    <a:pt x="178" y="2041"/>
                  </a:cubicBezTo>
                  <a:cubicBezTo>
                    <a:pt x="183" y="2052"/>
                    <a:pt x="189" y="2061"/>
                    <a:pt x="195" y="2069"/>
                  </a:cubicBezTo>
                  <a:cubicBezTo>
                    <a:pt x="200" y="2078"/>
                    <a:pt x="206" y="2089"/>
                    <a:pt x="212" y="2097"/>
                  </a:cubicBezTo>
                  <a:cubicBezTo>
                    <a:pt x="217" y="2106"/>
                    <a:pt x="222" y="2118"/>
                    <a:pt x="228" y="2126"/>
                  </a:cubicBezTo>
                  <a:cubicBezTo>
                    <a:pt x="233" y="2135"/>
                    <a:pt x="239" y="2146"/>
                    <a:pt x="248" y="2154"/>
                  </a:cubicBezTo>
                  <a:cubicBezTo>
                    <a:pt x="256" y="2163"/>
                    <a:pt x="262" y="2171"/>
                    <a:pt x="268" y="2179"/>
                  </a:cubicBezTo>
                  <a:cubicBezTo>
                    <a:pt x="274" y="2188"/>
                    <a:pt x="279" y="2199"/>
                    <a:pt x="285" y="2207"/>
                  </a:cubicBezTo>
                  <a:cubicBezTo>
                    <a:pt x="291" y="2216"/>
                    <a:pt x="301" y="2225"/>
                    <a:pt x="307" y="2233"/>
                  </a:cubicBezTo>
                  <a:cubicBezTo>
                    <a:pt x="312" y="2242"/>
                    <a:pt x="322" y="2253"/>
                    <a:pt x="327" y="2261"/>
                  </a:cubicBezTo>
                  <a:cubicBezTo>
                    <a:pt x="333" y="2269"/>
                    <a:pt x="341" y="2278"/>
                    <a:pt x="350" y="2286"/>
                  </a:cubicBezTo>
                  <a:cubicBezTo>
                    <a:pt x="358" y="2295"/>
                    <a:pt x="369" y="2301"/>
                    <a:pt x="375" y="2309"/>
                  </a:cubicBezTo>
                  <a:cubicBezTo>
                    <a:pt x="380" y="2318"/>
                    <a:pt x="389" y="2329"/>
                    <a:pt x="398" y="2334"/>
                  </a:cubicBezTo>
                  <a:cubicBezTo>
                    <a:pt x="406" y="2340"/>
                    <a:pt x="418" y="2349"/>
                    <a:pt x="426" y="2357"/>
                  </a:cubicBezTo>
                  <a:cubicBezTo>
                    <a:pt x="434" y="2366"/>
                    <a:pt x="440" y="2377"/>
                    <a:pt x="449" y="2385"/>
                  </a:cubicBezTo>
                  <a:cubicBezTo>
                    <a:pt x="457" y="2394"/>
                    <a:pt x="465" y="2400"/>
                    <a:pt x="477" y="2408"/>
                  </a:cubicBezTo>
                  <a:cubicBezTo>
                    <a:pt x="488" y="2417"/>
                    <a:pt x="493" y="2422"/>
                    <a:pt x="502" y="2430"/>
                  </a:cubicBezTo>
                  <a:cubicBezTo>
                    <a:pt x="510" y="2439"/>
                    <a:pt x="518" y="2445"/>
                    <a:pt x="530" y="2453"/>
                  </a:cubicBezTo>
                  <a:cubicBezTo>
                    <a:pt x="541" y="2462"/>
                    <a:pt x="549" y="2465"/>
                    <a:pt x="561" y="2473"/>
                  </a:cubicBezTo>
                  <a:cubicBezTo>
                    <a:pt x="572" y="2482"/>
                    <a:pt x="581" y="2487"/>
                    <a:pt x="590" y="2495"/>
                  </a:cubicBezTo>
                  <a:cubicBezTo>
                    <a:pt x="598" y="2504"/>
                    <a:pt x="609" y="2509"/>
                    <a:pt x="618" y="2515"/>
                  </a:cubicBezTo>
                  <a:cubicBezTo>
                    <a:pt x="626" y="2521"/>
                    <a:pt x="635" y="2532"/>
                    <a:pt x="646" y="2537"/>
                  </a:cubicBezTo>
                  <a:cubicBezTo>
                    <a:pt x="657" y="2543"/>
                    <a:pt x="666" y="2549"/>
                    <a:pt x="677" y="2554"/>
                  </a:cubicBezTo>
                  <a:cubicBezTo>
                    <a:pt x="688" y="2560"/>
                    <a:pt x="697" y="2566"/>
                    <a:pt x="708" y="2571"/>
                  </a:cubicBezTo>
                  <a:cubicBezTo>
                    <a:pt x="719" y="2577"/>
                    <a:pt x="727" y="2583"/>
                    <a:pt x="736" y="2588"/>
                  </a:cubicBezTo>
                  <a:cubicBezTo>
                    <a:pt x="744" y="2594"/>
                    <a:pt x="759" y="2597"/>
                    <a:pt x="767" y="2602"/>
                  </a:cubicBezTo>
                  <a:cubicBezTo>
                    <a:pt x="776" y="2608"/>
                    <a:pt x="786" y="2614"/>
                    <a:pt x="798" y="2619"/>
                  </a:cubicBezTo>
                  <a:cubicBezTo>
                    <a:pt x="809" y="2625"/>
                    <a:pt x="817" y="2631"/>
                    <a:pt x="829" y="2636"/>
                  </a:cubicBezTo>
                  <a:cubicBezTo>
                    <a:pt x="840" y="2642"/>
                    <a:pt x="851" y="2642"/>
                    <a:pt x="863" y="2647"/>
                  </a:cubicBezTo>
                  <a:cubicBezTo>
                    <a:pt x="874" y="2653"/>
                    <a:pt x="885" y="2654"/>
                    <a:pt x="894" y="2659"/>
                  </a:cubicBezTo>
                  <a:cubicBezTo>
                    <a:pt x="902" y="2665"/>
                    <a:pt x="913" y="2667"/>
                    <a:pt x="925" y="2670"/>
                  </a:cubicBezTo>
                  <a:cubicBezTo>
                    <a:pt x="936" y="2673"/>
                    <a:pt x="944" y="2681"/>
                    <a:pt x="956" y="2684"/>
                  </a:cubicBezTo>
                  <a:cubicBezTo>
                    <a:pt x="967" y="2687"/>
                    <a:pt x="978" y="2691"/>
                    <a:pt x="987" y="2693"/>
                  </a:cubicBezTo>
                  <a:cubicBezTo>
                    <a:pt x="995" y="2696"/>
                    <a:pt x="1010" y="2701"/>
                    <a:pt x="1019" y="2704"/>
                  </a:cubicBezTo>
                  <a:cubicBezTo>
                    <a:pt x="1027" y="2707"/>
                    <a:pt x="1040" y="2707"/>
                    <a:pt x="1052" y="2709"/>
                  </a:cubicBezTo>
                  <a:cubicBezTo>
                    <a:pt x="1063" y="2712"/>
                    <a:pt x="1074" y="2718"/>
                    <a:pt x="1083" y="2718"/>
                  </a:cubicBezTo>
                  <a:cubicBezTo>
                    <a:pt x="1091" y="2718"/>
                    <a:pt x="1105" y="2722"/>
                    <a:pt x="1117" y="2724"/>
                  </a:cubicBezTo>
                  <a:cubicBezTo>
                    <a:pt x="1128" y="2727"/>
                    <a:pt x="1139" y="2729"/>
                    <a:pt x="1148" y="2732"/>
                  </a:cubicBezTo>
                  <a:cubicBezTo>
                    <a:pt x="1156" y="2735"/>
                    <a:pt x="1171" y="2735"/>
                    <a:pt x="1182" y="2738"/>
                  </a:cubicBezTo>
                  <a:cubicBezTo>
                    <a:pt x="1193" y="2741"/>
                    <a:pt x="1205" y="2741"/>
                    <a:pt x="1216" y="2741"/>
                  </a:cubicBezTo>
                  <a:cubicBezTo>
                    <a:pt x="1227" y="2741"/>
                    <a:pt x="1239" y="2741"/>
                    <a:pt x="1250" y="2741"/>
                  </a:cubicBezTo>
                  <a:cubicBezTo>
                    <a:pt x="1261" y="2741"/>
                    <a:pt x="1272" y="2746"/>
                    <a:pt x="1284" y="2749"/>
                  </a:cubicBezTo>
                  <a:cubicBezTo>
                    <a:pt x="1295" y="2752"/>
                    <a:pt x="1306" y="2749"/>
                    <a:pt x="1318" y="2749"/>
                  </a:cubicBezTo>
                  <a:cubicBezTo>
                    <a:pt x="1329" y="2749"/>
                    <a:pt x="1339" y="2749"/>
                    <a:pt x="1351" y="2749"/>
                  </a:cubicBezTo>
                  <a:cubicBezTo>
                    <a:pt x="1362" y="2749"/>
                    <a:pt x="1373" y="2749"/>
                    <a:pt x="1384" y="2749"/>
                  </a:cubicBezTo>
                  <a:cubicBezTo>
                    <a:pt x="1396" y="2749"/>
                    <a:pt x="1407" y="2749"/>
                    <a:pt x="1418" y="2749"/>
                  </a:cubicBezTo>
                  <a:cubicBezTo>
                    <a:pt x="1429" y="2749"/>
                    <a:pt x="1441" y="2749"/>
                    <a:pt x="1452" y="2749"/>
                  </a:cubicBezTo>
                  <a:cubicBezTo>
                    <a:pt x="1463" y="2749"/>
                    <a:pt x="1475" y="2749"/>
                    <a:pt x="1486" y="2749"/>
                  </a:cubicBezTo>
                  <a:cubicBezTo>
                    <a:pt x="1497" y="2749"/>
                    <a:pt x="1509" y="2746"/>
                    <a:pt x="1520" y="2743"/>
                  </a:cubicBezTo>
                  <a:cubicBezTo>
                    <a:pt x="1532" y="2741"/>
                    <a:pt x="1543" y="2744"/>
                    <a:pt x="1554" y="2741"/>
                  </a:cubicBezTo>
                  <a:cubicBezTo>
                    <a:pt x="1566" y="2739"/>
                    <a:pt x="1577" y="2735"/>
                    <a:pt x="1585" y="2735"/>
                  </a:cubicBezTo>
                  <a:cubicBezTo>
                    <a:pt x="1594" y="2735"/>
                    <a:pt x="1608" y="2729"/>
                    <a:pt x="1616" y="2729"/>
                  </a:cubicBezTo>
                  <a:cubicBezTo>
                    <a:pt x="1625" y="2729"/>
                    <a:pt x="1639" y="2724"/>
                    <a:pt x="1647" y="2724"/>
                  </a:cubicBezTo>
                  <a:cubicBezTo>
                    <a:pt x="1656" y="2724"/>
                    <a:pt x="1669" y="2718"/>
                    <a:pt x="1678" y="2715"/>
                  </a:cubicBezTo>
                  <a:cubicBezTo>
                    <a:pt x="1689" y="2712"/>
                    <a:pt x="1701" y="2710"/>
                    <a:pt x="1709" y="2707"/>
                  </a:cubicBezTo>
                  <a:cubicBezTo>
                    <a:pt x="1718" y="2705"/>
                    <a:pt x="1732" y="2701"/>
                    <a:pt x="1740" y="2698"/>
                  </a:cubicBezTo>
                  <a:cubicBezTo>
                    <a:pt x="1749" y="2695"/>
                    <a:pt x="1763" y="2693"/>
                    <a:pt x="1771" y="2690"/>
                  </a:cubicBezTo>
                  <a:cubicBezTo>
                    <a:pt x="1780" y="2687"/>
                    <a:pt x="1794" y="2687"/>
                    <a:pt x="1805" y="2684"/>
                  </a:cubicBezTo>
                  <a:cubicBezTo>
                    <a:pt x="1817" y="2681"/>
                    <a:pt x="1825" y="2676"/>
                    <a:pt x="1836" y="2673"/>
                  </a:cubicBezTo>
                  <a:cubicBezTo>
                    <a:pt x="1847" y="2670"/>
                    <a:pt x="1856" y="2665"/>
                    <a:pt x="1867" y="2659"/>
                  </a:cubicBezTo>
                  <a:cubicBezTo>
                    <a:pt x="1878" y="2654"/>
                    <a:pt x="1890" y="2653"/>
                    <a:pt x="1898" y="2650"/>
                  </a:cubicBezTo>
                  <a:cubicBezTo>
                    <a:pt x="1907" y="2647"/>
                    <a:pt x="1918" y="2642"/>
                    <a:pt x="1929" y="2636"/>
                  </a:cubicBezTo>
                  <a:cubicBezTo>
                    <a:pt x="1940" y="2631"/>
                    <a:pt x="1949" y="2628"/>
                    <a:pt x="1960" y="2625"/>
                  </a:cubicBezTo>
                  <a:cubicBezTo>
                    <a:pt x="1971" y="2622"/>
                    <a:pt x="1980" y="2611"/>
                    <a:pt x="1988" y="2608"/>
                  </a:cubicBezTo>
                  <a:cubicBezTo>
                    <a:pt x="1997" y="2605"/>
                    <a:pt x="2008" y="2600"/>
                    <a:pt x="2019" y="2594"/>
                  </a:cubicBezTo>
                  <a:cubicBezTo>
                    <a:pt x="2031" y="2589"/>
                    <a:pt x="2039" y="2583"/>
                    <a:pt x="2047" y="2577"/>
                  </a:cubicBezTo>
                  <a:cubicBezTo>
                    <a:pt x="2056" y="2571"/>
                    <a:pt x="2068" y="2566"/>
                    <a:pt x="2076" y="2560"/>
                  </a:cubicBezTo>
                  <a:cubicBezTo>
                    <a:pt x="2085" y="2554"/>
                    <a:pt x="2096" y="2552"/>
                    <a:pt x="2104" y="2543"/>
                  </a:cubicBezTo>
                  <a:cubicBezTo>
                    <a:pt x="2113" y="2535"/>
                    <a:pt x="2121" y="2529"/>
                    <a:pt x="2132" y="2523"/>
                  </a:cubicBezTo>
                  <a:cubicBezTo>
                    <a:pt x="2143" y="2518"/>
                    <a:pt x="2152" y="2512"/>
                    <a:pt x="2160" y="2506"/>
                  </a:cubicBezTo>
                  <a:cubicBezTo>
                    <a:pt x="2169" y="2501"/>
                    <a:pt x="2181" y="2496"/>
                    <a:pt x="2189" y="2487"/>
                  </a:cubicBezTo>
                  <a:cubicBezTo>
                    <a:pt x="2198" y="2479"/>
                    <a:pt x="2206" y="2473"/>
                    <a:pt x="2214" y="2464"/>
                  </a:cubicBezTo>
                  <a:cubicBezTo>
                    <a:pt x="2223" y="2456"/>
                    <a:pt x="2231" y="2448"/>
                    <a:pt x="2239" y="2442"/>
                  </a:cubicBezTo>
                  <a:cubicBezTo>
                    <a:pt x="2248" y="2437"/>
                    <a:pt x="2260" y="2431"/>
                    <a:pt x="2268" y="2425"/>
                  </a:cubicBezTo>
                  <a:cubicBezTo>
                    <a:pt x="2277" y="2420"/>
                    <a:pt x="2285" y="2410"/>
                    <a:pt x="2293" y="2402"/>
                  </a:cubicBezTo>
                  <a:cubicBezTo>
                    <a:pt x="2302" y="2394"/>
                    <a:pt x="2307" y="2383"/>
                    <a:pt x="2315" y="2374"/>
                  </a:cubicBezTo>
                  <a:cubicBezTo>
                    <a:pt x="2324" y="2366"/>
                    <a:pt x="2333" y="2360"/>
                    <a:pt x="2341" y="2351"/>
                  </a:cubicBezTo>
                  <a:cubicBezTo>
                    <a:pt x="2350" y="2343"/>
                    <a:pt x="2361" y="2338"/>
                    <a:pt x="2366" y="2329"/>
                  </a:cubicBezTo>
                  <a:cubicBezTo>
                    <a:pt x="2372" y="2321"/>
                    <a:pt x="2380" y="2309"/>
                    <a:pt x="2386" y="2300"/>
                  </a:cubicBezTo>
                  <a:cubicBezTo>
                    <a:pt x="2392" y="2292"/>
                    <a:pt x="2403" y="2286"/>
                    <a:pt x="2411" y="2275"/>
                  </a:cubicBezTo>
                  <a:cubicBezTo>
                    <a:pt x="2420" y="2264"/>
                    <a:pt x="2426" y="2259"/>
                    <a:pt x="2434" y="2250"/>
                  </a:cubicBezTo>
                  <a:cubicBezTo>
                    <a:pt x="2442" y="2242"/>
                    <a:pt x="2449" y="2230"/>
                    <a:pt x="2454" y="2221"/>
                  </a:cubicBezTo>
                  <a:cubicBezTo>
                    <a:pt x="2460" y="2213"/>
                    <a:pt x="2471" y="2205"/>
                    <a:pt x="2476" y="2196"/>
                  </a:cubicBezTo>
                  <a:cubicBezTo>
                    <a:pt x="2482" y="2188"/>
                    <a:pt x="2488" y="2176"/>
                    <a:pt x="2493" y="2165"/>
                  </a:cubicBezTo>
                  <a:cubicBezTo>
                    <a:pt x="2499" y="2154"/>
                    <a:pt x="2511" y="2148"/>
                    <a:pt x="2516" y="2137"/>
                  </a:cubicBezTo>
                  <a:cubicBezTo>
                    <a:pt x="2522" y="2126"/>
                    <a:pt x="2528" y="2115"/>
                    <a:pt x="2533" y="2106"/>
                  </a:cubicBezTo>
                  <a:cubicBezTo>
                    <a:pt x="2539" y="2098"/>
                    <a:pt x="2547" y="2090"/>
                    <a:pt x="2555" y="2078"/>
                  </a:cubicBezTo>
                  <a:cubicBezTo>
                    <a:pt x="2564" y="2067"/>
                    <a:pt x="2564" y="2056"/>
                    <a:pt x="2569" y="2047"/>
                  </a:cubicBezTo>
                  <a:cubicBezTo>
                    <a:pt x="2575" y="2039"/>
                    <a:pt x="2579" y="2028"/>
                    <a:pt x="2584" y="2016"/>
                  </a:cubicBezTo>
                  <a:cubicBezTo>
                    <a:pt x="2590" y="2005"/>
                    <a:pt x="2598" y="1996"/>
                    <a:pt x="2603" y="1987"/>
                  </a:cubicBezTo>
                  <a:cubicBezTo>
                    <a:pt x="2609" y="1979"/>
                    <a:pt x="2615" y="1968"/>
                    <a:pt x="2617" y="1956"/>
                  </a:cubicBezTo>
                  <a:cubicBezTo>
                    <a:pt x="2620" y="1945"/>
                    <a:pt x="2627" y="1937"/>
                    <a:pt x="2632" y="1925"/>
                  </a:cubicBezTo>
                  <a:cubicBezTo>
                    <a:pt x="2638" y="1914"/>
                    <a:pt x="2637" y="1903"/>
                    <a:pt x="2640" y="1891"/>
                  </a:cubicBezTo>
                  <a:cubicBezTo>
                    <a:pt x="2643" y="1880"/>
                    <a:pt x="2651" y="1872"/>
                    <a:pt x="2657" y="1860"/>
                  </a:cubicBezTo>
                  <a:cubicBezTo>
                    <a:pt x="2663" y="1849"/>
                    <a:pt x="2663" y="1839"/>
                    <a:pt x="2665" y="1827"/>
                  </a:cubicBezTo>
                  <a:cubicBezTo>
                    <a:pt x="2668" y="1816"/>
                    <a:pt x="2677" y="1808"/>
                    <a:pt x="2679" y="1796"/>
                  </a:cubicBezTo>
                  <a:cubicBezTo>
                    <a:pt x="2682" y="1785"/>
                    <a:pt x="2685" y="1774"/>
                    <a:pt x="2688" y="1765"/>
                  </a:cubicBezTo>
                  <a:cubicBezTo>
                    <a:pt x="2691" y="1757"/>
                    <a:pt x="2694" y="1742"/>
                    <a:pt x="2696" y="1733"/>
                  </a:cubicBezTo>
                  <a:cubicBezTo>
                    <a:pt x="2699" y="1725"/>
                    <a:pt x="2699" y="1712"/>
                    <a:pt x="2702" y="1700"/>
                  </a:cubicBezTo>
                  <a:cubicBezTo>
                    <a:pt x="2705" y="1689"/>
                    <a:pt x="2709" y="1678"/>
                    <a:pt x="2711" y="1669"/>
                  </a:cubicBezTo>
                  <a:cubicBezTo>
                    <a:pt x="2714" y="1661"/>
                    <a:pt x="2716" y="1647"/>
                    <a:pt x="2719" y="1635"/>
                  </a:cubicBezTo>
                  <a:cubicBezTo>
                    <a:pt x="2722" y="1624"/>
                    <a:pt x="2725" y="1612"/>
                    <a:pt x="2725" y="1601"/>
                  </a:cubicBezTo>
                  <a:cubicBezTo>
                    <a:pt x="2725" y="1590"/>
                    <a:pt x="2727" y="1578"/>
                    <a:pt x="2727" y="1567"/>
                  </a:cubicBezTo>
                  <a:cubicBezTo>
                    <a:pt x="2727" y="1556"/>
                    <a:pt x="2730" y="1544"/>
                    <a:pt x="2733" y="1533"/>
                  </a:cubicBezTo>
                  <a:cubicBezTo>
                    <a:pt x="2736" y="1522"/>
                    <a:pt x="2736" y="1511"/>
                    <a:pt x="2736" y="1499"/>
                  </a:cubicBezTo>
                  <a:cubicBezTo>
                    <a:pt x="2736" y="1488"/>
                    <a:pt x="2733" y="1478"/>
                    <a:pt x="2736" y="1466"/>
                  </a:cubicBezTo>
                  <a:cubicBezTo>
                    <a:pt x="2739" y="1455"/>
                    <a:pt x="2742" y="1444"/>
                    <a:pt x="2742" y="1432"/>
                  </a:cubicBezTo>
                  <a:cubicBezTo>
                    <a:pt x="2742" y="1421"/>
                    <a:pt x="2742" y="1409"/>
                    <a:pt x="2742" y="1398"/>
                  </a:cubicBezTo>
                  <a:cubicBezTo>
                    <a:pt x="2742" y="1387"/>
                    <a:pt x="2739" y="1375"/>
                    <a:pt x="2739" y="1364"/>
                  </a:cubicBezTo>
                  <a:cubicBezTo>
                    <a:pt x="2739" y="1354"/>
                    <a:pt x="2742" y="1337"/>
                    <a:pt x="2739" y="1325"/>
                  </a:cubicBezTo>
                  <a:close/>
                  <a:moveTo>
                    <a:pt x="2699" y="1389"/>
                  </a:moveTo>
                  <a:cubicBezTo>
                    <a:pt x="2699" y="1401"/>
                    <a:pt x="2699" y="1412"/>
                    <a:pt x="2699" y="1420"/>
                  </a:cubicBezTo>
                  <a:cubicBezTo>
                    <a:pt x="2699" y="1429"/>
                    <a:pt x="2696" y="1443"/>
                    <a:pt x="2696" y="1451"/>
                  </a:cubicBezTo>
                  <a:cubicBezTo>
                    <a:pt x="2696" y="1460"/>
                    <a:pt x="2697" y="1474"/>
                    <a:pt x="2694" y="1482"/>
                  </a:cubicBezTo>
                  <a:cubicBezTo>
                    <a:pt x="2692" y="1491"/>
                    <a:pt x="2694" y="1505"/>
                    <a:pt x="2694" y="1513"/>
                  </a:cubicBezTo>
                  <a:cubicBezTo>
                    <a:pt x="2694" y="1522"/>
                    <a:pt x="2691" y="1536"/>
                    <a:pt x="2691" y="1544"/>
                  </a:cubicBezTo>
                  <a:cubicBezTo>
                    <a:pt x="2691" y="1553"/>
                    <a:pt x="2688" y="1568"/>
                    <a:pt x="2685" y="1576"/>
                  </a:cubicBezTo>
                  <a:cubicBezTo>
                    <a:pt x="2682" y="1585"/>
                    <a:pt x="2682" y="1599"/>
                    <a:pt x="2679" y="1607"/>
                  </a:cubicBezTo>
                  <a:cubicBezTo>
                    <a:pt x="2677" y="1616"/>
                    <a:pt x="2674" y="1627"/>
                    <a:pt x="2671" y="1638"/>
                  </a:cubicBezTo>
                  <a:cubicBezTo>
                    <a:pt x="2668" y="1650"/>
                    <a:pt x="2668" y="1661"/>
                    <a:pt x="2665" y="1669"/>
                  </a:cubicBezTo>
                  <a:cubicBezTo>
                    <a:pt x="2663" y="1678"/>
                    <a:pt x="2657" y="1689"/>
                    <a:pt x="2654" y="1700"/>
                  </a:cubicBezTo>
                  <a:cubicBezTo>
                    <a:pt x="2651" y="1712"/>
                    <a:pt x="2651" y="1723"/>
                    <a:pt x="2648" y="1731"/>
                  </a:cubicBezTo>
                  <a:cubicBezTo>
                    <a:pt x="2646" y="1740"/>
                    <a:pt x="2640" y="1751"/>
                    <a:pt x="2637" y="1762"/>
                  </a:cubicBezTo>
                  <a:cubicBezTo>
                    <a:pt x="2634" y="1774"/>
                    <a:pt x="2632" y="1785"/>
                    <a:pt x="2629" y="1793"/>
                  </a:cubicBezTo>
                  <a:cubicBezTo>
                    <a:pt x="2626" y="1802"/>
                    <a:pt x="2621" y="1813"/>
                    <a:pt x="2615" y="1824"/>
                  </a:cubicBezTo>
                  <a:cubicBezTo>
                    <a:pt x="2610" y="1836"/>
                    <a:pt x="2609" y="1847"/>
                    <a:pt x="2603" y="1855"/>
                  </a:cubicBezTo>
                  <a:cubicBezTo>
                    <a:pt x="2598" y="1864"/>
                    <a:pt x="2595" y="1875"/>
                    <a:pt x="2589" y="1886"/>
                  </a:cubicBezTo>
                  <a:cubicBezTo>
                    <a:pt x="2584" y="1897"/>
                    <a:pt x="2581" y="1906"/>
                    <a:pt x="2578" y="1917"/>
                  </a:cubicBezTo>
                  <a:cubicBezTo>
                    <a:pt x="2575" y="1928"/>
                    <a:pt x="2570" y="1937"/>
                    <a:pt x="2564" y="1948"/>
                  </a:cubicBezTo>
                  <a:cubicBezTo>
                    <a:pt x="2559" y="1959"/>
                    <a:pt x="2553" y="1968"/>
                    <a:pt x="2550" y="1979"/>
                  </a:cubicBezTo>
                  <a:cubicBezTo>
                    <a:pt x="2547" y="1990"/>
                    <a:pt x="2539" y="1999"/>
                    <a:pt x="2533" y="2010"/>
                  </a:cubicBezTo>
                  <a:cubicBezTo>
                    <a:pt x="2528" y="2021"/>
                    <a:pt x="2522" y="2030"/>
                    <a:pt x="2516" y="2038"/>
                  </a:cubicBezTo>
                  <a:cubicBezTo>
                    <a:pt x="2511" y="2047"/>
                    <a:pt x="2505" y="2058"/>
                    <a:pt x="2499" y="2066"/>
                  </a:cubicBezTo>
                  <a:cubicBezTo>
                    <a:pt x="2493" y="2075"/>
                    <a:pt x="2485" y="2084"/>
                    <a:pt x="2479" y="2095"/>
                  </a:cubicBezTo>
                  <a:cubicBezTo>
                    <a:pt x="2474" y="2107"/>
                    <a:pt x="2468" y="2115"/>
                    <a:pt x="2462" y="2123"/>
                  </a:cubicBezTo>
                  <a:cubicBezTo>
                    <a:pt x="2457" y="2132"/>
                    <a:pt x="2451" y="2143"/>
                    <a:pt x="2442" y="2151"/>
                  </a:cubicBezTo>
                  <a:cubicBezTo>
                    <a:pt x="2434" y="2159"/>
                    <a:pt x="2426" y="2168"/>
                    <a:pt x="2420" y="2176"/>
                  </a:cubicBezTo>
                  <a:cubicBezTo>
                    <a:pt x="2414" y="2185"/>
                    <a:pt x="2409" y="2197"/>
                    <a:pt x="2400" y="2205"/>
                  </a:cubicBezTo>
                  <a:cubicBezTo>
                    <a:pt x="2392" y="2214"/>
                    <a:pt x="2384" y="2222"/>
                    <a:pt x="2375" y="2230"/>
                  </a:cubicBezTo>
                  <a:cubicBezTo>
                    <a:pt x="2367" y="2239"/>
                    <a:pt x="2358" y="2247"/>
                    <a:pt x="2352" y="2255"/>
                  </a:cubicBezTo>
                  <a:cubicBezTo>
                    <a:pt x="2347" y="2264"/>
                    <a:pt x="2338" y="2276"/>
                    <a:pt x="2332" y="2281"/>
                  </a:cubicBezTo>
                  <a:cubicBezTo>
                    <a:pt x="2327" y="2287"/>
                    <a:pt x="2316" y="2298"/>
                    <a:pt x="2310" y="2303"/>
                  </a:cubicBezTo>
                  <a:cubicBezTo>
                    <a:pt x="2305" y="2309"/>
                    <a:pt x="2293" y="2317"/>
                    <a:pt x="2284" y="2323"/>
                  </a:cubicBezTo>
                  <a:cubicBezTo>
                    <a:pt x="2276" y="2329"/>
                    <a:pt x="2271" y="2340"/>
                    <a:pt x="2262" y="2348"/>
                  </a:cubicBezTo>
                  <a:cubicBezTo>
                    <a:pt x="2254" y="2357"/>
                    <a:pt x="2245" y="2363"/>
                    <a:pt x="2236" y="2371"/>
                  </a:cubicBezTo>
                  <a:cubicBezTo>
                    <a:pt x="2228" y="2379"/>
                    <a:pt x="2220" y="2383"/>
                    <a:pt x="2211" y="2391"/>
                  </a:cubicBezTo>
                  <a:cubicBezTo>
                    <a:pt x="2203" y="2400"/>
                    <a:pt x="2195" y="2405"/>
                    <a:pt x="2186" y="2410"/>
                  </a:cubicBezTo>
                  <a:cubicBezTo>
                    <a:pt x="2178" y="2416"/>
                    <a:pt x="2169" y="2425"/>
                    <a:pt x="2160" y="2433"/>
                  </a:cubicBezTo>
                  <a:cubicBezTo>
                    <a:pt x="2152" y="2442"/>
                    <a:pt x="2143" y="2445"/>
                    <a:pt x="2132" y="2453"/>
                  </a:cubicBezTo>
                  <a:cubicBezTo>
                    <a:pt x="2121" y="2462"/>
                    <a:pt x="2113" y="2465"/>
                    <a:pt x="2104" y="2470"/>
                  </a:cubicBezTo>
                  <a:cubicBezTo>
                    <a:pt x="2096" y="2476"/>
                    <a:pt x="2088" y="2482"/>
                    <a:pt x="2076" y="2487"/>
                  </a:cubicBezTo>
                  <a:cubicBezTo>
                    <a:pt x="2065" y="2493"/>
                    <a:pt x="2059" y="2501"/>
                    <a:pt x="2050" y="2506"/>
                  </a:cubicBezTo>
                  <a:cubicBezTo>
                    <a:pt x="2042" y="2512"/>
                    <a:pt x="2031" y="2516"/>
                    <a:pt x="2022" y="2521"/>
                  </a:cubicBezTo>
                  <a:cubicBezTo>
                    <a:pt x="2014" y="2527"/>
                    <a:pt x="2006" y="2535"/>
                    <a:pt x="1997" y="2540"/>
                  </a:cubicBezTo>
                  <a:cubicBezTo>
                    <a:pt x="1989" y="2546"/>
                    <a:pt x="1978" y="2549"/>
                    <a:pt x="1966" y="2554"/>
                  </a:cubicBezTo>
                  <a:cubicBezTo>
                    <a:pt x="1955" y="2560"/>
                    <a:pt x="1946" y="2566"/>
                    <a:pt x="1937" y="2568"/>
                  </a:cubicBezTo>
                  <a:cubicBezTo>
                    <a:pt x="1929" y="2571"/>
                    <a:pt x="1918" y="2578"/>
                    <a:pt x="1909" y="2583"/>
                  </a:cubicBezTo>
                  <a:cubicBezTo>
                    <a:pt x="1901" y="2589"/>
                    <a:pt x="1889" y="2591"/>
                    <a:pt x="1878" y="2594"/>
                  </a:cubicBezTo>
                  <a:cubicBezTo>
                    <a:pt x="1867" y="2597"/>
                    <a:pt x="1858" y="2602"/>
                    <a:pt x="1847" y="2605"/>
                  </a:cubicBezTo>
                  <a:cubicBezTo>
                    <a:pt x="1836" y="2608"/>
                    <a:pt x="1827" y="2614"/>
                    <a:pt x="1816" y="2616"/>
                  </a:cubicBezTo>
                  <a:cubicBezTo>
                    <a:pt x="1805" y="2619"/>
                    <a:pt x="1799" y="2631"/>
                    <a:pt x="1788" y="2633"/>
                  </a:cubicBezTo>
                  <a:cubicBezTo>
                    <a:pt x="1777" y="2636"/>
                    <a:pt x="1768" y="2637"/>
                    <a:pt x="1757" y="2642"/>
                  </a:cubicBezTo>
                  <a:cubicBezTo>
                    <a:pt x="1746" y="2648"/>
                    <a:pt x="1738" y="2653"/>
                    <a:pt x="1726" y="2656"/>
                  </a:cubicBezTo>
                  <a:cubicBezTo>
                    <a:pt x="1715" y="2659"/>
                    <a:pt x="1704" y="2660"/>
                    <a:pt x="1695" y="2662"/>
                  </a:cubicBezTo>
                  <a:cubicBezTo>
                    <a:pt x="1687" y="2665"/>
                    <a:pt x="1676" y="2667"/>
                    <a:pt x="1664" y="2670"/>
                  </a:cubicBezTo>
                  <a:cubicBezTo>
                    <a:pt x="1653" y="2673"/>
                    <a:pt x="1645" y="2674"/>
                    <a:pt x="1633" y="2676"/>
                  </a:cubicBezTo>
                  <a:cubicBezTo>
                    <a:pt x="1622" y="2679"/>
                    <a:pt x="1614" y="2681"/>
                    <a:pt x="1602" y="2684"/>
                  </a:cubicBezTo>
                  <a:cubicBezTo>
                    <a:pt x="1591" y="2687"/>
                    <a:pt x="1580" y="2684"/>
                    <a:pt x="1571" y="2687"/>
                  </a:cubicBezTo>
                  <a:cubicBezTo>
                    <a:pt x="1563" y="2690"/>
                    <a:pt x="1552" y="2691"/>
                    <a:pt x="1540" y="2693"/>
                  </a:cubicBezTo>
                  <a:cubicBezTo>
                    <a:pt x="1529" y="2696"/>
                    <a:pt x="1520" y="2695"/>
                    <a:pt x="1508" y="2698"/>
                  </a:cubicBezTo>
                  <a:cubicBezTo>
                    <a:pt x="1497" y="2701"/>
                    <a:pt x="1486" y="2701"/>
                    <a:pt x="1477" y="2701"/>
                  </a:cubicBezTo>
                  <a:cubicBezTo>
                    <a:pt x="1469" y="2701"/>
                    <a:pt x="1455" y="2701"/>
                    <a:pt x="1446" y="2701"/>
                  </a:cubicBezTo>
                  <a:cubicBezTo>
                    <a:pt x="1438" y="2701"/>
                    <a:pt x="1424" y="2701"/>
                    <a:pt x="1415" y="2701"/>
                  </a:cubicBezTo>
                  <a:cubicBezTo>
                    <a:pt x="1407" y="2701"/>
                    <a:pt x="1393" y="2704"/>
                    <a:pt x="1384" y="2704"/>
                  </a:cubicBezTo>
                  <a:cubicBezTo>
                    <a:pt x="1376" y="2704"/>
                    <a:pt x="1362" y="2701"/>
                    <a:pt x="1354" y="2701"/>
                  </a:cubicBezTo>
                  <a:cubicBezTo>
                    <a:pt x="1345" y="2701"/>
                    <a:pt x="1331" y="2704"/>
                    <a:pt x="1323" y="2701"/>
                  </a:cubicBezTo>
                  <a:cubicBezTo>
                    <a:pt x="1314" y="2698"/>
                    <a:pt x="1300" y="2698"/>
                    <a:pt x="1292" y="2698"/>
                  </a:cubicBezTo>
                  <a:cubicBezTo>
                    <a:pt x="1283" y="2698"/>
                    <a:pt x="1269" y="2693"/>
                    <a:pt x="1261" y="2693"/>
                  </a:cubicBezTo>
                  <a:cubicBezTo>
                    <a:pt x="1252" y="2693"/>
                    <a:pt x="1238" y="2693"/>
                    <a:pt x="1230" y="2693"/>
                  </a:cubicBezTo>
                  <a:cubicBezTo>
                    <a:pt x="1221" y="2693"/>
                    <a:pt x="1207" y="2690"/>
                    <a:pt x="1199" y="2687"/>
                  </a:cubicBezTo>
                  <a:cubicBezTo>
                    <a:pt x="1190" y="2684"/>
                    <a:pt x="1179" y="2681"/>
                    <a:pt x="1168" y="2678"/>
                  </a:cubicBezTo>
                  <a:cubicBezTo>
                    <a:pt x="1157" y="2676"/>
                    <a:pt x="1145" y="2676"/>
                    <a:pt x="1137" y="2673"/>
                  </a:cubicBezTo>
                  <a:cubicBezTo>
                    <a:pt x="1129" y="2670"/>
                    <a:pt x="1114" y="2670"/>
                    <a:pt x="1106" y="2667"/>
                  </a:cubicBezTo>
                  <a:cubicBezTo>
                    <a:pt x="1098" y="2664"/>
                    <a:pt x="1086" y="2662"/>
                    <a:pt x="1075" y="2659"/>
                  </a:cubicBezTo>
                  <a:cubicBezTo>
                    <a:pt x="1064" y="2656"/>
                    <a:pt x="1055" y="2653"/>
                    <a:pt x="1044" y="2650"/>
                  </a:cubicBezTo>
                  <a:cubicBezTo>
                    <a:pt x="1033" y="2647"/>
                    <a:pt x="1021" y="2648"/>
                    <a:pt x="1013" y="2645"/>
                  </a:cubicBezTo>
                  <a:cubicBezTo>
                    <a:pt x="1004" y="2643"/>
                    <a:pt x="993" y="2636"/>
                    <a:pt x="982" y="2633"/>
                  </a:cubicBezTo>
                  <a:cubicBezTo>
                    <a:pt x="971" y="2631"/>
                    <a:pt x="962" y="2625"/>
                    <a:pt x="951" y="2622"/>
                  </a:cubicBezTo>
                  <a:cubicBezTo>
                    <a:pt x="940" y="2619"/>
                    <a:pt x="931" y="2614"/>
                    <a:pt x="920" y="2611"/>
                  </a:cubicBezTo>
                  <a:cubicBezTo>
                    <a:pt x="908" y="2608"/>
                    <a:pt x="897" y="2608"/>
                    <a:pt x="889" y="2602"/>
                  </a:cubicBezTo>
                  <a:cubicBezTo>
                    <a:pt x="880" y="2597"/>
                    <a:pt x="869" y="2591"/>
                    <a:pt x="858" y="2588"/>
                  </a:cubicBezTo>
                  <a:cubicBezTo>
                    <a:pt x="846" y="2585"/>
                    <a:pt x="838" y="2580"/>
                    <a:pt x="827" y="2577"/>
                  </a:cubicBezTo>
                  <a:cubicBezTo>
                    <a:pt x="815" y="2574"/>
                    <a:pt x="807" y="2569"/>
                    <a:pt x="796" y="2563"/>
                  </a:cubicBezTo>
                  <a:cubicBezTo>
                    <a:pt x="784" y="2558"/>
                    <a:pt x="778" y="2549"/>
                    <a:pt x="767" y="2543"/>
                  </a:cubicBezTo>
                  <a:cubicBezTo>
                    <a:pt x="755" y="2537"/>
                    <a:pt x="747" y="2535"/>
                    <a:pt x="736" y="2529"/>
                  </a:cubicBezTo>
                  <a:cubicBezTo>
                    <a:pt x="724" y="2523"/>
                    <a:pt x="716" y="2521"/>
                    <a:pt x="705" y="2515"/>
                  </a:cubicBezTo>
                  <a:cubicBezTo>
                    <a:pt x="693" y="2509"/>
                    <a:pt x="685" y="2504"/>
                    <a:pt x="677" y="2498"/>
                  </a:cubicBezTo>
                  <a:cubicBezTo>
                    <a:pt x="668" y="2492"/>
                    <a:pt x="657" y="2484"/>
                    <a:pt x="649" y="2478"/>
                  </a:cubicBezTo>
                  <a:cubicBezTo>
                    <a:pt x="640" y="2473"/>
                    <a:pt x="629" y="2464"/>
                    <a:pt x="621" y="2458"/>
                  </a:cubicBezTo>
                  <a:cubicBezTo>
                    <a:pt x="612" y="2453"/>
                    <a:pt x="600" y="2448"/>
                    <a:pt x="592" y="2439"/>
                  </a:cubicBezTo>
                  <a:cubicBezTo>
                    <a:pt x="583" y="2431"/>
                    <a:pt x="572" y="2428"/>
                    <a:pt x="564" y="2419"/>
                  </a:cubicBezTo>
                  <a:cubicBezTo>
                    <a:pt x="555" y="2411"/>
                    <a:pt x="547" y="2402"/>
                    <a:pt x="539" y="2396"/>
                  </a:cubicBezTo>
                  <a:cubicBezTo>
                    <a:pt x="530" y="2391"/>
                    <a:pt x="521" y="2380"/>
                    <a:pt x="513" y="2374"/>
                  </a:cubicBezTo>
                  <a:cubicBezTo>
                    <a:pt x="504" y="2369"/>
                    <a:pt x="493" y="2360"/>
                    <a:pt x="485" y="2354"/>
                  </a:cubicBezTo>
                  <a:cubicBezTo>
                    <a:pt x="476" y="2348"/>
                    <a:pt x="468" y="2341"/>
                    <a:pt x="460" y="2332"/>
                  </a:cubicBezTo>
                  <a:cubicBezTo>
                    <a:pt x="451" y="2324"/>
                    <a:pt x="442" y="2318"/>
                    <a:pt x="434" y="2309"/>
                  </a:cubicBezTo>
                  <a:cubicBezTo>
                    <a:pt x="425" y="2301"/>
                    <a:pt x="420" y="2293"/>
                    <a:pt x="412" y="2284"/>
                  </a:cubicBezTo>
                  <a:cubicBezTo>
                    <a:pt x="403" y="2276"/>
                    <a:pt x="394" y="2269"/>
                    <a:pt x="389" y="2261"/>
                  </a:cubicBezTo>
                  <a:cubicBezTo>
                    <a:pt x="383" y="2253"/>
                    <a:pt x="378" y="2242"/>
                    <a:pt x="370" y="2233"/>
                  </a:cubicBezTo>
                  <a:cubicBezTo>
                    <a:pt x="361" y="2225"/>
                    <a:pt x="355" y="2216"/>
                    <a:pt x="347" y="2207"/>
                  </a:cubicBezTo>
                  <a:cubicBezTo>
                    <a:pt x="339" y="2199"/>
                    <a:pt x="332" y="2190"/>
                    <a:pt x="327" y="2182"/>
                  </a:cubicBezTo>
                  <a:cubicBezTo>
                    <a:pt x="321" y="2174"/>
                    <a:pt x="315" y="2166"/>
                    <a:pt x="307" y="2157"/>
                  </a:cubicBezTo>
                  <a:cubicBezTo>
                    <a:pt x="298" y="2149"/>
                    <a:pt x="296" y="2140"/>
                    <a:pt x="291" y="2128"/>
                  </a:cubicBezTo>
                  <a:cubicBezTo>
                    <a:pt x="285" y="2117"/>
                    <a:pt x="279" y="2111"/>
                    <a:pt x="271" y="2103"/>
                  </a:cubicBezTo>
                  <a:cubicBezTo>
                    <a:pt x="262" y="2095"/>
                    <a:pt x="259" y="2086"/>
                    <a:pt x="254" y="2075"/>
                  </a:cubicBezTo>
                  <a:cubicBezTo>
                    <a:pt x="248" y="2064"/>
                    <a:pt x="240" y="2058"/>
                    <a:pt x="234" y="2049"/>
                  </a:cubicBezTo>
                  <a:cubicBezTo>
                    <a:pt x="228" y="2041"/>
                    <a:pt x="226" y="2030"/>
                    <a:pt x="220" y="2021"/>
                  </a:cubicBezTo>
                  <a:cubicBezTo>
                    <a:pt x="214" y="2013"/>
                    <a:pt x="206" y="2004"/>
                    <a:pt x="203" y="1993"/>
                  </a:cubicBezTo>
                  <a:cubicBezTo>
                    <a:pt x="200" y="1982"/>
                    <a:pt x="197" y="1970"/>
                    <a:pt x="192" y="1962"/>
                  </a:cubicBezTo>
                  <a:cubicBezTo>
                    <a:pt x="186" y="1954"/>
                    <a:pt x="183" y="1943"/>
                    <a:pt x="178" y="1934"/>
                  </a:cubicBezTo>
                  <a:cubicBezTo>
                    <a:pt x="172" y="1926"/>
                    <a:pt x="166" y="1918"/>
                    <a:pt x="161" y="1906"/>
                  </a:cubicBezTo>
                  <a:cubicBezTo>
                    <a:pt x="155" y="1895"/>
                    <a:pt x="155" y="1887"/>
                    <a:pt x="152" y="1875"/>
                  </a:cubicBezTo>
                  <a:cubicBezTo>
                    <a:pt x="149" y="1864"/>
                    <a:pt x="144" y="1856"/>
                    <a:pt x="141" y="1844"/>
                  </a:cubicBezTo>
                  <a:cubicBezTo>
                    <a:pt x="138" y="1833"/>
                    <a:pt x="130" y="1824"/>
                    <a:pt x="127" y="1815"/>
                  </a:cubicBezTo>
                  <a:cubicBezTo>
                    <a:pt x="124" y="1807"/>
                    <a:pt x="103" y="1796"/>
                    <a:pt x="101" y="1784"/>
                  </a:cubicBezTo>
                  <a:cubicBezTo>
                    <a:pt x="98" y="1773"/>
                    <a:pt x="99" y="1762"/>
                    <a:pt x="96" y="1753"/>
                  </a:cubicBezTo>
                  <a:cubicBezTo>
                    <a:pt x="93" y="1745"/>
                    <a:pt x="87" y="1733"/>
                    <a:pt x="85" y="1722"/>
                  </a:cubicBezTo>
                  <a:cubicBezTo>
                    <a:pt x="82" y="1711"/>
                    <a:pt x="79" y="1702"/>
                    <a:pt x="79" y="1691"/>
                  </a:cubicBezTo>
                  <a:cubicBezTo>
                    <a:pt x="79" y="1680"/>
                    <a:pt x="73" y="1671"/>
                    <a:pt x="73" y="1660"/>
                  </a:cubicBezTo>
                  <a:cubicBezTo>
                    <a:pt x="73" y="1649"/>
                    <a:pt x="65" y="1640"/>
                    <a:pt x="62" y="1629"/>
                  </a:cubicBezTo>
                  <a:cubicBezTo>
                    <a:pt x="59" y="1618"/>
                    <a:pt x="58" y="1609"/>
                    <a:pt x="56" y="1598"/>
                  </a:cubicBezTo>
                  <a:cubicBezTo>
                    <a:pt x="53" y="1587"/>
                    <a:pt x="56" y="1576"/>
                    <a:pt x="54" y="1567"/>
                  </a:cubicBezTo>
                  <a:cubicBezTo>
                    <a:pt x="51" y="1559"/>
                    <a:pt x="54" y="1544"/>
                    <a:pt x="51" y="1536"/>
                  </a:cubicBezTo>
                  <a:cubicBezTo>
                    <a:pt x="48" y="1528"/>
                    <a:pt x="45" y="1513"/>
                    <a:pt x="45" y="1502"/>
                  </a:cubicBezTo>
                  <a:cubicBezTo>
                    <a:pt x="45" y="1491"/>
                    <a:pt x="42" y="1480"/>
                    <a:pt x="42" y="1471"/>
                  </a:cubicBezTo>
                  <a:cubicBezTo>
                    <a:pt x="42" y="1463"/>
                    <a:pt x="42" y="1449"/>
                    <a:pt x="42" y="1440"/>
                  </a:cubicBezTo>
                  <a:cubicBezTo>
                    <a:pt x="42" y="1432"/>
                    <a:pt x="39" y="1418"/>
                    <a:pt x="39" y="1406"/>
                  </a:cubicBezTo>
                  <a:cubicBezTo>
                    <a:pt x="39" y="1395"/>
                    <a:pt x="39" y="1384"/>
                    <a:pt x="39" y="1375"/>
                  </a:cubicBezTo>
                  <a:cubicBezTo>
                    <a:pt x="39" y="1367"/>
                    <a:pt x="37" y="1353"/>
                    <a:pt x="37" y="1345"/>
                  </a:cubicBezTo>
                  <a:cubicBezTo>
                    <a:pt x="37" y="1336"/>
                    <a:pt x="37" y="1322"/>
                    <a:pt x="37" y="1314"/>
                  </a:cubicBezTo>
                  <a:cubicBezTo>
                    <a:pt x="37" y="1305"/>
                    <a:pt x="39" y="1291"/>
                    <a:pt x="42" y="1283"/>
                  </a:cubicBezTo>
                  <a:cubicBezTo>
                    <a:pt x="45" y="1274"/>
                    <a:pt x="39" y="1257"/>
                    <a:pt x="39" y="1246"/>
                  </a:cubicBezTo>
                  <a:cubicBezTo>
                    <a:pt x="39" y="1234"/>
                    <a:pt x="39" y="1223"/>
                    <a:pt x="42" y="1215"/>
                  </a:cubicBezTo>
                  <a:cubicBezTo>
                    <a:pt x="45" y="1206"/>
                    <a:pt x="48" y="1195"/>
                    <a:pt x="51" y="1184"/>
                  </a:cubicBezTo>
                  <a:cubicBezTo>
                    <a:pt x="54" y="1172"/>
                    <a:pt x="53" y="1161"/>
                    <a:pt x="56" y="1153"/>
                  </a:cubicBezTo>
                  <a:cubicBezTo>
                    <a:pt x="58" y="1144"/>
                    <a:pt x="59" y="1130"/>
                    <a:pt x="62" y="1122"/>
                  </a:cubicBezTo>
                  <a:cubicBezTo>
                    <a:pt x="65" y="1113"/>
                    <a:pt x="68" y="1100"/>
                    <a:pt x="68" y="1089"/>
                  </a:cubicBezTo>
                  <a:cubicBezTo>
                    <a:pt x="68" y="1077"/>
                    <a:pt x="70" y="1065"/>
                    <a:pt x="73" y="1057"/>
                  </a:cubicBezTo>
                  <a:cubicBezTo>
                    <a:pt x="76" y="1048"/>
                    <a:pt x="76" y="1034"/>
                    <a:pt x="79" y="1026"/>
                  </a:cubicBezTo>
                  <a:cubicBezTo>
                    <a:pt x="82" y="1017"/>
                    <a:pt x="90" y="1006"/>
                    <a:pt x="93" y="995"/>
                  </a:cubicBezTo>
                  <a:cubicBezTo>
                    <a:pt x="96" y="983"/>
                    <a:pt x="98" y="972"/>
                    <a:pt x="101" y="964"/>
                  </a:cubicBezTo>
                  <a:cubicBezTo>
                    <a:pt x="103" y="955"/>
                    <a:pt x="104" y="941"/>
                    <a:pt x="110" y="933"/>
                  </a:cubicBezTo>
                  <a:cubicBezTo>
                    <a:pt x="116" y="924"/>
                    <a:pt x="118" y="913"/>
                    <a:pt x="121" y="902"/>
                  </a:cubicBezTo>
                  <a:cubicBezTo>
                    <a:pt x="124" y="890"/>
                    <a:pt x="132" y="882"/>
                    <a:pt x="135" y="874"/>
                  </a:cubicBezTo>
                  <a:cubicBezTo>
                    <a:pt x="137" y="865"/>
                    <a:pt x="141" y="854"/>
                    <a:pt x="147" y="843"/>
                  </a:cubicBezTo>
                  <a:cubicBezTo>
                    <a:pt x="152" y="832"/>
                    <a:pt x="152" y="820"/>
                    <a:pt x="158" y="812"/>
                  </a:cubicBezTo>
                  <a:cubicBezTo>
                    <a:pt x="164" y="803"/>
                    <a:pt x="166" y="792"/>
                    <a:pt x="172" y="781"/>
                  </a:cubicBezTo>
                  <a:cubicBezTo>
                    <a:pt x="178" y="770"/>
                    <a:pt x="183" y="761"/>
                    <a:pt x="189" y="753"/>
                  </a:cubicBezTo>
                  <a:cubicBezTo>
                    <a:pt x="195" y="744"/>
                    <a:pt x="200" y="733"/>
                    <a:pt x="206" y="725"/>
                  </a:cubicBezTo>
                  <a:cubicBezTo>
                    <a:pt x="212" y="716"/>
                    <a:pt x="217" y="705"/>
                    <a:pt x="223" y="694"/>
                  </a:cubicBezTo>
                  <a:cubicBezTo>
                    <a:pt x="228" y="682"/>
                    <a:pt x="234" y="673"/>
                    <a:pt x="240" y="665"/>
                  </a:cubicBezTo>
                  <a:cubicBezTo>
                    <a:pt x="245" y="656"/>
                    <a:pt x="251" y="645"/>
                    <a:pt x="257" y="637"/>
                  </a:cubicBezTo>
                  <a:cubicBezTo>
                    <a:pt x="262" y="628"/>
                    <a:pt x="270" y="617"/>
                    <a:pt x="276" y="609"/>
                  </a:cubicBezTo>
                  <a:cubicBezTo>
                    <a:pt x="281" y="601"/>
                    <a:pt x="287" y="589"/>
                    <a:pt x="296" y="581"/>
                  </a:cubicBezTo>
                  <a:cubicBezTo>
                    <a:pt x="304" y="572"/>
                    <a:pt x="313" y="563"/>
                    <a:pt x="319" y="555"/>
                  </a:cubicBezTo>
                  <a:cubicBezTo>
                    <a:pt x="324" y="546"/>
                    <a:pt x="330" y="535"/>
                    <a:pt x="339" y="527"/>
                  </a:cubicBezTo>
                  <a:cubicBezTo>
                    <a:pt x="347" y="518"/>
                    <a:pt x="355" y="510"/>
                    <a:pt x="361" y="502"/>
                  </a:cubicBezTo>
                  <a:cubicBezTo>
                    <a:pt x="367" y="493"/>
                    <a:pt x="378" y="484"/>
                    <a:pt x="384" y="476"/>
                  </a:cubicBezTo>
                  <a:cubicBezTo>
                    <a:pt x="389" y="467"/>
                    <a:pt x="394" y="456"/>
                    <a:pt x="403" y="448"/>
                  </a:cubicBezTo>
                  <a:cubicBezTo>
                    <a:pt x="411" y="439"/>
                    <a:pt x="420" y="434"/>
                    <a:pt x="429" y="426"/>
                  </a:cubicBezTo>
                  <a:cubicBezTo>
                    <a:pt x="437" y="417"/>
                    <a:pt x="442" y="405"/>
                    <a:pt x="451" y="400"/>
                  </a:cubicBezTo>
                  <a:cubicBezTo>
                    <a:pt x="459" y="394"/>
                    <a:pt x="471" y="388"/>
                    <a:pt x="480" y="380"/>
                  </a:cubicBezTo>
                  <a:cubicBezTo>
                    <a:pt x="488" y="371"/>
                    <a:pt x="493" y="364"/>
                    <a:pt x="502" y="358"/>
                  </a:cubicBezTo>
                  <a:cubicBezTo>
                    <a:pt x="510" y="352"/>
                    <a:pt x="519" y="343"/>
                    <a:pt x="528" y="338"/>
                  </a:cubicBezTo>
                  <a:cubicBezTo>
                    <a:pt x="536" y="332"/>
                    <a:pt x="544" y="323"/>
                    <a:pt x="553" y="318"/>
                  </a:cubicBezTo>
                  <a:cubicBezTo>
                    <a:pt x="561" y="312"/>
                    <a:pt x="566" y="302"/>
                    <a:pt x="578" y="296"/>
                  </a:cubicBezTo>
                  <a:cubicBezTo>
                    <a:pt x="589" y="290"/>
                    <a:pt x="595" y="285"/>
                    <a:pt x="607" y="279"/>
                  </a:cubicBezTo>
                  <a:cubicBezTo>
                    <a:pt x="618" y="273"/>
                    <a:pt x="623" y="264"/>
                    <a:pt x="632" y="259"/>
                  </a:cubicBezTo>
                  <a:cubicBezTo>
                    <a:pt x="640" y="253"/>
                    <a:pt x="651" y="251"/>
                    <a:pt x="660" y="245"/>
                  </a:cubicBezTo>
                  <a:cubicBezTo>
                    <a:pt x="668" y="239"/>
                    <a:pt x="676" y="231"/>
                    <a:pt x="688" y="228"/>
                  </a:cubicBezTo>
                  <a:cubicBezTo>
                    <a:pt x="699" y="225"/>
                    <a:pt x="705" y="216"/>
                    <a:pt x="717" y="211"/>
                  </a:cubicBezTo>
                  <a:cubicBezTo>
                    <a:pt x="728" y="205"/>
                    <a:pt x="736" y="203"/>
                    <a:pt x="745" y="197"/>
                  </a:cubicBezTo>
                  <a:cubicBezTo>
                    <a:pt x="753" y="191"/>
                    <a:pt x="762" y="186"/>
                    <a:pt x="773" y="180"/>
                  </a:cubicBezTo>
                  <a:cubicBezTo>
                    <a:pt x="782" y="175"/>
                    <a:pt x="792" y="172"/>
                    <a:pt x="801" y="166"/>
                  </a:cubicBezTo>
                  <a:cubicBezTo>
                    <a:pt x="809" y="160"/>
                    <a:pt x="820" y="160"/>
                    <a:pt x="832" y="155"/>
                  </a:cubicBezTo>
                  <a:cubicBezTo>
                    <a:pt x="843" y="149"/>
                    <a:pt x="852" y="144"/>
                    <a:pt x="861" y="141"/>
                  </a:cubicBezTo>
                  <a:cubicBezTo>
                    <a:pt x="869" y="138"/>
                    <a:pt x="880" y="132"/>
                    <a:pt x="889" y="127"/>
                  </a:cubicBezTo>
                  <a:cubicBezTo>
                    <a:pt x="897" y="121"/>
                    <a:pt x="908" y="117"/>
                    <a:pt x="920" y="115"/>
                  </a:cubicBezTo>
                  <a:cubicBezTo>
                    <a:pt x="931" y="112"/>
                    <a:pt x="942" y="113"/>
                    <a:pt x="951" y="107"/>
                  </a:cubicBezTo>
                  <a:cubicBezTo>
                    <a:pt x="959" y="101"/>
                    <a:pt x="971" y="98"/>
                    <a:pt x="982" y="96"/>
                  </a:cubicBezTo>
                  <a:cubicBezTo>
                    <a:pt x="993" y="93"/>
                    <a:pt x="1002" y="90"/>
                    <a:pt x="1013" y="87"/>
                  </a:cubicBezTo>
                  <a:cubicBezTo>
                    <a:pt x="1024" y="84"/>
                    <a:pt x="1033" y="79"/>
                    <a:pt x="1044" y="76"/>
                  </a:cubicBezTo>
                  <a:cubicBezTo>
                    <a:pt x="1055" y="73"/>
                    <a:pt x="1066" y="73"/>
                    <a:pt x="1075" y="70"/>
                  </a:cubicBezTo>
                  <a:cubicBezTo>
                    <a:pt x="1083" y="67"/>
                    <a:pt x="1095" y="65"/>
                    <a:pt x="1106" y="62"/>
                  </a:cubicBezTo>
                  <a:cubicBezTo>
                    <a:pt x="1117" y="59"/>
                    <a:pt x="1129" y="59"/>
                    <a:pt x="1137" y="59"/>
                  </a:cubicBezTo>
                  <a:cubicBezTo>
                    <a:pt x="1145" y="59"/>
                    <a:pt x="1157" y="56"/>
                    <a:pt x="1168" y="53"/>
                  </a:cubicBezTo>
                  <a:cubicBezTo>
                    <a:pt x="1179" y="50"/>
                    <a:pt x="1188" y="50"/>
                    <a:pt x="1199" y="48"/>
                  </a:cubicBezTo>
                  <a:cubicBezTo>
                    <a:pt x="1210" y="45"/>
                    <a:pt x="1219" y="42"/>
                    <a:pt x="1230" y="42"/>
                  </a:cubicBezTo>
                  <a:cubicBezTo>
                    <a:pt x="1241" y="42"/>
                    <a:pt x="1252" y="45"/>
                    <a:pt x="1261" y="45"/>
                  </a:cubicBezTo>
                  <a:cubicBezTo>
                    <a:pt x="1269" y="45"/>
                    <a:pt x="1287" y="36"/>
                    <a:pt x="1298" y="36"/>
                  </a:cubicBezTo>
                  <a:cubicBezTo>
                    <a:pt x="1309" y="36"/>
                    <a:pt x="1320" y="36"/>
                    <a:pt x="1329" y="36"/>
                  </a:cubicBezTo>
                  <a:cubicBezTo>
                    <a:pt x="1337" y="36"/>
                    <a:pt x="1351" y="36"/>
                    <a:pt x="1360" y="36"/>
                  </a:cubicBezTo>
                  <a:cubicBezTo>
                    <a:pt x="1368" y="36"/>
                    <a:pt x="1382" y="36"/>
                    <a:pt x="1390" y="36"/>
                  </a:cubicBezTo>
                  <a:cubicBezTo>
                    <a:pt x="1398" y="36"/>
                    <a:pt x="1416" y="36"/>
                    <a:pt x="1427" y="36"/>
                  </a:cubicBezTo>
                  <a:cubicBezTo>
                    <a:pt x="1439" y="36"/>
                    <a:pt x="1450" y="39"/>
                    <a:pt x="1458" y="39"/>
                  </a:cubicBezTo>
                  <a:cubicBezTo>
                    <a:pt x="1467" y="39"/>
                    <a:pt x="1481" y="39"/>
                    <a:pt x="1489" y="39"/>
                  </a:cubicBezTo>
                  <a:cubicBezTo>
                    <a:pt x="1498" y="39"/>
                    <a:pt x="1512" y="42"/>
                    <a:pt x="1520" y="45"/>
                  </a:cubicBezTo>
                  <a:cubicBezTo>
                    <a:pt x="1529" y="48"/>
                    <a:pt x="1543" y="45"/>
                    <a:pt x="1551" y="48"/>
                  </a:cubicBezTo>
                  <a:cubicBezTo>
                    <a:pt x="1560" y="50"/>
                    <a:pt x="1574" y="50"/>
                    <a:pt x="1582" y="50"/>
                  </a:cubicBezTo>
                  <a:cubicBezTo>
                    <a:pt x="1591" y="50"/>
                    <a:pt x="1605" y="53"/>
                    <a:pt x="1613" y="56"/>
                  </a:cubicBezTo>
                  <a:cubicBezTo>
                    <a:pt x="1622" y="59"/>
                    <a:pt x="1636" y="59"/>
                    <a:pt x="1644" y="62"/>
                  </a:cubicBezTo>
                  <a:cubicBezTo>
                    <a:pt x="1653" y="65"/>
                    <a:pt x="1667" y="67"/>
                    <a:pt x="1675" y="67"/>
                  </a:cubicBezTo>
                  <a:cubicBezTo>
                    <a:pt x="1683" y="67"/>
                    <a:pt x="1695" y="73"/>
                    <a:pt x="1706" y="76"/>
                  </a:cubicBezTo>
                  <a:cubicBezTo>
                    <a:pt x="1717" y="79"/>
                    <a:pt x="1726" y="81"/>
                    <a:pt x="1737" y="84"/>
                  </a:cubicBezTo>
                  <a:cubicBezTo>
                    <a:pt x="1748" y="87"/>
                    <a:pt x="1757" y="93"/>
                    <a:pt x="1768" y="98"/>
                  </a:cubicBezTo>
                  <a:cubicBezTo>
                    <a:pt x="1779" y="104"/>
                    <a:pt x="1788" y="104"/>
                    <a:pt x="1799" y="107"/>
                  </a:cubicBezTo>
                  <a:cubicBezTo>
                    <a:pt x="1810" y="110"/>
                    <a:pt x="1822" y="112"/>
                    <a:pt x="1830" y="115"/>
                  </a:cubicBezTo>
                  <a:cubicBezTo>
                    <a:pt x="1839" y="117"/>
                    <a:pt x="1850" y="126"/>
                    <a:pt x="1861" y="129"/>
                  </a:cubicBezTo>
                  <a:cubicBezTo>
                    <a:pt x="1872" y="131"/>
                    <a:pt x="1881" y="138"/>
                    <a:pt x="1892" y="141"/>
                  </a:cubicBezTo>
                  <a:cubicBezTo>
                    <a:pt x="1904" y="144"/>
                    <a:pt x="1912" y="152"/>
                    <a:pt x="1923" y="155"/>
                  </a:cubicBezTo>
                  <a:cubicBezTo>
                    <a:pt x="1935" y="158"/>
                    <a:pt x="1946" y="160"/>
                    <a:pt x="1954" y="166"/>
                  </a:cubicBezTo>
                  <a:cubicBezTo>
                    <a:pt x="1963" y="172"/>
                    <a:pt x="1975" y="177"/>
                    <a:pt x="1983" y="183"/>
                  </a:cubicBezTo>
                  <a:cubicBezTo>
                    <a:pt x="1992" y="189"/>
                    <a:pt x="2003" y="194"/>
                    <a:pt x="2014" y="200"/>
                  </a:cubicBezTo>
                  <a:cubicBezTo>
                    <a:pt x="2026" y="206"/>
                    <a:pt x="2034" y="211"/>
                    <a:pt x="2045" y="217"/>
                  </a:cubicBezTo>
                  <a:cubicBezTo>
                    <a:pt x="2057" y="223"/>
                    <a:pt x="2065" y="231"/>
                    <a:pt x="2073" y="237"/>
                  </a:cubicBezTo>
                  <a:cubicBezTo>
                    <a:pt x="2082" y="242"/>
                    <a:pt x="2093" y="248"/>
                    <a:pt x="2104" y="254"/>
                  </a:cubicBezTo>
                  <a:cubicBezTo>
                    <a:pt x="2115" y="259"/>
                    <a:pt x="2124" y="267"/>
                    <a:pt x="2132" y="273"/>
                  </a:cubicBezTo>
                  <a:cubicBezTo>
                    <a:pt x="2141" y="278"/>
                    <a:pt x="2152" y="287"/>
                    <a:pt x="2160" y="293"/>
                  </a:cubicBezTo>
                  <a:cubicBezTo>
                    <a:pt x="2169" y="299"/>
                    <a:pt x="2180" y="304"/>
                    <a:pt x="2189" y="313"/>
                  </a:cubicBezTo>
                  <a:cubicBezTo>
                    <a:pt x="2197" y="318"/>
                    <a:pt x="2209" y="324"/>
                    <a:pt x="2217" y="333"/>
                  </a:cubicBezTo>
                  <a:cubicBezTo>
                    <a:pt x="2226" y="341"/>
                    <a:pt x="2231" y="349"/>
                    <a:pt x="2239" y="358"/>
                  </a:cubicBezTo>
                  <a:cubicBezTo>
                    <a:pt x="2248" y="366"/>
                    <a:pt x="2257" y="371"/>
                    <a:pt x="2265" y="380"/>
                  </a:cubicBezTo>
                  <a:cubicBezTo>
                    <a:pt x="2274" y="388"/>
                    <a:pt x="2285" y="391"/>
                    <a:pt x="2293" y="400"/>
                  </a:cubicBezTo>
                  <a:cubicBezTo>
                    <a:pt x="2302" y="408"/>
                    <a:pt x="2307" y="417"/>
                    <a:pt x="2315" y="426"/>
                  </a:cubicBezTo>
                  <a:cubicBezTo>
                    <a:pt x="2324" y="434"/>
                    <a:pt x="2330" y="443"/>
                    <a:pt x="2335" y="451"/>
                  </a:cubicBezTo>
                  <a:cubicBezTo>
                    <a:pt x="2341" y="459"/>
                    <a:pt x="2353" y="465"/>
                    <a:pt x="2361" y="474"/>
                  </a:cubicBezTo>
                  <a:cubicBezTo>
                    <a:pt x="2370" y="482"/>
                    <a:pt x="2372" y="491"/>
                    <a:pt x="2380" y="499"/>
                  </a:cubicBezTo>
                  <a:cubicBezTo>
                    <a:pt x="2389" y="507"/>
                    <a:pt x="2395" y="515"/>
                    <a:pt x="2403" y="524"/>
                  </a:cubicBezTo>
                  <a:cubicBezTo>
                    <a:pt x="2412" y="532"/>
                    <a:pt x="2418" y="541"/>
                    <a:pt x="2426" y="550"/>
                  </a:cubicBezTo>
                  <a:cubicBezTo>
                    <a:pt x="2435" y="558"/>
                    <a:pt x="2437" y="569"/>
                    <a:pt x="2442" y="578"/>
                  </a:cubicBezTo>
                  <a:cubicBezTo>
                    <a:pt x="2448" y="586"/>
                    <a:pt x="2457" y="594"/>
                    <a:pt x="2465" y="603"/>
                  </a:cubicBezTo>
                  <a:cubicBezTo>
                    <a:pt x="2474" y="611"/>
                    <a:pt x="2474" y="623"/>
                    <a:pt x="2479" y="632"/>
                  </a:cubicBezTo>
                  <a:cubicBezTo>
                    <a:pt x="2485" y="640"/>
                    <a:pt x="2493" y="648"/>
                    <a:pt x="2499" y="657"/>
                  </a:cubicBezTo>
                  <a:cubicBezTo>
                    <a:pt x="2505" y="665"/>
                    <a:pt x="2507" y="676"/>
                    <a:pt x="2513" y="685"/>
                  </a:cubicBezTo>
                  <a:cubicBezTo>
                    <a:pt x="2519" y="693"/>
                    <a:pt x="2527" y="701"/>
                    <a:pt x="2530" y="713"/>
                  </a:cubicBezTo>
                  <a:cubicBezTo>
                    <a:pt x="2533" y="724"/>
                    <a:pt x="2541" y="730"/>
                    <a:pt x="2547" y="742"/>
                  </a:cubicBezTo>
                  <a:cubicBezTo>
                    <a:pt x="2553" y="753"/>
                    <a:pt x="2553" y="761"/>
                    <a:pt x="2558" y="773"/>
                  </a:cubicBezTo>
                  <a:cubicBezTo>
                    <a:pt x="2564" y="784"/>
                    <a:pt x="2567" y="792"/>
                    <a:pt x="2572" y="801"/>
                  </a:cubicBezTo>
                  <a:cubicBezTo>
                    <a:pt x="2578" y="809"/>
                    <a:pt x="2581" y="821"/>
                    <a:pt x="2586" y="829"/>
                  </a:cubicBezTo>
                  <a:cubicBezTo>
                    <a:pt x="2592" y="837"/>
                    <a:pt x="2598" y="846"/>
                    <a:pt x="2603" y="857"/>
                  </a:cubicBezTo>
                  <a:cubicBezTo>
                    <a:pt x="2609" y="868"/>
                    <a:pt x="2607" y="879"/>
                    <a:pt x="2612" y="888"/>
                  </a:cubicBezTo>
                  <a:cubicBezTo>
                    <a:pt x="2618" y="896"/>
                    <a:pt x="2623" y="907"/>
                    <a:pt x="2626" y="916"/>
                  </a:cubicBezTo>
                  <a:cubicBezTo>
                    <a:pt x="2629" y="924"/>
                    <a:pt x="2632" y="935"/>
                    <a:pt x="2634" y="947"/>
                  </a:cubicBezTo>
                  <a:cubicBezTo>
                    <a:pt x="2637" y="958"/>
                    <a:pt x="2644" y="967"/>
                    <a:pt x="2646" y="979"/>
                  </a:cubicBezTo>
                  <a:cubicBezTo>
                    <a:pt x="2649" y="990"/>
                    <a:pt x="2651" y="998"/>
                    <a:pt x="2654" y="1010"/>
                  </a:cubicBezTo>
                  <a:cubicBezTo>
                    <a:pt x="2657" y="1021"/>
                    <a:pt x="2663" y="1029"/>
                    <a:pt x="2663" y="1041"/>
                  </a:cubicBezTo>
                  <a:cubicBezTo>
                    <a:pt x="2663" y="1052"/>
                    <a:pt x="2665" y="1060"/>
                    <a:pt x="2668" y="1072"/>
                  </a:cubicBezTo>
                  <a:cubicBezTo>
                    <a:pt x="2671" y="1083"/>
                    <a:pt x="2671" y="1091"/>
                    <a:pt x="2674" y="1103"/>
                  </a:cubicBezTo>
                  <a:cubicBezTo>
                    <a:pt x="2677" y="1114"/>
                    <a:pt x="2677" y="1122"/>
                    <a:pt x="2679" y="1134"/>
                  </a:cubicBezTo>
                  <a:cubicBezTo>
                    <a:pt x="2682" y="1145"/>
                    <a:pt x="2685" y="1153"/>
                    <a:pt x="2685" y="1165"/>
                  </a:cubicBezTo>
                  <a:cubicBezTo>
                    <a:pt x="2685" y="1176"/>
                    <a:pt x="2688" y="1187"/>
                    <a:pt x="2688" y="1196"/>
                  </a:cubicBezTo>
                  <a:cubicBezTo>
                    <a:pt x="2688" y="1204"/>
                    <a:pt x="2691" y="1218"/>
                    <a:pt x="2691" y="1227"/>
                  </a:cubicBezTo>
                  <a:cubicBezTo>
                    <a:pt x="2691" y="1235"/>
                    <a:pt x="2696" y="1246"/>
                    <a:pt x="2696" y="1258"/>
                  </a:cubicBezTo>
                  <a:cubicBezTo>
                    <a:pt x="2696" y="1269"/>
                    <a:pt x="2694" y="1280"/>
                    <a:pt x="2694" y="1289"/>
                  </a:cubicBezTo>
                  <a:cubicBezTo>
                    <a:pt x="2694" y="1297"/>
                    <a:pt x="2696" y="1311"/>
                    <a:pt x="2696" y="1320"/>
                  </a:cubicBezTo>
                  <a:cubicBezTo>
                    <a:pt x="2696" y="1328"/>
                    <a:pt x="2699" y="1342"/>
                    <a:pt x="2699" y="1351"/>
                  </a:cubicBezTo>
                  <a:cubicBezTo>
                    <a:pt x="2699" y="1359"/>
                    <a:pt x="2702" y="1378"/>
                    <a:pt x="2699" y="1389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" name="Freeform 6"/>
            <p:cNvSpPr>
              <a:spLocks noChangeArrowheads="1"/>
            </p:cNvSpPr>
            <p:nvPr/>
          </p:nvSpPr>
          <p:spPr bwMode="auto">
            <a:xfrm>
              <a:off x="4498975" y="2205038"/>
              <a:ext cx="9525" cy="7937"/>
            </a:xfrm>
            <a:custGeom>
              <a:avLst/>
              <a:gdLst>
                <a:gd name="T0" fmla="*/ 14 w 26"/>
                <a:gd name="T1" fmla="*/ 0 h 23"/>
                <a:gd name="T2" fmla="*/ 0 w 26"/>
                <a:gd name="T3" fmla="*/ 8 h 23"/>
                <a:gd name="T4" fmla="*/ 0 w 26"/>
                <a:gd name="T5" fmla="*/ 22 h 23"/>
                <a:gd name="T6" fmla="*/ 3 w 26"/>
                <a:gd name="T7" fmla="*/ 22 h 23"/>
                <a:gd name="T8" fmla="*/ 14 w 26"/>
                <a:gd name="T9" fmla="*/ 22 h 23"/>
                <a:gd name="T10" fmla="*/ 14 w 26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3">
                  <a:moveTo>
                    <a:pt x="14" y="0"/>
                  </a:moveTo>
                  <a:cubicBezTo>
                    <a:pt x="8" y="3"/>
                    <a:pt x="6" y="5"/>
                    <a:pt x="0" y="8"/>
                  </a:cubicBezTo>
                  <a:lnTo>
                    <a:pt x="0" y="22"/>
                  </a:lnTo>
                  <a:lnTo>
                    <a:pt x="3" y="22"/>
                  </a:lnTo>
                  <a:cubicBezTo>
                    <a:pt x="6" y="22"/>
                    <a:pt x="11" y="22"/>
                    <a:pt x="14" y="22"/>
                  </a:cubicBezTo>
                  <a:cubicBezTo>
                    <a:pt x="23" y="19"/>
                    <a:pt x="25" y="3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" name="Freeform 7"/>
            <p:cNvSpPr>
              <a:spLocks noChangeArrowheads="1"/>
            </p:cNvSpPr>
            <p:nvPr/>
          </p:nvSpPr>
          <p:spPr bwMode="auto">
            <a:xfrm>
              <a:off x="4487863" y="2219325"/>
              <a:ext cx="3175" cy="3175"/>
            </a:xfrm>
            <a:custGeom>
              <a:avLst/>
              <a:gdLst>
                <a:gd name="T0" fmla="*/ 0 w 9"/>
                <a:gd name="T1" fmla="*/ 3 h 10"/>
                <a:gd name="T2" fmla="*/ 0 w 9"/>
                <a:gd name="T3" fmla="*/ 3 h 10"/>
                <a:gd name="T4" fmla="*/ 6 w 9"/>
                <a:gd name="T5" fmla="*/ 9 h 10"/>
                <a:gd name="T6" fmla="*/ 0 w 9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3"/>
                  </a:moveTo>
                  <a:lnTo>
                    <a:pt x="0" y="3"/>
                  </a:lnTo>
                  <a:cubicBezTo>
                    <a:pt x="3" y="6"/>
                    <a:pt x="3" y="9"/>
                    <a:pt x="6" y="9"/>
                  </a:cubicBezTo>
                  <a:cubicBezTo>
                    <a:pt x="8" y="6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" name="Freeform 8"/>
            <p:cNvSpPr>
              <a:spLocks noChangeArrowheads="1"/>
            </p:cNvSpPr>
            <p:nvPr/>
          </p:nvSpPr>
          <p:spPr bwMode="auto">
            <a:xfrm>
              <a:off x="4522788" y="2224088"/>
              <a:ext cx="3175" cy="3175"/>
            </a:xfrm>
            <a:custGeom>
              <a:avLst/>
              <a:gdLst>
                <a:gd name="T0" fmla="*/ 8 w 9"/>
                <a:gd name="T1" fmla="*/ 3 h 7"/>
                <a:gd name="T2" fmla="*/ 0 w 9"/>
                <a:gd name="T3" fmla="*/ 0 h 7"/>
                <a:gd name="T4" fmla="*/ 3 w 9"/>
                <a:gd name="T5" fmla="*/ 6 h 7"/>
                <a:gd name="T6" fmla="*/ 8 w 9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8" y="3"/>
                  </a:moveTo>
                  <a:cubicBezTo>
                    <a:pt x="6" y="3"/>
                    <a:pt x="6" y="0"/>
                    <a:pt x="0" y="0"/>
                  </a:cubicBezTo>
                  <a:cubicBezTo>
                    <a:pt x="0" y="3"/>
                    <a:pt x="3" y="3"/>
                    <a:pt x="3" y="6"/>
                  </a:cubicBezTo>
                  <a:cubicBezTo>
                    <a:pt x="8" y="6"/>
                    <a:pt x="8" y="6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" name="Freeform 9"/>
            <p:cNvSpPr>
              <a:spLocks noChangeArrowheads="1"/>
            </p:cNvSpPr>
            <p:nvPr/>
          </p:nvSpPr>
          <p:spPr bwMode="auto">
            <a:xfrm>
              <a:off x="3778250" y="2181225"/>
              <a:ext cx="14288" cy="11113"/>
            </a:xfrm>
            <a:custGeom>
              <a:avLst/>
              <a:gdLst>
                <a:gd name="T0" fmla="*/ 23 w 38"/>
                <a:gd name="T1" fmla="*/ 8 h 32"/>
                <a:gd name="T2" fmla="*/ 9 w 38"/>
                <a:gd name="T3" fmla="*/ 0 h 32"/>
                <a:gd name="T4" fmla="*/ 3 w 38"/>
                <a:gd name="T5" fmla="*/ 23 h 32"/>
                <a:gd name="T6" fmla="*/ 12 w 38"/>
                <a:gd name="T7" fmla="*/ 31 h 32"/>
                <a:gd name="T8" fmla="*/ 23 w 38"/>
                <a:gd name="T9" fmla="*/ 20 h 32"/>
                <a:gd name="T10" fmla="*/ 31 w 38"/>
                <a:gd name="T11" fmla="*/ 3 h 32"/>
                <a:gd name="T12" fmla="*/ 23 w 38"/>
                <a:gd name="T13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32">
                  <a:moveTo>
                    <a:pt x="23" y="8"/>
                  </a:moveTo>
                  <a:cubicBezTo>
                    <a:pt x="15" y="11"/>
                    <a:pt x="17" y="0"/>
                    <a:pt x="9" y="0"/>
                  </a:cubicBezTo>
                  <a:cubicBezTo>
                    <a:pt x="6" y="8"/>
                    <a:pt x="0" y="14"/>
                    <a:pt x="3" y="23"/>
                  </a:cubicBezTo>
                  <a:cubicBezTo>
                    <a:pt x="9" y="23"/>
                    <a:pt x="15" y="23"/>
                    <a:pt x="12" y="31"/>
                  </a:cubicBezTo>
                  <a:cubicBezTo>
                    <a:pt x="20" y="31"/>
                    <a:pt x="20" y="23"/>
                    <a:pt x="23" y="20"/>
                  </a:cubicBezTo>
                  <a:cubicBezTo>
                    <a:pt x="29" y="17"/>
                    <a:pt x="37" y="11"/>
                    <a:pt x="31" y="3"/>
                  </a:cubicBezTo>
                  <a:cubicBezTo>
                    <a:pt x="26" y="0"/>
                    <a:pt x="31" y="11"/>
                    <a:pt x="2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" name="Freeform 10"/>
            <p:cNvSpPr>
              <a:spLocks noChangeArrowheads="1"/>
            </p:cNvSpPr>
            <p:nvPr/>
          </p:nvSpPr>
          <p:spPr bwMode="auto">
            <a:xfrm>
              <a:off x="3813175" y="2162175"/>
              <a:ext cx="3175" cy="3175"/>
            </a:xfrm>
            <a:custGeom>
              <a:avLst/>
              <a:gdLst>
                <a:gd name="T0" fmla="*/ 2 w 9"/>
                <a:gd name="T1" fmla="*/ 0 h 10"/>
                <a:gd name="T2" fmla="*/ 0 w 9"/>
                <a:gd name="T3" fmla="*/ 9 h 10"/>
                <a:gd name="T4" fmla="*/ 5 w 9"/>
                <a:gd name="T5" fmla="*/ 9 h 10"/>
                <a:gd name="T6" fmla="*/ 2 w 9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2" y="0"/>
                  </a:moveTo>
                  <a:cubicBezTo>
                    <a:pt x="2" y="3"/>
                    <a:pt x="0" y="3"/>
                    <a:pt x="0" y="9"/>
                  </a:cubicBezTo>
                  <a:lnTo>
                    <a:pt x="5" y="9"/>
                  </a:lnTo>
                  <a:cubicBezTo>
                    <a:pt x="8" y="6"/>
                    <a:pt x="8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" name="Freeform 11"/>
            <p:cNvSpPr>
              <a:spLocks noChangeArrowheads="1"/>
            </p:cNvSpPr>
            <p:nvPr/>
          </p:nvSpPr>
          <p:spPr bwMode="auto">
            <a:xfrm>
              <a:off x="3767138" y="2208213"/>
              <a:ext cx="1587" cy="3175"/>
            </a:xfrm>
            <a:custGeom>
              <a:avLst/>
              <a:gdLst>
                <a:gd name="T0" fmla="*/ 3 w 4"/>
                <a:gd name="T1" fmla="*/ 6 h 10"/>
                <a:gd name="T2" fmla="*/ 3 w 4"/>
                <a:gd name="T3" fmla="*/ 9 h 10"/>
                <a:gd name="T4" fmla="*/ 0 w 4"/>
                <a:gd name="T5" fmla="*/ 0 h 10"/>
                <a:gd name="T6" fmla="*/ 3 w 4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6"/>
                  </a:moveTo>
                  <a:lnTo>
                    <a:pt x="3" y="9"/>
                  </a:lnTo>
                  <a:cubicBezTo>
                    <a:pt x="3" y="6"/>
                    <a:pt x="3" y="3"/>
                    <a:pt x="0" y="0"/>
                  </a:cubicBezTo>
                  <a:cubicBezTo>
                    <a:pt x="3" y="3"/>
                    <a:pt x="3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" name="Freeform 12"/>
            <p:cNvSpPr>
              <a:spLocks noChangeArrowheads="1"/>
            </p:cNvSpPr>
            <p:nvPr/>
          </p:nvSpPr>
          <p:spPr bwMode="auto">
            <a:xfrm>
              <a:off x="4486275" y="2189163"/>
              <a:ext cx="1588" cy="3175"/>
            </a:xfrm>
            <a:custGeom>
              <a:avLst/>
              <a:gdLst>
                <a:gd name="T0" fmla="*/ 0 w 4"/>
                <a:gd name="T1" fmla="*/ 0 h 10"/>
                <a:gd name="T2" fmla="*/ 3 w 4"/>
                <a:gd name="T3" fmla="*/ 9 h 10"/>
                <a:gd name="T4" fmla="*/ 3 w 4"/>
                <a:gd name="T5" fmla="*/ 9 h 10"/>
                <a:gd name="T6" fmla="*/ 0 w 4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0" y="0"/>
                  </a:moveTo>
                  <a:cubicBezTo>
                    <a:pt x="0" y="3"/>
                    <a:pt x="3" y="6"/>
                    <a:pt x="3" y="9"/>
                  </a:cubicBezTo>
                  <a:lnTo>
                    <a:pt x="3" y="9"/>
                  </a:lnTo>
                  <a:cubicBezTo>
                    <a:pt x="3" y="6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" name="Freeform 13"/>
            <p:cNvSpPr>
              <a:spLocks noChangeArrowheads="1"/>
            </p:cNvSpPr>
            <p:nvPr/>
          </p:nvSpPr>
          <p:spPr bwMode="auto">
            <a:xfrm>
              <a:off x="4456113" y="2189163"/>
              <a:ext cx="4762" cy="4762"/>
            </a:xfrm>
            <a:custGeom>
              <a:avLst/>
              <a:gdLst>
                <a:gd name="T0" fmla="*/ 8 w 12"/>
                <a:gd name="T1" fmla="*/ 0 h 13"/>
                <a:gd name="T2" fmla="*/ 0 w 12"/>
                <a:gd name="T3" fmla="*/ 3 h 13"/>
                <a:gd name="T4" fmla="*/ 8 w 12"/>
                <a:gd name="T5" fmla="*/ 12 h 13"/>
                <a:gd name="T6" fmla="*/ 8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8" y="0"/>
                  </a:moveTo>
                  <a:cubicBezTo>
                    <a:pt x="5" y="0"/>
                    <a:pt x="2" y="0"/>
                    <a:pt x="0" y="3"/>
                  </a:cubicBezTo>
                  <a:cubicBezTo>
                    <a:pt x="2" y="6"/>
                    <a:pt x="5" y="9"/>
                    <a:pt x="8" y="12"/>
                  </a:cubicBezTo>
                  <a:cubicBezTo>
                    <a:pt x="11" y="6"/>
                    <a:pt x="11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" name="Freeform 14"/>
            <p:cNvSpPr>
              <a:spLocks noChangeArrowheads="1"/>
            </p:cNvSpPr>
            <p:nvPr/>
          </p:nvSpPr>
          <p:spPr bwMode="auto">
            <a:xfrm>
              <a:off x="4443413" y="2971800"/>
              <a:ext cx="1587" cy="1588"/>
            </a:xfrm>
            <a:custGeom>
              <a:avLst/>
              <a:gdLst>
                <a:gd name="T0" fmla="*/ 2 w 3"/>
                <a:gd name="T1" fmla="*/ 3 h 4"/>
                <a:gd name="T2" fmla="*/ 2 w 3"/>
                <a:gd name="T3" fmla="*/ 3 h 4"/>
                <a:gd name="T4" fmla="*/ 2 w 3"/>
                <a:gd name="T5" fmla="*/ 3 h 4"/>
                <a:gd name="T6" fmla="*/ 0 w 3"/>
                <a:gd name="T7" fmla="*/ 3 h 4"/>
                <a:gd name="T8" fmla="*/ 2 w 3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2" y="3"/>
                  </a:moveTo>
                  <a:lnTo>
                    <a:pt x="2" y="3"/>
                  </a:lnTo>
                  <a:cubicBezTo>
                    <a:pt x="2" y="3"/>
                    <a:pt x="2" y="0"/>
                    <a:pt x="2" y="3"/>
                  </a:cubicBezTo>
                  <a:cubicBezTo>
                    <a:pt x="2" y="0"/>
                    <a:pt x="0" y="0"/>
                    <a:pt x="0" y="3"/>
                  </a:cubicBezTo>
                  <a:lnTo>
                    <a:pt x="2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" name="Freeform 15"/>
            <p:cNvSpPr>
              <a:spLocks noChangeArrowheads="1"/>
            </p:cNvSpPr>
            <p:nvPr/>
          </p:nvSpPr>
          <p:spPr bwMode="auto">
            <a:xfrm>
              <a:off x="4240213" y="3087688"/>
              <a:ext cx="3175" cy="1587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3 h 6"/>
                <a:gd name="T4" fmla="*/ 6 w 7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cubicBezTo>
                    <a:pt x="3" y="0"/>
                    <a:pt x="3" y="3"/>
                    <a:pt x="0" y="3"/>
                  </a:cubicBezTo>
                  <a:cubicBezTo>
                    <a:pt x="3" y="5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" name="Freeform 16"/>
            <p:cNvSpPr>
              <a:spLocks noChangeArrowheads="1"/>
            </p:cNvSpPr>
            <p:nvPr/>
          </p:nvSpPr>
          <p:spPr bwMode="auto">
            <a:xfrm>
              <a:off x="4340225" y="3033713"/>
              <a:ext cx="6350" cy="4762"/>
            </a:xfrm>
            <a:custGeom>
              <a:avLst/>
              <a:gdLst>
                <a:gd name="T0" fmla="*/ 0 w 18"/>
                <a:gd name="T1" fmla="*/ 11 h 12"/>
                <a:gd name="T2" fmla="*/ 17 w 18"/>
                <a:gd name="T3" fmla="*/ 0 h 12"/>
                <a:gd name="T4" fmla="*/ 0 w 18"/>
                <a:gd name="T5" fmla="*/ 8 h 12"/>
                <a:gd name="T6" fmla="*/ 0 w 18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2">
                  <a:moveTo>
                    <a:pt x="0" y="11"/>
                  </a:moveTo>
                  <a:cubicBezTo>
                    <a:pt x="11" y="11"/>
                    <a:pt x="14" y="8"/>
                    <a:pt x="17" y="0"/>
                  </a:cubicBezTo>
                  <a:cubicBezTo>
                    <a:pt x="11" y="2"/>
                    <a:pt x="5" y="5"/>
                    <a:pt x="0" y="8"/>
                  </a:cubicBezTo>
                  <a:cubicBezTo>
                    <a:pt x="0" y="11"/>
                    <a:pt x="0" y="11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" name="Freeform 17"/>
            <p:cNvSpPr>
              <a:spLocks noChangeArrowheads="1"/>
            </p:cNvSpPr>
            <p:nvPr/>
          </p:nvSpPr>
          <p:spPr bwMode="auto">
            <a:xfrm>
              <a:off x="4552950" y="2290763"/>
              <a:ext cx="15875" cy="6350"/>
            </a:xfrm>
            <a:custGeom>
              <a:avLst/>
              <a:gdLst>
                <a:gd name="T0" fmla="*/ 37 w 46"/>
                <a:gd name="T1" fmla="*/ 9 h 16"/>
                <a:gd name="T2" fmla="*/ 3 w 46"/>
                <a:gd name="T3" fmla="*/ 0 h 16"/>
                <a:gd name="T4" fmla="*/ 0 w 46"/>
                <a:gd name="T5" fmla="*/ 9 h 16"/>
                <a:gd name="T6" fmla="*/ 45 w 46"/>
                <a:gd name="T7" fmla="*/ 15 h 16"/>
                <a:gd name="T8" fmla="*/ 37 w 46"/>
                <a:gd name="T9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6">
                  <a:moveTo>
                    <a:pt x="37" y="9"/>
                  </a:moveTo>
                  <a:cubicBezTo>
                    <a:pt x="26" y="3"/>
                    <a:pt x="14" y="0"/>
                    <a:pt x="3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14" y="9"/>
                    <a:pt x="31" y="12"/>
                    <a:pt x="45" y="15"/>
                  </a:cubicBezTo>
                  <a:cubicBezTo>
                    <a:pt x="45" y="15"/>
                    <a:pt x="43" y="12"/>
                    <a:pt x="37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" name="Freeform 18"/>
            <p:cNvSpPr>
              <a:spLocks noChangeArrowheads="1"/>
            </p:cNvSpPr>
            <p:nvPr/>
          </p:nvSpPr>
          <p:spPr bwMode="auto">
            <a:xfrm>
              <a:off x="4624388" y="2436813"/>
              <a:ext cx="4762" cy="4762"/>
            </a:xfrm>
            <a:custGeom>
              <a:avLst/>
              <a:gdLst>
                <a:gd name="T0" fmla="*/ 0 w 15"/>
                <a:gd name="T1" fmla="*/ 0 h 15"/>
                <a:gd name="T2" fmla="*/ 0 w 15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0" y="0"/>
                  </a:moveTo>
                  <a:cubicBezTo>
                    <a:pt x="0" y="14"/>
                    <a:pt x="14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" name="Freeform 19"/>
            <p:cNvSpPr>
              <a:spLocks noChangeArrowheads="1"/>
            </p:cNvSpPr>
            <p:nvPr/>
          </p:nvSpPr>
          <p:spPr bwMode="auto">
            <a:xfrm>
              <a:off x="4443413" y="2170113"/>
              <a:ext cx="3175" cy="4762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11 h 15"/>
                <a:gd name="T4" fmla="*/ 0 w 9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lnTo>
                    <a:pt x="0" y="11"/>
                  </a:lnTo>
                  <a:cubicBezTo>
                    <a:pt x="8" y="14"/>
                    <a:pt x="8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" name="Freeform 20"/>
            <p:cNvSpPr>
              <a:spLocks noChangeArrowheads="1"/>
            </p:cNvSpPr>
            <p:nvPr/>
          </p:nvSpPr>
          <p:spPr bwMode="auto">
            <a:xfrm>
              <a:off x="4470400" y="2181225"/>
              <a:ext cx="4763" cy="4763"/>
            </a:xfrm>
            <a:custGeom>
              <a:avLst/>
              <a:gdLst>
                <a:gd name="T0" fmla="*/ 0 w 12"/>
                <a:gd name="T1" fmla="*/ 0 h 12"/>
                <a:gd name="T2" fmla="*/ 3 w 12"/>
                <a:gd name="T3" fmla="*/ 11 h 12"/>
                <a:gd name="T4" fmla="*/ 11 w 12"/>
                <a:gd name="T5" fmla="*/ 0 h 12"/>
                <a:gd name="T6" fmla="*/ 0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0" y="0"/>
                  </a:moveTo>
                  <a:cubicBezTo>
                    <a:pt x="0" y="6"/>
                    <a:pt x="3" y="6"/>
                    <a:pt x="3" y="11"/>
                  </a:cubicBezTo>
                  <a:cubicBezTo>
                    <a:pt x="8" y="11"/>
                    <a:pt x="11" y="8"/>
                    <a:pt x="11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" name="Freeform 21"/>
            <p:cNvSpPr>
              <a:spLocks noChangeArrowheads="1"/>
            </p:cNvSpPr>
            <p:nvPr/>
          </p:nvSpPr>
          <p:spPr bwMode="auto">
            <a:xfrm>
              <a:off x="4178300" y="3079750"/>
              <a:ext cx="11113" cy="4763"/>
            </a:xfrm>
            <a:custGeom>
              <a:avLst/>
              <a:gdLst>
                <a:gd name="T0" fmla="*/ 31 w 32"/>
                <a:gd name="T1" fmla="*/ 0 h 15"/>
                <a:gd name="T2" fmla="*/ 0 w 32"/>
                <a:gd name="T3" fmla="*/ 3 h 15"/>
                <a:gd name="T4" fmla="*/ 26 w 32"/>
                <a:gd name="T5" fmla="*/ 9 h 15"/>
                <a:gd name="T6" fmla="*/ 31 w 32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31" y="0"/>
                  </a:moveTo>
                  <a:cubicBezTo>
                    <a:pt x="20" y="0"/>
                    <a:pt x="9" y="3"/>
                    <a:pt x="0" y="3"/>
                  </a:cubicBezTo>
                  <a:cubicBezTo>
                    <a:pt x="6" y="12"/>
                    <a:pt x="17" y="14"/>
                    <a:pt x="26" y="9"/>
                  </a:cubicBezTo>
                  <a:cubicBezTo>
                    <a:pt x="26" y="9"/>
                    <a:pt x="29" y="3"/>
                    <a:pt x="3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" name="Freeform 22"/>
            <p:cNvSpPr>
              <a:spLocks noChangeArrowheads="1"/>
            </p:cNvSpPr>
            <p:nvPr/>
          </p:nvSpPr>
          <p:spPr bwMode="auto">
            <a:xfrm>
              <a:off x="4429125" y="2146300"/>
              <a:ext cx="6350" cy="7938"/>
            </a:xfrm>
            <a:custGeom>
              <a:avLst/>
              <a:gdLst>
                <a:gd name="T0" fmla="*/ 6 w 18"/>
                <a:gd name="T1" fmla="*/ 0 h 21"/>
                <a:gd name="T2" fmla="*/ 0 w 18"/>
                <a:gd name="T3" fmla="*/ 11 h 21"/>
                <a:gd name="T4" fmla="*/ 17 w 18"/>
                <a:gd name="T5" fmla="*/ 14 h 21"/>
                <a:gd name="T6" fmla="*/ 6 w 18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6" y="0"/>
                  </a:moveTo>
                  <a:cubicBezTo>
                    <a:pt x="3" y="6"/>
                    <a:pt x="0" y="9"/>
                    <a:pt x="0" y="11"/>
                  </a:cubicBezTo>
                  <a:cubicBezTo>
                    <a:pt x="9" y="11"/>
                    <a:pt x="11" y="20"/>
                    <a:pt x="17" y="14"/>
                  </a:cubicBezTo>
                  <a:cubicBezTo>
                    <a:pt x="14" y="9"/>
                    <a:pt x="14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" name="Freeform 23"/>
            <p:cNvSpPr>
              <a:spLocks noChangeArrowheads="1"/>
            </p:cNvSpPr>
            <p:nvPr/>
          </p:nvSpPr>
          <p:spPr bwMode="auto">
            <a:xfrm>
              <a:off x="4427538" y="2157413"/>
              <a:ext cx="4762" cy="4762"/>
            </a:xfrm>
            <a:custGeom>
              <a:avLst/>
              <a:gdLst>
                <a:gd name="T0" fmla="*/ 5 w 12"/>
                <a:gd name="T1" fmla="*/ 0 h 12"/>
                <a:gd name="T2" fmla="*/ 11 w 12"/>
                <a:gd name="T3" fmla="*/ 8 h 12"/>
                <a:gd name="T4" fmla="*/ 5 w 12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cubicBezTo>
                    <a:pt x="0" y="3"/>
                    <a:pt x="2" y="11"/>
                    <a:pt x="11" y="8"/>
                  </a:cubicBezTo>
                  <a:cubicBezTo>
                    <a:pt x="11" y="6"/>
                    <a:pt x="11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" name="Freeform 24"/>
            <p:cNvSpPr>
              <a:spLocks noChangeArrowheads="1"/>
            </p:cNvSpPr>
            <p:nvPr/>
          </p:nvSpPr>
          <p:spPr bwMode="auto">
            <a:xfrm>
              <a:off x="3709988" y="2262188"/>
              <a:ext cx="4762" cy="3175"/>
            </a:xfrm>
            <a:custGeom>
              <a:avLst/>
              <a:gdLst>
                <a:gd name="T0" fmla="*/ 11 w 12"/>
                <a:gd name="T1" fmla="*/ 8 h 9"/>
                <a:gd name="T2" fmla="*/ 11 w 12"/>
                <a:gd name="T3" fmla="*/ 0 h 9"/>
                <a:gd name="T4" fmla="*/ 2 w 12"/>
                <a:gd name="T5" fmla="*/ 0 h 9"/>
                <a:gd name="T6" fmla="*/ 11 w 12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11" y="8"/>
                  </a:moveTo>
                  <a:lnTo>
                    <a:pt x="11" y="0"/>
                  </a:lnTo>
                  <a:lnTo>
                    <a:pt x="2" y="0"/>
                  </a:lnTo>
                  <a:cubicBezTo>
                    <a:pt x="0" y="5"/>
                    <a:pt x="8" y="5"/>
                    <a:pt x="11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" name="Freeform 25"/>
            <p:cNvSpPr>
              <a:spLocks noChangeArrowheads="1"/>
            </p:cNvSpPr>
            <p:nvPr/>
          </p:nvSpPr>
          <p:spPr bwMode="auto">
            <a:xfrm>
              <a:off x="3632200" y="2360613"/>
              <a:ext cx="4763" cy="4762"/>
            </a:xfrm>
            <a:custGeom>
              <a:avLst/>
              <a:gdLst>
                <a:gd name="T0" fmla="*/ 9 w 15"/>
                <a:gd name="T1" fmla="*/ 0 h 15"/>
                <a:gd name="T2" fmla="*/ 9 w 15"/>
                <a:gd name="T3" fmla="*/ 14 h 15"/>
                <a:gd name="T4" fmla="*/ 9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0"/>
                  </a:moveTo>
                  <a:cubicBezTo>
                    <a:pt x="6" y="3"/>
                    <a:pt x="0" y="12"/>
                    <a:pt x="9" y="14"/>
                  </a:cubicBezTo>
                  <a:cubicBezTo>
                    <a:pt x="9" y="12"/>
                    <a:pt x="14" y="0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" name="Freeform 26"/>
            <p:cNvSpPr>
              <a:spLocks noChangeArrowheads="1"/>
            </p:cNvSpPr>
            <p:nvPr/>
          </p:nvSpPr>
          <p:spPr bwMode="auto">
            <a:xfrm>
              <a:off x="3644900" y="2398713"/>
              <a:ext cx="3175" cy="3175"/>
            </a:xfrm>
            <a:custGeom>
              <a:avLst/>
              <a:gdLst>
                <a:gd name="T0" fmla="*/ 0 w 7"/>
                <a:gd name="T1" fmla="*/ 0 h 10"/>
                <a:gd name="T2" fmla="*/ 6 w 7"/>
                <a:gd name="T3" fmla="*/ 9 h 10"/>
                <a:gd name="T4" fmla="*/ 3 w 7"/>
                <a:gd name="T5" fmla="*/ 3 h 10"/>
                <a:gd name="T6" fmla="*/ 0 w 7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0" y="0"/>
                  </a:moveTo>
                  <a:cubicBezTo>
                    <a:pt x="0" y="3"/>
                    <a:pt x="0" y="9"/>
                    <a:pt x="6" y="9"/>
                  </a:cubicBezTo>
                  <a:cubicBezTo>
                    <a:pt x="6" y="6"/>
                    <a:pt x="3" y="6"/>
                    <a:pt x="3" y="3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" name="Freeform 27"/>
            <p:cNvSpPr>
              <a:spLocks noChangeArrowheads="1"/>
            </p:cNvSpPr>
            <p:nvPr/>
          </p:nvSpPr>
          <p:spPr bwMode="auto">
            <a:xfrm>
              <a:off x="3641725" y="2335213"/>
              <a:ext cx="20638" cy="12700"/>
            </a:xfrm>
            <a:custGeom>
              <a:avLst/>
              <a:gdLst>
                <a:gd name="T0" fmla="*/ 0 w 58"/>
                <a:gd name="T1" fmla="*/ 36 h 37"/>
                <a:gd name="T2" fmla="*/ 57 w 58"/>
                <a:gd name="T3" fmla="*/ 5 h 37"/>
                <a:gd name="T4" fmla="*/ 54 w 58"/>
                <a:gd name="T5" fmla="*/ 0 h 37"/>
                <a:gd name="T6" fmla="*/ 0 w 58"/>
                <a:gd name="T7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37">
                  <a:moveTo>
                    <a:pt x="0" y="36"/>
                  </a:moveTo>
                  <a:cubicBezTo>
                    <a:pt x="15" y="20"/>
                    <a:pt x="34" y="8"/>
                    <a:pt x="57" y="5"/>
                  </a:cubicBezTo>
                  <a:cubicBezTo>
                    <a:pt x="57" y="3"/>
                    <a:pt x="57" y="3"/>
                    <a:pt x="54" y="0"/>
                  </a:cubicBezTo>
                  <a:cubicBezTo>
                    <a:pt x="34" y="5"/>
                    <a:pt x="15" y="20"/>
                    <a:pt x="0" y="3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" name="Freeform 28"/>
            <p:cNvSpPr>
              <a:spLocks noChangeArrowheads="1"/>
            </p:cNvSpPr>
            <p:nvPr/>
          </p:nvSpPr>
          <p:spPr bwMode="auto">
            <a:xfrm>
              <a:off x="3729038" y="2228850"/>
              <a:ext cx="4762" cy="3175"/>
            </a:xfrm>
            <a:custGeom>
              <a:avLst/>
              <a:gdLst>
                <a:gd name="T0" fmla="*/ 0 w 12"/>
                <a:gd name="T1" fmla="*/ 0 h 10"/>
                <a:gd name="T2" fmla="*/ 0 w 12"/>
                <a:gd name="T3" fmla="*/ 9 h 10"/>
                <a:gd name="T4" fmla="*/ 11 w 12"/>
                <a:gd name="T5" fmla="*/ 6 h 10"/>
                <a:gd name="T6" fmla="*/ 0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lnTo>
                    <a:pt x="0" y="9"/>
                  </a:lnTo>
                  <a:cubicBezTo>
                    <a:pt x="6" y="9"/>
                    <a:pt x="6" y="6"/>
                    <a:pt x="11" y="6"/>
                  </a:cubicBezTo>
                  <a:cubicBezTo>
                    <a:pt x="11" y="3"/>
                    <a:pt x="6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" name="Freeform 29"/>
            <p:cNvSpPr>
              <a:spLocks noChangeArrowheads="1"/>
            </p:cNvSpPr>
            <p:nvPr/>
          </p:nvSpPr>
          <p:spPr bwMode="auto">
            <a:xfrm>
              <a:off x="3648075" y="2382838"/>
              <a:ext cx="3175" cy="4762"/>
            </a:xfrm>
            <a:custGeom>
              <a:avLst/>
              <a:gdLst>
                <a:gd name="T0" fmla="*/ 3 w 7"/>
                <a:gd name="T1" fmla="*/ 0 h 12"/>
                <a:gd name="T2" fmla="*/ 3 w 7"/>
                <a:gd name="T3" fmla="*/ 0 h 12"/>
                <a:gd name="T4" fmla="*/ 0 w 7"/>
                <a:gd name="T5" fmla="*/ 0 h 12"/>
                <a:gd name="T6" fmla="*/ 3 w 7"/>
                <a:gd name="T7" fmla="*/ 0 h 12"/>
                <a:gd name="T8" fmla="*/ 6 w 7"/>
                <a:gd name="T9" fmla="*/ 11 h 12"/>
                <a:gd name="T10" fmla="*/ 6 w 7"/>
                <a:gd name="T11" fmla="*/ 11 h 12"/>
                <a:gd name="T12" fmla="*/ 6 w 7"/>
                <a:gd name="T13" fmla="*/ 9 h 12"/>
                <a:gd name="T14" fmla="*/ 3 w 7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2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cubicBezTo>
                    <a:pt x="0" y="0"/>
                    <a:pt x="0" y="3"/>
                    <a:pt x="3" y="0"/>
                  </a:cubicBezTo>
                  <a:cubicBezTo>
                    <a:pt x="3" y="6"/>
                    <a:pt x="6" y="9"/>
                    <a:pt x="6" y="11"/>
                  </a:cubicBezTo>
                  <a:lnTo>
                    <a:pt x="6" y="11"/>
                  </a:lnTo>
                  <a:lnTo>
                    <a:pt x="6" y="9"/>
                  </a:lnTo>
                  <a:cubicBezTo>
                    <a:pt x="6" y="6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" name="Freeform 30"/>
            <p:cNvSpPr>
              <a:spLocks noChangeArrowheads="1"/>
            </p:cNvSpPr>
            <p:nvPr/>
          </p:nvSpPr>
          <p:spPr bwMode="auto">
            <a:xfrm>
              <a:off x="3705225" y="2247900"/>
              <a:ext cx="7938" cy="9525"/>
            </a:xfrm>
            <a:custGeom>
              <a:avLst/>
              <a:gdLst>
                <a:gd name="T0" fmla="*/ 20 w 21"/>
                <a:gd name="T1" fmla="*/ 17 h 26"/>
                <a:gd name="T2" fmla="*/ 9 w 21"/>
                <a:gd name="T3" fmla="*/ 0 h 26"/>
                <a:gd name="T4" fmla="*/ 9 w 21"/>
                <a:gd name="T5" fmla="*/ 0 h 26"/>
                <a:gd name="T6" fmla="*/ 20 w 21"/>
                <a:gd name="T7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6">
                  <a:moveTo>
                    <a:pt x="20" y="17"/>
                  </a:moveTo>
                  <a:cubicBezTo>
                    <a:pt x="20" y="8"/>
                    <a:pt x="17" y="3"/>
                    <a:pt x="9" y="0"/>
                  </a:cubicBezTo>
                  <a:lnTo>
                    <a:pt x="9" y="0"/>
                  </a:lnTo>
                  <a:cubicBezTo>
                    <a:pt x="0" y="11"/>
                    <a:pt x="12" y="25"/>
                    <a:pt x="20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" name="Freeform 31"/>
            <p:cNvSpPr>
              <a:spLocks noChangeArrowheads="1"/>
            </p:cNvSpPr>
            <p:nvPr/>
          </p:nvSpPr>
          <p:spPr bwMode="auto">
            <a:xfrm>
              <a:off x="4056063" y="3094038"/>
              <a:ext cx="3175" cy="4762"/>
            </a:xfrm>
            <a:custGeom>
              <a:avLst/>
              <a:gdLst>
                <a:gd name="T0" fmla="*/ 0 w 9"/>
                <a:gd name="T1" fmla="*/ 0 h 15"/>
                <a:gd name="T2" fmla="*/ 3 w 9"/>
                <a:gd name="T3" fmla="*/ 11 h 15"/>
                <a:gd name="T4" fmla="*/ 3 w 9"/>
                <a:gd name="T5" fmla="*/ 11 h 15"/>
                <a:gd name="T6" fmla="*/ 8 w 9"/>
                <a:gd name="T7" fmla="*/ 14 h 15"/>
                <a:gd name="T8" fmla="*/ 0 w 9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0" y="0"/>
                  </a:moveTo>
                  <a:cubicBezTo>
                    <a:pt x="0" y="3"/>
                    <a:pt x="3" y="5"/>
                    <a:pt x="3" y="11"/>
                  </a:cubicBezTo>
                  <a:lnTo>
                    <a:pt x="3" y="11"/>
                  </a:lnTo>
                  <a:cubicBezTo>
                    <a:pt x="5" y="11"/>
                    <a:pt x="5" y="14"/>
                    <a:pt x="8" y="14"/>
                  </a:cubicBezTo>
                  <a:cubicBezTo>
                    <a:pt x="5" y="8"/>
                    <a:pt x="5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" name="Freeform 32"/>
            <p:cNvSpPr>
              <a:spLocks noChangeArrowheads="1"/>
            </p:cNvSpPr>
            <p:nvPr/>
          </p:nvSpPr>
          <p:spPr bwMode="auto">
            <a:xfrm>
              <a:off x="3660775" y="2317750"/>
              <a:ext cx="12700" cy="7938"/>
            </a:xfrm>
            <a:custGeom>
              <a:avLst/>
              <a:gdLst>
                <a:gd name="T0" fmla="*/ 3 w 35"/>
                <a:gd name="T1" fmla="*/ 0 h 23"/>
                <a:gd name="T2" fmla="*/ 0 w 35"/>
                <a:gd name="T3" fmla="*/ 14 h 23"/>
                <a:gd name="T4" fmla="*/ 6 w 35"/>
                <a:gd name="T5" fmla="*/ 14 h 23"/>
                <a:gd name="T6" fmla="*/ 20 w 35"/>
                <a:gd name="T7" fmla="*/ 22 h 23"/>
                <a:gd name="T8" fmla="*/ 31 w 35"/>
                <a:gd name="T9" fmla="*/ 8 h 23"/>
                <a:gd name="T10" fmla="*/ 3 w 35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23">
                  <a:moveTo>
                    <a:pt x="3" y="0"/>
                  </a:moveTo>
                  <a:cubicBezTo>
                    <a:pt x="3" y="5"/>
                    <a:pt x="0" y="8"/>
                    <a:pt x="0" y="14"/>
                  </a:cubicBezTo>
                  <a:cubicBezTo>
                    <a:pt x="3" y="14"/>
                    <a:pt x="3" y="14"/>
                    <a:pt x="6" y="14"/>
                  </a:cubicBezTo>
                  <a:cubicBezTo>
                    <a:pt x="6" y="20"/>
                    <a:pt x="14" y="22"/>
                    <a:pt x="20" y="22"/>
                  </a:cubicBezTo>
                  <a:cubicBezTo>
                    <a:pt x="17" y="14"/>
                    <a:pt x="34" y="17"/>
                    <a:pt x="31" y="8"/>
                  </a:cubicBezTo>
                  <a:cubicBezTo>
                    <a:pt x="28" y="0"/>
                    <a:pt x="14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" name="Freeform 33"/>
            <p:cNvSpPr>
              <a:spLocks noChangeArrowheads="1"/>
            </p:cNvSpPr>
            <p:nvPr/>
          </p:nvSpPr>
          <p:spPr bwMode="auto">
            <a:xfrm>
              <a:off x="3692525" y="2265363"/>
              <a:ext cx="1588" cy="3175"/>
            </a:xfrm>
            <a:custGeom>
              <a:avLst/>
              <a:gdLst>
                <a:gd name="T0" fmla="*/ 0 w 6"/>
                <a:gd name="T1" fmla="*/ 8 h 9"/>
                <a:gd name="T2" fmla="*/ 5 w 6"/>
                <a:gd name="T3" fmla="*/ 8 h 9"/>
                <a:gd name="T4" fmla="*/ 5 w 6"/>
                <a:gd name="T5" fmla="*/ 0 h 9"/>
                <a:gd name="T6" fmla="*/ 0 w 6"/>
                <a:gd name="T7" fmla="*/ 0 h 9"/>
                <a:gd name="T8" fmla="*/ 0 w 6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0" y="8"/>
                  </a:moveTo>
                  <a:lnTo>
                    <a:pt x="5" y="8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" name="Freeform 34"/>
            <p:cNvSpPr>
              <a:spLocks noChangeArrowheads="1"/>
            </p:cNvSpPr>
            <p:nvPr/>
          </p:nvSpPr>
          <p:spPr bwMode="auto">
            <a:xfrm>
              <a:off x="3605213" y="2652713"/>
              <a:ext cx="3175" cy="1587"/>
            </a:xfrm>
            <a:custGeom>
              <a:avLst/>
              <a:gdLst>
                <a:gd name="T0" fmla="*/ 0 w 9"/>
                <a:gd name="T1" fmla="*/ 0 h 6"/>
                <a:gd name="T2" fmla="*/ 4 w 9"/>
                <a:gd name="T3" fmla="*/ 2 h 6"/>
                <a:gd name="T4" fmla="*/ 0 w 9"/>
                <a:gd name="T5" fmla="*/ 0 h 6"/>
                <a:gd name="T6" fmla="*/ 8 w 9"/>
                <a:gd name="T7" fmla="*/ 5 h 6"/>
                <a:gd name="T8" fmla="*/ 4 w 9"/>
                <a:gd name="T9" fmla="*/ 2 h 6"/>
                <a:gd name="T10" fmla="*/ 8 w 9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6">
                  <a:moveTo>
                    <a:pt x="0" y="0"/>
                  </a:moveTo>
                  <a:cubicBezTo>
                    <a:pt x="2" y="1"/>
                    <a:pt x="3" y="2"/>
                    <a:pt x="4" y="2"/>
                  </a:cubicBezTo>
                  <a:cubicBezTo>
                    <a:pt x="3" y="2"/>
                    <a:pt x="1" y="1"/>
                    <a:pt x="0" y="0"/>
                  </a:cubicBezTo>
                  <a:close/>
                  <a:moveTo>
                    <a:pt x="8" y="5"/>
                  </a:moveTo>
                  <a:cubicBezTo>
                    <a:pt x="7" y="4"/>
                    <a:pt x="5" y="3"/>
                    <a:pt x="4" y="2"/>
                  </a:cubicBezTo>
                  <a:cubicBezTo>
                    <a:pt x="6" y="4"/>
                    <a:pt x="7" y="5"/>
                    <a:pt x="8" y="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" name="Freeform 35"/>
            <p:cNvSpPr>
              <a:spLocks noChangeArrowheads="1"/>
            </p:cNvSpPr>
            <p:nvPr/>
          </p:nvSpPr>
          <p:spPr bwMode="auto">
            <a:xfrm>
              <a:off x="3930650" y="2105025"/>
              <a:ext cx="4763" cy="3175"/>
            </a:xfrm>
            <a:custGeom>
              <a:avLst/>
              <a:gdLst>
                <a:gd name="T0" fmla="*/ 0 w 12"/>
                <a:gd name="T1" fmla="*/ 6 h 10"/>
                <a:gd name="T2" fmla="*/ 5 w 12"/>
                <a:gd name="T3" fmla="*/ 9 h 10"/>
                <a:gd name="T4" fmla="*/ 11 w 12"/>
                <a:gd name="T5" fmla="*/ 6 h 10"/>
                <a:gd name="T6" fmla="*/ 0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3" y="6"/>
                    <a:pt x="3" y="6"/>
                    <a:pt x="5" y="9"/>
                  </a:cubicBezTo>
                  <a:cubicBezTo>
                    <a:pt x="8" y="9"/>
                    <a:pt x="11" y="6"/>
                    <a:pt x="11" y="6"/>
                  </a:cubicBezTo>
                  <a:cubicBezTo>
                    <a:pt x="8" y="0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" name="Freeform 36"/>
            <p:cNvSpPr>
              <a:spLocks noChangeArrowheads="1"/>
            </p:cNvSpPr>
            <p:nvPr/>
          </p:nvSpPr>
          <p:spPr bwMode="auto">
            <a:xfrm>
              <a:off x="4491038" y="2947988"/>
              <a:ext cx="7937" cy="9525"/>
            </a:xfrm>
            <a:custGeom>
              <a:avLst/>
              <a:gdLst>
                <a:gd name="T0" fmla="*/ 0 w 24"/>
                <a:gd name="T1" fmla="*/ 14 h 27"/>
                <a:gd name="T2" fmla="*/ 23 w 24"/>
                <a:gd name="T3" fmla="*/ 14 h 27"/>
                <a:gd name="T4" fmla="*/ 14 w 24"/>
                <a:gd name="T5" fmla="*/ 0 h 27"/>
                <a:gd name="T6" fmla="*/ 0 w 24"/>
                <a:gd name="T7" fmla="*/ 0 h 27"/>
                <a:gd name="T8" fmla="*/ 0 w 24"/>
                <a:gd name="T9" fmla="*/ 3 h 27"/>
                <a:gd name="T10" fmla="*/ 0 w 24"/>
                <a:gd name="T11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7">
                  <a:moveTo>
                    <a:pt x="0" y="14"/>
                  </a:moveTo>
                  <a:cubicBezTo>
                    <a:pt x="3" y="23"/>
                    <a:pt x="20" y="26"/>
                    <a:pt x="23" y="14"/>
                  </a:cubicBezTo>
                  <a:cubicBezTo>
                    <a:pt x="20" y="9"/>
                    <a:pt x="17" y="6"/>
                    <a:pt x="14" y="0"/>
                  </a:cubicBezTo>
                  <a:lnTo>
                    <a:pt x="0" y="0"/>
                  </a:lnTo>
                  <a:lnTo>
                    <a:pt x="0" y="3"/>
                  </a:lnTo>
                  <a:cubicBezTo>
                    <a:pt x="0" y="6"/>
                    <a:pt x="0" y="12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" name="Freeform 37"/>
            <p:cNvSpPr>
              <a:spLocks noChangeArrowheads="1"/>
            </p:cNvSpPr>
            <p:nvPr/>
          </p:nvSpPr>
          <p:spPr bwMode="auto">
            <a:xfrm>
              <a:off x="4446588" y="2968625"/>
              <a:ext cx="6350" cy="7938"/>
            </a:xfrm>
            <a:custGeom>
              <a:avLst/>
              <a:gdLst>
                <a:gd name="T0" fmla="*/ 14 w 18"/>
                <a:gd name="T1" fmla="*/ 0 h 21"/>
                <a:gd name="T2" fmla="*/ 0 w 18"/>
                <a:gd name="T3" fmla="*/ 3 h 21"/>
                <a:gd name="T4" fmla="*/ 3 w 18"/>
                <a:gd name="T5" fmla="*/ 11 h 21"/>
                <a:gd name="T6" fmla="*/ 3 w 18"/>
                <a:gd name="T7" fmla="*/ 14 h 21"/>
                <a:gd name="T8" fmla="*/ 3 w 18"/>
                <a:gd name="T9" fmla="*/ 20 h 21"/>
                <a:gd name="T10" fmla="*/ 6 w 18"/>
                <a:gd name="T11" fmla="*/ 20 h 21"/>
                <a:gd name="T12" fmla="*/ 6 w 18"/>
                <a:gd name="T13" fmla="*/ 14 h 21"/>
                <a:gd name="T14" fmla="*/ 6 w 18"/>
                <a:gd name="T15" fmla="*/ 11 h 21"/>
                <a:gd name="T16" fmla="*/ 17 w 18"/>
                <a:gd name="T17" fmla="*/ 14 h 21"/>
                <a:gd name="T18" fmla="*/ 17 w 18"/>
                <a:gd name="T19" fmla="*/ 0 h 21"/>
                <a:gd name="T20" fmla="*/ 14 w 18"/>
                <a:gd name="T2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21">
                  <a:moveTo>
                    <a:pt x="14" y="0"/>
                  </a:moveTo>
                  <a:cubicBezTo>
                    <a:pt x="9" y="0"/>
                    <a:pt x="6" y="3"/>
                    <a:pt x="0" y="3"/>
                  </a:cubicBezTo>
                  <a:cubicBezTo>
                    <a:pt x="0" y="6"/>
                    <a:pt x="0" y="8"/>
                    <a:pt x="3" y="11"/>
                  </a:cubicBezTo>
                  <a:lnTo>
                    <a:pt x="3" y="14"/>
                  </a:lnTo>
                  <a:lnTo>
                    <a:pt x="3" y="20"/>
                  </a:lnTo>
                  <a:lnTo>
                    <a:pt x="6" y="20"/>
                  </a:lnTo>
                  <a:lnTo>
                    <a:pt x="6" y="14"/>
                  </a:lnTo>
                  <a:lnTo>
                    <a:pt x="6" y="11"/>
                  </a:lnTo>
                  <a:cubicBezTo>
                    <a:pt x="9" y="14"/>
                    <a:pt x="14" y="17"/>
                    <a:pt x="17" y="14"/>
                  </a:cubicBezTo>
                  <a:lnTo>
                    <a:pt x="17" y="0"/>
                  </a:lnTo>
                  <a:cubicBezTo>
                    <a:pt x="14" y="3"/>
                    <a:pt x="14" y="3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" name="Freeform 38"/>
            <p:cNvSpPr>
              <a:spLocks noChangeArrowheads="1"/>
            </p:cNvSpPr>
            <p:nvPr/>
          </p:nvSpPr>
          <p:spPr bwMode="auto">
            <a:xfrm>
              <a:off x="3986213" y="3065463"/>
              <a:ext cx="7937" cy="4762"/>
            </a:xfrm>
            <a:custGeom>
              <a:avLst/>
              <a:gdLst>
                <a:gd name="T0" fmla="*/ 17 w 21"/>
                <a:gd name="T1" fmla="*/ 3 h 15"/>
                <a:gd name="T2" fmla="*/ 6 w 21"/>
                <a:gd name="T3" fmla="*/ 0 h 15"/>
                <a:gd name="T4" fmla="*/ 8 w 21"/>
                <a:gd name="T5" fmla="*/ 8 h 15"/>
                <a:gd name="T6" fmla="*/ 0 w 21"/>
                <a:gd name="T7" fmla="*/ 14 h 15"/>
                <a:gd name="T8" fmla="*/ 8 w 21"/>
                <a:gd name="T9" fmla="*/ 14 h 15"/>
                <a:gd name="T10" fmla="*/ 17 w 21"/>
                <a:gd name="T11" fmla="*/ 5 h 15"/>
                <a:gd name="T12" fmla="*/ 17 w 21"/>
                <a:gd name="T13" fmla="*/ 5 h 15"/>
                <a:gd name="T14" fmla="*/ 17 w 21"/>
                <a:gd name="T15" fmla="*/ 5 h 15"/>
                <a:gd name="T16" fmla="*/ 17 w 21"/>
                <a:gd name="T1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5">
                  <a:moveTo>
                    <a:pt x="17" y="3"/>
                  </a:moveTo>
                  <a:cubicBezTo>
                    <a:pt x="14" y="3"/>
                    <a:pt x="11" y="0"/>
                    <a:pt x="6" y="0"/>
                  </a:cubicBezTo>
                  <a:cubicBezTo>
                    <a:pt x="6" y="3"/>
                    <a:pt x="6" y="5"/>
                    <a:pt x="8" y="8"/>
                  </a:cubicBezTo>
                  <a:cubicBezTo>
                    <a:pt x="6" y="11"/>
                    <a:pt x="0" y="11"/>
                    <a:pt x="0" y="14"/>
                  </a:cubicBezTo>
                  <a:lnTo>
                    <a:pt x="8" y="14"/>
                  </a:lnTo>
                  <a:cubicBezTo>
                    <a:pt x="11" y="11"/>
                    <a:pt x="14" y="8"/>
                    <a:pt x="17" y="5"/>
                  </a:cubicBezTo>
                  <a:lnTo>
                    <a:pt x="17" y="5"/>
                  </a:lnTo>
                  <a:lnTo>
                    <a:pt x="17" y="5"/>
                  </a:lnTo>
                  <a:cubicBezTo>
                    <a:pt x="20" y="3"/>
                    <a:pt x="17" y="3"/>
                    <a:pt x="17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" name="Freeform 39"/>
            <p:cNvSpPr>
              <a:spLocks noChangeArrowheads="1"/>
            </p:cNvSpPr>
            <p:nvPr/>
          </p:nvSpPr>
          <p:spPr bwMode="auto">
            <a:xfrm>
              <a:off x="3992563" y="3067050"/>
              <a:ext cx="1587" cy="1588"/>
            </a:xfrm>
            <a:custGeom>
              <a:avLst/>
              <a:gdLst>
                <a:gd name="T0" fmla="*/ 3 w 4"/>
                <a:gd name="T1" fmla="*/ 2 h 3"/>
                <a:gd name="T2" fmla="*/ 3 w 4"/>
                <a:gd name="T3" fmla="*/ 0 h 3"/>
                <a:gd name="T4" fmla="*/ 3 w 4"/>
                <a:gd name="T5" fmla="*/ 0 h 3"/>
                <a:gd name="T6" fmla="*/ 3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lnTo>
                    <a:pt x="3" y="0"/>
                  </a:lnTo>
                  <a:lnTo>
                    <a:pt x="3" y="0"/>
                  </a:lnTo>
                  <a:cubicBezTo>
                    <a:pt x="0" y="0"/>
                    <a:pt x="3" y="0"/>
                    <a:pt x="3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" name="Freeform 40"/>
            <p:cNvSpPr>
              <a:spLocks noChangeArrowheads="1"/>
            </p:cNvSpPr>
            <p:nvPr/>
          </p:nvSpPr>
          <p:spPr bwMode="auto">
            <a:xfrm>
              <a:off x="4121150" y="3084513"/>
              <a:ext cx="7938" cy="4762"/>
            </a:xfrm>
            <a:custGeom>
              <a:avLst/>
              <a:gdLst>
                <a:gd name="T0" fmla="*/ 3 w 23"/>
                <a:gd name="T1" fmla="*/ 0 h 15"/>
                <a:gd name="T2" fmla="*/ 3 w 23"/>
                <a:gd name="T3" fmla="*/ 8 h 15"/>
                <a:gd name="T4" fmla="*/ 16 w 23"/>
                <a:gd name="T5" fmla="*/ 11 h 15"/>
                <a:gd name="T6" fmla="*/ 22 w 23"/>
                <a:gd name="T7" fmla="*/ 2 h 15"/>
                <a:gd name="T8" fmla="*/ 13 w 23"/>
                <a:gd name="T9" fmla="*/ 2 h 15"/>
                <a:gd name="T10" fmla="*/ 3 w 23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5">
                  <a:moveTo>
                    <a:pt x="3" y="0"/>
                  </a:moveTo>
                  <a:cubicBezTo>
                    <a:pt x="3" y="2"/>
                    <a:pt x="0" y="8"/>
                    <a:pt x="3" y="8"/>
                  </a:cubicBezTo>
                  <a:cubicBezTo>
                    <a:pt x="6" y="2"/>
                    <a:pt x="9" y="14"/>
                    <a:pt x="16" y="11"/>
                  </a:cubicBezTo>
                  <a:cubicBezTo>
                    <a:pt x="19" y="8"/>
                    <a:pt x="22" y="5"/>
                    <a:pt x="22" y="2"/>
                  </a:cubicBezTo>
                  <a:cubicBezTo>
                    <a:pt x="19" y="2"/>
                    <a:pt x="16" y="2"/>
                    <a:pt x="13" y="2"/>
                  </a:cubicBezTo>
                  <a:cubicBezTo>
                    <a:pt x="12" y="0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" name="Freeform 41"/>
            <p:cNvSpPr>
              <a:spLocks noChangeArrowheads="1"/>
            </p:cNvSpPr>
            <p:nvPr/>
          </p:nvSpPr>
          <p:spPr bwMode="auto">
            <a:xfrm>
              <a:off x="4151313" y="3084513"/>
              <a:ext cx="4762" cy="6350"/>
            </a:xfrm>
            <a:custGeom>
              <a:avLst/>
              <a:gdLst>
                <a:gd name="T0" fmla="*/ 3 w 15"/>
                <a:gd name="T1" fmla="*/ 5 h 17"/>
                <a:gd name="T2" fmla="*/ 0 w 15"/>
                <a:gd name="T3" fmla="*/ 11 h 17"/>
                <a:gd name="T4" fmla="*/ 0 w 15"/>
                <a:gd name="T5" fmla="*/ 11 h 17"/>
                <a:gd name="T6" fmla="*/ 6 w 15"/>
                <a:gd name="T7" fmla="*/ 16 h 17"/>
                <a:gd name="T8" fmla="*/ 11 w 15"/>
                <a:gd name="T9" fmla="*/ 8 h 17"/>
                <a:gd name="T10" fmla="*/ 14 w 15"/>
                <a:gd name="T11" fmla="*/ 0 h 17"/>
                <a:gd name="T12" fmla="*/ 14 w 15"/>
                <a:gd name="T13" fmla="*/ 0 h 17"/>
                <a:gd name="T14" fmla="*/ 8 w 15"/>
                <a:gd name="T15" fmla="*/ 0 h 17"/>
                <a:gd name="T16" fmla="*/ 3 w 15"/>
                <a:gd name="T1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7">
                  <a:moveTo>
                    <a:pt x="3" y="5"/>
                  </a:moveTo>
                  <a:cubicBezTo>
                    <a:pt x="3" y="8"/>
                    <a:pt x="0" y="8"/>
                    <a:pt x="0" y="11"/>
                  </a:cubicBezTo>
                  <a:lnTo>
                    <a:pt x="0" y="11"/>
                  </a:lnTo>
                  <a:cubicBezTo>
                    <a:pt x="3" y="14"/>
                    <a:pt x="3" y="14"/>
                    <a:pt x="6" y="16"/>
                  </a:cubicBezTo>
                  <a:cubicBezTo>
                    <a:pt x="8" y="14"/>
                    <a:pt x="8" y="11"/>
                    <a:pt x="11" y="8"/>
                  </a:cubicBezTo>
                  <a:cubicBezTo>
                    <a:pt x="11" y="5"/>
                    <a:pt x="14" y="2"/>
                    <a:pt x="14" y="0"/>
                  </a:cubicBezTo>
                  <a:lnTo>
                    <a:pt x="14" y="0"/>
                  </a:lnTo>
                  <a:cubicBezTo>
                    <a:pt x="11" y="0"/>
                    <a:pt x="11" y="0"/>
                    <a:pt x="8" y="0"/>
                  </a:cubicBezTo>
                  <a:lnTo>
                    <a:pt x="3" y="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" name="Freeform 42"/>
            <p:cNvSpPr>
              <a:spLocks noChangeArrowheads="1"/>
            </p:cNvSpPr>
            <p:nvPr/>
          </p:nvSpPr>
          <p:spPr bwMode="auto">
            <a:xfrm>
              <a:off x="4486275" y="2932113"/>
              <a:ext cx="3175" cy="6350"/>
            </a:xfrm>
            <a:custGeom>
              <a:avLst/>
              <a:gdLst>
                <a:gd name="T0" fmla="*/ 0 w 10"/>
                <a:gd name="T1" fmla="*/ 9 h 18"/>
                <a:gd name="T2" fmla="*/ 0 w 10"/>
                <a:gd name="T3" fmla="*/ 9 h 18"/>
                <a:gd name="T4" fmla="*/ 3 w 10"/>
                <a:gd name="T5" fmla="*/ 17 h 18"/>
                <a:gd name="T6" fmla="*/ 9 w 10"/>
                <a:gd name="T7" fmla="*/ 17 h 18"/>
                <a:gd name="T8" fmla="*/ 9 w 10"/>
                <a:gd name="T9" fmla="*/ 12 h 18"/>
                <a:gd name="T10" fmla="*/ 6 w 10"/>
                <a:gd name="T11" fmla="*/ 0 h 18"/>
                <a:gd name="T12" fmla="*/ 0 w 10"/>
                <a:gd name="T1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8">
                  <a:moveTo>
                    <a:pt x="0" y="9"/>
                  </a:moveTo>
                  <a:lnTo>
                    <a:pt x="0" y="9"/>
                  </a:lnTo>
                  <a:cubicBezTo>
                    <a:pt x="0" y="12"/>
                    <a:pt x="0" y="14"/>
                    <a:pt x="3" y="17"/>
                  </a:cubicBezTo>
                  <a:cubicBezTo>
                    <a:pt x="6" y="17"/>
                    <a:pt x="9" y="17"/>
                    <a:pt x="9" y="17"/>
                  </a:cubicBezTo>
                  <a:cubicBezTo>
                    <a:pt x="9" y="14"/>
                    <a:pt x="9" y="14"/>
                    <a:pt x="9" y="12"/>
                  </a:cubicBezTo>
                  <a:cubicBezTo>
                    <a:pt x="9" y="9"/>
                    <a:pt x="6" y="6"/>
                    <a:pt x="6" y="0"/>
                  </a:cubicBezTo>
                  <a:cubicBezTo>
                    <a:pt x="3" y="3"/>
                    <a:pt x="3" y="6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" name="Freeform 43"/>
            <p:cNvSpPr>
              <a:spLocks noChangeArrowheads="1"/>
            </p:cNvSpPr>
            <p:nvPr/>
          </p:nvSpPr>
          <p:spPr bwMode="auto">
            <a:xfrm>
              <a:off x="4483100" y="2935288"/>
              <a:ext cx="1588" cy="3175"/>
            </a:xfrm>
            <a:custGeom>
              <a:avLst/>
              <a:gdLst>
                <a:gd name="T0" fmla="*/ 0 w 6"/>
                <a:gd name="T1" fmla="*/ 6 h 7"/>
                <a:gd name="T2" fmla="*/ 5 w 6"/>
                <a:gd name="T3" fmla="*/ 0 h 7"/>
                <a:gd name="T4" fmla="*/ 5 w 6"/>
                <a:gd name="T5" fmla="*/ 0 h 7"/>
                <a:gd name="T6" fmla="*/ 0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6"/>
                  </a:moveTo>
                  <a:cubicBezTo>
                    <a:pt x="2" y="6"/>
                    <a:pt x="5" y="3"/>
                    <a:pt x="5" y="0"/>
                  </a:cubicBezTo>
                  <a:lnTo>
                    <a:pt x="5" y="0"/>
                  </a:lnTo>
                  <a:cubicBezTo>
                    <a:pt x="2" y="3"/>
                    <a:pt x="2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" name="Freeform 44"/>
            <p:cNvSpPr>
              <a:spLocks noChangeArrowheads="1"/>
            </p:cNvSpPr>
            <p:nvPr/>
          </p:nvSpPr>
          <p:spPr bwMode="auto">
            <a:xfrm>
              <a:off x="3663950" y="2790825"/>
              <a:ext cx="3175" cy="6350"/>
            </a:xfrm>
            <a:custGeom>
              <a:avLst/>
              <a:gdLst>
                <a:gd name="T0" fmla="*/ 0 w 9"/>
                <a:gd name="T1" fmla="*/ 3 h 18"/>
                <a:gd name="T2" fmla="*/ 5 w 9"/>
                <a:gd name="T3" fmla="*/ 17 h 18"/>
                <a:gd name="T4" fmla="*/ 8 w 9"/>
                <a:gd name="T5" fmla="*/ 12 h 18"/>
                <a:gd name="T6" fmla="*/ 2 w 9"/>
                <a:gd name="T7" fmla="*/ 0 h 18"/>
                <a:gd name="T8" fmla="*/ 0 w 9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8">
                  <a:moveTo>
                    <a:pt x="0" y="3"/>
                  </a:moveTo>
                  <a:cubicBezTo>
                    <a:pt x="0" y="12"/>
                    <a:pt x="2" y="17"/>
                    <a:pt x="5" y="17"/>
                  </a:cubicBezTo>
                  <a:cubicBezTo>
                    <a:pt x="5" y="14"/>
                    <a:pt x="5" y="14"/>
                    <a:pt x="8" y="12"/>
                  </a:cubicBezTo>
                  <a:cubicBezTo>
                    <a:pt x="5" y="9"/>
                    <a:pt x="5" y="3"/>
                    <a:pt x="2" y="0"/>
                  </a:cubicBezTo>
                  <a:cubicBezTo>
                    <a:pt x="0" y="0"/>
                    <a:pt x="0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" name="Freeform 45"/>
            <p:cNvSpPr>
              <a:spLocks noChangeArrowheads="1"/>
            </p:cNvSpPr>
            <p:nvPr/>
          </p:nvSpPr>
          <p:spPr bwMode="auto">
            <a:xfrm>
              <a:off x="3649663" y="2757488"/>
              <a:ext cx="3175" cy="3175"/>
            </a:xfrm>
            <a:custGeom>
              <a:avLst/>
              <a:gdLst>
                <a:gd name="T0" fmla="*/ 0 w 10"/>
                <a:gd name="T1" fmla="*/ 9 h 10"/>
                <a:gd name="T2" fmla="*/ 0 w 10"/>
                <a:gd name="T3" fmla="*/ 9 h 10"/>
                <a:gd name="T4" fmla="*/ 9 w 10"/>
                <a:gd name="T5" fmla="*/ 3 h 10"/>
                <a:gd name="T6" fmla="*/ 9 w 10"/>
                <a:gd name="T7" fmla="*/ 0 h 10"/>
                <a:gd name="T8" fmla="*/ 0 w 10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0" y="9"/>
                  </a:moveTo>
                  <a:cubicBezTo>
                    <a:pt x="0" y="9"/>
                    <a:pt x="3" y="9"/>
                    <a:pt x="0" y="9"/>
                  </a:cubicBezTo>
                  <a:cubicBezTo>
                    <a:pt x="3" y="6"/>
                    <a:pt x="6" y="6"/>
                    <a:pt x="9" y="3"/>
                  </a:cubicBezTo>
                  <a:lnTo>
                    <a:pt x="9" y="0"/>
                  </a:lnTo>
                  <a:cubicBezTo>
                    <a:pt x="3" y="3"/>
                    <a:pt x="3" y="6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" name="Freeform 46"/>
            <p:cNvSpPr>
              <a:spLocks noChangeArrowheads="1"/>
            </p:cNvSpPr>
            <p:nvPr/>
          </p:nvSpPr>
          <p:spPr bwMode="auto">
            <a:xfrm>
              <a:off x="3619500" y="2632075"/>
              <a:ext cx="1588" cy="3175"/>
            </a:xfrm>
            <a:custGeom>
              <a:avLst/>
              <a:gdLst>
                <a:gd name="T0" fmla="*/ 0 w 6"/>
                <a:gd name="T1" fmla="*/ 0 h 7"/>
                <a:gd name="T2" fmla="*/ 2 w 6"/>
                <a:gd name="T3" fmla="*/ 6 h 7"/>
                <a:gd name="T4" fmla="*/ 5 w 6"/>
                <a:gd name="T5" fmla="*/ 6 h 7"/>
                <a:gd name="T6" fmla="*/ 5 w 6"/>
                <a:gd name="T7" fmla="*/ 0 h 7"/>
                <a:gd name="T8" fmla="*/ 0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cubicBezTo>
                    <a:pt x="0" y="3"/>
                    <a:pt x="0" y="6"/>
                    <a:pt x="2" y="6"/>
                  </a:cubicBezTo>
                  <a:lnTo>
                    <a:pt x="5" y="6"/>
                  </a:lnTo>
                  <a:cubicBezTo>
                    <a:pt x="5" y="3"/>
                    <a:pt x="5" y="3"/>
                    <a:pt x="5" y="0"/>
                  </a:cubicBezTo>
                  <a:cubicBezTo>
                    <a:pt x="2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" name="Freeform 47"/>
            <p:cNvSpPr>
              <a:spLocks noChangeArrowheads="1"/>
            </p:cNvSpPr>
            <p:nvPr/>
          </p:nvSpPr>
          <p:spPr bwMode="auto">
            <a:xfrm>
              <a:off x="3614738" y="2503488"/>
              <a:ext cx="7937" cy="14287"/>
            </a:xfrm>
            <a:custGeom>
              <a:avLst/>
              <a:gdLst>
                <a:gd name="T0" fmla="*/ 14 w 21"/>
                <a:gd name="T1" fmla="*/ 0 h 38"/>
                <a:gd name="T2" fmla="*/ 3 w 21"/>
                <a:gd name="T3" fmla="*/ 6 h 38"/>
                <a:gd name="T4" fmla="*/ 17 w 21"/>
                <a:gd name="T5" fmla="*/ 37 h 38"/>
                <a:gd name="T6" fmla="*/ 20 w 21"/>
                <a:gd name="T7" fmla="*/ 6 h 38"/>
                <a:gd name="T8" fmla="*/ 14 w 21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38">
                  <a:moveTo>
                    <a:pt x="14" y="0"/>
                  </a:moveTo>
                  <a:cubicBezTo>
                    <a:pt x="9" y="0"/>
                    <a:pt x="6" y="3"/>
                    <a:pt x="3" y="6"/>
                  </a:cubicBezTo>
                  <a:cubicBezTo>
                    <a:pt x="0" y="17"/>
                    <a:pt x="6" y="28"/>
                    <a:pt x="17" y="37"/>
                  </a:cubicBezTo>
                  <a:cubicBezTo>
                    <a:pt x="17" y="25"/>
                    <a:pt x="20" y="17"/>
                    <a:pt x="20" y="6"/>
                  </a:cubicBezTo>
                  <a:cubicBezTo>
                    <a:pt x="17" y="3"/>
                    <a:pt x="17" y="0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" name="Freeform 48"/>
            <p:cNvSpPr>
              <a:spLocks noChangeArrowheads="1"/>
            </p:cNvSpPr>
            <p:nvPr/>
          </p:nvSpPr>
          <p:spPr bwMode="auto">
            <a:xfrm>
              <a:off x="3724275" y="2890838"/>
              <a:ext cx="4763" cy="4762"/>
            </a:xfrm>
            <a:custGeom>
              <a:avLst/>
              <a:gdLst>
                <a:gd name="T0" fmla="*/ 3 w 15"/>
                <a:gd name="T1" fmla="*/ 0 h 15"/>
                <a:gd name="T2" fmla="*/ 0 w 15"/>
                <a:gd name="T3" fmla="*/ 14 h 15"/>
                <a:gd name="T4" fmla="*/ 11 w 15"/>
                <a:gd name="T5" fmla="*/ 14 h 15"/>
                <a:gd name="T6" fmla="*/ 14 w 15"/>
                <a:gd name="T7" fmla="*/ 8 h 15"/>
                <a:gd name="T8" fmla="*/ 8 w 15"/>
                <a:gd name="T9" fmla="*/ 0 h 15"/>
                <a:gd name="T10" fmla="*/ 3 w 15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5">
                  <a:moveTo>
                    <a:pt x="3" y="0"/>
                  </a:moveTo>
                  <a:cubicBezTo>
                    <a:pt x="3" y="5"/>
                    <a:pt x="0" y="8"/>
                    <a:pt x="0" y="14"/>
                  </a:cubicBezTo>
                  <a:cubicBezTo>
                    <a:pt x="3" y="14"/>
                    <a:pt x="8" y="14"/>
                    <a:pt x="11" y="14"/>
                  </a:cubicBezTo>
                  <a:cubicBezTo>
                    <a:pt x="11" y="11"/>
                    <a:pt x="11" y="11"/>
                    <a:pt x="14" y="8"/>
                  </a:cubicBezTo>
                  <a:cubicBezTo>
                    <a:pt x="11" y="5"/>
                    <a:pt x="11" y="2"/>
                    <a:pt x="8" y="0"/>
                  </a:cubicBezTo>
                  <a:cubicBezTo>
                    <a:pt x="6" y="0"/>
                    <a:pt x="6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" name="Freeform 49"/>
            <p:cNvSpPr>
              <a:spLocks noChangeArrowheads="1"/>
            </p:cNvSpPr>
            <p:nvPr/>
          </p:nvSpPr>
          <p:spPr bwMode="auto">
            <a:xfrm>
              <a:off x="3937000" y="3048000"/>
              <a:ext cx="1588" cy="1588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0 h 6"/>
                <a:gd name="T4" fmla="*/ 0 w 6"/>
                <a:gd name="T5" fmla="*/ 5 h 6"/>
                <a:gd name="T6" fmla="*/ 5 w 6"/>
                <a:gd name="T7" fmla="*/ 3 h 6"/>
                <a:gd name="T8" fmla="*/ 5 w 6"/>
                <a:gd name="T9" fmla="*/ 3 h 6"/>
                <a:gd name="T10" fmla="*/ 0 w 6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0" y="0"/>
                  </a:lnTo>
                  <a:cubicBezTo>
                    <a:pt x="0" y="3"/>
                    <a:pt x="0" y="3"/>
                    <a:pt x="0" y="5"/>
                  </a:cubicBezTo>
                  <a:cubicBezTo>
                    <a:pt x="2" y="5"/>
                    <a:pt x="2" y="3"/>
                    <a:pt x="5" y="3"/>
                  </a:cubicBezTo>
                  <a:lnTo>
                    <a:pt x="5" y="3"/>
                  </a:lnTo>
                  <a:cubicBezTo>
                    <a:pt x="2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" name="Freeform 50"/>
            <p:cNvSpPr>
              <a:spLocks noChangeArrowheads="1"/>
            </p:cNvSpPr>
            <p:nvPr/>
          </p:nvSpPr>
          <p:spPr bwMode="auto">
            <a:xfrm>
              <a:off x="3763963" y="2933700"/>
              <a:ext cx="3175" cy="3175"/>
            </a:xfrm>
            <a:custGeom>
              <a:avLst/>
              <a:gdLst>
                <a:gd name="T0" fmla="*/ 0 w 10"/>
                <a:gd name="T1" fmla="*/ 0 h 7"/>
                <a:gd name="T2" fmla="*/ 0 w 10"/>
                <a:gd name="T3" fmla="*/ 6 h 7"/>
                <a:gd name="T4" fmla="*/ 6 w 10"/>
                <a:gd name="T5" fmla="*/ 6 h 7"/>
                <a:gd name="T6" fmla="*/ 9 w 10"/>
                <a:gd name="T7" fmla="*/ 6 h 7"/>
                <a:gd name="T8" fmla="*/ 6 w 10"/>
                <a:gd name="T9" fmla="*/ 3 h 7"/>
                <a:gd name="T10" fmla="*/ 0 w 10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7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3" y="6"/>
                    <a:pt x="3" y="6"/>
                    <a:pt x="6" y="6"/>
                  </a:cubicBezTo>
                  <a:lnTo>
                    <a:pt x="9" y="6"/>
                  </a:lnTo>
                  <a:lnTo>
                    <a:pt x="6" y="3"/>
                  </a:lnTo>
                  <a:cubicBezTo>
                    <a:pt x="3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" name="Freeform 51"/>
            <p:cNvSpPr>
              <a:spLocks noChangeArrowheads="1"/>
            </p:cNvSpPr>
            <p:nvPr/>
          </p:nvSpPr>
          <p:spPr bwMode="auto">
            <a:xfrm>
              <a:off x="3630613" y="2439988"/>
              <a:ext cx="3175" cy="3175"/>
            </a:xfrm>
            <a:custGeom>
              <a:avLst/>
              <a:gdLst>
                <a:gd name="T0" fmla="*/ 0 w 7"/>
                <a:gd name="T1" fmla="*/ 0 h 7"/>
                <a:gd name="T2" fmla="*/ 0 w 7"/>
                <a:gd name="T3" fmla="*/ 6 h 7"/>
                <a:gd name="T4" fmla="*/ 3 w 7"/>
                <a:gd name="T5" fmla="*/ 6 h 7"/>
                <a:gd name="T6" fmla="*/ 0 w 7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cubicBezTo>
                    <a:pt x="6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" name="Freeform 52"/>
            <p:cNvSpPr>
              <a:spLocks noChangeArrowheads="1"/>
            </p:cNvSpPr>
            <p:nvPr/>
          </p:nvSpPr>
          <p:spPr bwMode="auto">
            <a:xfrm>
              <a:off x="3967163" y="2078038"/>
              <a:ext cx="3175" cy="6350"/>
            </a:xfrm>
            <a:custGeom>
              <a:avLst/>
              <a:gdLst>
                <a:gd name="T0" fmla="*/ 3 w 10"/>
                <a:gd name="T1" fmla="*/ 0 h 18"/>
                <a:gd name="T2" fmla="*/ 0 w 10"/>
                <a:gd name="T3" fmla="*/ 9 h 18"/>
                <a:gd name="T4" fmla="*/ 3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3" y="0"/>
                  </a:moveTo>
                  <a:lnTo>
                    <a:pt x="0" y="9"/>
                  </a:lnTo>
                  <a:cubicBezTo>
                    <a:pt x="9" y="17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" name="Freeform 53"/>
            <p:cNvSpPr>
              <a:spLocks noChangeArrowheads="1"/>
            </p:cNvSpPr>
            <p:nvPr/>
          </p:nvSpPr>
          <p:spPr bwMode="auto">
            <a:xfrm>
              <a:off x="3871913" y="2117725"/>
              <a:ext cx="3175" cy="3175"/>
            </a:xfrm>
            <a:custGeom>
              <a:avLst/>
              <a:gdLst>
                <a:gd name="T0" fmla="*/ 0 w 7"/>
                <a:gd name="T1" fmla="*/ 6 h 7"/>
                <a:gd name="T2" fmla="*/ 6 w 7"/>
                <a:gd name="T3" fmla="*/ 6 h 7"/>
                <a:gd name="T4" fmla="*/ 6 w 7"/>
                <a:gd name="T5" fmla="*/ 0 h 7"/>
                <a:gd name="T6" fmla="*/ 0 w 7"/>
                <a:gd name="T7" fmla="*/ 0 h 7"/>
                <a:gd name="T8" fmla="*/ 0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" name="Freeform 54"/>
            <p:cNvSpPr>
              <a:spLocks noChangeArrowheads="1"/>
            </p:cNvSpPr>
            <p:nvPr/>
          </p:nvSpPr>
          <p:spPr bwMode="auto">
            <a:xfrm>
              <a:off x="3911600" y="2103438"/>
              <a:ext cx="9525" cy="9525"/>
            </a:xfrm>
            <a:custGeom>
              <a:avLst/>
              <a:gdLst>
                <a:gd name="T0" fmla="*/ 14 w 26"/>
                <a:gd name="T1" fmla="*/ 11 h 26"/>
                <a:gd name="T2" fmla="*/ 11 w 26"/>
                <a:gd name="T3" fmla="*/ 0 h 26"/>
                <a:gd name="T4" fmla="*/ 3 w 26"/>
                <a:gd name="T5" fmla="*/ 0 h 26"/>
                <a:gd name="T6" fmla="*/ 14 w 26"/>
                <a:gd name="T7" fmla="*/ 11 h 26"/>
                <a:gd name="T8" fmla="*/ 3 w 26"/>
                <a:gd name="T9" fmla="*/ 25 h 26"/>
                <a:gd name="T10" fmla="*/ 23 w 26"/>
                <a:gd name="T11" fmla="*/ 19 h 26"/>
                <a:gd name="T12" fmla="*/ 14 w 26"/>
                <a:gd name="T13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14" y="11"/>
                  </a:moveTo>
                  <a:cubicBezTo>
                    <a:pt x="14" y="5"/>
                    <a:pt x="9" y="5"/>
                    <a:pt x="11" y="0"/>
                  </a:cubicBezTo>
                  <a:lnTo>
                    <a:pt x="3" y="0"/>
                  </a:lnTo>
                  <a:cubicBezTo>
                    <a:pt x="0" y="8"/>
                    <a:pt x="11" y="8"/>
                    <a:pt x="14" y="11"/>
                  </a:cubicBezTo>
                  <a:cubicBezTo>
                    <a:pt x="6" y="11"/>
                    <a:pt x="6" y="19"/>
                    <a:pt x="3" y="25"/>
                  </a:cubicBezTo>
                  <a:cubicBezTo>
                    <a:pt x="11" y="25"/>
                    <a:pt x="14" y="19"/>
                    <a:pt x="23" y="19"/>
                  </a:cubicBezTo>
                  <a:cubicBezTo>
                    <a:pt x="25" y="14"/>
                    <a:pt x="17" y="17"/>
                    <a:pt x="14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" name="Freeform 55"/>
            <p:cNvSpPr>
              <a:spLocks noChangeArrowheads="1"/>
            </p:cNvSpPr>
            <p:nvPr/>
          </p:nvSpPr>
          <p:spPr bwMode="auto">
            <a:xfrm>
              <a:off x="3748088" y="2235200"/>
              <a:ext cx="1587" cy="1588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3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" name="Freeform 56"/>
            <p:cNvSpPr>
              <a:spLocks noChangeArrowheads="1"/>
            </p:cNvSpPr>
            <p:nvPr/>
          </p:nvSpPr>
          <p:spPr bwMode="auto">
            <a:xfrm>
              <a:off x="3738563" y="2217738"/>
              <a:ext cx="3175" cy="1587"/>
            </a:xfrm>
            <a:custGeom>
              <a:avLst/>
              <a:gdLst>
                <a:gd name="T0" fmla="*/ 0 w 9"/>
                <a:gd name="T1" fmla="*/ 2 h 3"/>
                <a:gd name="T2" fmla="*/ 8 w 9"/>
                <a:gd name="T3" fmla="*/ 0 h 3"/>
                <a:gd name="T4" fmla="*/ 8 w 9"/>
                <a:gd name="T5" fmla="*/ 0 h 3"/>
                <a:gd name="T6" fmla="*/ 0 w 9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3">
                  <a:moveTo>
                    <a:pt x="0" y="2"/>
                  </a:moveTo>
                  <a:cubicBezTo>
                    <a:pt x="2" y="2"/>
                    <a:pt x="5" y="0"/>
                    <a:pt x="8" y="0"/>
                  </a:cubicBezTo>
                  <a:lnTo>
                    <a:pt x="8" y="0"/>
                  </a:lnTo>
                  <a:cubicBezTo>
                    <a:pt x="5" y="0"/>
                    <a:pt x="2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" name="Freeform 57"/>
            <p:cNvSpPr>
              <a:spLocks noChangeArrowheads="1"/>
            </p:cNvSpPr>
            <p:nvPr/>
          </p:nvSpPr>
          <p:spPr bwMode="auto">
            <a:xfrm>
              <a:off x="3700463" y="2266950"/>
              <a:ext cx="3175" cy="1588"/>
            </a:xfrm>
            <a:custGeom>
              <a:avLst/>
              <a:gdLst>
                <a:gd name="T0" fmla="*/ 3 w 10"/>
                <a:gd name="T1" fmla="*/ 0 h 4"/>
                <a:gd name="T2" fmla="*/ 0 w 10"/>
                <a:gd name="T3" fmla="*/ 0 h 4"/>
                <a:gd name="T4" fmla="*/ 0 w 10"/>
                <a:gd name="T5" fmla="*/ 3 h 4"/>
                <a:gd name="T6" fmla="*/ 0 w 10"/>
                <a:gd name="T7" fmla="*/ 3 h 4"/>
                <a:gd name="T8" fmla="*/ 3 w 10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cubicBezTo>
                    <a:pt x="0" y="3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" name="Freeform 58"/>
            <p:cNvSpPr>
              <a:spLocks noChangeArrowheads="1"/>
            </p:cNvSpPr>
            <p:nvPr/>
          </p:nvSpPr>
          <p:spPr bwMode="auto">
            <a:xfrm>
              <a:off x="3697288" y="2271713"/>
              <a:ext cx="9525" cy="14287"/>
            </a:xfrm>
            <a:custGeom>
              <a:avLst/>
              <a:gdLst>
                <a:gd name="T0" fmla="*/ 0 w 26"/>
                <a:gd name="T1" fmla="*/ 14 h 38"/>
                <a:gd name="T2" fmla="*/ 11 w 26"/>
                <a:gd name="T3" fmla="*/ 37 h 38"/>
                <a:gd name="T4" fmla="*/ 0 w 26"/>
                <a:gd name="T5" fmla="*/ 1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38">
                  <a:moveTo>
                    <a:pt x="0" y="14"/>
                  </a:moveTo>
                  <a:cubicBezTo>
                    <a:pt x="0" y="28"/>
                    <a:pt x="8" y="28"/>
                    <a:pt x="11" y="37"/>
                  </a:cubicBezTo>
                  <a:cubicBezTo>
                    <a:pt x="25" y="25"/>
                    <a:pt x="11" y="0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" name="Freeform 59"/>
            <p:cNvSpPr>
              <a:spLocks noChangeArrowheads="1"/>
            </p:cNvSpPr>
            <p:nvPr/>
          </p:nvSpPr>
          <p:spPr bwMode="auto">
            <a:xfrm>
              <a:off x="3633788" y="2443163"/>
              <a:ext cx="1587" cy="1587"/>
            </a:xfrm>
            <a:custGeom>
              <a:avLst/>
              <a:gdLst>
                <a:gd name="T0" fmla="*/ 0 w 4"/>
                <a:gd name="T1" fmla="*/ 2 h 3"/>
                <a:gd name="T2" fmla="*/ 3 w 4"/>
                <a:gd name="T3" fmla="*/ 2 h 3"/>
                <a:gd name="T4" fmla="*/ 3 w 4"/>
                <a:gd name="T5" fmla="*/ 2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3" y="2"/>
                  </a:lnTo>
                  <a:lnTo>
                    <a:pt x="3" y="2"/>
                  </a:lnTo>
                  <a:cubicBezTo>
                    <a:pt x="3" y="0"/>
                    <a:pt x="3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" name="Freeform 60"/>
            <p:cNvSpPr>
              <a:spLocks noChangeArrowheads="1"/>
            </p:cNvSpPr>
            <p:nvPr/>
          </p:nvSpPr>
          <p:spPr bwMode="auto">
            <a:xfrm>
              <a:off x="3632200" y="2439988"/>
              <a:ext cx="4763" cy="4762"/>
            </a:xfrm>
            <a:custGeom>
              <a:avLst/>
              <a:gdLst>
                <a:gd name="T0" fmla="*/ 9 w 13"/>
                <a:gd name="T1" fmla="*/ 12 h 15"/>
                <a:gd name="T2" fmla="*/ 12 w 13"/>
                <a:gd name="T3" fmla="*/ 0 h 15"/>
                <a:gd name="T4" fmla="*/ 3 w 13"/>
                <a:gd name="T5" fmla="*/ 3 h 15"/>
                <a:gd name="T6" fmla="*/ 3 w 13"/>
                <a:gd name="T7" fmla="*/ 3 h 15"/>
                <a:gd name="T8" fmla="*/ 0 w 13"/>
                <a:gd name="T9" fmla="*/ 6 h 15"/>
                <a:gd name="T10" fmla="*/ 6 w 13"/>
                <a:gd name="T11" fmla="*/ 14 h 15"/>
                <a:gd name="T12" fmla="*/ 6 w 13"/>
                <a:gd name="T13" fmla="*/ 14 h 15"/>
                <a:gd name="T14" fmla="*/ 6 w 13"/>
                <a:gd name="T15" fmla="*/ 14 h 15"/>
                <a:gd name="T16" fmla="*/ 9 w 13"/>
                <a:gd name="T17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5">
                  <a:moveTo>
                    <a:pt x="9" y="12"/>
                  </a:moveTo>
                  <a:cubicBezTo>
                    <a:pt x="9" y="9"/>
                    <a:pt x="12" y="6"/>
                    <a:pt x="12" y="0"/>
                  </a:cubicBezTo>
                  <a:cubicBezTo>
                    <a:pt x="9" y="0"/>
                    <a:pt x="6" y="0"/>
                    <a:pt x="3" y="3"/>
                  </a:cubicBezTo>
                  <a:lnTo>
                    <a:pt x="3" y="3"/>
                  </a:lnTo>
                  <a:cubicBezTo>
                    <a:pt x="3" y="3"/>
                    <a:pt x="0" y="3"/>
                    <a:pt x="0" y="6"/>
                  </a:cubicBezTo>
                  <a:cubicBezTo>
                    <a:pt x="0" y="9"/>
                    <a:pt x="3" y="12"/>
                    <a:pt x="6" y="14"/>
                  </a:cubicBezTo>
                  <a:lnTo>
                    <a:pt x="6" y="14"/>
                  </a:lnTo>
                  <a:lnTo>
                    <a:pt x="6" y="14"/>
                  </a:lnTo>
                  <a:cubicBezTo>
                    <a:pt x="9" y="12"/>
                    <a:pt x="9" y="12"/>
                    <a:pt x="9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" name="Freeform 61"/>
            <p:cNvSpPr>
              <a:spLocks noChangeArrowheads="1"/>
            </p:cNvSpPr>
            <p:nvPr/>
          </p:nvSpPr>
          <p:spPr bwMode="auto">
            <a:xfrm>
              <a:off x="3765550" y="2208213"/>
              <a:ext cx="3175" cy="9525"/>
            </a:xfrm>
            <a:custGeom>
              <a:avLst/>
              <a:gdLst>
                <a:gd name="T0" fmla="*/ 0 w 9"/>
                <a:gd name="T1" fmla="*/ 0 h 27"/>
                <a:gd name="T2" fmla="*/ 3 w 9"/>
                <a:gd name="T3" fmla="*/ 14 h 27"/>
                <a:gd name="T4" fmla="*/ 6 w 9"/>
                <a:gd name="T5" fmla="*/ 26 h 27"/>
                <a:gd name="T6" fmla="*/ 8 w 9"/>
                <a:gd name="T7" fmla="*/ 26 h 27"/>
                <a:gd name="T8" fmla="*/ 8 w 9"/>
                <a:gd name="T9" fmla="*/ 26 h 27"/>
                <a:gd name="T10" fmla="*/ 6 w 9"/>
                <a:gd name="T11" fmla="*/ 17 h 27"/>
                <a:gd name="T12" fmla="*/ 0 w 9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7">
                  <a:moveTo>
                    <a:pt x="0" y="0"/>
                  </a:moveTo>
                  <a:cubicBezTo>
                    <a:pt x="0" y="6"/>
                    <a:pt x="3" y="9"/>
                    <a:pt x="3" y="14"/>
                  </a:cubicBezTo>
                  <a:cubicBezTo>
                    <a:pt x="3" y="17"/>
                    <a:pt x="6" y="23"/>
                    <a:pt x="6" y="26"/>
                  </a:cubicBezTo>
                  <a:lnTo>
                    <a:pt x="8" y="26"/>
                  </a:lnTo>
                  <a:lnTo>
                    <a:pt x="8" y="26"/>
                  </a:lnTo>
                  <a:cubicBezTo>
                    <a:pt x="8" y="23"/>
                    <a:pt x="6" y="20"/>
                    <a:pt x="6" y="17"/>
                  </a:cubicBezTo>
                  <a:cubicBezTo>
                    <a:pt x="3" y="9"/>
                    <a:pt x="0" y="6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" name="Freeform 62"/>
            <p:cNvSpPr>
              <a:spLocks noChangeArrowheads="1"/>
            </p:cNvSpPr>
            <p:nvPr/>
          </p:nvSpPr>
          <p:spPr bwMode="auto">
            <a:xfrm>
              <a:off x="3613150" y="2573338"/>
              <a:ext cx="4763" cy="7937"/>
            </a:xfrm>
            <a:custGeom>
              <a:avLst/>
              <a:gdLst>
                <a:gd name="T0" fmla="*/ 14 w 15"/>
                <a:gd name="T1" fmla="*/ 3 h 22"/>
                <a:gd name="T2" fmla="*/ 5 w 15"/>
                <a:gd name="T3" fmla="*/ 3 h 22"/>
                <a:gd name="T4" fmla="*/ 2 w 15"/>
                <a:gd name="T5" fmla="*/ 16 h 22"/>
                <a:gd name="T6" fmla="*/ 11 w 15"/>
                <a:gd name="T7" fmla="*/ 21 h 22"/>
                <a:gd name="T8" fmla="*/ 11 w 15"/>
                <a:gd name="T9" fmla="*/ 13 h 22"/>
                <a:gd name="T10" fmla="*/ 14 w 15"/>
                <a:gd name="T1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14" y="3"/>
                  </a:moveTo>
                  <a:cubicBezTo>
                    <a:pt x="11" y="3"/>
                    <a:pt x="5" y="0"/>
                    <a:pt x="5" y="3"/>
                  </a:cubicBezTo>
                  <a:cubicBezTo>
                    <a:pt x="11" y="6"/>
                    <a:pt x="0" y="7"/>
                    <a:pt x="2" y="16"/>
                  </a:cubicBezTo>
                  <a:cubicBezTo>
                    <a:pt x="5" y="19"/>
                    <a:pt x="8" y="21"/>
                    <a:pt x="11" y="21"/>
                  </a:cubicBezTo>
                  <a:cubicBezTo>
                    <a:pt x="11" y="19"/>
                    <a:pt x="11" y="16"/>
                    <a:pt x="11" y="13"/>
                  </a:cubicBezTo>
                  <a:cubicBezTo>
                    <a:pt x="14" y="7"/>
                    <a:pt x="14" y="5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" name="Freeform 63"/>
            <p:cNvSpPr>
              <a:spLocks noChangeArrowheads="1"/>
            </p:cNvSpPr>
            <p:nvPr/>
          </p:nvSpPr>
          <p:spPr bwMode="auto">
            <a:xfrm>
              <a:off x="3846513" y="2143125"/>
              <a:ext cx="1587" cy="3175"/>
            </a:xfrm>
            <a:custGeom>
              <a:avLst/>
              <a:gdLst>
                <a:gd name="T0" fmla="*/ 2 w 3"/>
                <a:gd name="T1" fmla="*/ 0 h 10"/>
                <a:gd name="T2" fmla="*/ 0 w 3"/>
                <a:gd name="T3" fmla="*/ 0 h 10"/>
                <a:gd name="T4" fmla="*/ 0 w 3"/>
                <a:gd name="T5" fmla="*/ 6 h 10"/>
                <a:gd name="T6" fmla="*/ 0 w 3"/>
                <a:gd name="T7" fmla="*/ 9 h 10"/>
                <a:gd name="T8" fmla="*/ 2 w 3"/>
                <a:gd name="T9" fmla="*/ 9 h 10"/>
                <a:gd name="T10" fmla="*/ 2 w 3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10">
                  <a:moveTo>
                    <a:pt x="2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" name="Freeform 64"/>
            <p:cNvSpPr>
              <a:spLocks noChangeArrowheads="1"/>
            </p:cNvSpPr>
            <p:nvPr/>
          </p:nvSpPr>
          <p:spPr bwMode="auto">
            <a:xfrm>
              <a:off x="3890963" y="3027363"/>
              <a:ext cx="3175" cy="1587"/>
            </a:xfrm>
            <a:custGeom>
              <a:avLst/>
              <a:gdLst>
                <a:gd name="T0" fmla="*/ 0 w 9"/>
                <a:gd name="T1" fmla="*/ 5 h 6"/>
                <a:gd name="T2" fmla="*/ 8 w 9"/>
                <a:gd name="T3" fmla="*/ 2 h 6"/>
                <a:gd name="T4" fmla="*/ 8 w 9"/>
                <a:gd name="T5" fmla="*/ 2 h 6"/>
                <a:gd name="T6" fmla="*/ 0 w 9"/>
                <a:gd name="T7" fmla="*/ 0 h 6"/>
                <a:gd name="T8" fmla="*/ 0 w 9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0" y="5"/>
                  </a:moveTo>
                  <a:cubicBezTo>
                    <a:pt x="3" y="5"/>
                    <a:pt x="5" y="5"/>
                    <a:pt x="8" y="2"/>
                  </a:cubicBezTo>
                  <a:lnTo>
                    <a:pt x="8" y="2"/>
                  </a:lnTo>
                  <a:cubicBezTo>
                    <a:pt x="5" y="2"/>
                    <a:pt x="3" y="0"/>
                    <a:pt x="0" y="0"/>
                  </a:cubicBezTo>
                  <a:cubicBezTo>
                    <a:pt x="0" y="0"/>
                    <a:pt x="0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" name="Freeform 65"/>
            <p:cNvSpPr>
              <a:spLocks noChangeArrowheads="1"/>
            </p:cNvSpPr>
            <p:nvPr/>
          </p:nvSpPr>
          <p:spPr bwMode="auto">
            <a:xfrm>
              <a:off x="3614738" y="2651125"/>
              <a:ext cx="1587" cy="1588"/>
            </a:xfrm>
            <a:custGeom>
              <a:avLst/>
              <a:gdLst>
                <a:gd name="T0" fmla="*/ 0 w 4"/>
                <a:gd name="T1" fmla="*/ 0 h 1"/>
                <a:gd name="T2" fmla="*/ 0 w 4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" name="Freeform 66"/>
            <p:cNvSpPr>
              <a:spLocks noChangeArrowheads="1"/>
            </p:cNvSpPr>
            <p:nvPr/>
          </p:nvSpPr>
          <p:spPr bwMode="auto">
            <a:xfrm>
              <a:off x="3613150" y="2593975"/>
              <a:ext cx="3175" cy="3175"/>
            </a:xfrm>
            <a:custGeom>
              <a:avLst/>
              <a:gdLst>
                <a:gd name="T0" fmla="*/ 5 w 9"/>
                <a:gd name="T1" fmla="*/ 6 h 7"/>
                <a:gd name="T2" fmla="*/ 8 w 9"/>
                <a:gd name="T3" fmla="*/ 3 h 7"/>
                <a:gd name="T4" fmla="*/ 2 w 9"/>
                <a:gd name="T5" fmla="*/ 0 h 7"/>
                <a:gd name="T6" fmla="*/ 0 w 9"/>
                <a:gd name="T7" fmla="*/ 3 h 7"/>
                <a:gd name="T8" fmla="*/ 5 w 9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5" y="6"/>
                  </a:moveTo>
                  <a:cubicBezTo>
                    <a:pt x="5" y="6"/>
                    <a:pt x="8" y="6"/>
                    <a:pt x="8" y="3"/>
                  </a:cubicBezTo>
                  <a:cubicBezTo>
                    <a:pt x="5" y="3"/>
                    <a:pt x="5" y="0"/>
                    <a:pt x="2" y="0"/>
                  </a:cubicBezTo>
                  <a:lnTo>
                    <a:pt x="0" y="3"/>
                  </a:lnTo>
                  <a:cubicBezTo>
                    <a:pt x="5" y="3"/>
                    <a:pt x="5" y="6"/>
                    <a:pt x="5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" name="Freeform 67"/>
            <p:cNvSpPr>
              <a:spLocks noChangeArrowheads="1"/>
            </p:cNvSpPr>
            <p:nvPr/>
          </p:nvSpPr>
          <p:spPr bwMode="auto">
            <a:xfrm>
              <a:off x="4137025" y="3084513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" name="Freeform 68"/>
            <p:cNvSpPr>
              <a:spLocks noChangeArrowheads="1"/>
            </p:cNvSpPr>
            <p:nvPr/>
          </p:nvSpPr>
          <p:spPr bwMode="auto">
            <a:xfrm>
              <a:off x="4078288" y="3082925"/>
              <a:ext cx="4762" cy="4763"/>
            </a:xfrm>
            <a:custGeom>
              <a:avLst/>
              <a:gdLst>
                <a:gd name="T0" fmla="*/ 0 w 12"/>
                <a:gd name="T1" fmla="*/ 11 h 15"/>
                <a:gd name="T2" fmla="*/ 8 w 12"/>
                <a:gd name="T3" fmla="*/ 14 h 15"/>
                <a:gd name="T4" fmla="*/ 8 w 12"/>
                <a:gd name="T5" fmla="*/ 0 h 15"/>
                <a:gd name="T6" fmla="*/ 0 w 12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0" y="11"/>
                  </a:moveTo>
                  <a:cubicBezTo>
                    <a:pt x="3" y="11"/>
                    <a:pt x="5" y="14"/>
                    <a:pt x="8" y="14"/>
                  </a:cubicBezTo>
                  <a:cubicBezTo>
                    <a:pt x="11" y="11"/>
                    <a:pt x="11" y="5"/>
                    <a:pt x="8" y="0"/>
                  </a:cubicBezTo>
                  <a:cubicBezTo>
                    <a:pt x="3" y="0"/>
                    <a:pt x="0" y="3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" name="Freeform 69"/>
            <p:cNvSpPr>
              <a:spLocks noChangeArrowheads="1"/>
            </p:cNvSpPr>
            <p:nvPr/>
          </p:nvSpPr>
          <p:spPr bwMode="auto">
            <a:xfrm>
              <a:off x="3971925" y="3070225"/>
              <a:ext cx="11113" cy="7938"/>
            </a:xfrm>
            <a:custGeom>
              <a:avLst/>
              <a:gdLst>
                <a:gd name="T0" fmla="*/ 25 w 29"/>
                <a:gd name="T1" fmla="*/ 0 h 21"/>
                <a:gd name="T2" fmla="*/ 0 w 29"/>
                <a:gd name="T3" fmla="*/ 8 h 21"/>
                <a:gd name="T4" fmla="*/ 0 w 29"/>
                <a:gd name="T5" fmla="*/ 11 h 21"/>
                <a:gd name="T6" fmla="*/ 19 w 29"/>
                <a:gd name="T7" fmla="*/ 20 h 21"/>
                <a:gd name="T8" fmla="*/ 28 w 29"/>
                <a:gd name="T9" fmla="*/ 14 h 21"/>
                <a:gd name="T10" fmla="*/ 25 w 29"/>
                <a:gd name="T11" fmla="*/ 8 h 21"/>
                <a:gd name="T12" fmla="*/ 25 w 2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1">
                  <a:moveTo>
                    <a:pt x="25" y="0"/>
                  </a:moveTo>
                  <a:cubicBezTo>
                    <a:pt x="16" y="3"/>
                    <a:pt x="8" y="6"/>
                    <a:pt x="0" y="8"/>
                  </a:cubicBezTo>
                  <a:cubicBezTo>
                    <a:pt x="0" y="8"/>
                    <a:pt x="0" y="8"/>
                    <a:pt x="0" y="11"/>
                  </a:cubicBezTo>
                  <a:cubicBezTo>
                    <a:pt x="2" y="14"/>
                    <a:pt x="8" y="17"/>
                    <a:pt x="19" y="20"/>
                  </a:cubicBezTo>
                  <a:cubicBezTo>
                    <a:pt x="22" y="17"/>
                    <a:pt x="25" y="17"/>
                    <a:pt x="28" y="14"/>
                  </a:cubicBezTo>
                  <a:cubicBezTo>
                    <a:pt x="28" y="11"/>
                    <a:pt x="25" y="11"/>
                    <a:pt x="25" y="8"/>
                  </a:cubicBezTo>
                  <a:cubicBezTo>
                    <a:pt x="28" y="6"/>
                    <a:pt x="25" y="3"/>
                    <a:pt x="2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" name="Freeform 70"/>
            <p:cNvSpPr>
              <a:spLocks noChangeArrowheads="1"/>
            </p:cNvSpPr>
            <p:nvPr/>
          </p:nvSpPr>
          <p:spPr bwMode="auto">
            <a:xfrm>
              <a:off x="3611563" y="2522538"/>
              <a:ext cx="3175" cy="4762"/>
            </a:xfrm>
            <a:custGeom>
              <a:avLst/>
              <a:gdLst>
                <a:gd name="T0" fmla="*/ 8 w 9"/>
                <a:gd name="T1" fmla="*/ 14 h 15"/>
                <a:gd name="T2" fmla="*/ 0 w 9"/>
                <a:gd name="T3" fmla="*/ 3 h 15"/>
                <a:gd name="T4" fmla="*/ 8 w 9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8" y="14"/>
                  </a:moveTo>
                  <a:cubicBezTo>
                    <a:pt x="8" y="8"/>
                    <a:pt x="8" y="0"/>
                    <a:pt x="0" y="3"/>
                  </a:cubicBezTo>
                  <a:cubicBezTo>
                    <a:pt x="0" y="8"/>
                    <a:pt x="3" y="11"/>
                    <a:pt x="8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" name="Freeform 71"/>
            <p:cNvSpPr>
              <a:spLocks noChangeArrowheads="1"/>
            </p:cNvSpPr>
            <p:nvPr/>
          </p:nvSpPr>
          <p:spPr bwMode="auto">
            <a:xfrm>
              <a:off x="3609975" y="2601913"/>
              <a:ext cx="3175" cy="1587"/>
            </a:xfrm>
            <a:custGeom>
              <a:avLst/>
              <a:gdLst>
                <a:gd name="T0" fmla="*/ 0 w 7"/>
                <a:gd name="T1" fmla="*/ 2 h 3"/>
                <a:gd name="T2" fmla="*/ 6 w 7"/>
                <a:gd name="T3" fmla="*/ 0 h 3"/>
                <a:gd name="T4" fmla="*/ 0 w 7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cubicBezTo>
                    <a:pt x="3" y="2"/>
                    <a:pt x="3" y="2"/>
                    <a:pt x="6" y="0"/>
                  </a:cubicBezTo>
                  <a:cubicBezTo>
                    <a:pt x="3" y="2"/>
                    <a:pt x="0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" name="Freeform 72"/>
            <p:cNvSpPr>
              <a:spLocks noChangeArrowheads="1"/>
            </p:cNvSpPr>
            <p:nvPr/>
          </p:nvSpPr>
          <p:spPr bwMode="auto">
            <a:xfrm>
              <a:off x="3598863" y="2527300"/>
              <a:ext cx="11112" cy="14288"/>
            </a:xfrm>
            <a:custGeom>
              <a:avLst/>
              <a:gdLst>
                <a:gd name="T0" fmla="*/ 28 w 29"/>
                <a:gd name="T1" fmla="*/ 39 h 40"/>
                <a:gd name="T2" fmla="*/ 28 w 29"/>
                <a:gd name="T3" fmla="*/ 39 h 40"/>
                <a:gd name="T4" fmla="*/ 0 w 29"/>
                <a:gd name="T5" fmla="*/ 0 h 40"/>
                <a:gd name="T6" fmla="*/ 0 w 29"/>
                <a:gd name="T7" fmla="*/ 0 h 40"/>
                <a:gd name="T8" fmla="*/ 20 w 29"/>
                <a:gd name="T9" fmla="*/ 34 h 40"/>
                <a:gd name="T10" fmla="*/ 28 w 29"/>
                <a:gd name="T11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40">
                  <a:moveTo>
                    <a:pt x="28" y="39"/>
                  </a:moveTo>
                  <a:lnTo>
                    <a:pt x="28" y="39"/>
                  </a:lnTo>
                  <a:cubicBezTo>
                    <a:pt x="17" y="28"/>
                    <a:pt x="6" y="17"/>
                    <a:pt x="0" y="0"/>
                  </a:cubicBezTo>
                  <a:lnTo>
                    <a:pt x="0" y="0"/>
                  </a:lnTo>
                  <a:cubicBezTo>
                    <a:pt x="0" y="3"/>
                    <a:pt x="0" y="14"/>
                    <a:pt x="20" y="34"/>
                  </a:cubicBezTo>
                  <a:cubicBezTo>
                    <a:pt x="26" y="39"/>
                    <a:pt x="26" y="39"/>
                    <a:pt x="28" y="3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" name="Freeform 73"/>
            <p:cNvSpPr>
              <a:spLocks noChangeArrowheads="1"/>
            </p:cNvSpPr>
            <p:nvPr/>
          </p:nvSpPr>
          <p:spPr bwMode="auto">
            <a:xfrm>
              <a:off x="3603625" y="2605088"/>
              <a:ext cx="7938" cy="9525"/>
            </a:xfrm>
            <a:custGeom>
              <a:avLst/>
              <a:gdLst>
                <a:gd name="T0" fmla="*/ 0 w 24"/>
                <a:gd name="T1" fmla="*/ 26 h 27"/>
                <a:gd name="T2" fmla="*/ 23 w 24"/>
                <a:gd name="T3" fmla="*/ 3 h 27"/>
                <a:gd name="T4" fmla="*/ 20 w 24"/>
                <a:gd name="T5" fmla="*/ 0 h 27"/>
                <a:gd name="T6" fmla="*/ 3 w 24"/>
                <a:gd name="T7" fmla="*/ 20 h 27"/>
                <a:gd name="T8" fmla="*/ 0 w 24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7">
                  <a:moveTo>
                    <a:pt x="0" y="26"/>
                  </a:moveTo>
                  <a:cubicBezTo>
                    <a:pt x="6" y="17"/>
                    <a:pt x="14" y="11"/>
                    <a:pt x="23" y="3"/>
                  </a:cubicBezTo>
                  <a:cubicBezTo>
                    <a:pt x="23" y="3"/>
                    <a:pt x="20" y="3"/>
                    <a:pt x="20" y="0"/>
                  </a:cubicBezTo>
                  <a:cubicBezTo>
                    <a:pt x="14" y="6"/>
                    <a:pt x="9" y="11"/>
                    <a:pt x="3" y="20"/>
                  </a:cubicBezTo>
                  <a:cubicBezTo>
                    <a:pt x="3" y="23"/>
                    <a:pt x="0" y="23"/>
                    <a:pt x="0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" name="Freeform 74"/>
            <p:cNvSpPr>
              <a:spLocks noChangeArrowheads="1"/>
            </p:cNvSpPr>
            <p:nvPr/>
          </p:nvSpPr>
          <p:spPr bwMode="auto">
            <a:xfrm>
              <a:off x="3613150" y="2593975"/>
              <a:ext cx="1588" cy="1588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3 h 4"/>
                <a:gd name="T4" fmla="*/ 2 w 3"/>
                <a:gd name="T5" fmla="*/ 3 h 4"/>
                <a:gd name="T6" fmla="*/ 2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" name="Freeform 75"/>
            <p:cNvSpPr>
              <a:spLocks noChangeArrowheads="1"/>
            </p:cNvSpPr>
            <p:nvPr/>
          </p:nvSpPr>
          <p:spPr bwMode="auto">
            <a:xfrm>
              <a:off x="3613150" y="2601913"/>
              <a:ext cx="3175" cy="3175"/>
            </a:xfrm>
            <a:custGeom>
              <a:avLst/>
              <a:gdLst>
                <a:gd name="T0" fmla="*/ 5 w 9"/>
                <a:gd name="T1" fmla="*/ 5 h 9"/>
                <a:gd name="T2" fmla="*/ 8 w 9"/>
                <a:gd name="T3" fmla="*/ 2 h 9"/>
                <a:gd name="T4" fmla="*/ 5 w 9"/>
                <a:gd name="T5" fmla="*/ 0 h 9"/>
                <a:gd name="T6" fmla="*/ 0 w 9"/>
                <a:gd name="T7" fmla="*/ 5 h 9"/>
                <a:gd name="T8" fmla="*/ 3 w 9"/>
                <a:gd name="T9" fmla="*/ 6 h 9"/>
                <a:gd name="T10" fmla="*/ 5 w 9"/>
                <a:gd name="T11" fmla="*/ 5 h 9"/>
                <a:gd name="T12" fmla="*/ 5 w 9"/>
                <a:gd name="T13" fmla="*/ 5 h 9"/>
                <a:gd name="T14" fmla="*/ 3 w 9"/>
                <a:gd name="T15" fmla="*/ 6 h 9"/>
                <a:gd name="T16" fmla="*/ 5 w 9"/>
                <a:gd name="T1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5" y="5"/>
                  </a:moveTo>
                  <a:lnTo>
                    <a:pt x="8" y="2"/>
                  </a:lnTo>
                  <a:lnTo>
                    <a:pt x="5" y="0"/>
                  </a:lnTo>
                  <a:lnTo>
                    <a:pt x="0" y="5"/>
                  </a:lnTo>
                  <a:cubicBezTo>
                    <a:pt x="0" y="8"/>
                    <a:pt x="0" y="8"/>
                    <a:pt x="3" y="6"/>
                  </a:cubicBezTo>
                  <a:cubicBezTo>
                    <a:pt x="3" y="6"/>
                    <a:pt x="4" y="5"/>
                    <a:pt x="5" y="5"/>
                  </a:cubicBezTo>
                  <a:close/>
                  <a:moveTo>
                    <a:pt x="5" y="5"/>
                  </a:moveTo>
                  <a:cubicBezTo>
                    <a:pt x="4" y="7"/>
                    <a:pt x="3" y="7"/>
                    <a:pt x="3" y="6"/>
                  </a:cubicBezTo>
                  <a:cubicBezTo>
                    <a:pt x="4" y="6"/>
                    <a:pt x="4" y="6"/>
                    <a:pt x="5" y="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" name="Freeform 76"/>
            <p:cNvSpPr>
              <a:spLocks noChangeArrowheads="1"/>
            </p:cNvSpPr>
            <p:nvPr/>
          </p:nvSpPr>
          <p:spPr bwMode="auto">
            <a:xfrm>
              <a:off x="4171950" y="3094038"/>
              <a:ext cx="3175" cy="1587"/>
            </a:xfrm>
            <a:custGeom>
              <a:avLst/>
              <a:gdLst>
                <a:gd name="T0" fmla="*/ 6 w 10"/>
                <a:gd name="T1" fmla="*/ 5 h 6"/>
                <a:gd name="T2" fmla="*/ 6 w 10"/>
                <a:gd name="T3" fmla="*/ 0 h 6"/>
                <a:gd name="T4" fmla="*/ 0 w 10"/>
                <a:gd name="T5" fmla="*/ 0 h 6"/>
                <a:gd name="T6" fmla="*/ 0 w 10"/>
                <a:gd name="T7" fmla="*/ 3 h 6"/>
                <a:gd name="T8" fmla="*/ 0 w 10"/>
                <a:gd name="T9" fmla="*/ 3 h 6"/>
                <a:gd name="T10" fmla="*/ 6 w 10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6">
                  <a:moveTo>
                    <a:pt x="6" y="5"/>
                  </a:moveTo>
                  <a:cubicBezTo>
                    <a:pt x="6" y="5"/>
                    <a:pt x="9" y="3"/>
                    <a:pt x="6" y="0"/>
                  </a:cubicBez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cubicBezTo>
                    <a:pt x="3" y="5"/>
                    <a:pt x="3" y="5"/>
                    <a:pt x="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" name="Freeform 77"/>
            <p:cNvSpPr>
              <a:spLocks noChangeArrowheads="1"/>
            </p:cNvSpPr>
            <p:nvPr/>
          </p:nvSpPr>
          <p:spPr bwMode="auto">
            <a:xfrm>
              <a:off x="4214813" y="3089275"/>
              <a:ext cx="4762" cy="3175"/>
            </a:xfrm>
            <a:custGeom>
              <a:avLst/>
              <a:gdLst>
                <a:gd name="T0" fmla="*/ 3 w 15"/>
                <a:gd name="T1" fmla="*/ 0 h 9"/>
                <a:gd name="T2" fmla="*/ 14 w 15"/>
                <a:gd name="T3" fmla="*/ 8 h 9"/>
                <a:gd name="T4" fmla="*/ 3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3" y="0"/>
                  </a:moveTo>
                  <a:cubicBezTo>
                    <a:pt x="0" y="8"/>
                    <a:pt x="5" y="8"/>
                    <a:pt x="14" y="8"/>
                  </a:cubicBezTo>
                  <a:cubicBezTo>
                    <a:pt x="14" y="0"/>
                    <a:pt x="8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" name="Freeform 78"/>
            <p:cNvSpPr>
              <a:spLocks noChangeArrowheads="1"/>
            </p:cNvSpPr>
            <p:nvPr/>
          </p:nvSpPr>
          <p:spPr bwMode="auto">
            <a:xfrm>
              <a:off x="4289425" y="3055938"/>
              <a:ext cx="7938" cy="7937"/>
            </a:xfrm>
            <a:custGeom>
              <a:avLst/>
              <a:gdLst>
                <a:gd name="T0" fmla="*/ 8 w 20"/>
                <a:gd name="T1" fmla="*/ 23 h 24"/>
                <a:gd name="T2" fmla="*/ 19 w 20"/>
                <a:gd name="T3" fmla="*/ 6 h 24"/>
                <a:gd name="T4" fmla="*/ 8 w 20"/>
                <a:gd name="T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8" y="23"/>
                  </a:moveTo>
                  <a:cubicBezTo>
                    <a:pt x="19" y="23"/>
                    <a:pt x="19" y="17"/>
                    <a:pt x="19" y="6"/>
                  </a:cubicBezTo>
                  <a:cubicBezTo>
                    <a:pt x="14" y="0"/>
                    <a:pt x="0" y="14"/>
                    <a:pt x="8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" name="Freeform 79"/>
            <p:cNvSpPr>
              <a:spLocks noChangeArrowheads="1"/>
            </p:cNvSpPr>
            <p:nvPr/>
          </p:nvSpPr>
          <p:spPr bwMode="auto">
            <a:xfrm>
              <a:off x="4262438" y="3073400"/>
              <a:ext cx="4762" cy="6350"/>
            </a:xfrm>
            <a:custGeom>
              <a:avLst/>
              <a:gdLst>
                <a:gd name="T0" fmla="*/ 14 w 15"/>
                <a:gd name="T1" fmla="*/ 3 h 18"/>
                <a:gd name="T2" fmla="*/ 14 w 15"/>
                <a:gd name="T3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14" y="3"/>
                  </a:moveTo>
                  <a:cubicBezTo>
                    <a:pt x="0" y="0"/>
                    <a:pt x="11" y="17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" name="Freeform 80"/>
            <p:cNvSpPr>
              <a:spLocks noChangeArrowheads="1"/>
            </p:cNvSpPr>
            <p:nvPr/>
          </p:nvSpPr>
          <p:spPr bwMode="auto">
            <a:xfrm>
              <a:off x="4149725" y="3090863"/>
              <a:ext cx="3175" cy="3175"/>
            </a:xfrm>
            <a:custGeom>
              <a:avLst/>
              <a:gdLst>
                <a:gd name="T0" fmla="*/ 0 w 7"/>
                <a:gd name="T1" fmla="*/ 0 h 10"/>
                <a:gd name="T2" fmla="*/ 0 w 7"/>
                <a:gd name="T3" fmla="*/ 0 h 10"/>
                <a:gd name="T4" fmla="*/ 3 w 7"/>
                <a:gd name="T5" fmla="*/ 9 h 10"/>
                <a:gd name="T6" fmla="*/ 6 w 7"/>
                <a:gd name="T7" fmla="*/ 3 h 10"/>
                <a:gd name="T8" fmla="*/ 0 w 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0" y="0"/>
                  </a:moveTo>
                  <a:lnTo>
                    <a:pt x="0" y="0"/>
                  </a:lnTo>
                  <a:cubicBezTo>
                    <a:pt x="0" y="6"/>
                    <a:pt x="3" y="9"/>
                    <a:pt x="3" y="9"/>
                  </a:cubicBezTo>
                  <a:cubicBezTo>
                    <a:pt x="3" y="6"/>
                    <a:pt x="6" y="6"/>
                    <a:pt x="6" y="3"/>
                  </a:cubicBez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" name="Freeform 81"/>
            <p:cNvSpPr>
              <a:spLocks noChangeArrowheads="1"/>
            </p:cNvSpPr>
            <p:nvPr/>
          </p:nvSpPr>
          <p:spPr bwMode="auto">
            <a:xfrm>
              <a:off x="3614738" y="2587625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" name="Freeform 82"/>
            <p:cNvSpPr>
              <a:spLocks noChangeArrowheads="1"/>
            </p:cNvSpPr>
            <p:nvPr/>
          </p:nvSpPr>
          <p:spPr bwMode="auto">
            <a:xfrm>
              <a:off x="3629025" y="2708275"/>
              <a:ext cx="1588" cy="1588"/>
            </a:xfrm>
            <a:custGeom>
              <a:avLst/>
              <a:gdLst>
                <a:gd name="T0" fmla="*/ 5 w 6"/>
                <a:gd name="T1" fmla="*/ 3 h 4"/>
                <a:gd name="T2" fmla="*/ 3 w 6"/>
                <a:gd name="T3" fmla="*/ 0 h 4"/>
                <a:gd name="T4" fmla="*/ 0 w 6"/>
                <a:gd name="T5" fmla="*/ 3 h 4"/>
                <a:gd name="T6" fmla="*/ 5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5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" name="Freeform 83"/>
            <p:cNvSpPr>
              <a:spLocks noChangeArrowheads="1"/>
            </p:cNvSpPr>
            <p:nvPr/>
          </p:nvSpPr>
          <p:spPr bwMode="auto">
            <a:xfrm>
              <a:off x="3609975" y="2484438"/>
              <a:ext cx="7938" cy="7937"/>
            </a:xfrm>
            <a:custGeom>
              <a:avLst/>
              <a:gdLst>
                <a:gd name="T0" fmla="*/ 0 w 24"/>
                <a:gd name="T1" fmla="*/ 0 h 24"/>
                <a:gd name="T2" fmla="*/ 20 w 24"/>
                <a:gd name="T3" fmla="*/ 23 h 24"/>
                <a:gd name="T4" fmla="*/ 23 w 24"/>
                <a:gd name="T5" fmla="*/ 23 h 24"/>
                <a:gd name="T6" fmla="*/ 0 w 2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4">
                  <a:moveTo>
                    <a:pt x="0" y="0"/>
                  </a:moveTo>
                  <a:cubicBezTo>
                    <a:pt x="6" y="9"/>
                    <a:pt x="11" y="17"/>
                    <a:pt x="20" y="23"/>
                  </a:cubicBezTo>
                  <a:lnTo>
                    <a:pt x="23" y="23"/>
                  </a:lnTo>
                  <a:cubicBezTo>
                    <a:pt x="11" y="14"/>
                    <a:pt x="6" y="9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" name="Freeform 84"/>
            <p:cNvSpPr>
              <a:spLocks noChangeArrowheads="1"/>
            </p:cNvSpPr>
            <p:nvPr/>
          </p:nvSpPr>
          <p:spPr bwMode="auto">
            <a:xfrm>
              <a:off x="4200525" y="3089275"/>
              <a:ext cx="3175" cy="3175"/>
            </a:xfrm>
            <a:custGeom>
              <a:avLst/>
              <a:gdLst>
                <a:gd name="T0" fmla="*/ 6 w 10"/>
                <a:gd name="T1" fmla="*/ 6 h 7"/>
                <a:gd name="T2" fmla="*/ 9 w 10"/>
                <a:gd name="T3" fmla="*/ 3 h 7"/>
                <a:gd name="T4" fmla="*/ 0 w 10"/>
                <a:gd name="T5" fmla="*/ 0 h 7"/>
                <a:gd name="T6" fmla="*/ 6 w 10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6" y="6"/>
                  </a:moveTo>
                  <a:lnTo>
                    <a:pt x="9" y="3"/>
                  </a:lnTo>
                  <a:cubicBezTo>
                    <a:pt x="6" y="3"/>
                    <a:pt x="3" y="3"/>
                    <a:pt x="0" y="0"/>
                  </a:cubicBezTo>
                  <a:lnTo>
                    <a:pt x="6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" name="Freeform 85"/>
            <p:cNvSpPr>
              <a:spLocks noChangeArrowheads="1"/>
            </p:cNvSpPr>
            <p:nvPr/>
          </p:nvSpPr>
          <p:spPr bwMode="auto">
            <a:xfrm>
              <a:off x="3703638" y="2881313"/>
              <a:ext cx="3175" cy="3175"/>
            </a:xfrm>
            <a:custGeom>
              <a:avLst/>
              <a:gdLst>
                <a:gd name="T0" fmla="*/ 5 w 9"/>
                <a:gd name="T1" fmla="*/ 9 h 10"/>
                <a:gd name="T2" fmla="*/ 8 w 9"/>
                <a:gd name="T3" fmla="*/ 0 h 10"/>
                <a:gd name="T4" fmla="*/ 2 w 9"/>
                <a:gd name="T5" fmla="*/ 0 h 10"/>
                <a:gd name="T6" fmla="*/ 5 w 9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5" y="9"/>
                  </a:moveTo>
                  <a:cubicBezTo>
                    <a:pt x="5" y="6"/>
                    <a:pt x="5" y="3"/>
                    <a:pt x="8" y="0"/>
                  </a:cubicBezTo>
                  <a:lnTo>
                    <a:pt x="2" y="0"/>
                  </a:lnTo>
                  <a:cubicBezTo>
                    <a:pt x="0" y="3"/>
                    <a:pt x="0" y="6"/>
                    <a:pt x="5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" name="Freeform 86"/>
            <p:cNvSpPr>
              <a:spLocks noChangeArrowheads="1"/>
            </p:cNvSpPr>
            <p:nvPr/>
          </p:nvSpPr>
          <p:spPr bwMode="auto">
            <a:xfrm>
              <a:off x="3665538" y="2828925"/>
              <a:ext cx="3175" cy="1588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5 h 6"/>
                <a:gd name="T4" fmla="*/ 6 w 7"/>
                <a:gd name="T5" fmla="*/ 0 h 6"/>
                <a:gd name="T6" fmla="*/ 0 w 7"/>
                <a:gd name="T7" fmla="*/ 0 h 6"/>
                <a:gd name="T8" fmla="*/ 0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lnTo>
                    <a:pt x="6" y="5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" name="Freeform 87"/>
            <p:cNvSpPr>
              <a:spLocks noChangeArrowheads="1"/>
            </p:cNvSpPr>
            <p:nvPr/>
          </p:nvSpPr>
          <p:spPr bwMode="auto">
            <a:xfrm>
              <a:off x="3625850" y="2732088"/>
              <a:ext cx="6350" cy="1587"/>
            </a:xfrm>
            <a:custGeom>
              <a:avLst/>
              <a:gdLst>
                <a:gd name="T0" fmla="*/ 3 w 18"/>
                <a:gd name="T1" fmla="*/ 3 h 6"/>
                <a:gd name="T2" fmla="*/ 12 w 18"/>
                <a:gd name="T3" fmla="*/ 5 h 6"/>
                <a:gd name="T4" fmla="*/ 3 w 18"/>
                <a:gd name="T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6">
                  <a:moveTo>
                    <a:pt x="3" y="3"/>
                  </a:moveTo>
                  <a:lnTo>
                    <a:pt x="12" y="5"/>
                  </a:lnTo>
                  <a:cubicBezTo>
                    <a:pt x="17" y="0"/>
                    <a:pt x="0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" name="Freeform 88"/>
            <p:cNvSpPr>
              <a:spLocks noChangeArrowheads="1"/>
            </p:cNvSpPr>
            <p:nvPr/>
          </p:nvSpPr>
          <p:spPr bwMode="auto">
            <a:xfrm>
              <a:off x="3890963" y="3028950"/>
              <a:ext cx="3175" cy="4763"/>
            </a:xfrm>
            <a:custGeom>
              <a:avLst/>
              <a:gdLst>
                <a:gd name="T0" fmla="*/ 8 w 9"/>
                <a:gd name="T1" fmla="*/ 9 h 13"/>
                <a:gd name="T2" fmla="*/ 8 w 9"/>
                <a:gd name="T3" fmla="*/ 0 h 13"/>
                <a:gd name="T4" fmla="*/ 0 w 9"/>
                <a:gd name="T5" fmla="*/ 3 h 13"/>
                <a:gd name="T6" fmla="*/ 0 w 9"/>
                <a:gd name="T7" fmla="*/ 12 h 13"/>
                <a:gd name="T8" fmla="*/ 8 w 9"/>
                <a:gd name="T9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3">
                  <a:moveTo>
                    <a:pt x="8" y="9"/>
                  </a:moveTo>
                  <a:cubicBezTo>
                    <a:pt x="8" y="6"/>
                    <a:pt x="8" y="3"/>
                    <a:pt x="8" y="0"/>
                  </a:cubicBezTo>
                  <a:cubicBezTo>
                    <a:pt x="5" y="3"/>
                    <a:pt x="3" y="3"/>
                    <a:pt x="0" y="3"/>
                  </a:cubicBezTo>
                  <a:cubicBezTo>
                    <a:pt x="0" y="6"/>
                    <a:pt x="0" y="9"/>
                    <a:pt x="0" y="12"/>
                  </a:cubicBezTo>
                  <a:cubicBezTo>
                    <a:pt x="3" y="12"/>
                    <a:pt x="5" y="9"/>
                    <a:pt x="8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" name="Freeform 89"/>
            <p:cNvSpPr>
              <a:spLocks noChangeArrowheads="1"/>
            </p:cNvSpPr>
            <p:nvPr/>
          </p:nvSpPr>
          <p:spPr bwMode="auto">
            <a:xfrm>
              <a:off x="3756025" y="2936875"/>
              <a:ext cx="3175" cy="1588"/>
            </a:xfrm>
            <a:custGeom>
              <a:avLst/>
              <a:gdLst>
                <a:gd name="T0" fmla="*/ 6 w 7"/>
                <a:gd name="T1" fmla="*/ 0 h 3"/>
                <a:gd name="T2" fmla="*/ 6 w 7"/>
                <a:gd name="T3" fmla="*/ 0 h 3"/>
                <a:gd name="T4" fmla="*/ 0 w 7"/>
                <a:gd name="T5" fmla="*/ 0 h 3"/>
                <a:gd name="T6" fmla="*/ 6 w 7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6" y="0"/>
                  </a:moveTo>
                  <a:lnTo>
                    <a:pt x="6" y="0"/>
                  </a:lnTo>
                  <a:cubicBezTo>
                    <a:pt x="3" y="0"/>
                    <a:pt x="3" y="0"/>
                    <a:pt x="0" y="0"/>
                  </a:cubicBezTo>
                  <a:cubicBezTo>
                    <a:pt x="0" y="2"/>
                    <a:pt x="3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" name="Freeform 90"/>
            <p:cNvSpPr>
              <a:spLocks noChangeArrowheads="1"/>
            </p:cNvSpPr>
            <p:nvPr/>
          </p:nvSpPr>
          <p:spPr bwMode="auto">
            <a:xfrm>
              <a:off x="3609975" y="2565400"/>
              <a:ext cx="3175" cy="4763"/>
            </a:xfrm>
            <a:custGeom>
              <a:avLst/>
              <a:gdLst>
                <a:gd name="T0" fmla="*/ 9 w 10"/>
                <a:gd name="T1" fmla="*/ 11 h 15"/>
                <a:gd name="T2" fmla="*/ 3 w 10"/>
                <a:gd name="T3" fmla="*/ 0 h 15"/>
                <a:gd name="T4" fmla="*/ 9 w 10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9" y="11"/>
                  </a:moveTo>
                  <a:cubicBezTo>
                    <a:pt x="9" y="6"/>
                    <a:pt x="9" y="0"/>
                    <a:pt x="3" y="0"/>
                  </a:cubicBezTo>
                  <a:cubicBezTo>
                    <a:pt x="0" y="6"/>
                    <a:pt x="0" y="14"/>
                    <a:pt x="9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" name="Freeform 91"/>
            <p:cNvSpPr>
              <a:spLocks noChangeArrowheads="1"/>
            </p:cNvSpPr>
            <p:nvPr/>
          </p:nvSpPr>
          <p:spPr bwMode="auto">
            <a:xfrm>
              <a:off x="3854450" y="3016250"/>
              <a:ext cx="9525" cy="11113"/>
            </a:xfrm>
            <a:custGeom>
              <a:avLst/>
              <a:gdLst>
                <a:gd name="T0" fmla="*/ 6 w 27"/>
                <a:gd name="T1" fmla="*/ 0 h 30"/>
                <a:gd name="T2" fmla="*/ 6 w 27"/>
                <a:gd name="T3" fmla="*/ 29 h 30"/>
                <a:gd name="T4" fmla="*/ 26 w 27"/>
                <a:gd name="T5" fmla="*/ 23 h 30"/>
                <a:gd name="T6" fmla="*/ 6 w 27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30">
                  <a:moveTo>
                    <a:pt x="6" y="0"/>
                  </a:moveTo>
                  <a:cubicBezTo>
                    <a:pt x="0" y="6"/>
                    <a:pt x="9" y="14"/>
                    <a:pt x="6" y="29"/>
                  </a:cubicBezTo>
                  <a:cubicBezTo>
                    <a:pt x="11" y="29"/>
                    <a:pt x="20" y="26"/>
                    <a:pt x="26" y="23"/>
                  </a:cubicBezTo>
                  <a:cubicBezTo>
                    <a:pt x="26" y="6"/>
                    <a:pt x="17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" name="Freeform 92"/>
            <p:cNvSpPr>
              <a:spLocks noChangeArrowheads="1"/>
            </p:cNvSpPr>
            <p:nvPr/>
          </p:nvSpPr>
          <p:spPr bwMode="auto">
            <a:xfrm>
              <a:off x="3722688" y="2898775"/>
              <a:ext cx="4762" cy="3175"/>
            </a:xfrm>
            <a:custGeom>
              <a:avLst/>
              <a:gdLst>
                <a:gd name="T0" fmla="*/ 11 w 12"/>
                <a:gd name="T1" fmla="*/ 0 h 7"/>
                <a:gd name="T2" fmla="*/ 0 w 12"/>
                <a:gd name="T3" fmla="*/ 0 h 7"/>
                <a:gd name="T4" fmla="*/ 0 w 12"/>
                <a:gd name="T5" fmla="*/ 3 h 7"/>
                <a:gd name="T6" fmla="*/ 11 w 12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9" y="0"/>
                    <a:pt x="3" y="0"/>
                    <a:pt x="0" y="0"/>
                  </a:cubicBezTo>
                  <a:lnTo>
                    <a:pt x="0" y="3"/>
                  </a:lnTo>
                  <a:cubicBezTo>
                    <a:pt x="3" y="6"/>
                    <a:pt x="6" y="3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" name="Freeform 93"/>
            <p:cNvSpPr>
              <a:spLocks noChangeArrowheads="1"/>
            </p:cNvSpPr>
            <p:nvPr/>
          </p:nvSpPr>
          <p:spPr bwMode="auto">
            <a:xfrm>
              <a:off x="3910013" y="3063875"/>
              <a:ext cx="4762" cy="4763"/>
            </a:xfrm>
            <a:custGeom>
              <a:avLst/>
              <a:gdLst>
                <a:gd name="T0" fmla="*/ 14 w 15"/>
                <a:gd name="T1" fmla="*/ 6 h 15"/>
                <a:gd name="T2" fmla="*/ 0 w 15"/>
                <a:gd name="T3" fmla="*/ 6 h 15"/>
                <a:gd name="T4" fmla="*/ 14 w 15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6"/>
                  </a:moveTo>
                  <a:cubicBezTo>
                    <a:pt x="11" y="6"/>
                    <a:pt x="0" y="0"/>
                    <a:pt x="0" y="6"/>
                  </a:cubicBezTo>
                  <a:cubicBezTo>
                    <a:pt x="2" y="9"/>
                    <a:pt x="11" y="14"/>
                    <a:pt x="14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" name="Freeform 94"/>
            <p:cNvSpPr>
              <a:spLocks noChangeArrowheads="1"/>
            </p:cNvSpPr>
            <p:nvPr/>
          </p:nvSpPr>
          <p:spPr bwMode="auto">
            <a:xfrm>
              <a:off x="3729038" y="2909888"/>
              <a:ext cx="11112" cy="14287"/>
            </a:xfrm>
            <a:custGeom>
              <a:avLst/>
              <a:gdLst>
                <a:gd name="T0" fmla="*/ 23 w 32"/>
                <a:gd name="T1" fmla="*/ 34 h 38"/>
                <a:gd name="T2" fmla="*/ 31 w 32"/>
                <a:gd name="T3" fmla="*/ 26 h 38"/>
                <a:gd name="T4" fmla="*/ 20 w 32"/>
                <a:gd name="T5" fmla="*/ 14 h 38"/>
                <a:gd name="T6" fmla="*/ 3 w 32"/>
                <a:gd name="T7" fmla="*/ 6 h 38"/>
                <a:gd name="T8" fmla="*/ 9 w 32"/>
                <a:gd name="T9" fmla="*/ 14 h 38"/>
                <a:gd name="T10" fmla="*/ 0 w 32"/>
                <a:gd name="T11" fmla="*/ 29 h 38"/>
                <a:gd name="T12" fmla="*/ 23 w 32"/>
                <a:gd name="T13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8">
                  <a:moveTo>
                    <a:pt x="23" y="34"/>
                  </a:moveTo>
                  <a:cubicBezTo>
                    <a:pt x="23" y="29"/>
                    <a:pt x="23" y="23"/>
                    <a:pt x="31" y="26"/>
                  </a:cubicBezTo>
                  <a:cubicBezTo>
                    <a:pt x="31" y="17"/>
                    <a:pt x="23" y="17"/>
                    <a:pt x="20" y="14"/>
                  </a:cubicBezTo>
                  <a:cubicBezTo>
                    <a:pt x="17" y="9"/>
                    <a:pt x="11" y="0"/>
                    <a:pt x="3" y="6"/>
                  </a:cubicBezTo>
                  <a:cubicBezTo>
                    <a:pt x="0" y="14"/>
                    <a:pt x="11" y="9"/>
                    <a:pt x="9" y="14"/>
                  </a:cubicBezTo>
                  <a:cubicBezTo>
                    <a:pt x="11" y="23"/>
                    <a:pt x="0" y="20"/>
                    <a:pt x="0" y="29"/>
                  </a:cubicBezTo>
                  <a:cubicBezTo>
                    <a:pt x="6" y="31"/>
                    <a:pt x="14" y="37"/>
                    <a:pt x="23" y="3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" name="Freeform 95"/>
            <p:cNvSpPr>
              <a:spLocks noChangeArrowheads="1"/>
            </p:cNvSpPr>
            <p:nvPr/>
          </p:nvSpPr>
          <p:spPr bwMode="auto">
            <a:xfrm>
              <a:off x="3813175" y="3008313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6 h 7"/>
                <a:gd name="T4" fmla="*/ 9 w 10"/>
                <a:gd name="T5" fmla="*/ 0 h 7"/>
                <a:gd name="T6" fmla="*/ 0 w 10"/>
                <a:gd name="T7" fmla="*/ 0 h 7"/>
                <a:gd name="T8" fmla="*/ 0 w 10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lnTo>
                    <a:pt x="9" y="6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" name="Freeform 96"/>
            <p:cNvSpPr>
              <a:spLocks noChangeArrowheads="1"/>
            </p:cNvSpPr>
            <p:nvPr/>
          </p:nvSpPr>
          <p:spPr bwMode="auto">
            <a:xfrm>
              <a:off x="3937000" y="3048000"/>
              <a:ext cx="1588" cy="3175"/>
            </a:xfrm>
            <a:custGeom>
              <a:avLst/>
              <a:gdLst>
                <a:gd name="T0" fmla="*/ 5 w 6"/>
                <a:gd name="T1" fmla="*/ 0 h 9"/>
                <a:gd name="T2" fmla="*/ 0 w 6"/>
                <a:gd name="T3" fmla="*/ 5 h 9"/>
                <a:gd name="T4" fmla="*/ 0 w 6"/>
                <a:gd name="T5" fmla="*/ 8 h 9"/>
                <a:gd name="T6" fmla="*/ 5 w 6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9">
                  <a:moveTo>
                    <a:pt x="5" y="0"/>
                  </a:moveTo>
                  <a:cubicBezTo>
                    <a:pt x="2" y="3"/>
                    <a:pt x="2" y="3"/>
                    <a:pt x="0" y="5"/>
                  </a:cubicBezTo>
                  <a:lnTo>
                    <a:pt x="0" y="8"/>
                  </a:lnTo>
                  <a:cubicBezTo>
                    <a:pt x="2" y="5"/>
                    <a:pt x="2" y="5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" name="Freeform 97"/>
            <p:cNvSpPr>
              <a:spLocks noChangeArrowheads="1"/>
            </p:cNvSpPr>
            <p:nvPr/>
          </p:nvSpPr>
          <p:spPr bwMode="auto">
            <a:xfrm>
              <a:off x="3937000" y="3051175"/>
              <a:ext cx="4763" cy="7938"/>
            </a:xfrm>
            <a:custGeom>
              <a:avLst/>
              <a:gdLst>
                <a:gd name="T0" fmla="*/ 14 w 15"/>
                <a:gd name="T1" fmla="*/ 23 h 24"/>
                <a:gd name="T2" fmla="*/ 8 w 15"/>
                <a:gd name="T3" fmla="*/ 3 h 24"/>
                <a:gd name="T4" fmla="*/ 8 w 15"/>
                <a:gd name="T5" fmla="*/ 0 h 24"/>
                <a:gd name="T6" fmla="*/ 0 w 15"/>
                <a:gd name="T7" fmla="*/ 0 h 24"/>
                <a:gd name="T8" fmla="*/ 2 w 15"/>
                <a:gd name="T9" fmla="*/ 12 h 24"/>
                <a:gd name="T10" fmla="*/ 5 w 15"/>
                <a:gd name="T11" fmla="*/ 23 h 24"/>
                <a:gd name="T12" fmla="*/ 14 w 15"/>
                <a:gd name="T13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4">
                  <a:moveTo>
                    <a:pt x="14" y="23"/>
                  </a:moveTo>
                  <a:cubicBezTo>
                    <a:pt x="11" y="17"/>
                    <a:pt x="8" y="9"/>
                    <a:pt x="8" y="3"/>
                  </a:cubicBezTo>
                  <a:lnTo>
                    <a:pt x="8" y="0"/>
                  </a:lnTo>
                  <a:cubicBezTo>
                    <a:pt x="5" y="0"/>
                    <a:pt x="2" y="0"/>
                    <a:pt x="0" y="0"/>
                  </a:cubicBezTo>
                  <a:cubicBezTo>
                    <a:pt x="0" y="3"/>
                    <a:pt x="2" y="9"/>
                    <a:pt x="2" y="12"/>
                  </a:cubicBezTo>
                  <a:cubicBezTo>
                    <a:pt x="2" y="14"/>
                    <a:pt x="5" y="20"/>
                    <a:pt x="5" y="23"/>
                  </a:cubicBezTo>
                  <a:cubicBezTo>
                    <a:pt x="8" y="23"/>
                    <a:pt x="11" y="23"/>
                    <a:pt x="14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" name="Freeform 98"/>
            <p:cNvSpPr>
              <a:spLocks noChangeArrowheads="1"/>
            </p:cNvSpPr>
            <p:nvPr/>
          </p:nvSpPr>
          <p:spPr bwMode="auto">
            <a:xfrm>
              <a:off x="3863975" y="3027363"/>
              <a:ext cx="1588" cy="1587"/>
            </a:xfrm>
            <a:custGeom>
              <a:avLst/>
              <a:gdLst>
                <a:gd name="T0" fmla="*/ 3 w 4"/>
                <a:gd name="T1" fmla="*/ 3 h 4"/>
                <a:gd name="T2" fmla="*/ 0 w 4"/>
                <a:gd name="T3" fmla="*/ 0 h 4"/>
                <a:gd name="T4" fmla="*/ 3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3" y="3"/>
                    <a:pt x="0" y="3"/>
                    <a:pt x="0" y="0"/>
                  </a:cubicBezTo>
                  <a:cubicBezTo>
                    <a:pt x="0" y="0"/>
                    <a:pt x="3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" name="Freeform 99"/>
            <p:cNvSpPr>
              <a:spLocks noChangeArrowheads="1"/>
            </p:cNvSpPr>
            <p:nvPr/>
          </p:nvSpPr>
          <p:spPr bwMode="auto">
            <a:xfrm>
              <a:off x="3609975" y="2649538"/>
              <a:ext cx="1588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0 h 7"/>
                <a:gd name="T4" fmla="*/ 3 w 4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6"/>
                    <a:pt x="3" y="3"/>
                    <a:pt x="3" y="0"/>
                  </a:cubicBezTo>
                  <a:cubicBezTo>
                    <a:pt x="3" y="3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" name="Freeform 100"/>
            <p:cNvSpPr>
              <a:spLocks noChangeArrowheads="1"/>
            </p:cNvSpPr>
            <p:nvPr/>
          </p:nvSpPr>
          <p:spPr bwMode="auto">
            <a:xfrm>
              <a:off x="3890963" y="3033713"/>
              <a:ext cx="3175" cy="4762"/>
            </a:xfrm>
            <a:custGeom>
              <a:avLst/>
              <a:gdLst>
                <a:gd name="T0" fmla="*/ 0 w 9"/>
                <a:gd name="T1" fmla="*/ 5 h 12"/>
                <a:gd name="T2" fmla="*/ 0 w 9"/>
                <a:gd name="T3" fmla="*/ 11 h 12"/>
                <a:gd name="T4" fmla="*/ 8 w 9"/>
                <a:gd name="T5" fmla="*/ 8 h 12"/>
                <a:gd name="T6" fmla="*/ 5 w 9"/>
                <a:gd name="T7" fmla="*/ 0 h 12"/>
                <a:gd name="T8" fmla="*/ 0 w 9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5"/>
                  </a:moveTo>
                  <a:cubicBezTo>
                    <a:pt x="0" y="8"/>
                    <a:pt x="0" y="11"/>
                    <a:pt x="0" y="11"/>
                  </a:cubicBezTo>
                  <a:cubicBezTo>
                    <a:pt x="3" y="11"/>
                    <a:pt x="5" y="8"/>
                    <a:pt x="8" y="8"/>
                  </a:cubicBezTo>
                  <a:cubicBezTo>
                    <a:pt x="8" y="5"/>
                    <a:pt x="8" y="2"/>
                    <a:pt x="5" y="0"/>
                  </a:cubicBezTo>
                  <a:cubicBezTo>
                    <a:pt x="5" y="2"/>
                    <a:pt x="3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" name="Freeform 101"/>
            <p:cNvSpPr>
              <a:spLocks noChangeArrowheads="1"/>
            </p:cNvSpPr>
            <p:nvPr/>
          </p:nvSpPr>
          <p:spPr bwMode="auto">
            <a:xfrm>
              <a:off x="3867150" y="3016250"/>
              <a:ext cx="6350" cy="7938"/>
            </a:xfrm>
            <a:custGeom>
              <a:avLst/>
              <a:gdLst>
                <a:gd name="T0" fmla="*/ 3 w 18"/>
                <a:gd name="T1" fmla="*/ 16 h 20"/>
                <a:gd name="T2" fmla="*/ 17 w 18"/>
                <a:gd name="T3" fmla="*/ 8 h 20"/>
                <a:gd name="T4" fmla="*/ 3 w 18"/>
                <a:gd name="T5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0">
                  <a:moveTo>
                    <a:pt x="3" y="16"/>
                  </a:moveTo>
                  <a:cubicBezTo>
                    <a:pt x="8" y="19"/>
                    <a:pt x="14" y="16"/>
                    <a:pt x="17" y="8"/>
                  </a:cubicBezTo>
                  <a:cubicBezTo>
                    <a:pt x="8" y="5"/>
                    <a:pt x="0" y="0"/>
                    <a:pt x="3" y="1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" name="Freeform 102"/>
            <p:cNvSpPr>
              <a:spLocks noChangeArrowheads="1"/>
            </p:cNvSpPr>
            <p:nvPr/>
          </p:nvSpPr>
          <p:spPr bwMode="auto">
            <a:xfrm>
              <a:off x="3609975" y="2665413"/>
              <a:ext cx="3175" cy="6350"/>
            </a:xfrm>
            <a:custGeom>
              <a:avLst/>
              <a:gdLst>
                <a:gd name="T0" fmla="*/ 9 w 10"/>
                <a:gd name="T1" fmla="*/ 3 h 18"/>
                <a:gd name="T2" fmla="*/ 0 w 10"/>
                <a:gd name="T3" fmla="*/ 14 h 18"/>
                <a:gd name="T4" fmla="*/ 9 w 10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9" y="3"/>
                  </a:moveTo>
                  <a:cubicBezTo>
                    <a:pt x="0" y="0"/>
                    <a:pt x="0" y="6"/>
                    <a:pt x="0" y="14"/>
                  </a:cubicBezTo>
                  <a:cubicBezTo>
                    <a:pt x="9" y="17"/>
                    <a:pt x="9" y="12"/>
                    <a:pt x="9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" name="Freeform 103"/>
            <p:cNvSpPr>
              <a:spLocks noChangeArrowheads="1"/>
            </p:cNvSpPr>
            <p:nvPr/>
          </p:nvSpPr>
          <p:spPr bwMode="auto">
            <a:xfrm>
              <a:off x="3611563" y="2689225"/>
              <a:ext cx="1587" cy="3175"/>
            </a:xfrm>
            <a:custGeom>
              <a:avLst/>
              <a:gdLst>
                <a:gd name="T0" fmla="*/ 5 w 6"/>
                <a:gd name="T1" fmla="*/ 6 h 7"/>
                <a:gd name="T2" fmla="*/ 3 w 6"/>
                <a:gd name="T3" fmla="*/ 0 h 7"/>
                <a:gd name="T4" fmla="*/ 5 w 6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5" y="6"/>
                  </a:moveTo>
                  <a:cubicBezTo>
                    <a:pt x="5" y="3"/>
                    <a:pt x="3" y="3"/>
                    <a:pt x="3" y="0"/>
                  </a:cubicBezTo>
                  <a:cubicBezTo>
                    <a:pt x="0" y="3"/>
                    <a:pt x="3" y="6"/>
                    <a:pt x="5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" name="Freeform 104"/>
            <p:cNvSpPr>
              <a:spLocks noChangeArrowheads="1"/>
            </p:cNvSpPr>
            <p:nvPr/>
          </p:nvSpPr>
          <p:spPr bwMode="auto">
            <a:xfrm>
              <a:off x="3884613" y="3041650"/>
              <a:ext cx="12700" cy="17463"/>
            </a:xfrm>
            <a:custGeom>
              <a:avLst/>
              <a:gdLst>
                <a:gd name="T0" fmla="*/ 0 w 35"/>
                <a:gd name="T1" fmla="*/ 3 h 49"/>
                <a:gd name="T2" fmla="*/ 34 w 35"/>
                <a:gd name="T3" fmla="*/ 48 h 49"/>
                <a:gd name="T4" fmla="*/ 5 w 35"/>
                <a:gd name="T5" fmla="*/ 3 h 49"/>
                <a:gd name="T6" fmla="*/ 0 w 35"/>
                <a:gd name="T7" fmla="*/ 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49">
                  <a:moveTo>
                    <a:pt x="0" y="3"/>
                  </a:moveTo>
                  <a:cubicBezTo>
                    <a:pt x="5" y="20"/>
                    <a:pt x="17" y="37"/>
                    <a:pt x="34" y="48"/>
                  </a:cubicBezTo>
                  <a:cubicBezTo>
                    <a:pt x="20" y="37"/>
                    <a:pt x="11" y="20"/>
                    <a:pt x="5" y="3"/>
                  </a:cubicBezTo>
                  <a:cubicBezTo>
                    <a:pt x="3" y="0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" name="Freeform 105"/>
            <p:cNvSpPr>
              <a:spLocks noChangeArrowheads="1"/>
            </p:cNvSpPr>
            <p:nvPr/>
          </p:nvSpPr>
          <p:spPr bwMode="auto">
            <a:xfrm>
              <a:off x="3608388" y="2654300"/>
              <a:ext cx="3175" cy="3175"/>
            </a:xfrm>
            <a:custGeom>
              <a:avLst/>
              <a:gdLst>
                <a:gd name="T0" fmla="*/ 6 w 7"/>
                <a:gd name="T1" fmla="*/ 9 h 10"/>
                <a:gd name="T2" fmla="*/ 6 w 7"/>
                <a:gd name="T3" fmla="*/ 3 h 10"/>
                <a:gd name="T4" fmla="*/ 0 w 7"/>
                <a:gd name="T5" fmla="*/ 0 h 10"/>
                <a:gd name="T6" fmla="*/ 6 w 7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9"/>
                  </a:moveTo>
                  <a:cubicBezTo>
                    <a:pt x="6" y="6"/>
                    <a:pt x="6" y="6"/>
                    <a:pt x="6" y="3"/>
                  </a:cubicBezTo>
                  <a:cubicBezTo>
                    <a:pt x="3" y="3"/>
                    <a:pt x="3" y="0"/>
                    <a:pt x="0" y="0"/>
                  </a:cubicBezTo>
                  <a:cubicBezTo>
                    <a:pt x="3" y="6"/>
                    <a:pt x="3" y="9"/>
                    <a:pt x="6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" name="Freeform 106"/>
            <p:cNvSpPr>
              <a:spLocks noChangeArrowheads="1"/>
            </p:cNvSpPr>
            <p:nvPr/>
          </p:nvSpPr>
          <p:spPr bwMode="auto">
            <a:xfrm>
              <a:off x="3875088" y="3025775"/>
              <a:ext cx="4762" cy="7938"/>
            </a:xfrm>
            <a:custGeom>
              <a:avLst/>
              <a:gdLst>
                <a:gd name="T0" fmla="*/ 0 w 12"/>
                <a:gd name="T1" fmla="*/ 8 h 21"/>
                <a:gd name="T2" fmla="*/ 11 w 12"/>
                <a:gd name="T3" fmla="*/ 17 h 21"/>
                <a:gd name="T4" fmla="*/ 8 w 12"/>
                <a:gd name="T5" fmla="*/ 3 h 21"/>
                <a:gd name="T6" fmla="*/ 0 w 12"/>
                <a:gd name="T7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1">
                  <a:moveTo>
                    <a:pt x="0" y="8"/>
                  </a:moveTo>
                  <a:cubicBezTo>
                    <a:pt x="5" y="8"/>
                    <a:pt x="2" y="20"/>
                    <a:pt x="11" y="17"/>
                  </a:cubicBezTo>
                  <a:cubicBezTo>
                    <a:pt x="11" y="11"/>
                    <a:pt x="11" y="8"/>
                    <a:pt x="8" y="3"/>
                  </a:cubicBezTo>
                  <a:cubicBezTo>
                    <a:pt x="2" y="0"/>
                    <a:pt x="0" y="3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" name="Freeform 107"/>
            <p:cNvSpPr>
              <a:spLocks noChangeArrowheads="1"/>
            </p:cNvSpPr>
            <p:nvPr/>
          </p:nvSpPr>
          <p:spPr bwMode="auto">
            <a:xfrm>
              <a:off x="3878263" y="3033713"/>
              <a:ext cx="6350" cy="1587"/>
            </a:xfrm>
            <a:custGeom>
              <a:avLst/>
              <a:gdLst>
                <a:gd name="T0" fmla="*/ 0 w 18"/>
                <a:gd name="T1" fmla="*/ 5 h 6"/>
                <a:gd name="T2" fmla="*/ 17 w 18"/>
                <a:gd name="T3" fmla="*/ 5 h 6"/>
                <a:gd name="T4" fmla="*/ 17 w 18"/>
                <a:gd name="T5" fmla="*/ 0 h 6"/>
                <a:gd name="T6" fmla="*/ 0 w 18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0" y="5"/>
                  </a:moveTo>
                  <a:cubicBezTo>
                    <a:pt x="6" y="5"/>
                    <a:pt x="11" y="5"/>
                    <a:pt x="17" y="5"/>
                  </a:cubicBezTo>
                  <a:cubicBezTo>
                    <a:pt x="17" y="2"/>
                    <a:pt x="17" y="2"/>
                    <a:pt x="17" y="0"/>
                  </a:cubicBezTo>
                  <a:cubicBezTo>
                    <a:pt x="11" y="2"/>
                    <a:pt x="6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" name="Freeform 108"/>
            <p:cNvSpPr>
              <a:spLocks noChangeArrowheads="1"/>
            </p:cNvSpPr>
            <p:nvPr/>
          </p:nvSpPr>
          <p:spPr bwMode="auto">
            <a:xfrm>
              <a:off x="3600450" y="2470150"/>
              <a:ext cx="4763" cy="7938"/>
            </a:xfrm>
            <a:custGeom>
              <a:avLst/>
              <a:gdLst>
                <a:gd name="T0" fmla="*/ 0 w 15"/>
                <a:gd name="T1" fmla="*/ 6 h 21"/>
                <a:gd name="T2" fmla="*/ 3 w 15"/>
                <a:gd name="T3" fmla="*/ 20 h 21"/>
                <a:gd name="T4" fmla="*/ 8 w 15"/>
                <a:gd name="T5" fmla="*/ 0 h 21"/>
                <a:gd name="T6" fmla="*/ 0 w 15"/>
                <a:gd name="T7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1">
                  <a:moveTo>
                    <a:pt x="0" y="6"/>
                  </a:moveTo>
                  <a:cubicBezTo>
                    <a:pt x="0" y="11"/>
                    <a:pt x="3" y="14"/>
                    <a:pt x="3" y="20"/>
                  </a:cubicBezTo>
                  <a:cubicBezTo>
                    <a:pt x="5" y="14"/>
                    <a:pt x="14" y="8"/>
                    <a:pt x="8" y="0"/>
                  </a:cubicBezTo>
                  <a:cubicBezTo>
                    <a:pt x="5" y="3"/>
                    <a:pt x="3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1" name="Freeform 109"/>
            <p:cNvSpPr>
              <a:spLocks noChangeArrowheads="1"/>
            </p:cNvSpPr>
            <p:nvPr/>
          </p:nvSpPr>
          <p:spPr bwMode="auto">
            <a:xfrm>
              <a:off x="3619500" y="2468563"/>
              <a:ext cx="6350" cy="4762"/>
            </a:xfrm>
            <a:custGeom>
              <a:avLst/>
              <a:gdLst>
                <a:gd name="T0" fmla="*/ 12 w 16"/>
                <a:gd name="T1" fmla="*/ 0 h 15"/>
                <a:gd name="T2" fmla="*/ 0 w 16"/>
                <a:gd name="T3" fmla="*/ 0 h 15"/>
                <a:gd name="T4" fmla="*/ 9 w 16"/>
                <a:gd name="T5" fmla="*/ 14 h 15"/>
                <a:gd name="T6" fmla="*/ 15 w 16"/>
                <a:gd name="T7" fmla="*/ 6 h 15"/>
                <a:gd name="T8" fmla="*/ 12 w 1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2" y="0"/>
                  </a:moveTo>
                  <a:lnTo>
                    <a:pt x="0" y="0"/>
                  </a:lnTo>
                  <a:cubicBezTo>
                    <a:pt x="3" y="6"/>
                    <a:pt x="6" y="12"/>
                    <a:pt x="9" y="14"/>
                  </a:cubicBezTo>
                  <a:cubicBezTo>
                    <a:pt x="9" y="12"/>
                    <a:pt x="12" y="9"/>
                    <a:pt x="15" y="6"/>
                  </a:cubicBezTo>
                  <a:cubicBezTo>
                    <a:pt x="12" y="3"/>
                    <a:pt x="12" y="3"/>
                    <a:pt x="1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2" name="Freeform 110"/>
            <p:cNvSpPr>
              <a:spLocks noChangeArrowheads="1"/>
            </p:cNvSpPr>
            <p:nvPr/>
          </p:nvSpPr>
          <p:spPr bwMode="auto">
            <a:xfrm>
              <a:off x="3630613" y="2441575"/>
              <a:ext cx="4762" cy="3175"/>
            </a:xfrm>
            <a:custGeom>
              <a:avLst/>
              <a:gdLst>
                <a:gd name="T0" fmla="*/ 11 w 12"/>
                <a:gd name="T1" fmla="*/ 8 h 9"/>
                <a:gd name="T2" fmla="*/ 5 w 12"/>
                <a:gd name="T3" fmla="*/ 0 h 9"/>
                <a:gd name="T4" fmla="*/ 0 w 12"/>
                <a:gd name="T5" fmla="*/ 3 h 9"/>
                <a:gd name="T6" fmla="*/ 5 w 12"/>
                <a:gd name="T7" fmla="*/ 8 h 9"/>
                <a:gd name="T8" fmla="*/ 11 w 12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1" y="8"/>
                  </a:moveTo>
                  <a:cubicBezTo>
                    <a:pt x="8" y="6"/>
                    <a:pt x="8" y="3"/>
                    <a:pt x="5" y="0"/>
                  </a:cubicBezTo>
                  <a:cubicBezTo>
                    <a:pt x="2" y="0"/>
                    <a:pt x="2" y="0"/>
                    <a:pt x="0" y="3"/>
                  </a:cubicBezTo>
                  <a:cubicBezTo>
                    <a:pt x="2" y="6"/>
                    <a:pt x="2" y="8"/>
                    <a:pt x="5" y="8"/>
                  </a:cubicBezTo>
                  <a:cubicBezTo>
                    <a:pt x="8" y="8"/>
                    <a:pt x="8" y="8"/>
                    <a:pt x="11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3" name="Freeform 111"/>
            <p:cNvSpPr>
              <a:spLocks noChangeArrowheads="1"/>
            </p:cNvSpPr>
            <p:nvPr/>
          </p:nvSpPr>
          <p:spPr bwMode="auto">
            <a:xfrm>
              <a:off x="4632325" y="2619375"/>
              <a:ext cx="6350" cy="4763"/>
            </a:xfrm>
            <a:custGeom>
              <a:avLst/>
              <a:gdLst>
                <a:gd name="T0" fmla="*/ 15 w 16"/>
                <a:gd name="T1" fmla="*/ 3 h 13"/>
                <a:gd name="T2" fmla="*/ 0 w 16"/>
                <a:gd name="T3" fmla="*/ 3 h 13"/>
                <a:gd name="T4" fmla="*/ 12 w 16"/>
                <a:gd name="T5" fmla="*/ 12 h 13"/>
                <a:gd name="T6" fmla="*/ 15 w 16"/>
                <a:gd name="T7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3">
                  <a:moveTo>
                    <a:pt x="15" y="3"/>
                  </a:moveTo>
                  <a:cubicBezTo>
                    <a:pt x="12" y="0"/>
                    <a:pt x="6" y="0"/>
                    <a:pt x="0" y="3"/>
                  </a:cubicBezTo>
                  <a:cubicBezTo>
                    <a:pt x="0" y="9"/>
                    <a:pt x="3" y="12"/>
                    <a:pt x="12" y="12"/>
                  </a:cubicBezTo>
                  <a:cubicBezTo>
                    <a:pt x="12" y="9"/>
                    <a:pt x="15" y="6"/>
                    <a:pt x="1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4" name="Freeform 112"/>
            <p:cNvSpPr>
              <a:spLocks noChangeArrowheads="1"/>
            </p:cNvSpPr>
            <p:nvPr/>
          </p:nvSpPr>
          <p:spPr bwMode="auto">
            <a:xfrm>
              <a:off x="3616325" y="2476500"/>
              <a:ext cx="7938" cy="7938"/>
            </a:xfrm>
            <a:custGeom>
              <a:avLst/>
              <a:gdLst>
                <a:gd name="T0" fmla="*/ 0 w 24"/>
                <a:gd name="T1" fmla="*/ 8 h 23"/>
                <a:gd name="T2" fmla="*/ 23 w 24"/>
                <a:gd name="T3" fmla="*/ 14 h 23"/>
                <a:gd name="T4" fmla="*/ 23 w 24"/>
                <a:gd name="T5" fmla="*/ 5 h 23"/>
                <a:gd name="T6" fmla="*/ 0 w 24"/>
                <a:gd name="T7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3">
                  <a:moveTo>
                    <a:pt x="0" y="8"/>
                  </a:moveTo>
                  <a:cubicBezTo>
                    <a:pt x="0" y="22"/>
                    <a:pt x="14" y="19"/>
                    <a:pt x="23" y="14"/>
                  </a:cubicBezTo>
                  <a:lnTo>
                    <a:pt x="23" y="5"/>
                  </a:lnTo>
                  <a:cubicBezTo>
                    <a:pt x="14" y="0"/>
                    <a:pt x="11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5" name="Freeform 113"/>
            <p:cNvSpPr>
              <a:spLocks noChangeArrowheads="1"/>
            </p:cNvSpPr>
            <p:nvPr/>
          </p:nvSpPr>
          <p:spPr bwMode="auto">
            <a:xfrm>
              <a:off x="3797300" y="2989263"/>
              <a:ext cx="9525" cy="7937"/>
            </a:xfrm>
            <a:custGeom>
              <a:avLst/>
              <a:gdLst>
                <a:gd name="T0" fmla="*/ 0 w 27"/>
                <a:gd name="T1" fmla="*/ 12 h 21"/>
                <a:gd name="T2" fmla="*/ 17 w 27"/>
                <a:gd name="T3" fmla="*/ 0 h 21"/>
                <a:gd name="T4" fmla="*/ 0 w 27"/>
                <a:gd name="T5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1">
                  <a:moveTo>
                    <a:pt x="0" y="12"/>
                  </a:moveTo>
                  <a:cubicBezTo>
                    <a:pt x="9" y="20"/>
                    <a:pt x="26" y="6"/>
                    <a:pt x="17" y="0"/>
                  </a:cubicBezTo>
                  <a:cubicBezTo>
                    <a:pt x="9" y="0"/>
                    <a:pt x="0" y="6"/>
                    <a:pt x="0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6" name="Freeform 114"/>
            <p:cNvSpPr>
              <a:spLocks noChangeArrowheads="1"/>
            </p:cNvSpPr>
            <p:nvPr/>
          </p:nvSpPr>
          <p:spPr bwMode="auto">
            <a:xfrm>
              <a:off x="4587875" y="2325688"/>
              <a:ext cx="4763" cy="4762"/>
            </a:xfrm>
            <a:custGeom>
              <a:avLst/>
              <a:gdLst>
                <a:gd name="T0" fmla="*/ 12 w 13"/>
                <a:gd name="T1" fmla="*/ 12 h 13"/>
                <a:gd name="T2" fmla="*/ 0 w 13"/>
                <a:gd name="T3" fmla="*/ 3 h 13"/>
                <a:gd name="T4" fmla="*/ 12 w 13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2" y="12"/>
                  </a:moveTo>
                  <a:cubicBezTo>
                    <a:pt x="12" y="3"/>
                    <a:pt x="9" y="0"/>
                    <a:pt x="0" y="3"/>
                  </a:cubicBezTo>
                  <a:cubicBezTo>
                    <a:pt x="0" y="9"/>
                    <a:pt x="6" y="12"/>
                    <a:pt x="12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7" name="Freeform 115"/>
            <p:cNvSpPr>
              <a:spLocks noChangeArrowheads="1"/>
            </p:cNvSpPr>
            <p:nvPr/>
          </p:nvSpPr>
          <p:spPr bwMode="auto">
            <a:xfrm>
              <a:off x="4583113" y="2317750"/>
              <a:ext cx="3175" cy="4763"/>
            </a:xfrm>
            <a:custGeom>
              <a:avLst/>
              <a:gdLst>
                <a:gd name="T0" fmla="*/ 0 w 7"/>
                <a:gd name="T1" fmla="*/ 3 h 15"/>
                <a:gd name="T2" fmla="*/ 0 w 7"/>
                <a:gd name="T3" fmla="*/ 11 h 15"/>
                <a:gd name="T4" fmla="*/ 0 w 7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lnTo>
                    <a:pt x="0" y="11"/>
                  </a:lnTo>
                  <a:cubicBezTo>
                    <a:pt x="6" y="14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8" name="Freeform 116"/>
            <p:cNvSpPr>
              <a:spLocks noChangeArrowheads="1"/>
            </p:cNvSpPr>
            <p:nvPr/>
          </p:nvSpPr>
          <p:spPr bwMode="auto">
            <a:xfrm>
              <a:off x="4581525" y="2336800"/>
              <a:ext cx="4763" cy="3175"/>
            </a:xfrm>
            <a:custGeom>
              <a:avLst/>
              <a:gdLst>
                <a:gd name="T0" fmla="*/ 6 w 13"/>
                <a:gd name="T1" fmla="*/ 0 h 10"/>
                <a:gd name="T2" fmla="*/ 6 w 13"/>
                <a:gd name="T3" fmla="*/ 9 h 10"/>
                <a:gd name="T4" fmla="*/ 6 w 13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6" y="0"/>
                  </a:moveTo>
                  <a:cubicBezTo>
                    <a:pt x="6" y="3"/>
                    <a:pt x="0" y="9"/>
                    <a:pt x="6" y="9"/>
                  </a:cubicBezTo>
                  <a:cubicBezTo>
                    <a:pt x="6" y="9"/>
                    <a:pt x="12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9" name="Freeform 117"/>
            <p:cNvSpPr>
              <a:spLocks noChangeArrowheads="1"/>
            </p:cNvSpPr>
            <p:nvPr/>
          </p:nvSpPr>
          <p:spPr bwMode="auto">
            <a:xfrm>
              <a:off x="4595813" y="2381250"/>
              <a:ext cx="3175" cy="1588"/>
            </a:xfrm>
            <a:custGeom>
              <a:avLst/>
              <a:gdLst>
                <a:gd name="T0" fmla="*/ 3 w 7"/>
                <a:gd name="T1" fmla="*/ 0 h 3"/>
                <a:gd name="T2" fmla="*/ 0 w 7"/>
                <a:gd name="T3" fmla="*/ 2 h 3"/>
                <a:gd name="T4" fmla="*/ 6 w 7"/>
                <a:gd name="T5" fmla="*/ 2 h 3"/>
                <a:gd name="T6" fmla="*/ 3 w 7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3" y="0"/>
                  </a:moveTo>
                  <a:cubicBezTo>
                    <a:pt x="3" y="2"/>
                    <a:pt x="3" y="2"/>
                    <a:pt x="0" y="2"/>
                  </a:cubicBezTo>
                  <a:cubicBezTo>
                    <a:pt x="3" y="2"/>
                    <a:pt x="3" y="2"/>
                    <a:pt x="6" y="2"/>
                  </a:cubicBezTo>
                  <a:cubicBezTo>
                    <a:pt x="6" y="2"/>
                    <a:pt x="6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0" name="Freeform 118"/>
            <p:cNvSpPr>
              <a:spLocks noChangeArrowheads="1"/>
            </p:cNvSpPr>
            <p:nvPr/>
          </p:nvSpPr>
          <p:spPr bwMode="auto">
            <a:xfrm>
              <a:off x="4551363" y="2293938"/>
              <a:ext cx="1587" cy="1587"/>
            </a:xfrm>
            <a:custGeom>
              <a:avLst/>
              <a:gdLst>
                <a:gd name="T0" fmla="*/ 3 w 4"/>
                <a:gd name="T1" fmla="*/ 0 h 4"/>
                <a:gd name="T2" fmla="*/ 0 w 4"/>
                <a:gd name="T3" fmla="*/ 3 h 4"/>
                <a:gd name="T4" fmla="*/ 3 w 4"/>
                <a:gd name="T5" fmla="*/ 3 h 4"/>
                <a:gd name="T6" fmla="*/ 3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3" y="0"/>
                    <a:pt x="3" y="3"/>
                    <a:pt x="0" y="3"/>
                  </a:cubicBezTo>
                  <a:lnTo>
                    <a:pt x="3" y="3"/>
                  </a:lnTo>
                  <a:lnTo>
                    <a:pt x="3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1" name="Freeform 119"/>
            <p:cNvSpPr>
              <a:spLocks noChangeArrowheads="1"/>
            </p:cNvSpPr>
            <p:nvPr/>
          </p:nvSpPr>
          <p:spPr bwMode="auto">
            <a:xfrm>
              <a:off x="4319588" y="3059113"/>
              <a:ext cx="1587" cy="1587"/>
            </a:xfrm>
            <a:custGeom>
              <a:avLst/>
              <a:gdLst>
                <a:gd name="T0" fmla="*/ 5 w 6"/>
                <a:gd name="T1" fmla="*/ 3 h 4"/>
                <a:gd name="T2" fmla="*/ 5 w 6"/>
                <a:gd name="T3" fmla="*/ 3 h 4"/>
                <a:gd name="T4" fmla="*/ 0 w 6"/>
                <a:gd name="T5" fmla="*/ 0 h 4"/>
                <a:gd name="T6" fmla="*/ 5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5" y="3"/>
                  </a:lnTo>
                  <a:cubicBezTo>
                    <a:pt x="2" y="3"/>
                    <a:pt x="0" y="0"/>
                    <a:pt x="0" y="0"/>
                  </a:cubicBezTo>
                  <a:cubicBezTo>
                    <a:pt x="0" y="3"/>
                    <a:pt x="2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2" name="Freeform 120"/>
            <p:cNvSpPr>
              <a:spLocks noChangeArrowheads="1"/>
            </p:cNvSpPr>
            <p:nvPr/>
          </p:nvSpPr>
          <p:spPr bwMode="auto">
            <a:xfrm>
              <a:off x="4591050" y="2363788"/>
              <a:ext cx="9525" cy="7937"/>
            </a:xfrm>
            <a:custGeom>
              <a:avLst/>
              <a:gdLst>
                <a:gd name="T0" fmla="*/ 14 w 26"/>
                <a:gd name="T1" fmla="*/ 11 h 23"/>
                <a:gd name="T2" fmla="*/ 0 w 26"/>
                <a:gd name="T3" fmla="*/ 2 h 23"/>
                <a:gd name="T4" fmla="*/ 6 w 26"/>
                <a:gd name="T5" fmla="*/ 22 h 23"/>
                <a:gd name="T6" fmla="*/ 14 w 26"/>
                <a:gd name="T7" fmla="*/ 11 h 23"/>
                <a:gd name="T8" fmla="*/ 25 w 26"/>
                <a:gd name="T9" fmla="*/ 11 h 23"/>
                <a:gd name="T10" fmla="*/ 25 w 26"/>
                <a:gd name="T11" fmla="*/ 2 h 23"/>
                <a:gd name="T12" fmla="*/ 14 w 26"/>
                <a:gd name="T1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3">
                  <a:moveTo>
                    <a:pt x="14" y="11"/>
                  </a:moveTo>
                  <a:cubicBezTo>
                    <a:pt x="14" y="5"/>
                    <a:pt x="6" y="5"/>
                    <a:pt x="0" y="2"/>
                  </a:cubicBezTo>
                  <a:cubicBezTo>
                    <a:pt x="0" y="11"/>
                    <a:pt x="6" y="14"/>
                    <a:pt x="6" y="22"/>
                  </a:cubicBezTo>
                  <a:cubicBezTo>
                    <a:pt x="14" y="22"/>
                    <a:pt x="11" y="14"/>
                    <a:pt x="14" y="11"/>
                  </a:cubicBezTo>
                  <a:cubicBezTo>
                    <a:pt x="20" y="14"/>
                    <a:pt x="20" y="8"/>
                    <a:pt x="25" y="11"/>
                  </a:cubicBezTo>
                  <a:lnTo>
                    <a:pt x="25" y="2"/>
                  </a:lnTo>
                  <a:cubicBezTo>
                    <a:pt x="17" y="0"/>
                    <a:pt x="20" y="8"/>
                    <a:pt x="14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3" name="Freeform 121"/>
            <p:cNvSpPr>
              <a:spLocks noChangeArrowheads="1"/>
            </p:cNvSpPr>
            <p:nvPr/>
          </p:nvSpPr>
          <p:spPr bwMode="auto">
            <a:xfrm>
              <a:off x="4564063" y="2309813"/>
              <a:ext cx="7937" cy="7937"/>
            </a:xfrm>
            <a:custGeom>
              <a:avLst/>
              <a:gdLst>
                <a:gd name="T0" fmla="*/ 8 w 20"/>
                <a:gd name="T1" fmla="*/ 0 h 24"/>
                <a:gd name="T2" fmla="*/ 5 w 20"/>
                <a:gd name="T3" fmla="*/ 23 h 24"/>
                <a:gd name="T4" fmla="*/ 8 w 20"/>
                <a:gd name="T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8" y="0"/>
                  </a:moveTo>
                  <a:cubicBezTo>
                    <a:pt x="0" y="3"/>
                    <a:pt x="0" y="17"/>
                    <a:pt x="5" y="23"/>
                  </a:cubicBezTo>
                  <a:cubicBezTo>
                    <a:pt x="19" y="20"/>
                    <a:pt x="16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4" name="Freeform 122"/>
            <p:cNvSpPr>
              <a:spLocks noChangeArrowheads="1"/>
            </p:cNvSpPr>
            <p:nvPr/>
          </p:nvSpPr>
          <p:spPr bwMode="auto">
            <a:xfrm>
              <a:off x="3819525" y="2994025"/>
              <a:ext cx="14288" cy="9525"/>
            </a:xfrm>
            <a:custGeom>
              <a:avLst/>
              <a:gdLst>
                <a:gd name="T0" fmla="*/ 40 w 41"/>
                <a:gd name="T1" fmla="*/ 12 h 27"/>
                <a:gd name="T2" fmla="*/ 17 w 41"/>
                <a:gd name="T3" fmla="*/ 23 h 27"/>
                <a:gd name="T4" fmla="*/ 40 w 41"/>
                <a:gd name="T5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27">
                  <a:moveTo>
                    <a:pt x="40" y="12"/>
                  </a:moveTo>
                  <a:cubicBezTo>
                    <a:pt x="28" y="0"/>
                    <a:pt x="0" y="12"/>
                    <a:pt x="17" y="23"/>
                  </a:cubicBezTo>
                  <a:cubicBezTo>
                    <a:pt x="31" y="26"/>
                    <a:pt x="31" y="17"/>
                    <a:pt x="40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5" name="Freeform 123"/>
            <p:cNvSpPr>
              <a:spLocks noChangeArrowheads="1"/>
            </p:cNvSpPr>
            <p:nvPr/>
          </p:nvSpPr>
          <p:spPr bwMode="auto">
            <a:xfrm>
              <a:off x="3810000" y="2987675"/>
              <a:ext cx="3175" cy="3175"/>
            </a:xfrm>
            <a:custGeom>
              <a:avLst/>
              <a:gdLst>
                <a:gd name="T0" fmla="*/ 8 w 9"/>
                <a:gd name="T1" fmla="*/ 0 h 10"/>
                <a:gd name="T2" fmla="*/ 0 w 9"/>
                <a:gd name="T3" fmla="*/ 0 h 10"/>
                <a:gd name="T4" fmla="*/ 0 w 9"/>
                <a:gd name="T5" fmla="*/ 9 h 10"/>
                <a:gd name="T6" fmla="*/ 8 w 9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8" y="0"/>
                  </a:moveTo>
                  <a:lnTo>
                    <a:pt x="0" y="0"/>
                  </a:lnTo>
                  <a:lnTo>
                    <a:pt x="0" y="9"/>
                  </a:lnTo>
                  <a:cubicBezTo>
                    <a:pt x="8" y="9"/>
                    <a:pt x="6" y="0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6" name="Freeform 124"/>
            <p:cNvSpPr>
              <a:spLocks noChangeArrowheads="1"/>
            </p:cNvSpPr>
            <p:nvPr/>
          </p:nvSpPr>
          <p:spPr bwMode="auto">
            <a:xfrm>
              <a:off x="4606925" y="2406650"/>
              <a:ext cx="7938" cy="7938"/>
            </a:xfrm>
            <a:custGeom>
              <a:avLst/>
              <a:gdLst>
                <a:gd name="T0" fmla="*/ 6 w 23"/>
                <a:gd name="T1" fmla="*/ 0 h 21"/>
                <a:gd name="T2" fmla="*/ 22 w 23"/>
                <a:gd name="T3" fmla="*/ 12 h 21"/>
                <a:gd name="T4" fmla="*/ 6 w 23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21">
                  <a:moveTo>
                    <a:pt x="6" y="0"/>
                  </a:moveTo>
                  <a:cubicBezTo>
                    <a:pt x="0" y="6"/>
                    <a:pt x="14" y="20"/>
                    <a:pt x="22" y="12"/>
                  </a:cubicBezTo>
                  <a:cubicBezTo>
                    <a:pt x="22" y="3"/>
                    <a:pt x="14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7" name="Freeform 125"/>
            <p:cNvSpPr>
              <a:spLocks noChangeArrowheads="1"/>
            </p:cNvSpPr>
            <p:nvPr/>
          </p:nvSpPr>
          <p:spPr bwMode="auto">
            <a:xfrm>
              <a:off x="3814763" y="2998788"/>
              <a:ext cx="1587" cy="3175"/>
            </a:xfrm>
            <a:custGeom>
              <a:avLst/>
              <a:gdLst>
                <a:gd name="T0" fmla="*/ 3 w 4"/>
                <a:gd name="T1" fmla="*/ 9 h 10"/>
                <a:gd name="T2" fmla="*/ 3 w 4"/>
                <a:gd name="T3" fmla="*/ 9 h 10"/>
                <a:gd name="T4" fmla="*/ 0 w 4"/>
                <a:gd name="T5" fmla="*/ 3 h 10"/>
                <a:gd name="T6" fmla="*/ 3 w 4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9"/>
                  </a:moveTo>
                  <a:lnTo>
                    <a:pt x="3" y="9"/>
                  </a:lnTo>
                  <a:cubicBezTo>
                    <a:pt x="3" y="6"/>
                    <a:pt x="0" y="0"/>
                    <a:pt x="0" y="3"/>
                  </a:cubicBezTo>
                  <a:cubicBezTo>
                    <a:pt x="0" y="6"/>
                    <a:pt x="0" y="6"/>
                    <a:pt x="3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8" name="Freeform 126"/>
            <p:cNvSpPr>
              <a:spLocks noChangeArrowheads="1"/>
            </p:cNvSpPr>
            <p:nvPr/>
          </p:nvSpPr>
          <p:spPr bwMode="auto">
            <a:xfrm>
              <a:off x="3617913" y="2493963"/>
              <a:ext cx="4762" cy="3175"/>
            </a:xfrm>
            <a:custGeom>
              <a:avLst/>
              <a:gdLst>
                <a:gd name="T0" fmla="*/ 0 w 15"/>
                <a:gd name="T1" fmla="*/ 2 h 9"/>
                <a:gd name="T2" fmla="*/ 8 w 15"/>
                <a:gd name="T3" fmla="*/ 8 h 9"/>
                <a:gd name="T4" fmla="*/ 8 w 15"/>
                <a:gd name="T5" fmla="*/ 8 h 9"/>
                <a:gd name="T6" fmla="*/ 14 w 15"/>
                <a:gd name="T7" fmla="*/ 5 h 9"/>
                <a:gd name="T8" fmla="*/ 5 w 15"/>
                <a:gd name="T9" fmla="*/ 0 h 9"/>
                <a:gd name="T10" fmla="*/ 0 w 15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9">
                  <a:moveTo>
                    <a:pt x="0" y="2"/>
                  </a:moveTo>
                  <a:cubicBezTo>
                    <a:pt x="3" y="5"/>
                    <a:pt x="5" y="8"/>
                    <a:pt x="8" y="8"/>
                  </a:cubicBezTo>
                  <a:lnTo>
                    <a:pt x="8" y="8"/>
                  </a:lnTo>
                  <a:cubicBezTo>
                    <a:pt x="11" y="8"/>
                    <a:pt x="14" y="5"/>
                    <a:pt x="14" y="5"/>
                  </a:cubicBezTo>
                  <a:cubicBezTo>
                    <a:pt x="11" y="2"/>
                    <a:pt x="8" y="2"/>
                    <a:pt x="5" y="0"/>
                  </a:cubicBezTo>
                  <a:cubicBezTo>
                    <a:pt x="3" y="0"/>
                    <a:pt x="3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69" name="Freeform 127"/>
            <p:cNvSpPr>
              <a:spLocks noChangeArrowheads="1"/>
            </p:cNvSpPr>
            <p:nvPr/>
          </p:nvSpPr>
          <p:spPr bwMode="auto">
            <a:xfrm>
              <a:off x="4573588" y="2332038"/>
              <a:ext cx="4762" cy="3175"/>
            </a:xfrm>
            <a:custGeom>
              <a:avLst/>
              <a:gdLst>
                <a:gd name="T0" fmla="*/ 3 w 15"/>
                <a:gd name="T1" fmla="*/ 3 h 10"/>
                <a:gd name="T2" fmla="*/ 11 w 15"/>
                <a:gd name="T3" fmla="*/ 3 h 10"/>
                <a:gd name="T4" fmla="*/ 3 w 15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3" y="3"/>
                  </a:moveTo>
                  <a:cubicBezTo>
                    <a:pt x="0" y="9"/>
                    <a:pt x="14" y="9"/>
                    <a:pt x="11" y="3"/>
                  </a:cubicBezTo>
                  <a:cubicBezTo>
                    <a:pt x="8" y="0"/>
                    <a:pt x="3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0" name="Freeform 128"/>
            <p:cNvSpPr>
              <a:spLocks noChangeArrowheads="1"/>
            </p:cNvSpPr>
            <p:nvPr/>
          </p:nvSpPr>
          <p:spPr bwMode="auto">
            <a:xfrm>
              <a:off x="4432300" y="2994025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8 w 9"/>
                <a:gd name="T3" fmla="*/ 3 h 10"/>
                <a:gd name="T4" fmla="*/ 0 w 9"/>
                <a:gd name="T5" fmla="*/ 0 h 10"/>
                <a:gd name="T6" fmla="*/ 0 w 9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cubicBezTo>
                    <a:pt x="3" y="9"/>
                    <a:pt x="5" y="9"/>
                    <a:pt x="8" y="3"/>
                  </a:cubicBezTo>
                  <a:cubicBezTo>
                    <a:pt x="5" y="3"/>
                    <a:pt x="3" y="3"/>
                    <a:pt x="0" y="0"/>
                  </a:cubicBez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1" name="Freeform 129"/>
            <p:cNvSpPr>
              <a:spLocks noChangeArrowheads="1"/>
            </p:cNvSpPr>
            <p:nvPr/>
          </p:nvSpPr>
          <p:spPr bwMode="auto">
            <a:xfrm>
              <a:off x="4541838" y="2878138"/>
              <a:ext cx="3175" cy="3175"/>
            </a:xfrm>
            <a:custGeom>
              <a:avLst/>
              <a:gdLst>
                <a:gd name="T0" fmla="*/ 0 w 10"/>
                <a:gd name="T1" fmla="*/ 8 h 9"/>
                <a:gd name="T2" fmla="*/ 9 w 10"/>
                <a:gd name="T3" fmla="*/ 3 h 9"/>
                <a:gd name="T4" fmla="*/ 0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8"/>
                  </a:moveTo>
                  <a:cubicBezTo>
                    <a:pt x="6" y="8"/>
                    <a:pt x="9" y="8"/>
                    <a:pt x="9" y="3"/>
                  </a:cubicBezTo>
                  <a:cubicBezTo>
                    <a:pt x="6" y="0"/>
                    <a:pt x="0" y="0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2" name="Freeform 130"/>
            <p:cNvSpPr>
              <a:spLocks noChangeArrowheads="1"/>
            </p:cNvSpPr>
            <p:nvPr/>
          </p:nvSpPr>
          <p:spPr bwMode="auto">
            <a:xfrm>
              <a:off x="4551363" y="2879725"/>
              <a:ext cx="6350" cy="6350"/>
            </a:xfrm>
            <a:custGeom>
              <a:avLst/>
              <a:gdLst>
                <a:gd name="T0" fmla="*/ 6 w 18"/>
                <a:gd name="T1" fmla="*/ 16 h 17"/>
                <a:gd name="T2" fmla="*/ 17 w 18"/>
                <a:gd name="T3" fmla="*/ 5 h 17"/>
                <a:gd name="T4" fmla="*/ 8 w 18"/>
                <a:gd name="T5" fmla="*/ 0 h 17"/>
                <a:gd name="T6" fmla="*/ 6 w 18"/>
                <a:gd name="T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7">
                  <a:moveTo>
                    <a:pt x="6" y="16"/>
                  </a:moveTo>
                  <a:cubicBezTo>
                    <a:pt x="11" y="14"/>
                    <a:pt x="17" y="14"/>
                    <a:pt x="17" y="5"/>
                  </a:cubicBezTo>
                  <a:cubicBezTo>
                    <a:pt x="14" y="2"/>
                    <a:pt x="11" y="2"/>
                    <a:pt x="8" y="0"/>
                  </a:cubicBezTo>
                  <a:cubicBezTo>
                    <a:pt x="8" y="8"/>
                    <a:pt x="0" y="11"/>
                    <a:pt x="6" y="1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3" name="Freeform 131"/>
            <p:cNvSpPr>
              <a:spLocks noChangeArrowheads="1"/>
            </p:cNvSpPr>
            <p:nvPr/>
          </p:nvSpPr>
          <p:spPr bwMode="auto">
            <a:xfrm>
              <a:off x="4529138" y="2892425"/>
              <a:ext cx="4762" cy="4763"/>
            </a:xfrm>
            <a:custGeom>
              <a:avLst/>
              <a:gdLst>
                <a:gd name="T0" fmla="*/ 3 w 15"/>
                <a:gd name="T1" fmla="*/ 0 h 13"/>
                <a:gd name="T2" fmla="*/ 11 w 15"/>
                <a:gd name="T3" fmla="*/ 0 h 13"/>
                <a:gd name="T4" fmla="*/ 3 w 15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3" y="0"/>
                  </a:moveTo>
                  <a:cubicBezTo>
                    <a:pt x="0" y="12"/>
                    <a:pt x="14" y="12"/>
                    <a:pt x="11" y="0"/>
                  </a:cubicBezTo>
                  <a:lnTo>
                    <a:pt x="3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4" name="Freeform 132"/>
            <p:cNvSpPr>
              <a:spLocks noChangeArrowheads="1"/>
            </p:cNvSpPr>
            <p:nvPr/>
          </p:nvSpPr>
          <p:spPr bwMode="auto">
            <a:xfrm>
              <a:off x="4538663" y="2265363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8 w 9"/>
                <a:gd name="T3" fmla="*/ 3 h 10"/>
                <a:gd name="T4" fmla="*/ 0 w 9"/>
                <a:gd name="T5" fmla="*/ 0 h 10"/>
                <a:gd name="T6" fmla="*/ 0 w 9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cubicBezTo>
                    <a:pt x="3" y="9"/>
                    <a:pt x="6" y="9"/>
                    <a:pt x="8" y="3"/>
                  </a:cubicBezTo>
                  <a:cubicBezTo>
                    <a:pt x="6" y="3"/>
                    <a:pt x="6" y="0"/>
                    <a:pt x="0" y="0"/>
                  </a:cubicBez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5" name="Freeform 133"/>
            <p:cNvSpPr>
              <a:spLocks noChangeArrowheads="1"/>
            </p:cNvSpPr>
            <p:nvPr/>
          </p:nvSpPr>
          <p:spPr bwMode="auto">
            <a:xfrm>
              <a:off x="4362450" y="3030538"/>
              <a:ext cx="3175" cy="4762"/>
            </a:xfrm>
            <a:custGeom>
              <a:avLst/>
              <a:gdLst>
                <a:gd name="T0" fmla="*/ 0 w 9"/>
                <a:gd name="T1" fmla="*/ 6 h 12"/>
                <a:gd name="T2" fmla="*/ 8 w 9"/>
                <a:gd name="T3" fmla="*/ 6 h 12"/>
                <a:gd name="T4" fmla="*/ 0 w 9"/>
                <a:gd name="T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0" y="6"/>
                  </a:moveTo>
                  <a:cubicBezTo>
                    <a:pt x="3" y="6"/>
                    <a:pt x="8" y="11"/>
                    <a:pt x="8" y="6"/>
                  </a:cubicBezTo>
                  <a:cubicBezTo>
                    <a:pt x="8" y="6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6" name="Freeform 134"/>
            <p:cNvSpPr>
              <a:spLocks noChangeArrowheads="1"/>
            </p:cNvSpPr>
            <p:nvPr/>
          </p:nvSpPr>
          <p:spPr bwMode="auto">
            <a:xfrm>
              <a:off x="4367213" y="3022600"/>
              <a:ext cx="3175" cy="4763"/>
            </a:xfrm>
            <a:custGeom>
              <a:avLst/>
              <a:gdLst>
                <a:gd name="T0" fmla="*/ 6 w 10"/>
                <a:gd name="T1" fmla="*/ 12 h 13"/>
                <a:gd name="T2" fmla="*/ 6 w 10"/>
                <a:gd name="T3" fmla="*/ 3 h 13"/>
                <a:gd name="T4" fmla="*/ 6 w 10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3">
                  <a:moveTo>
                    <a:pt x="6" y="12"/>
                  </a:moveTo>
                  <a:cubicBezTo>
                    <a:pt x="9" y="12"/>
                    <a:pt x="9" y="3"/>
                    <a:pt x="6" y="3"/>
                  </a:cubicBezTo>
                  <a:cubicBezTo>
                    <a:pt x="0" y="0"/>
                    <a:pt x="0" y="12"/>
                    <a:pt x="6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7" name="Freeform 135"/>
            <p:cNvSpPr>
              <a:spLocks noChangeArrowheads="1"/>
            </p:cNvSpPr>
            <p:nvPr/>
          </p:nvSpPr>
          <p:spPr bwMode="auto">
            <a:xfrm>
              <a:off x="4373563" y="3036888"/>
              <a:ext cx="4762" cy="4762"/>
            </a:xfrm>
            <a:custGeom>
              <a:avLst/>
              <a:gdLst>
                <a:gd name="T0" fmla="*/ 0 w 12"/>
                <a:gd name="T1" fmla="*/ 11 h 12"/>
                <a:gd name="T2" fmla="*/ 9 w 12"/>
                <a:gd name="T3" fmla="*/ 0 h 12"/>
                <a:gd name="T4" fmla="*/ 0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0" y="11"/>
                  </a:moveTo>
                  <a:cubicBezTo>
                    <a:pt x="9" y="11"/>
                    <a:pt x="11" y="8"/>
                    <a:pt x="9" y="0"/>
                  </a:cubicBezTo>
                  <a:cubicBezTo>
                    <a:pt x="3" y="0"/>
                    <a:pt x="3" y="5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8" name="Freeform 136"/>
            <p:cNvSpPr>
              <a:spLocks noChangeArrowheads="1"/>
            </p:cNvSpPr>
            <p:nvPr/>
          </p:nvSpPr>
          <p:spPr bwMode="auto">
            <a:xfrm>
              <a:off x="4386263" y="3014663"/>
              <a:ext cx="7937" cy="7937"/>
            </a:xfrm>
            <a:custGeom>
              <a:avLst/>
              <a:gdLst>
                <a:gd name="T0" fmla="*/ 0 w 23"/>
                <a:gd name="T1" fmla="*/ 6 h 21"/>
                <a:gd name="T2" fmla="*/ 22 w 23"/>
                <a:gd name="T3" fmla="*/ 8 h 21"/>
                <a:gd name="T4" fmla="*/ 0 w 23"/>
                <a:gd name="T5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21">
                  <a:moveTo>
                    <a:pt x="0" y="6"/>
                  </a:moveTo>
                  <a:cubicBezTo>
                    <a:pt x="3" y="20"/>
                    <a:pt x="17" y="17"/>
                    <a:pt x="22" y="8"/>
                  </a:cubicBezTo>
                  <a:cubicBezTo>
                    <a:pt x="20" y="0"/>
                    <a:pt x="5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79" name="Freeform 137"/>
            <p:cNvSpPr>
              <a:spLocks noChangeArrowheads="1"/>
            </p:cNvSpPr>
            <p:nvPr/>
          </p:nvSpPr>
          <p:spPr bwMode="auto">
            <a:xfrm>
              <a:off x="4406900" y="3011488"/>
              <a:ext cx="4763" cy="7937"/>
            </a:xfrm>
            <a:custGeom>
              <a:avLst/>
              <a:gdLst>
                <a:gd name="T0" fmla="*/ 0 w 12"/>
                <a:gd name="T1" fmla="*/ 20 h 24"/>
                <a:gd name="T2" fmla="*/ 6 w 12"/>
                <a:gd name="T3" fmla="*/ 14 h 24"/>
                <a:gd name="T4" fmla="*/ 11 w 12"/>
                <a:gd name="T5" fmla="*/ 0 h 24"/>
                <a:gd name="T6" fmla="*/ 6 w 12"/>
                <a:gd name="T7" fmla="*/ 0 h 24"/>
                <a:gd name="T8" fmla="*/ 0 w 12"/>
                <a:gd name="T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4">
                  <a:moveTo>
                    <a:pt x="0" y="20"/>
                  </a:moveTo>
                  <a:cubicBezTo>
                    <a:pt x="0" y="23"/>
                    <a:pt x="0" y="23"/>
                    <a:pt x="6" y="14"/>
                  </a:cubicBezTo>
                  <a:cubicBezTo>
                    <a:pt x="8" y="9"/>
                    <a:pt x="8" y="6"/>
                    <a:pt x="11" y="0"/>
                  </a:cubicBezTo>
                  <a:cubicBezTo>
                    <a:pt x="8" y="0"/>
                    <a:pt x="8" y="0"/>
                    <a:pt x="6" y="0"/>
                  </a:cubicBezTo>
                  <a:cubicBezTo>
                    <a:pt x="3" y="6"/>
                    <a:pt x="0" y="12"/>
                    <a:pt x="0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0" name="Freeform 138"/>
            <p:cNvSpPr>
              <a:spLocks noChangeArrowheads="1"/>
            </p:cNvSpPr>
            <p:nvPr/>
          </p:nvSpPr>
          <p:spPr bwMode="auto">
            <a:xfrm>
              <a:off x="4381500" y="3032125"/>
              <a:ext cx="4763" cy="3175"/>
            </a:xfrm>
            <a:custGeom>
              <a:avLst/>
              <a:gdLst>
                <a:gd name="T0" fmla="*/ 2 w 15"/>
                <a:gd name="T1" fmla="*/ 0 h 9"/>
                <a:gd name="T2" fmla="*/ 11 w 15"/>
                <a:gd name="T3" fmla="*/ 0 h 9"/>
                <a:gd name="T4" fmla="*/ 2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2" y="0"/>
                  </a:moveTo>
                  <a:cubicBezTo>
                    <a:pt x="0" y="8"/>
                    <a:pt x="14" y="8"/>
                    <a:pt x="11" y="0"/>
                  </a:cubicBezTo>
                  <a:lnTo>
                    <a:pt x="2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1" name="Freeform 139"/>
            <p:cNvSpPr>
              <a:spLocks noChangeArrowheads="1"/>
            </p:cNvSpPr>
            <p:nvPr/>
          </p:nvSpPr>
          <p:spPr bwMode="auto">
            <a:xfrm>
              <a:off x="3619500" y="2400300"/>
              <a:ext cx="4763" cy="3175"/>
            </a:xfrm>
            <a:custGeom>
              <a:avLst/>
              <a:gdLst>
                <a:gd name="T0" fmla="*/ 12 w 13"/>
                <a:gd name="T1" fmla="*/ 0 h 10"/>
                <a:gd name="T2" fmla="*/ 6 w 13"/>
                <a:gd name="T3" fmla="*/ 0 h 10"/>
                <a:gd name="T4" fmla="*/ 0 w 13"/>
                <a:gd name="T5" fmla="*/ 9 h 10"/>
                <a:gd name="T6" fmla="*/ 12 w 1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12" y="0"/>
                  </a:moveTo>
                  <a:cubicBezTo>
                    <a:pt x="9" y="0"/>
                    <a:pt x="9" y="0"/>
                    <a:pt x="6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6" y="9"/>
                    <a:pt x="12" y="6"/>
                    <a:pt x="1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2" name="Freeform 140"/>
            <p:cNvSpPr>
              <a:spLocks noChangeArrowheads="1"/>
            </p:cNvSpPr>
            <p:nvPr/>
          </p:nvSpPr>
          <p:spPr bwMode="auto">
            <a:xfrm>
              <a:off x="3621088" y="2398713"/>
              <a:ext cx="3175" cy="3175"/>
            </a:xfrm>
            <a:custGeom>
              <a:avLst/>
              <a:gdLst>
                <a:gd name="T0" fmla="*/ 0 w 7"/>
                <a:gd name="T1" fmla="*/ 6 h 7"/>
                <a:gd name="T2" fmla="*/ 0 w 7"/>
                <a:gd name="T3" fmla="*/ 6 h 7"/>
                <a:gd name="T4" fmla="*/ 6 w 7"/>
                <a:gd name="T5" fmla="*/ 0 h 7"/>
                <a:gd name="T6" fmla="*/ 0 w 7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6"/>
                  </a:moveTo>
                  <a:lnTo>
                    <a:pt x="0" y="6"/>
                  </a:lnTo>
                  <a:cubicBezTo>
                    <a:pt x="3" y="3"/>
                    <a:pt x="3" y="3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3" name="Freeform 141"/>
            <p:cNvSpPr>
              <a:spLocks noChangeArrowheads="1"/>
            </p:cNvSpPr>
            <p:nvPr/>
          </p:nvSpPr>
          <p:spPr bwMode="auto">
            <a:xfrm>
              <a:off x="3621088" y="2413000"/>
              <a:ext cx="1587" cy="3175"/>
            </a:xfrm>
            <a:custGeom>
              <a:avLst/>
              <a:gdLst>
                <a:gd name="T0" fmla="*/ 3 w 4"/>
                <a:gd name="T1" fmla="*/ 3 h 7"/>
                <a:gd name="T2" fmla="*/ 0 w 4"/>
                <a:gd name="T3" fmla="*/ 0 h 7"/>
                <a:gd name="T4" fmla="*/ 0 w 4"/>
                <a:gd name="T5" fmla="*/ 3 h 7"/>
                <a:gd name="T6" fmla="*/ 3 w 4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3"/>
                  </a:moveTo>
                  <a:cubicBezTo>
                    <a:pt x="3" y="3"/>
                    <a:pt x="0" y="3"/>
                    <a:pt x="0" y="0"/>
                  </a:cubicBezTo>
                  <a:lnTo>
                    <a:pt x="0" y="3"/>
                  </a:lnTo>
                  <a:cubicBezTo>
                    <a:pt x="0" y="6"/>
                    <a:pt x="0" y="6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4" name="Freeform 142"/>
            <p:cNvSpPr>
              <a:spLocks noChangeArrowheads="1"/>
            </p:cNvSpPr>
            <p:nvPr/>
          </p:nvSpPr>
          <p:spPr bwMode="auto">
            <a:xfrm>
              <a:off x="3667125" y="2832100"/>
              <a:ext cx="4763" cy="3175"/>
            </a:xfrm>
            <a:custGeom>
              <a:avLst/>
              <a:gdLst>
                <a:gd name="T0" fmla="*/ 8 w 15"/>
                <a:gd name="T1" fmla="*/ 6 h 7"/>
                <a:gd name="T2" fmla="*/ 0 w 15"/>
                <a:gd name="T3" fmla="*/ 3 h 7"/>
                <a:gd name="T4" fmla="*/ 3 w 15"/>
                <a:gd name="T5" fmla="*/ 6 h 7"/>
                <a:gd name="T6" fmla="*/ 8 w 15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8" y="6"/>
                  </a:moveTo>
                  <a:cubicBezTo>
                    <a:pt x="14" y="0"/>
                    <a:pt x="0" y="0"/>
                    <a:pt x="0" y="3"/>
                  </a:cubicBezTo>
                  <a:cubicBezTo>
                    <a:pt x="3" y="3"/>
                    <a:pt x="3" y="3"/>
                    <a:pt x="3" y="6"/>
                  </a:cubicBezTo>
                  <a:lnTo>
                    <a:pt x="8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5" name="Freeform 143"/>
            <p:cNvSpPr>
              <a:spLocks noChangeArrowheads="1"/>
            </p:cNvSpPr>
            <p:nvPr/>
          </p:nvSpPr>
          <p:spPr bwMode="auto">
            <a:xfrm>
              <a:off x="3663950" y="2847975"/>
              <a:ext cx="1588" cy="1588"/>
            </a:xfrm>
            <a:custGeom>
              <a:avLst/>
              <a:gdLst>
                <a:gd name="T0" fmla="*/ 0 w 6"/>
                <a:gd name="T1" fmla="*/ 0 h 4"/>
                <a:gd name="T2" fmla="*/ 0 w 6"/>
                <a:gd name="T3" fmla="*/ 0 h 4"/>
                <a:gd name="T4" fmla="*/ 0 w 6"/>
                <a:gd name="T5" fmla="*/ 0 h 4"/>
                <a:gd name="T6" fmla="*/ 5 w 6"/>
                <a:gd name="T7" fmla="*/ 3 h 4"/>
                <a:gd name="T8" fmla="*/ 0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2" y="3"/>
                    <a:pt x="5" y="3"/>
                  </a:cubicBezTo>
                  <a:cubicBezTo>
                    <a:pt x="2" y="3"/>
                    <a:pt x="2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6" name="Freeform 144"/>
            <p:cNvSpPr>
              <a:spLocks noChangeArrowheads="1"/>
            </p:cNvSpPr>
            <p:nvPr/>
          </p:nvSpPr>
          <p:spPr bwMode="auto">
            <a:xfrm>
              <a:off x="3663950" y="2847975"/>
              <a:ext cx="3175" cy="3175"/>
            </a:xfrm>
            <a:custGeom>
              <a:avLst/>
              <a:gdLst>
                <a:gd name="T0" fmla="*/ 5 w 9"/>
                <a:gd name="T1" fmla="*/ 6 h 7"/>
                <a:gd name="T2" fmla="*/ 3 w 9"/>
                <a:gd name="T3" fmla="*/ 0 h 7"/>
                <a:gd name="T4" fmla="*/ 0 w 9"/>
                <a:gd name="T5" fmla="*/ 0 h 7"/>
                <a:gd name="T6" fmla="*/ 5 w 9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5" y="6"/>
                  </a:moveTo>
                  <a:cubicBezTo>
                    <a:pt x="8" y="6"/>
                    <a:pt x="5" y="6"/>
                    <a:pt x="3" y="0"/>
                  </a:cubicBezTo>
                  <a:lnTo>
                    <a:pt x="0" y="0"/>
                  </a:lnTo>
                  <a:cubicBezTo>
                    <a:pt x="3" y="3"/>
                    <a:pt x="3" y="6"/>
                    <a:pt x="5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7" name="Freeform 145"/>
            <p:cNvSpPr>
              <a:spLocks noChangeArrowheads="1"/>
            </p:cNvSpPr>
            <p:nvPr/>
          </p:nvSpPr>
          <p:spPr bwMode="auto">
            <a:xfrm>
              <a:off x="3614738" y="2403475"/>
              <a:ext cx="9525" cy="9525"/>
            </a:xfrm>
            <a:custGeom>
              <a:avLst/>
              <a:gdLst>
                <a:gd name="T0" fmla="*/ 12 w 27"/>
                <a:gd name="T1" fmla="*/ 25 h 26"/>
                <a:gd name="T2" fmla="*/ 12 w 27"/>
                <a:gd name="T3" fmla="*/ 25 h 26"/>
                <a:gd name="T4" fmla="*/ 26 w 27"/>
                <a:gd name="T5" fmla="*/ 2 h 26"/>
                <a:gd name="T6" fmla="*/ 14 w 27"/>
                <a:gd name="T7" fmla="*/ 0 h 26"/>
                <a:gd name="T8" fmla="*/ 9 w 27"/>
                <a:gd name="T9" fmla="*/ 14 h 26"/>
                <a:gd name="T10" fmla="*/ 3 w 27"/>
                <a:gd name="T11" fmla="*/ 14 h 26"/>
                <a:gd name="T12" fmla="*/ 0 w 27"/>
                <a:gd name="T13" fmla="*/ 19 h 26"/>
                <a:gd name="T14" fmla="*/ 0 w 27"/>
                <a:gd name="T15" fmla="*/ 19 h 26"/>
                <a:gd name="T16" fmla="*/ 12 w 27"/>
                <a:gd name="T17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6">
                  <a:moveTo>
                    <a:pt x="12" y="25"/>
                  </a:moveTo>
                  <a:lnTo>
                    <a:pt x="12" y="25"/>
                  </a:lnTo>
                  <a:cubicBezTo>
                    <a:pt x="14" y="17"/>
                    <a:pt x="20" y="8"/>
                    <a:pt x="26" y="2"/>
                  </a:cubicBezTo>
                  <a:cubicBezTo>
                    <a:pt x="23" y="0"/>
                    <a:pt x="17" y="0"/>
                    <a:pt x="14" y="0"/>
                  </a:cubicBezTo>
                  <a:cubicBezTo>
                    <a:pt x="12" y="2"/>
                    <a:pt x="6" y="5"/>
                    <a:pt x="9" y="14"/>
                  </a:cubicBezTo>
                  <a:cubicBezTo>
                    <a:pt x="6" y="14"/>
                    <a:pt x="6" y="14"/>
                    <a:pt x="3" y="14"/>
                  </a:cubicBezTo>
                  <a:cubicBezTo>
                    <a:pt x="3" y="17"/>
                    <a:pt x="3" y="17"/>
                    <a:pt x="0" y="19"/>
                  </a:cubicBezTo>
                  <a:lnTo>
                    <a:pt x="0" y="19"/>
                  </a:lnTo>
                  <a:cubicBezTo>
                    <a:pt x="6" y="14"/>
                    <a:pt x="6" y="25"/>
                    <a:pt x="12" y="2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8" name="Freeform 146"/>
            <p:cNvSpPr>
              <a:spLocks noChangeArrowheads="1"/>
            </p:cNvSpPr>
            <p:nvPr/>
          </p:nvSpPr>
          <p:spPr bwMode="auto">
            <a:xfrm>
              <a:off x="3738563" y="2217738"/>
              <a:ext cx="3175" cy="1587"/>
            </a:xfrm>
            <a:custGeom>
              <a:avLst/>
              <a:gdLst>
                <a:gd name="T0" fmla="*/ 0 w 9"/>
                <a:gd name="T1" fmla="*/ 2 h 3"/>
                <a:gd name="T2" fmla="*/ 8 w 9"/>
                <a:gd name="T3" fmla="*/ 0 h 3"/>
                <a:gd name="T4" fmla="*/ 0 w 9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0" y="2"/>
                  </a:moveTo>
                  <a:cubicBezTo>
                    <a:pt x="2" y="2"/>
                    <a:pt x="5" y="0"/>
                    <a:pt x="8" y="0"/>
                  </a:cubicBezTo>
                  <a:cubicBezTo>
                    <a:pt x="5" y="0"/>
                    <a:pt x="2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89" name="Freeform 147"/>
            <p:cNvSpPr>
              <a:spLocks noChangeArrowheads="1"/>
            </p:cNvSpPr>
            <p:nvPr/>
          </p:nvSpPr>
          <p:spPr bwMode="auto">
            <a:xfrm>
              <a:off x="3616325" y="2420938"/>
              <a:ext cx="1588" cy="1587"/>
            </a:xfrm>
            <a:custGeom>
              <a:avLst/>
              <a:gdLst>
                <a:gd name="T0" fmla="*/ 0 w 4"/>
                <a:gd name="T1" fmla="*/ 0 h 6"/>
                <a:gd name="T2" fmla="*/ 3 w 4"/>
                <a:gd name="T3" fmla="*/ 5 h 6"/>
                <a:gd name="T4" fmla="*/ 0 w 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cubicBezTo>
                    <a:pt x="3" y="2"/>
                    <a:pt x="3" y="5"/>
                    <a:pt x="3" y="5"/>
                  </a:cubicBezTo>
                  <a:cubicBezTo>
                    <a:pt x="3" y="2"/>
                    <a:pt x="3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0" name="Freeform 148"/>
            <p:cNvSpPr>
              <a:spLocks noChangeArrowheads="1"/>
            </p:cNvSpPr>
            <p:nvPr/>
          </p:nvSpPr>
          <p:spPr bwMode="auto">
            <a:xfrm>
              <a:off x="4240213" y="3089275"/>
              <a:ext cx="3175" cy="1588"/>
            </a:xfrm>
            <a:custGeom>
              <a:avLst/>
              <a:gdLst>
                <a:gd name="T0" fmla="*/ 0 w 7"/>
                <a:gd name="T1" fmla="*/ 2 h 3"/>
                <a:gd name="T2" fmla="*/ 0 w 7"/>
                <a:gd name="T3" fmla="*/ 2 h 3"/>
                <a:gd name="T4" fmla="*/ 6 w 7"/>
                <a:gd name="T5" fmla="*/ 0 h 3"/>
                <a:gd name="T6" fmla="*/ 6 w 7"/>
                <a:gd name="T7" fmla="*/ 0 h 3"/>
                <a:gd name="T8" fmla="*/ 0 w 7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lnTo>
                    <a:pt x="0" y="2"/>
                  </a:lnTo>
                  <a:cubicBezTo>
                    <a:pt x="3" y="2"/>
                    <a:pt x="3" y="0"/>
                    <a:pt x="6" y="0"/>
                  </a:cubicBezTo>
                  <a:lnTo>
                    <a:pt x="6" y="0"/>
                  </a:lnTo>
                  <a:cubicBezTo>
                    <a:pt x="3" y="0"/>
                    <a:pt x="3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1" name="Freeform 149"/>
            <p:cNvSpPr>
              <a:spLocks noChangeArrowheads="1"/>
            </p:cNvSpPr>
            <p:nvPr/>
          </p:nvSpPr>
          <p:spPr bwMode="auto">
            <a:xfrm>
              <a:off x="3603625" y="2498725"/>
              <a:ext cx="4763" cy="3175"/>
            </a:xfrm>
            <a:custGeom>
              <a:avLst/>
              <a:gdLst>
                <a:gd name="T0" fmla="*/ 0 w 13"/>
                <a:gd name="T1" fmla="*/ 8 h 9"/>
                <a:gd name="T2" fmla="*/ 0 w 13"/>
                <a:gd name="T3" fmla="*/ 8 h 9"/>
                <a:gd name="T4" fmla="*/ 12 w 13"/>
                <a:gd name="T5" fmla="*/ 0 h 9"/>
                <a:gd name="T6" fmla="*/ 0 w 13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0" y="8"/>
                  </a:moveTo>
                  <a:lnTo>
                    <a:pt x="0" y="8"/>
                  </a:lnTo>
                  <a:cubicBezTo>
                    <a:pt x="3" y="5"/>
                    <a:pt x="9" y="3"/>
                    <a:pt x="12" y="0"/>
                  </a:cubicBezTo>
                  <a:cubicBezTo>
                    <a:pt x="6" y="0"/>
                    <a:pt x="3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2" name="Freeform 150"/>
            <p:cNvSpPr>
              <a:spLocks noChangeArrowheads="1"/>
            </p:cNvSpPr>
            <p:nvPr/>
          </p:nvSpPr>
          <p:spPr bwMode="auto">
            <a:xfrm>
              <a:off x="4438650" y="2989263"/>
              <a:ext cx="1588" cy="3175"/>
            </a:xfrm>
            <a:custGeom>
              <a:avLst/>
              <a:gdLst>
                <a:gd name="T0" fmla="*/ 2 w 3"/>
                <a:gd name="T1" fmla="*/ 0 h 7"/>
                <a:gd name="T2" fmla="*/ 2 w 3"/>
                <a:gd name="T3" fmla="*/ 0 h 7"/>
                <a:gd name="T4" fmla="*/ 0 w 3"/>
                <a:gd name="T5" fmla="*/ 6 h 7"/>
                <a:gd name="T6" fmla="*/ 2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2" y="0"/>
                  </a:moveTo>
                  <a:lnTo>
                    <a:pt x="2" y="0"/>
                  </a:lnTo>
                  <a:cubicBezTo>
                    <a:pt x="2" y="3"/>
                    <a:pt x="2" y="3"/>
                    <a:pt x="0" y="6"/>
                  </a:cubicBezTo>
                  <a:cubicBezTo>
                    <a:pt x="0" y="3"/>
                    <a:pt x="2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3" name="Freeform 151"/>
            <p:cNvSpPr>
              <a:spLocks noChangeArrowheads="1"/>
            </p:cNvSpPr>
            <p:nvPr/>
          </p:nvSpPr>
          <p:spPr bwMode="auto">
            <a:xfrm>
              <a:off x="3992563" y="3067050"/>
              <a:ext cx="1587" cy="1588"/>
            </a:xfrm>
            <a:custGeom>
              <a:avLst/>
              <a:gdLst>
                <a:gd name="T0" fmla="*/ 0 w 4"/>
                <a:gd name="T1" fmla="*/ 0 h 3"/>
                <a:gd name="T2" fmla="*/ 0 w 4"/>
                <a:gd name="T3" fmla="*/ 2 h 3"/>
                <a:gd name="T4" fmla="*/ 0 w 4"/>
                <a:gd name="T5" fmla="*/ 2 h 3"/>
                <a:gd name="T6" fmla="*/ 0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cubicBezTo>
                    <a:pt x="3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4" name="Freeform 152"/>
            <p:cNvSpPr>
              <a:spLocks noChangeArrowheads="1"/>
            </p:cNvSpPr>
            <p:nvPr/>
          </p:nvSpPr>
          <p:spPr bwMode="auto">
            <a:xfrm>
              <a:off x="3625850" y="2420938"/>
              <a:ext cx="7938" cy="7937"/>
            </a:xfrm>
            <a:custGeom>
              <a:avLst/>
              <a:gdLst>
                <a:gd name="T0" fmla="*/ 0 w 24"/>
                <a:gd name="T1" fmla="*/ 2 h 20"/>
                <a:gd name="T2" fmla="*/ 17 w 24"/>
                <a:gd name="T3" fmla="*/ 19 h 20"/>
                <a:gd name="T4" fmla="*/ 23 w 24"/>
                <a:gd name="T5" fmla="*/ 16 h 20"/>
                <a:gd name="T6" fmla="*/ 0 w 24"/>
                <a:gd name="T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0">
                  <a:moveTo>
                    <a:pt x="0" y="2"/>
                  </a:moveTo>
                  <a:cubicBezTo>
                    <a:pt x="3" y="11"/>
                    <a:pt x="6" y="16"/>
                    <a:pt x="17" y="19"/>
                  </a:cubicBezTo>
                  <a:cubicBezTo>
                    <a:pt x="17" y="16"/>
                    <a:pt x="20" y="16"/>
                    <a:pt x="23" y="16"/>
                  </a:cubicBezTo>
                  <a:cubicBezTo>
                    <a:pt x="23" y="5"/>
                    <a:pt x="6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5" name="Freeform 153"/>
            <p:cNvSpPr>
              <a:spLocks noChangeArrowheads="1"/>
            </p:cNvSpPr>
            <p:nvPr/>
          </p:nvSpPr>
          <p:spPr bwMode="auto">
            <a:xfrm>
              <a:off x="3854450" y="2112963"/>
              <a:ext cx="4763" cy="4762"/>
            </a:xfrm>
            <a:custGeom>
              <a:avLst/>
              <a:gdLst>
                <a:gd name="T0" fmla="*/ 0 w 15"/>
                <a:gd name="T1" fmla="*/ 11 h 12"/>
                <a:gd name="T2" fmla="*/ 14 w 15"/>
                <a:gd name="T3" fmla="*/ 0 h 12"/>
                <a:gd name="T4" fmla="*/ 0 w 15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0" y="11"/>
                  </a:moveTo>
                  <a:cubicBezTo>
                    <a:pt x="3" y="5"/>
                    <a:pt x="8" y="3"/>
                    <a:pt x="14" y="0"/>
                  </a:cubicBezTo>
                  <a:cubicBezTo>
                    <a:pt x="8" y="5"/>
                    <a:pt x="3" y="8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6" name="Freeform 154"/>
            <p:cNvSpPr>
              <a:spLocks noChangeArrowheads="1"/>
            </p:cNvSpPr>
            <p:nvPr/>
          </p:nvSpPr>
          <p:spPr bwMode="auto">
            <a:xfrm>
              <a:off x="3849688" y="3033713"/>
              <a:ext cx="4762" cy="3175"/>
            </a:xfrm>
            <a:custGeom>
              <a:avLst/>
              <a:gdLst>
                <a:gd name="T0" fmla="*/ 11 w 12"/>
                <a:gd name="T1" fmla="*/ 9 h 10"/>
                <a:gd name="T2" fmla="*/ 0 w 12"/>
                <a:gd name="T3" fmla="*/ 0 h 10"/>
                <a:gd name="T4" fmla="*/ 11 w 12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9"/>
                  </a:moveTo>
                  <a:cubicBezTo>
                    <a:pt x="9" y="6"/>
                    <a:pt x="3" y="3"/>
                    <a:pt x="0" y="0"/>
                  </a:cubicBezTo>
                  <a:cubicBezTo>
                    <a:pt x="3" y="3"/>
                    <a:pt x="6" y="6"/>
                    <a:pt x="11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7" name="Freeform 155"/>
            <p:cNvSpPr>
              <a:spLocks noChangeArrowheads="1"/>
            </p:cNvSpPr>
            <p:nvPr/>
          </p:nvSpPr>
          <p:spPr bwMode="auto">
            <a:xfrm>
              <a:off x="3587750" y="2574925"/>
              <a:ext cx="4763" cy="15875"/>
            </a:xfrm>
            <a:custGeom>
              <a:avLst/>
              <a:gdLst>
                <a:gd name="T0" fmla="*/ 11 w 15"/>
                <a:gd name="T1" fmla="*/ 33 h 43"/>
                <a:gd name="T2" fmla="*/ 0 w 15"/>
                <a:gd name="T3" fmla="*/ 0 h 43"/>
                <a:gd name="T4" fmla="*/ 14 w 15"/>
                <a:gd name="T5" fmla="*/ 42 h 43"/>
                <a:gd name="T6" fmla="*/ 11 w 15"/>
                <a:gd name="T7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43">
                  <a:moveTo>
                    <a:pt x="11" y="33"/>
                  </a:moveTo>
                  <a:cubicBezTo>
                    <a:pt x="9" y="22"/>
                    <a:pt x="3" y="11"/>
                    <a:pt x="0" y="0"/>
                  </a:cubicBezTo>
                  <a:cubicBezTo>
                    <a:pt x="3" y="14"/>
                    <a:pt x="6" y="31"/>
                    <a:pt x="14" y="42"/>
                  </a:cubicBezTo>
                  <a:cubicBezTo>
                    <a:pt x="14" y="39"/>
                    <a:pt x="11" y="36"/>
                    <a:pt x="11" y="3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8" name="Freeform 156"/>
            <p:cNvSpPr>
              <a:spLocks noChangeArrowheads="1"/>
            </p:cNvSpPr>
            <p:nvPr/>
          </p:nvSpPr>
          <p:spPr bwMode="auto">
            <a:xfrm>
              <a:off x="3852863" y="2116138"/>
              <a:ext cx="1587" cy="3175"/>
            </a:xfrm>
            <a:custGeom>
              <a:avLst/>
              <a:gdLst>
                <a:gd name="T0" fmla="*/ 4 w 5"/>
                <a:gd name="T1" fmla="*/ 0 h 9"/>
                <a:gd name="T2" fmla="*/ 1 w 5"/>
                <a:gd name="T3" fmla="*/ 5 h 9"/>
                <a:gd name="T4" fmla="*/ 4 w 5"/>
                <a:gd name="T5" fmla="*/ 0 h 9"/>
                <a:gd name="T6" fmla="*/ 1 w 5"/>
                <a:gd name="T7" fmla="*/ 6 h 9"/>
                <a:gd name="T8" fmla="*/ 1 w 5"/>
                <a:gd name="T9" fmla="*/ 5 h 9"/>
                <a:gd name="T10" fmla="*/ 1 w 5"/>
                <a:gd name="T11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9">
                  <a:moveTo>
                    <a:pt x="4" y="0"/>
                  </a:moveTo>
                  <a:cubicBezTo>
                    <a:pt x="2" y="3"/>
                    <a:pt x="1" y="3"/>
                    <a:pt x="1" y="5"/>
                  </a:cubicBezTo>
                  <a:cubicBezTo>
                    <a:pt x="2" y="4"/>
                    <a:pt x="3" y="3"/>
                    <a:pt x="4" y="0"/>
                  </a:cubicBezTo>
                  <a:close/>
                  <a:moveTo>
                    <a:pt x="1" y="6"/>
                  </a:moveTo>
                  <a:cubicBezTo>
                    <a:pt x="0" y="8"/>
                    <a:pt x="0" y="7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99" name="Freeform 157"/>
            <p:cNvSpPr>
              <a:spLocks noChangeArrowheads="1"/>
            </p:cNvSpPr>
            <p:nvPr/>
          </p:nvSpPr>
          <p:spPr bwMode="auto">
            <a:xfrm>
              <a:off x="4057650" y="3098800"/>
              <a:ext cx="7938" cy="4763"/>
            </a:xfrm>
            <a:custGeom>
              <a:avLst/>
              <a:gdLst>
                <a:gd name="T0" fmla="*/ 2 w 20"/>
                <a:gd name="T1" fmla="*/ 3 h 12"/>
                <a:gd name="T2" fmla="*/ 2 w 20"/>
                <a:gd name="T3" fmla="*/ 3 h 12"/>
                <a:gd name="T4" fmla="*/ 19 w 20"/>
                <a:gd name="T5" fmla="*/ 11 h 12"/>
                <a:gd name="T6" fmla="*/ 0 w 20"/>
                <a:gd name="T7" fmla="*/ 0 h 12"/>
                <a:gd name="T8" fmla="*/ 2 w 20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2">
                  <a:moveTo>
                    <a:pt x="2" y="3"/>
                  </a:moveTo>
                  <a:lnTo>
                    <a:pt x="2" y="3"/>
                  </a:lnTo>
                  <a:cubicBezTo>
                    <a:pt x="5" y="6"/>
                    <a:pt x="11" y="8"/>
                    <a:pt x="19" y="11"/>
                  </a:cubicBezTo>
                  <a:cubicBezTo>
                    <a:pt x="14" y="8"/>
                    <a:pt x="5" y="6"/>
                    <a:pt x="0" y="0"/>
                  </a:cubicBezTo>
                  <a:cubicBezTo>
                    <a:pt x="0" y="3"/>
                    <a:pt x="2" y="3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0" name="Freeform 158"/>
            <p:cNvSpPr>
              <a:spLocks noChangeArrowheads="1"/>
            </p:cNvSpPr>
            <p:nvPr/>
          </p:nvSpPr>
          <p:spPr bwMode="auto">
            <a:xfrm>
              <a:off x="3852863" y="2116138"/>
              <a:ext cx="1587" cy="3175"/>
            </a:xfrm>
            <a:custGeom>
              <a:avLst/>
              <a:gdLst>
                <a:gd name="T0" fmla="*/ 3 w 4"/>
                <a:gd name="T1" fmla="*/ 3 h 10"/>
                <a:gd name="T2" fmla="*/ 3 w 4"/>
                <a:gd name="T3" fmla="*/ 3 h 10"/>
                <a:gd name="T4" fmla="*/ 3 w 4"/>
                <a:gd name="T5" fmla="*/ 3 h 10"/>
                <a:gd name="T6" fmla="*/ 0 w 4"/>
                <a:gd name="T7" fmla="*/ 9 h 10"/>
                <a:gd name="T8" fmla="*/ 3 w 4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3" y="3"/>
                  </a:moveTo>
                  <a:lnTo>
                    <a:pt x="3" y="3"/>
                  </a:lnTo>
                  <a:cubicBezTo>
                    <a:pt x="3" y="3"/>
                    <a:pt x="3" y="0"/>
                    <a:pt x="3" y="3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0" y="6"/>
                    <a:pt x="3" y="6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1" name="Freeform 159"/>
            <p:cNvSpPr>
              <a:spLocks noChangeArrowheads="1"/>
            </p:cNvSpPr>
            <p:nvPr/>
          </p:nvSpPr>
          <p:spPr bwMode="auto">
            <a:xfrm>
              <a:off x="3633788" y="2443163"/>
              <a:ext cx="1587" cy="1587"/>
            </a:xfrm>
            <a:custGeom>
              <a:avLst/>
              <a:gdLst>
                <a:gd name="T0" fmla="*/ 3 w 4"/>
                <a:gd name="T1" fmla="*/ 0 h 3"/>
                <a:gd name="T2" fmla="*/ 0 w 4"/>
                <a:gd name="T3" fmla="*/ 0 h 3"/>
                <a:gd name="T4" fmla="*/ 0 w 4"/>
                <a:gd name="T5" fmla="*/ 0 h 3"/>
                <a:gd name="T6" fmla="*/ 3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3" y="2"/>
                    <a:pt x="3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2" name="Freeform 160"/>
            <p:cNvSpPr>
              <a:spLocks noChangeArrowheads="1"/>
            </p:cNvSpPr>
            <p:nvPr/>
          </p:nvSpPr>
          <p:spPr bwMode="auto">
            <a:xfrm>
              <a:off x="3868738" y="2119313"/>
              <a:ext cx="1587" cy="4762"/>
            </a:xfrm>
            <a:custGeom>
              <a:avLst/>
              <a:gdLst>
                <a:gd name="T0" fmla="*/ 3 w 6"/>
                <a:gd name="T1" fmla="*/ 0 h 12"/>
                <a:gd name="T2" fmla="*/ 2 w 6"/>
                <a:gd name="T3" fmla="*/ 2 h 12"/>
                <a:gd name="T4" fmla="*/ 0 w 6"/>
                <a:gd name="T5" fmla="*/ 8 h 12"/>
                <a:gd name="T6" fmla="*/ 3 w 6"/>
                <a:gd name="T7" fmla="*/ 0 h 12"/>
                <a:gd name="T8" fmla="*/ 3 w 6"/>
                <a:gd name="T9" fmla="*/ 0 h 12"/>
                <a:gd name="T10" fmla="*/ 2 w 6"/>
                <a:gd name="T11" fmla="*/ 2 h 12"/>
                <a:gd name="T12" fmla="*/ 3 w 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cubicBezTo>
                    <a:pt x="3" y="1"/>
                    <a:pt x="2" y="1"/>
                    <a:pt x="2" y="2"/>
                  </a:cubicBezTo>
                  <a:lnTo>
                    <a:pt x="0" y="8"/>
                  </a:lnTo>
                  <a:cubicBezTo>
                    <a:pt x="5" y="11"/>
                    <a:pt x="5" y="0"/>
                    <a:pt x="3" y="0"/>
                  </a:cubicBezTo>
                  <a:close/>
                  <a:moveTo>
                    <a:pt x="3" y="0"/>
                  </a:moveTo>
                  <a:lnTo>
                    <a:pt x="2" y="2"/>
                  </a:lnTo>
                  <a:cubicBezTo>
                    <a:pt x="1" y="2"/>
                    <a:pt x="1" y="2"/>
                    <a:pt x="3" y="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3" name="Freeform 161"/>
            <p:cNvSpPr>
              <a:spLocks noChangeArrowheads="1"/>
            </p:cNvSpPr>
            <p:nvPr/>
          </p:nvSpPr>
          <p:spPr bwMode="auto">
            <a:xfrm>
              <a:off x="3649663" y="2386013"/>
              <a:ext cx="3175" cy="4762"/>
            </a:xfrm>
            <a:custGeom>
              <a:avLst/>
              <a:gdLst>
                <a:gd name="T0" fmla="*/ 0 w 10"/>
                <a:gd name="T1" fmla="*/ 0 h 12"/>
                <a:gd name="T2" fmla="*/ 0 w 10"/>
                <a:gd name="T3" fmla="*/ 2 h 12"/>
                <a:gd name="T4" fmla="*/ 9 w 10"/>
                <a:gd name="T5" fmla="*/ 11 h 12"/>
                <a:gd name="T6" fmla="*/ 9 w 10"/>
                <a:gd name="T7" fmla="*/ 11 h 12"/>
                <a:gd name="T8" fmla="*/ 0 w 1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0" y="0"/>
                  </a:moveTo>
                  <a:lnTo>
                    <a:pt x="0" y="2"/>
                  </a:lnTo>
                  <a:cubicBezTo>
                    <a:pt x="3" y="5"/>
                    <a:pt x="6" y="8"/>
                    <a:pt x="9" y="11"/>
                  </a:cubicBezTo>
                  <a:lnTo>
                    <a:pt x="9" y="11"/>
                  </a:lnTo>
                  <a:cubicBezTo>
                    <a:pt x="6" y="8"/>
                    <a:pt x="3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4" name="Freeform 162"/>
            <p:cNvSpPr>
              <a:spLocks noChangeArrowheads="1"/>
            </p:cNvSpPr>
            <p:nvPr/>
          </p:nvSpPr>
          <p:spPr bwMode="auto">
            <a:xfrm>
              <a:off x="4056063" y="3098800"/>
              <a:ext cx="1587" cy="1588"/>
            </a:xfrm>
            <a:custGeom>
              <a:avLst/>
              <a:gdLst>
                <a:gd name="T0" fmla="*/ 5 w 6"/>
                <a:gd name="T1" fmla="*/ 3 h 4"/>
                <a:gd name="T2" fmla="*/ 5 w 6"/>
                <a:gd name="T3" fmla="*/ 3 h 4"/>
                <a:gd name="T4" fmla="*/ 0 w 6"/>
                <a:gd name="T5" fmla="*/ 0 h 4"/>
                <a:gd name="T6" fmla="*/ 5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5" y="3"/>
                  </a:lnTo>
                  <a:cubicBezTo>
                    <a:pt x="3" y="3"/>
                    <a:pt x="3" y="0"/>
                    <a:pt x="0" y="0"/>
                  </a:cubicBezTo>
                  <a:cubicBezTo>
                    <a:pt x="3" y="0"/>
                    <a:pt x="5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5" name="Freeform 163"/>
            <p:cNvSpPr>
              <a:spLocks noChangeArrowheads="1"/>
            </p:cNvSpPr>
            <p:nvPr/>
          </p:nvSpPr>
          <p:spPr bwMode="auto">
            <a:xfrm>
              <a:off x="4448175" y="2967038"/>
              <a:ext cx="4763" cy="3175"/>
            </a:xfrm>
            <a:custGeom>
              <a:avLst/>
              <a:gdLst>
                <a:gd name="T0" fmla="*/ 0 w 15"/>
                <a:gd name="T1" fmla="*/ 9 h 10"/>
                <a:gd name="T2" fmla="*/ 14 w 15"/>
                <a:gd name="T3" fmla="*/ 6 h 10"/>
                <a:gd name="T4" fmla="*/ 14 w 15"/>
                <a:gd name="T5" fmla="*/ 0 h 10"/>
                <a:gd name="T6" fmla="*/ 0 w 15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0" y="9"/>
                  </a:moveTo>
                  <a:cubicBezTo>
                    <a:pt x="3" y="6"/>
                    <a:pt x="8" y="6"/>
                    <a:pt x="14" y="6"/>
                  </a:cubicBezTo>
                  <a:lnTo>
                    <a:pt x="14" y="0"/>
                  </a:lnTo>
                  <a:cubicBezTo>
                    <a:pt x="8" y="0"/>
                    <a:pt x="3" y="3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6" name="Freeform 164"/>
            <p:cNvSpPr>
              <a:spLocks noChangeArrowheads="1"/>
            </p:cNvSpPr>
            <p:nvPr/>
          </p:nvSpPr>
          <p:spPr bwMode="auto">
            <a:xfrm>
              <a:off x="3611563" y="2689225"/>
              <a:ext cx="1587" cy="1588"/>
            </a:xfrm>
            <a:custGeom>
              <a:avLst/>
              <a:gdLst>
                <a:gd name="T0" fmla="*/ 0 w 4"/>
                <a:gd name="T1" fmla="*/ 0 h 6"/>
                <a:gd name="T2" fmla="*/ 3 w 4"/>
                <a:gd name="T3" fmla="*/ 5 h 6"/>
                <a:gd name="T4" fmla="*/ 0 w 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cubicBezTo>
                    <a:pt x="0" y="3"/>
                    <a:pt x="2" y="3"/>
                    <a:pt x="3" y="5"/>
                  </a:cubicBezTo>
                  <a:cubicBezTo>
                    <a:pt x="2" y="4"/>
                    <a:pt x="2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7" name="Freeform 165"/>
            <p:cNvSpPr>
              <a:spLocks noChangeArrowheads="1"/>
            </p:cNvSpPr>
            <p:nvPr/>
          </p:nvSpPr>
          <p:spPr bwMode="auto">
            <a:xfrm>
              <a:off x="4486275" y="2949575"/>
              <a:ext cx="1588" cy="3175"/>
            </a:xfrm>
            <a:custGeom>
              <a:avLst/>
              <a:gdLst>
                <a:gd name="T0" fmla="*/ 3 w 4"/>
                <a:gd name="T1" fmla="*/ 0 h 10"/>
                <a:gd name="T2" fmla="*/ 0 w 4"/>
                <a:gd name="T3" fmla="*/ 9 h 10"/>
                <a:gd name="T4" fmla="*/ 0 w 4"/>
                <a:gd name="T5" fmla="*/ 9 h 10"/>
                <a:gd name="T6" fmla="*/ 3 w 4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0"/>
                  </a:moveTo>
                  <a:cubicBezTo>
                    <a:pt x="3" y="3"/>
                    <a:pt x="3" y="6"/>
                    <a:pt x="0" y="9"/>
                  </a:cubicBezTo>
                  <a:lnTo>
                    <a:pt x="0" y="9"/>
                  </a:lnTo>
                  <a:cubicBezTo>
                    <a:pt x="0" y="6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8" name="Freeform 166"/>
            <p:cNvSpPr>
              <a:spLocks noChangeArrowheads="1"/>
            </p:cNvSpPr>
            <p:nvPr/>
          </p:nvSpPr>
          <p:spPr bwMode="auto">
            <a:xfrm>
              <a:off x="3776663" y="2965450"/>
              <a:ext cx="3175" cy="1588"/>
            </a:xfrm>
            <a:custGeom>
              <a:avLst/>
              <a:gdLst>
                <a:gd name="T0" fmla="*/ 8 w 9"/>
                <a:gd name="T1" fmla="*/ 2 h 3"/>
                <a:gd name="T2" fmla="*/ 0 w 9"/>
                <a:gd name="T3" fmla="*/ 0 h 3"/>
                <a:gd name="T4" fmla="*/ 8 w 9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8" y="2"/>
                  </a:moveTo>
                  <a:cubicBezTo>
                    <a:pt x="5" y="2"/>
                    <a:pt x="3" y="0"/>
                    <a:pt x="0" y="0"/>
                  </a:cubicBezTo>
                  <a:cubicBezTo>
                    <a:pt x="3" y="2"/>
                    <a:pt x="5" y="2"/>
                    <a:pt x="8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09" name="Freeform 167"/>
            <p:cNvSpPr>
              <a:spLocks noChangeArrowheads="1"/>
            </p:cNvSpPr>
            <p:nvPr/>
          </p:nvSpPr>
          <p:spPr bwMode="auto">
            <a:xfrm>
              <a:off x="3644900" y="2382838"/>
              <a:ext cx="3175" cy="1587"/>
            </a:xfrm>
            <a:custGeom>
              <a:avLst/>
              <a:gdLst>
                <a:gd name="T0" fmla="*/ 3 w 7"/>
                <a:gd name="T1" fmla="*/ 0 h 4"/>
                <a:gd name="T2" fmla="*/ 6 w 7"/>
                <a:gd name="T3" fmla="*/ 3 h 4"/>
                <a:gd name="T4" fmla="*/ 3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3" y="0"/>
                  </a:moveTo>
                  <a:cubicBezTo>
                    <a:pt x="0" y="3"/>
                    <a:pt x="3" y="3"/>
                    <a:pt x="6" y="3"/>
                  </a:cubicBezTo>
                  <a:cubicBezTo>
                    <a:pt x="3" y="3"/>
                    <a:pt x="3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0" name="Freeform 168"/>
            <p:cNvSpPr>
              <a:spLocks noChangeArrowheads="1"/>
            </p:cNvSpPr>
            <p:nvPr/>
          </p:nvSpPr>
          <p:spPr bwMode="auto">
            <a:xfrm>
              <a:off x="3638550" y="2389188"/>
              <a:ext cx="1588" cy="1587"/>
            </a:xfrm>
            <a:custGeom>
              <a:avLst/>
              <a:gdLst>
                <a:gd name="T0" fmla="*/ 0 w 4"/>
                <a:gd name="T1" fmla="*/ 0 h 4"/>
                <a:gd name="T2" fmla="*/ 3 w 4"/>
                <a:gd name="T3" fmla="*/ 3 h 4"/>
                <a:gd name="T4" fmla="*/ 3 w 4"/>
                <a:gd name="T5" fmla="*/ 3 h 4"/>
                <a:gd name="T6" fmla="*/ 0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3" y="3"/>
                  </a:lnTo>
                  <a:lnTo>
                    <a:pt x="3" y="3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1" name="Freeform 169"/>
            <p:cNvSpPr>
              <a:spLocks noChangeArrowheads="1"/>
            </p:cNvSpPr>
            <p:nvPr/>
          </p:nvSpPr>
          <p:spPr bwMode="auto">
            <a:xfrm>
              <a:off x="3636963" y="2389188"/>
              <a:ext cx="1587" cy="1587"/>
            </a:xfrm>
            <a:custGeom>
              <a:avLst/>
              <a:gdLst>
                <a:gd name="T0" fmla="*/ 3 w 4"/>
                <a:gd name="T1" fmla="*/ 3 h 4"/>
                <a:gd name="T2" fmla="*/ 0 w 4"/>
                <a:gd name="T3" fmla="*/ 0 h 4"/>
                <a:gd name="T4" fmla="*/ 3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3" y="0"/>
                    <a:pt x="0" y="0"/>
                    <a:pt x="0" y="0"/>
                  </a:cubicBezTo>
                  <a:cubicBezTo>
                    <a:pt x="3" y="0"/>
                    <a:pt x="3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2" name="Freeform 170"/>
            <p:cNvSpPr>
              <a:spLocks noChangeArrowheads="1"/>
            </p:cNvSpPr>
            <p:nvPr/>
          </p:nvSpPr>
          <p:spPr bwMode="auto">
            <a:xfrm>
              <a:off x="3617913" y="2705100"/>
              <a:ext cx="4762" cy="1588"/>
            </a:xfrm>
            <a:custGeom>
              <a:avLst/>
              <a:gdLst>
                <a:gd name="T0" fmla="*/ 5 w 12"/>
                <a:gd name="T1" fmla="*/ 3 h 4"/>
                <a:gd name="T2" fmla="*/ 11 w 12"/>
                <a:gd name="T3" fmla="*/ 3 h 4"/>
                <a:gd name="T4" fmla="*/ 5 w 12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4">
                  <a:moveTo>
                    <a:pt x="5" y="3"/>
                  </a:moveTo>
                  <a:cubicBezTo>
                    <a:pt x="8" y="3"/>
                    <a:pt x="11" y="3"/>
                    <a:pt x="11" y="3"/>
                  </a:cubicBezTo>
                  <a:cubicBezTo>
                    <a:pt x="5" y="3"/>
                    <a:pt x="0" y="0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3" name="Freeform 171"/>
            <p:cNvSpPr>
              <a:spLocks noChangeArrowheads="1"/>
            </p:cNvSpPr>
            <p:nvPr/>
          </p:nvSpPr>
          <p:spPr bwMode="auto">
            <a:xfrm>
              <a:off x="3940175" y="2087563"/>
              <a:ext cx="1588" cy="4762"/>
            </a:xfrm>
            <a:custGeom>
              <a:avLst/>
              <a:gdLst>
                <a:gd name="T0" fmla="*/ 0 w 4"/>
                <a:gd name="T1" fmla="*/ 11 h 12"/>
                <a:gd name="T2" fmla="*/ 0 w 4"/>
                <a:gd name="T3" fmla="*/ 11 h 12"/>
                <a:gd name="T4" fmla="*/ 3 w 4"/>
                <a:gd name="T5" fmla="*/ 0 h 12"/>
                <a:gd name="T6" fmla="*/ 0 w 4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2">
                  <a:moveTo>
                    <a:pt x="0" y="11"/>
                  </a:moveTo>
                  <a:lnTo>
                    <a:pt x="0" y="11"/>
                  </a:lnTo>
                  <a:cubicBezTo>
                    <a:pt x="0" y="8"/>
                    <a:pt x="3" y="2"/>
                    <a:pt x="3" y="0"/>
                  </a:cubicBezTo>
                  <a:cubicBezTo>
                    <a:pt x="3" y="2"/>
                    <a:pt x="0" y="5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4" name="Freeform 172"/>
            <p:cNvSpPr>
              <a:spLocks noChangeArrowheads="1"/>
            </p:cNvSpPr>
            <p:nvPr/>
          </p:nvSpPr>
          <p:spPr bwMode="auto">
            <a:xfrm>
              <a:off x="3646488" y="2381250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3 w 9"/>
                <a:gd name="T3" fmla="*/ 0 h 9"/>
                <a:gd name="T4" fmla="*/ 0 w 9"/>
                <a:gd name="T5" fmla="*/ 3 h 9"/>
                <a:gd name="T6" fmla="*/ 3 w 9"/>
                <a:gd name="T7" fmla="*/ 8 h 9"/>
                <a:gd name="T8" fmla="*/ 8 w 9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cubicBezTo>
                    <a:pt x="5" y="5"/>
                    <a:pt x="5" y="3"/>
                    <a:pt x="3" y="0"/>
                  </a:cubicBezTo>
                  <a:lnTo>
                    <a:pt x="0" y="3"/>
                  </a:lnTo>
                  <a:cubicBezTo>
                    <a:pt x="0" y="5"/>
                    <a:pt x="3" y="5"/>
                    <a:pt x="3" y="8"/>
                  </a:cubicBezTo>
                  <a:cubicBezTo>
                    <a:pt x="5" y="8"/>
                    <a:pt x="5" y="8"/>
                    <a:pt x="8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5" name="Freeform 173"/>
            <p:cNvSpPr>
              <a:spLocks noChangeArrowheads="1"/>
            </p:cNvSpPr>
            <p:nvPr/>
          </p:nvSpPr>
          <p:spPr bwMode="auto">
            <a:xfrm>
              <a:off x="4405313" y="2921000"/>
              <a:ext cx="7937" cy="4763"/>
            </a:xfrm>
            <a:custGeom>
              <a:avLst/>
              <a:gdLst>
                <a:gd name="T0" fmla="*/ 2 w 20"/>
                <a:gd name="T1" fmla="*/ 3 h 15"/>
                <a:gd name="T2" fmla="*/ 8 w 20"/>
                <a:gd name="T3" fmla="*/ 14 h 15"/>
                <a:gd name="T4" fmla="*/ 19 w 20"/>
                <a:gd name="T5" fmla="*/ 6 h 15"/>
                <a:gd name="T6" fmla="*/ 2 w 20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5">
                  <a:moveTo>
                    <a:pt x="2" y="3"/>
                  </a:moveTo>
                  <a:cubicBezTo>
                    <a:pt x="0" y="12"/>
                    <a:pt x="8" y="9"/>
                    <a:pt x="8" y="14"/>
                  </a:cubicBezTo>
                  <a:cubicBezTo>
                    <a:pt x="14" y="14"/>
                    <a:pt x="16" y="12"/>
                    <a:pt x="19" y="6"/>
                  </a:cubicBezTo>
                  <a:cubicBezTo>
                    <a:pt x="14" y="3"/>
                    <a:pt x="8" y="0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6" name="Freeform 174"/>
            <p:cNvSpPr>
              <a:spLocks noChangeArrowheads="1"/>
            </p:cNvSpPr>
            <p:nvPr/>
          </p:nvSpPr>
          <p:spPr bwMode="auto">
            <a:xfrm>
              <a:off x="4403725" y="2874963"/>
              <a:ext cx="6350" cy="7937"/>
            </a:xfrm>
            <a:custGeom>
              <a:avLst/>
              <a:gdLst>
                <a:gd name="T0" fmla="*/ 3 w 18"/>
                <a:gd name="T1" fmla="*/ 20 h 21"/>
                <a:gd name="T2" fmla="*/ 11 w 18"/>
                <a:gd name="T3" fmla="*/ 6 h 21"/>
                <a:gd name="T4" fmla="*/ 17 w 18"/>
                <a:gd name="T5" fmla="*/ 6 h 21"/>
                <a:gd name="T6" fmla="*/ 3 w 18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3" y="20"/>
                  </a:moveTo>
                  <a:cubicBezTo>
                    <a:pt x="5" y="14"/>
                    <a:pt x="8" y="12"/>
                    <a:pt x="11" y="6"/>
                  </a:cubicBezTo>
                  <a:lnTo>
                    <a:pt x="17" y="6"/>
                  </a:lnTo>
                  <a:cubicBezTo>
                    <a:pt x="8" y="0"/>
                    <a:pt x="0" y="9"/>
                    <a:pt x="3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7" name="Freeform 175"/>
            <p:cNvSpPr>
              <a:spLocks noChangeArrowheads="1"/>
            </p:cNvSpPr>
            <p:nvPr/>
          </p:nvSpPr>
          <p:spPr bwMode="auto">
            <a:xfrm>
              <a:off x="4411663" y="2697163"/>
              <a:ext cx="3175" cy="4762"/>
            </a:xfrm>
            <a:custGeom>
              <a:avLst/>
              <a:gdLst>
                <a:gd name="T0" fmla="*/ 9 w 10"/>
                <a:gd name="T1" fmla="*/ 11 h 15"/>
                <a:gd name="T2" fmla="*/ 9 w 10"/>
                <a:gd name="T3" fmla="*/ 3 h 15"/>
                <a:gd name="T4" fmla="*/ 3 w 10"/>
                <a:gd name="T5" fmla="*/ 0 h 15"/>
                <a:gd name="T6" fmla="*/ 9 w 10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5">
                  <a:moveTo>
                    <a:pt x="9" y="11"/>
                  </a:moveTo>
                  <a:lnTo>
                    <a:pt x="9" y="3"/>
                  </a:lnTo>
                  <a:cubicBezTo>
                    <a:pt x="9" y="3"/>
                    <a:pt x="6" y="0"/>
                    <a:pt x="3" y="0"/>
                  </a:cubicBezTo>
                  <a:cubicBezTo>
                    <a:pt x="0" y="3"/>
                    <a:pt x="3" y="14"/>
                    <a:pt x="9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8" name="Freeform 176"/>
            <p:cNvSpPr>
              <a:spLocks noChangeArrowheads="1"/>
            </p:cNvSpPr>
            <p:nvPr/>
          </p:nvSpPr>
          <p:spPr bwMode="auto">
            <a:xfrm>
              <a:off x="4405313" y="2717800"/>
              <a:ext cx="4762" cy="3175"/>
            </a:xfrm>
            <a:custGeom>
              <a:avLst/>
              <a:gdLst>
                <a:gd name="T0" fmla="*/ 0 w 15"/>
                <a:gd name="T1" fmla="*/ 3 h 10"/>
                <a:gd name="T2" fmla="*/ 12 w 15"/>
                <a:gd name="T3" fmla="*/ 9 h 10"/>
                <a:gd name="T4" fmla="*/ 14 w 15"/>
                <a:gd name="T5" fmla="*/ 3 h 10"/>
                <a:gd name="T6" fmla="*/ 0 w 15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0" y="3"/>
                  </a:moveTo>
                  <a:cubicBezTo>
                    <a:pt x="3" y="6"/>
                    <a:pt x="6" y="9"/>
                    <a:pt x="12" y="9"/>
                  </a:cubicBezTo>
                  <a:cubicBezTo>
                    <a:pt x="14" y="9"/>
                    <a:pt x="14" y="6"/>
                    <a:pt x="14" y="3"/>
                  </a:cubicBezTo>
                  <a:cubicBezTo>
                    <a:pt x="9" y="0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19" name="Freeform 177"/>
            <p:cNvSpPr>
              <a:spLocks noChangeArrowheads="1"/>
            </p:cNvSpPr>
            <p:nvPr/>
          </p:nvSpPr>
          <p:spPr bwMode="auto">
            <a:xfrm>
              <a:off x="4408488" y="2735263"/>
              <a:ext cx="3175" cy="6350"/>
            </a:xfrm>
            <a:custGeom>
              <a:avLst/>
              <a:gdLst>
                <a:gd name="T0" fmla="*/ 5 w 9"/>
                <a:gd name="T1" fmla="*/ 3 h 18"/>
                <a:gd name="T2" fmla="*/ 0 w 9"/>
                <a:gd name="T3" fmla="*/ 3 h 18"/>
                <a:gd name="T4" fmla="*/ 0 w 9"/>
                <a:gd name="T5" fmla="*/ 6 h 18"/>
                <a:gd name="T6" fmla="*/ 0 w 9"/>
                <a:gd name="T7" fmla="*/ 14 h 18"/>
                <a:gd name="T8" fmla="*/ 8 w 9"/>
                <a:gd name="T9" fmla="*/ 17 h 18"/>
                <a:gd name="T10" fmla="*/ 5 w 9"/>
                <a:gd name="T11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8">
                  <a:moveTo>
                    <a:pt x="5" y="3"/>
                  </a:moveTo>
                  <a:cubicBezTo>
                    <a:pt x="3" y="3"/>
                    <a:pt x="3" y="0"/>
                    <a:pt x="0" y="3"/>
                  </a:cubicBezTo>
                  <a:lnTo>
                    <a:pt x="0" y="6"/>
                  </a:lnTo>
                  <a:cubicBezTo>
                    <a:pt x="0" y="9"/>
                    <a:pt x="0" y="11"/>
                    <a:pt x="0" y="14"/>
                  </a:cubicBezTo>
                  <a:cubicBezTo>
                    <a:pt x="3" y="17"/>
                    <a:pt x="5" y="17"/>
                    <a:pt x="8" y="17"/>
                  </a:cubicBezTo>
                  <a:cubicBezTo>
                    <a:pt x="5" y="11"/>
                    <a:pt x="5" y="6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0" name="Freeform 178"/>
            <p:cNvSpPr>
              <a:spLocks noChangeArrowheads="1"/>
            </p:cNvSpPr>
            <p:nvPr/>
          </p:nvSpPr>
          <p:spPr bwMode="auto">
            <a:xfrm>
              <a:off x="4413250" y="2425700"/>
              <a:ext cx="3175" cy="3175"/>
            </a:xfrm>
            <a:custGeom>
              <a:avLst/>
              <a:gdLst>
                <a:gd name="T0" fmla="*/ 3 w 10"/>
                <a:gd name="T1" fmla="*/ 0 h 9"/>
                <a:gd name="T2" fmla="*/ 0 w 10"/>
                <a:gd name="T3" fmla="*/ 2 h 9"/>
                <a:gd name="T4" fmla="*/ 6 w 10"/>
                <a:gd name="T5" fmla="*/ 8 h 9"/>
                <a:gd name="T6" fmla="*/ 3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3" y="0"/>
                  </a:moveTo>
                  <a:cubicBezTo>
                    <a:pt x="0" y="0"/>
                    <a:pt x="0" y="2"/>
                    <a:pt x="0" y="2"/>
                  </a:cubicBezTo>
                  <a:cubicBezTo>
                    <a:pt x="0" y="5"/>
                    <a:pt x="3" y="8"/>
                    <a:pt x="6" y="8"/>
                  </a:cubicBezTo>
                  <a:cubicBezTo>
                    <a:pt x="9" y="5"/>
                    <a:pt x="9" y="2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1" name="Freeform 179"/>
            <p:cNvSpPr>
              <a:spLocks noChangeArrowheads="1"/>
            </p:cNvSpPr>
            <p:nvPr/>
          </p:nvSpPr>
          <p:spPr bwMode="auto">
            <a:xfrm>
              <a:off x="4416425" y="2343150"/>
              <a:ext cx="1588" cy="1588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3 h 4"/>
                <a:gd name="T4" fmla="*/ 2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0" y="0"/>
                    <a:pt x="0" y="0"/>
                    <a:pt x="0" y="3"/>
                  </a:cubicBezTo>
                  <a:lnTo>
                    <a:pt x="2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2" name="Freeform 180"/>
            <p:cNvSpPr>
              <a:spLocks noChangeArrowheads="1"/>
            </p:cNvSpPr>
            <p:nvPr/>
          </p:nvSpPr>
          <p:spPr bwMode="auto">
            <a:xfrm>
              <a:off x="4397375" y="2462213"/>
              <a:ext cx="1588" cy="3175"/>
            </a:xfrm>
            <a:custGeom>
              <a:avLst/>
              <a:gdLst>
                <a:gd name="T0" fmla="*/ 5 w 6"/>
                <a:gd name="T1" fmla="*/ 3 h 7"/>
                <a:gd name="T2" fmla="*/ 3 w 6"/>
                <a:gd name="T3" fmla="*/ 0 h 7"/>
                <a:gd name="T4" fmla="*/ 0 w 6"/>
                <a:gd name="T5" fmla="*/ 0 h 7"/>
                <a:gd name="T6" fmla="*/ 3 w 6"/>
                <a:gd name="T7" fmla="*/ 6 h 7"/>
                <a:gd name="T8" fmla="*/ 5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3"/>
                  </a:moveTo>
                  <a:lnTo>
                    <a:pt x="3" y="0"/>
                  </a:lnTo>
                  <a:lnTo>
                    <a:pt x="0" y="0"/>
                  </a:lnTo>
                  <a:cubicBezTo>
                    <a:pt x="0" y="3"/>
                    <a:pt x="0" y="6"/>
                    <a:pt x="3" y="6"/>
                  </a:cubicBezTo>
                  <a:cubicBezTo>
                    <a:pt x="3" y="6"/>
                    <a:pt x="3" y="6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3" name="Freeform 181"/>
            <p:cNvSpPr>
              <a:spLocks noChangeArrowheads="1"/>
            </p:cNvSpPr>
            <p:nvPr/>
          </p:nvSpPr>
          <p:spPr bwMode="auto">
            <a:xfrm>
              <a:off x="4403725" y="2965450"/>
              <a:ext cx="6350" cy="4763"/>
            </a:xfrm>
            <a:custGeom>
              <a:avLst/>
              <a:gdLst>
                <a:gd name="T0" fmla="*/ 5 w 18"/>
                <a:gd name="T1" fmla="*/ 0 h 13"/>
                <a:gd name="T2" fmla="*/ 0 w 18"/>
                <a:gd name="T3" fmla="*/ 6 h 13"/>
                <a:gd name="T4" fmla="*/ 17 w 18"/>
                <a:gd name="T5" fmla="*/ 12 h 13"/>
                <a:gd name="T6" fmla="*/ 5 w 18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3">
                  <a:moveTo>
                    <a:pt x="5" y="0"/>
                  </a:moveTo>
                  <a:cubicBezTo>
                    <a:pt x="3" y="3"/>
                    <a:pt x="3" y="3"/>
                    <a:pt x="0" y="6"/>
                  </a:cubicBezTo>
                  <a:cubicBezTo>
                    <a:pt x="3" y="12"/>
                    <a:pt x="8" y="12"/>
                    <a:pt x="17" y="12"/>
                  </a:cubicBezTo>
                  <a:cubicBezTo>
                    <a:pt x="14" y="6"/>
                    <a:pt x="11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4" name="Freeform 182"/>
            <p:cNvSpPr>
              <a:spLocks noChangeArrowheads="1"/>
            </p:cNvSpPr>
            <p:nvPr/>
          </p:nvSpPr>
          <p:spPr bwMode="auto">
            <a:xfrm>
              <a:off x="4368800" y="2495550"/>
              <a:ext cx="3175" cy="6350"/>
            </a:xfrm>
            <a:custGeom>
              <a:avLst/>
              <a:gdLst>
                <a:gd name="T0" fmla="*/ 0 w 9"/>
                <a:gd name="T1" fmla="*/ 0 h 18"/>
                <a:gd name="T2" fmla="*/ 3 w 9"/>
                <a:gd name="T3" fmla="*/ 17 h 18"/>
                <a:gd name="T4" fmla="*/ 5 w 9"/>
                <a:gd name="T5" fmla="*/ 17 h 18"/>
                <a:gd name="T6" fmla="*/ 8 w 9"/>
                <a:gd name="T7" fmla="*/ 3 h 18"/>
                <a:gd name="T8" fmla="*/ 0 w 9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8">
                  <a:moveTo>
                    <a:pt x="0" y="0"/>
                  </a:moveTo>
                  <a:cubicBezTo>
                    <a:pt x="0" y="6"/>
                    <a:pt x="0" y="12"/>
                    <a:pt x="3" y="17"/>
                  </a:cubicBezTo>
                  <a:lnTo>
                    <a:pt x="5" y="17"/>
                  </a:lnTo>
                  <a:cubicBezTo>
                    <a:pt x="8" y="12"/>
                    <a:pt x="8" y="9"/>
                    <a:pt x="8" y="3"/>
                  </a:cubicBezTo>
                  <a:cubicBezTo>
                    <a:pt x="5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5" name="Freeform 183"/>
            <p:cNvSpPr>
              <a:spLocks noChangeArrowheads="1"/>
            </p:cNvSpPr>
            <p:nvPr/>
          </p:nvSpPr>
          <p:spPr bwMode="auto">
            <a:xfrm>
              <a:off x="4376738" y="2995613"/>
              <a:ext cx="3175" cy="1587"/>
            </a:xfrm>
            <a:custGeom>
              <a:avLst/>
              <a:gdLst>
                <a:gd name="T0" fmla="*/ 3 w 7"/>
                <a:gd name="T1" fmla="*/ 3 h 4"/>
                <a:gd name="T2" fmla="*/ 6 w 7"/>
                <a:gd name="T3" fmla="*/ 3 h 4"/>
                <a:gd name="T4" fmla="*/ 3 w 7"/>
                <a:gd name="T5" fmla="*/ 0 h 4"/>
                <a:gd name="T6" fmla="*/ 0 w 7"/>
                <a:gd name="T7" fmla="*/ 0 h 4"/>
                <a:gd name="T8" fmla="*/ 3 w 7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6" name="Freeform 184"/>
            <p:cNvSpPr>
              <a:spLocks noChangeArrowheads="1"/>
            </p:cNvSpPr>
            <p:nvPr/>
          </p:nvSpPr>
          <p:spPr bwMode="auto">
            <a:xfrm>
              <a:off x="4365625" y="3005138"/>
              <a:ext cx="9525" cy="11112"/>
            </a:xfrm>
            <a:custGeom>
              <a:avLst/>
              <a:gdLst>
                <a:gd name="T0" fmla="*/ 17 w 27"/>
                <a:gd name="T1" fmla="*/ 2 h 32"/>
                <a:gd name="T2" fmla="*/ 9 w 27"/>
                <a:gd name="T3" fmla="*/ 11 h 32"/>
                <a:gd name="T4" fmla="*/ 14 w 27"/>
                <a:gd name="T5" fmla="*/ 2 h 32"/>
                <a:gd name="T6" fmla="*/ 14 w 27"/>
                <a:gd name="T7" fmla="*/ 2 h 32"/>
                <a:gd name="T8" fmla="*/ 0 w 27"/>
                <a:gd name="T9" fmla="*/ 19 h 32"/>
                <a:gd name="T10" fmla="*/ 9 w 27"/>
                <a:gd name="T11" fmla="*/ 31 h 32"/>
                <a:gd name="T12" fmla="*/ 17 w 27"/>
                <a:gd name="T13" fmla="*/ 14 h 32"/>
                <a:gd name="T14" fmla="*/ 23 w 27"/>
                <a:gd name="T15" fmla="*/ 0 h 32"/>
                <a:gd name="T16" fmla="*/ 17 w 27"/>
                <a:gd name="T17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32">
                  <a:moveTo>
                    <a:pt x="17" y="2"/>
                  </a:moveTo>
                  <a:cubicBezTo>
                    <a:pt x="14" y="5"/>
                    <a:pt x="12" y="8"/>
                    <a:pt x="9" y="11"/>
                  </a:cubicBezTo>
                  <a:cubicBezTo>
                    <a:pt x="14" y="5"/>
                    <a:pt x="14" y="2"/>
                    <a:pt x="14" y="2"/>
                  </a:cubicBezTo>
                  <a:lnTo>
                    <a:pt x="14" y="2"/>
                  </a:lnTo>
                  <a:cubicBezTo>
                    <a:pt x="9" y="8"/>
                    <a:pt x="0" y="8"/>
                    <a:pt x="0" y="19"/>
                  </a:cubicBezTo>
                  <a:cubicBezTo>
                    <a:pt x="0" y="25"/>
                    <a:pt x="3" y="31"/>
                    <a:pt x="9" y="31"/>
                  </a:cubicBezTo>
                  <a:cubicBezTo>
                    <a:pt x="17" y="31"/>
                    <a:pt x="14" y="19"/>
                    <a:pt x="17" y="14"/>
                  </a:cubicBezTo>
                  <a:cubicBezTo>
                    <a:pt x="17" y="5"/>
                    <a:pt x="26" y="5"/>
                    <a:pt x="23" y="0"/>
                  </a:cubicBezTo>
                  <a:cubicBezTo>
                    <a:pt x="20" y="0"/>
                    <a:pt x="20" y="2"/>
                    <a:pt x="17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7" name="Freeform 185"/>
            <p:cNvSpPr>
              <a:spLocks noChangeArrowheads="1"/>
            </p:cNvSpPr>
            <p:nvPr/>
          </p:nvSpPr>
          <p:spPr bwMode="auto">
            <a:xfrm>
              <a:off x="4370388" y="2652713"/>
              <a:ext cx="3175" cy="3175"/>
            </a:xfrm>
            <a:custGeom>
              <a:avLst/>
              <a:gdLst>
                <a:gd name="T0" fmla="*/ 0 w 10"/>
                <a:gd name="T1" fmla="*/ 0 h 9"/>
                <a:gd name="T2" fmla="*/ 0 w 10"/>
                <a:gd name="T3" fmla="*/ 8 h 9"/>
                <a:gd name="T4" fmla="*/ 9 w 10"/>
                <a:gd name="T5" fmla="*/ 0 h 9"/>
                <a:gd name="T6" fmla="*/ 0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lnTo>
                    <a:pt x="0" y="8"/>
                  </a:lnTo>
                  <a:cubicBezTo>
                    <a:pt x="6" y="8"/>
                    <a:pt x="9" y="5"/>
                    <a:pt x="9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8" name="Freeform 186"/>
            <p:cNvSpPr>
              <a:spLocks noChangeArrowheads="1"/>
            </p:cNvSpPr>
            <p:nvPr/>
          </p:nvSpPr>
          <p:spPr bwMode="auto">
            <a:xfrm>
              <a:off x="4413250" y="2828925"/>
              <a:ext cx="3175" cy="1588"/>
            </a:xfrm>
            <a:custGeom>
              <a:avLst/>
              <a:gdLst>
                <a:gd name="T0" fmla="*/ 0 w 10"/>
                <a:gd name="T1" fmla="*/ 5 h 6"/>
                <a:gd name="T2" fmla="*/ 9 w 10"/>
                <a:gd name="T3" fmla="*/ 2 h 6"/>
                <a:gd name="T4" fmla="*/ 3 w 10"/>
                <a:gd name="T5" fmla="*/ 0 h 6"/>
                <a:gd name="T6" fmla="*/ 0 w 10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6">
                  <a:moveTo>
                    <a:pt x="0" y="5"/>
                  </a:moveTo>
                  <a:cubicBezTo>
                    <a:pt x="3" y="5"/>
                    <a:pt x="9" y="5"/>
                    <a:pt x="9" y="2"/>
                  </a:cubicBezTo>
                  <a:cubicBezTo>
                    <a:pt x="6" y="0"/>
                    <a:pt x="6" y="0"/>
                    <a:pt x="3" y="0"/>
                  </a:cubicBezTo>
                  <a:cubicBezTo>
                    <a:pt x="3" y="2"/>
                    <a:pt x="0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29" name="Freeform 187"/>
            <p:cNvSpPr>
              <a:spLocks noChangeArrowheads="1"/>
            </p:cNvSpPr>
            <p:nvPr/>
          </p:nvSpPr>
          <p:spPr bwMode="auto">
            <a:xfrm>
              <a:off x="4395788" y="2878138"/>
              <a:ext cx="7937" cy="7937"/>
            </a:xfrm>
            <a:custGeom>
              <a:avLst/>
              <a:gdLst>
                <a:gd name="T0" fmla="*/ 0 w 21"/>
                <a:gd name="T1" fmla="*/ 17 h 21"/>
                <a:gd name="T2" fmla="*/ 20 w 21"/>
                <a:gd name="T3" fmla="*/ 11 h 21"/>
                <a:gd name="T4" fmla="*/ 6 w 21"/>
                <a:gd name="T5" fmla="*/ 0 h 21"/>
                <a:gd name="T6" fmla="*/ 0 w 21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1">
                  <a:moveTo>
                    <a:pt x="0" y="17"/>
                  </a:moveTo>
                  <a:cubicBezTo>
                    <a:pt x="9" y="20"/>
                    <a:pt x="17" y="20"/>
                    <a:pt x="20" y="11"/>
                  </a:cubicBezTo>
                  <a:cubicBezTo>
                    <a:pt x="14" y="8"/>
                    <a:pt x="11" y="3"/>
                    <a:pt x="6" y="0"/>
                  </a:cubicBezTo>
                  <a:cubicBezTo>
                    <a:pt x="3" y="3"/>
                    <a:pt x="3" y="11"/>
                    <a:pt x="0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0" name="Freeform 188"/>
            <p:cNvSpPr>
              <a:spLocks noChangeArrowheads="1"/>
            </p:cNvSpPr>
            <p:nvPr/>
          </p:nvSpPr>
          <p:spPr bwMode="auto">
            <a:xfrm>
              <a:off x="4511675" y="2709863"/>
              <a:ext cx="4763" cy="6350"/>
            </a:xfrm>
            <a:custGeom>
              <a:avLst/>
              <a:gdLst>
                <a:gd name="T0" fmla="*/ 0 w 15"/>
                <a:gd name="T1" fmla="*/ 9 h 16"/>
                <a:gd name="T2" fmla="*/ 2 w 15"/>
                <a:gd name="T3" fmla="*/ 15 h 16"/>
                <a:gd name="T4" fmla="*/ 14 w 15"/>
                <a:gd name="T5" fmla="*/ 6 h 16"/>
                <a:gd name="T6" fmla="*/ 0 w 15"/>
                <a:gd name="T7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6">
                  <a:moveTo>
                    <a:pt x="0" y="9"/>
                  </a:moveTo>
                  <a:cubicBezTo>
                    <a:pt x="2" y="9"/>
                    <a:pt x="2" y="12"/>
                    <a:pt x="2" y="15"/>
                  </a:cubicBezTo>
                  <a:cubicBezTo>
                    <a:pt x="8" y="15"/>
                    <a:pt x="14" y="15"/>
                    <a:pt x="14" y="6"/>
                  </a:cubicBezTo>
                  <a:cubicBezTo>
                    <a:pt x="8" y="3"/>
                    <a:pt x="0" y="0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1" name="Freeform 189"/>
            <p:cNvSpPr>
              <a:spLocks noChangeArrowheads="1"/>
            </p:cNvSpPr>
            <p:nvPr/>
          </p:nvSpPr>
          <p:spPr bwMode="auto">
            <a:xfrm>
              <a:off x="4521200" y="2713038"/>
              <a:ext cx="3175" cy="4762"/>
            </a:xfrm>
            <a:custGeom>
              <a:avLst/>
              <a:gdLst>
                <a:gd name="T0" fmla="*/ 3 w 7"/>
                <a:gd name="T1" fmla="*/ 11 h 15"/>
                <a:gd name="T2" fmla="*/ 3 w 7"/>
                <a:gd name="T3" fmla="*/ 3 h 15"/>
                <a:gd name="T4" fmla="*/ 3 w 7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3" y="11"/>
                  </a:moveTo>
                  <a:cubicBezTo>
                    <a:pt x="6" y="11"/>
                    <a:pt x="6" y="3"/>
                    <a:pt x="3" y="3"/>
                  </a:cubicBezTo>
                  <a:cubicBezTo>
                    <a:pt x="0" y="0"/>
                    <a:pt x="0" y="14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2" name="Freeform 190"/>
            <p:cNvSpPr>
              <a:spLocks noChangeArrowheads="1"/>
            </p:cNvSpPr>
            <p:nvPr/>
          </p:nvSpPr>
          <p:spPr bwMode="auto">
            <a:xfrm>
              <a:off x="4370388" y="3003550"/>
              <a:ext cx="3175" cy="1588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3 h 6"/>
                <a:gd name="T4" fmla="*/ 0 w 7"/>
                <a:gd name="T5" fmla="*/ 5 h 6"/>
                <a:gd name="T6" fmla="*/ 6 w 7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cubicBezTo>
                    <a:pt x="3" y="0"/>
                    <a:pt x="3" y="0"/>
                    <a:pt x="0" y="3"/>
                  </a:cubicBezTo>
                  <a:lnTo>
                    <a:pt x="0" y="5"/>
                  </a:lnTo>
                  <a:cubicBezTo>
                    <a:pt x="6" y="5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3" name="Freeform 191"/>
            <p:cNvSpPr>
              <a:spLocks noChangeArrowheads="1"/>
            </p:cNvSpPr>
            <p:nvPr/>
          </p:nvSpPr>
          <p:spPr bwMode="auto">
            <a:xfrm>
              <a:off x="4511675" y="2695575"/>
              <a:ext cx="3175" cy="3175"/>
            </a:xfrm>
            <a:custGeom>
              <a:avLst/>
              <a:gdLst>
                <a:gd name="T0" fmla="*/ 0 w 9"/>
                <a:gd name="T1" fmla="*/ 0 h 7"/>
                <a:gd name="T2" fmla="*/ 0 w 9"/>
                <a:gd name="T3" fmla="*/ 6 h 7"/>
                <a:gd name="T4" fmla="*/ 8 w 9"/>
                <a:gd name="T5" fmla="*/ 6 h 7"/>
                <a:gd name="T6" fmla="*/ 5 w 9"/>
                <a:gd name="T7" fmla="*/ 0 h 7"/>
                <a:gd name="T8" fmla="*/ 0 w 9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0" y="0"/>
                  </a:moveTo>
                  <a:lnTo>
                    <a:pt x="0" y="6"/>
                  </a:lnTo>
                  <a:lnTo>
                    <a:pt x="8" y="6"/>
                  </a:lnTo>
                  <a:cubicBezTo>
                    <a:pt x="8" y="3"/>
                    <a:pt x="5" y="3"/>
                    <a:pt x="5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4" name="Freeform 192"/>
            <p:cNvSpPr>
              <a:spLocks noChangeArrowheads="1"/>
            </p:cNvSpPr>
            <p:nvPr/>
          </p:nvSpPr>
          <p:spPr bwMode="auto">
            <a:xfrm>
              <a:off x="4518025" y="2425700"/>
              <a:ext cx="3175" cy="3175"/>
            </a:xfrm>
            <a:custGeom>
              <a:avLst/>
              <a:gdLst>
                <a:gd name="T0" fmla="*/ 5 w 9"/>
                <a:gd name="T1" fmla="*/ 8 h 9"/>
                <a:gd name="T2" fmla="*/ 8 w 9"/>
                <a:gd name="T3" fmla="*/ 8 h 9"/>
                <a:gd name="T4" fmla="*/ 5 w 9"/>
                <a:gd name="T5" fmla="*/ 0 h 9"/>
                <a:gd name="T6" fmla="*/ 0 w 9"/>
                <a:gd name="T7" fmla="*/ 0 h 9"/>
                <a:gd name="T8" fmla="*/ 5 w 9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5" y="8"/>
                  </a:moveTo>
                  <a:lnTo>
                    <a:pt x="8" y="8"/>
                  </a:lnTo>
                  <a:cubicBezTo>
                    <a:pt x="8" y="5"/>
                    <a:pt x="8" y="2"/>
                    <a:pt x="5" y="0"/>
                  </a:cubicBezTo>
                  <a:cubicBezTo>
                    <a:pt x="2" y="0"/>
                    <a:pt x="2" y="0"/>
                    <a:pt x="0" y="0"/>
                  </a:cubicBezTo>
                  <a:cubicBezTo>
                    <a:pt x="0" y="2"/>
                    <a:pt x="0" y="5"/>
                    <a:pt x="5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5" name="Freeform 193"/>
            <p:cNvSpPr>
              <a:spLocks noChangeArrowheads="1"/>
            </p:cNvSpPr>
            <p:nvPr/>
          </p:nvSpPr>
          <p:spPr bwMode="auto">
            <a:xfrm>
              <a:off x="4519613" y="2289175"/>
              <a:ext cx="3175" cy="1588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3 w 7"/>
                <a:gd name="T5" fmla="*/ 3 h 4"/>
                <a:gd name="T6" fmla="*/ 6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0" y="0"/>
                    <a:pt x="0" y="0"/>
                  </a:cubicBezTo>
                  <a:lnTo>
                    <a:pt x="3" y="3"/>
                  </a:lnTo>
                  <a:cubicBezTo>
                    <a:pt x="3" y="3"/>
                    <a:pt x="3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6" name="Freeform 194"/>
            <p:cNvSpPr>
              <a:spLocks noChangeArrowheads="1"/>
            </p:cNvSpPr>
            <p:nvPr/>
          </p:nvSpPr>
          <p:spPr bwMode="auto">
            <a:xfrm>
              <a:off x="4529138" y="2309813"/>
              <a:ext cx="1587" cy="3175"/>
            </a:xfrm>
            <a:custGeom>
              <a:avLst/>
              <a:gdLst>
                <a:gd name="T0" fmla="*/ 0 w 6"/>
                <a:gd name="T1" fmla="*/ 9 h 10"/>
                <a:gd name="T2" fmla="*/ 5 w 6"/>
                <a:gd name="T3" fmla="*/ 0 h 10"/>
                <a:gd name="T4" fmla="*/ 0 w 6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0">
                  <a:moveTo>
                    <a:pt x="0" y="9"/>
                  </a:moveTo>
                  <a:cubicBezTo>
                    <a:pt x="2" y="6"/>
                    <a:pt x="5" y="3"/>
                    <a:pt x="5" y="0"/>
                  </a:cubicBezTo>
                  <a:cubicBezTo>
                    <a:pt x="2" y="0"/>
                    <a:pt x="0" y="3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7" name="Freeform 195"/>
            <p:cNvSpPr>
              <a:spLocks noChangeArrowheads="1"/>
            </p:cNvSpPr>
            <p:nvPr/>
          </p:nvSpPr>
          <p:spPr bwMode="auto">
            <a:xfrm>
              <a:off x="4522788" y="2535238"/>
              <a:ext cx="19050" cy="17462"/>
            </a:xfrm>
            <a:custGeom>
              <a:avLst/>
              <a:gdLst>
                <a:gd name="T0" fmla="*/ 22 w 51"/>
                <a:gd name="T1" fmla="*/ 26 h 49"/>
                <a:gd name="T2" fmla="*/ 22 w 51"/>
                <a:gd name="T3" fmla="*/ 34 h 49"/>
                <a:gd name="T4" fmla="*/ 34 w 51"/>
                <a:gd name="T5" fmla="*/ 23 h 49"/>
                <a:gd name="T6" fmla="*/ 28 w 51"/>
                <a:gd name="T7" fmla="*/ 46 h 49"/>
                <a:gd name="T8" fmla="*/ 28 w 51"/>
                <a:gd name="T9" fmla="*/ 46 h 49"/>
                <a:gd name="T10" fmla="*/ 50 w 51"/>
                <a:gd name="T11" fmla="*/ 37 h 49"/>
                <a:gd name="T12" fmla="*/ 50 w 51"/>
                <a:gd name="T13" fmla="*/ 34 h 49"/>
                <a:gd name="T14" fmla="*/ 39 w 51"/>
                <a:gd name="T15" fmla="*/ 20 h 49"/>
                <a:gd name="T16" fmla="*/ 42 w 51"/>
                <a:gd name="T17" fmla="*/ 15 h 49"/>
                <a:gd name="T18" fmla="*/ 42 w 51"/>
                <a:gd name="T19" fmla="*/ 12 h 49"/>
                <a:gd name="T20" fmla="*/ 45 w 51"/>
                <a:gd name="T21" fmla="*/ 12 h 49"/>
                <a:gd name="T22" fmla="*/ 48 w 51"/>
                <a:gd name="T23" fmla="*/ 0 h 49"/>
                <a:gd name="T24" fmla="*/ 36 w 51"/>
                <a:gd name="T25" fmla="*/ 6 h 49"/>
                <a:gd name="T26" fmla="*/ 19 w 51"/>
                <a:gd name="T27" fmla="*/ 9 h 49"/>
                <a:gd name="T28" fmla="*/ 14 w 51"/>
                <a:gd name="T29" fmla="*/ 20 h 49"/>
                <a:gd name="T30" fmla="*/ 11 w 51"/>
                <a:gd name="T31" fmla="*/ 26 h 49"/>
                <a:gd name="T32" fmla="*/ 0 w 51"/>
                <a:gd name="T33" fmla="*/ 34 h 49"/>
                <a:gd name="T34" fmla="*/ 0 w 51"/>
                <a:gd name="T35" fmla="*/ 37 h 49"/>
                <a:gd name="T36" fmla="*/ 8 w 51"/>
                <a:gd name="T37" fmla="*/ 43 h 49"/>
                <a:gd name="T38" fmla="*/ 22 w 51"/>
                <a:gd name="T39" fmla="*/ 2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" h="49">
                  <a:moveTo>
                    <a:pt x="22" y="26"/>
                  </a:moveTo>
                  <a:cubicBezTo>
                    <a:pt x="22" y="29"/>
                    <a:pt x="22" y="32"/>
                    <a:pt x="22" y="34"/>
                  </a:cubicBezTo>
                  <a:cubicBezTo>
                    <a:pt x="25" y="32"/>
                    <a:pt x="22" y="20"/>
                    <a:pt x="34" y="23"/>
                  </a:cubicBezTo>
                  <a:cubicBezTo>
                    <a:pt x="28" y="29"/>
                    <a:pt x="31" y="40"/>
                    <a:pt x="28" y="46"/>
                  </a:cubicBezTo>
                  <a:lnTo>
                    <a:pt x="28" y="46"/>
                  </a:lnTo>
                  <a:cubicBezTo>
                    <a:pt x="36" y="48"/>
                    <a:pt x="45" y="46"/>
                    <a:pt x="50" y="37"/>
                  </a:cubicBezTo>
                  <a:cubicBezTo>
                    <a:pt x="50" y="37"/>
                    <a:pt x="50" y="37"/>
                    <a:pt x="50" y="34"/>
                  </a:cubicBezTo>
                  <a:cubicBezTo>
                    <a:pt x="45" y="29"/>
                    <a:pt x="42" y="26"/>
                    <a:pt x="39" y="20"/>
                  </a:cubicBezTo>
                  <a:cubicBezTo>
                    <a:pt x="39" y="17"/>
                    <a:pt x="39" y="15"/>
                    <a:pt x="42" y="15"/>
                  </a:cubicBezTo>
                  <a:cubicBezTo>
                    <a:pt x="42" y="15"/>
                    <a:pt x="42" y="15"/>
                    <a:pt x="42" y="12"/>
                  </a:cubicBezTo>
                  <a:lnTo>
                    <a:pt x="45" y="12"/>
                  </a:lnTo>
                  <a:cubicBezTo>
                    <a:pt x="48" y="9"/>
                    <a:pt x="48" y="3"/>
                    <a:pt x="48" y="0"/>
                  </a:cubicBezTo>
                  <a:cubicBezTo>
                    <a:pt x="45" y="3"/>
                    <a:pt x="42" y="6"/>
                    <a:pt x="36" y="6"/>
                  </a:cubicBezTo>
                  <a:cubicBezTo>
                    <a:pt x="28" y="3"/>
                    <a:pt x="25" y="9"/>
                    <a:pt x="19" y="9"/>
                  </a:cubicBezTo>
                  <a:cubicBezTo>
                    <a:pt x="17" y="12"/>
                    <a:pt x="19" y="20"/>
                    <a:pt x="14" y="20"/>
                  </a:cubicBezTo>
                  <a:cubicBezTo>
                    <a:pt x="14" y="15"/>
                    <a:pt x="11" y="20"/>
                    <a:pt x="11" y="26"/>
                  </a:cubicBezTo>
                  <a:cubicBezTo>
                    <a:pt x="5" y="26"/>
                    <a:pt x="0" y="29"/>
                    <a:pt x="0" y="34"/>
                  </a:cubicBezTo>
                  <a:lnTo>
                    <a:pt x="0" y="37"/>
                  </a:lnTo>
                  <a:cubicBezTo>
                    <a:pt x="3" y="40"/>
                    <a:pt x="5" y="40"/>
                    <a:pt x="8" y="43"/>
                  </a:cubicBezTo>
                  <a:cubicBezTo>
                    <a:pt x="11" y="34"/>
                    <a:pt x="11" y="26"/>
                    <a:pt x="22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8" name="Freeform 196"/>
            <p:cNvSpPr>
              <a:spLocks noChangeArrowheads="1"/>
            </p:cNvSpPr>
            <p:nvPr/>
          </p:nvSpPr>
          <p:spPr bwMode="auto">
            <a:xfrm>
              <a:off x="4427538" y="2717800"/>
              <a:ext cx="3175" cy="3175"/>
            </a:xfrm>
            <a:custGeom>
              <a:avLst/>
              <a:gdLst>
                <a:gd name="T0" fmla="*/ 9 w 10"/>
                <a:gd name="T1" fmla="*/ 6 h 7"/>
                <a:gd name="T2" fmla="*/ 9 w 10"/>
                <a:gd name="T3" fmla="*/ 0 h 7"/>
                <a:gd name="T4" fmla="*/ 0 w 10"/>
                <a:gd name="T5" fmla="*/ 3 h 7"/>
                <a:gd name="T6" fmla="*/ 9 w 10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9" y="6"/>
                  </a:moveTo>
                  <a:cubicBezTo>
                    <a:pt x="9" y="6"/>
                    <a:pt x="9" y="3"/>
                    <a:pt x="9" y="0"/>
                  </a:cubicBezTo>
                  <a:cubicBezTo>
                    <a:pt x="6" y="0"/>
                    <a:pt x="3" y="0"/>
                    <a:pt x="0" y="3"/>
                  </a:cubicBezTo>
                  <a:cubicBezTo>
                    <a:pt x="3" y="6"/>
                    <a:pt x="6" y="6"/>
                    <a:pt x="9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39" name="Freeform 197"/>
            <p:cNvSpPr>
              <a:spLocks noChangeArrowheads="1"/>
            </p:cNvSpPr>
            <p:nvPr/>
          </p:nvSpPr>
          <p:spPr bwMode="auto">
            <a:xfrm>
              <a:off x="4432300" y="2605088"/>
              <a:ext cx="6350" cy="7937"/>
            </a:xfrm>
            <a:custGeom>
              <a:avLst/>
              <a:gdLst>
                <a:gd name="T0" fmla="*/ 11 w 18"/>
                <a:gd name="T1" fmla="*/ 17 h 21"/>
                <a:gd name="T2" fmla="*/ 0 w 18"/>
                <a:gd name="T3" fmla="*/ 9 h 21"/>
                <a:gd name="T4" fmla="*/ 8 w 18"/>
                <a:gd name="T5" fmla="*/ 20 h 21"/>
                <a:gd name="T6" fmla="*/ 11 w 18"/>
                <a:gd name="T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11" y="17"/>
                  </a:moveTo>
                  <a:cubicBezTo>
                    <a:pt x="17" y="9"/>
                    <a:pt x="5" y="0"/>
                    <a:pt x="0" y="9"/>
                  </a:cubicBezTo>
                  <a:cubicBezTo>
                    <a:pt x="0" y="14"/>
                    <a:pt x="3" y="17"/>
                    <a:pt x="8" y="20"/>
                  </a:cubicBezTo>
                  <a:cubicBezTo>
                    <a:pt x="8" y="17"/>
                    <a:pt x="8" y="17"/>
                    <a:pt x="11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0" name="Freeform 198"/>
            <p:cNvSpPr>
              <a:spLocks noChangeArrowheads="1"/>
            </p:cNvSpPr>
            <p:nvPr/>
          </p:nvSpPr>
          <p:spPr bwMode="auto">
            <a:xfrm>
              <a:off x="4506913" y="2363788"/>
              <a:ext cx="7937" cy="12700"/>
            </a:xfrm>
            <a:custGeom>
              <a:avLst/>
              <a:gdLst>
                <a:gd name="T0" fmla="*/ 14 w 20"/>
                <a:gd name="T1" fmla="*/ 33 h 34"/>
                <a:gd name="T2" fmla="*/ 14 w 20"/>
                <a:gd name="T3" fmla="*/ 8 h 34"/>
                <a:gd name="T4" fmla="*/ 16 w 20"/>
                <a:gd name="T5" fmla="*/ 2 h 34"/>
                <a:gd name="T6" fmla="*/ 8 w 20"/>
                <a:gd name="T7" fmla="*/ 0 h 34"/>
                <a:gd name="T8" fmla="*/ 0 w 20"/>
                <a:gd name="T9" fmla="*/ 33 h 34"/>
                <a:gd name="T10" fmla="*/ 14 w 20"/>
                <a:gd name="T11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4">
                  <a:moveTo>
                    <a:pt x="14" y="33"/>
                  </a:moveTo>
                  <a:cubicBezTo>
                    <a:pt x="14" y="25"/>
                    <a:pt x="19" y="17"/>
                    <a:pt x="14" y="8"/>
                  </a:cubicBezTo>
                  <a:cubicBezTo>
                    <a:pt x="16" y="5"/>
                    <a:pt x="16" y="2"/>
                    <a:pt x="16" y="2"/>
                  </a:cubicBezTo>
                  <a:cubicBezTo>
                    <a:pt x="14" y="2"/>
                    <a:pt x="11" y="0"/>
                    <a:pt x="8" y="0"/>
                  </a:cubicBezTo>
                  <a:cubicBezTo>
                    <a:pt x="2" y="8"/>
                    <a:pt x="5" y="22"/>
                    <a:pt x="0" y="33"/>
                  </a:cubicBezTo>
                  <a:lnTo>
                    <a:pt x="14" y="3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1" name="Freeform 199"/>
            <p:cNvSpPr>
              <a:spLocks noChangeArrowheads="1"/>
            </p:cNvSpPr>
            <p:nvPr/>
          </p:nvSpPr>
          <p:spPr bwMode="auto">
            <a:xfrm>
              <a:off x="4435475" y="2593975"/>
              <a:ext cx="3175" cy="1588"/>
            </a:xfrm>
            <a:custGeom>
              <a:avLst/>
              <a:gdLst>
                <a:gd name="T0" fmla="*/ 0 w 7"/>
                <a:gd name="T1" fmla="*/ 0 h 4"/>
                <a:gd name="T2" fmla="*/ 0 w 7"/>
                <a:gd name="T3" fmla="*/ 3 h 4"/>
                <a:gd name="T4" fmla="*/ 6 w 7"/>
                <a:gd name="T5" fmla="*/ 3 h 4"/>
                <a:gd name="T6" fmla="*/ 0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lnTo>
                    <a:pt x="0" y="3"/>
                  </a:lnTo>
                  <a:cubicBezTo>
                    <a:pt x="3" y="3"/>
                    <a:pt x="6" y="3"/>
                    <a:pt x="6" y="3"/>
                  </a:cubicBezTo>
                  <a:cubicBezTo>
                    <a:pt x="6" y="3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2" name="Freeform 200"/>
            <p:cNvSpPr>
              <a:spLocks noChangeArrowheads="1"/>
            </p:cNvSpPr>
            <p:nvPr/>
          </p:nvSpPr>
          <p:spPr bwMode="auto">
            <a:xfrm>
              <a:off x="4433888" y="2841625"/>
              <a:ext cx="3175" cy="3175"/>
            </a:xfrm>
            <a:custGeom>
              <a:avLst/>
              <a:gdLst>
                <a:gd name="T0" fmla="*/ 0 w 10"/>
                <a:gd name="T1" fmla="*/ 3 h 7"/>
                <a:gd name="T2" fmla="*/ 6 w 10"/>
                <a:gd name="T3" fmla="*/ 6 h 7"/>
                <a:gd name="T4" fmla="*/ 9 w 10"/>
                <a:gd name="T5" fmla="*/ 3 h 7"/>
                <a:gd name="T6" fmla="*/ 0 w 10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0" y="6"/>
                    <a:pt x="3" y="6"/>
                    <a:pt x="6" y="6"/>
                  </a:cubicBezTo>
                  <a:lnTo>
                    <a:pt x="9" y="3"/>
                  </a:lnTo>
                  <a:cubicBezTo>
                    <a:pt x="3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3" name="Freeform 201"/>
            <p:cNvSpPr>
              <a:spLocks noChangeArrowheads="1"/>
            </p:cNvSpPr>
            <p:nvPr/>
          </p:nvSpPr>
          <p:spPr bwMode="auto">
            <a:xfrm>
              <a:off x="4518025" y="2698750"/>
              <a:ext cx="3175" cy="4763"/>
            </a:xfrm>
            <a:custGeom>
              <a:avLst/>
              <a:gdLst>
                <a:gd name="T0" fmla="*/ 8 w 9"/>
                <a:gd name="T1" fmla="*/ 0 h 12"/>
                <a:gd name="T2" fmla="*/ 8 w 9"/>
                <a:gd name="T3" fmla="*/ 0 h 12"/>
                <a:gd name="T4" fmla="*/ 8 w 9"/>
                <a:gd name="T5" fmla="*/ 0 h 12"/>
                <a:gd name="T6" fmla="*/ 0 w 9"/>
                <a:gd name="T7" fmla="*/ 11 h 12"/>
                <a:gd name="T8" fmla="*/ 8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cubicBezTo>
                    <a:pt x="5" y="5"/>
                    <a:pt x="2" y="8"/>
                    <a:pt x="0" y="11"/>
                  </a:cubicBezTo>
                  <a:cubicBezTo>
                    <a:pt x="5" y="8"/>
                    <a:pt x="8" y="5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4" name="Freeform 202"/>
            <p:cNvSpPr>
              <a:spLocks noChangeArrowheads="1"/>
            </p:cNvSpPr>
            <p:nvPr/>
          </p:nvSpPr>
          <p:spPr bwMode="auto">
            <a:xfrm>
              <a:off x="4537075" y="2473325"/>
              <a:ext cx="4763" cy="7938"/>
            </a:xfrm>
            <a:custGeom>
              <a:avLst/>
              <a:gdLst>
                <a:gd name="T0" fmla="*/ 14 w 15"/>
                <a:gd name="T1" fmla="*/ 0 h 21"/>
                <a:gd name="T2" fmla="*/ 3 w 15"/>
                <a:gd name="T3" fmla="*/ 17 h 21"/>
                <a:gd name="T4" fmla="*/ 14 w 15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1">
                  <a:moveTo>
                    <a:pt x="14" y="0"/>
                  </a:moveTo>
                  <a:cubicBezTo>
                    <a:pt x="6" y="0"/>
                    <a:pt x="0" y="6"/>
                    <a:pt x="3" y="17"/>
                  </a:cubicBezTo>
                  <a:cubicBezTo>
                    <a:pt x="11" y="20"/>
                    <a:pt x="14" y="12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5" name="Freeform 203"/>
            <p:cNvSpPr>
              <a:spLocks noChangeArrowheads="1"/>
            </p:cNvSpPr>
            <p:nvPr/>
          </p:nvSpPr>
          <p:spPr bwMode="auto">
            <a:xfrm>
              <a:off x="4370388" y="2139950"/>
              <a:ext cx="1587" cy="1588"/>
            </a:xfrm>
            <a:custGeom>
              <a:avLst/>
              <a:gdLst>
                <a:gd name="T0" fmla="*/ 2 w 3"/>
                <a:gd name="T1" fmla="*/ 3 h 4"/>
                <a:gd name="T2" fmla="*/ 2 w 3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3"/>
                  </a:moveTo>
                  <a:cubicBezTo>
                    <a:pt x="2" y="3"/>
                    <a:pt x="0" y="0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6" name="Freeform 204"/>
            <p:cNvSpPr>
              <a:spLocks noChangeArrowheads="1"/>
            </p:cNvSpPr>
            <p:nvPr/>
          </p:nvSpPr>
          <p:spPr bwMode="auto">
            <a:xfrm>
              <a:off x="4483100" y="2727325"/>
              <a:ext cx="1588" cy="1588"/>
            </a:xfrm>
            <a:custGeom>
              <a:avLst/>
              <a:gdLst>
                <a:gd name="T0" fmla="*/ 0 w 4"/>
                <a:gd name="T1" fmla="*/ 2 h 3"/>
                <a:gd name="T2" fmla="*/ 0 w 4"/>
                <a:gd name="T3" fmla="*/ 2 h 3"/>
                <a:gd name="T4" fmla="*/ 3 w 4"/>
                <a:gd name="T5" fmla="*/ 2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0" y="2"/>
                  </a:lnTo>
                  <a:lnTo>
                    <a:pt x="3" y="2"/>
                  </a:lnTo>
                  <a:cubicBezTo>
                    <a:pt x="3" y="0"/>
                    <a:pt x="0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7" name="Freeform 205"/>
            <p:cNvSpPr>
              <a:spLocks noChangeArrowheads="1"/>
            </p:cNvSpPr>
            <p:nvPr/>
          </p:nvSpPr>
          <p:spPr bwMode="auto">
            <a:xfrm>
              <a:off x="4479925" y="2749550"/>
              <a:ext cx="3175" cy="1588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0 h 6"/>
                <a:gd name="T4" fmla="*/ 6 w 7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cubicBezTo>
                    <a:pt x="3" y="0"/>
                    <a:pt x="3" y="0"/>
                    <a:pt x="0" y="0"/>
                  </a:cubicBezTo>
                  <a:cubicBezTo>
                    <a:pt x="0" y="3"/>
                    <a:pt x="3" y="5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8" name="Freeform 206"/>
            <p:cNvSpPr>
              <a:spLocks noChangeArrowheads="1"/>
            </p:cNvSpPr>
            <p:nvPr/>
          </p:nvSpPr>
          <p:spPr bwMode="auto">
            <a:xfrm>
              <a:off x="4486275" y="2381250"/>
              <a:ext cx="3175" cy="3175"/>
            </a:xfrm>
            <a:custGeom>
              <a:avLst/>
              <a:gdLst>
                <a:gd name="T0" fmla="*/ 6 w 10"/>
                <a:gd name="T1" fmla="*/ 0 h 9"/>
                <a:gd name="T2" fmla="*/ 0 w 10"/>
                <a:gd name="T3" fmla="*/ 8 h 9"/>
                <a:gd name="T4" fmla="*/ 9 w 10"/>
                <a:gd name="T5" fmla="*/ 8 h 9"/>
                <a:gd name="T6" fmla="*/ 6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6" y="0"/>
                  </a:moveTo>
                  <a:cubicBezTo>
                    <a:pt x="3" y="2"/>
                    <a:pt x="0" y="5"/>
                    <a:pt x="0" y="8"/>
                  </a:cubicBezTo>
                  <a:cubicBezTo>
                    <a:pt x="3" y="8"/>
                    <a:pt x="6" y="8"/>
                    <a:pt x="9" y="8"/>
                  </a:cubicBezTo>
                  <a:cubicBezTo>
                    <a:pt x="9" y="5"/>
                    <a:pt x="9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49" name="Freeform 207"/>
            <p:cNvSpPr>
              <a:spLocks noChangeArrowheads="1"/>
            </p:cNvSpPr>
            <p:nvPr/>
          </p:nvSpPr>
          <p:spPr bwMode="auto">
            <a:xfrm>
              <a:off x="4478338" y="2838450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3 w 4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3"/>
                    <a:pt x="0" y="0"/>
                  </a:cubicBezTo>
                  <a:cubicBezTo>
                    <a:pt x="3" y="0"/>
                    <a:pt x="3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0" name="Freeform 208"/>
            <p:cNvSpPr>
              <a:spLocks noChangeArrowheads="1"/>
            </p:cNvSpPr>
            <p:nvPr/>
          </p:nvSpPr>
          <p:spPr bwMode="auto">
            <a:xfrm>
              <a:off x="4473575" y="2317750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6 w 10"/>
                <a:gd name="T3" fmla="*/ 0 h 9"/>
                <a:gd name="T4" fmla="*/ 0 w 10"/>
                <a:gd name="T5" fmla="*/ 3 h 9"/>
                <a:gd name="T6" fmla="*/ 9 w 10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cubicBezTo>
                    <a:pt x="9" y="5"/>
                    <a:pt x="6" y="3"/>
                    <a:pt x="6" y="0"/>
                  </a:cubicBezTo>
                  <a:cubicBezTo>
                    <a:pt x="3" y="0"/>
                    <a:pt x="0" y="0"/>
                    <a:pt x="0" y="3"/>
                  </a:cubicBezTo>
                  <a:cubicBezTo>
                    <a:pt x="0" y="5"/>
                    <a:pt x="3" y="8"/>
                    <a:pt x="9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1" name="Freeform 209"/>
            <p:cNvSpPr>
              <a:spLocks noChangeArrowheads="1"/>
            </p:cNvSpPr>
            <p:nvPr/>
          </p:nvSpPr>
          <p:spPr bwMode="auto">
            <a:xfrm>
              <a:off x="4467225" y="2392363"/>
              <a:ext cx="1588" cy="1587"/>
            </a:xfrm>
            <a:custGeom>
              <a:avLst/>
              <a:gdLst>
                <a:gd name="T0" fmla="*/ 2 w 6"/>
                <a:gd name="T1" fmla="*/ 0 h 6"/>
                <a:gd name="T2" fmla="*/ 2 w 6"/>
                <a:gd name="T3" fmla="*/ 0 h 6"/>
                <a:gd name="T4" fmla="*/ 2 w 6"/>
                <a:gd name="T5" fmla="*/ 5 h 6"/>
                <a:gd name="T6" fmla="*/ 2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2" y="0"/>
                  </a:lnTo>
                  <a:cubicBezTo>
                    <a:pt x="0" y="2"/>
                    <a:pt x="2" y="2"/>
                    <a:pt x="2" y="5"/>
                  </a:cubicBezTo>
                  <a:cubicBezTo>
                    <a:pt x="5" y="2"/>
                    <a:pt x="2" y="0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2" name="Freeform 210"/>
            <p:cNvSpPr>
              <a:spLocks noChangeArrowheads="1"/>
            </p:cNvSpPr>
            <p:nvPr/>
          </p:nvSpPr>
          <p:spPr bwMode="auto">
            <a:xfrm>
              <a:off x="4475163" y="2293938"/>
              <a:ext cx="1587" cy="1587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0"/>
                    <a:pt x="0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3" name="Freeform 211"/>
            <p:cNvSpPr>
              <a:spLocks noChangeArrowheads="1"/>
            </p:cNvSpPr>
            <p:nvPr/>
          </p:nvSpPr>
          <p:spPr bwMode="auto">
            <a:xfrm>
              <a:off x="4489450" y="2233613"/>
              <a:ext cx="3175" cy="3175"/>
            </a:xfrm>
            <a:custGeom>
              <a:avLst/>
              <a:gdLst>
                <a:gd name="T0" fmla="*/ 2 w 9"/>
                <a:gd name="T1" fmla="*/ 0 h 9"/>
                <a:gd name="T2" fmla="*/ 0 w 9"/>
                <a:gd name="T3" fmla="*/ 8 h 9"/>
                <a:gd name="T4" fmla="*/ 5 w 9"/>
                <a:gd name="T5" fmla="*/ 8 h 9"/>
                <a:gd name="T6" fmla="*/ 2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2" y="0"/>
                  </a:moveTo>
                  <a:cubicBezTo>
                    <a:pt x="2" y="3"/>
                    <a:pt x="0" y="3"/>
                    <a:pt x="0" y="8"/>
                  </a:cubicBezTo>
                  <a:lnTo>
                    <a:pt x="5" y="8"/>
                  </a:lnTo>
                  <a:cubicBezTo>
                    <a:pt x="8" y="5"/>
                    <a:pt x="8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4" name="Freeform 212"/>
            <p:cNvSpPr>
              <a:spLocks noChangeArrowheads="1"/>
            </p:cNvSpPr>
            <p:nvPr/>
          </p:nvSpPr>
          <p:spPr bwMode="auto">
            <a:xfrm>
              <a:off x="4502150" y="2347913"/>
              <a:ext cx="7938" cy="7937"/>
            </a:xfrm>
            <a:custGeom>
              <a:avLst/>
              <a:gdLst>
                <a:gd name="T0" fmla="*/ 15 w 24"/>
                <a:gd name="T1" fmla="*/ 23 h 24"/>
                <a:gd name="T2" fmla="*/ 12 w 24"/>
                <a:gd name="T3" fmla="*/ 9 h 24"/>
                <a:gd name="T4" fmla="*/ 23 w 24"/>
                <a:gd name="T5" fmla="*/ 6 h 24"/>
                <a:gd name="T6" fmla="*/ 23 w 24"/>
                <a:gd name="T7" fmla="*/ 0 h 24"/>
                <a:gd name="T8" fmla="*/ 12 w 24"/>
                <a:gd name="T9" fmla="*/ 0 h 24"/>
                <a:gd name="T10" fmla="*/ 0 w 24"/>
                <a:gd name="T11" fmla="*/ 6 h 24"/>
                <a:gd name="T12" fmla="*/ 0 w 24"/>
                <a:gd name="T13" fmla="*/ 6 h 24"/>
                <a:gd name="T14" fmla="*/ 15 w 24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15" y="23"/>
                  </a:moveTo>
                  <a:cubicBezTo>
                    <a:pt x="12" y="20"/>
                    <a:pt x="9" y="17"/>
                    <a:pt x="12" y="9"/>
                  </a:cubicBezTo>
                  <a:cubicBezTo>
                    <a:pt x="15" y="9"/>
                    <a:pt x="20" y="6"/>
                    <a:pt x="23" y="6"/>
                  </a:cubicBezTo>
                  <a:cubicBezTo>
                    <a:pt x="23" y="3"/>
                    <a:pt x="23" y="3"/>
                    <a:pt x="23" y="0"/>
                  </a:cubicBezTo>
                  <a:cubicBezTo>
                    <a:pt x="20" y="0"/>
                    <a:pt x="15" y="0"/>
                    <a:pt x="12" y="0"/>
                  </a:cubicBezTo>
                  <a:cubicBezTo>
                    <a:pt x="9" y="3"/>
                    <a:pt x="3" y="6"/>
                    <a:pt x="0" y="6"/>
                  </a:cubicBezTo>
                  <a:lnTo>
                    <a:pt x="0" y="6"/>
                  </a:lnTo>
                  <a:cubicBezTo>
                    <a:pt x="3" y="12"/>
                    <a:pt x="6" y="20"/>
                    <a:pt x="15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5" name="Freeform 213"/>
            <p:cNvSpPr>
              <a:spLocks noChangeArrowheads="1"/>
            </p:cNvSpPr>
            <p:nvPr/>
          </p:nvSpPr>
          <p:spPr bwMode="auto">
            <a:xfrm>
              <a:off x="4500563" y="2439988"/>
              <a:ext cx="1587" cy="1587"/>
            </a:xfrm>
            <a:custGeom>
              <a:avLst/>
              <a:gdLst>
                <a:gd name="T0" fmla="*/ 5 w 6"/>
                <a:gd name="T1" fmla="*/ 3 h 4"/>
                <a:gd name="T2" fmla="*/ 3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3" y="0"/>
                  </a:lnTo>
                  <a:cubicBezTo>
                    <a:pt x="0" y="0"/>
                    <a:pt x="3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6" name="Freeform 214"/>
            <p:cNvSpPr>
              <a:spLocks noChangeArrowheads="1"/>
            </p:cNvSpPr>
            <p:nvPr/>
          </p:nvSpPr>
          <p:spPr bwMode="auto">
            <a:xfrm>
              <a:off x="4465638" y="2347913"/>
              <a:ext cx="1587" cy="3175"/>
            </a:xfrm>
            <a:custGeom>
              <a:avLst/>
              <a:gdLst>
                <a:gd name="T0" fmla="*/ 0 w 6"/>
                <a:gd name="T1" fmla="*/ 6 h 7"/>
                <a:gd name="T2" fmla="*/ 5 w 6"/>
                <a:gd name="T3" fmla="*/ 6 h 7"/>
                <a:gd name="T4" fmla="*/ 5 w 6"/>
                <a:gd name="T5" fmla="*/ 3 h 7"/>
                <a:gd name="T6" fmla="*/ 0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6"/>
                  </a:moveTo>
                  <a:cubicBezTo>
                    <a:pt x="3" y="6"/>
                    <a:pt x="3" y="6"/>
                    <a:pt x="5" y="6"/>
                  </a:cubicBezTo>
                  <a:lnTo>
                    <a:pt x="5" y="3"/>
                  </a:lnTo>
                  <a:cubicBezTo>
                    <a:pt x="0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7" name="Freeform 215"/>
            <p:cNvSpPr>
              <a:spLocks noChangeArrowheads="1"/>
            </p:cNvSpPr>
            <p:nvPr/>
          </p:nvSpPr>
          <p:spPr bwMode="auto">
            <a:xfrm>
              <a:off x="4491038" y="2370138"/>
              <a:ext cx="6350" cy="7937"/>
            </a:xfrm>
            <a:custGeom>
              <a:avLst/>
              <a:gdLst>
                <a:gd name="T0" fmla="*/ 12 w 18"/>
                <a:gd name="T1" fmla="*/ 3 h 23"/>
                <a:gd name="T2" fmla="*/ 0 w 18"/>
                <a:gd name="T3" fmla="*/ 14 h 23"/>
                <a:gd name="T4" fmla="*/ 12 w 18"/>
                <a:gd name="T5" fmla="*/ 22 h 23"/>
                <a:gd name="T6" fmla="*/ 17 w 18"/>
                <a:gd name="T7" fmla="*/ 5 h 23"/>
                <a:gd name="T8" fmla="*/ 12 w 18"/>
                <a:gd name="T9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3">
                  <a:moveTo>
                    <a:pt x="12" y="3"/>
                  </a:moveTo>
                  <a:cubicBezTo>
                    <a:pt x="6" y="8"/>
                    <a:pt x="6" y="11"/>
                    <a:pt x="0" y="14"/>
                  </a:cubicBezTo>
                  <a:cubicBezTo>
                    <a:pt x="3" y="17"/>
                    <a:pt x="9" y="19"/>
                    <a:pt x="12" y="22"/>
                  </a:cubicBezTo>
                  <a:cubicBezTo>
                    <a:pt x="14" y="19"/>
                    <a:pt x="14" y="8"/>
                    <a:pt x="17" y="5"/>
                  </a:cubicBezTo>
                  <a:cubicBezTo>
                    <a:pt x="17" y="3"/>
                    <a:pt x="14" y="0"/>
                    <a:pt x="1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8" name="Freeform 216"/>
            <p:cNvSpPr>
              <a:spLocks noChangeArrowheads="1"/>
            </p:cNvSpPr>
            <p:nvPr/>
          </p:nvSpPr>
          <p:spPr bwMode="auto">
            <a:xfrm>
              <a:off x="4492625" y="2246313"/>
              <a:ext cx="3175" cy="3175"/>
            </a:xfrm>
            <a:custGeom>
              <a:avLst/>
              <a:gdLst>
                <a:gd name="T0" fmla="*/ 0 w 9"/>
                <a:gd name="T1" fmla="*/ 0 h 7"/>
                <a:gd name="T2" fmla="*/ 8 w 9"/>
                <a:gd name="T3" fmla="*/ 6 h 7"/>
                <a:gd name="T4" fmla="*/ 0 w 9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0" y="0"/>
                  </a:moveTo>
                  <a:cubicBezTo>
                    <a:pt x="3" y="3"/>
                    <a:pt x="6" y="6"/>
                    <a:pt x="8" y="6"/>
                  </a:cubicBezTo>
                  <a:cubicBezTo>
                    <a:pt x="6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59" name="Freeform 217"/>
            <p:cNvSpPr>
              <a:spLocks noChangeArrowheads="1"/>
            </p:cNvSpPr>
            <p:nvPr/>
          </p:nvSpPr>
          <p:spPr bwMode="auto">
            <a:xfrm>
              <a:off x="4494213" y="2328863"/>
              <a:ext cx="1587" cy="3175"/>
            </a:xfrm>
            <a:custGeom>
              <a:avLst/>
              <a:gdLst>
                <a:gd name="T0" fmla="*/ 0 w 6"/>
                <a:gd name="T1" fmla="*/ 3 h 7"/>
                <a:gd name="T2" fmla="*/ 5 w 6"/>
                <a:gd name="T3" fmla="*/ 6 h 7"/>
                <a:gd name="T4" fmla="*/ 0 w 6"/>
                <a:gd name="T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0" y="3"/>
                  </a:moveTo>
                  <a:cubicBezTo>
                    <a:pt x="2" y="3"/>
                    <a:pt x="2" y="6"/>
                    <a:pt x="5" y="6"/>
                  </a:cubicBezTo>
                  <a:cubicBezTo>
                    <a:pt x="2" y="3"/>
                    <a:pt x="2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0" name="Freeform 218"/>
            <p:cNvSpPr>
              <a:spLocks noChangeArrowheads="1"/>
            </p:cNvSpPr>
            <p:nvPr/>
          </p:nvSpPr>
          <p:spPr bwMode="auto">
            <a:xfrm>
              <a:off x="4497388" y="2854325"/>
              <a:ext cx="6350" cy="4763"/>
            </a:xfrm>
            <a:custGeom>
              <a:avLst/>
              <a:gdLst>
                <a:gd name="T0" fmla="*/ 6 w 18"/>
                <a:gd name="T1" fmla="*/ 14 h 15"/>
                <a:gd name="T2" fmla="*/ 14 w 18"/>
                <a:gd name="T3" fmla="*/ 0 h 15"/>
                <a:gd name="T4" fmla="*/ 0 w 18"/>
                <a:gd name="T5" fmla="*/ 9 h 15"/>
                <a:gd name="T6" fmla="*/ 6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6" y="14"/>
                  </a:moveTo>
                  <a:cubicBezTo>
                    <a:pt x="6" y="6"/>
                    <a:pt x="17" y="9"/>
                    <a:pt x="14" y="0"/>
                  </a:cubicBezTo>
                  <a:cubicBezTo>
                    <a:pt x="9" y="3"/>
                    <a:pt x="0" y="3"/>
                    <a:pt x="0" y="9"/>
                  </a:cubicBezTo>
                  <a:cubicBezTo>
                    <a:pt x="3" y="9"/>
                    <a:pt x="3" y="11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1" name="Freeform 219"/>
            <p:cNvSpPr>
              <a:spLocks noChangeArrowheads="1"/>
            </p:cNvSpPr>
            <p:nvPr/>
          </p:nvSpPr>
          <p:spPr bwMode="auto">
            <a:xfrm>
              <a:off x="4445000" y="2936875"/>
              <a:ext cx="4763" cy="1588"/>
            </a:xfrm>
            <a:custGeom>
              <a:avLst/>
              <a:gdLst>
                <a:gd name="T0" fmla="*/ 12 w 13"/>
                <a:gd name="T1" fmla="*/ 2 h 6"/>
                <a:gd name="T2" fmla="*/ 12 w 13"/>
                <a:gd name="T3" fmla="*/ 2 h 6"/>
                <a:gd name="T4" fmla="*/ 0 w 13"/>
                <a:gd name="T5" fmla="*/ 0 h 6"/>
                <a:gd name="T6" fmla="*/ 0 w 13"/>
                <a:gd name="T7" fmla="*/ 2 h 6"/>
                <a:gd name="T8" fmla="*/ 12 w 13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6">
                  <a:moveTo>
                    <a:pt x="12" y="2"/>
                  </a:moveTo>
                  <a:cubicBezTo>
                    <a:pt x="12" y="0"/>
                    <a:pt x="9" y="0"/>
                    <a:pt x="12" y="2"/>
                  </a:cubicBezTo>
                  <a:lnTo>
                    <a:pt x="0" y="0"/>
                  </a:lnTo>
                  <a:lnTo>
                    <a:pt x="0" y="2"/>
                  </a:lnTo>
                  <a:cubicBezTo>
                    <a:pt x="3" y="5"/>
                    <a:pt x="6" y="2"/>
                    <a:pt x="12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2" name="Freeform 220"/>
            <p:cNvSpPr>
              <a:spLocks noChangeArrowheads="1"/>
            </p:cNvSpPr>
            <p:nvPr/>
          </p:nvSpPr>
          <p:spPr bwMode="auto">
            <a:xfrm>
              <a:off x="4464050" y="2332038"/>
              <a:ext cx="3175" cy="3175"/>
            </a:xfrm>
            <a:custGeom>
              <a:avLst/>
              <a:gdLst>
                <a:gd name="T0" fmla="*/ 6 w 7"/>
                <a:gd name="T1" fmla="*/ 3 h 10"/>
                <a:gd name="T2" fmla="*/ 0 w 7"/>
                <a:gd name="T3" fmla="*/ 0 h 10"/>
                <a:gd name="T4" fmla="*/ 0 w 7"/>
                <a:gd name="T5" fmla="*/ 9 h 10"/>
                <a:gd name="T6" fmla="*/ 6 w 7"/>
                <a:gd name="T7" fmla="*/ 9 h 10"/>
                <a:gd name="T8" fmla="*/ 6 w 7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6" y="3"/>
                  </a:moveTo>
                  <a:cubicBezTo>
                    <a:pt x="3" y="3"/>
                    <a:pt x="3" y="0"/>
                    <a:pt x="0" y="0"/>
                  </a:cubicBezTo>
                  <a:lnTo>
                    <a:pt x="0" y="9"/>
                  </a:lnTo>
                  <a:lnTo>
                    <a:pt x="6" y="9"/>
                  </a:lnTo>
                  <a:cubicBezTo>
                    <a:pt x="6" y="9"/>
                    <a:pt x="6" y="6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3" name="Freeform 221"/>
            <p:cNvSpPr>
              <a:spLocks noChangeArrowheads="1"/>
            </p:cNvSpPr>
            <p:nvPr/>
          </p:nvSpPr>
          <p:spPr bwMode="auto">
            <a:xfrm>
              <a:off x="4365625" y="2352675"/>
              <a:ext cx="4763" cy="11113"/>
            </a:xfrm>
            <a:custGeom>
              <a:avLst/>
              <a:gdLst>
                <a:gd name="T0" fmla="*/ 0 w 13"/>
                <a:gd name="T1" fmla="*/ 8 h 32"/>
                <a:gd name="T2" fmla="*/ 6 w 13"/>
                <a:gd name="T3" fmla="*/ 31 h 32"/>
                <a:gd name="T4" fmla="*/ 6 w 13"/>
                <a:gd name="T5" fmla="*/ 31 h 32"/>
                <a:gd name="T6" fmla="*/ 12 w 13"/>
                <a:gd name="T7" fmla="*/ 0 h 32"/>
                <a:gd name="T8" fmla="*/ 0 w 13"/>
                <a:gd name="T9" fmla="*/ 2 h 32"/>
                <a:gd name="T10" fmla="*/ 0 w 13"/>
                <a:gd name="T11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2">
                  <a:moveTo>
                    <a:pt x="0" y="8"/>
                  </a:moveTo>
                  <a:cubicBezTo>
                    <a:pt x="0" y="16"/>
                    <a:pt x="3" y="25"/>
                    <a:pt x="6" y="31"/>
                  </a:cubicBezTo>
                  <a:lnTo>
                    <a:pt x="6" y="31"/>
                  </a:lnTo>
                  <a:cubicBezTo>
                    <a:pt x="3" y="19"/>
                    <a:pt x="6" y="8"/>
                    <a:pt x="12" y="0"/>
                  </a:cubicBezTo>
                  <a:cubicBezTo>
                    <a:pt x="9" y="2"/>
                    <a:pt x="6" y="2"/>
                    <a:pt x="0" y="2"/>
                  </a:cubicBezTo>
                  <a:cubicBezTo>
                    <a:pt x="0" y="5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4" name="Freeform 222"/>
            <p:cNvSpPr>
              <a:spLocks noChangeArrowheads="1"/>
            </p:cNvSpPr>
            <p:nvPr/>
          </p:nvSpPr>
          <p:spPr bwMode="auto">
            <a:xfrm>
              <a:off x="4446588" y="2243138"/>
              <a:ext cx="4762" cy="4762"/>
            </a:xfrm>
            <a:custGeom>
              <a:avLst/>
              <a:gdLst>
                <a:gd name="T0" fmla="*/ 6 w 12"/>
                <a:gd name="T1" fmla="*/ 14 h 15"/>
                <a:gd name="T2" fmla="*/ 11 w 12"/>
                <a:gd name="T3" fmla="*/ 6 h 15"/>
                <a:gd name="T4" fmla="*/ 0 w 12"/>
                <a:gd name="T5" fmla="*/ 0 h 15"/>
                <a:gd name="T6" fmla="*/ 3 w 12"/>
                <a:gd name="T7" fmla="*/ 14 h 15"/>
                <a:gd name="T8" fmla="*/ 6 w 12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6" y="14"/>
                  </a:moveTo>
                  <a:cubicBezTo>
                    <a:pt x="9" y="11"/>
                    <a:pt x="9" y="8"/>
                    <a:pt x="11" y="6"/>
                  </a:cubicBezTo>
                  <a:cubicBezTo>
                    <a:pt x="9" y="3"/>
                    <a:pt x="6" y="3"/>
                    <a:pt x="0" y="0"/>
                  </a:cubicBezTo>
                  <a:cubicBezTo>
                    <a:pt x="0" y="6"/>
                    <a:pt x="0" y="8"/>
                    <a:pt x="3" y="14"/>
                  </a:cubicBezTo>
                  <a:cubicBezTo>
                    <a:pt x="6" y="14"/>
                    <a:pt x="6" y="14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5" name="Freeform 223"/>
            <p:cNvSpPr>
              <a:spLocks noChangeArrowheads="1"/>
            </p:cNvSpPr>
            <p:nvPr/>
          </p:nvSpPr>
          <p:spPr bwMode="auto">
            <a:xfrm>
              <a:off x="4352925" y="2555875"/>
              <a:ext cx="1588" cy="1588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0 h 4"/>
                <a:gd name="T4" fmla="*/ 3 w 4"/>
                <a:gd name="T5" fmla="*/ 3 h 4"/>
                <a:gd name="T6" fmla="*/ 0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0"/>
                  </a:lnTo>
                  <a:cubicBezTo>
                    <a:pt x="3" y="3"/>
                    <a:pt x="3" y="3"/>
                    <a:pt x="3" y="3"/>
                  </a:cubicBezTo>
                  <a:cubicBezTo>
                    <a:pt x="3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6" name="Freeform 224"/>
            <p:cNvSpPr>
              <a:spLocks noChangeArrowheads="1"/>
            </p:cNvSpPr>
            <p:nvPr/>
          </p:nvSpPr>
          <p:spPr bwMode="auto">
            <a:xfrm>
              <a:off x="4370388" y="2332038"/>
              <a:ext cx="1587" cy="3175"/>
            </a:xfrm>
            <a:custGeom>
              <a:avLst/>
              <a:gdLst>
                <a:gd name="T0" fmla="*/ 5 w 6"/>
                <a:gd name="T1" fmla="*/ 9 h 10"/>
                <a:gd name="T2" fmla="*/ 5 w 6"/>
                <a:gd name="T3" fmla="*/ 0 h 10"/>
                <a:gd name="T4" fmla="*/ 0 w 6"/>
                <a:gd name="T5" fmla="*/ 0 h 10"/>
                <a:gd name="T6" fmla="*/ 0 w 6"/>
                <a:gd name="T7" fmla="*/ 9 h 10"/>
                <a:gd name="T8" fmla="*/ 5 w 6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5" y="9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5" y="9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7" name="Freeform 225"/>
            <p:cNvSpPr>
              <a:spLocks noChangeArrowheads="1"/>
            </p:cNvSpPr>
            <p:nvPr/>
          </p:nvSpPr>
          <p:spPr bwMode="auto">
            <a:xfrm>
              <a:off x="4456113" y="2811463"/>
              <a:ext cx="3175" cy="1587"/>
            </a:xfrm>
            <a:custGeom>
              <a:avLst/>
              <a:gdLst>
                <a:gd name="T0" fmla="*/ 0 w 7"/>
                <a:gd name="T1" fmla="*/ 0 h 4"/>
                <a:gd name="T2" fmla="*/ 0 w 7"/>
                <a:gd name="T3" fmla="*/ 0 h 4"/>
                <a:gd name="T4" fmla="*/ 6 w 7"/>
                <a:gd name="T5" fmla="*/ 0 h 4"/>
                <a:gd name="T6" fmla="*/ 6 w 7"/>
                <a:gd name="T7" fmla="*/ 0 h 4"/>
                <a:gd name="T8" fmla="*/ 0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lnTo>
                    <a:pt x="0" y="0"/>
                  </a:lnTo>
                  <a:cubicBezTo>
                    <a:pt x="3" y="3"/>
                    <a:pt x="6" y="0"/>
                    <a:pt x="6" y="0"/>
                  </a:cubicBezTo>
                  <a:lnTo>
                    <a:pt x="6" y="0"/>
                  </a:ln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8" name="Freeform 226"/>
            <p:cNvSpPr>
              <a:spLocks noChangeArrowheads="1"/>
            </p:cNvSpPr>
            <p:nvPr/>
          </p:nvSpPr>
          <p:spPr bwMode="auto">
            <a:xfrm>
              <a:off x="4459288" y="2670175"/>
              <a:ext cx="3175" cy="1588"/>
            </a:xfrm>
            <a:custGeom>
              <a:avLst/>
              <a:gdLst>
                <a:gd name="T0" fmla="*/ 0 w 9"/>
                <a:gd name="T1" fmla="*/ 0 h 4"/>
                <a:gd name="T2" fmla="*/ 0 w 9"/>
                <a:gd name="T3" fmla="*/ 3 h 4"/>
                <a:gd name="T4" fmla="*/ 8 w 9"/>
                <a:gd name="T5" fmla="*/ 0 h 4"/>
                <a:gd name="T6" fmla="*/ 0 w 9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4">
                  <a:moveTo>
                    <a:pt x="0" y="0"/>
                  </a:moveTo>
                  <a:lnTo>
                    <a:pt x="0" y="3"/>
                  </a:lnTo>
                  <a:cubicBezTo>
                    <a:pt x="3" y="3"/>
                    <a:pt x="6" y="0"/>
                    <a:pt x="8" y="0"/>
                  </a:cubicBezTo>
                  <a:cubicBezTo>
                    <a:pt x="6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9" name="Freeform 227"/>
            <p:cNvSpPr>
              <a:spLocks noChangeArrowheads="1"/>
            </p:cNvSpPr>
            <p:nvPr/>
          </p:nvSpPr>
          <p:spPr bwMode="auto">
            <a:xfrm>
              <a:off x="4459288" y="2266950"/>
              <a:ext cx="3175" cy="3175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6 w 7"/>
                <a:gd name="T5" fmla="*/ 8 h 9"/>
                <a:gd name="T6" fmla="*/ 3 w 7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cubicBezTo>
                    <a:pt x="3" y="0"/>
                    <a:pt x="0" y="0"/>
                    <a:pt x="3" y="0"/>
                  </a:cubicBezTo>
                  <a:cubicBezTo>
                    <a:pt x="0" y="3"/>
                    <a:pt x="3" y="8"/>
                    <a:pt x="6" y="8"/>
                  </a:cubicBezTo>
                  <a:cubicBezTo>
                    <a:pt x="3" y="5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0" name="Freeform 228"/>
            <p:cNvSpPr>
              <a:spLocks noChangeArrowheads="1"/>
            </p:cNvSpPr>
            <p:nvPr/>
          </p:nvSpPr>
          <p:spPr bwMode="auto">
            <a:xfrm>
              <a:off x="4456113" y="2565400"/>
              <a:ext cx="3175" cy="3175"/>
            </a:xfrm>
            <a:custGeom>
              <a:avLst/>
              <a:gdLst>
                <a:gd name="T0" fmla="*/ 0 w 7"/>
                <a:gd name="T1" fmla="*/ 3 h 7"/>
                <a:gd name="T2" fmla="*/ 6 w 7"/>
                <a:gd name="T3" fmla="*/ 6 h 7"/>
                <a:gd name="T4" fmla="*/ 6 w 7"/>
                <a:gd name="T5" fmla="*/ 0 h 7"/>
                <a:gd name="T6" fmla="*/ 0 w 7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3"/>
                  </a:moveTo>
                  <a:cubicBezTo>
                    <a:pt x="3" y="3"/>
                    <a:pt x="6" y="3"/>
                    <a:pt x="6" y="6"/>
                  </a:cubicBezTo>
                  <a:lnTo>
                    <a:pt x="6" y="0"/>
                  </a:lnTo>
                  <a:cubicBezTo>
                    <a:pt x="6" y="0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1" name="Freeform 229"/>
            <p:cNvSpPr>
              <a:spLocks noChangeArrowheads="1"/>
            </p:cNvSpPr>
            <p:nvPr/>
          </p:nvSpPr>
          <p:spPr bwMode="auto">
            <a:xfrm>
              <a:off x="4452938" y="2379663"/>
              <a:ext cx="3175" cy="3175"/>
            </a:xfrm>
            <a:custGeom>
              <a:avLst/>
              <a:gdLst>
                <a:gd name="T0" fmla="*/ 8 w 9"/>
                <a:gd name="T1" fmla="*/ 3 h 9"/>
                <a:gd name="T2" fmla="*/ 8 w 9"/>
                <a:gd name="T3" fmla="*/ 3 h 9"/>
                <a:gd name="T4" fmla="*/ 8 w 9"/>
                <a:gd name="T5" fmla="*/ 3 h 9"/>
                <a:gd name="T6" fmla="*/ 3 w 9"/>
                <a:gd name="T7" fmla="*/ 0 h 9"/>
                <a:gd name="T8" fmla="*/ 0 w 9"/>
                <a:gd name="T9" fmla="*/ 6 h 9"/>
                <a:gd name="T10" fmla="*/ 8 w 9"/>
                <a:gd name="T11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9">
                  <a:moveTo>
                    <a:pt x="8" y="3"/>
                  </a:moveTo>
                  <a:lnTo>
                    <a:pt x="8" y="3"/>
                  </a:lnTo>
                  <a:lnTo>
                    <a:pt x="8" y="3"/>
                  </a:lnTo>
                  <a:cubicBezTo>
                    <a:pt x="6" y="0"/>
                    <a:pt x="3" y="0"/>
                    <a:pt x="3" y="0"/>
                  </a:cubicBezTo>
                  <a:cubicBezTo>
                    <a:pt x="0" y="3"/>
                    <a:pt x="0" y="3"/>
                    <a:pt x="0" y="6"/>
                  </a:cubicBezTo>
                  <a:cubicBezTo>
                    <a:pt x="6" y="8"/>
                    <a:pt x="8" y="8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2" name="Freeform 230"/>
            <p:cNvSpPr>
              <a:spLocks noChangeArrowheads="1"/>
            </p:cNvSpPr>
            <p:nvPr/>
          </p:nvSpPr>
          <p:spPr bwMode="auto">
            <a:xfrm>
              <a:off x="4449763" y="2941638"/>
              <a:ext cx="7937" cy="1587"/>
            </a:xfrm>
            <a:custGeom>
              <a:avLst/>
              <a:gdLst>
                <a:gd name="T0" fmla="*/ 2 w 20"/>
                <a:gd name="T1" fmla="*/ 2 h 3"/>
                <a:gd name="T2" fmla="*/ 2 w 20"/>
                <a:gd name="T3" fmla="*/ 2 h 3"/>
                <a:gd name="T4" fmla="*/ 2 w 20"/>
                <a:gd name="T5" fmla="*/ 2 h 3"/>
                <a:gd name="T6" fmla="*/ 19 w 20"/>
                <a:gd name="T7" fmla="*/ 0 h 3"/>
                <a:gd name="T8" fmla="*/ 0 w 20"/>
                <a:gd name="T9" fmla="*/ 0 h 3"/>
                <a:gd name="T10" fmla="*/ 2 w 20"/>
                <a:gd name="T1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cubicBezTo>
                    <a:pt x="8" y="2"/>
                    <a:pt x="14" y="2"/>
                    <a:pt x="19" y="0"/>
                  </a:cubicBezTo>
                  <a:lnTo>
                    <a:pt x="0" y="0"/>
                  </a:lnTo>
                  <a:cubicBezTo>
                    <a:pt x="0" y="2"/>
                    <a:pt x="0" y="2"/>
                    <a:pt x="2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3" name="Freeform 231"/>
            <p:cNvSpPr>
              <a:spLocks noChangeArrowheads="1"/>
            </p:cNvSpPr>
            <p:nvPr/>
          </p:nvSpPr>
          <p:spPr bwMode="auto">
            <a:xfrm>
              <a:off x="4456113" y="2422525"/>
              <a:ext cx="1587" cy="1588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3 h 4"/>
                <a:gd name="T4" fmla="*/ 2 w 3"/>
                <a:gd name="T5" fmla="*/ 3 h 4"/>
                <a:gd name="T6" fmla="*/ 2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lnTo>
                    <a:pt x="0" y="3"/>
                  </a:lnTo>
                  <a:lnTo>
                    <a:pt x="2" y="3"/>
                  </a:ln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4" name="Freeform 232"/>
            <p:cNvSpPr>
              <a:spLocks noChangeArrowheads="1"/>
            </p:cNvSpPr>
            <p:nvPr/>
          </p:nvSpPr>
          <p:spPr bwMode="auto">
            <a:xfrm>
              <a:off x="4344988" y="2320925"/>
              <a:ext cx="4762" cy="3175"/>
            </a:xfrm>
            <a:custGeom>
              <a:avLst/>
              <a:gdLst>
                <a:gd name="T0" fmla="*/ 3 w 15"/>
                <a:gd name="T1" fmla="*/ 6 h 10"/>
                <a:gd name="T2" fmla="*/ 11 w 15"/>
                <a:gd name="T3" fmla="*/ 6 h 10"/>
                <a:gd name="T4" fmla="*/ 11 w 15"/>
                <a:gd name="T5" fmla="*/ 0 h 10"/>
                <a:gd name="T6" fmla="*/ 0 w 15"/>
                <a:gd name="T7" fmla="*/ 0 h 10"/>
                <a:gd name="T8" fmla="*/ 3 w 15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0">
                  <a:moveTo>
                    <a:pt x="3" y="6"/>
                  </a:moveTo>
                  <a:cubicBezTo>
                    <a:pt x="6" y="9"/>
                    <a:pt x="9" y="9"/>
                    <a:pt x="11" y="6"/>
                  </a:cubicBezTo>
                  <a:cubicBezTo>
                    <a:pt x="14" y="3"/>
                    <a:pt x="14" y="3"/>
                    <a:pt x="11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5" name="Freeform 233"/>
            <p:cNvSpPr>
              <a:spLocks noChangeArrowheads="1"/>
            </p:cNvSpPr>
            <p:nvPr/>
          </p:nvSpPr>
          <p:spPr bwMode="auto">
            <a:xfrm>
              <a:off x="4413250" y="2333625"/>
              <a:ext cx="4763" cy="4763"/>
            </a:xfrm>
            <a:custGeom>
              <a:avLst/>
              <a:gdLst>
                <a:gd name="T0" fmla="*/ 9 w 12"/>
                <a:gd name="T1" fmla="*/ 11 h 12"/>
                <a:gd name="T2" fmla="*/ 11 w 12"/>
                <a:gd name="T3" fmla="*/ 3 h 12"/>
                <a:gd name="T4" fmla="*/ 6 w 12"/>
                <a:gd name="T5" fmla="*/ 0 h 12"/>
                <a:gd name="T6" fmla="*/ 6 w 12"/>
                <a:gd name="T7" fmla="*/ 0 h 12"/>
                <a:gd name="T8" fmla="*/ 3 w 12"/>
                <a:gd name="T9" fmla="*/ 0 h 12"/>
                <a:gd name="T10" fmla="*/ 9 w 12"/>
                <a:gd name="T11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9" y="11"/>
                  </a:moveTo>
                  <a:cubicBezTo>
                    <a:pt x="11" y="8"/>
                    <a:pt x="11" y="6"/>
                    <a:pt x="11" y="3"/>
                  </a:cubicBezTo>
                  <a:cubicBezTo>
                    <a:pt x="9" y="3"/>
                    <a:pt x="9" y="3"/>
                    <a:pt x="6" y="0"/>
                  </a:cubicBezTo>
                  <a:lnTo>
                    <a:pt x="6" y="0"/>
                  </a:lnTo>
                  <a:cubicBezTo>
                    <a:pt x="6" y="0"/>
                    <a:pt x="6" y="0"/>
                    <a:pt x="3" y="0"/>
                  </a:cubicBezTo>
                  <a:cubicBezTo>
                    <a:pt x="0" y="3"/>
                    <a:pt x="0" y="11"/>
                    <a:pt x="9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6" name="Freeform 234"/>
            <p:cNvSpPr>
              <a:spLocks noChangeArrowheads="1"/>
            </p:cNvSpPr>
            <p:nvPr/>
          </p:nvSpPr>
          <p:spPr bwMode="auto">
            <a:xfrm>
              <a:off x="4344988" y="2425700"/>
              <a:ext cx="1587" cy="1588"/>
            </a:xfrm>
            <a:custGeom>
              <a:avLst/>
              <a:gdLst>
                <a:gd name="T0" fmla="*/ 0 w 4"/>
                <a:gd name="T1" fmla="*/ 0 h 4"/>
                <a:gd name="T2" fmla="*/ 3 w 4"/>
                <a:gd name="T3" fmla="*/ 0 h 4"/>
                <a:gd name="T4" fmla="*/ 0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3" y="0"/>
                  </a:lnTo>
                  <a:cubicBezTo>
                    <a:pt x="0" y="3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7" name="Freeform 235"/>
            <p:cNvSpPr>
              <a:spLocks noChangeArrowheads="1"/>
            </p:cNvSpPr>
            <p:nvPr/>
          </p:nvSpPr>
          <p:spPr bwMode="auto">
            <a:xfrm>
              <a:off x="4195763" y="2681288"/>
              <a:ext cx="4762" cy="4762"/>
            </a:xfrm>
            <a:custGeom>
              <a:avLst/>
              <a:gdLst>
                <a:gd name="T0" fmla="*/ 12 w 13"/>
                <a:gd name="T1" fmla="*/ 0 h 12"/>
                <a:gd name="T2" fmla="*/ 0 w 13"/>
                <a:gd name="T3" fmla="*/ 5 h 12"/>
                <a:gd name="T4" fmla="*/ 0 w 13"/>
                <a:gd name="T5" fmla="*/ 11 h 12"/>
                <a:gd name="T6" fmla="*/ 12 w 13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2">
                  <a:moveTo>
                    <a:pt x="12" y="0"/>
                  </a:moveTo>
                  <a:cubicBezTo>
                    <a:pt x="9" y="0"/>
                    <a:pt x="3" y="3"/>
                    <a:pt x="0" y="5"/>
                  </a:cubicBezTo>
                  <a:cubicBezTo>
                    <a:pt x="0" y="8"/>
                    <a:pt x="0" y="8"/>
                    <a:pt x="0" y="11"/>
                  </a:cubicBezTo>
                  <a:cubicBezTo>
                    <a:pt x="6" y="8"/>
                    <a:pt x="9" y="5"/>
                    <a:pt x="1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8" name="Freeform 236"/>
            <p:cNvSpPr>
              <a:spLocks noChangeArrowheads="1"/>
            </p:cNvSpPr>
            <p:nvPr/>
          </p:nvSpPr>
          <p:spPr bwMode="auto">
            <a:xfrm>
              <a:off x="4405313" y="2203450"/>
              <a:ext cx="3175" cy="3175"/>
            </a:xfrm>
            <a:custGeom>
              <a:avLst/>
              <a:gdLst>
                <a:gd name="T0" fmla="*/ 6 w 10"/>
                <a:gd name="T1" fmla="*/ 6 h 7"/>
                <a:gd name="T2" fmla="*/ 9 w 10"/>
                <a:gd name="T3" fmla="*/ 3 h 7"/>
                <a:gd name="T4" fmla="*/ 0 w 10"/>
                <a:gd name="T5" fmla="*/ 3 h 7"/>
                <a:gd name="T6" fmla="*/ 6 w 10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6" y="6"/>
                  </a:moveTo>
                  <a:cubicBezTo>
                    <a:pt x="6" y="3"/>
                    <a:pt x="9" y="3"/>
                    <a:pt x="9" y="3"/>
                  </a:cubicBezTo>
                  <a:cubicBezTo>
                    <a:pt x="6" y="0"/>
                    <a:pt x="3" y="3"/>
                    <a:pt x="0" y="3"/>
                  </a:cubicBezTo>
                  <a:cubicBezTo>
                    <a:pt x="0" y="6"/>
                    <a:pt x="3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9" name="Freeform 237"/>
            <p:cNvSpPr>
              <a:spLocks noChangeArrowheads="1"/>
            </p:cNvSpPr>
            <p:nvPr/>
          </p:nvSpPr>
          <p:spPr bwMode="auto">
            <a:xfrm>
              <a:off x="4278313" y="2568575"/>
              <a:ext cx="3175" cy="3175"/>
            </a:xfrm>
            <a:custGeom>
              <a:avLst/>
              <a:gdLst>
                <a:gd name="T0" fmla="*/ 0 w 9"/>
                <a:gd name="T1" fmla="*/ 2 h 9"/>
                <a:gd name="T2" fmla="*/ 2 w 9"/>
                <a:gd name="T3" fmla="*/ 8 h 9"/>
                <a:gd name="T4" fmla="*/ 8 w 9"/>
                <a:gd name="T5" fmla="*/ 2 h 9"/>
                <a:gd name="T6" fmla="*/ 0 w 9"/>
                <a:gd name="T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0" y="2"/>
                  </a:moveTo>
                  <a:cubicBezTo>
                    <a:pt x="0" y="5"/>
                    <a:pt x="2" y="5"/>
                    <a:pt x="2" y="8"/>
                  </a:cubicBezTo>
                  <a:cubicBezTo>
                    <a:pt x="5" y="8"/>
                    <a:pt x="8" y="5"/>
                    <a:pt x="8" y="2"/>
                  </a:cubicBezTo>
                  <a:cubicBezTo>
                    <a:pt x="2" y="0"/>
                    <a:pt x="0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0" name="Freeform 238"/>
            <p:cNvSpPr>
              <a:spLocks noChangeArrowheads="1"/>
            </p:cNvSpPr>
            <p:nvPr/>
          </p:nvSpPr>
          <p:spPr bwMode="auto">
            <a:xfrm>
              <a:off x="4206875" y="2436813"/>
              <a:ext cx="3175" cy="3175"/>
            </a:xfrm>
            <a:custGeom>
              <a:avLst/>
              <a:gdLst>
                <a:gd name="T0" fmla="*/ 6 w 10"/>
                <a:gd name="T1" fmla="*/ 8 h 9"/>
                <a:gd name="T2" fmla="*/ 6 w 10"/>
                <a:gd name="T3" fmla="*/ 3 h 9"/>
                <a:gd name="T4" fmla="*/ 0 w 10"/>
                <a:gd name="T5" fmla="*/ 0 h 9"/>
                <a:gd name="T6" fmla="*/ 6 w 10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6" y="8"/>
                  </a:moveTo>
                  <a:cubicBezTo>
                    <a:pt x="6" y="5"/>
                    <a:pt x="9" y="5"/>
                    <a:pt x="6" y="3"/>
                  </a:cubicBezTo>
                  <a:cubicBezTo>
                    <a:pt x="3" y="3"/>
                    <a:pt x="0" y="0"/>
                    <a:pt x="0" y="0"/>
                  </a:cubicBezTo>
                  <a:cubicBezTo>
                    <a:pt x="0" y="5"/>
                    <a:pt x="3" y="8"/>
                    <a:pt x="6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1" name="Freeform 239"/>
            <p:cNvSpPr>
              <a:spLocks noChangeArrowheads="1"/>
            </p:cNvSpPr>
            <p:nvPr/>
          </p:nvSpPr>
          <p:spPr bwMode="auto">
            <a:xfrm>
              <a:off x="4352925" y="2400300"/>
              <a:ext cx="4763" cy="3175"/>
            </a:xfrm>
            <a:custGeom>
              <a:avLst/>
              <a:gdLst>
                <a:gd name="T0" fmla="*/ 14 w 15"/>
                <a:gd name="T1" fmla="*/ 0 h 7"/>
                <a:gd name="T2" fmla="*/ 0 w 15"/>
                <a:gd name="T3" fmla="*/ 0 h 7"/>
                <a:gd name="T4" fmla="*/ 2 w 15"/>
                <a:gd name="T5" fmla="*/ 6 h 7"/>
                <a:gd name="T6" fmla="*/ 14 w 15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14" y="0"/>
                  </a:moveTo>
                  <a:cubicBezTo>
                    <a:pt x="8" y="0"/>
                    <a:pt x="5" y="0"/>
                    <a:pt x="0" y="0"/>
                  </a:cubicBezTo>
                  <a:cubicBezTo>
                    <a:pt x="0" y="3"/>
                    <a:pt x="2" y="3"/>
                    <a:pt x="2" y="6"/>
                  </a:cubicBezTo>
                  <a:cubicBezTo>
                    <a:pt x="5" y="3"/>
                    <a:pt x="11" y="3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2" name="Freeform 240"/>
            <p:cNvSpPr>
              <a:spLocks noChangeArrowheads="1"/>
            </p:cNvSpPr>
            <p:nvPr/>
          </p:nvSpPr>
          <p:spPr bwMode="auto">
            <a:xfrm>
              <a:off x="4202113" y="2528888"/>
              <a:ext cx="3175" cy="1587"/>
            </a:xfrm>
            <a:custGeom>
              <a:avLst/>
              <a:gdLst>
                <a:gd name="T0" fmla="*/ 0 w 7"/>
                <a:gd name="T1" fmla="*/ 0 h 6"/>
                <a:gd name="T2" fmla="*/ 3 w 7"/>
                <a:gd name="T3" fmla="*/ 5 h 6"/>
                <a:gd name="T4" fmla="*/ 6 w 7"/>
                <a:gd name="T5" fmla="*/ 2 h 6"/>
                <a:gd name="T6" fmla="*/ 0 w 7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cubicBezTo>
                    <a:pt x="0" y="2"/>
                    <a:pt x="3" y="2"/>
                    <a:pt x="3" y="5"/>
                  </a:cubicBezTo>
                  <a:cubicBezTo>
                    <a:pt x="3" y="2"/>
                    <a:pt x="6" y="2"/>
                    <a:pt x="6" y="2"/>
                  </a:cubicBez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3" name="Freeform 241"/>
            <p:cNvSpPr>
              <a:spLocks noChangeArrowheads="1"/>
            </p:cNvSpPr>
            <p:nvPr/>
          </p:nvSpPr>
          <p:spPr bwMode="auto">
            <a:xfrm>
              <a:off x="4194175" y="2886075"/>
              <a:ext cx="4763" cy="3175"/>
            </a:xfrm>
            <a:custGeom>
              <a:avLst/>
              <a:gdLst>
                <a:gd name="T0" fmla="*/ 9 w 13"/>
                <a:gd name="T1" fmla="*/ 3 h 7"/>
                <a:gd name="T2" fmla="*/ 6 w 13"/>
                <a:gd name="T3" fmla="*/ 0 h 7"/>
                <a:gd name="T4" fmla="*/ 0 w 13"/>
                <a:gd name="T5" fmla="*/ 6 h 7"/>
                <a:gd name="T6" fmla="*/ 9 w 13"/>
                <a:gd name="T7" fmla="*/ 6 h 7"/>
                <a:gd name="T8" fmla="*/ 9 w 1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9" y="3"/>
                  </a:moveTo>
                  <a:lnTo>
                    <a:pt x="6" y="0"/>
                  </a:lnTo>
                  <a:cubicBezTo>
                    <a:pt x="3" y="0"/>
                    <a:pt x="3" y="3"/>
                    <a:pt x="0" y="6"/>
                  </a:cubicBezTo>
                  <a:cubicBezTo>
                    <a:pt x="3" y="6"/>
                    <a:pt x="6" y="6"/>
                    <a:pt x="9" y="6"/>
                  </a:cubicBezTo>
                  <a:cubicBezTo>
                    <a:pt x="12" y="6"/>
                    <a:pt x="12" y="6"/>
                    <a:pt x="9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4" name="Freeform 242"/>
            <p:cNvSpPr>
              <a:spLocks noChangeArrowheads="1"/>
            </p:cNvSpPr>
            <p:nvPr/>
          </p:nvSpPr>
          <p:spPr bwMode="auto">
            <a:xfrm>
              <a:off x="4208463" y="2895600"/>
              <a:ext cx="3175" cy="3175"/>
            </a:xfrm>
            <a:custGeom>
              <a:avLst/>
              <a:gdLst>
                <a:gd name="T0" fmla="*/ 0 w 7"/>
                <a:gd name="T1" fmla="*/ 8 h 9"/>
                <a:gd name="T2" fmla="*/ 6 w 7"/>
                <a:gd name="T3" fmla="*/ 3 h 9"/>
                <a:gd name="T4" fmla="*/ 0 w 7"/>
                <a:gd name="T5" fmla="*/ 0 h 9"/>
                <a:gd name="T6" fmla="*/ 0 w 7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0" y="8"/>
                  </a:moveTo>
                  <a:cubicBezTo>
                    <a:pt x="3" y="8"/>
                    <a:pt x="6" y="5"/>
                    <a:pt x="6" y="3"/>
                  </a:cubicBezTo>
                  <a:cubicBezTo>
                    <a:pt x="6" y="3"/>
                    <a:pt x="3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5" name="Freeform 243"/>
            <p:cNvSpPr>
              <a:spLocks noChangeArrowheads="1"/>
            </p:cNvSpPr>
            <p:nvPr/>
          </p:nvSpPr>
          <p:spPr bwMode="auto">
            <a:xfrm>
              <a:off x="4198938" y="2732088"/>
              <a:ext cx="4762" cy="3175"/>
            </a:xfrm>
            <a:custGeom>
              <a:avLst/>
              <a:gdLst>
                <a:gd name="T0" fmla="*/ 0 w 15"/>
                <a:gd name="T1" fmla="*/ 2 h 9"/>
                <a:gd name="T2" fmla="*/ 11 w 15"/>
                <a:gd name="T3" fmla="*/ 8 h 9"/>
                <a:gd name="T4" fmla="*/ 14 w 15"/>
                <a:gd name="T5" fmla="*/ 5 h 9"/>
                <a:gd name="T6" fmla="*/ 0 w 15"/>
                <a:gd name="T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9">
                  <a:moveTo>
                    <a:pt x="0" y="2"/>
                  </a:moveTo>
                  <a:cubicBezTo>
                    <a:pt x="3" y="5"/>
                    <a:pt x="5" y="8"/>
                    <a:pt x="11" y="8"/>
                  </a:cubicBezTo>
                  <a:cubicBezTo>
                    <a:pt x="11" y="8"/>
                    <a:pt x="11" y="8"/>
                    <a:pt x="14" y="5"/>
                  </a:cubicBezTo>
                  <a:cubicBezTo>
                    <a:pt x="11" y="2"/>
                    <a:pt x="5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6" name="Freeform 244"/>
            <p:cNvSpPr>
              <a:spLocks noChangeArrowheads="1"/>
            </p:cNvSpPr>
            <p:nvPr/>
          </p:nvSpPr>
          <p:spPr bwMode="auto">
            <a:xfrm>
              <a:off x="4197350" y="3068638"/>
              <a:ext cx="3175" cy="1587"/>
            </a:xfrm>
            <a:custGeom>
              <a:avLst/>
              <a:gdLst>
                <a:gd name="T0" fmla="*/ 3 w 9"/>
                <a:gd name="T1" fmla="*/ 3 h 4"/>
                <a:gd name="T2" fmla="*/ 8 w 9"/>
                <a:gd name="T3" fmla="*/ 3 h 4"/>
                <a:gd name="T4" fmla="*/ 8 w 9"/>
                <a:gd name="T5" fmla="*/ 0 h 4"/>
                <a:gd name="T6" fmla="*/ 3 w 9"/>
                <a:gd name="T7" fmla="*/ 0 h 4"/>
                <a:gd name="T8" fmla="*/ 3 w 9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lnTo>
                    <a:pt x="8" y="3"/>
                  </a:lnTo>
                  <a:lnTo>
                    <a:pt x="8" y="0"/>
                  </a:lnTo>
                  <a:cubicBezTo>
                    <a:pt x="6" y="0"/>
                    <a:pt x="3" y="0"/>
                    <a:pt x="3" y="0"/>
                  </a:cubicBezTo>
                  <a:cubicBezTo>
                    <a:pt x="0" y="0"/>
                    <a:pt x="3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7" name="Freeform 245"/>
            <p:cNvSpPr>
              <a:spLocks noChangeArrowheads="1"/>
            </p:cNvSpPr>
            <p:nvPr/>
          </p:nvSpPr>
          <p:spPr bwMode="auto">
            <a:xfrm>
              <a:off x="4356100" y="2552700"/>
              <a:ext cx="1588" cy="3175"/>
            </a:xfrm>
            <a:custGeom>
              <a:avLst/>
              <a:gdLst>
                <a:gd name="T0" fmla="*/ 0 w 4"/>
                <a:gd name="T1" fmla="*/ 6 h 7"/>
                <a:gd name="T2" fmla="*/ 3 w 4"/>
                <a:gd name="T3" fmla="*/ 0 h 7"/>
                <a:gd name="T4" fmla="*/ 0 w 4"/>
                <a:gd name="T5" fmla="*/ 0 h 7"/>
                <a:gd name="T6" fmla="*/ 0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6"/>
                  </a:moveTo>
                  <a:cubicBezTo>
                    <a:pt x="0" y="3"/>
                    <a:pt x="3" y="0"/>
                    <a:pt x="3" y="0"/>
                  </a:cubicBezTo>
                  <a:lnTo>
                    <a:pt x="0" y="0"/>
                  </a:lnTo>
                  <a:cubicBezTo>
                    <a:pt x="0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8" name="Freeform 246"/>
            <p:cNvSpPr>
              <a:spLocks noChangeArrowheads="1"/>
            </p:cNvSpPr>
            <p:nvPr/>
          </p:nvSpPr>
          <p:spPr bwMode="auto">
            <a:xfrm>
              <a:off x="4376738" y="2652713"/>
              <a:ext cx="4762" cy="1587"/>
            </a:xfrm>
            <a:custGeom>
              <a:avLst/>
              <a:gdLst>
                <a:gd name="T0" fmla="*/ 12 w 13"/>
                <a:gd name="T1" fmla="*/ 3 h 4"/>
                <a:gd name="T2" fmla="*/ 12 w 13"/>
                <a:gd name="T3" fmla="*/ 3 h 4"/>
                <a:gd name="T4" fmla="*/ 0 w 13"/>
                <a:gd name="T5" fmla="*/ 3 h 4"/>
                <a:gd name="T6" fmla="*/ 12 w 13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">
                  <a:moveTo>
                    <a:pt x="12" y="3"/>
                  </a:moveTo>
                  <a:lnTo>
                    <a:pt x="12" y="3"/>
                  </a:lnTo>
                  <a:cubicBezTo>
                    <a:pt x="9" y="0"/>
                    <a:pt x="6" y="3"/>
                    <a:pt x="0" y="3"/>
                  </a:cubicBezTo>
                  <a:cubicBezTo>
                    <a:pt x="3" y="3"/>
                    <a:pt x="9" y="3"/>
                    <a:pt x="1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9" name="Freeform 247"/>
            <p:cNvSpPr>
              <a:spLocks noChangeArrowheads="1"/>
            </p:cNvSpPr>
            <p:nvPr/>
          </p:nvSpPr>
          <p:spPr bwMode="auto">
            <a:xfrm>
              <a:off x="4364038" y="2414588"/>
              <a:ext cx="12700" cy="15875"/>
            </a:xfrm>
            <a:custGeom>
              <a:avLst/>
              <a:gdLst>
                <a:gd name="T0" fmla="*/ 31 w 35"/>
                <a:gd name="T1" fmla="*/ 5 h 43"/>
                <a:gd name="T2" fmla="*/ 14 w 35"/>
                <a:gd name="T3" fmla="*/ 0 h 43"/>
                <a:gd name="T4" fmla="*/ 11 w 35"/>
                <a:gd name="T5" fmla="*/ 2 h 43"/>
                <a:gd name="T6" fmla="*/ 17 w 35"/>
                <a:gd name="T7" fmla="*/ 28 h 43"/>
                <a:gd name="T8" fmla="*/ 0 w 35"/>
                <a:gd name="T9" fmla="*/ 17 h 43"/>
                <a:gd name="T10" fmla="*/ 11 w 35"/>
                <a:gd name="T11" fmla="*/ 42 h 43"/>
                <a:gd name="T12" fmla="*/ 14 w 35"/>
                <a:gd name="T13" fmla="*/ 42 h 43"/>
                <a:gd name="T14" fmla="*/ 25 w 35"/>
                <a:gd name="T15" fmla="*/ 33 h 43"/>
                <a:gd name="T16" fmla="*/ 28 w 35"/>
                <a:gd name="T17" fmla="*/ 33 h 43"/>
                <a:gd name="T18" fmla="*/ 34 w 35"/>
                <a:gd name="T19" fmla="*/ 17 h 43"/>
                <a:gd name="T20" fmla="*/ 22 w 35"/>
                <a:gd name="T21" fmla="*/ 11 h 43"/>
                <a:gd name="T22" fmla="*/ 31 w 35"/>
                <a:gd name="T23" fmla="*/ 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43">
                  <a:moveTo>
                    <a:pt x="31" y="5"/>
                  </a:moveTo>
                  <a:cubicBezTo>
                    <a:pt x="28" y="0"/>
                    <a:pt x="19" y="2"/>
                    <a:pt x="14" y="0"/>
                  </a:cubicBezTo>
                  <a:cubicBezTo>
                    <a:pt x="14" y="0"/>
                    <a:pt x="14" y="2"/>
                    <a:pt x="11" y="2"/>
                  </a:cubicBezTo>
                  <a:cubicBezTo>
                    <a:pt x="11" y="8"/>
                    <a:pt x="25" y="19"/>
                    <a:pt x="17" y="28"/>
                  </a:cubicBezTo>
                  <a:cubicBezTo>
                    <a:pt x="14" y="22"/>
                    <a:pt x="8" y="17"/>
                    <a:pt x="0" y="17"/>
                  </a:cubicBezTo>
                  <a:cubicBezTo>
                    <a:pt x="3" y="25"/>
                    <a:pt x="8" y="33"/>
                    <a:pt x="11" y="42"/>
                  </a:cubicBezTo>
                  <a:lnTo>
                    <a:pt x="14" y="42"/>
                  </a:lnTo>
                  <a:cubicBezTo>
                    <a:pt x="17" y="39"/>
                    <a:pt x="19" y="33"/>
                    <a:pt x="25" y="33"/>
                  </a:cubicBezTo>
                  <a:lnTo>
                    <a:pt x="28" y="33"/>
                  </a:lnTo>
                  <a:cubicBezTo>
                    <a:pt x="31" y="28"/>
                    <a:pt x="34" y="22"/>
                    <a:pt x="34" y="17"/>
                  </a:cubicBezTo>
                  <a:cubicBezTo>
                    <a:pt x="28" y="11"/>
                    <a:pt x="22" y="22"/>
                    <a:pt x="22" y="11"/>
                  </a:cubicBezTo>
                  <a:cubicBezTo>
                    <a:pt x="25" y="8"/>
                    <a:pt x="28" y="8"/>
                    <a:pt x="31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0" name="Freeform 248"/>
            <p:cNvSpPr>
              <a:spLocks noChangeArrowheads="1"/>
            </p:cNvSpPr>
            <p:nvPr/>
          </p:nvSpPr>
          <p:spPr bwMode="auto">
            <a:xfrm>
              <a:off x="4376738" y="2378075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3"/>
                    <a:pt x="0" y="0"/>
                  </a:cubicBezTo>
                  <a:lnTo>
                    <a:pt x="0" y="0"/>
                  </a:lnTo>
                  <a:cubicBezTo>
                    <a:pt x="0" y="3"/>
                    <a:pt x="3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1" name="Freeform 249"/>
            <p:cNvSpPr>
              <a:spLocks noChangeArrowheads="1"/>
            </p:cNvSpPr>
            <p:nvPr/>
          </p:nvSpPr>
          <p:spPr bwMode="auto">
            <a:xfrm>
              <a:off x="4379913" y="2419350"/>
              <a:ext cx="1587" cy="3175"/>
            </a:xfrm>
            <a:custGeom>
              <a:avLst/>
              <a:gdLst>
                <a:gd name="T0" fmla="*/ 5 w 6"/>
                <a:gd name="T1" fmla="*/ 0 h 7"/>
                <a:gd name="T2" fmla="*/ 5 w 6"/>
                <a:gd name="T3" fmla="*/ 0 h 7"/>
                <a:gd name="T4" fmla="*/ 3 w 6"/>
                <a:gd name="T5" fmla="*/ 6 h 7"/>
                <a:gd name="T6" fmla="*/ 5 w 6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5" y="0"/>
                  </a:moveTo>
                  <a:cubicBezTo>
                    <a:pt x="5" y="0"/>
                    <a:pt x="3" y="0"/>
                    <a:pt x="5" y="0"/>
                  </a:cubicBezTo>
                  <a:cubicBezTo>
                    <a:pt x="0" y="0"/>
                    <a:pt x="0" y="3"/>
                    <a:pt x="3" y="6"/>
                  </a:cubicBezTo>
                  <a:cubicBezTo>
                    <a:pt x="5" y="3"/>
                    <a:pt x="5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2" name="Freeform 250"/>
            <p:cNvSpPr>
              <a:spLocks noChangeArrowheads="1"/>
            </p:cNvSpPr>
            <p:nvPr/>
          </p:nvSpPr>
          <p:spPr bwMode="auto">
            <a:xfrm>
              <a:off x="4370388" y="2138363"/>
              <a:ext cx="3175" cy="3175"/>
            </a:xfrm>
            <a:custGeom>
              <a:avLst/>
              <a:gdLst>
                <a:gd name="T0" fmla="*/ 8 w 9"/>
                <a:gd name="T1" fmla="*/ 0 h 10"/>
                <a:gd name="T2" fmla="*/ 0 w 9"/>
                <a:gd name="T3" fmla="*/ 3 h 10"/>
                <a:gd name="T4" fmla="*/ 8 w 9"/>
                <a:gd name="T5" fmla="*/ 9 h 10"/>
                <a:gd name="T6" fmla="*/ 8 w 9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8" y="0"/>
                  </a:moveTo>
                  <a:cubicBezTo>
                    <a:pt x="5" y="0"/>
                    <a:pt x="2" y="0"/>
                    <a:pt x="0" y="3"/>
                  </a:cubicBezTo>
                  <a:cubicBezTo>
                    <a:pt x="2" y="6"/>
                    <a:pt x="5" y="6"/>
                    <a:pt x="8" y="9"/>
                  </a:cubicBezTo>
                  <a:cubicBezTo>
                    <a:pt x="8" y="6"/>
                    <a:pt x="8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3" name="Freeform 251"/>
            <p:cNvSpPr>
              <a:spLocks noChangeArrowheads="1"/>
            </p:cNvSpPr>
            <p:nvPr/>
          </p:nvSpPr>
          <p:spPr bwMode="auto">
            <a:xfrm>
              <a:off x="4387850" y="2792413"/>
              <a:ext cx="11113" cy="14287"/>
            </a:xfrm>
            <a:custGeom>
              <a:avLst/>
              <a:gdLst>
                <a:gd name="T0" fmla="*/ 3 w 30"/>
                <a:gd name="T1" fmla="*/ 23 h 38"/>
                <a:gd name="T2" fmla="*/ 9 w 30"/>
                <a:gd name="T3" fmla="*/ 20 h 38"/>
                <a:gd name="T4" fmla="*/ 3 w 30"/>
                <a:gd name="T5" fmla="*/ 23 h 38"/>
                <a:gd name="T6" fmla="*/ 0 w 30"/>
                <a:gd name="T7" fmla="*/ 28 h 38"/>
                <a:gd name="T8" fmla="*/ 3 w 30"/>
                <a:gd name="T9" fmla="*/ 37 h 38"/>
                <a:gd name="T10" fmla="*/ 14 w 30"/>
                <a:gd name="T11" fmla="*/ 34 h 38"/>
                <a:gd name="T12" fmla="*/ 12 w 30"/>
                <a:gd name="T13" fmla="*/ 34 h 38"/>
                <a:gd name="T14" fmla="*/ 12 w 30"/>
                <a:gd name="T15" fmla="*/ 25 h 38"/>
                <a:gd name="T16" fmla="*/ 20 w 30"/>
                <a:gd name="T17" fmla="*/ 25 h 38"/>
                <a:gd name="T18" fmla="*/ 15 w 30"/>
                <a:gd name="T19" fmla="*/ 33 h 38"/>
                <a:gd name="T20" fmla="*/ 23 w 30"/>
                <a:gd name="T21" fmla="*/ 31 h 38"/>
                <a:gd name="T22" fmla="*/ 0 w 30"/>
                <a:gd name="T23" fmla="*/ 11 h 38"/>
                <a:gd name="T24" fmla="*/ 3 w 30"/>
                <a:gd name="T25" fmla="*/ 23 h 38"/>
                <a:gd name="T26" fmla="*/ 15 w 30"/>
                <a:gd name="T27" fmla="*/ 33 h 38"/>
                <a:gd name="T28" fmla="*/ 14 w 30"/>
                <a:gd name="T29" fmla="*/ 34 h 38"/>
                <a:gd name="T30" fmla="*/ 15 w 30"/>
                <a:gd name="T31" fmla="*/ 3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8">
                  <a:moveTo>
                    <a:pt x="3" y="23"/>
                  </a:moveTo>
                  <a:cubicBezTo>
                    <a:pt x="6" y="23"/>
                    <a:pt x="6" y="20"/>
                    <a:pt x="9" y="20"/>
                  </a:cubicBezTo>
                  <a:cubicBezTo>
                    <a:pt x="9" y="23"/>
                    <a:pt x="6" y="25"/>
                    <a:pt x="3" y="23"/>
                  </a:cubicBezTo>
                  <a:cubicBezTo>
                    <a:pt x="3" y="25"/>
                    <a:pt x="0" y="28"/>
                    <a:pt x="0" y="28"/>
                  </a:cubicBezTo>
                  <a:cubicBezTo>
                    <a:pt x="0" y="31"/>
                    <a:pt x="0" y="34"/>
                    <a:pt x="3" y="37"/>
                  </a:cubicBezTo>
                  <a:cubicBezTo>
                    <a:pt x="8" y="37"/>
                    <a:pt x="11" y="35"/>
                    <a:pt x="14" y="34"/>
                  </a:cubicBezTo>
                  <a:cubicBezTo>
                    <a:pt x="13" y="34"/>
                    <a:pt x="12" y="34"/>
                    <a:pt x="12" y="34"/>
                  </a:cubicBezTo>
                  <a:lnTo>
                    <a:pt x="12" y="25"/>
                  </a:lnTo>
                  <a:lnTo>
                    <a:pt x="20" y="25"/>
                  </a:lnTo>
                  <a:cubicBezTo>
                    <a:pt x="18" y="27"/>
                    <a:pt x="18" y="31"/>
                    <a:pt x="15" y="33"/>
                  </a:cubicBezTo>
                  <a:cubicBezTo>
                    <a:pt x="17" y="32"/>
                    <a:pt x="20" y="31"/>
                    <a:pt x="23" y="31"/>
                  </a:cubicBezTo>
                  <a:cubicBezTo>
                    <a:pt x="29" y="17"/>
                    <a:pt x="17" y="0"/>
                    <a:pt x="0" y="11"/>
                  </a:cubicBezTo>
                  <a:cubicBezTo>
                    <a:pt x="3" y="17"/>
                    <a:pt x="6" y="20"/>
                    <a:pt x="3" y="23"/>
                  </a:cubicBezTo>
                  <a:close/>
                  <a:moveTo>
                    <a:pt x="15" y="33"/>
                  </a:moveTo>
                  <a:cubicBezTo>
                    <a:pt x="15" y="33"/>
                    <a:pt x="14" y="33"/>
                    <a:pt x="14" y="34"/>
                  </a:cubicBezTo>
                  <a:cubicBezTo>
                    <a:pt x="14" y="33"/>
                    <a:pt x="15" y="33"/>
                    <a:pt x="15" y="33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4" name="Freeform 252"/>
            <p:cNvSpPr>
              <a:spLocks noChangeArrowheads="1"/>
            </p:cNvSpPr>
            <p:nvPr/>
          </p:nvSpPr>
          <p:spPr bwMode="auto">
            <a:xfrm>
              <a:off x="4395788" y="2154238"/>
              <a:ext cx="1587" cy="1587"/>
            </a:xfrm>
            <a:custGeom>
              <a:avLst/>
              <a:gdLst>
                <a:gd name="T0" fmla="*/ 3 w 4"/>
                <a:gd name="T1" fmla="*/ 5 h 6"/>
                <a:gd name="T2" fmla="*/ 3 w 4"/>
                <a:gd name="T3" fmla="*/ 0 h 6"/>
                <a:gd name="T4" fmla="*/ 3 w 4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3" y="5"/>
                  </a:moveTo>
                  <a:cubicBezTo>
                    <a:pt x="3" y="2"/>
                    <a:pt x="3" y="2"/>
                    <a:pt x="3" y="0"/>
                  </a:cubicBezTo>
                  <a:cubicBezTo>
                    <a:pt x="0" y="2"/>
                    <a:pt x="0" y="2"/>
                    <a:pt x="3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5" name="Freeform 253"/>
            <p:cNvSpPr>
              <a:spLocks noChangeArrowheads="1"/>
            </p:cNvSpPr>
            <p:nvPr/>
          </p:nvSpPr>
          <p:spPr bwMode="auto">
            <a:xfrm>
              <a:off x="4268788" y="2797175"/>
              <a:ext cx="4762" cy="4763"/>
            </a:xfrm>
            <a:custGeom>
              <a:avLst/>
              <a:gdLst>
                <a:gd name="T0" fmla="*/ 0 w 13"/>
                <a:gd name="T1" fmla="*/ 3 h 13"/>
                <a:gd name="T2" fmla="*/ 3 w 13"/>
                <a:gd name="T3" fmla="*/ 12 h 13"/>
                <a:gd name="T4" fmla="*/ 12 w 13"/>
                <a:gd name="T5" fmla="*/ 9 h 13"/>
                <a:gd name="T6" fmla="*/ 0 w 13"/>
                <a:gd name="T7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3">
                  <a:moveTo>
                    <a:pt x="0" y="3"/>
                  </a:moveTo>
                  <a:cubicBezTo>
                    <a:pt x="0" y="6"/>
                    <a:pt x="3" y="9"/>
                    <a:pt x="3" y="12"/>
                  </a:cubicBezTo>
                  <a:cubicBezTo>
                    <a:pt x="6" y="12"/>
                    <a:pt x="9" y="12"/>
                    <a:pt x="12" y="9"/>
                  </a:cubicBezTo>
                  <a:cubicBezTo>
                    <a:pt x="12" y="3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6" name="Freeform 254"/>
            <p:cNvSpPr>
              <a:spLocks noChangeArrowheads="1"/>
            </p:cNvSpPr>
            <p:nvPr/>
          </p:nvSpPr>
          <p:spPr bwMode="auto">
            <a:xfrm>
              <a:off x="4395788" y="2370138"/>
              <a:ext cx="7937" cy="4762"/>
            </a:xfrm>
            <a:custGeom>
              <a:avLst/>
              <a:gdLst>
                <a:gd name="T0" fmla="*/ 0 w 21"/>
                <a:gd name="T1" fmla="*/ 8 h 15"/>
                <a:gd name="T2" fmla="*/ 11 w 21"/>
                <a:gd name="T3" fmla="*/ 14 h 15"/>
                <a:gd name="T4" fmla="*/ 17 w 21"/>
                <a:gd name="T5" fmla="*/ 11 h 15"/>
                <a:gd name="T6" fmla="*/ 17 w 21"/>
                <a:gd name="T7" fmla="*/ 11 h 15"/>
                <a:gd name="T8" fmla="*/ 20 w 21"/>
                <a:gd name="T9" fmla="*/ 5 h 15"/>
                <a:gd name="T10" fmla="*/ 0 w 21"/>
                <a:gd name="T11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5">
                  <a:moveTo>
                    <a:pt x="0" y="8"/>
                  </a:moveTo>
                  <a:cubicBezTo>
                    <a:pt x="3" y="11"/>
                    <a:pt x="8" y="14"/>
                    <a:pt x="11" y="14"/>
                  </a:cubicBezTo>
                  <a:cubicBezTo>
                    <a:pt x="14" y="14"/>
                    <a:pt x="14" y="11"/>
                    <a:pt x="17" y="11"/>
                  </a:cubicBezTo>
                  <a:lnTo>
                    <a:pt x="17" y="11"/>
                  </a:lnTo>
                  <a:cubicBezTo>
                    <a:pt x="20" y="8"/>
                    <a:pt x="20" y="8"/>
                    <a:pt x="20" y="5"/>
                  </a:cubicBezTo>
                  <a:cubicBezTo>
                    <a:pt x="11" y="3"/>
                    <a:pt x="6" y="0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7" name="Freeform 255"/>
            <p:cNvSpPr>
              <a:spLocks noChangeArrowheads="1"/>
            </p:cNvSpPr>
            <p:nvPr/>
          </p:nvSpPr>
          <p:spPr bwMode="auto">
            <a:xfrm>
              <a:off x="4359275" y="2246313"/>
              <a:ext cx="1588" cy="3175"/>
            </a:xfrm>
            <a:custGeom>
              <a:avLst/>
              <a:gdLst>
                <a:gd name="T0" fmla="*/ 3 w 4"/>
                <a:gd name="T1" fmla="*/ 0 h 9"/>
                <a:gd name="T2" fmla="*/ 0 w 4"/>
                <a:gd name="T3" fmla="*/ 5 h 9"/>
                <a:gd name="T4" fmla="*/ 3 w 4"/>
                <a:gd name="T5" fmla="*/ 8 h 9"/>
                <a:gd name="T6" fmla="*/ 3 w 4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3" y="0"/>
                  </a:moveTo>
                  <a:cubicBezTo>
                    <a:pt x="0" y="2"/>
                    <a:pt x="0" y="2"/>
                    <a:pt x="0" y="5"/>
                  </a:cubicBezTo>
                  <a:cubicBezTo>
                    <a:pt x="0" y="5"/>
                    <a:pt x="3" y="5"/>
                    <a:pt x="3" y="8"/>
                  </a:cubicBezTo>
                  <a:lnTo>
                    <a:pt x="3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8" name="Freeform 256"/>
            <p:cNvSpPr>
              <a:spLocks noChangeArrowheads="1"/>
            </p:cNvSpPr>
            <p:nvPr/>
          </p:nvSpPr>
          <p:spPr bwMode="auto">
            <a:xfrm>
              <a:off x="4400550" y="2359025"/>
              <a:ext cx="12700" cy="7938"/>
            </a:xfrm>
            <a:custGeom>
              <a:avLst/>
              <a:gdLst>
                <a:gd name="T0" fmla="*/ 34 w 35"/>
                <a:gd name="T1" fmla="*/ 11 h 23"/>
                <a:gd name="T2" fmla="*/ 34 w 35"/>
                <a:gd name="T3" fmla="*/ 8 h 23"/>
                <a:gd name="T4" fmla="*/ 28 w 35"/>
                <a:gd name="T5" fmla="*/ 8 h 23"/>
                <a:gd name="T6" fmla="*/ 31 w 35"/>
                <a:gd name="T7" fmla="*/ 5 h 23"/>
                <a:gd name="T8" fmla="*/ 20 w 35"/>
                <a:gd name="T9" fmla="*/ 0 h 23"/>
                <a:gd name="T10" fmla="*/ 6 w 35"/>
                <a:gd name="T11" fmla="*/ 11 h 23"/>
                <a:gd name="T12" fmla="*/ 6 w 35"/>
                <a:gd name="T13" fmla="*/ 14 h 23"/>
                <a:gd name="T14" fmla="*/ 6 w 35"/>
                <a:gd name="T15" fmla="*/ 14 h 23"/>
                <a:gd name="T16" fmla="*/ 0 w 35"/>
                <a:gd name="T17" fmla="*/ 22 h 23"/>
                <a:gd name="T18" fmla="*/ 34 w 35"/>
                <a:gd name="T1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3">
                  <a:moveTo>
                    <a:pt x="34" y="11"/>
                  </a:moveTo>
                  <a:lnTo>
                    <a:pt x="34" y="8"/>
                  </a:lnTo>
                  <a:cubicBezTo>
                    <a:pt x="31" y="8"/>
                    <a:pt x="31" y="8"/>
                    <a:pt x="28" y="8"/>
                  </a:cubicBezTo>
                  <a:lnTo>
                    <a:pt x="31" y="5"/>
                  </a:lnTo>
                  <a:cubicBezTo>
                    <a:pt x="28" y="2"/>
                    <a:pt x="23" y="2"/>
                    <a:pt x="20" y="0"/>
                  </a:cubicBezTo>
                  <a:cubicBezTo>
                    <a:pt x="14" y="2"/>
                    <a:pt x="12" y="5"/>
                    <a:pt x="6" y="11"/>
                  </a:cubicBezTo>
                  <a:lnTo>
                    <a:pt x="6" y="14"/>
                  </a:lnTo>
                  <a:lnTo>
                    <a:pt x="6" y="14"/>
                  </a:lnTo>
                  <a:cubicBezTo>
                    <a:pt x="3" y="17"/>
                    <a:pt x="0" y="19"/>
                    <a:pt x="0" y="22"/>
                  </a:cubicBezTo>
                  <a:cubicBezTo>
                    <a:pt x="17" y="19"/>
                    <a:pt x="17" y="5"/>
                    <a:pt x="34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9" name="Freeform 257"/>
            <p:cNvSpPr>
              <a:spLocks noChangeArrowheads="1"/>
            </p:cNvSpPr>
            <p:nvPr/>
          </p:nvSpPr>
          <p:spPr bwMode="auto">
            <a:xfrm>
              <a:off x="4386263" y="2789238"/>
              <a:ext cx="4762" cy="4762"/>
            </a:xfrm>
            <a:custGeom>
              <a:avLst/>
              <a:gdLst>
                <a:gd name="T0" fmla="*/ 11 w 12"/>
                <a:gd name="T1" fmla="*/ 2 h 15"/>
                <a:gd name="T2" fmla="*/ 8 w 12"/>
                <a:gd name="T3" fmla="*/ 0 h 15"/>
                <a:gd name="T4" fmla="*/ 0 w 12"/>
                <a:gd name="T5" fmla="*/ 8 h 15"/>
                <a:gd name="T6" fmla="*/ 11 w 12"/>
                <a:gd name="T7" fmla="*/ 14 h 15"/>
                <a:gd name="T8" fmla="*/ 11 w 12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11" y="2"/>
                  </a:moveTo>
                  <a:cubicBezTo>
                    <a:pt x="11" y="2"/>
                    <a:pt x="8" y="2"/>
                    <a:pt x="8" y="0"/>
                  </a:cubicBezTo>
                  <a:cubicBezTo>
                    <a:pt x="8" y="5"/>
                    <a:pt x="5" y="8"/>
                    <a:pt x="0" y="8"/>
                  </a:cubicBezTo>
                  <a:cubicBezTo>
                    <a:pt x="3" y="8"/>
                    <a:pt x="8" y="11"/>
                    <a:pt x="11" y="14"/>
                  </a:cubicBezTo>
                  <a:cubicBezTo>
                    <a:pt x="11" y="8"/>
                    <a:pt x="11" y="5"/>
                    <a:pt x="11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0" name="Freeform 258"/>
            <p:cNvSpPr>
              <a:spLocks noChangeArrowheads="1"/>
            </p:cNvSpPr>
            <p:nvPr/>
          </p:nvSpPr>
          <p:spPr bwMode="auto">
            <a:xfrm>
              <a:off x="4395788" y="2338388"/>
              <a:ext cx="3175" cy="3175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3 h 7"/>
                <a:gd name="T4" fmla="*/ 8 w 9"/>
                <a:gd name="T5" fmla="*/ 6 h 7"/>
                <a:gd name="T6" fmla="*/ 3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lnTo>
                    <a:pt x="0" y="3"/>
                  </a:lnTo>
                  <a:cubicBezTo>
                    <a:pt x="0" y="6"/>
                    <a:pt x="3" y="6"/>
                    <a:pt x="8" y="6"/>
                  </a:cubicBezTo>
                  <a:cubicBezTo>
                    <a:pt x="8" y="6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1" name="Freeform 259"/>
            <p:cNvSpPr>
              <a:spLocks noChangeArrowheads="1"/>
            </p:cNvSpPr>
            <p:nvPr/>
          </p:nvSpPr>
          <p:spPr bwMode="auto">
            <a:xfrm>
              <a:off x="4438650" y="2328863"/>
              <a:ext cx="3175" cy="3175"/>
            </a:xfrm>
            <a:custGeom>
              <a:avLst/>
              <a:gdLst>
                <a:gd name="T0" fmla="*/ 5 w 9"/>
                <a:gd name="T1" fmla="*/ 8 h 9"/>
                <a:gd name="T2" fmla="*/ 2 w 9"/>
                <a:gd name="T3" fmla="*/ 0 h 9"/>
                <a:gd name="T4" fmla="*/ 5 w 9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5" y="8"/>
                  </a:moveTo>
                  <a:cubicBezTo>
                    <a:pt x="8" y="3"/>
                    <a:pt x="8" y="0"/>
                    <a:pt x="2" y="0"/>
                  </a:cubicBezTo>
                  <a:cubicBezTo>
                    <a:pt x="2" y="6"/>
                    <a:pt x="0" y="8"/>
                    <a:pt x="5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2" name="Freeform 260"/>
            <p:cNvSpPr>
              <a:spLocks noChangeArrowheads="1"/>
            </p:cNvSpPr>
            <p:nvPr/>
          </p:nvSpPr>
          <p:spPr bwMode="auto">
            <a:xfrm>
              <a:off x="4440238" y="2636838"/>
              <a:ext cx="1587" cy="1587"/>
            </a:xfrm>
            <a:custGeom>
              <a:avLst/>
              <a:gdLst>
                <a:gd name="T0" fmla="*/ 0 w 4"/>
                <a:gd name="T1" fmla="*/ 2 h 3"/>
                <a:gd name="T2" fmla="*/ 3 w 4"/>
                <a:gd name="T3" fmla="*/ 0 h 3"/>
                <a:gd name="T4" fmla="*/ 0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3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3" name="Freeform 261"/>
            <p:cNvSpPr>
              <a:spLocks noChangeArrowheads="1"/>
            </p:cNvSpPr>
            <p:nvPr/>
          </p:nvSpPr>
          <p:spPr bwMode="auto">
            <a:xfrm>
              <a:off x="4435475" y="2560638"/>
              <a:ext cx="3175" cy="6350"/>
            </a:xfrm>
            <a:custGeom>
              <a:avLst/>
              <a:gdLst>
                <a:gd name="T0" fmla="*/ 6 w 9"/>
                <a:gd name="T1" fmla="*/ 17 h 18"/>
                <a:gd name="T2" fmla="*/ 8 w 9"/>
                <a:gd name="T3" fmla="*/ 8 h 18"/>
                <a:gd name="T4" fmla="*/ 8 w 9"/>
                <a:gd name="T5" fmla="*/ 0 h 18"/>
                <a:gd name="T6" fmla="*/ 3 w 9"/>
                <a:gd name="T7" fmla="*/ 0 h 18"/>
                <a:gd name="T8" fmla="*/ 6 w 9"/>
                <a:gd name="T9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8">
                  <a:moveTo>
                    <a:pt x="6" y="17"/>
                  </a:moveTo>
                  <a:cubicBezTo>
                    <a:pt x="6" y="14"/>
                    <a:pt x="6" y="11"/>
                    <a:pt x="8" y="8"/>
                  </a:cubicBezTo>
                  <a:lnTo>
                    <a:pt x="8" y="0"/>
                  </a:lnTo>
                  <a:cubicBezTo>
                    <a:pt x="6" y="0"/>
                    <a:pt x="6" y="0"/>
                    <a:pt x="3" y="0"/>
                  </a:cubicBezTo>
                  <a:cubicBezTo>
                    <a:pt x="0" y="5"/>
                    <a:pt x="0" y="17"/>
                    <a:pt x="6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4" name="Freeform 262"/>
            <p:cNvSpPr>
              <a:spLocks noChangeArrowheads="1"/>
            </p:cNvSpPr>
            <p:nvPr/>
          </p:nvSpPr>
          <p:spPr bwMode="auto">
            <a:xfrm>
              <a:off x="4257675" y="2913063"/>
              <a:ext cx="4763" cy="4762"/>
            </a:xfrm>
            <a:custGeom>
              <a:avLst/>
              <a:gdLst>
                <a:gd name="T0" fmla="*/ 14 w 15"/>
                <a:gd name="T1" fmla="*/ 3 h 12"/>
                <a:gd name="T2" fmla="*/ 3 w 15"/>
                <a:gd name="T3" fmla="*/ 0 h 12"/>
                <a:gd name="T4" fmla="*/ 0 w 15"/>
                <a:gd name="T5" fmla="*/ 5 h 12"/>
                <a:gd name="T6" fmla="*/ 12 w 15"/>
                <a:gd name="T7" fmla="*/ 11 h 12"/>
                <a:gd name="T8" fmla="*/ 14 w 15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2">
                  <a:moveTo>
                    <a:pt x="14" y="3"/>
                  </a:moveTo>
                  <a:cubicBezTo>
                    <a:pt x="12" y="0"/>
                    <a:pt x="9" y="0"/>
                    <a:pt x="3" y="0"/>
                  </a:cubicBezTo>
                  <a:cubicBezTo>
                    <a:pt x="3" y="3"/>
                    <a:pt x="3" y="3"/>
                    <a:pt x="0" y="5"/>
                  </a:cubicBezTo>
                  <a:cubicBezTo>
                    <a:pt x="3" y="8"/>
                    <a:pt x="6" y="11"/>
                    <a:pt x="12" y="11"/>
                  </a:cubicBezTo>
                  <a:cubicBezTo>
                    <a:pt x="14" y="8"/>
                    <a:pt x="14" y="5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5" name="Freeform 263"/>
            <p:cNvSpPr>
              <a:spLocks noChangeArrowheads="1"/>
            </p:cNvSpPr>
            <p:nvPr/>
          </p:nvSpPr>
          <p:spPr bwMode="auto">
            <a:xfrm>
              <a:off x="4241800" y="3048000"/>
              <a:ext cx="3175" cy="1588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0 h 6"/>
                <a:gd name="T4" fmla="*/ 0 w 7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cubicBezTo>
                    <a:pt x="3" y="5"/>
                    <a:pt x="3" y="3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6" name="Freeform 264"/>
            <p:cNvSpPr>
              <a:spLocks noChangeArrowheads="1"/>
            </p:cNvSpPr>
            <p:nvPr/>
          </p:nvSpPr>
          <p:spPr bwMode="auto">
            <a:xfrm>
              <a:off x="4256088" y="2338388"/>
              <a:ext cx="1587" cy="4762"/>
            </a:xfrm>
            <a:custGeom>
              <a:avLst/>
              <a:gdLst>
                <a:gd name="T0" fmla="*/ 0 w 6"/>
                <a:gd name="T1" fmla="*/ 6 h 15"/>
                <a:gd name="T2" fmla="*/ 0 w 6"/>
                <a:gd name="T3" fmla="*/ 14 h 15"/>
                <a:gd name="T4" fmla="*/ 5 w 6"/>
                <a:gd name="T5" fmla="*/ 0 h 15"/>
                <a:gd name="T6" fmla="*/ 0 w 6"/>
                <a:gd name="T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5">
                  <a:moveTo>
                    <a:pt x="0" y="6"/>
                  </a:moveTo>
                  <a:cubicBezTo>
                    <a:pt x="0" y="9"/>
                    <a:pt x="0" y="11"/>
                    <a:pt x="0" y="14"/>
                  </a:cubicBezTo>
                  <a:cubicBezTo>
                    <a:pt x="2" y="9"/>
                    <a:pt x="2" y="6"/>
                    <a:pt x="5" y="0"/>
                  </a:cubicBezTo>
                  <a:cubicBezTo>
                    <a:pt x="2" y="3"/>
                    <a:pt x="2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7" name="Freeform 265"/>
            <p:cNvSpPr>
              <a:spLocks noChangeArrowheads="1"/>
            </p:cNvSpPr>
            <p:nvPr/>
          </p:nvSpPr>
          <p:spPr bwMode="auto">
            <a:xfrm>
              <a:off x="4240213" y="2847975"/>
              <a:ext cx="1587" cy="3175"/>
            </a:xfrm>
            <a:custGeom>
              <a:avLst/>
              <a:gdLst>
                <a:gd name="T0" fmla="*/ 0 w 4"/>
                <a:gd name="T1" fmla="*/ 0 h 7"/>
                <a:gd name="T2" fmla="*/ 0 w 4"/>
                <a:gd name="T3" fmla="*/ 6 h 7"/>
                <a:gd name="T4" fmla="*/ 3 w 4"/>
                <a:gd name="T5" fmla="*/ 6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cubicBezTo>
                    <a:pt x="3" y="3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8" name="Freeform 266"/>
            <p:cNvSpPr>
              <a:spLocks noChangeArrowheads="1"/>
            </p:cNvSpPr>
            <p:nvPr/>
          </p:nvSpPr>
          <p:spPr bwMode="auto">
            <a:xfrm>
              <a:off x="4264025" y="2379663"/>
              <a:ext cx="3175" cy="4762"/>
            </a:xfrm>
            <a:custGeom>
              <a:avLst/>
              <a:gdLst>
                <a:gd name="T0" fmla="*/ 3 w 7"/>
                <a:gd name="T1" fmla="*/ 14 h 15"/>
                <a:gd name="T2" fmla="*/ 6 w 7"/>
                <a:gd name="T3" fmla="*/ 11 h 15"/>
                <a:gd name="T4" fmla="*/ 0 w 7"/>
                <a:gd name="T5" fmla="*/ 0 h 15"/>
                <a:gd name="T6" fmla="*/ 3 w 7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5">
                  <a:moveTo>
                    <a:pt x="3" y="14"/>
                  </a:moveTo>
                  <a:cubicBezTo>
                    <a:pt x="3" y="14"/>
                    <a:pt x="6" y="14"/>
                    <a:pt x="6" y="11"/>
                  </a:cubicBezTo>
                  <a:cubicBezTo>
                    <a:pt x="6" y="6"/>
                    <a:pt x="6" y="0"/>
                    <a:pt x="0" y="0"/>
                  </a:cubicBezTo>
                  <a:cubicBezTo>
                    <a:pt x="0" y="6"/>
                    <a:pt x="0" y="14"/>
                    <a:pt x="3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09" name="Freeform 267"/>
            <p:cNvSpPr>
              <a:spLocks noChangeArrowheads="1"/>
            </p:cNvSpPr>
            <p:nvPr/>
          </p:nvSpPr>
          <p:spPr bwMode="auto">
            <a:xfrm>
              <a:off x="4265613" y="2371725"/>
              <a:ext cx="4762" cy="3175"/>
            </a:xfrm>
            <a:custGeom>
              <a:avLst/>
              <a:gdLst>
                <a:gd name="T0" fmla="*/ 0 w 12"/>
                <a:gd name="T1" fmla="*/ 3 h 10"/>
                <a:gd name="T2" fmla="*/ 0 w 12"/>
                <a:gd name="T3" fmla="*/ 9 h 10"/>
                <a:gd name="T4" fmla="*/ 11 w 12"/>
                <a:gd name="T5" fmla="*/ 3 h 10"/>
                <a:gd name="T6" fmla="*/ 0 w 12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3"/>
                  </a:moveTo>
                  <a:cubicBezTo>
                    <a:pt x="0" y="6"/>
                    <a:pt x="0" y="6"/>
                    <a:pt x="0" y="9"/>
                  </a:cubicBezTo>
                  <a:cubicBezTo>
                    <a:pt x="3" y="6"/>
                    <a:pt x="8" y="6"/>
                    <a:pt x="11" y="3"/>
                  </a:cubicBezTo>
                  <a:cubicBezTo>
                    <a:pt x="5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0" name="Freeform 268"/>
            <p:cNvSpPr>
              <a:spLocks noChangeArrowheads="1"/>
            </p:cNvSpPr>
            <p:nvPr/>
          </p:nvSpPr>
          <p:spPr bwMode="auto">
            <a:xfrm>
              <a:off x="4435475" y="2768600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6 w 9"/>
                <a:gd name="T3" fmla="*/ 9 h 10"/>
                <a:gd name="T4" fmla="*/ 8 w 9"/>
                <a:gd name="T5" fmla="*/ 3 h 10"/>
                <a:gd name="T6" fmla="*/ 0 w 9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cubicBezTo>
                    <a:pt x="3" y="6"/>
                    <a:pt x="3" y="9"/>
                    <a:pt x="6" y="9"/>
                  </a:cubicBezTo>
                  <a:cubicBezTo>
                    <a:pt x="8" y="6"/>
                    <a:pt x="8" y="6"/>
                    <a:pt x="8" y="3"/>
                  </a:cubicBezTo>
                  <a:cubicBezTo>
                    <a:pt x="6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1" name="Freeform 269"/>
            <p:cNvSpPr>
              <a:spLocks noChangeArrowheads="1"/>
            </p:cNvSpPr>
            <p:nvPr/>
          </p:nvSpPr>
          <p:spPr bwMode="auto">
            <a:xfrm>
              <a:off x="4262438" y="2924175"/>
              <a:ext cx="1587" cy="3175"/>
            </a:xfrm>
            <a:custGeom>
              <a:avLst/>
              <a:gdLst>
                <a:gd name="T0" fmla="*/ 0 w 3"/>
                <a:gd name="T1" fmla="*/ 0 h 7"/>
                <a:gd name="T2" fmla="*/ 0 w 3"/>
                <a:gd name="T3" fmla="*/ 6 h 7"/>
                <a:gd name="T4" fmla="*/ 2 w 3"/>
                <a:gd name="T5" fmla="*/ 6 h 7"/>
                <a:gd name="T6" fmla="*/ 0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cubicBezTo>
                    <a:pt x="0" y="0"/>
                    <a:pt x="0" y="3"/>
                    <a:pt x="0" y="6"/>
                  </a:cubicBezTo>
                  <a:cubicBezTo>
                    <a:pt x="0" y="6"/>
                    <a:pt x="0" y="6"/>
                    <a:pt x="2" y="6"/>
                  </a:cubicBezTo>
                  <a:cubicBezTo>
                    <a:pt x="0" y="3"/>
                    <a:pt x="0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2" name="Freeform 270"/>
            <p:cNvSpPr>
              <a:spLocks noChangeArrowheads="1"/>
            </p:cNvSpPr>
            <p:nvPr/>
          </p:nvSpPr>
          <p:spPr bwMode="auto">
            <a:xfrm>
              <a:off x="4262438" y="2681288"/>
              <a:ext cx="4762" cy="4762"/>
            </a:xfrm>
            <a:custGeom>
              <a:avLst/>
              <a:gdLst>
                <a:gd name="T0" fmla="*/ 12 w 13"/>
                <a:gd name="T1" fmla="*/ 0 h 15"/>
                <a:gd name="T2" fmla="*/ 9 w 13"/>
                <a:gd name="T3" fmla="*/ 2 h 15"/>
                <a:gd name="T4" fmla="*/ 12 w 13"/>
                <a:gd name="T5" fmla="*/ 0 h 15"/>
                <a:gd name="T6" fmla="*/ 0 w 13"/>
                <a:gd name="T7" fmla="*/ 5 h 15"/>
                <a:gd name="T8" fmla="*/ 9 w 13"/>
                <a:gd name="T9" fmla="*/ 14 h 15"/>
                <a:gd name="T10" fmla="*/ 9 w 13"/>
                <a:gd name="T11" fmla="*/ 2 h 15"/>
                <a:gd name="T12" fmla="*/ 0 w 13"/>
                <a:gd name="T1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5">
                  <a:moveTo>
                    <a:pt x="12" y="0"/>
                  </a:moveTo>
                  <a:cubicBezTo>
                    <a:pt x="11" y="1"/>
                    <a:pt x="10" y="2"/>
                    <a:pt x="9" y="2"/>
                  </a:cubicBezTo>
                  <a:cubicBezTo>
                    <a:pt x="10" y="1"/>
                    <a:pt x="11" y="1"/>
                    <a:pt x="12" y="0"/>
                  </a:cubicBezTo>
                  <a:close/>
                  <a:moveTo>
                    <a:pt x="0" y="5"/>
                  </a:moveTo>
                  <a:lnTo>
                    <a:pt x="9" y="14"/>
                  </a:lnTo>
                  <a:cubicBezTo>
                    <a:pt x="5" y="8"/>
                    <a:pt x="6" y="5"/>
                    <a:pt x="9" y="2"/>
                  </a:cubicBezTo>
                  <a:cubicBezTo>
                    <a:pt x="7" y="4"/>
                    <a:pt x="4" y="5"/>
                    <a:pt x="0" y="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3" name="Freeform 271"/>
            <p:cNvSpPr>
              <a:spLocks noChangeArrowheads="1"/>
            </p:cNvSpPr>
            <p:nvPr/>
          </p:nvSpPr>
          <p:spPr bwMode="auto">
            <a:xfrm>
              <a:off x="4262438" y="2947988"/>
              <a:ext cx="1587" cy="4762"/>
            </a:xfrm>
            <a:custGeom>
              <a:avLst/>
              <a:gdLst>
                <a:gd name="T0" fmla="*/ 2 w 6"/>
                <a:gd name="T1" fmla="*/ 14 h 15"/>
                <a:gd name="T2" fmla="*/ 5 w 6"/>
                <a:gd name="T3" fmla="*/ 6 h 15"/>
                <a:gd name="T4" fmla="*/ 2 w 6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5">
                  <a:moveTo>
                    <a:pt x="2" y="14"/>
                  </a:moveTo>
                  <a:cubicBezTo>
                    <a:pt x="2" y="12"/>
                    <a:pt x="5" y="12"/>
                    <a:pt x="5" y="6"/>
                  </a:cubicBezTo>
                  <a:cubicBezTo>
                    <a:pt x="0" y="0"/>
                    <a:pt x="0" y="14"/>
                    <a:pt x="2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4" name="Freeform 272"/>
            <p:cNvSpPr>
              <a:spLocks noChangeArrowheads="1"/>
            </p:cNvSpPr>
            <p:nvPr/>
          </p:nvSpPr>
          <p:spPr bwMode="auto">
            <a:xfrm>
              <a:off x="4210050" y="2522538"/>
              <a:ext cx="4763" cy="3175"/>
            </a:xfrm>
            <a:custGeom>
              <a:avLst/>
              <a:gdLst>
                <a:gd name="T0" fmla="*/ 0 w 15"/>
                <a:gd name="T1" fmla="*/ 2 h 9"/>
                <a:gd name="T2" fmla="*/ 2 w 15"/>
                <a:gd name="T3" fmla="*/ 8 h 9"/>
                <a:gd name="T4" fmla="*/ 14 w 15"/>
                <a:gd name="T5" fmla="*/ 2 h 9"/>
                <a:gd name="T6" fmla="*/ 11 w 15"/>
                <a:gd name="T7" fmla="*/ 0 h 9"/>
                <a:gd name="T8" fmla="*/ 0 w 15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9">
                  <a:moveTo>
                    <a:pt x="0" y="2"/>
                  </a:moveTo>
                  <a:cubicBezTo>
                    <a:pt x="0" y="5"/>
                    <a:pt x="2" y="8"/>
                    <a:pt x="2" y="8"/>
                  </a:cubicBezTo>
                  <a:cubicBezTo>
                    <a:pt x="5" y="8"/>
                    <a:pt x="11" y="5"/>
                    <a:pt x="14" y="2"/>
                  </a:cubicBezTo>
                  <a:lnTo>
                    <a:pt x="11" y="0"/>
                  </a:lnTo>
                  <a:cubicBezTo>
                    <a:pt x="5" y="2"/>
                    <a:pt x="2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5" name="Freeform 273"/>
            <p:cNvSpPr>
              <a:spLocks noChangeArrowheads="1"/>
            </p:cNvSpPr>
            <p:nvPr/>
          </p:nvSpPr>
          <p:spPr bwMode="auto">
            <a:xfrm>
              <a:off x="4427538" y="2170113"/>
              <a:ext cx="6350" cy="6350"/>
            </a:xfrm>
            <a:custGeom>
              <a:avLst/>
              <a:gdLst>
                <a:gd name="T0" fmla="*/ 2 w 18"/>
                <a:gd name="T1" fmla="*/ 0 h 18"/>
                <a:gd name="T2" fmla="*/ 0 w 18"/>
                <a:gd name="T3" fmla="*/ 8 h 18"/>
                <a:gd name="T4" fmla="*/ 17 w 18"/>
                <a:gd name="T5" fmla="*/ 17 h 18"/>
                <a:gd name="T6" fmla="*/ 2 w 18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8">
                  <a:moveTo>
                    <a:pt x="2" y="0"/>
                  </a:moveTo>
                  <a:cubicBezTo>
                    <a:pt x="2" y="3"/>
                    <a:pt x="2" y="5"/>
                    <a:pt x="0" y="8"/>
                  </a:cubicBezTo>
                  <a:cubicBezTo>
                    <a:pt x="5" y="11"/>
                    <a:pt x="11" y="14"/>
                    <a:pt x="17" y="17"/>
                  </a:cubicBezTo>
                  <a:cubicBezTo>
                    <a:pt x="17" y="8"/>
                    <a:pt x="11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6" name="Freeform 274"/>
            <p:cNvSpPr>
              <a:spLocks noChangeArrowheads="1"/>
            </p:cNvSpPr>
            <p:nvPr/>
          </p:nvSpPr>
          <p:spPr bwMode="auto">
            <a:xfrm>
              <a:off x="4429125" y="2178050"/>
              <a:ext cx="7938" cy="3175"/>
            </a:xfrm>
            <a:custGeom>
              <a:avLst/>
              <a:gdLst>
                <a:gd name="T0" fmla="*/ 3 w 24"/>
                <a:gd name="T1" fmla="*/ 3 h 10"/>
                <a:gd name="T2" fmla="*/ 3 w 24"/>
                <a:gd name="T3" fmla="*/ 9 h 10"/>
                <a:gd name="T4" fmla="*/ 23 w 24"/>
                <a:gd name="T5" fmla="*/ 9 h 10"/>
                <a:gd name="T6" fmla="*/ 3 w 24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0">
                  <a:moveTo>
                    <a:pt x="3" y="3"/>
                  </a:moveTo>
                  <a:cubicBezTo>
                    <a:pt x="3" y="6"/>
                    <a:pt x="0" y="6"/>
                    <a:pt x="3" y="9"/>
                  </a:cubicBezTo>
                  <a:cubicBezTo>
                    <a:pt x="9" y="9"/>
                    <a:pt x="17" y="9"/>
                    <a:pt x="23" y="9"/>
                  </a:cubicBezTo>
                  <a:cubicBezTo>
                    <a:pt x="17" y="3"/>
                    <a:pt x="12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7" name="Freeform 275"/>
            <p:cNvSpPr>
              <a:spLocks noChangeArrowheads="1"/>
            </p:cNvSpPr>
            <p:nvPr/>
          </p:nvSpPr>
          <p:spPr bwMode="auto">
            <a:xfrm>
              <a:off x="4421188" y="2324100"/>
              <a:ext cx="6350" cy="9525"/>
            </a:xfrm>
            <a:custGeom>
              <a:avLst/>
              <a:gdLst>
                <a:gd name="T0" fmla="*/ 5 w 17"/>
                <a:gd name="T1" fmla="*/ 25 h 26"/>
                <a:gd name="T2" fmla="*/ 16 w 17"/>
                <a:gd name="T3" fmla="*/ 17 h 26"/>
                <a:gd name="T4" fmla="*/ 11 w 17"/>
                <a:gd name="T5" fmla="*/ 8 h 26"/>
                <a:gd name="T6" fmla="*/ 16 w 17"/>
                <a:gd name="T7" fmla="*/ 2 h 26"/>
                <a:gd name="T8" fmla="*/ 14 w 17"/>
                <a:gd name="T9" fmla="*/ 2 h 26"/>
                <a:gd name="T10" fmla="*/ 8 w 17"/>
                <a:gd name="T11" fmla="*/ 5 h 26"/>
                <a:gd name="T12" fmla="*/ 0 w 17"/>
                <a:gd name="T13" fmla="*/ 2 h 26"/>
                <a:gd name="T14" fmla="*/ 0 w 17"/>
                <a:gd name="T15" fmla="*/ 2 h 26"/>
                <a:gd name="T16" fmla="*/ 5 w 17"/>
                <a:gd name="T17" fmla="*/ 11 h 26"/>
                <a:gd name="T18" fmla="*/ 5 w 17"/>
                <a:gd name="T1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5" y="25"/>
                  </a:moveTo>
                  <a:cubicBezTo>
                    <a:pt x="11" y="25"/>
                    <a:pt x="14" y="19"/>
                    <a:pt x="16" y="17"/>
                  </a:cubicBezTo>
                  <a:cubicBezTo>
                    <a:pt x="16" y="17"/>
                    <a:pt x="11" y="11"/>
                    <a:pt x="11" y="8"/>
                  </a:cubicBezTo>
                  <a:cubicBezTo>
                    <a:pt x="11" y="5"/>
                    <a:pt x="16" y="5"/>
                    <a:pt x="16" y="2"/>
                  </a:cubicBezTo>
                  <a:cubicBezTo>
                    <a:pt x="16" y="2"/>
                    <a:pt x="16" y="2"/>
                    <a:pt x="14" y="2"/>
                  </a:cubicBezTo>
                  <a:cubicBezTo>
                    <a:pt x="14" y="2"/>
                    <a:pt x="11" y="5"/>
                    <a:pt x="8" y="5"/>
                  </a:cubicBezTo>
                  <a:cubicBezTo>
                    <a:pt x="8" y="5"/>
                    <a:pt x="5" y="0"/>
                    <a:pt x="0" y="2"/>
                  </a:cubicBezTo>
                  <a:lnTo>
                    <a:pt x="0" y="2"/>
                  </a:lnTo>
                  <a:cubicBezTo>
                    <a:pt x="2" y="5"/>
                    <a:pt x="5" y="5"/>
                    <a:pt x="5" y="11"/>
                  </a:cubicBezTo>
                  <a:cubicBezTo>
                    <a:pt x="5" y="17"/>
                    <a:pt x="0" y="19"/>
                    <a:pt x="5" y="2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8" name="Freeform 276"/>
            <p:cNvSpPr>
              <a:spLocks noChangeArrowheads="1"/>
            </p:cNvSpPr>
            <p:nvPr/>
          </p:nvSpPr>
          <p:spPr bwMode="auto">
            <a:xfrm>
              <a:off x="4214813" y="3008313"/>
              <a:ext cx="1587" cy="4762"/>
            </a:xfrm>
            <a:custGeom>
              <a:avLst/>
              <a:gdLst>
                <a:gd name="T0" fmla="*/ 0 w 6"/>
                <a:gd name="T1" fmla="*/ 8 h 12"/>
                <a:gd name="T2" fmla="*/ 0 w 6"/>
                <a:gd name="T3" fmla="*/ 8 h 12"/>
                <a:gd name="T4" fmla="*/ 5 w 6"/>
                <a:gd name="T5" fmla="*/ 0 h 12"/>
                <a:gd name="T6" fmla="*/ 3 w 6"/>
                <a:gd name="T7" fmla="*/ 0 h 12"/>
                <a:gd name="T8" fmla="*/ 0 w 6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0" y="8"/>
                  </a:moveTo>
                  <a:cubicBezTo>
                    <a:pt x="0" y="8"/>
                    <a:pt x="0" y="11"/>
                    <a:pt x="0" y="8"/>
                  </a:cubicBezTo>
                  <a:cubicBezTo>
                    <a:pt x="3" y="8"/>
                    <a:pt x="5" y="3"/>
                    <a:pt x="5" y="0"/>
                  </a:cubicBezTo>
                  <a:lnTo>
                    <a:pt x="3" y="0"/>
                  </a:lnTo>
                  <a:cubicBezTo>
                    <a:pt x="3" y="3"/>
                    <a:pt x="3" y="8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19" name="Freeform 277"/>
            <p:cNvSpPr>
              <a:spLocks noChangeArrowheads="1"/>
            </p:cNvSpPr>
            <p:nvPr/>
          </p:nvSpPr>
          <p:spPr bwMode="auto">
            <a:xfrm>
              <a:off x="4418013" y="2736850"/>
              <a:ext cx="1587" cy="1588"/>
            </a:xfrm>
            <a:custGeom>
              <a:avLst/>
              <a:gdLst>
                <a:gd name="T0" fmla="*/ 0 w 4"/>
                <a:gd name="T1" fmla="*/ 5 h 6"/>
                <a:gd name="T2" fmla="*/ 3 w 4"/>
                <a:gd name="T3" fmla="*/ 0 h 6"/>
                <a:gd name="T4" fmla="*/ 0 w 4"/>
                <a:gd name="T5" fmla="*/ 3 h 6"/>
                <a:gd name="T6" fmla="*/ 0 w 4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cubicBezTo>
                    <a:pt x="3" y="3"/>
                    <a:pt x="3" y="3"/>
                    <a:pt x="3" y="0"/>
                  </a:cubicBezTo>
                  <a:cubicBezTo>
                    <a:pt x="3" y="0"/>
                    <a:pt x="0" y="0"/>
                    <a:pt x="0" y="3"/>
                  </a:cubicBezTo>
                  <a:cubicBezTo>
                    <a:pt x="0" y="3"/>
                    <a:pt x="0" y="3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0" name="Freeform 278"/>
            <p:cNvSpPr>
              <a:spLocks noChangeArrowheads="1"/>
            </p:cNvSpPr>
            <p:nvPr/>
          </p:nvSpPr>
          <p:spPr bwMode="auto">
            <a:xfrm>
              <a:off x="4413250" y="2327275"/>
              <a:ext cx="4763" cy="4763"/>
            </a:xfrm>
            <a:custGeom>
              <a:avLst/>
              <a:gdLst>
                <a:gd name="T0" fmla="*/ 6 w 12"/>
                <a:gd name="T1" fmla="*/ 11 h 12"/>
                <a:gd name="T2" fmla="*/ 11 w 12"/>
                <a:gd name="T3" fmla="*/ 9 h 12"/>
                <a:gd name="T4" fmla="*/ 0 w 12"/>
                <a:gd name="T5" fmla="*/ 3 h 12"/>
                <a:gd name="T6" fmla="*/ 6 w 12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6" y="11"/>
                  </a:moveTo>
                  <a:cubicBezTo>
                    <a:pt x="8" y="11"/>
                    <a:pt x="11" y="11"/>
                    <a:pt x="11" y="9"/>
                  </a:cubicBezTo>
                  <a:cubicBezTo>
                    <a:pt x="11" y="3"/>
                    <a:pt x="8" y="0"/>
                    <a:pt x="0" y="3"/>
                  </a:cubicBezTo>
                  <a:cubicBezTo>
                    <a:pt x="0" y="6"/>
                    <a:pt x="3" y="9"/>
                    <a:pt x="6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1" name="Freeform 279"/>
            <p:cNvSpPr>
              <a:spLocks noChangeArrowheads="1"/>
            </p:cNvSpPr>
            <p:nvPr/>
          </p:nvSpPr>
          <p:spPr bwMode="auto">
            <a:xfrm>
              <a:off x="4233863" y="3062288"/>
              <a:ext cx="6350" cy="4762"/>
            </a:xfrm>
            <a:custGeom>
              <a:avLst/>
              <a:gdLst>
                <a:gd name="T0" fmla="*/ 2 w 17"/>
                <a:gd name="T1" fmla="*/ 3 h 15"/>
                <a:gd name="T2" fmla="*/ 16 w 17"/>
                <a:gd name="T3" fmla="*/ 6 h 15"/>
                <a:gd name="T4" fmla="*/ 2 w 17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5">
                  <a:moveTo>
                    <a:pt x="2" y="3"/>
                  </a:moveTo>
                  <a:cubicBezTo>
                    <a:pt x="0" y="9"/>
                    <a:pt x="16" y="14"/>
                    <a:pt x="16" y="6"/>
                  </a:cubicBezTo>
                  <a:cubicBezTo>
                    <a:pt x="16" y="0"/>
                    <a:pt x="8" y="3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2" name="Freeform 280"/>
            <p:cNvSpPr>
              <a:spLocks noChangeArrowheads="1"/>
            </p:cNvSpPr>
            <p:nvPr/>
          </p:nvSpPr>
          <p:spPr bwMode="auto">
            <a:xfrm>
              <a:off x="4416425" y="2530475"/>
              <a:ext cx="3175" cy="3175"/>
            </a:xfrm>
            <a:custGeom>
              <a:avLst/>
              <a:gdLst>
                <a:gd name="T0" fmla="*/ 2 w 9"/>
                <a:gd name="T1" fmla="*/ 9 h 10"/>
                <a:gd name="T2" fmla="*/ 8 w 9"/>
                <a:gd name="T3" fmla="*/ 9 h 10"/>
                <a:gd name="T4" fmla="*/ 2 w 9"/>
                <a:gd name="T5" fmla="*/ 0 h 10"/>
                <a:gd name="T6" fmla="*/ 2 w 9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2" y="9"/>
                  </a:moveTo>
                  <a:cubicBezTo>
                    <a:pt x="5" y="9"/>
                    <a:pt x="5" y="9"/>
                    <a:pt x="8" y="9"/>
                  </a:cubicBezTo>
                  <a:cubicBezTo>
                    <a:pt x="8" y="6"/>
                    <a:pt x="5" y="3"/>
                    <a:pt x="2" y="0"/>
                  </a:cubicBezTo>
                  <a:cubicBezTo>
                    <a:pt x="2" y="0"/>
                    <a:pt x="0" y="6"/>
                    <a:pt x="2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3" name="Freeform 281"/>
            <p:cNvSpPr>
              <a:spLocks noChangeArrowheads="1"/>
            </p:cNvSpPr>
            <p:nvPr/>
          </p:nvSpPr>
          <p:spPr bwMode="auto">
            <a:xfrm>
              <a:off x="4222750" y="3038475"/>
              <a:ext cx="3175" cy="1588"/>
            </a:xfrm>
            <a:custGeom>
              <a:avLst/>
              <a:gdLst>
                <a:gd name="T0" fmla="*/ 6 w 7"/>
                <a:gd name="T1" fmla="*/ 2 h 3"/>
                <a:gd name="T2" fmla="*/ 6 w 7"/>
                <a:gd name="T3" fmla="*/ 0 h 3"/>
                <a:gd name="T4" fmla="*/ 0 w 7"/>
                <a:gd name="T5" fmla="*/ 0 h 3"/>
                <a:gd name="T6" fmla="*/ 6 w 7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6" y="2"/>
                  </a:moveTo>
                  <a:lnTo>
                    <a:pt x="6" y="0"/>
                  </a:lnTo>
                  <a:cubicBezTo>
                    <a:pt x="3" y="0"/>
                    <a:pt x="3" y="0"/>
                    <a:pt x="0" y="0"/>
                  </a:cubicBezTo>
                  <a:cubicBezTo>
                    <a:pt x="0" y="2"/>
                    <a:pt x="3" y="2"/>
                    <a:pt x="6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4" name="Freeform 282"/>
            <p:cNvSpPr>
              <a:spLocks noChangeArrowheads="1"/>
            </p:cNvSpPr>
            <p:nvPr/>
          </p:nvSpPr>
          <p:spPr bwMode="auto">
            <a:xfrm>
              <a:off x="4418013" y="2593975"/>
              <a:ext cx="7937" cy="3175"/>
            </a:xfrm>
            <a:custGeom>
              <a:avLst/>
              <a:gdLst>
                <a:gd name="T0" fmla="*/ 20 w 21"/>
                <a:gd name="T1" fmla="*/ 3 h 10"/>
                <a:gd name="T2" fmla="*/ 20 w 21"/>
                <a:gd name="T3" fmla="*/ 0 h 10"/>
                <a:gd name="T4" fmla="*/ 0 w 21"/>
                <a:gd name="T5" fmla="*/ 0 h 10"/>
                <a:gd name="T6" fmla="*/ 3 w 21"/>
                <a:gd name="T7" fmla="*/ 6 h 10"/>
                <a:gd name="T8" fmla="*/ 20 w 21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0">
                  <a:moveTo>
                    <a:pt x="20" y="3"/>
                  </a:moveTo>
                  <a:lnTo>
                    <a:pt x="20" y="0"/>
                  </a:lnTo>
                  <a:cubicBezTo>
                    <a:pt x="14" y="0"/>
                    <a:pt x="9" y="0"/>
                    <a:pt x="0" y="0"/>
                  </a:cubicBezTo>
                  <a:cubicBezTo>
                    <a:pt x="0" y="3"/>
                    <a:pt x="3" y="6"/>
                    <a:pt x="3" y="6"/>
                  </a:cubicBezTo>
                  <a:cubicBezTo>
                    <a:pt x="9" y="9"/>
                    <a:pt x="14" y="6"/>
                    <a:pt x="2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5" name="Freeform 283"/>
            <p:cNvSpPr>
              <a:spLocks noChangeArrowheads="1"/>
            </p:cNvSpPr>
            <p:nvPr/>
          </p:nvSpPr>
          <p:spPr bwMode="auto">
            <a:xfrm>
              <a:off x="4229100" y="3016250"/>
              <a:ext cx="6350" cy="4763"/>
            </a:xfrm>
            <a:custGeom>
              <a:avLst/>
              <a:gdLst>
                <a:gd name="T0" fmla="*/ 0 w 18"/>
                <a:gd name="T1" fmla="*/ 9 h 15"/>
                <a:gd name="T2" fmla="*/ 9 w 18"/>
                <a:gd name="T3" fmla="*/ 14 h 15"/>
                <a:gd name="T4" fmla="*/ 17 w 18"/>
                <a:gd name="T5" fmla="*/ 6 h 15"/>
                <a:gd name="T6" fmla="*/ 0 w 18"/>
                <a:gd name="T7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0" y="9"/>
                  </a:moveTo>
                  <a:cubicBezTo>
                    <a:pt x="3" y="12"/>
                    <a:pt x="6" y="12"/>
                    <a:pt x="9" y="14"/>
                  </a:cubicBezTo>
                  <a:cubicBezTo>
                    <a:pt x="12" y="12"/>
                    <a:pt x="12" y="9"/>
                    <a:pt x="17" y="6"/>
                  </a:cubicBezTo>
                  <a:cubicBezTo>
                    <a:pt x="9" y="0"/>
                    <a:pt x="0" y="0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6" name="Freeform 284"/>
            <p:cNvSpPr>
              <a:spLocks noChangeArrowheads="1"/>
            </p:cNvSpPr>
            <p:nvPr/>
          </p:nvSpPr>
          <p:spPr bwMode="auto">
            <a:xfrm>
              <a:off x="4229100" y="2324100"/>
              <a:ext cx="6350" cy="4763"/>
            </a:xfrm>
            <a:custGeom>
              <a:avLst/>
              <a:gdLst>
                <a:gd name="T0" fmla="*/ 9 w 18"/>
                <a:gd name="T1" fmla="*/ 14 h 15"/>
                <a:gd name="T2" fmla="*/ 17 w 18"/>
                <a:gd name="T3" fmla="*/ 2 h 15"/>
                <a:gd name="T4" fmla="*/ 9 w 18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9" y="14"/>
                  </a:moveTo>
                  <a:cubicBezTo>
                    <a:pt x="9" y="8"/>
                    <a:pt x="17" y="11"/>
                    <a:pt x="17" y="2"/>
                  </a:cubicBezTo>
                  <a:cubicBezTo>
                    <a:pt x="12" y="0"/>
                    <a:pt x="0" y="8"/>
                    <a:pt x="9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7" name="Freeform 285"/>
            <p:cNvSpPr>
              <a:spLocks noChangeArrowheads="1"/>
            </p:cNvSpPr>
            <p:nvPr/>
          </p:nvSpPr>
          <p:spPr bwMode="auto">
            <a:xfrm>
              <a:off x="4227513" y="3009900"/>
              <a:ext cx="1587" cy="1588"/>
            </a:xfrm>
            <a:custGeom>
              <a:avLst/>
              <a:gdLst>
                <a:gd name="T0" fmla="*/ 2 w 6"/>
                <a:gd name="T1" fmla="*/ 0 h 6"/>
                <a:gd name="T2" fmla="*/ 0 w 6"/>
                <a:gd name="T3" fmla="*/ 0 h 6"/>
                <a:gd name="T4" fmla="*/ 2 w 6"/>
                <a:gd name="T5" fmla="*/ 5 h 6"/>
                <a:gd name="T6" fmla="*/ 2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0" y="0"/>
                  </a:lnTo>
                  <a:cubicBezTo>
                    <a:pt x="0" y="2"/>
                    <a:pt x="2" y="2"/>
                    <a:pt x="2" y="5"/>
                  </a:cubicBezTo>
                  <a:cubicBezTo>
                    <a:pt x="5" y="2"/>
                    <a:pt x="5" y="2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8" name="Freeform 286"/>
            <p:cNvSpPr>
              <a:spLocks noChangeArrowheads="1"/>
            </p:cNvSpPr>
            <p:nvPr/>
          </p:nvSpPr>
          <p:spPr bwMode="auto">
            <a:xfrm>
              <a:off x="4221163" y="2279650"/>
              <a:ext cx="1587" cy="1588"/>
            </a:xfrm>
            <a:custGeom>
              <a:avLst/>
              <a:gdLst>
                <a:gd name="T0" fmla="*/ 5 w 6"/>
                <a:gd name="T1" fmla="*/ 5 h 6"/>
                <a:gd name="T2" fmla="*/ 5 w 6"/>
                <a:gd name="T3" fmla="*/ 5 h 6"/>
                <a:gd name="T4" fmla="*/ 2 w 6"/>
                <a:gd name="T5" fmla="*/ 0 h 6"/>
                <a:gd name="T6" fmla="*/ 5 w 6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5" y="5"/>
                  </a:moveTo>
                  <a:lnTo>
                    <a:pt x="5" y="5"/>
                  </a:lnTo>
                  <a:cubicBezTo>
                    <a:pt x="5" y="2"/>
                    <a:pt x="5" y="0"/>
                    <a:pt x="2" y="0"/>
                  </a:cubicBezTo>
                  <a:cubicBezTo>
                    <a:pt x="0" y="2"/>
                    <a:pt x="0" y="5"/>
                    <a:pt x="5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29" name="Freeform 287"/>
            <p:cNvSpPr>
              <a:spLocks noChangeArrowheads="1"/>
            </p:cNvSpPr>
            <p:nvPr/>
          </p:nvSpPr>
          <p:spPr bwMode="auto">
            <a:xfrm>
              <a:off x="4227513" y="2524125"/>
              <a:ext cx="1587" cy="1588"/>
            </a:xfrm>
            <a:custGeom>
              <a:avLst/>
              <a:gdLst>
                <a:gd name="T0" fmla="*/ 0 w 6"/>
                <a:gd name="T1" fmla="*/ 0 h 4"/>
                <a:gd name="T2" fmla="*/ 0 w 6"/>
                <a:gd name="T3" fmla="*/ 0 h 4"/>
                <a:gd name="T4" fmla="*/ 3 w 6"/>
                <a:gd name="T5" fmla="*/ 3 h 4"/>
                <a:gd name="T6" fmla="*/ 5 w 6"/>
                <a:gd name="T7" fmla="*/ 3 h 4"/>
                <a:gd name="T8" fmla="*/ 0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0" y="0"/>
                  </a:lnTo>
                  <a:lnTo>
                    <a:pt x="3" y="3"/>
                  </a:lnTo>
                  <a:cubicBezTo>
                    <a:pt x="3" y="3"/>
                    <a:pt x="3" y="3"/>
                    <a:pt x="5" y="3"/>
                  </a:cubicBezTo>
                  <a:cubicBezTo>
                    <a:pt x="5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0" name="Freeform 288"/>
            <p:cNvSpPr>
              <a:spLocks noChangeArrowheads="1"/>
            </p:cNvSpPr>
            <p:nvPr/>
          </p:nvSpPr>
          <p:spPr bwMode="auto">
            <a:xfrm>
              <a:off x="4227513" y="2309813"/>
              <a:ext cx="1587" cy="1587"/>
            </a:xfrm>
            <a:custGeom>
              <a:avLst/>
              <a:gdLst>
                <a:gd name="T0" fmla="*/ 0 w 3"/>
                <a:gd name="T1" fmla="*/ 0 h 4"/>
                <a:gd name="T2" fmla="*/ 2 w 3"/>
                <a:gd name="T3" fmla="*/ 3 h 4"/>
                <a:gd name="T4" fmla="*/ 0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cubicBezTo>
                    <a:pt x="0" y="0"/>
                    <a:pt x="0" y="3"/>
                    <a:pt x="2" y="3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1" name="Freeform 289"/>
            <p:cNvSpPr>
              <a:spLocks noChangeArrowheads="1"/>
            </p:cNvSpPr>
            <p:nvPr/>
          </p:nvSpPr>
          <p:spPr bwMode="auto">
            <a:xfrm>
              <a:off x="4206875" y="2625725"/>
              <a:ext cx="3175" cy="3175"/>
            </a:xfrm>
            <a:custGeom>
              <a:avLst/>
              <a:gdLst>
                <a:gd name="T0" fmla="*/ 3 w 7"/>
                <a:gd name="T1" fmla="*/ 0 h 10"/>
                <a:gd name="T2" fmla="*/ 3 w 7"/>
                <a:gd name="T3" fmla="*/ 0 h 10"/>
                <a:gd name="T4" fmla="*/ 3 w 7"/>
                <a:gd name="T5" fmla="*/ 9 h 10"/>
                <a:gd name="T6" fmla="*/ 6 w 7"/>
                <a:gd name="T7" fmla="*/ 9 h 10"/>
                <a:gd name="T8" fmla="*/ 3 w 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3" y="0"/>
                  </a:moveTo>
                  <a:lnTo>
                    <a:pt x="3" y="0"/>
                  </a:lnTo>
                  <a:cubicBezTo>
                    <a:pt x="0" y="3"/>
                    <a:pt x="0" y="6"/>
                    <a:pt x="3" y="9"/>
                  </a:cubicBezTo>
                  <a:lnTo>
                    <a:pt x="6" y="9"/>
                  </a:lnTo>
                  <a:cubicBezTo>
                    <a:pt x="6" y="6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2" name="Freeform 290"/>
            <p:cNvSpPr>
              <a:spLocks noChangeArrowheads="1"/>
            </p:cNvSpPr>
            <p:nvPr/>
          </p:nvSpPr>
          <p:spPr bwMode="auto">
            <a:xfrm>
              <a:off x="4487863" y="2220913"/>
              <a:ext cx="3175" cy="3175"/>
            </a:xfrm>
            <a:custGeom>
              <a:avLst/>
              <a:gdLst>
                <a:gd name="T0" fmla="*/ 6 w 7"/>
                <a:gd name="T1" fmla="*/ 6 h 9"/>
                <a:gd name="T2" fmla="*/ 0 w 7"/>
                <a:gd name="T3" fmla="*/ 0 h 9"/>
                <a:gd name="T4" fmla="*/ 0 w 7"/>
                <a:gd name="T5" fmla="*/ 6 h 9"/>
                <a:gd name="T6" fmla="*/ 6 w 7"/>
                <a:gd name="T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6" y="6"/>
                  </a:moveTo>
                  <a:cubicBezTo>
                    <a:pt x="3" y="3"/>
                    <a:pt x="3" y="3"/>
                    <a:pt x="0" y="0"/>
                  </a:cubicBezTo>
                  <a:lnTo>
                    <a:pt x="0" y="6"/>
                  </a:lnTo>
                  <a:cubicBezTo>
                    <a:pt x="3" y="8"/>
                    <a:pt x="3" y="8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3" name="Freeform 291"/>
            <p:cNvSpPr>
              <a:spLocks noChangeArrowheads="1"/>
            </p:cNvSpPr>
            <p:nvPr/>
          </p:nvSpPr>
          <p:spPr bwMode="auto">
            <a:xfrm>
              <a:off x="4514850" y="2251075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0 w 10"/>
                <a:gd name="T3" fmla="*/ 6 h 7"/>
                <a:gd name="T4" fmla="*/ 9 w 10"/>
                <a:gd name="T5" fmla="*/ 6 h 7"/>
                <a:gd name="T6" fmla="*/ 3 w 10"/>
                <a:gd name="T7" fmla="*/ 0 h 7"/>
                <a:gd name="T8" fmla="*/ 0 w 10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lnTo>
                    <a:pt x="0" y="6"/>
                  </a:lnTo>
                  <a:cubicBezTo>
                    <a:pt x="3" y="6"/>
                    <a:pt x="6" y="6"/>
                    <a:pt x="9" y="6"/>
                  </a:cubicBezTo>
                  <a:cubicBezTo>
                    <a:pt x="6" y="3"/>
                    <a:pt x="6" y="0"/>
                    <a:pt x="3" y="0"/>
                  </a:cubicBezTo>
                  <a:cubicBezTo>
                    <a:pt x="3" y="3"/>
                    <a:pt x="3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4" name="Freeform 292"/>
            <p:cNvSpPr>
              <a:spLocks noChangeArrowheads="1"/>
            </p:cNvSpPr>
            <p:nvPr/>
          </p:nvSpPr>
          <p:spPr bwMode="auto">
            <a:xfrm>
              <a:off x="4513263" y="2247900"/>
              <a:ext cx="3175" cy="3175"/>
            </a:xfrm>
            <a:custGeom>
              <a:avLst/>
              <a:gdLst>
                <a:gd name="T0" fmla="*/ 3 w 7"/>
                <a:gd name="T1" fmla="*/ 8 h 9"/>
                <a:gd name="T2" fmla="*/ 6 w 7"/>
                <a:gd name="T3" fmla="*/ 8 h 9"/>
                <a:gd name="T4" fmla="*/ 0 w 7"/>
                <a:gd name="T5" fmla="*/ 0 h 9"/>
                <a:gd name="T6" fmla="*/ 3 w 7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lnTo>
                    <a:pt x="6" y="8"/>
                  </a:lnTo>
                  <a:cubicBezTo>
                    <a:pt x="3" y="6"/>
                    <a:pt x="0" y="3"/>
                    <a:pt x="0" y="0"/>
                  </a:cubicBezTo>
                  <a:cubicBezTo>
                    <a:pt x="0" y="3"/>
                    <a:pt x="3" y="6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5" name="Freeform 293"/>
            <p:cNvSpPr>
              <a:spLocks noChangeArrowheads="1"/>
            </p:cNvSpPr>
            <p:nvPr/>
          </p:nvSpPr>
          <p:spPr bwMode="auto">
            <a:xfrm>
              <a:off x="4486275" y="2220913"/>
              <a:ext cx="1588" cy="3175"/>
            </a:xfrm>
            <a:custGeom>
              <a:avLst/>
              <a:gdLst>
                <a:gd name="T0" fmla="*/ 0 w 4"/>
                <a:gd name="T1" fmla="*/ 8 h 9"/>
                <a:gd name="T2" fmla="*/ 3 w 4"/>
                <a:gd name="T3" fmla="*/ 0 h 9"/>
                <a:gd name="T4" fmla="*/ 0 w 4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9">
                  <a:moveTo>
                    <a:pt x="0" y="8"/>
                  </a:moveTo>
                  <a:cubicBezTo>
                    <a:pt x="3" y="6"/>
                    <a:pt x="3" y="3"/>
                    <a:pt x="3" y="0"/>
                  </a:cubicBezTo>
                  <a:cubicBezTo>
                    <a:pt x="3" y="0"/>
                    <a:pt x="3" y="3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6" name="Freeform 294"/>
            <p:cNvSpPr>
              <a:spLocks noChangeArrowheads="1"/>
            </p:cNvSpPr>
            <p:nvPr/>
          </p:nvSpPr>
          <p:spPr bwMode="auto">
            <a:xfrm>
              <a:off x="4614863" y="2439988"/>
              <a:ext cx="1587" cy="3175"/>
            </a:xfrm>
            <a:custGeom>
              <a:avLst/>
              <a:gdLst>
                <a:gd name="T0" fmla="*/ 0 w 3"/>
                <a:gd name="T1" fmla="*/ 6 h 7"/>
                <a:gd name="T2" fmla="*/ 2 w 3"/>
                <a:gd name="T3" fmla="*/ 3 h 7"/>
                <a:gd name="T4" fmla="*/ 2 w 3"/>
                <a:gd name="T5" fmla="*/ 3 h 7"/>
                <a:gd name="T6" fmla="*/ 2 w 3"/>
                <a:gd name="T7" fmla="*/ 0 h 7"/>
                <a:gd name="T8" fmla="*/ 0 w 3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6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ubicBezTo>
                    <a:pt x="0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7" name="Freeform 295"/>
            <p:cNvSpPr>
              <a:spLocks noChangeArrowheads="1"/>
            </p:cNvSpPr>
            <p:nvPr/>
          </p:nvSpPr>
          <p:spPr bwMode="auto">
            <a:xfrm>
              <a:off x="4452938" y="2190750"/>
              <a:ext cx="4762" cy="9525"/>
            </a:xfrm>
            <a:custGeom>
              <a:avLst/>
              <a:gdLst>
                <a:gd name="T0" fmla="*/ 0 w 15"/>
                <a:gd name="T1" fmla="*/ 12 h 27"/>
                <a:gd name="T2" fmla="*/ 6 w 15"/>
                <a:gd name="T3" fmla="*/ 26 h 27"/>
                <a:gd name="T4" fmla="*/ 14 w 15"/>
                <a:gd name="T5" fmla="*/ 9 h 27"/>
                <a:gd name="T6" fmla="*/ 6 w 15"/>
                <a:gd name="T7" fmla="*/ 0 h 27"/>
                <a:gd name="T8" fmla="*/ 0 w 15"/>
                <a:gd name="T9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7">
                  <a:moveTo>
                    <a:pt x="0" y="12"/>
                  </a:moveTo>
                  <a:cubicBezTo>
                    <a:pt x="3" y="17"/>
                    <a:pt x="3" y="20"/>
                    <a:pt x="6" y="26"/>
                  </a:cubicBezTo>
                  <a:cubicBezTo>
                    <a:pt x="8" y="20"/>
                    <a:pt x="14" y="14"/>
                    <a:pt x="14" y="9"/>
                  </a:cubicBezTo>
                  <a:cubicBezTo>
                    <a:pt x="11" y="6"/>
                    <a:pt x="8" y="3"/>
                    <a:pt x="6" y="0"/>
                  </a:cubicBezTo>
                  <a:cubicBezTo>
                    <a:pt x="3" y="3"/>
                    <a:pt x="0" y="6"/>
                    <a:pt x="0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8" name="Freeform 296"/>
            <p:cNvSpPr>
              <a:spLocks noChangeArrowheads="1"/>
            </p:cNvSpPr>
            <p:nvPr/>
          </p:nvSpPr>
          <p:spPr bwMode="auto">
            <a:xfrm>
              <a:off x="4465638" y="2200275"/>
              <a:ext cx="3175" cy="4763"/>
            </a:xfrm>
            <a:custGeom>
              <a:avLst/>
              <a:gdLst>
                <a:gd name="T0" fmla="*/ 5 w 9"/>
                <a:gd name="T1" fmla="*/ 11 h 12"/>
                <a:gd name="T2" fmla="*/ 8 w 9"/>
                <a:gd name="T3" fmla="*/ 2 h 12"/>
                <a:gd name="T4" fmla="*/ 5 w 9"/>
                <a:gd name="T5" fmla="*/ 0 h 12"/>
                <a:gd name="T6" fmla="*/ 5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5" y="11"/>
                  </a:moveTo>
                  <a:cubicBezTo>
                    <a:pt x="3" y="8"/>
                    <a:pt x="8" y="5"/>
                    <a:pt x="8" y="2"/>
                  </a:cubicBezTo>
                  <a:lnTo>
                    <a:pt x="5" y="0"/>
                  </a:lnTo>
                  <a:cubicBezTo>
                    <a:pt x="3" y="2"/>
                    <a:pt x="0" y="11"/>
                    <a:pt x="5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39" name="Freeform 297"/>
            <p:cNvSpPr>
              <a:spLocks noChangeArrowheads="1"/>
            </p:cNvSpPr>
            <p:nvPr/>
          </p:nvSpPr>
          <p:spPr bwMode="auto">
            <a:xfrm>
              <a:off x="3940175" y="2101850"/>
              <a:ext cx="6350" cy="4763"/>
            </a:xfrm>
            <a:custGeom>
              <a:avLst/>
              <a:gdLst>
                <a:gd name="T0" fmla="*/ 11 w 18"/>
                <a:gd name="T1" fmla="*/ 14 h 15"/>
                <a:gd name="T2" fmla="*/ 17 w 18"/>
                <a:gd name="T3" fmla="*/ 0 h 15"/>
                <a:gd name="T4" fmla="*/ 0 w 18"/>
                <a:gd name="T5" fmla="*/ 5 h 15"/>
                <a:gd name="T6" fmla="*/ 11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1" y="14"/>
                  </a:moveTo>
                  <a:cubicBezTo>
                    <a:pt x="14" y="8"/>
                    <a:pt x="14" y="5"/>
                    <a:pt x="17" y="0"/>
                  </a:cubicBezTo>
                  <a:cubicBezTo>
                    <a:pt x="11" y="3"/>
                    <a:pt x="6" y="5"/>
                    <a:pt x="0" y="5"/>
                  </a:cubicBezTo>
                  <a:cubicBezTo>
                    <a:pt x="3" y="8"/>
                    <a:pt x="9" y="11"/>
                    <a:pt x="11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0" name="Freeform 298"/>
            <p:cNvSpPr>
              <a:spLocks noChangeArrowheads="1"/>
            </p:cNvSpPr>
            <p:nvPr/>
          </p:nvSpPr>
          <p:spPr bwMode="auto">
            <a:xfrm>
              <a:off x="3932238" y="2106613"/>
              <a:ext cx="3175" cy="3175"/>
            </a:xfrm>
            <a:custGeom>
              <a:avLst/>
              <a:gdLst>
                <a:gd name="T0" fmla="*/ 6 w 7"/>
                <a:gd name="T1" fmla="*/ 3 h 7"/>
                <a:gd name="T2" fmla="*/ 6 w 7"/>
                <a:gd name="T3" fmla="*/ 0 h 7"/>
                <a:gd name="T4" fmla="*/ 0 w 7"/>
                <a:gd name="T5" fmla="*/ 3 h 7"/>
                <a:gd name="T6" fmla="*/ 6 w 7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6" y="3"/>
                  </a:moveTo>
                  <a:lnTo>
                    <a:pt x="6" y="0"/>
                  </a:lnTo>
                  <a:cubicBezTo>
                    <a:pt x="3" y="0"/>
                    <a:pt x="0" y="3"/>
                    <a:pt x="0" y="3"/>
                  </a:cubicBezTo>
                  <a:cubicBezTo>
                    <a:pt x="0" y="6"/>
                    <a:pt x="3" y="6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1" name="Freeform 299"/>
            <p:cNvSpPr>
              <a:spLocks noChangeArrowheads="1"/>
            </p:cNvSpPr>
            <p:nvPr/>
          </p:nvSpPr>
          <p:spPr bwMode="auto">
            <a:xfrm>
              <a:off x="3748088" y="2235200"/>
              <a:ext cx="4762" cy="3175"/>
            </a:xfrm>
            <a:custGeom>
              <a:avLst/>
              <a:gdLst>
                <a:gd name="T0" fmla="*/ 11 w 12"/>
                <a:gd name="T1" fmla="*/ 3 h 10"/>
                <a:gd name="T2" fmla="*/ 3 w 12"/>
                <a:gd name="T3" fmla="*/ 0 h 10"/>
                <a:gd name="T4" fmla="*/ 0 w 12"/>
                <a:gd name="T5" fmla="*/ 3 h 10"/>
                <a:gd name="T6" fmla="*/ 11 w 12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1" y="3"/>
                  </a:moveTo>
                  <a:cubicBezTo>
                    <a:pt x="8" y="6"/>
                    <a:pt x="5" y="0"/>
                    <a:pt x="3" y="0"/>
                  </a:cubicBezTo>
                  <a:lnTo>
                    <a:pt x="0" y="3"/>
                  </a:lnTo>
                  <a:cubicBezTo>
                    <a:pt x="3" y="3"/>
                    <a:pt x="11" y="9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2" name="Freeform 300"/>
            <p:cNvSpPr>
              <a:spLocks noChangeArrowheads="1"/>
            </p:cNvSpPr>
            <p:nvPr/>
          </p:nvSpPr>
          <p:spPr bwMode="auto">
            <a:xfrm>
              <a:off x="3851275" y="2149475"/>
              <a:ext cx="1588" cy="4763"/>
            </a:xfrm>
            <a:custGeom>
              <a:avLst/>
              <a:gdLst>
                <a:gd name="T0" fmla="*/ 3 w 4"/>
                <a:gd name="T1" fmla="*/ 14 h 15"/>
                <a:gd name="T2" fmla="*/ 3 w 4"/>
                <a:gd name="T3" fmla="*/ 0 h 15"/>
                <a:gd name="T4" fmla="*/ 0 w 4"/>
                <a:gd name="T5" fmla="*/ 0 h 15"/>
                <a:gd name="T6" fmla="*/ 3 w 4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5">
                  <a:moveTo>
                    <a:pt x="3" y="14"/>
                  </a:moveTo>
                  <a:cubicBezTo>
                    <a:pt x="3" y="8"/>
                    <a:pt x="3" y="5"/>
                    <a:pt x="3" y="0"/>
                  </a:cubicBezTo>
                  <a:lnTo>
                    <a:pt x="0" y="0"/>
                  </a:lnTo>
                  <a:cubicBezTo>
                    <a:pt x="3" y="5"/>
                    <a:pt x="3" y="11"/>
                    <a:pt x="3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3" name="Freeform 301"/>
            <p:cNvSpPr>
              <a:spLocks noChangeArrowheads="1"/>
            </p:cNvSpPr>
            <p:nvPr/>
          </p:nvSpPr>
          <p:spPr bwMode="auto">
            <a:xfrm>
              <a:off x="4541838" y="2439988"/>
              <a:ext cx="6350" cy="9525"/>
            </a:xfrm>
            <a:custGeom>
              <a:avLst/>
              <a:gdLst>
                <a:gd name="T0" fmla="*/ 3 w 18"/>
                <a:gd name="T1" fmla="*/ 23 h 27"/>
                <a:gd name="T2" fmla="*/ 3 w 18"/>
                <a:gd name="T3" fmla="*/ 23 h 27"/>
                <a:gd name="T4" fmla="*/ 17 w 18"/>
                <a:gd name="T5" fmla="*/ 23 h 27"/>
                <a:gd name="T6" fmla="*/ 14 w 18"/>
                <a:gd name="T7" fmla="*/ 9 h 27"/>
                <a:gd name="T8" fmla="*/ 0 w 18"/>
                <a:gd name="T9" fmla="*/ 9 h 27"/>
                <a:gd name="T10" fmla="*/ 3 w 18"/>
                <a:gd name="T11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7">
                  <a:moveTo>
                    <a:pt x="3" y="23"/>
                  </a:moveTo>
                  <a:cubicBezTo>
                    <a:pt x="3" y="26"/>
                    <a:pt x="6" y="26"/>
                    <a:pt x="3" y="23"/>
                  </a:cubicBezTo>
                  <a:cubicBezTo>
                    <a:pt x="12" y="20"/>
                    <a:pt x="9" y="23"/>
                    <a:pt x="17" y="23"/>
                  </a:cubicBezTo>
                  <a:cubicBezTo>
                    <a:pt x="17" y="17"/>
                    <a:pt x="14" y="14"/>
                    <a:pt x="14" y="9"/>
                  </a:cubicBezTo>
                  <a:cubicBezTo>
                    <a:pt x="9" y="3"/>
                    <a:pt x="3" y="0"/>
                    <a:pt x="0" y="9"/>
                  </a:cubicBezTo>
                  <a:cubicBezTo>
                    <a:pt x="6" y="9"/>
                    <a:pt x="0" y="20"/>
                    <a:pt x="3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4" name="Freeform 302"/>
            <p:cNvSpPr>
              <a:spLocks noChangeArrowheads="1"/>
            </p:cNvSpPr>
            <p:nvPr/>
          </p:nvSpPr>
          <p:spPr bwMode="auto">
            <a:xfrm>
              <a:off x="4122738" y="3081338"/>
              <a:ext cx="6350" cy="3175"/>
            </a:xfrm>
            <a:custGeom>
              <a:avLst/>
              <a:gdLst>
                <a:gd name="T0" fmla="*/ 3 w 17"/>
                <a:gd name="T1" fmla="*/ 0 h 10"/>
                <a:gd name="T2" fmla="*/ 0 w 17"/>
                <a:gd name="T3" fmla="*/ 9 h 10"/>
                <a:gd name="T4" fmla="*/ 7 w 17"/>
                <a:gd name="T5" fmla="*/ 9 h 10"/>
                <a:gd name="T6" fmla="*/ 16 w 17"/>
                <a:gd name="T7" fmla="*/ 9 h 10"/>
                <a:gd name="T8" fmla="*/ 3 w 1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0">
                  <a:moveTo>
                    <a:pt x="3" y="0"/>
                  </a:moveTo>
                  <a:cubicBezTo>
                    <a:pt x="3" y="0"/>
                    <a:pt x="0" y="6"/>
                    <a:pt x="0" y="9"/>
                  </a:cubicBezTo>
                  <a:cubicBezTo>
                    <a:pt x="3" y="9"/>
                    <a:pt x="6" y="9"/>
                    <a:pt x="7" y="9"/>
                  </a:cubicBezTo>
                  <a:cubicBezTo>
                    <a:pt x="10" y="9"/>
                    <a:pt x="13" y="9"/>
                    <a:pt x="16" y="9"/>
                  </a:cubicBezTo>
                  <a:cubicBezTo>
                    <a:pt x="16" y="3"/>
                    <a:pt x="10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5" name="Freeform 303"/>
            <p:cNvSpPr>
              <a:spLocks noChangeArrowheads="1"/>
            </p:cNvSpPr>
            <p:nvPr/>
          </p:nvSpPr>
          <p:spPr bwMode="auto">
            <a:xfrm>
              <a:off x="3767138" y="2936875"/>
              <a:ext cx="1587" cy="1588"/>
            </a:xfrm>
            <a:custGeom>
              <a:avLst/>
              <a:gdLst>
                <a:gd name="T0" fmla="*/ 0 w 4"/>
                <a:gd name="T1" fmla="*/ 0 h 3"/>
                <a:gd name="T2" fmla="*/ 0 w 4"/>
                <a:gd name="T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cubicBezTo>
                    <a:pt x="0" y="0"/>
                    <a:pt x="3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6" name="Freeform 304"/>
            <p:cNvSpPr>
              <a:spLocks noChangeArrowheads="1"/>
            </p:cNvSpPr>
            <p:nvPr/>
          </p:nvSpPr>
          <p:spPr bwMode="auto">
            <a:xfrm>
              <a:off x="3725863" y="2890838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5 w 9"/>
                <a:gd name="T3" fmla="*/ 11 h 12"/>
                <a:gd name="T4" fmla="*/ 8 w 9"/>
                <a:gd name="T5" fmla="*/ 3 h 12"/>
                <a:gd name="T6" fmla="*/ 0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2" y="5"/>
                    <a:pt x="2" y="8"/>
                    <a:pt x="5" y="11"/>
                  </a:cubicBezTo>
                  <a:cubicBezTo>
                    <a:pt x="5" y="8"/>
                    <a:pt x="8" y="5"/>
                    <a:pt x="8" y="3"/>
                  </a:cubicBezTo>
                  <a:cubicBezTo>
                    <a:pt x="5" y="0"/>
                    <a:pt x="2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7" name="Freeform 305"/>
            <p:cNvSpPr>
              <a:spLocks noChangeArrowheads="1"/>
            </p:cNvSpPr>
            <p:nvPr/>
          </p:nvSpPr>
          <p:spPr bwMode="auto">
            <a:xfrm>
              <a:off x="3665538" y="2790825"/>
              <a:ext cx="3175" cy="4763"/>
            </a:xfrm>
            <a:custGeom>
              <a:avLst/>
              <a:gdLst>
                <a:gd name="T0" fmla="*/ 0 w 10"/>
                <a:gd name="T1" fmla="*/ 0 h 13"/>
                <a:gd name="T2" fmla="*/ 6 w 10"/>
                <a:gd name="T3" fmla="*/ 12 h 13"/>
                <a:gd name="T4" fmla="*/ 9 w 10"/>
                <a:gd name="T5" fmla="*/ 0 h 13"/>
                <a:gd name="T6" fmla="*/ 0 w 1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0" y="0"/>
                  </a:moveTo>
                  <a:cubicBezTo>
                    <a:pt x="3" y="3"/>
                    <a:pt x="3" y="9"/>
                    <a:pt x="6" y="12"/>
                  </a:cubicBezTo>
                  <a:cubicBezTo>
                    <a:pt x="6" y="9"/>
                    <a:pt x="9" y="3"/>
                    <a:pt x="9" y="0"/>
                  </a:cubicBezTo>
                  <a:cubicBezTo>
                    <a:pt x="6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8" name="Freeform 306"/>
            <p:cNvSpPr>
              <a:spLocks noChangeArrowheads="1"/>
            </p:cNvSpPr>
            <p:nvPr/>
          </p:nvSpPr>
          <p:spPr bwMode="auto">
            <a:xfrm>
              <a:off x="3987800" y="3063875"/>
              <a:ext cx="4763" cy="3175"/>
            </a:xfrm>
            <a:custGeom>
              <a:avLst/>
              <a:gdLst>
                <a:gd name="T0" fmla="*/ 8 w 15"/>
                <a:gd name="T1" fmla="*/ 0 h 7"/>
                <a:gd name="T2" fmla="*/ 5 w 15"/>
                <a:gd name="T3" fmla="*/ 3 h 7"/>
                <a:gd name="T4" fmla="*/ 0 w 15"/>
                <a:gd name="T5" fmla="*/ 0 h 7"/>
                <a:gd name="T6" fmla="*/ 0 w 15"/>
                <a:gd name="T7" fmla="*/ 0 h 7"/>
                <a:gd name="T8" fmla="*/ 0 w 15"/>
                <a:gd name="T9" fmla="*/ 3 h 7"/>
                <a:gd name="T10" fmla="*/ 11 w 15"/>
                <a:gd name="T11" fmla="*/ 6 h 7"/>
                <a:gd name="T12" fmla="*/ 11 w 15"/>
                <a:gd name="T13" fmla="*/ 6 h 7"/>
                <a:gd name="T14" fmla="*/ 11 w 15"/>
                <a:gd name="T15" fmla="*/ 6 h 7"/>
                <a:gd name="T16" fmla="*/ 11 w 15"/>
                <a:gd name="T17" fmla="*/ 6 h 7"/>
                <a:gd name="T18" fmla="*/ 8 w 15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7">
                  <a:moveTo>
                    <a:pt x="8" y="0"/>
                  </a:moveTo>
                  <a:lnTo>
                    <a:pt x="5" y="3"/>
                  </a:lnTo>
                  <a:cubicBezTo>
                    <a:pt x="2" y="3"/>
                    <a:pt x="2" y="0"/>
                    <a:pt x="0" y="0"/>
                  </a:cubicBezTo>
                  <a:lnTo>
                    <a:pt x="0" y="0"/>
                  </a:lnTo>
                  <a:lnTo>
                    <a:pt x="0" y="3"/>
                  </a:lnTo>
                  <a:cubicBezTo>
                    <a:pt x="2" y="3"/>
                    <a:pt x="5" y="6"/>
                    <a:pt x="11" y="6"/>
                  </a:cubicBez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cubicBezTo>
                    <a:pt x="14" y="6"/>
                    <a:pt x="11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9" name="Freeform 307"/>
            <p:cNvSpPr>
              <a:spLocks noChangeArrowheads="1"/>
            </p:cNvSpPr>
            <p:nvPr/>
          </p:nvSpPr>
          <p:spPr bwMode="auto">
            <a:xfrm>
              <a:off x="3938588" y="3046413"/>
              <a:ext cx="3175" cy="3175"/>
            </a:xfrm>
            <a:custGeom>
              <a:avLst/>
              <a:gdLst>
                <a:gd name="T0" fmla="*/ 3 w 7"/>
                <a:gd name="T1" fmla="*/ 0 h 7"/>
                <a:gd name="T2" fmla="*/ 0 w 7"/>
                <a:gd name="T3" fmla="*/ 3 h 7"/>
                <a:gd name="T4" fmla="*/ 3 w 7"/>
                <a:gd name="T5" fmla="*/ 3 h 7"/>
                <a:gd name="T6" fmla="*/ 3 w 7"/>
                <a:gd name="T7" fmla="*/ 0 h 7"/>
                <a:gd name="T8" fmla="*/ 6 w 7"/>
                <a:gd name="T9" fmla="*/ 6 h 7"/>
                <a:gd name="T10" fmla="*/ 3 w 7"/>
                <a:gd name="T11" fmla="*/ 3 h 7"/>
                <a:gd name="T12" fmla="*/ 6 w 7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7">
                  <a:moveTo>
                    <a:pt x="3" y="0"/>
                  </a:moveTo>
                  <a:lnTo>
                    <a:pt x="0" y="3"/>
                  </a:ln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1"/>
                    <a:pt x="3" y="0"/>
                  </a:cubicBezTo>
                  <a:close/>
                  <a:moveTo>
                    <a:pt x="6" y="6"/>
                  </a:moveTo>
                  <a:cubicBezTo>
                    <a:pt x="4" y="6"/>
                    <a:pt x="4" y="5"/>
                    <a:pt x="3" y="3"/>
                  </a:cubicBezTo>
                  <a:cubicBezTo>
                    <a:pt x="4" y="4"/>
                    <a:pt x="5" y="5"/>
                    <a:pt x="6" y="6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0" name="Freeform 308"/>
            <p:cNvSpPr>
              <a:spLocks noChangeArrowheads="1"/>
            </p:cNvSpPr>
            <p:nvPr/>
          </p:nvSpPr>
          <p:spPr bwMode="auto">
            <a:xfrm>
              <a:off x="3652838" y="2755900"/>
              <a:ext cx="1587" cy="3175"/>
            </a:xfrm>
            <a:custGeom>
              <a:avLst/>
              <a:gdLst>
                <a:gd name="T0" fmla="*/ 3 w 4"/>
                <a:gd name="T1" fmla="*/ 0 h 10"/>
                <a:gd name="T2" fmla="*/ 0 w 4"/>
                <a:gd name="T3" fmla="*/ 6 h 10"/>
                <a:gd name="T4" fmla="*/ 0 w 4"/>
                <a:gd name="T5" fmla="*/ 9 h 10"/>
                <a:gd name="T6" fmla="*/ 3 w 4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0"/>
                  </a:moveTo>
                  <a:cubicBezTo>
                    <a:pt x="0" y="3"/>
                    <a:pt x="0" y="3"/>
                    <a:pt x="0" y="6"/>
                  </a:cubicBezTo>
                  <a:lnTo>
                    <a:pt x="0" y="9"/>
                  </a:lnTo>
                  <a:cubicBezTo>
                    <a:pt x="0" y="6"/>
                    <a:pt x="3" y="6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1" name="Freeform 309"/>
            <p:cNvSpPr>
              <a:spLocks noChangeArrowheads="1"/>
            </p:cNvSpPr>
            <p:nvPr/>
          </p:nvSpPr>
          <p:spPr bwMode="auto">
            <a:xfrm>
              <a:off x="3889375" y="3024188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0 w 9"/>
                <a:gd name="T3" fmla="*/ 6 h 10"/>
                <a:gd name="T4" fmla="*/ 8 w 9"/>
                <a:gd name="T5" fmla="*/ 9 h 10"/>
                <a:gd name="T6" fmla="*/ 8 w 9"/>
                <a:gd name="T7" fmla="*/ 0 h 10"/>
                <a:gd name="T8" fmla="*/ 0 w 9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lnTo>
                    <a:pt x="0" y="6"/>
                  </a:lnTo>
                  <a:cubicBezTo>
                    <a:pt x="3" y="9"/>
                    <a:pt x="6" y="9"/>
                    <a:pt x="8" y="9"/>
                  </a:cubicBezTo>
                  <a:cubicBezTo>
                    <a:pt x="8" y="6"/>
                    <a:pt x="8" y="3"/>
                    <a:pt x="8" y="0"/>
                  </a:cubicBezTo>
                  <a:cubicBezTo>
                    <a:pt x="6" y="3"/>
                    <a:pt x="3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2" name="Freeform 310"/>
            <p:cNvSpPr>
              <a:spLocks noChangeArrowheads="1"/>
            </p:cNvSpPr>
            <p:nvPr/>
          </p:nvSpPr>
          <p:spPr bwMode="auto">
            <a:xfrm>
              <a:off x="3765550" y="2930525"/>
              <a:ext cx="4763" cy="4763"/>
            </a:xfrm>
            <a:custGeom>
              <a:avLst/>
              <a:gdLst>
                <a:gd name="T0" fmla="*/ 14 w 15"/>
                <a:gd name="T1" fmla="*/ 0 h 15"/>
                <a:gd name="T2" fmla="*/ 6 w 15"/>
                <a:gd name="T3" fmla="*/ 2 h 15"/>
                <a:gd name="T4" fmla="*/ 6 w 15"/>
                <a:gd name="T5" fmla="*/ 8 h 15"/>
                <a:gd name="T6" fmla="*/ 8 w 15"/>
                <a:gd name="T7" fmla="*/ 8 h 15"/>
                <a:gd name="T8" fmla="*/ 0 w 15"/>
                <a:gd name="T9" fmla="*/ 11 h 15"/>
                <a:gd name="T10" fmla="*/ 3 w 15"/>
                <a:gd name="T11" fmla="*/ 14 h 15"/>
                <a:gd name="T12" fmla="*/ 11 w 15"/>
                <a:gd name="T13" fmla="*/ 14 h 15"/>
                <a:gd name="T14" fmla="*/ 14 w 15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14" y="0"/>
                  </a:moveTo>
                  <a:cubicBezTo>
                    <a:pt x="11" y="0"/>
                    <a:pt x="8" y="0"/>
                    <a:pt x="6" y="2"/>
                  </a:cubicBezTo>
                  <a:cubicBezTo>
                    <a:pt x="6" y="5"/>
                    <a:pt x="6" y="5"/>
                    <a:pt x="6" y="8"/>
                  </a:cubicBezTo>
                  <a:cubicBezTo>
                    <a:pt x="6" y="8"/>
                    <a:pt x="6" y="8"/>
                    <a:pt x="8" y="8"/>
                  </a:cubicBezTo>
                  <a:cubicBezTo>
                    <a:pt x="6" y="8"/>
                    <a:pt x="3" y="11"/>
                    <a:pt x="0" y="11"/>
                  </a:cubicBezTo>
                  <a:lnTo>
                    <a:pt x="3" y="14"/>
                  </a:lnTo>
                  <a:cubicBezTo>
                    <a:pt x="6" y="14"/>
                    <a:pt x="8" y="14"/>
                    <a:pt x="11" y="14"/>
                  </a:cubicBezTo>
                  <a:cubicBezTo>
                    <a:pt x="11" y="8"/>
                    <a:pt x="14" y="5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3" name="Freeform 311"/>
            <p:cNvSpPr>
              <a:spLocks noChangeArrowheads="1"/>
            </p:cNvSpPr>
            <p:nvPr/>
          </p:nvSpPr>
          <p:spPr bwMode="auto">
            <a:xfrm>
              <a:off x="3624263" y="2492375"/>
              <a:ext cx="1587" cy="317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0 h 7"/>
                <a:gd name="T4" fmla="*/ 5 w 6"/>
                <a:gd name="T5" fmla="*/ 6 h 7"/>
                <a:gd name="T6" fmla="*/ 0 w 6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lnTo>
                    <a:pt x="0" y="0"/>
                  </a:lnTo>
                  <a:cubicBezTo>
                    <a:pt x="2" y="3"/>
                    <a:pt x="5" y="3"/>
                    <a:pt x="5" y="6"/>
                  </a:cubicBezTo>
                  <a:cubicBezTo>
                    <a:pt x="5" y="3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4" name="Freeform 312"/>
            <p:cNvSpPr>
              <a:spLocks noChangeArrowheads="1"/>
            </p:cNvSpPr>
            <p:nvPr/>
          </p:nvSpPr>
          <p:spPr bwMode="auto">
            <a:xfrm>
              <a:off x="3619500" y="2532063"/>
              <a:ext cx="3175" cy="3175"/>
            </a:xfrm>
            <a:custGeom>
              <a:avLst/>
              <a:gdLst>
                <a:gd name="T0" fmla="*/ 3 w 7"/>
                <a:gd name="T1" fmla="*/ 8 h 9"/>
                <a:gd name="T2" fmla="*/ 6 w 7"/>
                <a:gd name="T3" fmla="*/ 6 h 9"/>
                <a:gd name="T4" fmla="*/ 0 w 7"/>
                <a:gd name="T5" fmla="*/ 0 h 9"/>
                <a:gd name="T6" fmla="*/ 0 w 7"/>
                <a:gd name="T7" fmla="*/ 3 h 9"/>
                <a:gd name="T8" fmla="*/ 3 w 7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lnTo>
                    <a:pt x="6" y="6"/>
                  </a:lnTo>
                  <a:cubicBezTo>
                    <a:pt x="6" y="3"/>
                    <a:pt x="6" y="0"/>
                    <a:pt x="0" y="0"/>
                  </a:cubicBezTo>
                  <a:lnTo>
                    <a:pt x="0" y="3"/>
                  </a:lnTo>
                  <a:cubicBezTo>
                    <a:pt x="0" y="3"/>
                    <a:pt x="0" y="8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5" name="Freeform 313"/>
            <p:cNvSpPr>
              <a:spLocks noChangeArrowheads="1"/>
            </p:cNvSpPr>
            <p:nvPr/>
          </p:nvSpPr>
          <p:spPr bwMode="auto">
            <a:xfrm>
              <a:off x="3624263" y="2654300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  <a:gd name="T4" fmla="*/ 0 w 4"/>
                <a:gd name="T5" fmla="*/ 3 h 4"/>
                <a:gd name="T6" fmla="*/ 3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0" y="3"/>
                    <a:pt x="3" y="0"/>
                  </a:cubicBezTo>
                  <a:lnTo>
                    <a:pt x="0" y="3"/>
                  </a:lnTo>
                  <a:cubicBezTo>
                    <a:pt x="0" y="3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6" name="Freeform 314"/>
            <p:cNvSpPr>
              <a:spLocks noChangeArrowheads="1"/>
            </p:cNvSpPr>
            <p:nvPr/>
          </p:nvSpPr>
          <p:spPr bwMode="auto">
            <a:xfrm>
              <a:off x="3635375" y="2436813"/>
              <a:ext cx="15875" cy="7937"/>
            </a:xfrm>
            <a:custGeom>
              <a:avLst/>
              <a:gdLst>
                <a:gd name="T0" fmla="*/ 17 w 43"/>
                <a:gd name="T1" fmla="*/ 11 h 23"/>
                <a:gd name="T2" fmla="*/ 17 w 43"/>
                <a:gd name="T3" fmla="*/ 8 h 23"/>
                <a:gd name="T4" fmla="*/ 22 w 43"/>
                <a:gd name="T5" fmla="*/ 8 h 23"/>
                <a:gd name="T6" fmla="*/ 22 w 43"/>
                <a:gd name="T7" fmla="*/ 11 h 23"/>
                <a:gd name="T8" fmla="*/ 42 w 43"/>
                <a:gd name="T9" fmla="*/ 0 h 23"/>
                <a:gd name="T10" fmla="*/ 39 w 43"/>
                <a:gd name="T11" fmla="*/ 0 h 23"/>
                <a:gd name="T12" fmla="*/ 25 w 43"/>
                <a:gd name="T13" fmla="*/ 8 h 23"/>
                <a:gd name="T14" fmla="*/ 25 w 43"/>
                <a:gd name="T15" fmla="*/ 3 h 23"/>
                <a:gd name="T16" fmla="*/ 5 w 43"/>
                <a:gd name="T17" fmla="*/ 11 h 23"/>
                <a:gd name="T18" fmla="*/ 3 w 43"/>
                <a:gd name="T19" fmla="*/ 11 h 23"/>
                <a:gd name="T20" fmla="*/ 0 w 43"/>
                <a:gd name="T21" fmla="*/ 22 h 23"/>
                <a:gd name="T22" fmla="*/ 0 w 43"/>
                <a:gd name="T23" fmla="*/ 22 h 23"/>
                <a:gd name="T24" fmla="*/ 0 w 43"/>
                <a:gd name="T25" fmla="*/ 22 h 23"/>
                <a:gd name="T26" fmla="*/ 0 w 43"/>
                <a:gd name="T27" fmla="*/ 22 h 23"/>
                <a:gd name="T28" fmla="*/ 5 w 43"/>
                <a:gd name="T29" fmla="*/ 19 h 23"/>
                <a:gd name="T30" fmla="*/ 17 w 43"/>
                <a:gd name="T31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" h="23">
                  <a:moveTo>
                    <a:pt x="17" y="11"/>
                  </a:moveTo>
                  <a:lnTo>
                    <a:pt x="17" y="8"/>
                  </a:lnTo>
                  <a:lnTo>
                    <a:pt x="22" y="8"/>
                  </a:lnTo>
                  <a:lnTo>
                    <a:pt x="22" y="11"/>
                  </a:lnTo>
                  <a:cubicBezTo>
                    <a:pt x="28" y="8"/>
                    <a:pt x="36" y="5"/>
                    <a:pt x="42" y="0"/>
                  </a:cubicBezTo>
                  <a:lnTo>
                    <a:pt x="39" y="0"/>
                  </a:lnTo>
                  <a:cubicBezTo>
                    <a:pt x="34" y="0"/>
                    <a:pt x="34" y="8"/>
                    <a:pt x="25" y="8"/>
                  </a:cubicBezTo>
                  <a:cubicBezTo>
                    <a:pt x="25" y="5"/>
                    <a:pt x="25" y="3"/>
                    <a:pt x="25" y="3"/>
                  </a:cubicBezTo>
                  <a:cubicBezTo>
                    <a:pt x="19" y="5"/>
                    <a:pt x="14" y="8"/>
                    <a:pt x="5" y="11"/>
                  </a:cubicBezTo>
                  <a:lnTo>
                    <a:pt x="3" y="11"/>
                  </a:lnTo>
                  <a:cubicBezTo>
                    <a:pt x="3" y="14"/>
                    <a:pt x="0" y="17"/>
                    <a:pt x="0" y="22"/>
                  </a:cubicBez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cubicBezTo>
                    <a:pt x="3" y="22"/>
                    <a:pt x="3" y="22"/>
                    <a:pt x="5" y="19"/>
                  </a:cubicBezTo>
                  <a:cubicBezTo>
                    <a:pt x="8" y="14"/>
                    <a:pt x="14" y="14"/>
                    <a:pt x="17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7" name="Freeform 315"/>
            <p:cNvSpPr>
              <a:spLocks noChangeArrowheads="1"/>
            </p:cNvSpPr>
            <p:nvPr/>
          </p:nvSpPr>
          <p:spPr bwMode="auto">
            <a:xfrm>
              <a:off x="3616325" y="2573338"/>
              <a:ext cx="4763" cy="6350"/>
            </a:xfrm>
            <a:custGeom>
              <a:avLst/>
              <a:gdLst>
                <a:gd name="T0" fmla="*/ 8 w 12"/>
                <a:gd name="T1" fmla="*/ 2 h 19"/>
                <a:gd name="T2" fmla="*/ 0 w 12"/>
                <a:gd name="T3" fmla="*/ 0 h 19"/>
                <a:gd name="T4" fmla="*/ 0 w 12"/>
                <a:gd name="T5" fmla="*/ 7 h 19"/>
                <a:gd name="T6" fmla="*/ 0 w 12"/>
                <a:gd name="T7" fmla="*/ 16 h 19"/>
                <a:gd name="T8" fmla="*/ 8 w 12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">
                  <a:moveTo>
                    <a:pt x="8" y="2"/>
                  </a:moveTo>
                  <a:cubicBezTo>
                    <a:pt x="8" y="2"/>
                    <a:pt x="3" y="0"/>
                    <a:pt x="0" y="0"/>
                  </a:cubicBezTo>
                  <a:cubicBezTo>
                    <a:pt x="0" y="3"/>
                    <a:pt x="0" y="4"/>
                    <a:pt x="0" y="7"/>
                  </a:cubicBezTo>
                  <a:cubicBezTo>
                    <a:pt x="0" y="10"/>
                    <a:pt x="0" y="13"/>
                    <a:pt x="0" y="16"/>
                  </a:cubicBezTo>
                  <a:cubicBezTo>
                    <a:pt x="8" y="18"/>
                    <a:pt x="11" y="13"/>
                    <a:pt x="8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8" name="Freeform 316"/>
            <p:cNvSpPr>
              <a:spLocks noChangeArrowheads="1"/>
            </p:cNvSpPr>
            <p:nvPr/>
          </p:nvSpPr>
          <p:spPr bwMode="auto">
            <a:xfrm>
              <a:off x="3621088" y="2632075"/>
              <a:ext cx="3175" cy="3175"/>
            </a:xfrm>
            <a:custGeom>
              <a:avLst/>
              <a:gdLst>
                <a:gd name="T0" fmla="*/ 6 w 7"/>
                <a:gd name="T1" fmla="*/ 3 h 10"/>
                <a:gd name="T2" fmla="*/ 0 w 7"/>
                <a:gd name="T3" fmla="*/ 0 h 10"/>
                <a:gd name="T4" fmla="*/ 0 w 7"/>
                <a:gd name="T5" fmla="*/ 6 h 10"/>
                <a:gd name="T6" fmla="*/ 6 w 7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3"/>
                  </a:moveTo>
                  <a:cubicBezTo>
                    <a:pt x="3" y="3"/>
                    <a:pt x="3" y="3"/>
                    <a:pt x="0" y="0"/>
                  </a:cubicBezTo>
                  <a:cubicBezTo>
                    <a:pt x="0" y="3"/>
                    <a:pt x="0" y="3"/>
                    <a:pt x="0" y="6"/>
                  </a:cubicBezTo>
                  <a:cubicBezTo>
                    <a:pt x="3" y="9"/>
                    <a:pt x="6" y="6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9" name="Freeform 317"/>
            <p:cNvSpPr>
              <a:spLocks noChangeArrowheads="1"/>
            </p:cNvSpPr>
            <p:nvPr/>
          </p:nvSpPr>
          <p:spPr bwMode="auto">
            <a:xfrm>
              <a:off x="4176713" y="3076575"/>
              <a:ext cx="12700" cy="4763"/>
            </a:xfrm>
            <a:custGeom>
              <a:avLst/>
              <a:gdLst>
                <a:gd name="T0" fmla="*/ 0 w 35"/>
                <a:gd name="T1" fmla="*/ 11 h 12"/>
                <a:gd name="T2" fmla="*/ 0 w 35"/>
                <a:gd name="T3" fmla="*/ 11 h 12"/>
                <a:gd name="T4" fmla="*/ 34 w 35"/>
                <a:gd name="T5" fmla="*/ 8 h 12"/>
                <a:gd name="T6" fmla="*/ 34 w 35"/>
                <a:gd name="T7" fmla="*/ 8 h 12"/>
                <a:gd name="T8" fmla="*/ 0 w 35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2">
                  <a:moveTo>
                    <a:pt x="0" y="11"/>
                  </a:moveTo>
                  <a:lnTo>
                    <a:pt x="0" y="11"/>
                  </a:lnTo>
                  <a:cubicBezTo>
                    <a:pt x="12" y="11"/>
                    <a:pt x="23" y="11"/>
                    <a:pt x="34" y="8"/>
                  </a:cubicBezTo>
                  <a:lnTo>
                    <a:pt x="34" y="8"/>
                  </a:lnTo>
                  <a:cubicBezTo>
                    <a:pt x="23" y="0"/>
                    <a:pt x="9" y="3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0" name="Freeform 318"/>
            <p:cNvSpPr>
              <a:spLocks noChangeArrowheads="1"/>
            </p:cNvSpPr>
            <p:nvPr/>
          </p:nvSpPr>
          <p:spPr bwMode="auto">
            <a:xfrm>
              <a:off x="4479925" y="2933700"/>
              <a:ext cx="4763" cy="3175"/>
            </a:xfrm>
            <a:custGeom>
              <a:avLst/>
              <a:gdLst>
                <a:gd name="T0" fmla="*/ 14 w 15"/>
                <a:gd name="T1" fmla="*/ 3 h 10"/>
                <a:gd name="T2" fmla="*/ 14 w 15"/>
                <a:gd name="T3" fmla="*/ 3 h 10"/>
                <a:gd name="T4" fmla="*/ 14 w 15"/>
                <a:gd name="T5" fmla="*/ 3 h 10"/>
                <a:gd name="T6" fmla="*/ 0 w 15"/>
                <a:gd name="T7" fmla="*/ 9 h 10"/>
                <a:gd name="T8" fmla="*/ 9 w 15"/>
                <a:gd name="T9" fmla="*/ 9 h 10"/>
                <a:gd name="T10" fmla="*/ 14 w 15"/>
                <a:gd name="T1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0">
                  <a:moveTo>
                    <a:pt x="14" y="3"/>
                  </a:moveTo>
                  <a:lnTo>
                    <a:pt x="14" y="3"/>
                  </a:lnTo>
                  <a:lnTo>
                    <a:pt x="14" y="3"/>
                  </a:lnTo>
                  <a:cubicBezTo>
                    <a:pt x="6" y="0"/>
                    <a:pt x="0" y="0"/>
                    <a:pt x="0" y="9"/>
                  </a:cubicBezTo>
                  <a:cubicBezTo>
                    <a:pt x="3" y="9"/>
                    <a:pt x="6" y="9"/>
                    <a:pt x="9" y="9"/>
                  </a:cubicBezTo>
                  <a:cubicBezTo>
                    <a:pt x="11" y="9"/>
                    <a:pt x="11" y="6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1" name="Freeform 319"/>
            <p:cNvSpPr>
              <a:spLocks noChangeArrowheads="1"/>
            </p:cNvSpPr>
            <p:nvPr/>
          </p:nvSpPr>
          <p:spPr bwMode="auto">
            <a:xfrm>
              <a:off x="4451350" y="2963863"/>
              <a:ext cx="3175" cy="3175"/>
            </a:xfrm>
            <a:custGeom>
              <a:avLst/>
              <a:gdLst>
                <a:gd name="T0" fmla="*/ 0 w 7"/>
                <a:gd name="T1" fmla="*/ 3 h 7"/>
                <a:gd name="T2" fmla="*/ 0 w 7"/>
                <a:gd name="T3" fmla="*/ 6 h 7"/>
                <a:gd name="T4" fmla="*/ 6 w 7"/>
                <a:gd name="T5" fmla="*/ 0 h 7"/>
                <a:gd name="T6" fmla="*/ 0 w 7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3"/>
                  </a:moveTo>
                  <a:lnTo>
                    <a:pt x="0" y="6"/>
                  </a:lnTo>
                  <a:cubicBezTo>
                    <a:pt x="3" y="3"/>
                    <a:pt x="3" y="3"/>
                    <a:pt x="6" y="0"/>
                  </a:cubicBezTo>
                  <a:cubicBezTo>
                    <a:pt x="3" y="0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2" name="Freeform 320"/>
            <p:cNvSpPr>
              <a:spLocks noChangeArrowheads="1"/>
            </p:cNvSpPr>
            <p:nvPr/>
          </p:nvSpPr>
          <p:spPr bwMode="auto">
            <a:xfrm>
              <a:off x="4486275" y="2932113"/>
              <a:ext cx="1588" cy="3175"/>
            </a:xfrm>
            <a:custGeom>
              <a:avLst/>
              <a:gdLst>
                <a:gd name="T0" fmla="*/ 3 w 4"/>
                <a:gd name="T1" fmla="*/ 0 h 7"/>
                <a:gd name="T2" fmla="*/ 0 w 4"/>
                <a:gd name="T3" fmla="*/ 0 h 7"/>
                <a:gd name="T4" fmla="*/ 0 w 4"/>
                <a:gd name="T5" fmla="*/ 0 h 7"/>
                <a:gd name="T6" fmla="*/ 0 w 4"/>
                <a:gd name="T7" fmla="*/ 6 h 7"/>
                <a:gd name="T8" fmla="*/ 0 w 4"/>
                <a:gd name="T9" fmla="*/ 6 h 7"/>
                <a:gd name="T10" fmla="*/ 3 w 4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7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0" y="6"/>
                  </a:cubicBezTo>
                  <a:lnTo>
                    <a:pt x="0" y="6"/>
                  </a:lnTo>
                  <a:cubicBezTo>
                    <a:pt x="3" y="6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3" name="Freeform 321"/>
            <p:cNvSpPr>
              <a:spLocks noChangeArrowheads="1"/>
            </p:cNvSpPr>
            <p:nvPr/>
          </p:nvSpPr>
          <p:spPr bwMode="auto">
            <a:xfrm>
              <a:off x="4146550" y="3076575"/>
              <a:ext cx="4763" cy="7938"/>
            </a:xfrm>
            <a:custGeom>
              <a:avLst/>
              <a:gdLst>
                <a:gd name="T0" fmla="*/ 11 w 12"/>
                <a:gd name="T1" fmla="*/ 3 h 21"/>
                <a:gd name="T2" fmla="*/ 8 w 12"/>
                <a:gd name="T3" fmla="*/ 0 h 21"/>
                <a:gd name="T4" fmla="*/ 0 w 12"/>
                <a:gd name="T5" fmla="*/ 14 h 21"/>
                <a:gd name="T6" fmla="*/ 0 w 12"/>
                <a:gd name="T7" fmla="*/ 17 h 21"/>
                <a:gd name="T8" fmla="*/ 3 w 12"/>
                <a:gd name="T9" fmla="*/ 20 h 21"/>
                <a:gd name="T10" fmla="*/ 3 w 12"/>
                <a:gd name="T11" fmla="*/ 20 h 21"/>
                <a:gd name="T12" fmla="*/ 11 w 12"/>
                <a:gd name="T13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1">
                  <a:moveTo>
                    <a:pt x="11" y="3"/>
                  </a:moveTo>
                  <a:lnTo>
                    <a:pt x="8" y="0"/>
                  </a:lnTo>
                  <a:cubicBezTo>
                    <a:pt x="5" y="5"/>
                    <a:pt x="3" y="11"/>
                    <a:pt x="0" y="14"/>
                  </a:cubicBezTo>
                  <a:cubicBezTo>
                    <a:pt x="0" y="14"/>
                    <a:pt x="0" y="14"/>
                    <a:pt x="0" y="17"/>
                  </a:cubicBezTo>
                  <a:lnTo>
                    <a:pt x="3" y="20"/>
                  </a:lnTo>
                  <a:lnTo>
                    <a:pt x="3" y="20"/>
                  </a:lnTo>
                  <a:cubicBezTo>
                    <a:pt x="5" y="14"/>
                    <a:pt x="8" y="8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4" name="Freeform 322"/>
            <p:cNvSpPr>
              <a:spLocks noChangeArrowheads="1"/>
            </p:cNvSpPr>
            <p:nvPr/>
          </p:nvSpPr>
          <p:spPr bwMode="auto">
            <a:xfrm>
              <a:off x="4154488" y="3081338"/>
              <a:ext cx="3175" cy="1587"/>
            </a:xfrm>
            <a:custGeom>
              <a:avLst/>
              <a:gdLst>
                <a:gd name="T0" fmla="*/ 0 w 7"/>
                <a:gd name="T1" fmla="*/ 0 h 4"/>
                <a:gd name="T2" fmla="*/ 0 w 7"/>
                <a:gd name="T3" fmla="*/ 0 h 4"/>
                <a:gd name="T4" fmla="*/ 6 w 7"/>
                <a:gd name="T5" fmla="*/ 3 h 4"/>
                <a:gd name="T6" fmla="*/ 0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lnTo>
                    <a:pt x="0" y="0"/>
                  </a:lnTo>
                  <a:cubicBezTo>
                    <a:pt x="0" y="3"/>
                    <a:pt x="3" y="3"/>
                    <a:pt x="6" y="3"/>
                  </a:cubicBezTo>
                  <a:cubicBezTo>
                    <a:pt x="3" y="3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5" name="Freeform 323"/>
            <p:cNvSpPr>
              <a:spLocks noChangeArrowheads="1"/>
            </p:cNvSpPr>
            <p:nvPr/>
          </p:nvSpPr>
          <p:spPr bwMode="auto">
            <a:xfrm>
              <a:off x="3741738" y="2244725"/>
              <a:ext cx="1587" cy="1588"/>
            </a:xfrm>
            <a:custGeom>
              <a:avLst/>
              <a:gdLst>
                <a:gd name="T0" fmla="*/ 0 w 1"/>
                <a:gd name="T1" fmla="*/ 3 h 4"/>
                <a:gd name="T2" fmla="*/ 0 w 1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4">
                  <a:moveTo>
                    <a:pt x="0" y="3"/>
                  </a:moveTo>
                  <a:cubicBezTo>
                    <a:pt x="0" y="3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6" name="Freeform 324"/>
            <p:cNvSpPr>
              <a:spLocks noChangeArrowheads="1"/>
            </p:cNvSpPr>
            <p:nvPr/>
          </p:nvSpPr>
          <p:spPr bwMode="auto">
            <a:xfrm>
              <a:off x="4440238" y="2963863"/>
              <a:ext cx="6350" cy="9525"/>
            </a:xfrm>
            <a:custGeom>
              <a:avLst/>
              <a:gdLst>
                <a:gd name="T0" fmla="*/ 0 w 18"/>
                <a:gd name="T1" fmla="*/ 0 h 26"/>
                <a:gd name="T2" fmla="*/ 0 w 18"/>
                <a:gd name="T3" fmla="*/ 6 h 26"/>
                <a:gd name="T4" fmla="*/ 3 w 18"/>
                <a:gd name="T5" fmla="*/ 22 h 26"/>
                <a:gd name="T6" fmla="*/ 12 w 18"/>
                <a:gd name="T7" fmla="*/ 25 h 26"/>
                <a:gd name="T8" fmla="*/ 14 w 18"/>
                <a:gd name="T9" fmla="*/ 25 h 26"/>
                <a:gd name="T10" fmla="*/ 17 w 18"/>
                <a:gd name="T11" fmla="*/ 22 h 26"/>
                <a:gd name="T12" fmla="*/ 14 w 18"/>
                <a:gd name="T13" fmla="*/ 3 h 26"/>
                <a:gd name="T14" fmla="*/ 0 w 18"/>
                <a:gd name="T1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6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0" y="11"/>
                    <a:pt x="0" y="17"/>
                    <a:pt x="3" y="22"/>
                  </a:cubicBezTo>
                  <a:cubicBezTo>
                    <a:pt x="6" y="22"/>
                    <a:pt x="9" y="22"/>
                    <a:pt x="12" y="25"/>
                  </a:cubicBezTo>
                  <a:lnTo>
                    <a:pt x="14" y="25"/>
                  </a:lnTo>
                  <a:cubicBezTo>
                    <a:pt x="14" y="25"/>
                    <a:pt x="17" y="25"/>
                    <a:pt x="17" y="22"/>
                  </a:cubicBezTo>
                  <a:cubicBezTo>
                    <a:pt x="17" y="17"/>
                    <a:pt x="14" y="8"/>
                    <a:pt x="14" y="3"/>
                  </a:cubicBezTo>
                  <a:cubicBezTo>
                    <a:pt x="9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7" name="Freeform 325"/>
            <p:cNvSpPr>
              <a:spLocks noChangeArrowheads="1"/>
            </p:cNvSpPr>
            <p:nvPr/>
          </p:nvSpPr>
          <p:spPr bwMode="auto">
            <a:xfrm>
              <a:off x="4340225" y="3028950"/>
              <a:ext cx="7938" cy="7938"/>
            </a:xfrm>
            <a:custGeom>
              <a:avLst/>
              <a:gdLst>
                <a:gd name="T0" fmla="*/ 3 w 21"/>
                <a:gd name="T1" fmla="*/ 20 h 21"/>
                <a:gd name="T2" fmla="*/ 20 w 21"/>
                <a:gd name="T3" fmla="*/ 12 h 21"/>
                <a:gd name="T4" fmla="*/ 20 w 21"/>
                <a:gd name="T5" fmla="*/ 12 h 21"/>
                <a:gd name="T6" fmla="*/ 3 w 21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1">
                  <a:moveTo>
                    <a:pt x="3" y="20"/>
                  </a:moveTo>
                  <a:cubicBezTo>
                    <a:pt x="8" y="17"/>
                    <a:pt x="14" y="14"/>
                    <a:pt x="20" y="12"/>
                  </a:cubicBezTo>
                  <a:lnTo>
                    <a:pt x="20" y="12"/>
                  </a:lnTo>
                  <a:cubicBezTo>
                    <a:pt x="14" y="0"/>
                    <a:pt x="0" y="9"/>
                    <a:pt x="3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8" name="Freeform 326"/>
            <p:cNvSpPr>
              <a:spLocks noChangeArrowheads="1"/>
            </p:cNvSpPr>
            <p:nvPr/>
          </p:nvSpPr>
          <p:spPr bwMode="auto">
            <a:xfrm>
              <a:off x="4306888" y="3048000"/>
              <a:ext cx="1587" cy="1588"/>
            </a:xfrm>
            <a:custGeom>
              <a:avLst/>
              <a:gdLst>
                <a:gd name="T0" fmla="*/ 0 w 3"/>
                <a:gd name="T1" fmla="*/ 0 h 6"/>
                <a:gd name="T2" fmla="*/ 2 w 3"/>
                <a:gd name="T3" fmla="*/ 5 h 6"/>
                <a:gd name="T4" fmla="*/ 0 w 3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6">
                  <a:moveTo>
                    <a:pt x="0" y="0"/>
                  </a:moveTo>
                  <a:cubicBezTo>
                    <a:pt x="0" y="3"/>
                    <a:pt x="2" y="3"/>
                    <a:pt x="2" y="5"/>
                  </a:cubicBezTo>
                  <a:cubicBezTo>
                    <a:pt x="2" y="3"/>
                    <a:pt x="2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9" name="Freeform 327"/>
            <p:cNvSpPr>
              <a:spLocks noChangeArrowheads="1"/>
            </p:cNvSpPr>
            <p:nvPr/>
          </p:nvSpPr>
          <p:spPr bwMode="auto">
            <a:xfrm>
              <a:off x="4516438" y="2873375"/>
              <a:ext cx="4762" cy="4763"/>
            </a:xfrm>
            <a:custGeom>
              <a:avLst/>
              <a:gdLst>
                <a:gd name="T0" fmla="*/ 14 w 15"/>
                <a:gd name="T1" fmla="*/ 5 h 15"/>
                <a:gd name="T2" fmla="*/ 3 w 15"/>
                <a:gd name="T3" fmla="*/ 0 h 15"/>
                <a:gd name="T4" fmla="*/ 0 w 15"/>
                <a:gd name="T5" fmla="*/ 3 h 15"/>
                <a:gd name="T6" fmla="*/ 3 w 15"/>
                <a:gd name="T7" fmla="*/ 11 h 15"/>
                <a:gd name="T8" fmla="*/ 14 w 15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4" y="5"/>
                  </a:moveTo>
                  <a:cubicBezTo>
                    <a:pt x="8" y="5"/>
                    <a:pt x="8" y="0"/>
                    <a:pt x="3" y="0"/>
                  </a:cubicBezTo>
                  <a:cubicBezTo>
                    <a:pt x="3" y="0"/>
                    <a:pt x="3" y="3"/>
                    <a:pt x="0" y="3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8" y="14"/>
                    <a:pt x="11" y="8"/>
                    <a:pt x="14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0" name="Freeform 328"/>
            <p:cNvSpPr>
              <a:spLocks noChangeArrowheads="1"/>
            </p:cNvSpPr>
            <p:nvPr/>
          </p:nvSpPr>
          <p:spPr bwMode="auto">
            <a:xfrm>
              <a:off x="4537075" y="2732088"/>
              <a:ext cx="3175" cy="4762"/>
            </a:xfrm>
            <a:custGeom>
              <a:avLst/>
              <a:gdLst>
                <a:gd name="T0" fmla="*/ 3 w 10"/>
                <a:gd name="T1" fmla="*/ 0 h 15"/>
                <a:gd name="T2" fmla="*/ 0 w 10"/>
                <a:gd name="T3" fmla="*/ 3 h 15"/>
                <a:gd name="T4" fmla="*/ 6 w 10"/>
                <a:gd name="T5" fmla="*/ 14 h 15"/>
                <a:gd name="T6" fmla="*/ 6 w 10"/>
                <a:gd name="T7" fmla="*/ 14 h 15"/>
                <a:gd name="T8" fmla="*/ 3 w 1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3" y="0"/>
                  </a:moveTo>
                  <a:cubicBezTo>
                    <a:pt x="3" y="0"/>
                    <a:pt x="0" y="0"/>
                    <a:pt x="0" y="3"/>
                  </a:cubicBezTo>
                  <a:cubicBezTo>
                    <a:pt x="0" y="8"/>
                    <a:pt x="0" y="11"/>
                    <a:pt x="6" y="14"/>
                  </a:cubicBezTo>
                  <a:lnTo>
                    <a:pt x="6" y="14"/>
                  </a:lnTo>
                  <a:cubicBezTo>
                    <a:pt x="6" y="8"/>
                    <a:pt x="9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1" name="Freeform 329"/>
            <p:cNvSpPr>
              <a:spLocks noChangeArrowheads="1"/>
            </p:cNvSpPr>
            <p:nvPr/>
          </p:nvSpPr>
          <p:spPr bwMode="auto">
            <a:xfrm>
              <a:off x="4541838" y="2552700"/>
              <a:ext cx="3175" cy="3175"/>
            </a:xfrm>
            <a:custGeom>
              <a:avLst/>
              <a:gdLst>
                <a:gd name="T0" fmla="*/ 6 w 7"/>
                <a:gd name="T1" fmla="*/ 6 h 10"/>
                <a:gd name="T2" fmla="*/ 0 w 7"/>
                <a:gd name="T3" fmla="*/ 9 h 10"/>
                <a:gd name="T4" fmla="*/ 0 w 7"/>
                <a:gd name="T5" fmla="*/ 9 h 10"/>
                <a:gd name="T6" fmla="*/ 6 w 7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6"/>
                  </a:moveTo>
                  <a:cubicBezTo>
                    <a:pt x="0" y="0"/>
                    <a:pt x="0" y="6"/>
                    <a:pt x="0" y="9"/>
                  </a:cubicBezTo>
                  <a:lnTo>
                    <a:pt x="0" y="9"/>
                  </a:lnTo>
                  <a:cubicBezTo>
                    <a:pt x="3" y="9"/>
                    <a:pt x="3" y="9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2" name="Freeform 330"/>
            <p:cNvSpPr>
              <a:spLocks noChangeArrowheads="1"/>
            </p:cNvSpPr>
            <p:nvPr/>
          </p:nvSpPr>
          <p:spPr bwMode="auto">
            <a:xfrm>
              <a:off x="4559300" y="2670175"/>
              <a:ext cx="3175" cy="6350"/>
            </a:xfrm>
            <a:custGeom>
              <a:avLst/>
              <a:gdLst>
                <a:gd name="T0" fmla="*/ 6 w 10"/>
                <a:gd name="T1" fmla="*/ 15 h 16"/>
                <a:gd name="T2" fmla="*/ 9 w 10"/>
                <a:gd name="T3" fmla="*/ 3 h 16"/>
                <a:gd name="T4" fmla="*/ 6 w 10"/>
                <a:gd name="T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6" y="15"/>
                  </a:moveTo>
                  <a:cubicBezTo>
                    <a:pt x="6" y="9"/>
                    <a:pt x="9" y="9"/>
                    <a:pt x="9" y="3"/>
                  </a:cubicBezTo>
                  <a:cubicBezTo>
                    <a:pt x="0" y="0"/>
                    <a:pt x="0" y="15"/>
                    <a:pt x="6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3" name="Freeform 331"/>
            <p:cNvSpPr>
              <a:spLocks noChangeArrowheads="1"/>
            </p:cNvSpPr>
            <p:nvPr/>
          </p:nvSpPr>
          <p:spPr bwMode="auto">
            <a:xfrm>
              <a:off x="4548188" y="2678113"/>
              <a:ext cx="3175" cy="4762"/>
            </a:xfrm>
            <a:custGeom>
              <a:avLst/>
              <a:gdLst>
                <a:gd name="T0" fmla="*/ 0 w 7"/>
                <a:gd name="T1" fmla="*/ 12 h 13"/>
                <a:gd name="T2" fmla="*/ 6 w 7"/>
                <a:gd name="T3" fmla="*/ 9 h 13"/>
                <a:gd name="T4" fmla="*/ 0 w 7"/>
                <a:gd name="T5" fmla="*/ 0 h 13"/>
                <a:gd name="T6" fmla="*/ 0 w 7"/>
                <a:gd name="T7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0" y="12"/>
                  </a:moveTo>
                  <a:cubicBezTo>
                    <a:pt x="3" y="12"/>
                    <a:pt x="6" y="12"/>
                    <a:pt x="6" y="9"/>
                  </a:cubicBezTo>
                  <a:cubicBezTo>
                    <a:pt x="6" y="6"/>
                    <a:pt x="3" y="3"/>
                    <a:pt x="0" y="0"/>
                  </a:cubicBezTo>
                  <a:cubicBezTo>
                    <a:pt x="0" y="3"/>
                    <a:pt x="0" y="9"/>
                    <a:pt x="0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4" name="Freeform 332"/>
            <p:cNvSpPr>
              <a:spLocks noChangeArrowheads="1"/>
            </p:cNvSpPr>
            <p:nvPr/>
          </p:nvSpPr>
          <p:spPr bwMode="auto">
            <a:xfrm>
              <a:off x="4545013" y="2757488"/>
              <a:ext cx="4762" cy="3175"/>
            </a:xfrm>
            <a:custGeom>
              <a:avLst/>
              <a:gdLst>
                <a:gd name="T0" fmla="*/ 6 w 12"/>
                <a:gd name="T1" fmla="*/ 0 h 10"/>
                <a:gd name="T2" fmla="*/ 11 w 12"/>
                <a:gd name="T3" fmla="*/ 9 h 10"/>
                <a:gd name="T4" fmla="*/ 6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6" y="0"/>
                  </a:moveTo>
                  <a:cubicBezTo>
                    <a:pt x="0" y="3"/>
                    <a:pt x="6" y="9"/>
                    <a:pt x="11" y="9"/>
                  </a:cubicBezTo>
                  <a:cubicBezTo>
                    <a:pt x="11" y="3"/>
                    <a:pt x="8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5" name="Freeform 333"/>
            <p:cNvSpPr>
              <a:spLocks noChangeArrowheads="1"/>
            </p:cNvSpPr>
            <p:nvPr/>
          </p:nvSpPr>
          <p:spPr bwMode="auto">
            <a:xfrm>
              <a:off x="4541838" y="2554288"/>
              <a:ext cx="4762" cy="6350"/>
            </a:xfrm>
            <a:custGeom>
              <a:avLst/>
              <a:gdLst>
                <a:gd name="T0" fmla="*/ 9 w 15"/>
                <a:gd name="T1" fmla="*/ 0 h 18"/>
                <a:gd name="T2" fmla="*/ 0 w 15"/>
                <a:gd name="T3" fmla="*/ 6 h 18"/>
                <a:gd name="T4" fmla="*/ 0 w 15"/>
                <a:gd name="T5" fmla="*/ 11 h 18"/>
                <a:gd name="T6" fmla="*/ 9 w 15"/>
                <a:gd name="T7" fmla="*/ 17 h 18"/>
                <a:gd name="T8" fmla="*/ 9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9" y="0"/>
                  </a:moveTo>
                  <a:cubicBezTo>
                    <a:pt x="6" y="0"/>
                    <a:pt x="3" y="3"/>
                    <a:pt x="0" y="6"/>
                  </a:cubicBezTo>
                  <a:cubicBezTo>
                    <a:pt x="0" y="9"/>
                    <a:pt x="0" y="9"/>
                    <a:pt x="0" y="11"/>
                  </a:cubicBezTo>
                  <a:cubicBezTo>
                    <a:pt x="3" y="14"/>
                    <a:pt x="6" y="17"/>
                    <a:pt x="9" y="17"/>
                  </a:cubicBezTo>
                  <a:cubicBezTo>
                    <a:pt x="14" y="11"/>
                    <a:pt x="12" y="6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6" name="Freeform 334"/>
            <p:cNvSpPr>
              <a:spLocks noChangeArrowheads="1"/>
            </p:cNvSpPr>
            <p:nvPr/>
          </p:nvSpPr>
          <p:spPr bwMode="auto">
            <a:xfrm>
              <a:off x="4543425" y="2563813"/>
              <a:ext cx="3175" cy="1587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3" y="0"/>
                    <a:pt x="0" y="0"/>
                  </a:cubicBezTo>
                  <a:cubicBezTo>
                    <a:pt x="3" y="3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7" name="Freeform 335"/>
            <p:cNvSpPr>
              <a:spLocks noChangeArrowheads="1"/>
            </p:cNvSpPr>
            <p:nvPr/>
          </p:nvSpPr>
          <p:spPr bwMode="auto">
            <a:xfrm>
              <a:off x="4537075" y="2681288"/>
              <a:ext cx="6350" cy="6350"/>
            </a:xfrm>
            <a:custGeom>
              <a:avLst/>
              <a:gdLst>
                <a:gd name="T0" fmla="*/ 9 w 18"/>
                <a:gd name="T1" fmla="*/ 5 h 17"/>
                <a:gd name="T2" fmla="*/ 0 w 18"/>
                <a:gd name="T3" fmla="*/ 0 h 17"/>
                <a:gd name="T4" fmla="*/ 6 w 18"/>
                <a:gd name="T5" fmla="*/ 16 h 17"/>
                <a:gd name="T6" fmla="*/ 9 w 18"/>
                <a:gd name="T7" fmla="*/ 16 h 17"/>
                <a:gd name="T8" fmla="*/ 17 w 18"/>
                <a:gd name="T9" fmla="*/ 14 h 17"/>
                <a:gd name="T10" fmla="*/ 9 w 18"/>
                <a:gd name="T11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7">
                  <a:moveTo>
                    <a:pt x="9" y="5"/>
                  </a:moveTo>
                  <a:cubicBezTo>
                    <a:pt x="9" y="0"/>
                    <a:pt x="6" y="0"/>
                    <a:pt x="0" y="0"/>
                  </a:cubicBezTo>
                  <a:cubicBezTo>
                    <a:pt x="0" y="8"/>
                    <a:pt x="3" y="11"/>
                    <a:pt x="6" y="16"/>
                  </a:cubicBezTo>
                  <a:lnTo>
                    <a:pt x="9" y="16"/>
                  </a:lnTo>
                  <a:cubicBezTo>
                    <a:pt x="12" y="16"/>
                    <a:pt x="12" y="14"/>
                    <a:pt x="17" y="14"/>
                  </a:cubicBezTo>
                  <a:cubicBezTo>
                    <a:pt x="17" y="2"/>
                    <a:pt x="12" y="11"/>
                    <a:pt x="9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8" name="Freeform 336"/>
            <p:cNvSpPr>
              <a:spLocks noChangeArrowheads="1"/>
            </p:cNvSpPr>
            <p:nvPr/>
          </p:nvSpPr>
          <p:spPr bwMode="auto">
            <a:xfrm>
              <a:off x="4521200" y="2855913"/>
              <a:ext cx="4763" cy="4762"/>
            </a:xfrm>
            <a:custGeom>
              <a:avLst/>
              <a:gdLst>
                <a:gd name="T0" fmla="*/ 0 w 12"/>
                <a:gd name="T1" fmla="*/ 3 h 15"/>
                <a:gd name="T2" fmla="*/ 6 w 12"/>
                <a:gd name="T3" fmla="*/ 14 h 15"/>
                <a:gd name="T4" fmla="*/ 11 w 12"/>
                <a:gd name="T5" fmla="*/ 0 h 15"/>
                <a:gd name="T6" fmla="*/ 0 w 12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0" y="3"/>
                  </a:moveTo>
                  <a:cubicBezTo>
                    <a:pt x="0" y="8"/>
                    <a:pt x="0" y="11"/>
                    <a:pt x="6" y="14"/>
                  </a:cubicBezTo>
                  <a:cubicBezTo>
                    <a:pt x="9" y="11"/>
                    <a:pt x="11" y="6"/>
                    <a:pt x="11" y="0"/>
                  </a:cubicBezTo>
                  <a:cubicBezTo>
                    <a:pt x="6" y="3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79" name="Freeform 337"/>
            <p:cNvSpPr>
              <a:spLocks noChangeArrowheads="1"/>
            </p:cNvSpPr>
            <p:nvPr/>
          </p:nvSpPr>
          <p:spPr bwMode="auto">
            <a:xfrm>
              <a:off x="4524375" y="2722563"/>
              <a:ext cx="3175" cy="6350"/>
            </a:xfrm>
            <a:custGeom>
              <a:avLst/>
              <a:gdLst>
                <a:gd name="T0" fmla="*/ 8 w 9"/>
                <a:gd name="T1" fmla="*/ 0 h 18"/>
                <a:gd name="T2" fmla="*/ 0 w 9"/>
                <a:gd name="T3" fmla="*/ 17 h 18"/>
                <a:gd name="T4" fmla="*/ 0 w 9"/>
                <a:gd name="T5" fmla="*/ 17 h 18"/>
                <a:gd name="T6" fmla="*/ 8 w 9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8">
                  <a:moveTo>
                    <a:pt x="8" y="0"/>
                  </a:moveTo>
                  <a:cubicBezTo>
                    <a:pt x="2" y="3"/>
                    <a:pt x="2" y="12"/>
                    <a:pt x="0" y="17"/>
                  </a:cubicBezTo>
                  <a:lnTo>
                    <a:pt x="0" y="17"/>
                  </a:lnTo>
                  <a:cubicBezTo>
                    <a:pt x="5" y="12"/>
                    <a:pt x="8" y="6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0" name="Freeform 338"/>
            <p:cNvSpPr>
              <a:spLocks noChangeArrowheads="1"/>
            </p:cNvSpPr>
            <p:nvPr/>
          </p:nvSpPr>
          <p:spPr bwMode="auto">
            <a:xfrm>
              <a:off x="4524375" y="2636838"/>
              <a:ext cx="4763" cy="6350"/>
            </a:xfrm>
            <a:custGeom>
              <a:avLst/>
              <a:gdLst>
                <a:gd name="T0" fmla="*/ 11 w 12"/>
                <a:gd name="T1" fmla="*/ 5 h 17"/>
                <a:gd name="T2" fmla="*/ 0 w 12"/>
                <a:gd name="T3" fmla="*/ 16 h 17"/>
                <a:gd name="T4" fmla="*/ 11 w 12"/>
                <a:gd name="T5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7">
                  <a:moveTo>
                    <a:pt x="11" y="5"/>
                  </a:moveTo>
                  <a:cubicBezTo>
                    <a:pt x="5" y="0"/>
                    <a:pt x="0" y="8"/>
                    <a:pt x="0" y="16"/>
                  </a:cubicBezTo>
                  <a:cubicBezTo>
                    <a:pt x="2" y="16"/>
                    <a:pt x="11" y="14"/>
                    <a:pt x="11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1" name="Freeform 339"/>
            <p:cNvSpPr>
              <a:spLocks noChangeArrowheads="1"/>
            </p:cNvSpPr>
            <p:nvPr/>
          </p:nvSpPr>
          <p:spPr bwMode="auto">
            <a:xfrm>
              <a:off x="4518025" y="2878138"/>
              <a:ext cx="6350" cy="7937"/>
            </a:xfrm>
            <a:custGeom>
              <a:avLst/>
              <a:gdLst>
                <a:gd name="T0" fmla="*/ 5 w 18"/>
                <a:gd name="T1" fmla="*/ 22 h 23"/>
                <a:gd name="T2" fmla="*/ 5 w 18"/>
                <a:gd name="T3" fmla="*/ 17 h 23"/>
                <a:gd name="T4" fmla="*/ 17 w 18"/>
                <a:gd name="T5" fmla="*/ 11 h 23"/>
                <a:gd name="T6" fmla="*/ 14 w 18"/>
                <a:gd name="T7" fmla="*/ 6 h 23"/>
                <a:gd name="T8" fmla="*/ 5 w 18"/>
                <a:gd name="T9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3">
                  <a:moveTo>
                    <a:pt x="5" y="22"/>
                  </a:moveTo>
                  <a:cubicBezTo>
                    <a:pt x="5" y="20"/>
                    <a:pt x="5" y="20"/>
                    <a:pt x="5" y="17"/>
                  </a:cubicBezTo>
                  <a:cubicBezTo>
                    <a:pt x="8" y="17"/>
                    <a:pt x="14" y="14"/>
                    <a:pt x="17" y="11"/>
                  </a:cubicBezTo>
                  <a:cubicBezTo>
                    <a:pt x="17" y="8"/>
                    <a:pt x="17" y="8"/>
                    <a:pt x="14" y="6"/>
                  </a:cubicBezTo>
                  <a:cubicBezTo>
                    <a:pt x="8" y="0"/>
                    <a:pt x="0" y="14"/>
                    <a:pt x="5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2" name="Freeform 340"/>
            <p:cNvSpPr>
              <a:spLocks noChangeArrowheads="1"/>
            </p:cNvSpPr>
            <p:nvPr/>
          </p:nvSpPr>
          <p:spPr bwMode="auto">
            <a:xfrm>
              <a:off x="4530725" y="2665413"/>
              <a:ext cx="3175" cy="1587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0 h 6"/>
                <a:gd name="T4" fmla="*/ 0 w 7"/>
                <a:gd name="T5" fmla="*/ 0 h 6"/>
                <a:gd name="T6" fmla="*/ 0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cubicBezTo>
                    <a:pt x="3" y="2"/>
                    <a:pt x="3" y="2"/>
                    <a:pt x="6" y="0"/>
                  </a:cubicBezTo>
                  <a:cubicBezTo>
                    <a:pt x="3" y="0"/>
                    <a:pt x="3" y="0"/>
                    <a:pt x="0" y="0"/>
                  </a:cubicBezTo>
                  <a:lnTo>
                    <a:pt x="0" y="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3" name="Freeform 341"/>
            <p:cNvSpPr>
              <a:spLocks noChangeArrowheads="1"/>
            </p:cNvSpPr>
            <p:nvPr/>
          </p:nvSpPr>
          <p:spPr bwMode="auto">
            <a:xfrm>
              <a:off x="4527550" y="2876550"/>
              <a:ext cx="6350" cy="6350"/>
            </a:xfrm>
            <a:custGeom>
              <a:avLst/>
              <a:gdLst>
                <a:gd name="T0" fmla="*/ 0 w 18"/>
                <a:gd name="T1" fmla="*/ 17 h 18"/>
                <a:gd name="T2" fmla="*/ 17 w 18"/>
                <a:gd name="T3" fmla="*/ 3 h 18"/>
                <a:gd name="T4" fmla="*/ 8 w 18"/>
                <a:gd name="T5" fmla="*/ 0 h 18"/>
                <a:gd name="T6" fmla="*/ 0 w 18"/>
                <a:gd name="T7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8">
                  <a:moveTo>
                    <a:pt x="0" y="17"/>
                  </a:moveTo>
                  <a:cubicBezTo>
                    <a:pt x="8" y="17"/>
                    <a:pt x="14" y="11"/>
                    <a:pt x="17" y="3"/>
                  </a:cubicBezTo>
                  <a:cubicBezTo>
                    <a:pt x="14" y="3"/>
                    <a:pt x="11" y="3"/>
                    <a:pt x="8" y="0"/>
                  </a:cubicBezTo>
                  <a:cubicBezTo>
                    <a:pt x="6" y="6"/>
                    <a:pt x="3" y="11"/>
                    <a:pt x="0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4" name="Freeform 342"/>
            <p:cNvSpPr>
              <a:spLocks noChangeArrowheads="1"/>
            </p:cNvSpPr>
            <p:nvPr/>
          </p:nvSpPr>
          <p:spPr bwMode="auto">
            <a:xfrm>
              <a:off x="4532313" y="2557463"/>
              <a:ext cx="3175" cy="4762"/>
            </a:xfrm>
            <a:custGeom>
              <a:avLst/>
              <a:gdLst>
                <a:gd name="T0" fmla="*/ 3 w 7"/>
                <a:gd name="T1" fmla="*/ 0 h 13"/>
                <a:gd name="T2" fmla="*/ 0 w 7"/>
                <a:gd name="T3" fmla="*/ 0 h 13"/>
                <a:gd name="T4" fmla="*/ 0 w 7"/>
                <a:gd name="T5" fmla="*/ 12 h 13"/>
                <a:gd name="T6" fmla="*/ 3 w 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3" y="0"/>
                  </a:moveTo>
                  <a:lnTo>
                    <a:pt x="0" y="0"/>
                  </a:lnTo>
                  <a:cubicBezTo>
                    <a:pt x="0" y="3"/>
                    <a:pt x="0" y="9"/>
                    <a:pt x="0" y="12"/>
                  </a:cubicBezTo>
                  <a:cubicBezTo>
                    <a:pt x="3" y="9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5" name="Freeform 343"/>
            <p:cNvSpPr>
              <a:spLocks noChangeArrowheads="1"/>
            </p:cNvSpPr>
            <p:nvPr/>
          </p:nvSpPr>
          <p:spPr bwMode="auto">
            <a:xfrm>
              <a:off x="4530725" y="2751138"/>
              <a:ext cx="6350" cy="4762"/>
            </a:xfrm>
            <a:custGeom>
              <a:avLst/>
              <a:gdLst>
                <a:gd name="T0" fmla="*/ 0 w 16"/>
                <a:gd name="T1" fmla="*/ 11 h 12"/>
                <a:gd name="T2" fmla="*/ 15 w 16"/>
                <a:gd name="T3" fmla="*/ 3 h 12"/>
                <a:gd name="T4" fmla="*/ 12 w 16"/>
                <a:gd name="T5" fmla="*/ 3 h 12"/>
                <a:gd name="T6" fmla="*/ 0 w 16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2">
                  <a:moveTo>
                    <a:pt x="0" y="11"/>
                  </a:moveTo>
                  <a:cubicBezTo>
                    <a:pt x="9" y="11"/>
                    <a:pt x="15" y="9"/>
                    <a:pt x="15" y="3"/>
                  </a:cubicBezTo>
                  <a:lnTo>
                    <a:pt x="12" y="3"/>
                  </a:lnTo>
                  <a:cubicBezTo>
                    <a:pt x="6" y="0"/>
                    <a:pt x="0" y="3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6" name="Freeform 344"/>
            <p:cNvSpPr>
              <a:spLocks noChangeArrowheads="1"/>
            </p:cNvSpPr>
            <p:nvPr/>
          </p:nvSpPr>
          <p:spPr bwMode="auto">
            <a:xfrm>
              <a:off x="4568825" y="2470150"/>
              <a:ext cx="3175" cy="4763"/>
            </a:xfrm>
            <a:custGeom>
              <a:avLst/>
              <a:gdLst>
                <a:gd name="T0" fmla="*/ 5 w 9"/>
                <a:gd name="T1" fmla="*/ 11 h 12"/>
                <a:gd name="T2" fmla="*/ 8 w 9"/>
                <a:gd name="T3" fmla="*/ 8 h 12"/>
                <a:gd name="T4" fmla="*/ 0 w 9"/>
                <a:gd name="T5" fmla="*/ 0 h 12"/>
                <a:gd name="T6" fmla="*/ 0 w 9"/>
                <a:gd name="T7" fmla="*/ 6 h 12"/>
                <a:gd name="T8" fmla="*/ 5 w 9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5" y="11"/>
                  </a:moveTo>
                  <a:lnTo>
                    <a:pt x="8" y="8"/>
                  </a:lnTo>
                  <a:cubicBezTo>
                    <a:pt x="5" y="6"/>
                    <a:pt x="3" y="3"/>
                    <a:pt x="0" y="0"/>
                  </a:cubicBezTo>
                  <a:cubicBezTo>
                    <a:pt x="0" y="3"/>
                    <a:pt x="0" y="3"/>
                    <a:pt x="0" y="6"/>
                  </a:cubicBezTo>
                  <a:cubicBezTo>
                    <a:pt x="0" y="11"/>
                    <a:pt x="3" y="11"/>
                    <a:pt x="5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7" name="Freeform 345"/>
            <p:cNvSpPr>
              <a:spLocks noChangeArrowheads="1"/>
            </p:cNvSpPr>
            <p:nvPr/>
          </p:nvSpPr>
          <p:spPr bwMode="auto">
            <a:xfrm>
              <a:off x="4568825" y="2420938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8 w 9"/>
                <a:gd name="T3" fmla="*/ 0 h 9"/>
                <a:gd name="T4" fmla="*/ 0 w 9"/>
                <a:gd name="T5" fmla="*/ 0 h 9"/>
                <a:gd name="T6" fmla="*/ 8 w 9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lnTo>
                    <a:pt x="8" y="0"/>
                  </a:lnTo>
                  <a:lnTo>
                    <a:pt x="0" y="0"/>
                  </a:lnTo>
                  <a:cubicBezTo>
                    <a:pt x="0" y="5"/>
                    <a:pt x="3" y="8"/>
                    <a:pt x="8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8" name="Freeform 346"/>
            <p:cNvSpPr>
              <a:spLocks noChangeArrowheads="1"/>
            </p:cNvSpPr>
            <p:nvPr/>
          </p:nvSpPr>
          <p:spPr bwMode="auto">
            <a:xfrm>
              <a:off x="4564063" y="2481263"/>
              <a:ext cx="4762" cy="4762"/>
            </a:xfrm>
            <a:custGeom>
              <a:avLst/>
              <a:gdLst>
                <a:gd name="T0" fmla="*/ 3 w 13"/>
                <a:gd name="T1" fmla="*/ 14 h 15"/>
                <a:gd name="T2" fmla="*/ 12 w 13"/>
                <a:gd name="T3" fmla="*/ 6 h 15"/>
                <a:gd name="T4" fmla="*/ 12 w 13"/>
                <a:gd name="T5" fmla="*/ 0 h 15"/>
                <a:gd name="T6" fmla="*/ 0 w 13"/>
                <a:gd name="T7" fmla="*/ 6 h 15"/>
                <a:gd name="T8" fmla="*/ 3 w 13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3" y="14"/>
                  </a:moveTo>
                  <a:cubicBezTo>
                    <a:pt x="9" y="11"/>
                    <a:pt x="12" y="8"/>
                    <a:pt x="12" y="6"/>
                  </a:cubicBezTo>
                  <a:cubicBezTo>
                    <a:pt x="12" y="3"/>
                    <a:pt x="12" y="3"/>
                    <a:pt x="12" y="0"/>
                  </a:cubicBezTo>
                  <a:cubicBezTo>
                    <a:pt x="9" y="3"/>
                    <a:pt x="9" y="8"/>
                    <a:pt x="0" y="6"/>
                  </a:cubicBezTo>
                  <a:cubicBezTo>
                    <a:pt x="0" y="6"/>
                    <a:pt x="0" y="8"/>
                    <a:pt x="3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89" name="Freeform 347"/>
            <p:cNvSpPr>
              <a:spLocks noChangeArrowheads="1"/>
            </p:cNvSpPr>
            <p:nvPr/>
          </p:nvSpPr>
          <p:spPr bwMode="auto">
            <a:xfrm>
              <a:off x="4548188" y="2579688"/>
              <a:ext cx="14287" cy="17462"/>
            </a:xfrm>
            <a:custGeom>
              <a:avLst/>
              <a:gdLst>
                <a:gd name="T0" fmla="*/ 3 w 38"/>
                <a:gd name="T1" fmla="*/ 15 h 47"/>
                <a:gd name="T2" fmla="*/ 12 w 38"/>
                <a:gd name="T3" fmla="*/ 15 h 47"/>
                <a:gd name="T4" fmla="*/ 9 w 38"/>
                <a:gd name="T5" fmla="*/ 20 h 47"/>
                <a:gd name="T6" fmla="*/ 15 w 38"/>
                <a:gd name="T7" fmla="*/ 31 h 47"/>
                <a:gd name="T8" fmla="*/ 17 w 38"/>
                <a:gd name="T9" fmla="*/ 46 h 47"/>
                <a:gd name="T10" fmla="*/ 31 w 38"/>
                <a:gd name="T11" fmla="*/ 40 h 47"/>
                <a:gd name="T12" fmla="*/ 34 w 38"/>
                <a:gd name="T13" fmla="*/ 37 h 47"/>
                <a:gd name="T14" fmla="*/ 26 w 38"/>
                <a:gd name="T15" fmla="*/ 23 h 47"/>
                <a:gd name="T16" fmla="*/ 23 w 38"/>
                <a:gd name="T17" fmla="*/ 0 h 47"/>
                <a:gd name="T18" fmla="*/ 0 w 38"/>
                <a:gd name="T19" fmla="*/ 6 h 47"/>
                <a:gd name="T20" fmla="*/ 3 w 38"/>
                <a:gd name="T21" fmla="*/ 1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47">
                  <a:moveTo>
                    <a:pt x="3" y="15"/>
                  </a:moveTo>
                  <a:cubicBezTo>
                    <a:pt x="6" y="15"/>
                    <a:pt x="9" y="15"/>
                    <a:pt x="12" y="15"/>
                  </a:cubicBezTo>
                  <a:cubicBezTo>
                    <a:pt x="12" y="17"/>
                    <a:pt x="12" y="20"/>
                    <a:pt x="9" y="20"/>
                  </a:cubicBezTo>
                  <a:cubicBezTo>
                    <a:pt x="12" y="23"/>
                    <a:pt x="15" y="29"/>
                    <a:pt x="15" y="31"/>
                  </a:cubicBezTo>
                  <a:cubicBezTo>
                    <a:pt x="9" y="34"/>
                    <a:pt x="15" y="46"/>
                    <a:pt x="17" y="46"/>
                  </a:cubicBezTo>
                  <a:cubicBezTo>
                    <a:pt x="20" y="40"/>
                    <a:pt x="26" y="43"/>
                    <a:pt x="31" y="40"/>
                  </a:cubicBezTo>
                  <a:cubicBezTo>
                    <a:pt x="31" y="40"/>
                    <a:pt x="31" y="40"/>
                    <a:pt x="34" y="37"/>
                  </a:cubicBezTo>
                  <a:cubicBezTo>
                    <a:pt x="37" y="29"/>
                    <a:pt x="26" y="31"/>
                    <a:pt x="26" y="23"/>
                  </a:cubicBezTo>
                  <a:cubicBezTo>
                    <a:pt x="26" y="15"/>
                    <a:pt x="26" y="9"/>
                    <a:pt x="23" y="0"/>
                  </a:cubicBezTo>
                  <a:cubicBezTo>
                    <a:pt x="15" y="0"/>
                    <a:pt x="6" y="0"/>
                    <a:pt x="0" y="6"/>
                  </a:cubicBezTo>
                  <a:cubicBezTo>
                    <a:pt x="0" y="12"/>
                    <a:pt x="0" y="12"/>
                    <a:pt x="3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0" name="Freeform 348"/>
            <p:cNvSpPr>
              <a:spLocks noChangeArrowheads="1"/>
            </p:cNvSpPr>
            <p:nvPr/>
          </p:nvSpPr>
          <p:spPr bwMode="auto">
            <a:xfrm>
              <a:off x="4557713" y="2525713"/>
              <a:ext cx="1587" cy="3175"/>
            </a:xfrm>
            <a:custGeom>
              <a:avLst/>
              <a:gdLst>
                <a:gd name="T0" fmla="*/ 2 w 6"/>
                <a:gd name="T1" fmla="*/ 6 h 7"/>
                <a:gd name="T2" fmla="*/ 2 w 6"/>
                <a:gd name="T3" fmla="*/ 0 h 7"/>
                <a:gd name="T4" fmla="*/ 0 w 6"/>
                <a:gd name="T5" fmla="*/ 0 h 7"/>
                <a:gd name="T6" fmla="*/ 2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2" y="6"/>
                  </a:moveTo>
                  <a:cubicBezTo>
                    <a:pt x="5" y="6"/>
                    <a:pt x="5" y="3"/>
                    <a:pt x="2" y="0"/>
                  </a:cubicBezTo>
                  <a:lnTo>
                    <a:pt x="0" y="0"/>
                  </a:lnTo>
                  <a:cubicBezTo>
                    <a:pt x="0" y="3"/>
                    <a:pt x="0" y="6"/>
                    <a:pt x="2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1" name="Freeform 349"/>
            <p:cNvSpPr>
              <a:spLocks noChangeArrowheads="1"/>
            </p:cNvSpPr>
            <p:nvPr/>
          </p:nvSpPr>
          <p:spPr bwMode="auto">
            <a:xfrm>
              <a:off x="4559300" y="2652713"/>
              <a:ext cx="3175" cy="4762"/>
            </a:xfrm>
            <a:custGeom>
              <a:avLst/>
              <a:gdLst>
                <a:gd name="T0" fmla="*/ 9 w 10"/>
                <a:gd name="T1" fmla="*/ 8 h 12"/>
                <a:gd name="T2" fmla="*/ 6 w 10"/>
                <a:gd name="T3" fmla="*/ 0 h 12"/>
                <a:gd name="T4" fmla="*/ 0 w 10"/>
                <a:gd name="T5" fmla="*/ 8 h 12"/>
                <a:gd name="T6" fmla="*/ 6 w 10"/>
                <a:gd name="T7" fmla="*/ 11 h 12"/>
                <a:gd name="T8" fmla="*/ 9 w 10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9" y="8"/>
                  </a:moveTo>
                  <a:cubicBezTo>
                    <a:pt x="9" y="5"/>
                    <a:pt x="9" y="3"/>
                    <a:pt x="6" y="0"/>
                  </a:cubicBezTo>
                  <a:cubicBezTo>
                    <a:pt x="3" y="3"/>
                    <a:pt x="3" y="5"/>
                    <a:pt x="0" y="8"/>
                  </a:cubicBezTo>
                  <a:cubicBezTo>
                    <a:pt x="3" y="8"/>
                    <a:pt x="3" y="11"/>
                    <a:pt x="6" y="11"/>
                  </a:cubicBezTo>
                  <a:cubicBezTo>
                    <a:pt x="6" y="8"/>
                    <a:pt x="9" y="8"/>
                    <a:pt x="9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2" name="Freeform 350"/>
            <p:cNvSpPr>
              <a:spLocks noChangeArrowheads="1"/>
            </p:cNvSpPr>
            <p:nvPr/>
          </p:nvSpPr>
          <p:spPr bwMode="auto">
            <a:xfrm>
              <a:off x="4552950" y="2327275"/>
              <a:ext cx="12700" cy="11113"/>
            </a:xfrm>
            <a:custGeom>
              <a:avLst/>
              <a:gdLst>
                <a:gd name="T0" fmla="*/ 6 w 35"/>
                <a:gd name="T1" fmla="*/ 14 h 29"/>
                <a:gd name="T2" fmla="*/ 12 w 35"/>
                <a:gd name="T3" fmla="*/ 20 h 29"/>
                <a:gd name="T4" fmla="*/ 23 w 35"/>
                <a:gd name="T5" fmla="*/ 28 h 29"/>
                <a:gd name="T6" fmla="*/ 23 w 35"/>
                <a:gd name="T7" fmla="*/ 28 h 29"/>
                <a:gd name="T8" fmla="*/ 34 w 35"/>
                <a:gd name="T9" fmla="*/ 20 h 29"/>
                <a:gd name="T10" fmla="*/ 17 w 35"/>
                <a:gd name="T11" fmla="*/ 11 h 29"/>
                <a:gd name="T12" fmla="*/ 0 w 35"/>
                <a:gd name="T13" fmla="*/ 6 h 29"/>
                <a:gd name="T14" fmla="*/ 6 w 35"/>
                <a:gd name="T15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9">
                  <a:moveTo>
                    <a:pt x="6" y="14"/>
                  </a:moveTo>
                  <a:cubicBezTo>
                    <a:pt x="9" y="17"/>
                    <a:pt x="9" y="17"/>
                    <a:pt x="12" y="20"/>
                  </a:cubicBezTo>
                  <a:cubicBezTo>
                    <a:pt x="14" y="23"/>
                    <a:pt x="17" y="25"/>
                    <a:pt x="23" y="28"/>
                  </a:cubicBezTo>
                  <a:lnTo>
                    <a:pt x="23" y="28"/>
                  </a:lnTo>
                  <a:cubicBezTo>
                    <a:pt x="29" y="28"/>
                    <a:pt x="34" y="25"/>
                    <a:pt x="34" y="20"/>
                  </a:cubicBezTo>
                  <a:cubicBezTo>
                    <a:pt x="34" y="11"/>
                    <a:pt x="23" y="14"/>
                    <a:pt x="17" y="11"/>
                  </a:cubicBezTo>
                  <a:cubicBezTo>
                    <a:pt x="9" y="11"/>
                    <a:pt x="9" y="0"/>
                    <a:pt x="0" y="6"/>
                  </a:cubicBezTo>
                  <a:cubicBezTo>
                    <a:pt x="0" y="9"/>
                    <a:pt x="3" y="14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3" name="Freeform 351"/>
            <p:cNvSpPr>
              <a:spLocks noChangeArrowheads="1"/>
            </p:cNvSpPr>
            <p:nvPr/>
          </p:nvSpPr>
          <p:spPr bwMode="auto">
            <a:xfrm>
              <a:off x="4562475" y="2738438"/>
              <a:ext cx="1588" cy="1587"/>
            </a:xfrm>
            <a:custGeom>
              <a:avLst/>
              <a:gdLst>
                <a:gd name="T0" fmla="*/ 3 w 4"/>
                <a:gd name="T1" fmla="*/ 0 h 6"/>
                <a:gd name="T2" fmla="*/ 3 w 4"/>
                <a:gd name="T3" fmla="*/ 0 h 6"/>
                <a:gd name="T4" fmla="*/ 0 w 4"/>
                <a:gd name="T5" fmla="*/ 5 h 6"/>
                <a:gd name="T6" fmla="*/ 0 w 4"/>
                <a:gd name="T7" fmla="*/ 5 h 6"/>
                <a:gd name="T8" fmla="*/ 3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3" y="0"/>
                  </a:moveTo>
                  <a:lnTo>
                    <a:pt x="3" y="0"/>
                  </a:lnTo>
                  <a:cubicBezTo>
                    <a:pt x="0" y="0"/>
                    <a:pt x="0" y="2"/>
                    <a:pt x="0" y="5"/>
                  </a:cubicBezTo>
                  <a:lnTo>
                    <a:pt x="0" y="5"/>
                  </a:lnTo>
                  <a:cubicBezTo>
                    <a:pt x="3" y="5"/>
                    <a:pt x="3" y="2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4" name="Freeform 352"/>
            <p:cNvSpPr>
              <a:spLocks noChangeArrowheads="1"/>
            </p:cNvSpPr>
            <p:nvPr/>
          </p:nvSpPr>
          <p:spPr bwMode="auto">
            <a:xfrm>
              <a:off x="4564063" y="2527300"/>
              <a:ext cx="1587" cy="4763"/>
            </a:xfrm>
            <a:custGeom>
              <a:avLst/>
              <a:gdLst>
                <a:gd name="T0" fmla="*/ 3 w 4"/>
                <a:gd name="T1" fmla="*/ 11 h 12"/>
                <a:gd name="T2" fmla="*/ 3 w 4"/>
                <a:gd name="T3" fmla="*/ 0 h 12"/>
                <a:gd name="T4" fmla="*/ 3 w 4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3" y="11"/>
                  </a:moveTo>
                  <a:cubicBezTo>
                    <a:pt x="3" y="8"/>
                    <a:pt x="3" y="3"/>
                    <a:pt x="3" y="0"/>
                  </a:cubicBezTo>
                  <a:cubicBezTo>
                    <a:pt x="0" y="3"/>
                    <a:pt x="0" y="6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5" name="Freeform 353"/>
            <p:cNvSpPr>
              <a:spLocks noChangeArrowheads="1"/>
            </p:cNvSpPr>
            <p:nvPr/>
          </p:nvSpPr>
          <p:spPr bwMode="auto">
            <a:xfrm>
              <a:off x="4562475" y="2816225"/>
              <a:ext cx="4763" cy="7938"/>
            </a:xfrm>
            <a:custGeom>
              <a:avLst/>
              <a:gdLst>
                <a:gd name="T0" fmla="*/ 11 w 12"/>
                <a:gd name="T1" fmla="*/ 0 h 21"/>
                <a:gd name="T2" fmla="*/ 3 w 12"/>
                <a:gd name="T3" fmla="*/ 14 h 21"/>
                <a:gd name="T4" fmla="*/ 3 w 12"/>
                <a:gd name="T5" fmla="*/ 14 h 21"/>
                <a:gd name="T6" fmla="*/ 0 w 12"/>
                <a:gd name="T7" fmla="*/ 20 h 21"/>
                <a:gd name="T8" fmla="*/ 11 w 12"/>
                <a:gd name="T9" fmla="*/ 17 h 21"/>
                <a:gd name="T10" fmla="*/ 11 w 12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1">
                  <a:moveTo>
                    <a:pt x="11" y="0"/>
                  </a:moveTo>
                  <a:cubicBezTo>
                    <a:pt x="6" y="3"/>
                    <a:pt x="3" y="8"/>
                    <a:pt x="3" y="14"/>
                  </a:cubicBezTo>
                  <a:lnTo>
                    <a:pt x="3" y="14"/>
                  </a:lnTo>
                  <a:cubicBezTo>
                    <a:pt x="0" y="17"/>
                    <a:pt x="0" y="17"/>
                    <a:pt x="0" y="20"/>
                  </a:cubicBezTo>
                  <a:cubicBezTo>
                    <a:pt x="6" y="20"/>
                    <a:pt x="6" y="20"/>
                    <a:pt x="11" y="17"/>
                  </a:cubicBezTo>
                  <a:cubicBezTo>
                    <a:pt x="8" y="11"/>
                    <a:pt x="8" y="5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6" name="Freeform 354"/>
            <p:cNvSpPr>
              <a:spLocks noChangeArrowheads="1"/>
            </p:cNvSpPr>
            <p:nvPr/>
          </p:nvSpPr>
          <p:spPr bwMode="auto">
            <a:xfrm>
              <a:off x="4572000" y="2387600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3 w 7"/>
                <a:gd name="T3" fmla="*/ 0 h 7"/>
                <a:gd name="T4" fmla="*/ 0 w 7"/>
                <a:gd name="T5" fmla="*/ 3 h 7"/>
                <a:gd name="T6" fmla="*/ 0 w 7"/>
                <a:gd name="T7" fmla="*/ 3 h 7"/>
                <a:gd name="T8" fmla="*/ 0 w 7"/>
                <a:gd name="T9" fmla="*/ 3 h 7"/>
                <a:gd name="T10" fmla="*/ 6 w 7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cubicBezTo>
                    <a:pt x="6" y="3"/>
                    <a:pt x="6" y="3"/>
                    <a:pt x="3" y="0"/>
                  </a:cubicBezTo>
                  <a:cubicBezTo>
                    <a:pt x="3" y="0"/>
                    <a:pt x="3" y="0"/>
                    <a:pt x="0" y="3"/>
                  </a:cubicBezTo>
                  <a:lnTo>
                    <a:pt x="0" y="3"/>
                  </a:lnTo>
                  <a:lnTo>
                    <a:pt x="0" y="3"/>
                  </a:lnTo>
                  <a:cubicBezTo>
                    <a:pt x="3" y="3"/>
                    <a:pt x="6" y="3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7" name="Freeform 355"/>
            <p:cNvSpPr>
              <a:spLocks noChangeArrowheads="1"/>
            </p:cNvSpPr>
            <p:nvPr/>
          </p:nvSpPr>
          <p:spPr bwMode="auto">
            <a:xfrm>
              <a:off x="4568825" y="2568575"/>
              <a:ext cx="3175" cy="3175"/>
            </a:xfrm>
            <a:custGeom>
              <a:avLst/>
              <a:gdLst>
                <a:gd name="T0" fmla="*/ 0 w 9"/>
                <a:gd name="T1" fmla="*/ 6 h 10"/>
                <a:gd name="T2" fmla="*/ 8 w 9"/>
                <a:gd name="T3" fmla="*/ 3 h 10"/>
                <a:gd name="T4" fmla="*/ 3 w 9"/>
                <a:gd name="T5" fmla="*/ 0 h 10"/>
                <a:gd name="T6" fmla="*/ 0 w 9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6"/>
                  </a:moveTo>
                  <a:cubicBezTo>
                    <a:pt x="3" y="9"/>
                    <a:pt x="8" y="6"/>
                    <a:pt x="8" y="3"/>
                  </a:cubicBezTo>
                  <a:cubicBezTo>
                    <a:pt x="5" y="3"/>
                    <a:pt x="5" y="3"/>
                    <a:pt x="3" y="0"/>
                  </a:cubicBezTo>
                  <a:cubicBezTo>
                    <a:pt x="3" y="3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8" name="Freeform 356"/>
            <p:cNvSpPr>
              <a:spLocks noChangeArrowheads="1"/>
            </p:cNvSpPr>
            <p:nvPr/>
          </p:nvSpPr>
          <p:spPr bwMode="auto">
            <a:xfrm>
              <a:off x="3633788" y="2700338"/>
              <a:ext cx="3175" cy="3175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6 h 7"/>
                <a:gd name="T4" fmla="*/ 6 w 9"/>
                <a:gd name="T5" fmla="*/ 6 h 7"/>
                <a:gd name="T6" fmla="*/ 8 w 9"/>
                <a:gd name="T7" fmla="*/ 3 h 7"/>
                <a:gd name="T8" fmla="*/ 3 w 9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cubicBezTo>
                    <a:pt x="3" y="3"/>
                    <a:pt x="0" y="3"/>
                    <a:pt x="0" y="6"/>
                  </a:cubicBezTo>
                  <a:cubicBezTo>
                    <a:pt x="3" y="6"/>
                    <a:pt x="3" y="6"/>
                    <a:pt x="6" y="6"/>
                  </a:cubicBezTo>
                  <a:lnTo>
                    <a:pt x="8" y="3"/>
                  </a:lnTo>
                  <a:cubicBezTo>
                    <a:pt x="6" y="3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99" name="Freeform 357"/>
            <p:cNvSpPr>
              <a:spLocks noChangeArrowheads="1"/>
            </p:cNvSpPr>
            <p:nvPr/>
          </p:nvSpPr>
          <p:spPr bwMode="auto">
            <a:xfrm>
              <a:off x="3632200" y="2605088"/>
              <a:ext cx="3175" cy="3175"/>
            </a:xfrm>
            <a:custGeom>
              <a:avLst/>
              <a:gdLst>
                <a:gd name="T0" fmla="*/ 0 w 7"/>
                <a:gd name="T1" fmla="*/ 0 h 9"/>
                <a:gd name="T2" fmla="*/ 0 w 7"/>
                <a:gd name="T3" fmla="*/ 6 h 9"/>
                <a:gd name="T4" fmla="*/ 3 w 7"/>
                <a:gd name="T5" fmla="*/ 8 h 9"/>
                <a:gd name="T6" fmla="*/ 6 w 7"/>
                <a:gd name="T7" fmla="*/ 6 h 9"/>
                <a:gd name="T8" fmla="*/ 0 w 7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0" y="0"/>
                  </a:moveTo>
                  <a:lnTo>
                    <a:pt x="0" y="6"/>
                  </a:lnTo>
                  <a:lnTo>
                    <a:pt x="3" y="8"/>
                  </a:lnTo>
                  <a:cubicBezTo>
                    <a:pt x="6" y="8"/>
                    <a:pt x="6" y="8"/>
                    <a:pt x="6" y="6"/>
                  </a:cubicBezTo>
                  <a:cubicBezTo>
                    <a:pt x="3" y="6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0" name="Freeform 358"/>
            <p:cNvSpPr>
              <a:spLocks noChangeArrowheads="1"/>
            </p:cNvSpPr>
            <p:nvPr/>
          </p:nvSpPr>
          <p:spPr bwMode="auto">
            <a:xfrm>
              <a:off x="3632200" y="2470150"/>
              <a:ext cx="4763" cy="3175"/>
            </a:xfrm>
            <a:custGeom>
              <a:avLst/>
              <a:gdLst>
                <a:gd name="T0" fmla="*/ 9 w 15"/>
                <a:gd name="T1" fmla="*/ 8 h 9"/>
                <a:gd name="T2" fmla="*/ 12 w 15"/>
                <a:gd name="T3" fmla="*/ 0 h 9"/>
                <a:gd name="T4" fmla="*/ 0 w 15"/>
                <a:gd name="T5" fmla="*/ 8 h 9"/>
                <a:gd name="T6" fmla="*/ 9 w 15"/>
                <a:gd name="T7" fmla="*/ 8 h 9"/>
                <a:gd name="T8" fmla="*/ 12 w 15"/>
                <a:gd name="T9" fmla="*/ 0 h 9"/>
                <a:gd name="T10" fmla="*/ 14 w 15"/>
                <a:gd name="T11" fmla="*/ 0 h 9"/>
                <a:gd name="T12" fmla="*/ 12 w 15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9">
                  <a:moveTo>
                    <a:pt x="9" y="8"/>
                  </a:moveTo>
                  <a:cubicBezTo>
                    <a:pt x="9" y="6"/>
                    <a:pt x="12" y="3"/>
                    <a:pt x="12" y="0"/>
                  </a:cubicBezTo>
                  <a:cubicBezTo>
                    <a:pt x="6" y="0"/>
                    <a:pt x="0" y="1"/>
                    <a:pt x="0" y="8"/>
                  </a:cubicBezTo>
                  <a:lnTo>
                    <a:pt x="9" y="8"/>
                  </a:lnTo>
                  <a:close/>
                  <a:moveTo>
                    <a:pt x="12" y="0"/>
                  </a:moveTo>
                  <a:lnTo>
                    <a:pt x="14" y="0"/>
                  </a:lnTo>
                  <a:cubicBezTo>
                    <a:pt x="13" y="0"/>
                    <a:pt x="13" y="0"/>
                    <a:pt x="12" y="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1" name="Freeform 359"/>
            <p:cNvSpPr>
              <a:spLocks noChangeArrowheads="1"/>
            </p:cNvSpPr>
            <p:nvPr/>
          </p:nvSpPr>
          <p:spPr bwMode="auto">
            <a:xfrm>
              <a:off x="3629025" y="2652713"/>
              <a:ext cx="4763" cy="3175"/>
            </a:xfrm>
            <a:custGeom>
              <a:avLst/>
              <a:gdLst>
                <a:gd name="T0" fmla="*/ 0 w 12"/>
                <a:gd name="T1" fmla="*/ 3 h 9"/>
                <a:gd name="T2" fmla="*/ 0 w 12"/>
                <a:gd name="T3" fmla="*/ 3 h 9"/>
                <a:gd name="T4" fmla="*/ 11 w 12"/>
                <a:gd name="T5" fmla="*/ 5 h 9"/>
                <a:gd name="T6" fmla="*/ 11 w 12"/>
                <a:gd name="T7" fmla="*/ 5 h 9"/>
                <a:gd name="T8" fmla="*/ 11 w 12"/>
                <a:gd name="T9" fmla="*/ 5 h 9"/>
                <a:gd name="T10" fmla="*/ 0 w 12"/>
                <a:gd name="T11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9">
                  <a:moveTo>
                    <a:pt x="0" y="3"/>
                  </a:moveTo>
                  <a:lnTo>
                    <a:pt x="0" y="3"/>
                  </a:lnTo>
                  <a:cubicBezTo>
                    <a:pt x="3" y="8"/>
                    <a:pt x="5" y="8"/>
                    <a:pt x="11" y="5"/>
                  </a:cubicBezTo>
                  <a:lnTo>
                    <a:pt x="11" y="5"/>
                  </a:lnTo>
                  <a:lnTo>
                    <a:pt x="11" y="5"/>
                  </a:lnTo>
                  <a:cubicBezTo>
                    <a:pt x="5" y="3"/>
                    <a:pt x="5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2" name="Freeform 360"/>
            <p:cNvSpPr>
              <a:spLocks noChangeArrowheads="1"/>
            </p:cNvSpPr>
            <p:nvPr/>
          </p:nvSpPr>
          <p:spPr bwMode="auto">
            <a:xfrm>
              <a:off x="3700463" y="2297113"/>
              <a:ext cx="4762" cy="4762"/>
            </a:xfrm>
            <a:custGeom>
              <a:avLst/>
              <a:gdLst>
                <a:gd name="T0" fmla="*/ 6 w 12"/>
                <a:gd name="T1" fmla="*/ 8 h 12"/>
                <a:gd name="T2" fmla="*/ 11 w 12"/>
                <a:gd name="T3" fmla="*/ 8 h 12"/>
                <a:gd name="T4" fmla="*/ 9 w 12"/>
                <a:gd name="T5" fmla="*/ 0 h 12"/>
                <a:gd name="T6" fmla="*/ 2 w 12"/>
                <a:gd name="T7" fmla="*/ 8 h 12"/>
                <a:gd name="T8" fmla="*/ 6 w 12"/>
                <a:gd name="T9" fmla="*/ 8 h 12"/>
                <a:gd name="T10" fmla="*/ 0 w 12"/>
                <a:gd name="T11" fmla="*/ 11 h 12"/>
                <a:gd name="T12" fmla="*/ 2 w 12"/>
                <a:gd name="T13" fmla="*/ 8 h 12"/>
                <a:gd name="T14" fmla="*/ 0 w 12"/>
                <a:gd name="T1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6" y="8"/>
                  </a:moveTo>
                  <a:lnTo>
                    <a:pt x="11" y="8"/>
                  </a:lnTo>
                  <a:cubicBezTo>
                    <a:pt x="11" y="5"/>
                    <a:pt x="9" y="2"/>
                    <a:pt x="9" y="0"/>
                  </a:cubicBezTo>
                  <a:cubicBezTo>
                    <a:pt x="6" y="2"/>
                    <a:pt x="4" y="5"/>
                    <a:pt x="2" y="8"/>
                  </a:cubicBezTo>
                  <a:cubicBezTo>
                    <a:pt x="3" y="8"/>
                    <a:pt x="5" y="8"/>
                    <a:pt x="6" y="8"/>
                  </a:cubicBezTo>
                  <a:close/>
                  <a:moveTo>
                    <a:pt x="0" y="11"/>
                  </a:moveTo>
                  <a:cubicBezTo>
                    <a:pt x="0" y="9"/>
                    <a:pt x="1" y="9"/>
                    <a:pt x="2" y="8"/>
                  </a:cubicBezTo>
                  <a:cubicBezTo>
                    <a:pt x="2" y="9"/>
                    <a:pt x="1" y="10"/>
                    <a:pt x="0" y="1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3" name="Freeform 361"/>
            <p:cNvSpPr>
              <a:spLocks noChangeArrowheads="1"/>
            </p:cNvSpPr>
            <p:nvPr/>
          </p:nvSpPr>
          <p:spPr bwMode="auto">
            <a:xfrm>
              <a:off x="3621088" y="2584450"/>
              <a:ext cx="4762" cy="7938"/>
            </a:xfrm>
            <a:custGeom>
              <a:avLst/>
              <a:gdLst>
                <a:gd name="T0" fmla="*/ 3 w 15"/>
                <a:gd name="T1" fmla="*/ 0 h 23"/>
                <a:gd name="T2" fmla="*/ 3 w 15"/>
                <a:gd name="T3" fmla="*/ 3 h 23"/>
                <a:gd name="T4" fmla="*/ 3 w 15"/>
                <a:gd name="T5" fmla="*/ 3 h 23"/>
                <a:gd name="T6" fmla="*/ 0 w 15"/>
                <a:gd name="T7" fmla="*/ 5 h 23"/>
                <a:gd name="T8" fmla="*/ 0 w 15"/>
                <a:gd name="T9" fmla="*/ 11 h 23"/>
                <a:gd name="T10" fmla="*/ 9 w 15"/>
                <a:gd name="T11" fmla="*/ 0 h 23"/>
                <a:gd name="T12" fmla="*/ 3 w 15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3">
                  <a:moveTo>
                    <a:pt x="3" y="0"/>
                  </a:moveTo>
                  <a:lnTo>
                    <a:pt x="3" y="3"/>
                  </a:lnTo>
                  <a:lnTo>
                    <a:pt x="3" y="3"/>
                  </a:lnTo>
                  <a:cubicBezTo>
                    <a:pt x="3" y="3"/>
                    <a:pt x="3" y="5"/>
                    <a:pt x="0" y="5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6" y="22"/>
                    <a:pt x="14" y="11"/>
                    <a:pt x="9" y="0"/>
                  </a:cubicBezTo>
                  <a:cubicBezTo>
                    <a:pt x="6" y="0"/>
                    <a:pt x="3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4" name="Freeform 362"/>
            <p:cNvSpPr>
              <a:spLocks noChangeArrowheads="1"/>
            </p:cNvSpPr>
            <p:nvPr/>
          </p:nvSpPr>
          <p:spPr bwMode="auto">
            <a:xfrm>
              <a:off x="3652838" y="2389188"/>
              <a:ext cx="1587" cy="3175"/>
            </a:xfrm>
            <a:custGeom>
              <a:avLst/>
              <a:gdLst>
                <a:gd name="T0" fmla="*/ 5 w 6"/>
                <a:gd name="T1" fmla="*/ 3 h 7"/>
                <a:gd name="T2" fmla="*/ 3 w 6"/>
                <a:gd name="T3" fmla="*/ 0 h 7"/>
                <a:gd name="T4" fmla="*/ 0 w 6"/>
                <a:gd name="T5" fmla="*/ 6 h 7"/>
                <a:gd name="T6" fmla="*/ 0 w 6"/>
                <a:gd name="T7" fmla="*/ 6 h 7"/>
                <a:gd name="T8" fmla="*/ 5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3"/>
                  </a:moveTo>
                  <a:lnTo>
                    <a:pt x="3" y="0"/>
                  </a:lnTo>
                  <a:cubicBezTo>
                    <a:pt x="3" y="3"/>
                    <a:pt x="0" y="3"/>
                    <a:pt x="0" y="6"/>
                  </a:cubicBezTo>
                  <a:lnTo>
                    <a:pt x="0" y="6"/>
                  </a:lnTo>
                  <a:cubicBezTo>
                    <a:pt x="3" y="3"/>
                    <a:pt x="5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5" name="Freeform 363"/>
            <p:cNvSpPr>
              <a:spLocks noChangeArrowheads="1"/>
            </p:cNvSpPr>
            <p:nvPr/>
          </p:nvSpPr>
          <p:spPr bwMode="auto">
            <a:xfrm>
              <a:off x="3619500" y="2597150"/>
              <a:ext cx="3175" cy="1588"/>
            </a:xfrm>
            <a:custGeom>
              <a:avLst/>
              <a:gdLst>
                <a:gd name="T0" fmla="*/ 8 w 9"/>
                <a:gd name="T1" fmla="*/ 2 h 6"/>
                <a:gd name="T2" fmla="*/ 2 w 9"/>
                <a:gd name="T3" fmla="*/ 0 h 6"/>
                <a:gd name="T4" fmla="*/ 2 w 9"/>
                <a:gd name="T5" fmla="*/ 0 h 6"/>
                <a:gd name="T6" fmla="*/ 2 w 9"/>
                <a:gd name="T7" fmla="*/ 0 h 6"/>
                <a:gd name="T8" fmla="*/ 0 w 9"/>
                <a:gd name="T9" fmla="*/ 2 h 6"/>
                <a:gd name="T10" fmla="*/ 5 w 9"/>
                <a:gd name="T11" fmla="*/ 5 h 6"/>
                <a:gd name="T12" fmla="*/ 8 w 9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8" y="2"/>
                  </a:moveTo>
                  <a:cubicBezTo>
                    <a:pt x="5" y="2"/>
                    <a:pt x="5" y="0"/>
                    <a:pt x="2" y="0"/>
                  </a:cubicBez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ubicBezTo>
                    <a:pt x="2" y="2"/>
                    <a:pt x="2" y="5"/>
                    <a:pt x="5" y="5"/>
                  </a:cubicBezTo>
                  <a:cubicBezTo>
                    <a:pt x="5" y="5"/>
                    <a:pt x="5" y="5"/>
                    <a:pt x="8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6" name="Freeform 364"/>
            <p:cNvSpPr>
              <a:spLocks noChangeArrowheads="1"/>
            </p:cNvSpPr>
            <p:nvPr/>
          </p:nvSpPr>
          <p:spPr bwMode="auto">
            <a:xfrm>
              <a:off x="3619500" y="2605088"/>
              <a:ext cx="3175" cy="3175"/>
            </a:xfrm>
            <a:custGeom>
              <a:avLst/>
              <a:gdLst>
                <a:gd name="T0" fmla="*/ 0 w 9"/>
                <a:gd name="T1" fmla="*/ 3 h 9"/>
                <a:gd name="T2" fmla="*/ 2 w 9"/>
                <a:gd name="T3" fmla="*/ 6 h 9"/>
                <a:gd name="T4" fmla="*/ 2 w 9"/>
                <a:gd name="T5" fmla="*/ 6 h 9"/>
                <a:gd name="T6" fmla="*/ 8 w 9"/>
                <a:gd name="T7" fmla="*/ 8 h 9"/>
                <a:gd name="T8" fmla="*/ 8 w 9"/>
                <a:gd name="T9" fmla="*/ 3 h 9"/>
                <a:gd name="T10" fmla="*/ 5 w 9"/>
                <a:gd name="T11" fmla="*/ 0 h 9"/>
                <a:gd name="T12" fmla="*/ 0 w 9"/>
                <a:gd name="T1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9">
                  <a:moveTo>
                    <a:pt x="0" y="3"/>
                  </a:moveTo>
                  <a:cubicBezTo>
                    <a:pt x="2" y="3"/>
                    <a:pt x="2" y="3"/>
                    <a:pt x="2" y="6"/>
                  </a:cubicBezTo>
                  <a:lnTo>
                    <a:pt x="2" y="6"/>
                  </a:lnTo>
                  <a:cubicBezTo>
                    <a:pt x="5" y="6"/>
                    <a:pt x="5" y="8"/>
                    <a:pt x="8" y="8"/>
                  </a:cubicBezTo>
                  <a:lnTo>
                    <a:pt x="8" y="3"/>
                  </a:lnTo>
                  <a:lnTo>
                    <a:pt x="5" y="0"/>
                  </a:lnTo>
                  <a:cubicBezTo>
                    <a:pt x="2" y="0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7" name="Freeform 365"/>
            <p:cNvSpPr>
              <a:spLocks noChangeArrowheads="1"/>
            </p:cNvSpPr>
            <p:nvPr/>
          </p:nvSpPr>
          <p:spPr bwMode="auto">
            <a:xfrm>
              <a:off x="4592638" y="2411413"/>
              <a:ext cx="4762" cy="3175"/>
            </a:xfrm>
            <a:custGeom>
              <a:avLst/>
              <a:gdLst>
                <a:gd name="T0" fmla="*/ 9 w 13"/>
                <a:gd name="T1" fmla="*/ 9 h 10"/>
                <a:gd name="T2" fmla="*/ 12 w 13"/>
                <a:gd name="T3" fmla="*/ 0 h 10"/>
                <a:gd name="T4" fmla="*/ 0 w 13"/>
                <a:gd name="T5" fmla="*/ 0 h 10"/>
                <a:gd name="T6" fmla="*/ 9 w 13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9" y="9"/>
                  </a:moveTo>
                  <a:cubicBezTo>
                    <a:pt x="9" y="6"/>
                    <a:pt x="12" y="3"/>
                    <a:pt x="12" y="0"/>
                  </a:cubicBezTo>
                  <a:lnTo>
                    <a:pt x="0" y="0"/>
                  </a:lnTo>
                  <a:cubicBezTo>
                    <a:pt x="0" y="3"/>
                    <a:pt x="3" y="9"/>
                    <a:pt x="9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8" name="Freeform 366"/>
            <p:cNvSpPr>
              <a:spLocks noChangeArrowheads="1"/>
            </p:cNvSpPr>
            <p:nvPr/>
          </p:nvSpPr>
          <p:spPr bwMode="auto">
            <a:xfrm>
              <a:off x="4600575" y="2528888"/>
              <a:ext cx="1588" cy="1587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5 h 6"/>
                <a:gd name="T4" fmla="*/ 3 w 4"/>
                <a:gd name="T5" fmla="*/ 0 h 6"/>
                <a:gd name="T6" fmla="*/ 0 w 4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cubicBezTo>
                    <a:pt x="0" y="2"/>
                    <a:pt x="0" y="2"/>
                    <a:pt x="0" y="5"/>
                  </a:cubicBezTo>
                  <a:cubicBezTo>
                    <a:pt x="3" y="5"/>
                    <a:pt x="3" y="2"/>
                    <a:pt x="3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09" name="Freeform 367"/>
            <p:cNvSpPr>
              <a:spLocks noChangeArrowheads="1"/>
            </p:cNvSpPr>
            <p:nvPr/>
          </p:nvSpPr>
          <p:spPr bwMode="auto">
            <a:xfrm>
              <a:off x="4602163" y="2417763"/>
              <a:ext cx="6350" cy="4762"/>
            </a:xfrm>
            <a:custGeom>
              <a:avLst/>
              <a:gdLst>
                <a:gd name="T0" fmla="*/ 17 w 18"/>
                <a:gd name="T1" fmla="*/ 9 h 15"/>
                <a:gd name="T2" fmla="*/ 3 w 18"/>
                <a:gd name="T3" fmla="*/ 0 h 15"/>
                <a:gd name="T4" fmla="*/ 17 w 18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7" y="9"/>
                  </a:moveTo>
                  <a:cubicBezTo>
                    <a:pt x="17" y="0"/>
                    <a:pt x="11" y="0"/>
                    <a:pt x="3" y="0"/>
                  </a:cubicBezTo>
                  <a:cubicBezTo>
                    <a:pt x="0" y="12"/>
                    <a:pt x="11" y="14"/>
                    <a:pt x="17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0" name="Freeform 368"/>
            <p:cNvSpPr>
              <a:spLocks noChangeArrowheads="1"/>
            </p:cNvSpPr>
            <p:nvPr/>
          </p:nvSpPr>
          <p:spPr bwMode="auto">
            <a:xfrm>
              <a:off x="4491038" y="2397125"/>
              <a:ext cx="3175" cy="3175"/>
            </a:xfrm>
            <a:custGeom>
              <a:avLst/>
              <a:gdLst>
                <a:gd name="T0" fmla="*/ 0 w 7"/>
                <a:gd name="T1" fmla="*/ 3 h 9"/>
                <a:gd name="T2" fmla="*/ 3 w 7"/>
                <a:gd name="T3" fmla="*/ 8 h 9"/>
                <a:gd name="T4" fmla="*/ 6 w 7"/>
                <a:gd name="T5" fmla="*/ 8 h 9"/>
                <a:gd name="T6" fmla="*/ 6 w 7"/>
                <a:gd name="T7" fmla="*/ 5 h 9"/>
                <a:gd name="T8" fmla="*/ 0 w 7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0" y="3"/>
                  </a:moveTo>
                  <a:cubicBezTo>
                    <a:pt x="0" y="5"/>
                    <a:pt x="3" y="5"/>
                    <a:pt x="3" y="8"/>
                  </a:cubicBezTo>
                  <a:lnTo>
                    <a:pt x="6" y="8"/>
                  </a:lnTo>
                  <a:lnTo>
                    <a:pt x="6" y="5"/>
                  </a:lnTo>
                  <a:cubicBezTo>
                    <a:pt x="3" y="0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1" name="Freeform 369"/>
            <p:cNvSpPr>
              <a:spLocks noChangeArrowheads="1"/>
            </p:cNvSpPr>
            <p:nvPr/>
          </p:nvSpPr>
          <p:spPr bwMode="auto">
            <a:xfrm>
              <a:off x="4579938" y="2417763"/>
              <a:ext cx="4762" cy="3175"/>
            </a:xfrm>
            <a:custGeom>
              <a:avLst/>
              <a:gdLst>
                <a:gd name="T0" fmla="*/ 5 w 15"/>
                <a:gd name="T1" fmla="*/ 6 h 7"/>
                <a:gd name="T2" fmla="*/ 14 w 15"/>
                <a:gd name="T3" fmla="*/ 0 h 7"/>
                <a:gd name="T4" fmla="*/ 0 w 15"/>
                <a:gd name="T5" fmla="*/ 6 h 7"/>
                <a:gd name="T6" fmla="*/ 5 w 15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5" y="6"/>
                  </a:moveTo>
                  <a:cubicBezTo>
                    <a:pt x="8" y="6"/>
                    <a:pt x="14" y="3"/>
                    <a:pt x="14" y="0"/>
                  </a:cubicBezTo>
                  <a:cubicBezTo>
                    <a:pt x="8" y="0"/>
                    <a:pt x="5" y="3"/>
                    <a:pt x="0" y="6"/>
                  </a:cubicBezTo>
                  <a:cubicBezTo>
                    <a:pt x="3" y="6"/>
                    <a:pt x="3" y="6"/>
                    <a:pt x="5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2" name="Freeform 370"/>
            <p:cNvSpPr>
              <a:spLocks noChangeArrowheads="1"/>
            </p:cNvSpPr>
            <p:nvPr/>
          </p:nvSpPr>
          <p:spPr bwMode="auto">
            <a:xfrm>
              <a:off x="4603750" y="2449513"/>
              <a:ext cx="6350" cy="11112"/>
            </a:xfrm>
            <a:custGeom>
              <a:avLst/>
              <a:gdLst>
                <a:gd name="T0" fmla="*/ 11 w 18"/>
                <a:gd name="T1" fmla="*/ 2 h 32"/>
                <a:gd name="T2" fmla="*/ 2 w 18"/>
                <a:gd name="T3" fmla="*/ 19 h 32"/>
                <a:gd name="T4" fmla="*/ 0 w 18"/>
                <a:gd name="T5" fmla="*/ 31 h 32"/>
                <a:gd name="T6" fmla="*/ 5 w 18"/>
                <a:gd name="T7" fmla="*/ 31 h 32"/>
                <a:gd name="T8" fmla="*/ 11 w 18"/>
                <a:gd name="T9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32">
                  <a:moveTo>
                    <a:pt x="11" y="2"/>
                  </a:moveTo>
                  <a:cubicBezTo>
                    <a:pt x="8" y="8"/>
                    <a:pt x="5" y="14"/>
                    <a:pt x="2" y="19"/>
                  </a:cubicBezTo>
                  <a:cubicBezTo>
                    <a:pt x="2" y="22"/>
                    <a:pt x="0" y="28"/>
                    <a:pt x="0" y="31"/>
                  </a:cubicBezTo>
                  <a:cubicBezTo>
                    <a:pt x="2" y="31"/>
                    <a:pt x="5" y="31"/>
                    <a:pt x="5" y="31"/>
                  </a:cubicBezTo>
                  <a:cubicBezTo>
                    <a:pt x="11" y="14"/>
                    <a:pt x="17" y="0"/>
                    <a:pt x="11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3" name="Freeform 371"/>
            <p:cNvSpPr>
              <a:spLocks noChangeArrowheads="1"/>
            </p:cNvSpPr>
            <p:nvPr/>
          </p:nvSpPr>
          <p:spPr bwMode="auto">
            <a:xfrm>
              <a:off x="4610100" y="2444750"/>
              <a:ext cx="1588" cy="3175"/>
            </a:xfrm>
            <a:custGeom>
              <a:avLst/>
              <a:gdLst>
                <a:gd name="T0" fmla="*/ 5 w 6"/>
                <a:gd name="T1" fmla="*/ 0 h 7"/>
                <a:gd name="T2" fmla="*/ 5 w 6"/>
                <a:gd name="T3" fmla="*/ 0 h 7"/>
                <a:gd name="T4" fmla="*/ 0 w 6"/>
                <a:gd name="T5" fmla="*/ 6 h 7"/>
                <a:gd name="T6" fmla="*/ 0 w 6"/>
                <a:gd name="T7" fmla="*/ 6 h 7"/>
                <a:gd name="T8" fmla="*/ 5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0"/>
                  </a:moveTo>
                  <a:lnTo>
                    <a:pt x="5" y="0"/>
                  </a:lnTo>
                  <a:cubicBezTo>
                    <a:pt x="5" y="0"/>
                    <a:pt x="2" y="3"/>
                    <a:pt x="0" y="6"/>
                  </a:cubicBezTo>
                  <a:lnTo>
                    <a:pt x="0" y="6"/>
                  </a:lnTo>
                  <a:cubicBezTo>
                    <a:pt x="2" y="6"/>
                    <a:pt x="5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4" name="Freeform 372"/>
            <p:cNvSpPr>
              <a:spLocks noChangeArrowheads="1"/>
            </p:cNvSpPr>
            <p:nvPr/>
          </p:nvSpPr>
          <p:spPr bwMode="auto">
            <a:xfrm>
              <a:off x="4502150" y="2398713"/>
              <a:ext cx="3175" cy="1587"/>
            </a:xfrm>
            <a:custGeom>
              <a:avLst/>
              <a:gdLst>
                <a:gd name="T0" fmla="*/ 6 w 7"/>
                <a:gd name="T1" fmla="*/ 2 h 3"/>
                <a:gd name="T2" fmla="*/ 0 w 7"/>
                <a:gd name="T3" fmla="*/ 2 h 3"/>
                <a:gd name="T4" fmla="*/ 6 w 7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6" y="2"/>
                  </a:moveTo>
                  <a:cubicBezTo>
                    <a:pt x="3" y="0"/>
                    <a:pt x="3" y="0"/>
                    <a:pt x="0" y="2"/>
                  </a:cubicBezTo>
                  <a:lnTo>
                    <a:pt x="6" y="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5" name="Freeform 373"/>
            <p:cNvSpPr>
              <a:spLocks noChangeArrowheads="1"/>
            </p:cNvSpPr>
            <p:nvPr/>
          </p:nvSpPr>
          <p:spPr bwMode="auto">
            <a:xfrm>
              <a:off x="4606925" y="2538413"/>
              <a:ext cx="3175" cy="4762"/>
            </a:xfrm>
            <a:custGeom>
              <a:avLst/>
              <a:gdLst>
                <a:gd name="T0" fmla="*/ 0 w 9"/>
                <a:gd name="T1" fmla="*/ 8 h 12"/>
                <a:gd name="T2" fmla="*/ 6 w 9"/>
                <a:gd name="T3" fmla="*/ 11 h 12"/>
                <a:gd name="T4" fmla="*/ 8 w 9"/>
                <a:gd name="T5" fmla="*/ 3 h 12"/>
                <a:gd name="T6" fmla="*/ 0 w 9"/>
                <a:gd name="T7" fmla="*/ 0 h 12"/>
                <a:gd name="T8" fmla="*/ 0 w 9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8"/>
                  </a:moveTo>
                  <a:cubicBezTo>
                    <a:pt x="3" y="8"/>
                    <a:pt x="3" y="11"/>
                    <a:pt x="6" y="11"/>
                  </a:cubicBezTo>
                  <a:cubicBezTo>
                    <a:pt x="8" y="8"/>
                    <a:pt x="8" y="5"/>
                    <a:pt x="8" y="3"/>
                  </a:cubicBezTo>
                  <a:cubicBezTo>
                    <a:pt x="6" y="3"/>
                    <a:pt x="3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6" name="Freeform 374"/>
            <p:cNvSpPr>
              <a:spLocks noChangeArrowheads="1"/>
            </p:cNvSpPr>
            <p:nvPr/>
          </p:nvSpPr>
          <p:spPr bwMode="auto">
            <a:xfrm>
              <a:off x="4008438" y="2305050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6 h 7"/>
                <a:gd name="T4" fmla="*/ 3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lnTo>
                    <a:pt x="3" y="6"/>
                  </a:lnTo>
                  <a:cubicBezTo>
                    <a:pt x="3" y="3"/>
                    <a:pt x="3" y="3"/>
                    <a:pt x="3" y="0"/>
                  </a:cubicBezTo>
                  <a:cubicBezTo>
                    <a:pt x="3" y="0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7" name="Freeform 375"/>
            <p:cNvSpPr>
              <a:spLocks noChangeArrowheads="1"/>
            </p:cNvSpPr>
            <p:nvPr/>
          </p:nvSpPr>
          <p:spPr bwMode="auto">
            <a:xfrm>
              <a:off x="4005263" y="2979738"/>
              <a:ext cx="1587" cy="4762"/>
            </a:xfrm>
            <a:custGeom>
              <a:avLst/>
              <a:gdLst>
                <a:gd name="T0" fmla="*/ 0 w 6"/>
                <a:gd name="T1" fmla="*/ 0 h 12"/>
                <a:gd name="T2" fmla="*/ 2 w 6"/>
                <a:gd name="T3" fmla="*/ 11 h 12"/>
                <a:gd name="T4" fmla="*/ 5 w 6"/>
                <a:gd name="T5" fmla="*/ 6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cubicBezTo>
                    <a:pt x="0" y="8"/>
                    <a:pt x="0" y="8"/>
                    <a:pt x="2" y="11"/>
                  </a:cubicBezTo>
                  <a:cubicBezTo>
                    <a:pt x="5" y="8"/>
                    <a:pt x="5" y="8"/>
                    <a:pt x="5" y="6"/>
                  </a:cubicBezTo>
                  <a:cubicBezTo>
                    <a:pt x="5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8" name="Freeform 376"/>
            <p:cNvSpPr>
              <a:spLocks noChangeArrowheads="1"/>
            </p:cNvSpPr>
            <p:nvPr/>
          </p:nvSpPr>
          <p:spPr bwMode="auto">
            <a:xfrm>
              <a:off x="4002088" y="2347913"/>
              <a:ext cx="4762" cy="7937"/>
            </a:xfrm>
            <a:custGeom>
              <a:avLst/>
              <a:gdLst>
                <a:gd name="T0" fmla="*/ 0 w 13"/>
                <a:gd name="T1" fmla="*/ 14 h 23"/>
                <a:gd name="T2" fmla="*/ 3 w 13"/>
                <a:gd name="T3" fmla="*/ 22 h 23"/>
                <a:gd name="T4" fmla="*/ 6 w 13"/>
                <a:gd name="T5" fmla="*/ 19 h 23"/>
                <a:gd name="T6" fmla="*/ 6 w 13"/>
                <a:gd name="T7" fmla="*/ 17 h 23"/>
                <a:gd name="T8" fmla="*/ 9 w 13"/>
                <a:gd name="T9" fmla="*/ 5 h 23"/>
                <a:gd name="T10" fmla="*/ 9 w 13"/>
                <a:gd name="T11" fmla="*/ 0 h 23"/>
                <a:gd name="T12" fmla="*/ 0 w 13"/>
                <a:gd name="T13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3">
                  <a:moveTo>
                    <a:pt x="0" y="14"/>
                  </a:moveTo>
                  <a:cubicBezTo>
                    <a:pt x="3" y="17"/>
                    <a:pt x="6" y="17"/>
                    <a:pt x="3" y="22"/>
                  </a:cubicBezTo>
                  <a:lnTo>
                    <a:pt x="6" y="19"/>
                  </a:lnTo>
                  <a:lnTo>
                    <a:pt x="6" y="17"/>
                  </a:lnTo>
                  <a:cubicBezTo>
                    <a:pt x="12" y="8"/>
                    <a:pt x="9" y="14"/>
                    <a:pt x="9" y="5"/>
                  </a:cubicBezTo>
                  <a:cubicBezTo>
                    <a:pt x="9" y="2"/>
                    <a:pt x="9" y="2"/>
                    <a:pt x="9" y="0"/>
                  </a:cubicBezTo>
                  <a:cubicBezTo>
                    <a:pt x="6" y="2"/>
                    <a:pt x="3" y="8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9" name="Freeform 377"/>
            <p:cNvSpPr>
              <a:spLocks noChangeArrowheads="1"/>
            </p:cNvSpPr>
            <p:nvPr/>
          </p:nvSpPr>
          <p:spPr bwMode="auto">
            <a:xfrm>
              <a:off x="3994150" y="2967038"/>
              <a:ext cx="9525" cy="4762"/>
            </a:xfrm>
            <a:custGeom>
              <a:avLst/>
              <a:gdLst>
                <a:gd name="T0" fmla="*/ 8 w 26"/>
                <a:gd name="T1" fmla="*/ 0 h 15"/>
                <a:gd name="T2" fmla="*/ 25 w 26"/>
                <a:gd name="T3" fmla="*/ 14 h 15"/>
                <a:gd name="T4" fmla="*/ 8 w 26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15">
                  <a:moveTo>
                    <a:pt x="8" y="0"/>
                  </a:moveTo>
                  <a:cubicBezTo>
                    <a:pt x="0" y="11"/>
                    <a:pt x="14" y="14"/>
                    <a:pt x="25" y="14"/>
                  </a:cubicBezTo>
                  <a:cubicBezTo>
                    <a:pt x="22" y="9"/>
                    <a:pt x="17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0" name="Freeform 378"/>
            <p:cNvSpPr>
              <a:spLocks noChangeArrowheads="1"/>
            </p:cNvSpPr>
            <p:nvPr/>
          </p:nvSpPr>
          <p:spPr bwMode="auto">
            <a:xfrm>
              <a:off x="4000500" y="2546350"/>
              <a:ext cx="3175" cy="4763"/>
            </a:xfrm>
            <a:custGeom>
              <a:avLst/>
              <a:gdLst>
                <a:gd name="T0" fmla="*/ 0 w 9"/>
                <a:gd name="T1" fmla="*/ 6 h 15"/>
                <a:gd name="T2" fmla="*/ 2 w 9"/>
                <a:gd name="T3" fmla="*/ 12 h 15"/>
                <a:gd name="T4" fmla="*/ 8 w 9"/>
                <a:gd name="T5" fmla="*/ 14 h 15"/>
                <a:gd name="T6" fmla="*/ 0 w 9"/>
                <a:gd name="T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5">
                  <a:moveTo>
                    <a:pt x="0" y="6"/>
                  </a:moveTo>
                  <a:cubicBezTo>
                    <a:pt x="2" y="6"/>
                    <a:pt x="2" y="9"/>
                    <a:pt x="2" y="12"/>
                  </a:cubicBezTo>
                  <a:cubicBezTo>
                    <a:pt x="5" y="12"/>
                    <a:pt x="5" y="14"/>
                    <a:pt x="8" y="14"/>
                  </a:cubicBezTo>
                  <a:cubicBezTo>
                    <a:pt x="8" y="6"/>
                    <a:pt x="2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1" name="Freeform 379"/>
            <p:cNvSpPr>
              <a:spLocks noChangeArrowheads="1"/>
            </p:cNvSpPr>
            <p:nvPr/>
          </p:nvSpPr>
          <p:spPr bwMode="auto">
            <a:xfrm>
              <a:off x="4002088" y="2895600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3 h 7"/>
                <a:gd name="T4" fmla="*/ 3 w 10"/>
                <a:gd name="T5" fmla="*/ 6 h 7"/>
                <a:gd name="T6" fmla="*/ 9 w 10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6" y="0"/>
                    <a:pt x="3" y="3"/>
                    <a:pt x="0" y="3"/>
                  </a:cubicBezTo>
                  <a:cubicBezTo>
                    <a:pt x="0" y="3"/>
                    <a:pt x="0" y="6"/>
                    <a:pt x="3" y="6"/>
                  </a:cubicBezTo>
                  <a:cubicBezTo>
                    <a:pt x="6" y="3"/>
                    <a:pt x="6" y="0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2" name="Freeform 380"/>
            <p:cNvSpPr>
              <a:spLocks noChangeArrowheads="1"/>
            </p:cNvSpPr>
            <p:nvPr/>
          </p:nvSpPr>
          <p:spPr bwMode="auto">
            <a:xfrm>
              <a:off x="4005263" y="2892425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3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lnTo>
                    <a:pt x="3" y="3"/>
                  </a:lnTo>
                  <a:lnTo>
                    <a:pt x="0" y="0"/>
                  </a:lnTo>
                  <a:cubicBezTo>
                    <a:pt x="0" y="3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3" name="Freeform 381"/>
            <p:cNvSpPr>
              <a:spLocks noChangeArrowheads="1"/>
            </p:cNvSpPr>
            <p:nvPr/>
          </p:nvSpPr>
          <p:spPr bwMode="auto">
            <a:xfrm>
              <a:off x="3995738" y="2386013"/>
              <a:ext cx="11112" cy="7937"/>
            </a:xfrm>
            <a:custGeom>
              <a:avLst/>
              <a:gdLst>
                <a:gd name="T0" fmla="*/ 6 w 29"/>
                <a:gd name="T1" fmla="*/ 2 h 23"/>
                <a:gd name="T2" fmla="*/ 0 w 29"/>
                <a:gd name="T3" fmla="*/ 11 h 23"/>
                <a:gd name="T4" fmla="*/ 6 w 29"/>
                <a:gd name="T5" fmla="*/ 14 h 23"/>
                <a:gd name="T6" fmla="*/ 3 w 29"/>
                <a:gd name="T7" fmla="*/ 22 h 23"/>
                <a:gd name="T8" fmla="*/ 12 w 29"/>
                <a:gd name="T9" fmla="*/ 19 h 23"/>
                <a:gd name="T10" fmla="*/ 26 w 29"/>
                <a:gd name="T11" fmla="*/ 19 h 23"/>
                <a:gd name="T12" fmla="*/ 26 w 29"/>
                <a:gd name="T13" fmla="*/ 17 h 23"/>
                <a:gd name="T14" fmla="*/ 28 w 29"/>
                <a:gd name="T15" fmla="*/ 11 h 23"/>
                <a:gd name="T16" fmla="*/ 14 w 29"/>
                <a:gd name="T17" fmla="*/ 2 h 23"/>
                <a:gd name="T18" fmla="*/ 9 w 29"/>
                <a:gd name="T19" fmla="*/ 14 h 23"/>
                <a:gd name="T20" fmla="*/ 6 w 29"/>
                <a:gd name="T21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23">
                  <a:moveTo>
                    <a:pt x="6" y="2"/>
                  </a:moveTo>
                  <a:cubicBezTo>
                    <a:pt x="6" y="5"/>
                    <a:pt x="0" y="8"/>
                    <a:pt x="0" y="11"/>
                  </a:cubicBezTo>
                  <a:lnTo>
                    <a:pt x="6" y="14"/>
                  </a:lnTo>
                  <a:cubicBezTo>
                    <a:pt x="6" y="14"/>
                    <a:pt x="0" y="19"/>
                    <a:pt x="3" y="22"/>
                  </a:cubicBezTo>
                  <a:cubicBezTo>
                    <a:pt x="6" y="22"/>
                    <a:pt x="9" y="22"/>
                    <a:pt x="12" y="19"/>
                  </a:cubicBezTo>
                  <a:lnTo>
                    <a:pt x="26" y="19"/>
                  </a:lnTo>
                  <a:lnTo>
                    <a:pt x="26" y="17"/>
                  </a:lnTo>
                  <a:cubicBezTo>
                    <a:pt x="26" y="17"/>
                    <a:pt x="28" y="17"/>
                    <a:pt x="28" y="11"/>
                  </a:cubicBezTo>
                  <a:cubicBezTo>
                    <a:pt x="26" y="5"/>
                    <a:pt x="23" y="0"/>
                    <a:pt x="14" y="2"/>
                  </a:cubicBezTo>
                  <a:cubicBezTo>
                    <a:pt x="14" y="8"/>
                    <a:pt x="17" y="17"/>
                    <a:pt x="9" y="14"/>
                  </a:cubicBezTo>
                  <a:cubicBezTo>
                    <a:pt x="0" y="14"/>
                    <a:pt x="12" y="5"/>
                    <a:pt x="6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4" name="Freeform 382"/>
            <p:cNvSpPr>
              <a:spLocks noChangeArrowheads="1"/>
            </p:cNvSpPr>
            <p:nvPr/>
          </p:nvSpPr>
          <p:spPr bwMode="auto">
            <a:xfrm>
              <a:off x="3975100" y="2381250"/>
              <a:ext cx="22225" cy="19050"/>
            </a:xfrm>
            <a:custGeom>
              <a:avLst/>
              <a:gdLst>
                <a:gd name="T0" fmla="*/ 20 w 60"/>
                <a:gd name="T1" fmla="*/ 19 h 51"/>
                <a:gd name="T2" fmla="*/ 11 w 60"/>
                <a:gd name="T3" fmla="*/ 31 h 51"/>
                <a:gd name="T4" fmla="*/ 6 w 60"/>
                <a:gd name="T5" fmla="*/ 22 h 51"/>
                <a:gd name="T6" fmla="*/ 8 w 60"/>
                <a:gd name="T7" fmla="*/ 19 h 51"/>
                <a:gd name="T8" fmla="*/ 0 w 60"/>
                <a:gd name="T9" fmla="*/ 25 h 51"/>
                <a:gd name="T10" fmla="*/ 0 w 60"/>
                <a:gd name="T11" fmla="*/ 28 h 51"/>
                <a:gd name="T12" fmla="*/ 6 w 60"/>
                <a:gd name="T13" fmla="*/ 31 h 51"/>
                <a:gd name="T14" fmla="*/ 3 w 60"/>
                <a:gd name="T15" fmla="*/ 33 h 51"/>
                <a:gd name="T16" fmla="*/ 11 w 60"/>
                <a:gd name="T17" fmla="*/ 50 h 51"/>
                <a:gd name="T18" fmla="*/ 14 w 60"/>
                <a:gd name="T19" fmla="*/ 50 h 51"/>
                <a:gd name="T20" fmla="*/ 31 w 60"/>
                <a:gd name="T21" fmla="*/ 36 h 51"/>
                <a:gd name="T22" fmla="*/ 31 w 60"/>
                <a:gd name="T23" fmla="*/ 45 h 51"/>
                <a:gd name="T24" fmla="*/ 37 w 60"/>
                <a:gd name="T25" fmla="*/ 42 h 51"/>
                <a:gd name="T26" fmla="*/ 51 w 60"/>
                <a:gd name="T27" fmla="*/ 45 h 51"/>
                <a:gd name="T28" fmla="*/ 59 w 60"/>
                <a:gd name="T29" fmla="*/ 36 h 51"/>
                <a:gd name="T30" fmla="*/ 45 w 60"/>
                <a:gd name="T31" fmla="*/ 25 h 51"/>
                <a:gd name="T32" fmla="*/ 45 w 60"/>
                <a:gd name="T33" fmla="*/ 25 h 51"/>
                <a:gd name="T34" fmla="*/ 42 w 60"/>
                <a:gd name="T35" fmla="*/ 31 h 51"/>
                <a:gd name="T36" fmla="*/ 51 w 60"/>
                <a:gd name="T37" fmla="*/ 39 h 51"/>
                <a:gd name="T38" fmla="*/ 42 w 60"/>
                <a:gd name="T39" fmla="*/ 42 h 51"/>
                <a:gd name="T40" fmla="*/ 37 w 60"/>
                <a:gd name="T41" fmla="*/ 33 h 51"/>
                <a:gd name="T42" fmla="*/ 37 w 60"/>
                <a:gd name="T43" fmla="*/ 31 h 51"/>
                <a:gd name="T44" fmla="*/ 31 w 60"/>
                <a:gd name="T45" fmla="*/ 14 h 51"/>
                <a:gd name="T46" fmla="*/ 34 w 60"/>
                <a:gd name="T47" fmla="*/ 14 h 51"/>
                <a:gd name="T48" fmla="*/ 31 w 60"/>
                <a:gd name="T49" fmla="*/ 2 h 51"/>
                <a:gd name="T50" fmla="*/ 34 w 60"/>
                <a:gd name="T51" fmla="*/ 2 h 51"/>
                <a:gd name="T52" fmla="*/ 28 w 60"/>
                <a:gd name="T53" fmla="*/ 0 h 51"/>
                <a:gd name="T54" fmla="*/ 20 w 60"/>
                <a:gd name="T55" fmla="*/ 1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0" h="51">
                  <a:moveTo>
                    <a:pt x="20" y="19"/>
                  </a:moveTo>
                  <a:cubicBezTo>
                    <a:pt x="20" y="19"/>
                    <a:pt x="20" y="33"/>
                    <a:pt x="11" y="31"/>
                  </a:cubicBezTo>
                  <a:cubicBezTo>
                    <a:pt x="11" y="25"/>
                    <a:pt x="8" y="25"/>
                    <a:pt x="6" y="22"/>
                  </a:cubicBezTo>
                  <a:cubicBezTo>
                    <a:pt x="6" y="22"/>
                    <a:pt x="8" y="22"/>
                    <a:pt x="8" y="19"/>
                  </a:cubicBezTo>
                  <a:cubicBezTo>
                    <a:pt x="6" y="22"/>
                    <a:pt x="3" y="22"/>
                    <a:pt x="0" y="25"/>
                  </a:cubicBezTo>
                  <a:lnTo>
                    <a:pt x="0" y="28"/>
                  </a:lnTo>
                  <a:cubicBezTo>
                    <a:pt x="3" y="28"/>
                    <a:pt x="3" y="31"/>
                    <a:pt x="6" y="31"/>
                  </a:cubicBezTo>
                  <a:cubicBezTo>
                    <a:pt x="3" y="31"/>
                    <a:pt x="3" y="31"/>
                    <a:pt x="3" y="33"/>
                  </a:cubicBezTo>
                  <a:cubicBezTo>
                    <a:pt x="6" y="39"/>
                    <a:pt x="11" y="42"/>
                    <a:pt x="11" y="50"/>
                  </a:cubicBezTo>
                  <a:lnTo>
                    <a:pt x="14" y="50"/>
                  </a:lnTo>
                  <a:cubicBezTo>
                    <a:pt x="14" y="39"/>
                    <a:pt x="23" y="39"/>
                    <a:pt x="31" y="36"/>
                  </a:cubicBezTo>
                  <a:cubicBezTo>
                    <a:pt x="31" y="39"/>
                    <a:pt x="31" y="42"/>
                    <a:pt x="31" y="45"/>
                  </a:cubicBezTo>
                  <a:cubicBezTo>
                    <a:pt x="34" y="45"/>
                    <a:pt x="37" y="42"/>
                    <a:pt x="37" y="42"/>
                  </a:cubicBezTo>
                  <a:cubicBezTo>
                    <a:pt x="42" y="45"/>
                    <a:pt x="45" y="45"/>
                    <a:pt x="51" y="45"/>
                  </a:cubicBezTo>
                  <a:cubicBezTo>
                    <a:pt x="54" y="42"/>
                    <a:pt x="56" y="39"/>
                    <a:pt x="59" y="36"/>
                  </a:cubicBezTo>
                  <a:cubicBezTo>
                    <a:pt x="54" y="33"/>
                    <a:pt x="51" y="28"/>
                    <a:pt x="45" y="25"/>
                  </a:cubicBezTo>
                  <a:lnTo>
                    <a:pt x="45" y="25"/>
                  </a:lnTo>
                  <a:cubicBezTo>
                    <a:pt x="45" y="28"/>
                    <a:pt x="42" y="28"/>
                    <a:pt x="42" y="31"/>
                  </a:cubicBezTo>
                  <a:cubicBezTo>
                    <a:pt x="45" y="33"/>
                    <a:pt x="51" y="31"/>
                    <a:pt x="51" y="39"/>
                  </a:cubicBezTo>
                  <a:cubicBezTo>
                    <a:pt x="48" y="39"/>
                    <a:pt x="45" y="39"/>
                    <a:pt x="42" y="42"/>
                  </a:cubicBezTo>
                  <a:cubicBezTo>
                    <a:pt x="42" y="39"/>
                    <a:pt x="37" y="39"/>
                    <a:pt x="37" y="33"/>
                  </a:cubicBezTo>
                  <a:cubicBezTo>
                    <a:pt x="37" y="33"/>
                    <a:pt x="37" y="33"/>
                    <a:pt x="37" y="31"/>
                  </a:cubicBezTo>
                  <a:cubicBezTo>
                    <a:pt x="31" y="25"/>
                    <a:pt x="28" y="19"/>
                    <a:pt x="31" y="14"/>
                  </a:cubicBezTo>
                  <a:lnTo>
                    <a:pt x="34" y="14"/>
                  </a:lnTo>
                  <a:cubicBezTo>
                    <a:pt x="31" y="11"/>
                    <a:pt x="31" y="8"/>
                    <a:pt x="31" y="2"/>
                  </a:cubicBezTo>
                  <a:cubicBezTo>
                    <a:pt x="31" y="2"/>
                    <a:pt x="31" y="2"/>
                    <a:pt x="34" y="2"/>
                  </a:cubicBezTo>
                  <a:cubicBezTo>
                    <a:pt x="34" y="0"/>
                    <a:pt x="31" y="0"/>
                    <a:pt x="28" y="0"/>
                  </a:cubicBezTo>
                  <a:cubicBezTo>
                    <a:pt x="31" y="14"/>
                    <a:pt x="23" y="14"/>
                    <a:pt x="20" y="1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5" name="Freeform 383"/>
            <p:cNvSpPr>
              <a:spLocks noChangeArrowheads="1"/>
            </p:cNvSpPr>
            <p:nvPr/>
          </p:nvSpPr>
          <p:spPr bwMode="auto">
            <a:xfrm>
              <a:off x="3990975" y="2154238"/>
              <a:ext cx="3175" cy="4762"/>
            </a:xfrm>
            <a:custGeom>
              <a:avLst/>
              <a:gdLst>
                <a:gd name="T0" fmla="*/ 9 w 10"/>
                <a:gd name="T1" fmla="*/ 0 h 13"/>
                <a:gd name="T2" fmla="*/ 9 w 10"/>
                <a:gd name="T3" fmla="*/ 0 h 13"/>
                <a:gd name="T4" fmla="*/ 0 w 10"/>
                <a:gd name="T5" fmla="*/ 12 h 13"/>
                <a:gd name="T6" fmla="*/ 9 w 1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9" y="0"/>
                  </a:moveTo>
                  <a:lnTo>
                    <a:pt x="9" y="0"/>
                  </a:lnTo>
                  <a:cubicBezTo>
                    <a:pt x="6" y="3"/>
                    <a:pt x="0" y="6"/>
                    <a:pt x="0" y="12"/>
                  </a:cubicBezTo>
                  <a:cubicBezTo>
                    <a:pt x="6" y="12"/>
                    <a:pt x="9" y="6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6" name="Freeform 384"/>
            <p:cNvSpPr>
              <a:spLocks noChangeArrowheads="1"/>
            </p:cNvSpPr>
            <p:nvPr/>
          </p:nvSpPr>
          <p:spPr bwMode="auto">
            <a:xfrm>
              <a:off x="3995738" y="2341563"/>
              <a:ext cx="4762" cy="3175"/>
            </a:xfrm>
            <a:custGeom>
              <a:avLst/>
              <a:gdLst>
                <a:gd name="T0" fmla="*/ 3 w 13"/>
                <a:gd name="T1" fmla="*/ 8 h 9"/>
                <a:gd name="T2" fmla="*/ 12 w 13"/>
                <a:gd name="T3" fmla="*/ 0 h 9"/>
                <a:gd name="T4" fmla="*/ 0 w 13"/>
                <a:gd name="T5" fmla="*/ 2 h 9"/>
                <a:gd name="T6" fmla="*/ 3 w 13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3" y="8"/>
                  </a:moveTo>
                  <a:cubicBezTo>
                    <a:pt x="6" y="5"/>
                    <a:pt x="9" y="2"/>
                    <a:pt x="12" y="0"/>
                  </a:cubicBezTo>
                  <a:cubicBezTo>
                    <a:pt x="9" y="0"/>
                    <a:pt x="6" y="2"/>
                    <a:pt x="0" y="2"/>
                  </a:cubicBezTo>
                  <a:cubicBezTo>
                    <a:pt x="0" y="2"/>
                    <a:pt x="3" y="5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7" name="Freeform 385"/>
            <p:cNvSpPr>
              <a:spLocks noChangeArrowheads="1"/>
            </p:cNvSpPr>
            <p:nvPr/>
          </p:nvSpPr>
          <p:spPr bwMode="auto">
            <a:xfrm>
              <a:off x="3900488" y="2466975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3"/>
                    <a:pt x="0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8" name="Freeform 386"/>
            <p:cNvSpPr>
              <a:spLocks noChangeArrowheads="1"/>
            </p:cNvSpPr>
            <p:nvPr/>
          </p:nvSpPr>
          <p:spPr bwMode="auto">
            <a:xfrm>
              <a:off x="3995738" y="2155825"/>
              <a:ext cx="3175" cy="3175"/>
            </a:xfrm>
            <a:custGeom>
              <a:avLst/>
              <a:gdLst>
                <a:gd name="T0" fmla="*/ 6 w 7"/>
                <a:gd name="T1" fmla="*/ 6 h 10"/>
                <a:gd name="T2" fmla="*/ 3 w 7"/>
                <a:gd name="T3" fmla="*/ 0 h 10"/>
                <a:gd name="T4" fmla="*/ 0 w 7"/>
                <a:gd name="T5" fmla="*/ 3 h 10"/>
                <a:gd name="T6" fmla="*/ 0 w 7"/>
                <a:gd name="T7" fmla="*/ 9 h 10"/>
                <a:gd name="T8" fmla="*/ 3 w 7"/>
                <a:gd name="T9" fmla="*/ 9 h 10"/>
                <a:gd name="T10" fmla="*/ 6 w 7"/>
                <a:gd name="T1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0">
                  <a:moveTo>
                    <a:pt x="6" y="6"/>
                  </a:moveTo>
                  <a:cubicBezTo>
                    <a:pt x="6" y="3"/>
                    <a:pt x="6" y="0"/>
                    <a:pt x="3" y="0"/>
                  </a:cubicBezTo>
                  <a:cubicBezTo>
                    <a:pt x="3" y="3"/>
                    <a:pt x="3" y="3"/>
                    <a:pt x="0" y="3"/>
                  </a:cubicBezTo>
                  <a:lnTo>
                    <a:pt x="0" y="9"/>
                  </a:lnTo>
                  <a:cubicBezTo>
                    <a:pt x="0" y="9"/>
                    <a:pt x="0" y="9"/>
                    <a:pt x="3" y="9"/>
                  </a:cubicBezTo>
                  <a:cubicBezTo>
                    <a:pt x="6" y="6"/>
                    <a:pt x="6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9" name="Freeform 387"/>
            <p:cNvSpPr>
              <a:spLocks noChangeArrowheads="1"/>
            </p:cNvSpPr>
            <p:nvPr/>
          </p:nvSpPr>
          <p:spPr bwMode="auto">
            <a:xfrm>
              <a:off x="3987800" y="2424113"/>
              <a:ext cx="4763" cy="4762"/>
            </a:xfrm>
            <a:custGeom>
              <a:avLst/>
              <a:gdLst>
                <a:gd name="T0" fmla="*/ 8 w 12"/>
                <a:gd name="T1" fmla="*/ 3 h 15"/>
                <a:gd name="T2" fmla="*/ 3 w 12"/>
                <a:gd name="T3" fmla="*/ 0 h 15"/>
                <a:gd name="T4" fmla="*/ 0 w 12"/>
                <a:gd name="T5" fmla="*/ 11 h 15"/>
                <a:gd name="T6" fmla="*/ 11 w 12"/>
                <a:gd name="T7" fmla="*/ 14 h 15"/>
                <a:gd name="T8" fmla="*/ 8 w 12"/>
                <a:gd name="T9" fmla="*/ 11 h 15"/>
                <a:gd name="T10" fmla="*/ 8 w 12"/>
                <a:gd name="T11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5">
                  <a:moveTo>
                    <a:pt x="8" y="3"/>
                  </a:moveTo>
                  <a:cubicBezTo>
                    <a:pt x="8" y="3"/>
                    <a:pt x="5" y="3"/>
                    <a:pt x="3" y="0"/>
                  </a:cubicBezTo>
                  <a:cubicBezTo>
                    <a:pt x="0" y="3"/>
                    <a:pt x="0" y="8"/>
                    <a:pt x="0" y="11"/>
                  </a:cubicBezTo>
                  <a:cubicBezTo>
                    <a:pt x="3" y="11"/>
                    <a:pt x="5" y="14"/>
                    <a:pt x="11" y="14"/>
                  </a:cubicBezTo>
                  <a:cubicBezTo>
                    <a:pt x="11" y="14"/>
                    <a:pt x="11" y="11"/>
                    <a:pt x="8" y="11"/>
                  </a:cubicBezTo>
                  <a:cubicBezTo>
                    <a:pt x="11" y="8"/>
                    <a:pt x="11" y="6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0" name="Freeform 388"/>
            <p:cNvSpPr>
              <a:spLocks noChangeArrowheads="1"/>
            </p:cNvSpPr>
            <p:nvPr/>
          </p:nvSpPr>
          <p:spPr bwMode="auto">
            <a:xfrm>
              <a:off x="3987800" y="2566988"/>
              <a:ext cx="3175" cy="3175"/>
            </a:xfrm>
            <a:custGeom>
              <a:avLst/>
              <a:gdLst>
                <a:gd name="T0" fmla="*/ 8 w 9"/>
                <a:gd name="T1" fmla="*/ 5 h 9"/>
                <a:gd name="T2" fmla="*/ 8 w 9"/>
                <a:gd name="T3" fmla="*/ 0 h 9"/>
                <a:gd name="T4" fmla="*/ 0 w 9"/>
                <a:gd name="T5" fmla="*/ 3 h 9"/>
                <a:gd name="T6" fmla="*/ 2 w 9"/>
                <a:gd name="T7" fmla="*/ 5 h 9"/>
                <a:gd name="T8" fmla="*/ 6 w 9"/>
                <a:gd name="T9" fmla="*/ 6 h 9"/>
                <a:gd name="T10" fmla="*/ 8 w 9"/>
                <a:gd name="T11" fmla="*/ 5 h 9"/>
                <a:gd name="T12" fmla="*/ 8 w 9"/>
                <a:gd name="T13" fmla="*/ 5 h 9"/>
                <a:gd name="T14" fmla="*/ 6 w 9"/>
                <a:gd name="T15" fmla="*/ 6 h 9"/>
                <a:gd name="T16" fmla="*/ 8 w 9"/>
                <a:gd name="T1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8" y="5"/>
                  </a:moveTo>
                  <a:lnTo>
                    <a:pt x="8" y="0"/>
                  </a:lnTo>
                  <a:cubicBezTo>
                    <a:pt x="5" y="0"/>
                    <a:pt x="0" y="0"/>
                    <a:pt x="0" y="3"/>
                  </a:cubicBezTo>
                  <a:cubicBezTo>
                    <a:pt x="2" y="3"/>
                    <a:pt x="2" y="3"/>
                    <a:pt x="2" y="5"/>
                  </a:cubicBezTo>
                  <a:cubicBezTo>
                    <a:pt x="2" y="8"/>
                    <a:pt x="2" y="8"/>
                    <a:pt x="6" y="6"/>
                  </a:cubicBezTo>
                  <a:cubicBezTo>
                    <a:pt x="6" y="6"/>
                    <a:pt x="7" y="5"/>
                    <a:pt x="8" y="5"/>
                  </a:cubicBezTo>
                  <a:close/>
                  <a:moveTo>
                    <a:pt x="8" y="5"/>
                  </a:moveTo>
                  <a:cubicBezTo>
                    <a:pt x="7" y="7"/>
                    <a:pt x="6" y="7"/>
                    <a:pt x="6" y="6"/>
                  </a:cubicBezTo>
                  <a:cubicBezTo>
                    <a:pt x="7" y="6"/>
                    <a:pt x="7" y="6"/>
                    <a:pt x="8" y="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1" name="Freeform 389"/>
            <p:cNvSpPr>
              <a:spLocks noChangeArrowheads="1"/>
            </p:cNvSpPr>
            <p:nvPr/>
          </p:nvSpPr>
          <p:spPr bwMode="auto">
            <a:xfrm>
              <a:off x="3986213" y="2444750"/>
              <a:ext cx="3175" cy="6350"/>
            </a:xfrm>
            <a:custGeom>
              <a:avLst/>
              <a:gdLst>
                <a:gd name="T0" fmla="*/ 6 w 9"/>
                <a:gd name="T1" fmla="*/ 0 h 16"/>
                <a:gd name="T2" fmla="*/ 3 w 9"/>
                <a:gd name="T3" fmla="*/ 0 h 16"/>
                <a:gd name="T4" fmla="*/ 0 w 9"/>
                <a:gd name="T5" fmla="*/ 6 h 16"/>
                <a:gd name="T6" fmla="*/ 3 w 9"/>
                <a:gd name="T7" fmla="*/ 6 h 16"/>
                <a:gd name="T8" fmla="*/ 8 w 9"/>
                <a:gd name="T9" fmla="*/ 12 h 16"/>
                <a:gd name="T10" fmla="*/ 6 w 9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6">
                  <a:moveTo>
                    <a:pt x="6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0" y="3"/>
                    <a:pt x="0" y="6"/>
                  </a:cubicBezTo>
                  <a:lnTo>
                    <a:pt x="3" y="6"/>
                  </a:lnTo>
                  <a:cubicBezTo>
                    <a:pt x="3" y="6"/>
                    <a:pt x="3" y="15"/>
                    <a:pt x="8" y="12"/>
                  </a:cubicBezTo>
                  <a:cubicBezTo>
                    <a:pt x="8" y="9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2" name="Freeform 390"/>
            <p:cNvSpPr>
              <a:spLocks noChangeArrowheads="1"/>
            </p:cNvSpPr>
            <p:nvPr/>
          </p:nvSpPr>
          <p:spPr bwMode="auto">
            <a:xfrm>
              <a:off x="3973513" y="2376488"/>
              <a:ext cx="3175" cy="4762"/>
            </a:xfrm>
            <a:custGeom>
              <a:avLst/>
              <a:gdLst>
                <a:gd name="T0" fmla="*/ 0 w 10"/>
                <a:gd name="T1" fmla="*/ 6 h 13"/>
                <a:gd name="T2" fmla="*/ 6 w 10"/>
                <a:gd name="T3" fmla="*/ 12 h 13"/>
                <a:gd name="T4" fmla="*/ 3 w 10"/>
                <a:gd name="T5" fmla="*/ 0 h 13"/>
                <a:gd name="T6" fmla="*/ 0 w 10"/>
                <a:gd name="T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0" y="6"/>
                  </a:moveTo>
                  <a:cubicBezTo>
                    <a:pt x="0" y="9"/>
                    <a:pt x="0" y="12"/>
                    <a:pt x="6" y="12"/>
                  </a:cubicBezTo>
                  <a:cubicBezTo>
                    <a:pt x="9" y="9"/>
                    <a:pt x="6" y="3"/>
                    <a:pt x="3" y="0"/>
                  </a:cubicBezTo>
                  <a:cubicBezTo>
                    <a:pt x="3" y="3"/>
                    <a:pt x="3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3" name="Freeform 391"/>
            <p:cNvSpPr>
              <a:spLocks noChangeArrowheads="1"/>
            </p:cNvSpPr>
            <p:nvPr/>
          </p:nvSpPr>
          <p:spPr bwMode="auto">
            <a:xfrm>
              <a:off x="3997325" y="2863850"/>
              <a:ext cx="7938" cy="3175"/>
            </a:xfrm>
            <a:custGeom>
              <a:avLst/>
              <a:gdLst>
                <a:gd name="T0" fmla="*/ 9 w 21"/>
                <a:gd name="T1" fmla="*/ 0 h 10"/>
                <a:gd name="T2" fmla="*/ 9 w 21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0">
                  <a:moveTo>
                    <a:pt x="9" y="0"/>
                  </a:moveTo>
                  <a:cubicBezTo>
                    <a:pt x="0" y="9"/>
                    <a:pt x="20" y="9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4" name="Freeform 392"/>
            <p:cNvSpPr>
              <a:spLocks noChangeArrowheads="1"/>
            </p:cNvSpPr>
            <p:nvPr/>
          </p:nvSpPr>
          <p:spPr bwMode="auto">
            <a:xfrm>
              <a:off x="3979863" y="2735263"/>
              <a:ext cx="6350" cy="4762"/>
            </a:xfrm>
            <a:custGeom>
              <a:avLst/>
              <a:gdLst>
                <a:gd name="T0" fmla="*/ 0 w 18"/>
                <a:gd name="T1" fmla="*/ 8 h 12"/>
                <a:gd name="T2" fmla="*/ 17 w 18"/>
                <a:gd name="T3" fmla="*/ 6 h 12"/>
                <a:gd name="T4" fmla="*/ 6 w 18"/>
                <a:gd name="T5" fmla="*/ 0 h 12"/>
                <a:gd name="T6" fmla="*/ 0 w 18"/>
                <a:gd name="T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2">
                  <a:moveTo>
                    <a:pt x="0" y="8"/>
                  </a:moveTo>
                  <a:cubicBezTo>
                    <a:pt x="9" y="11"/>
                    <a:pt x="12" y="6"/>
                    <a:pt x="17" y="6"/>
                  </a:cubicBezTo>
                  <a:cubicBezTo>
                    <a:pt x="14" y="6"/>
                    <a:pt x="9" y="3"/>
                    <a:pt x="6" y="0"/>
                  </a:cubicBezTo>
                  <a:cubicBezTo>
                    <a:pt x="3" y="3"/>
                    <a:pt x="0" y="6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5" name="Freeform 393"/>
            <p:cNvSpPr>
              <a:spLocks noChangeArrowheads="1"/>
            </p:cNvSpPr>
            <p:nvPr/>
          </p:nvSpPr>
          <p:spPr bwMode="auto">
            <a:xfrm>
              <a:off x="3979863" y="2516188"/>
              <a:ext cx="1587" cy="1587"/>
            </a:xfrm>
            <a:custGeom>
              <a:avLst/>
              <a:gdLst>
                <a:gd name="T0" fmla="*/ 3 w 4"/>
                <a:gd name="T1" fmla="*/ 0 h 6"/>
                <a:gd name="T2" fmla="*/ 0 w 4"/>
                <a:gd name="T3" fmla="*/ 5 h 6"/>
                <a:gd name="T4" fmla="*/ 3 w 4"/>
                <a:gd name="T5" fmla="*/ 3 h 6"/>
                <a:gd name="T6" fmla="*/ 3 w 4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0"/>
                  </a:moveTo>
                  <a:cubicBezTo>
                    <a:pt x="0" y="3"/>
                    <a:pt x="0" y="5"/>
                    <a:pt x="0" y="5"/>
                  </a:cubicBezTo>
                  <a:cubicBezTo>
                    <a:pt x="0" y="5"/>
                    <a:pt x="3" y="5"/>
                    <a:pt x="3" y="3"/>
                  </a:cubicBezTo>
                  <a:lnTo>
                    <a:pt x="3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6" name="Freeform 394"/>
            <p:cNvSpPr>
              <a:spLocks noChangeArrowheads="1"/>
            </p:cNvSpPr>
            <p:nvPr/>
          </p:nvSpPr>
          <p:spPr bwMode="auto">
            <a:xfrm>
              <a:off x="3976688" y="2416175"/>
              <a:ext cx="3175" cy="3175"/>
            </a:xfrm>
            <a:custGeom>
              <a:avLst/>
              <a:gdLst>
                <a:gd name="T0" fmla="*/ 1 w 7"/>
                <a:gd name="T1" fmla="*/ 3 h 7"/>
                <a:gd name="T2" fmla="*/ 3 w 7"/>
                <a:gd name="T3" fmla="*/ 6 h 7"/>
                <a:gd name="T4" fmla="*/ 6 w 7"/>
                <a:gd name="T5" fmla="*/ 0 h 7"/>
                <a:gd name="T6" fmla="*/ 6 w 7"/>
                <a:gd name="T7" fmla="*/ 0 h 7"/>
                <a:gd name="T8" fmla="*/ 1 w 7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3"/>
                  </a:moveTo>
                  <a:cubicBezTo>
                    <a:pt x="1" y="6"/>
                    <a:pt x="0" y="6"/>
                    <a:pt x="3" y="6"/>
                  </a:cubicBezTo>
                  <a:cubicBezTo>
                    <a:pt x="5" y="6"/>
                    <a:pt x="6" y="3"/>
                    <a:pt x="6" y="0"/>
                  </a:cubicBezTo>
                  <a:lnTo>
                    <a:pt x="6" y="0"/>
                  </a:lnTo>
                  <a:cubicBezTo>
                    <a:pt x="3" y="3"/>
                    <a:pt x="1" y="3"/>
                    <a:pt x="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7" name="Freeform 395"/>
            <p:cNvSpPr>
              <a:spLocks noChangeArrowheads="1"/>
            </p:cNvSpPr>
            <p:nvPr/>
          </p:nvSpPr>
          <p:spPr bwMode="auto">
            <a:xfrm>
              <a:off x="3978275" y="2406650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0 h 7"/>
                <a:gd name="T4" fmla="*/ 0 w 10"/>
                <a:gd name="T5" fmla="*/ 6 h 7"/>
                <a:gd name="T6" fmla="*/ 9 w 10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6" y="0"/>
                    <a:pt x="3" y="0"/>
                    <a:pt x="0" y="0"/>
                  </a:cubicBezTo>
                  <a:cubicBezTo>
                    <a:pt x="0" y="3"/>
                    <a:pt x="0" y="3"/>
                    <a:pt x="0" y="6"/>
                  </a:cubicBezTo>
                  <a:cubicBezTo>
                    <a:pt x="3" y="6"/>
                    <a:pt x="6" y="3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8" name="Freeform 396"/>
            <p:cNvSpPr>
              <a:spLocks noChangeArrowheads="1"/>
            </p:cNvSpPr>
            <p:nvPr/>
          </p:nvSpPr>
          <p:spPr bwMode="auto">
            <a:xfrm>
              <a:off x="3983038" y="2378075"/>
              <a:ext cx="4762" cy="4763"/>
            </a:xfrm>
            <a:custGeom>
              <a:avLst/>
              <a:gdLst>
                <a:gd name="T0" fmla="*/ 2 w 12"/>
                <a:gd name="T1" fmla="*/ 0 h 15"/>
                <a:gd name="T2" fmla="*/ 0 w 12"/>
                <a:gd name="T3" fmla="*/ 14 h 15"/>
                <a:gd name="T4" fmla="*/ 8 w 12"/>
                <a:gd name="T5" fmla="*/ 11 h 15"/>
                <a:gd name="T6" fmla="*/ 11 w 12"/>
                <a:gd name="T7" fmla="*/ 0 h 15"/>
                <a:gd name="T8" fmla="*/ 2 w 1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2" y="0"/>
                  </a:moveTo>
                  <a:cubicBezTo>
                    <a:pt x="2" y="6"/>
                    <a:pt x="2" y="9"/>
                    <a:pt x="0" y="14"/>
                  </a:cubicBezTo>
                  <a:cubicBezTo>
                    <a:pt x="2" y="11"/>
                    <a:pt x="2" y="9"/>
                    <a:pt x="8" y="11"/>
                  </a:cubicBezTo>
                  <a:cubicBezTo>
                    <a:pt x="8" y="9"/>
                    <a:pt x="8" y="3"/>
                    <a:pt x="11" y="0"/>
                  </a:cubicBezTo>
                  <a:cubicBezTo>
                    <a:pt x="5" y="0"/>
                    <a:pt x="2" y="0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39" name="Freeform 397"/>
            <p:cNvSpPr>
              <a:spLocks noChangeArrowheads="1"/>
            </p:cNvSpPr>
            <p:nvPr/>
          </p:nvSpPr>
          <p:spPr bwMode="auto">
            <a:xfrm>
              <a:off x="3997325" y="2398713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0 w 7"/>
                <a:gd name="T3" fmla="*/ 0 h 7"/>
                <a:gd name="T4" fmla="*/ 0 w 7"/>
                <a:gd name="T5" fmla="*/ 3 h 7"/>
                <a:gd name="T6" fmla="*/ 6 w 7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cubicBezTo>
                    <a:pt x="6" y="3"/>
                    <a:pt x="3" y="0"/>
                    <a:pt x="0" y="0"/>
                  </a:cubicBezTo>
                  <a:lnTo>
                    <a:pt x="0" y="3"/>
                  </a:lnTo>
                  <a:cubicBezTo>
                    <a:pt x="3" y="3"/>
                    <a:pt x="6" y="3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0" name="Freeform 398"/>
            <p:cNvSpPr>
              <a:spLocks noChangeArrowheads="1"/>
            </p:cNvSpPr>
            <p:nvPr/>
          </p:nvSpPr>
          <p:spPr bwMode="auto">
            <a:xfrm>
              <a:off x="3997325" y="2428875"/>
              <a:ext cx="1588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3 w 4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0"/>
                    <a:pt x="0" y="0"/>
                  </a:cubicBezTo>
                  <a:cubicBezTo>
                    <a:pt x="0" y="3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1" name="Freeform 399"/>
            <p:cNvSpPr>
              <a:spLocks noChangeArrowheads="1"/>
            </p:cNvSpPr>
            <p:nvPr/>
          </p:nvSpPr>
          <p:spPr bwMode="auto">
            <a:xfrm>
              <a:off x="4002088" y="2395538"/>
              <a:ext cx="4762" cy="9525"/>
            </a:xfrm>
            <a:custGeom>
              <a:avLst/>
              <a:gdLst>
                <a:gd name="T0" fmla="*/ 0 w 15"/>
                <a:gd name="T1" fmla="*/ 20 h 26"/>
                <a:gd name="T2" fmla="*/ 6 w 15"/>
                <a:gd name="T3" fmla="*/ 25 h 26"/>
                <a:gd name="T4" fmla="*/ 12 w 15"/>
                <a:gd name="T5" fmla="*/ 14 h 26"/>
                <a:gd name="T6" fmla="*/ 12 w 15"/>
                <a:gd name="T7" fmla="*/ 14 h 26"/>
                <a:gd name="T8" fmla="*/ 14 w 15"/>
                <a:gd name="T9" fmla="*/ 0 h 26"/>
                <a:gd name="T10" fmla="*/ 9 w 15"/>
                <a:gd name="T11" fmla="*/ 6 h 26"/>
                <a:gd name="T12" fmla="*/ 9 w 15"/>
                <a:gd name="T13" fmla="*/ 11 h 26"/>
                <a:gd name="T14" fmla="*/ 3 w 15"/>
                <a:gd name="T15" fmla="*/ 11 h 26"/>
                <a:gd name="T16" fmla="*/ 0 w 15"/>
                <a:gd name="T17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26">
                  <a:moveTo>
                    <a:pt x="0" y="20"/>
                  </a:moveTo>
                  <a:cubicBezTo>
                    <a:pt x="3" y="23"/>
                    <a:pt x="3" y="23"/>
                    <a:pt x="6" y="25"/>
                  </a:cubicBezTo>
                  <a:cubicBezTo>
                    <a:pt x="9" y="23"/>
                    <a:pt x="12" y="17"/>
                    <a:pt x="12" y="14"/>
                  </a:cubicBezTo>
                  <a:lnTo>
                    <a:pt x="12" y="14"/>
                  </a:lnTo>
                  <a:cubicBezTo>
                    <a:pt x="14" y="8"/>
                    <a:pt x="14" y="6"/>
                    <a:pt x="14" y="0"/>
                  </a:cubicBezTo>
                  <a:cubicBezTo>
                    <a:pt x="12" y="3"/>
                    <a:pt x="12" y="3"/>
                    <a:pt x="9" y="6"/>
                  </a:cubicBezTo>
                  <a:cubicBezTo>
                    <a:pt x="9" y="8"/>
                    <a:pt x="9" y="8"/>
                    <a:pt x="9" y="11"/>
                  </a:cubicBezTo>
                  <a:cubicBezTo>
                    <a:pt x="6" y="11"/>
                    <a:pt x="6" y="11"/>
                    <a:pt x="3" y="11"/>
                  </a:cubicBezTo>
                  <a:cubicBezTo>
                    <a:pt x="0" y="14"/>
                    <a:pt x="0" y="17"/>
                    <a:pt x="0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2" name="Freeform 400"/>
            <p:cNvSpPr>
              <a:spLocks noChangeArrowheads="1"/>
            </p:cNvSpPr>
            <p:nvPr/>
          </p:nvSpPr>
          <p:spPr bwMode="auto">
            <a:xfrm>
              <a:off x="3990975" y="2760663"/>
              <a:ext cx="3175" cy="4762"/>
            </a:xfrm>
            <a:custGeom>
              <a:avLst/>
              <a:gdLst>
                <a:gd name="T0" fmla="*/ 3 w 10"/>
                <a:gd name="T1" fmla="*/ 0 h 12"/>
                <a:gd name="T2" fmla="*/ 0 w 10"/>
                <a:gd name="T3" fmla="*/ 11 h 12"/>
                <a:gd name="T4" fmla="*/ 3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3" y="0"/>
                  </a:moveTo>
                  <a:cubicBezTo>
                    <a:pt x="3" y="2"/>
                    <a:pt x="0" y="5"/>
                    <a:pt x="0" y="11"/>
                  </a:cubicBezTo>
                  <a:cubicBezTo>
                    <a:pt x="9" y="11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3" name="Freeform 401"/>
            <p:cNvSpPr>
              <a:spLocks noChangeArrowheads="1"/>
            </p:cNvSpPr>
            <p:nvPr/>
          </p:nvSpPr>
          <p:spPr bwMode="auto">
            <a:xfrm>
              <a:off x="3995738" y="2570163"/>
              <a:ext cx="4762" cy="3175"/>
            </a:xfrm>
            <a:custGeom>
              <a:avLst/>
              <a:gdLst>
                <a:gd name="T0" fmla="*/ 0 w 13"/>
                <a:gd name="T1" fmla="*/ 0 h 10"/>
                <a:gd name="T2" fmla="*/ 0 w 13"/>
                <a:gd name="T3" fmla="*/ 3 h 10"/>
                <a:gd name="T4" fmla="*/ 12 w 13"/>
                <a:gd name="T5" fmla="*/ 9 h 10"/>
                <a:gd name="T6" fmla="*/ 0 w 1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0" y="0"/>
                  </a:moveTo>
                  <a:lnTo>
                    <a:pt x="0" y="3"/>
                  </a:lnTo>
                  <a:cubicBezTo>
                    <a:pt x="3" y="6"/>
                    <a:pt x="9" y="9"/>
                    <a:pt x="12" y="9"/>
                  </a:cubicBezTo>
                  <a:cubicBezTo>
                    <a:pt x="9" y="6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4" name="Freeform 402"/>
            <p:cNvSpPr>
              <a:spLocks noChangeArrowheads="1"/>
            </p:cNvSpPr>
            <p:nvPr/>
          </p:nvSpPr>
          <p:spPr bwMode="auto">
            <a:xfrm>
              <a:off x="3990975" y="2509838"/>
              <a:ext cx="3175" cy="4762"/>
            </a:xfrm>
            <a:custGeom>
              <a:avLst/>
              <a:gdLst>
                <a:gd name="T0" fmla="*/ 3 w 10"/>
                <a:gd name="T1" fmla="*/ 11 h 12"/>
                <a:gd name="T2" fmla="*/ 9 w 10"/>
                <a:gd name="T3" fmla="*/ 3 h 12"/>
                <a:gd name="T4" fmla="*/ 3 w 10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3" y="11"/>
                  </a:moveTo>
                  <a:cubicBezTo>
                    <a:pt x="6" y="11"/>
                    <a:pt x="9" y="6"/>
                    <a:pt x="9" y="3"/>
                  </a:cubicBezTo>
                  <a:cubicBezTo>
                    <a:pt x="3" y="0"/>
                    <a:pt x="0" y="6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5" name="Freeform 403"/>
            <p:cNvSpPr>
              <a:spLocks noChangeArrowheads="1"/>
            </p:cNvSpPr>
            <p:nvPr/>
          </p:nvSpPr>
          <p:spPr bwMode="auto">
            <a:xfrm>
              <a:off x="3990975" y="2443163"/>
              <a:ext cx="4763" cy="6350"/>
            </a:xfrm>
            <a:custGeom>
              <a:avLst/>
              <a:gdLst>
                <a:gd name="T0" fmla="*/ 14 w 15"/>
                <a:gd name="T1" fmla="*/ 2 h 18"/>
                <a:gd name="T2" fmla="*/ 0 w 15"/>
                <a:gd name="T3" fmla="*/ 2 h 18"/>
                <a:gd name="T4" fmla="*/ 9 w 15"/>
                <a:gd name="T5" fmla="*/ 17 h 18"/>
                <a:gd name="T6" fmla="*/ 11 w 15"/>
                <a:gd name="T7" fmla="*/ 17 h 18"/>
                <a:gd name="T8" fmla="*/ 9 w 15"/>
                <a:gd name="T9" fmla="*/ 5 h 18"/>
                <a:gd name="T10" fmla="*/ 14 w 15"/>
                <a:gd name="T1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8">
                  <a:moveTo>
                    <a:pt x="14" y="2"/>
                  </a:moveTo>
                  <a:cubicBezTo>
                    <a:pt x="9" y="0"/>
                    <a:pt x="6" y="0"/>
                    <a:pt x="0" y="2"/>
                  </a:cubicBezTo>
                  <a:cubicBezTo>
                    <a:pt x="3" y="8"/>
                    <a:pt x="3" y="17"/>
                    <a:pt x="9" y="17"/>
                  </a:cubicBezTo>
                  <a:cubicBezTo>
                    <a:pt x="9" y="17"/>
                    <a:pt x="9" y="17"/>
                    <a:pt x="11" y="17"/>
                  </a:cubicBezTo>
                  <a:cubicBezTo>
                    <a:pt x="11" y="11"/>
                    <a:pt x="9" y="11"/>
                    <a:pt x="9" y="5"/>
                  </a:cubicBezTo>
                  <a:cubicBezTo>
                    <a:pt x="9" y="0"/>
                    <a:pt x="11" y="2"/>
                    <a:pt x="14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6" name="Freeform 404"/>
            <p:cNvSpPr>
              <a:spLocks noChangeArrowheads="1"/>
            </p:cNvSpPr>
            <p:nvPr/>
          </p:nvSpPr>
          <p:spPr bwMode="auto">
            <a:xfrm>
              <a:off x="3922713" y="2335213"/>
              <a:ext cx="3175" cy="1587"/>
            </a:xfrm>
            <a:custGeom>
              <a:avLst/>
              <a:gdLst>
                <a:gd name="T0" fmla="*/ 6 w 7"/>
                <a:gd name="T1" fmla="*/ 3 h 4"/>
                <a:gd name="T2" fmla="*/ 0 w 7"/>
                <a:gd name="T3" fmla="*/ 0 h 4"/>
                <a:gd name="T4" fmla="*/ 0 w 7"/>
                <a:gd name="T5" fmla="*/ 3 h 4"/>
                <a:gd name="T6" fmla="*/ 6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3"/>
                  </a:moveTo>
                  <a:cubicBezTo>
                    <a:pt x="6" y="3"/>
                    <a:pt x="3" y="3"/>
                    <a:pt x="0" y="0"/>
                  </a:cubicBezTo>
                  <a:lnTo>
                    <a:pt x="0" y="3"/>
                  </a:lnTo>
                  <a:cubicBezTo>
                    <a:pt x="3" y="3"/>
                    <a:pt x="6" y="3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7" name="Freeform 405"/>
            <p:cNvSpPr>
              <a:spLocks noChangeArrowheads="1"/>
            </p:cNvSpPr>
            <p:nvPr/>
          </p:nvSpPr>
          <p:spPr bwMode="auto">
            <a:xfrm>
              <a:off x="3925888" y="3040063"/>
              <a:ext cx="4762" cy="4762"/>
            </a:xfrm>
            <a:custGeom>
              <a:avLst/>
              <a:gdLst>
                <a:gd name="T0" fmla="*/ 14 w 15"/>
                <a:gd name="T1" fmla="*/ 6 h 15"/>
                <a:gd name="T2" fmla="*/ 0 w 15"/>
                <a:gd name="T3" fmla="*/ 6 h 15"/>
                <a:gd name="T4" fmla="*/ 14 w 15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6"/>
                  </a:moveTo>
                  <a:cubicBezTo>
                    <a:pt x="11" y="6"/>
                    <a:pt x="0" y="0"/>
                    <a:pt x="0" y="6"/>
                  </a:cubicBezTo>
                  <a:cubicBezTo>
                    <a:pt x="5" y="9"/>
                    <a:pt x="11" y="14"/>
                    <a:pt x="14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8" name="Freeform 406"/>
            <p:cNvSpPr>
              <a:spLocks noChangeArrowheads="1"/>
            </p:cNvSpPr>
            <p:nvPr/>
          </p:nvSpPr>
          <p:spPr bwMode="auto">
            <a:xfrm>
              <a:off x="3929063" y="2124075"/>
              <a:ext cx="3175" cy="3175"/>
            </a:xfrm>
            <a:custGeom>
              <a:avLst/>
              <a:gdLst>
                <a:gd name="T0" fmla="*/ 3 w 7"/>
                <a:gd name="T1" fmla="*/ 3 h 10"/>
                <a:gd name="T2" fmla="*/ 0 w 7"/>
                <a:gd name="T3" fmla="*/ 9 h 10"/>
                <a:gd name="T4" fmla="*/ 6 w 7"/>
                <a:gd name="T5" fmla="*/ 6 h 10"/>
                <a:gd name="T6" fmla="*/ 3 w 7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3" y="3"/>
                  </a:moveTo>
                  <a:cubicBezTo>
                    <a:pt x="3" y="6"/>
                    <a:pt x="3" y="6"/>
                    <a:pt x="0" y="9"/>
                  </a:cubicBezTo>
                  <a:cubicBezTo>
                    <a:pt x="3" y="9"/>
                    <a:pt x="6" y="6"/>
                    <a:pt x="6" y="6"/>
                  </a:cubicBezTo>
                  <a:cubicBezTo>
                    <a:pt x="6" y="3"/>
                    <a:pt x="6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49" name="Freeform 407"/>
            <p:cNvSpPr>
              <a:spLocks noChangeArrowheads="1"/>
            </p:cNvSpPr>
            <p:nvPr/>
          </p:nvSpPr>
          <p:spPr bwMode="auto">
            <a:xfrm>
              <a:off x="3900488" y="2278063"/>
              <a:ext cx="3175" cy="1587"/>
            </a:xfrm>
            <a:custGeom>
              <a:avLst/>
              <a:gdLst>
                <a:gd name="T0" fmla="*/ 6 w 7"/>
                <a:gd name="T1" fmla="*/ 3 h 6"/>
                <a:gd name="T2" fmla="*/ 0 w 7"/>
                <a:gd name="T3" fmla="*/ 0 h 6"/>
                <a:gd name="T4" fmla="*/ 0 w 7"/>
                <a:gd name="T5" fmla="*/ 5 h 6"/>
                <a:gd name="T6" fmla="*/ 6 w 7"/>
                <a:gd name="T7" fmla="*/ 5 h 6"/>
                <a:gd name="T8" fmla="*/ 6 w 7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3"/>
                  </a:moveTo>
                  <a:cubicBezTo>
                    <a:pt x="3" y="3"/>
                    <a:pt x="3" y="3"/>
                    <a:pt x="0" y="0"/>
                  </a:cubicBezTo>
                  <a:lnTo>
                    <a:pt x="0" y="5"/>
                  </a:lnTo>
                  <a:lnTo>
                    <a:pt x="6" y="5"/>
                  </a:lnTo>
                  <a:lnTo>
                    <a:pt x="6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0" name="Freeform 408"/>
            <p:cNvSpPr>
              <a:spLocks noChangeArrowheads="1"/>
            </p:cNvSpPr>
            <p:nvPr/>
          </p:nvSpPr>
          <p:spPr bwMode="auto">
            <a:xfrm>
              <a:off x="3900488" y="2540000"/>
              <a:ext cx="4762" cy="7938"/>
            </a:xfrm>
            <a:custGeom>
              <a:avLst/>
              <a:gdLst>
                <a:gd name="T0" fmla="*/ 3 w 12"/>
                <a:gd name="T1" fmla="*/ 22 h 23"/>
                <a:gd name="T2" fmla="*/ 11 w 12"/>
                <a:gd name="T3" fmla="*/ 17 h 23"/>
                <a:gd name="T4" fmla="*/ 9 w 12"/>
                <a:gd name="T5" fmla="*/ 0 h 23"/>
                <a:gd name="T6" fmla="*/ 3 w 12"/>
                <a:gd name="T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3">
                  <a:moveTo>
                    <a:pt x="3" y="22"/>
                  </a:moveTo>
                  <a:cubicBezTo>
                    <a:pt x="9" y="22"/>
                    <a:pt x="9" y="19"/>
                    <a:pt x="11" y="17"/>
                  </a:cubicBezTo>
                  <a:cubicBezTo>
                    <a:pt x="11" y="11"/>
                    <a:pt x="11" y="5"/>
                    <a:pt x="9" y="0"/>
                  </a:cubicBezTo>
                  <a:cubicBezTo>
                    <a:pt x="3" y="5"/>
                    <a:pt x="0" y="14"/>
                    <a:pt x="3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1" name="Freeform 409"/>
            <p:cNvSpPr>
              <a:spLocks noChangeArrowheads="1"/>
            </p:cNvSpPr>
            <p:nvPr/>
          </p:nvSpPr>
          <p:spPr bwMode="auto">
            <a:xfrm>
              <a:off x="3903663" y="2536825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6 h 7"/>
                <a:gd name="T4" fmla="*/ 0 w 10"/>
                <a:gd name="T5" fmla="*/ 6 h 7"/>
                <a:gd name="T6" fmla="*/ 9 w 10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6" y="3"/>
                    <a:pt x="3" y="6"/>
                    <a:pt x="0" y="6"/>
                  </a:cubicBezTo>
                  <a:lnTo>
                    <a:pt x="0" y="6"/>
                  </a:lnTo>
                  <a:cubicBezTo>
                    <a:pt x="6" y="6"/>
                    <a:pt x="9" y="3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2" name="Freeform 410"/>
            <p:cNvSpPr>
              <a:spLocks noChangeArrowheads="1"/>
            </p:cNvSpPr>
            <p:nvPr/>
          </p:nvSpPr>
          <p:spPr bwMode="auto">
            <a:xfrm>
              <a:off x="3917950" y="2127250"/>
              <a:ext cx="4763" cy="1588"/>
            </a:xfrm>
            <a:custGeom>
              <a:avLst/>
              <a:gdLst>
                <a:gd name="T0" fmla="*/ 14 w 15"/>
                <a:gd name="T1" fmla="*/ 2 h 6"/>
                <a:gd name="T2" fmla="*/ 14 w 15"/>
                <a:gd name="T3" fmla="*/ 2 h 6"/>
                <a:gd name="T4" fmla="*/ 0 w 15"/>
                <a:gd name="T5" fmla="*/ 2 h 6"/>
                <a:gd name="T6" fmla="*/ 0 w 15"/>
                <a:gd name="T7" fmla="*/ 5 h 6"/>
                <a:gd name="T8" fmla="*/ 14 w 15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14" y="2"/>
                  </a:moveTo>
                  <a:cubicBezTo>
                    <a:pt x="14" y="2"/>
                    <a:pt x="14" y="0"/>
                    <a:pt x="14" y="2"/>
                  </a:cubicBezTo>
                  <a:cubicBezTo>
                    <a:pt x="8" y="2"/>
                    <a:pt x="6" y="2"/>
                    <a:pt x="0" y="2"/>
                  </a:cubicBezTo>
                  <a:lnTo>
                    <a:pt x="0" y="5"/>
                  </a:lnTo>
                  <a:cubicBezTo>
                    <a:pt x="6" y="2"/>
                    <a:pt x="11" y="2"/>
                    <a:pt x="14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3" name="Freeform 411"/>
            <p:cNvSpPr>
              <a:spLocks noChangeArrowheads="1"/>
            </p:cNvSpPr>
            <p:nvPr/>
          </p:nvSpPr>
          <p:spPr bwMode="auto">
            <a:xfrm>
              <a:off x="3910013" y="2203450"/>
              <a:ext cx="1587" cy="4763"/>
            </a:xfrm>
            <a:custGeom>
              <a:avLst/>
              <a:gdLst>
                <a:gd name="T0" fmla="*/ 2 w 3"/>
                <a:gd name="T1" fmla="*/ 0 h 12"/>
                <a:gd name="T2" fmla="*/ 0 w 3"/>
                <a:gd name="T3" fmla="*/ 11 h 12"/>
                <a:gd name="T4" fmla="*/ 0 w 3"/>
                <a:gd name="T5" fmla="*/ 11 h 12"/>
                <a:gd name="T6" fmla="*/ 2 w 3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2">
                  <a:moveTo>
                    <a:pt x="2" y="0"/>
                  </a:moveTo>
                  <a:cubicBezTo>
                    <a:pt x="0" y="0"/>
                    <a:pt x="0" y="6"/>
                    <a:pt x="0" y="11"/>
                  </a:cubicBezTo>
                  <a:lnTo>
                    <a:pt x="0" y="11"/>
                  </a:lnTo>
                  <a:cubicBezTo>
                    <a:pt x="0" y="6"/>
                    <a:pt x="0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4" name="Freeform 412"/>
            <p:cNvSpPr>
              <a:spLocks noChangeArrowheads="1"/>
            </p:cNvSpPr>
            <p:nvPr/>
          </p:nvSpPr>
          <p:spPr bwMode="auto">
            <a:xfrm>
              <a:off x="3959225" y="2327275"/>
              <a:ext cx="14288" cy="9525"/>
            </a:xfrm>
            <a:custGeom>
              <a:avLst/>
              <a:gdLst>
                <a:gd name="T0" fmla="*/ 22 w 40"/>
                <a:gd name="T1" fmla="*/ 26 h 27"/>
                <a:gd name="T2" fmla="*/ 32 w 40"/>
                <a:gd name="T3" fmla="*/ 11 h 27"/>
                <a:gd name="T4" fmla="*/ 28 w 40"/>
                <a:gd name="T5" fmla="*/ 12 h 27"/>
                <a:gd name="T6" fmla="*/ 14 w 40"/>
                <a:gd name="T7" fmla="*/ 3 h 27"/>
                <a:gd name="T8" fmla="*/ 14 w 40"/>
                <a:gd name="T9" fmla="*/ 17 h 27"/>
                <a:gd name="T10" fmla="*/ 3 w 40"/>
                <a:gd name="T11" fmla="*/ 20 h 27"/>
                <a:gd name="T12" fmla="*/ 22 w 40"/>
                <a:gd name="T13" fmla="*/ 26 h 27"/>
                <a:gd name="T14" fmla="*/ 33 w 40"/>
                <a:gd name="T15" fmla="*/ 9 h 27"/>
                <a:gd name="T16" fmla="*/ 32 w 40"/>
                <a:gd name="T17" fmla="*/ 11 h 27"/>
                <a:gd name="T18" fmla="*/ 33 w 40"/>
                <a:gd name="T19" fmla="*/ 9 h 27"/>
                <a:gd name="T20" fmla="*/ 39 w 40"/>
                <a:gd name="T21" fmla="*/ 0 h 27"/>
                <a:gd name="T22" fmla="*/ 34 w 40"/>
                <a:gd name="T23" fmla="*/ 0 h 27"/>
                <a:gd name="T24" fmla="*/ 33 w 40"/>
                <a:gd name="T25" fmla="*/ 9 h 27"/>
                <a:gd name="T26" fmla="*/ 39 w 40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27">
                  <a:moveTo>
                    <a:pt x="22" y="26"/>
                  </a:moveTo>
                  <a:lnTo>
                    <a:pt x="32" y="11"/>
                  </a:lnTo>
                  <a:cubicBezTo>
                    <a:pt x="31" y="11"/>
                    <a:pt x="30" y="12"/>
                    <a:pt x="28" y="12"/>
                  </a:cubicBezTo>
                  <a:cubicBezTo>
                    <a:pt x="20" y="12"/>
                    <a:pt x="25" y="0"/>
                    <a:pt x="14" y="3"/>
                  </a:cubicBezTo>
                  <a:lnTo>
                    <a:pt x="14" y="17"/>
                  </a:lnTo>
                  <a:cubicBezTo>
                    <a:pt x="11" y="14"/>
                    <a:pt x="0" y="12"/>
                    <a:pt x="3" y="20"/>
                  </a:cubicBezTo>
                  <a:cubicBezTo>
                    <a:pt x="11" y="20"/>
                    <a:pt x="17" y="23"/>
                    <a:pt x="22" y="26"/>
                  </a:cubicBezTo>
                  <a:close/>
                  <a:moveTo>
                    <a:pt x="33" y="9"/>
                  </a:moveTo>
                  <a:cubicBezTo>
                    <a:pt x="33" y="10"/>
                    <a:pt x="33" y="11"/>
                    <a:pt x="32" y="11"/>
                  </a:cubicBezTo>
                  <a:lnTo>
                    <a:pt x="33" y="9"/>
                  </a:lnTo>
                  <a:close/>
                  <a:moveTo>
                    <a:pt x="39" y="0"/>
                  </a:moveTo>
                  <a:lnTo>
                    <a:pt x="34" y="0"/>
                  </a:lnTo>
                  <a:cubicBezTo>
                    <a:pt x="30" y="4"/>
                    <a:pt x="33" y="7"/>
                    <a:pt x="33" y="9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5" name="Freeform 413"/>
            <p:cNvSpPr>
              <a:spLocks noChangeArrowheads="1"/>
            </p:cNvSpPr>
            <p:nvPr/>
          </p:nvSpPr>
          <p:spPr bwMode="auto">
            <a:xfrm>
              <a:off x="3978275" y="2103438"/>
              <a:ext cx="4763" cy="3175"/>
            </a:xfrm>
            <a:custGeom>
              <a:avLst/>
              <a:gdLst>
                <a:gd name="T0" fmla="*/ 12 w 13"/>
                <a:gd name="T1" fmla="*/ 2 h 9"/>
                <a:gd name="T2" fmla="*/ 9 w 13"/>
                <a:gd name="T3" fmla="*/ 0 h 9"/>
                <a:gd name="T4" fmla="*/ 0 w 13"/>
                <a:gd name="T5" fmla="*/ 5 h 9"/>
                <a:gd name="T6" fmla="*/ 12 w 13"/>
                <a:gd name="T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12" y="2"/>
                  </a:moveTo>
                  <a:cubicBezTo>
                    <a:pt x="9" y="2"/>
                    <a:pt x="9" y="2"/>
                    <a:pt x="9" y="0"/>
                  </a:cubicBezTo>
                  <a:cubicBezTo>
                    <a:pt x="6" y="2"/>
                    <a:pt x="3" y="5"/>
                    <a:pt x="0" y="5"/>
                  </a:cubicBezTo>
                  <a:cubicBezTo>
                    <a:pt x="6" y="8"/>
                    <a:pt x="9" y="5"/>
                    <a:pt x="12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6" name="Freeform 414"/>
            <p:cNvSpPr>
              <a:spLocks noChangeArrowheads="1"/>
            </p:cNvSpPr>
            <p:nvPr/>
          </p:nvSpPr>
          <p:spPr bwMode="auto">
            <a:xfrm>
              <a:off x="3971925" y="2098675"/>
              <a:ext cx="11113" cy="11113"/>
            </a:xfrm>
            <a:custGeom>
              <a:avLst/>
              <a:gdLst>
                <a:gd name="T0" fmla="*/ 19 w 29"/>
                <a:gd name="T1" fmla="*/ 22 h 32"/>
                <a:gd name="T2" fmla="*/ 19 w 29"/>
                <a:gd name="T3" fmla="*/ 22 h 32"/>
                <a:gd name="T4" fmla="*/ 28 w 29"/>
                <a:gd name="T5" fmla="*/ 16 h 32"/>
                <a:gd name="T6" fmla="*/ 22 w 29"/>
                <a:gd name="T7" fmla="*/ 0 h 32"/>
                <a:gd name="T8" fmla="*/ 0 w 29"/>
                <a:gd name="T9" fmla="*/ 19 h 32"/>
                <a:gd name="T10" fmla="*/ 5 w 29"/>
                <a:gd name="T11" fmla="*/ 31 h 32"/>
                <a:gd name="T12" fmla="*/ 19 w 29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2">
                  <a:moveTo>
                    <a:pt x="19" y="22"/>
                  </a:moveTo>
                  <a:lnTo>
                    <a:pt x="19" y="22"/>
                  </a:lnTo>
                  <a:cubicBezTo>
                    <a:pt x="22" y="19"/>
                    <a:pt x="25" y="19"/>
                    <a:pt x="28" y="16"/>
                  </a:cubicBezTo>
                  <a:cubicBezTo>
                    <a:pt x="25" y="11"/>
                    <a:pt x="22" y="5"/>
                    <a:pt x="22" y="0"/>
                  </a:cubicBezTo>
                  <a:cubicBezTo>
                    <a:pt x="11" y="2"/>
                    <a:pt x="3" y="8"/>
                    <a:pt x="0" y="19"/>
                  </a:cubicBezTo>
                  <a:cubicBezTo>
                    <a:pt x="3" y="22"/>
                    <a:pt x="5" y="28"/>
                    <a:pt x="5" y="31"/>
                  </a:cubicBezTo>
                  <a:cubicBezTo>
                    <a:pt x="11" y="28"/>
                    <a:pt x="17" y="25"/>
                    <a:pt x="19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7" name="Freeform 415"/>
            <p:cNvSpPr>
              <a:spLocks noChangeArrowheads="1"/>
            </p:cNvSpPr>
            <p:nvPr/>
          </p:nvSpPr>
          <p:spPr bwMode="auto">
            <a:xfrm>
              <a:off x="3970338" y="2132013"/>
              <a:ext cx="4762" cy="4762"/>
            </a:xfrm>
            <a:custGeom>
              <a:avLst/>
              <a:gdLst>
                <a:gd name="T0" fmla="*/ 8 w 12"/>
                <a:gd name="T1" fmla="*/ 0 h 12"/>
                <a:gd name="T2" fmla="*/ 0 w 12"/>
                <a:gd name="T3" fmla="*/ 11 h 12"/>
                <a:gd name="T4" fmla="*/ 11 w 12"/>
                <a:gd name="T5" fmla="*/ 2 h 12"/>
                <a:gd name="T6" fmla="*/ 8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cubicBezTo>
                    <a:pt x="6" y="2"/>
                    <a:pt x="3" y="8"/>
                    <a:pt x="0" y="11"/>
                  </a:cubicBezTo>
                  <a:cubicBezTo>
                    <a:pt x="3" y="8"/>
                    <a:pt x="8" y="8"/>
                    <a:pt x="11" y="2"/>
                  </a:cubicBezTo>
                  <a:cubicBezTo>
                    <a:pt x="8" y="2"/>
                    <a:pt x="8" y="2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8" name="Freeform 416"/>
            <p:cNvSpPr>
              <a:spLocks noChangeArrowheads="1"/>
            </p:cNvSpPr>
            <p:nvPr/>
          </p:nvSpPr>
          <p:spPr bwMode="auto">
            <a:xfrm>
              <a:off x="3983038" y="2114550"/>
              <a:ext cx="3175" cy="1588"/>
            </a:xfrm>
            <a:custGeom>
              <a:avLst/>
              <a:gdLst>
                <a:gd name="T0" fmla="*/ 8 w 9"/>
                <a:gd name="T1" fmla="*/ 0 h 6"/>
                <a:gd name="T2" fmla="*/ 0 w 9"/>
                <a:gd name="T3" fmla="*/ 5 h 6"/>
                <a:gd name="T4" fmla="*/ 8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8" y="0"/>
                  </a:moveTo>
                  <a:cubicBezTo>
                    <a:pt x="5" y="0"/>
                    <a:pt x="3" y="2"/>
                    <a:pt x="0" y="5"/>
                  </a:cubicBezTo>
                  <a:cubicBezTo>
                    <a:pt x="5" y="5"/>
                    <a:pt x="8" y="2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59" name="Freeform 417"/>
            <p:cNvSpPr>
              <a:spLocks noChangeArrowheads="1"/>
            </p:cNvSpPr>
            <p:nvPr/>
          </p:nvSpPr>
          <p:spPr bwMode="auto">
            <a:xfrm>
              <a:off x="3965575" y="2319338"/>
              <a:ext cx="4763" cy="6350"/>
            </a:xfrm>
            <a:custGeom>
              <a:avLst/>
              <a:gdLst>
                <a:gd name="T0" fmla="*/ 11 w 12"/>
                <a:gd name="T1" fmla="*/ 8 h 18"/>
                <a:gd name="T2" fmla="*/ 11 w 12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11" y="8"/>
                  </a:moveTo>
                  <a:cubicBezTo>
                    <a:pt x="0" y="0"/>
                    <a:pt x="5" y="17"/>
                    <a:pt x="11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0" name="Freeform 418"/>
            <p:cNvSpPr>
              <a:spLocks noChangeArrowheads="1"/>
            </p:cNvSpPr>
            <p:nvPr/>
          </p:nvSpPr>
          <p:spPr bwMode="auto">
            <a:xfrm>
              <a:off x="3984625" y="2157413"/>
              <a:ext cx="1588" cy="3175"/>
            </a:xfrm>
            <a:custGeom>
              <a:avLst/>
              <a:gdLst>
                <a:gd name="T0" fmla="*/ 0 w 4"/>
                <a:gd name="T1" fmla="*/ 6 h 7"/>
                <a:gd name="T2" fmla="*/ 0 w 4"/>
                <a:gd name="T3" fmla="*/ 6 h 7"/>
                <a:gd name="T4" fmla="*/ 3 w 4"/>
                <a:gd name="T5" fmla="*/ 0 h 7"/>
                <a:gd name="T6" fmla="*/ 0 w 4"/>
                <a:gd name="T7" fmla="*/ 0 h 7"/>
                <a:gd name="T8" fmla="*/ 0 w 4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0" y="6"/>
                  </a:moveTo>
                  <a:lnTo>
                    <a:pt x="0" y="6"/>
                  </a:lnTo>
                  <a:cubicBezTo>
                    <a:pt x="3" y="3"/>
                    <a:pt x="3" y="3"/>
                    <a:pt x="3" y="0"/>
                  </a:cubicBez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1" name="Freeform 419"/>
            <p:cNvSpPr>
              <a:spLocks noChangeArrowheads="1"/>
            </p:cNvSpPr>
            <p:nvPr/>
          </p:nvSpPr>
          <p:spPr bwMode="auto">
            <a:xfrm>
              <a:off x="3875088" y="2641600"/>
              <a:ext cx="1587" cy="1588"/>
            </a:xfrm>
            <a:custGeom>
              <a:avLst/>
              <a:gdLst>
                <a:gd name="T0" fmla="*/ 0 w 4"/>
                <a:gd name="T1" fmla="*/ 4 h 5"/>
                <a:gd name="T2" fmla="*/ 3 w 4"/>
                <a:gd name="T3" fmla="*/ 0 h 5"/>
                <a:gd name="T4" fmla="*/ 0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0" y="4"/>
                  </a:moveTo>
                  <a:cubicBezTo>
                    <a:pt x="2" y="3"/>
                    <a:pt x="3" y="1"/>
                    <a:pt x="3" y="0"/>
                  </a:cubicBezTo>
                  <a:cubicBezTo>
                    <a:pt x="3" y="2"/>
                    <a:pt x="0" y="2"/>
                    <a:pt x="0" y="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2" name="Freeform 420"/>
            <p:cNvSpPr>
              <a:spLocks noChangeArrowheads="1"/>
            </p:cNvSpPr>
            <p:nvPr/>
          </p:nvSpPr>
          <p:spPr bwMode="auto">
            <a:xfrm>
              <a:off x="3948113" y="2328863"/>
              <a:ext cx="1587" cy="3175"/>
            </a:xfrm>
            <a:custGeom>
              <a:avLst/>
              <a:gdLst>
                <a:gd name="T0" fmla="*/ 0 w 6"/>
                <a:gd name="T1" fmla="*/ 6 h 7"/>
                <a:gd name="T2" fmla="*/ 5 w 6"/>
                <a:gd name="T3" fmla="*/ 6 h 7"/>
                <a:gd name="T4" fmla="*/ 5 w 6"/>
                <a:gd name="T5" fmla="*/ 0 h 7"/>
                <a:gd name="T6" fmla="*/ 0 w 6"/>
                <a:gd name="T7" fmla="*/ 0 h 7"/>
                <a:gd name="T8" fmla="*/ 0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6"/>
                  </a:moveTo>
                  <a:lnTo>
                    <a:pt x="5" y="6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3" name="Freeform 421"/>
            <p:cNvSpPr>
              <a:spLocks noChangeArrowheads="1"/>
            </p:cNvSpPr>
            <p:nvPr/>
          </p:nvSpPr>
          <p:spPr bwMode="auto">
            <a:xfrm>
              <a:off x="3979863" y="2320925"/>
              <a:ext cx="6350" cy="4763"/>
            </a:xfrm>
            <a:custGeom>
              <a:avLst/>
              <a:gdLst>
                <a:gd name="T0" fmla="*/ 0 w 18"/>
                <a:gd name="T1" fmla="*/ 3 h 13"/>
                <a:gd name="T2" fmla="*/ 0 w 18"/>
                <a:gd name="T3" fmla="*/ 3 h 13"/>
                <a:gd name="T4" fmla="*/ 17 w 18"/>
                <a:gd name="T5" fmla="*/ 12 h 13"/>
                <a:gd name="T6" fmla="*/ 17 w 18"/>
                <a:gd name="T7" fmla="*/ 9 h 13"/>
                <a:gd name="T8" fmla="*/ 14 w 18"/>
                <a:gd name="T9" fmla="*/ 3 h 13"/>
                <a:gd name="T10" fmla="*/ 0 w 18"/>
                <a:gd name="T11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3">
                  <a:moveTo>
                    <a:pt x="0" y="3"/>
                  </a:moveTo>
                  <a:cubicBezTo>
                    <a:pt x="0" y="3"/>
                    <a:pt x="0" y="6"/>
                    <a:pt x="0" y="3"/>
                  </a:cubicBezTo>
                  <a:cubicBezTo>
                    <a:pt x="3" y="9"/>
                    <a:pt x="12" y="6"/>
                    <a:pt x="17" y="12"/>
                  </a:cubicBezTo>
                  <a:lnTo>
                    <a:pt x="17" y="9"/>
                  </a:lnTo>
                  <a:cubicBezTo>
                    <a:pt x="17" y="6"/>
                    <a:pt x="14" y="6"/>
                    <a:pt x="14" y="3"/>
                  </a:cubicBezTo>
                  <a:cubicBezTo>
                    <a:pt x="9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4" name="Freeform 422"/>
            <p:cNvSpPr>
              <a:spLocks noChangeArrowheads="1"/>
            </p:cNvSpPr>
            <p:nvPr/>
          </p:nvSpPr>
          <p:spPr bwMode="auto">
            <a:xfrm>
              <a:off x="3956050" y="2109788"/>
              <a:ext cx="3175" cy="1587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3" y="0"/>
                    <a:pt x="0" y="0"/>
                  </a:cubicBezTo>
                  <a:cubicBezTo>
                    <a:pt x="3" y="3"/>
                    <a:pt x="6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5" name="Freeform 423"/>
            <p:cNvSpPr>
              <a:spLocks noChangeArrowheads="1"/>
            </p:cNvSpPr>
            <p:nvPr/>
          </p:nvSpPr>
          <p:spPr bwMode="auto">
            <a:xfrm>
              <a:off x="3941763" y="2328863"/>
              <a:ext cx="17462" cy="28575"/>
            </a:xfrm>
            <a:custGeom>
              <a:avLst/>
              <a:gdLst>
                <a:gd name="T0" fmla="*/ 22 w 49"/>
                <a:gd name="T1" fmla="*/ 8 h 80"/>
                <a:gd name="T2" fmla="*/ 8 w 49"/>
                <a:gd name="T3" fmla="*/ 17 h 80"/>
                <a:gd name="T4" fmla="*/ 8 w 49"/>
                <a:gd name="T5" fmla="*/ 17 h 80"/>
                <a:gd name="T6" fmla="*/ 6 w 49"/>
                <a:gd name="T7" fmla="*/ 22 h 80"/>
                <a:gd name="T8" fmla="*/ 6 w 49"/>
                <a:gd name="T9" fmla="*/ 22 h 80"/>
                <a:gd name="T10" fmla="*/ 8 w 49"/>
                <a:gd name="T11" fmla="*/ 34 h 80"/>
                <a:gd name="T12" fmla="*/ 11 w 49"/>
                <a:gd name="T13" fmla="*/ 34 h 80"/>
                <a:gd name="T14" fmla="*/ 11 w 49"/>
                <a:gd name="T15" fmla="*/ 39 h 80"/>
                <a:gd name="T16" fmla="*/ 8 w 49"/>
                <a:gd name="T17" fmla="*/ 39 h 80"/>
                <a:gd name="T18" fmla="*/ 3 w 49"/>
                <a:gd name="T19" fmla="*/ 70 h 80"/>
                <a:gd name="T20" fmla="*/ 0 w 49"/>
                <a:gd name="T21" fmla="*/ 70 h 80"/>
                <a:gd name="T22" fmla="*/ 0 w 49"/>
                <a:gd name="T23" fmla="*/ 73 h 80"/>
                <a:gd name="T24" fmla="*/ 14 w 49"/>
                <a:gd name="T25" fmla="*/ 73 h 80"/>
                <a:gd name="T26" fmla="*/ 8 w 49"/>
                <a:gd name="T27" fmla="*/ 70 h 80"/>
                <a:gd name="T28" fmla="*/ 11 w 49"/>
                <a:gd name="T29" fmla="*/ 65 h 80"/>
                <a:gd name="T30" fmla="*/ 6 w 49"/>
                <a:gd name="T31" fmla="*/ 56 h 80"/>
                <a:gd name="T32" fmla="*/ 25 w 49"/>
                <a:gd name="T33" fmla="*/ 59 h 80"/>
                <a:gd name="T34" fmla="*/ 20 w 49"/>
                <a:gd name="T35" fmla="*/ 37 h 80"/>
                <a:gd name="T36" fmla="*/ 39 w 49"/>
                <a:gd name="T37" fmla="*/ 22 h 80"/>
                <a:gd name="T38" fmla="*/ 48 w 49"/>
                <a:gd name="T39" fmla="*/ 8 h 80"/>
                <a:gd name="T40" fmla="*/ 39 w 49"/>
                <a:gd name="T41" fmla="*/ 0 h 80"/>
                <a:gd name="T42" fmla="*/ 22 w 49"/>
                <a:gd name="T43" fmla="*/ 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9" h="80">
                  <a:moveTo>
                    <a:pt x="22" y="8"/>
                  </a:moveTo>
                  <a:cubicBezTo>
                    <a:pt x="20" y="17"/>
                    <a:pt x="17" y="22"/>
                    <a:pt x="8" y="17"/>
                  </a:cubicBezTo>
                  <a:lnTo>
                    <a:pt x="8" y="17"/>
                  </a:lnTo>
                  <a:cubicBezTo>
                    <a:pt x="8" y="20"/>
                    <a:pt x="8" y="22"/>
                    <a:pt x="6" y="22"/>
                  </a:cubicBezTo>
                  <a:lnTo>
                    <a:pt x="6" y="22"/>
                  </a:lnTo>
                  <a:cubicBezTo>
                    <a:pt x="6" y="25"/>
                    <a:pt x="8" y="31"/>
                    <a:pt x="8" y="34"/>
                  </a:cubicBezTo>
                  <a:lnTo>
                    <a:pt x="11" y="34"/>
                  </a:lnTo>
                  <a:lnTo>
                    <a:pt x="11" y="39"/>
                  </a:lnTo>
                  <a:lnTo>
                    <a:pt x="8" y="39"/>
                  </a:lnTo>
                  <a:cubicBezTo>
                    <a:pt x="3" y="48"/>
                    <a:pt x="0" y="59"/>
                    <a:pt x="3" y="70"/>
                  </a:cubicBezTo>
                  <a:lnTo>
                    <a:pt x="0" y="70"/>
                  </a:lnTo>
                  <a:lnTo>
                    <a:pt x="0" y="73"/>
                  </a:lnTo>
                  <a:cubicBezTo>
                    <a:pt x="6" y="73"/>
                    <a:pt x="11" y="79"/>
                    <a:pt x="14" y="73"/>
                  </a:cubicBezTo>
                  <a:cubicBezTo>
                    <a:pt x="11" y="73"/>
                    <a:pt x="11" y="70"/>
                    <a:pt x="8" y="70"/>
                  </a:cubicBezTo>
                  <a:cubicBezTo>
                    <a:pt x="8" y="68"/>
                    <a:pt x="8" y="68"/>
                    <a:pt x="11" y="65"/>
                  </a:cubicBezTo>
                  <a:cubicBezTo>
                    <a:pt x="8" y="62"/>
                    <a:pt x="6" y="62"/>
                    <a:pt x="6" y="56"/>
                  </a:cubicBezTo>
                  <a:cubicBezTo>
                    <a:pt x="11" y="51"/>
                    <a:pt x="20" y="56"/>
                    <a:pt x="25" y="59"/>
                  </a:cubicBezTo>
                  <a:cubicBezTo>
                    <a:pt x="28" y="48"/>
                    <a:pt x="20" y="45"/>
                    <a:pt x="20" y="37"/>
                  </a:cubicBezTo>
                  <a:cubicBezTo>
                    <a:pt x="25" y="31"/>
                    <a:pt x="31" y="25"/>
                    <a:pt x="39" y="22"/>
                  </a:cubicBezTo>
                  <a:cubicBezTo>
                    <a:pt x="39" y="14"/>
                    <a:pt x="39" y="8"/>
                    <a:pt x="48" y="8"/>
                  </a:cubicBezTo>
                  <a:cubicBezTo>
                    <a:pt x="48" y="3"/>
                    <a:pt x="42" y="0"/>
                    <a:pt x="39" y="0"/>
                  </a:cubicBezTo>
                  <a:cubicBezTo>
                    <a:pt x="42" y="11"/>
                    <a:pt x="28" y="6"/>
                    <a:pt x="22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6" name="Freeform 424"/>
            <p:cNvSpPr>
              <a:spLocks noChangeArrowheads="1"/>
            </p:cNvSpPr>
            <p:nvPr/>
          </p:nvSpPr>
          <p:spPr bwMode="auto">
            <a:xfrm>
              <a:off x="3994150" y="2336800"/>
              <a:ext cx="1588" cy="1588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5 h 6"/>
                <a:gd name="T4" fmla="*/ 5 w 6"/>
                <a:gd name="T5" fmla="*/ 2 h 6"/>
                <a:gd name="T6" fmla="*/ 0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cubicBezTo>
                    <a:pt x="0" y="2"/>
                    <a:pt x="0" y="2"/>
                    <a:pt x="0" y="5"/>
                  </a:cubicBezTo>
                  <a:cubicBezTo>
                    <a:pt x="2" y="5"/>
                    <a:pt x="5" y="5"/>
                    <a:pt x="5" y="2"/>
                  </a:cubicBezTo>
                  <a:cubicBezTo>
                    <a:pt x="5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7" name="Freeform 425"/>
            <p:cNvSpPr>
              <a:spLocks noChangeArrowheads="1"/>
            </p:cNvSpPr>
            <p:nvPr/>
          </p:nvSpPr>
          <p:spPr bwMode="auto">
            <a:xfrm>
              <a:off x="3919538" y="2589213"/>
              <a:ext cx="3175" cy="3175"/>
            </a:xfrm>
            <a:custGeom>
              <a:avLst/>
              <a:gdLst>
                <a:gd name="T0" fmla="*/ 0 w 9"/>
                <a:gd name="T1" fmla="*/ 0 h 9"/>
                <a:gd name="T2" fmla="*/ 5 w 9"/>
                <a:gd name="T3" fmla="*/ 8 h 9"/>
                <a:gd name="T4" fmla="*/ 8 w 9"/>
                <a:gd name="T5" fmla="*/ 3 h 9"/>
                <a:gd name="T6" fmla="*/ 0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cubicBezTo>
                    <a:pt x="0" y="3"/>
                    <a:pt x="3" y="8"/>
                    <a:pt x="5" y="8"/>
                  </a:cubicBezTo>
                  <a:cubicBezTo>
                    <a:pt x="5" y="5"/>
                    <a:pt x="8" y="5"/>
                    <a:pt x="8" y="3"/>
                  </a:cubicBezTo>
                  <a:cubicBezTo>
                    <a:pt x="5" y="3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8" name="Freeform 426"/>
            <p:cNvSpPr>
              <a:spLocks noChangeArrowheads="1"/>
            </p:cNvSpPr>
            <p:nvPr/>
          </p:nvSpPr>
          <p:spPr bwMode="auto">
            <a:xfrm>
              <a:off x="3910013" y="2541588"/>
              <a:ext cx="7937" cy="4762"/>
            </a:xfrm>
            <a:custGeom>
              <a:avLst/>
              <a:gdLst>
                <a:gd name="T0" fmla="*/ 2 w 20"/>
                <a:gd name="T1" fmla="*/ 12 h 13"/>
                <a:gd name="T2" fmla="*/ 19 w 20"/>
                <a:gd name="T3" fmla="*/ 0 h 13"/>
                <a:gd name="T4" fmla="*/ 2 w 20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3">
                  <a:moveTo>
                    <a:pt x="2" y="12"/>
                  </a:moveTo>
                  <a:cubicBezTo>
                    <a:pt x="11" y="12"/>
                    <a:pt x="19" y="12"/>
                    <a:pt x="19" y="0"/>
                  </a:cubicBezTo>
                  <a:cubicBezTo>
                    <a:pt x="11" y="0"/>
                    <a:pt x="0" y="0"/>
                    <a:pt x="2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69" name="Freeform 427"/>
            <p:cNvSpPr>
              <a:spLocks noChangeArrowheads="1"/>
            </p:cNvSpPr>
            <p:nvPr/>
          </p:nvSpPr>
          <p:spPr bwMode="auto">
            <a:xfrm>
              <a:off x="3917950" y="2368550"/>
              <a:ext cx="4763" cy="6350"/>
            </a:xfrm>
            <a:custGeom>
              <a:avLst/>
              <a:gdLst>
                <a:gd name="T0" fmla="*/ 6 w 15"/>
                <a:gd name="T1" fmla="*/ 0 h 18"/>
                <a:gd name="T2" fmla="*/ 0 w 15"/>
                <a:gd name="T3" fmla="*/ 14 h 18"/>
                <a:gd name="T4" fmla="*/ 6 w 15"/>
                <a:gd name="T5" fmla="*/ 17 h 18"/>
                <a:gd name="T6" fmla="*/ 9 w 15"/>
                <a:gd name="T7" fmla="*/ 17 h 18"/>
                <a:gd name="T8" fmla="*/ 9 w 15"/>
                <a:gd name="T9" fmla="*/ 17 h 18"/>
                <a:gd name="T10" fmla="*/ 9 w 15"/>
                <a:gd name="T11" fmla="*/ 0 h 18"/>
                <a:gd name="T12" fmla="*/ 6 w 15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8">
                  <a:moveTo>
                    <a:pt x="6" y="0"/>
                  </a:moveTo>
                  <a:cubicBezTo>
                    <a:pt x="6" y="6"/>
                    <a:pt x="0" y="6"/>
                    <a:pt x="0" y="14"/>
                  </a:cubicBezTo>
                  <a:cubicBezTo>
                    <a:pt x="3" y="14"/>
                    <a:pt x="3" y="17"/>
                    <a:pt x="6" y="17"/>
                  </a:cubicBezTo>
                  <a:lnTo>
                    <a:pt x="9" y="17"/>
                  </a:lnTo>
                  <a:lnTo>
                    <a:pt x="9" y="17"/>
                  </a:lnTo>
                  <a:cubicBezTo>
                    <a:pt x="14" y="11"/>
                    <a:pt x="14" y="6"/>
                    <a:pt x="9" y="0"/>
                  </a:cubicBez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0" name="Freeform 428"/>
            <p:cNvSpPr>
              <a:spLocks noChangeArrowheads="1"/>
            </p:cNvSpPr>
            <p:nvPr/>
          </p:nvSpPr>
          <p:spPr bwMode="auto">
            <a:xfrm>
              <a:off x="3914775" y="2544763"/>
              <a:ext cx="4763" cy="6350"/>
            </a:xfrm>
            <a:custGeom>
              <a:avLst/>
              <a:gdLst>
                <a:gd name="T0" fmla="*/ 14 w 15"/>
                <a:gd name="T1" fmla="*/ 0 h 18"/>
                <a:gd name="T2" fmla="*/ 5 w 15"/>
                <a:gd name="T3" fmla="*/ 17 h 18"/>
                <a:gd name="T4" fmla="*/ 14 w 15"/>
                <a:gd name="T5" fmla="*/ 14 h 18"/>
                <a:gd name="T6" fmla="*/ 14 w 15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8">
                  <a:moveTo>
                    <a:pt x="14" y="0"/>
                  </a:moveTo>
                  <a:cubicBezTo>
                    <a:pt x="5" y="0"/>
                    <a:pt x="0" y="11"/>
                    <a:pt x="5" y="17"/>
                  </a:cubicBezTo>
                  <a:cubicBezTo>
                    <a:pt x="11" y="17"/>
                    <a:pt x="11" y="14"/>
                    <a:pt x="14" y="14"/>
                  </a:cubicBezTo>
                  <a:lnTo>
                    <a:pt x="14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1" name="Freeform 429"/>
            <p:cNvSpPr>
              <a:spLocks noChangeArrowheads="1"/>
            </p:cNvSpPr>
            <p:nvPr/>
          </p:nvSpPr>
          <p:spPr bwMode="auto">
            <a:xfrm>
              <a:off x="3919538" y="2414588"/>
              <a:ext cx="4762" cy="1587"/>
            </a:xfrm>
            <a:custGeom>
              <a:avLst/>
              <a:gdLst>
                <a:gd name="T0" fmla="*/ 0 w 12"/>
                <a:gd name="T1" fmla="*/ 5 h 6"/>
                <a:gd name="T2" fmla="*/ 11 w 12"/>
                <a:gd name="T3" fmla="*/ 5 h 6"/>
                <a:gd name="T4" fmla="*/ 8 w 12"/>
                <a:gd name="T5" fmla="*/ 0 h 6"/>
                <a:gd name="T6" fmla="*/ 0 w 12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0" y="5"/>
                  </a:moveTo>
                  <a:lnTo>
                    <a:pt x="11" y="5"/>
                  </a:lnTo>
                  <a:cubicBezTo>
                    <a:pt x="8" y="5"/>
                    <a:pt x="5" y="5"/>
                    <a:pt x="8" y="0"/>
                  </a:cubicBezTo>
                  <a:cubicBezTo>
                    <a:pt x="5" y="0"/>
                    <a:pt x="3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2" name="Freeform 430"/>
            <p:cNvSpPr>
              <a:spLocks noChangeArrowheads="1"/>
            </p:cNvSpPr>
            <p:nvPr/>
          </p:nvSpPr>
          <p:spPr bwMode="auto">
            <a:xfrm>
              <a:off x="3930650" y="2914650"/>
              <a:ext cx="1588" cy="3175"/>
            </a:xfrm>
            <a:custGeom>
              <a:avLst/>
              <a:gdLst>
                <a:gd name="T0" fmla="*/ 0 w 6"/>
                <a:gd name="T1" fmla="*/ 6 h 7"/>
                <a:gd name="T2" fmla="*/ 0 w 6"/>
                <a:gd name="T3" fmla="*/ 6 h 7"/>
                <a:gd name="T4" fmla="*/ 5 w 6"/>
                <a:gd name="T5" fmla="*/ 3 h 7"/>
                <a:gd name="T6" fmla="*/ 3 w 6"/>
                <a:gd name="T7" fmla="*/ 0 h 7"/>
                <a:gd name="T8" fmla="*/ 0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6"/>
                  </a:moveTo>
                  <a:lnTo>
                    <a:pt x="0" y="6"/>
                  </a:lnTo>
                  <a:cubicBezTo>
                    <a:pt x="3" y="6"/>
                    <a:pt x="5" y="6"/>
                    <a:pt x="5" y="3"/>
                  </a:cubicBezTo>
                  <a:cubicBezTo>
                    <a:pt x="5" y="3"/>
                    <a:pt x="3" y="3"/>
                    <a:pt x="3" y="0"/>
                  </a:cubicBezTo>
                  <a:cubicBezTo>
                    <a:pt x="3" y="3"/>
                    <a:pt x="0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3" name="Freeform 431"/>
            <p:cNvSpPr>
              <a:spLocks noChangeArrowheads="1"/>
            </p:cNvSpPr>
            <p:nvPr/>
          </p:nvSpPr>
          <p:spPr bwMode="auto">
            <a:xfrm>
              <a:off x="3933825" y="2730500"/>
              <a:ext cx="6350" cy="6350"/>
            </a:xfrm>
            <a:custGeom>
              <a:avLst/>
              <a:gdLst>
                <a:gd name="T0" fmla="*/ 14 w 18"/>
                <a:gd name="T1" fmla="*/ 6 h 18"/>
                <a:gd name="T2" fmla="*/ 3 w 18"/>
                <a:gd name="T3" fmla="*/ 11 h 18"/>
                <a:gd name="T4" fmla="*/ 14 w 18"/>
                <a:gd name="T5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8">
                  <a:moveTo>
                    <a:pt x="14" y="6"/>
                  </a:moveTo>
                  <a:cubicBezTo>
                    <a:pt x="12" y="0"/>
                    <a:pt x="0" y="3"/>
                    <a:pt x="3" y="11"/>
                  </a:cubicBezTo>
                  <a:cubicBezTo>
                    <a:pt x="6" y="17"/>
                    <a:pt x="17" y="17"/>
                    <a:pt x="14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4" name="Freeform 432"/>
            <p:cNvSpPr>
              <a:spLocks noChangeArrowheads="1"/>
            </p:cNvSpPr>
            <p:nvPr/>
          </p:nvSpPr>
          <p:spPr bwMode="auto">
            <a:xfrm>
              <a:off x="3932238" y="2800350"/>
              <a:ext cx="3175" cy="4763"/>
            </a:xfrm>
            <a:custGeom>
              <a:avLst/>
              <a:gdLst>
                <a:gd name="T0" fmla="*/ 0 w 10"/>
                <a:gd name="T1" fmla="*/ 2 h 15"/>
                <a:gd name="T2" fmla="*/ 6 w 10"/>
                <a:gd name="T3" fmla="*/ 14 h 15"/>
                <a:gd name="T4" fmla="*/ 9 w 10"/>
                <a:gd name="T5" fmla="*/ 5 h 15"/>
                <a:gd name="T6" fmla="*/ 6 w 10"/>
                <a:gd name="T7" fmla="*/ 0 h 15"/>
                <a:gd name="T8" fmla="*/ 0 w 10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0" y="2"/>
                  </a:moveTo>
                  <a:cubicBezTo>
                    <a:pt x="0" y="5"/>
                    <a:pt x="3" y="11"/>
                    <a:pt x="6" y="14"/>
                  </a:cubicBezTo>
                  <a:cubicBezTo>
                    <a:pt x="9" y="11"/>
                    <a:pt x="9" y="8"/>
                    <a:pt x="9" y="5"/>
                  </a:cubicBezTo>
                  <a:cubicBezTo>
                    <a:pt x="9" y="2"/>
                    <a:pt x="6" y="2"/>
                    <a:pt x="6" y="0"/>
                  </a:cubicBezTo>
                  <a:cubicBezTo>
                    <a:pt x="3" y="2"/>
                    <a:pt x="0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5" name="Freeform 433"/>
            <p:cNvSpPr>
              <a:spLocks noChangeArrowheads="1"/>
            </p:cNvSpPr>
            <p:nvPr/>
          </p:nvSpPr>
          <p:spPr bwMode="auto">
            <a:xfrm>
              <a:off x="3937000" y="2897188"/>
              <a:ext cx="3175" cy="4762"/>
            </a:xfrm>
            <a:custGeom>
              <a:avLst/>
              <a:gdLst>
                <a:gd name="T0" fmla="*/ 0 w 9"/>
                <a:gd name="T1" fmla="*/ 11 h 12"/>
                <a:gd name="T2" fmla="*/ 8 w 9"/>
                <a:gd name="T3" fmla="*/ 8 h 12"/>
                <a:gd name="T4" fmla="*/ 3 w 9"/>
                <a:gd name="T5" fmla="*/ 0 h 12"/>
                <a:gd name="T6" fmla="*/ 0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3" y="11"/>
                    <a:pt x="5" y="11"/>
                    <a:pt x="8" y="8"/>
                  </a:cubicBezTo>
                  <a:cubicBezTo>
                    <a:pt x="8" y="5"/>
                    <a:pt x="5" y="2"/>
                    <a:pt x="3" y="0"/>
                  </a:cubicBezTo>
                  <a:cubicBezTo>
                    <a:pt x="3" y="2"/>
                    <a:pt x="0" y="8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6" name="Freeform 434"/>
            <p:cNvSpPr>
              <a:spLocks noChangeArrowheads="1"/>
            </p:cNvSpPr>
            <p:nvPr/>
          </p:nvSpPr>
          <p:spPr bwMode="auto">
            <a:xfrm>
              <a:off x="3930650" y="2892425"/>
              <a:ext cx="4763" cy="7938"/>
            </a:xfrm>
            <a:custGeom>
              <a:avLst/>
              <a:gdLst>
                <a:gd name="T0" fmla="*/ 8 w 12"/>
                <a:gd name="T1" fmla="*/ 0 h 24"/>
                <a:gd name="T2" fmla="*/ 3 w 12"/>
                <a:gd name="T3" fmla="*/ 14 h 24"/>
                <a:gd name="T4" fmla="*/ 8 w 12"/>
                <a:gd name="T5" fmla="*/ 23 h 24"/>
                <a:gd name="T6" fmla="*/ 11 w 12"/>
                <a:gd name="T7" fmla="*/ 23 h 24"/>
                <a:gd name="T8" fmla="*/ 8 w 12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4">
                  <a:moveTo>
                    <a:pt x="8" y="0"/>
                  </a:moveTo>
                  <a:cubicBezTo>
                    <a:pt x="0" y="3"/>
                    <a:pt x="3" y="9"/>
                    <a:pt x="3" y="14"/>
                  </a:cubicBezTo>
                  <a:cubicBezTo>
                    <a:pt x="5" y="17"/>
                    <a:pt x="8" y="20"/>
                    <a:pt x="8" y="23"/>
                  </a:cubicBezTo>
                  <a:lnTo>
                    <a:pt x="11" y="23"/>
                  </a:lnTo>
                  <a:cubicBezTo>
                    <a:pt x="8" y="14"/>
                    <a:pt x="8" y="6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7" name="Freeform 435"/>
            <p:cNvSpPr>
              <a:spLocks noChangeArrowheads="1"/>
            </p:cNvSpPr>
            <p:nvPr/>
          </p:nvSpPr>
          <p:spPr bwMode="auto">
            <a:xfrm>
              <a:off x="3927475" y="2347913"/>
              <a:ext cx="11113" cy="9525"/>
            </a:xfrm>
            <a:custGeom>
              <a:avLst/>
              <a:gdLst>
                <a:gd name="T0" fmla="*/ 12 w 32"/>
                <a:gd name="T1" fmla="*/ 22 h 26"/>
                <a:gd name="T2" fmla="*/ 14 w 32"/>
                <a:gd name="T3" fmla="*/ 17 h 26"/>
                <a:gd name="T4" fmla="*/ 14 w 32"/>
                <a:gd name="T5" fmla="*/ 19 h 26"/>
                <a:gd name="T6" fmla="*/ 14 w 32"/>
                <a:gd name="T7" fmla="*/ 19 h 26"/>
                <a:gd name="T8" fmla="*/ 31 w 32"/>
                <a:gd name="T9" fmla="*/ 17 h 26"/>
                <a:gd name="T10" fmla="*/ 29 w 32"/>
                <a:gd name="T11" fmla="*/ 14 h 26"/>
                <a:gd name="T12" fmla="*/ 0 w 32"/>
                <a:gd name="T13" fmla="*/ 19 h 26"/>
                <a:gd name="T14" fmla="*/ 12 w 32"/>
                <a:gd name="T15" fmla="*/ 2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26">
                  <a:moveTo>
                    <a:pt x="12" y="22"/>
                  </a:moveTo>
                  <a:cubicBezTo>
                    <a:pt x="12" y="22"/>
                    <a:pt x="14" y="19"/>
                    <a:pt x="14" y="17"/>
                  </a:cubicBezTo>
                  <a:cubicBezTo>
                    <a:pt x="14" y="19"/>
                    <a:pt x="14" y="19"/>
                    <a:pt x="14" y="19"/>
                  </a:cubicBezTo>
                  <a:lnTo>
                    <a:pt x="14" y="19"/>
                  </a:lnTo>
                  <a:cubicBezTo>
                    <a:pt x="20" y="19"/>
                    <a:pt x="29" y="22"/>
                    <a:pt x="31" y="17"/>
                  </a:cubicBezTo>
                  <a:lnTo>
                    <a:pt x="29" y="14"/>
                  </a:lnTo>
                  <a:cubicBezTo>
                    <a:pt x="17" y="14"/>
                    <a:pt x="3" y="0"/>
                    <a:pt x="0" y="19"/>
                  </a:cubicBezTo>
                  <a:cubicBezTo>
                    <a:pt x="3" y="25"/>
                    <a:pt x="9" y="22"/>
                    <a:pt x="12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8" name="Freeform 436"/>
            <p:cNvSpPr>
              <a:spLocks noChangeArrowheads="1"/>
            </p:cNvSpPr>
            <p:nvPr/>
          </p:nvSpPr>
          <p:spPr bwMode="auto">
            <a:xfrm>
              <a:off x="3937000" y="2381250"/>
              <a:ext cx="7938" cy="4763"/>
            </a:xfrm>
            <a:custGeom>
              <a:avLst/>
              <a:gdLst>
                <a:gd name="T0" fmla="*/ 11 w 21"/>
                <a:gd name="T1" fmla="*/ 0 h 15"/>
                <a:gd name="T2" fmla="*/ 0 w 21"/>
                <a:gd name="T3" fmla="*/ 5 h 15"/>
                <a:gd name="T4" fmla="*/ 0 w 21"/>
                <a:gd name="T5" fmla="*/ 11 h 15"/>
                <a:gd name="T6" fmla="*/ 11 w 21"/>
                <a:gd name="T7" fmla="*/ 14 h 15"/>
                <a:gd name="T8" fmla="*/ 20 w 21"/>
                <a:gd name="T9" fmla="*/ 8 h 15"/>
                <a:gd name="T10" fmla="*/ 11 w 21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5">
                  <a:moveTo>
                    <a:pt x="11" y="0"/>
                  </a:moveTo>
                  <a:cubicBezTo>
                    <a:pt x="11" y="5"/>
                    <a:pt x="0" y="0"/>
                    <a:pt x="0" y="5"/>
                  </a:cubicBezTo>
                  <a:cubicBezTo>
                    <a:pt x="0" y="8"/>
                    <a:pt x="0" y="8"/>
                    <a:pt x="0" y="11"/>
                  </a:cubicBezTo>
                  <a:cubicBezTo>
                    <a:pt x="3" y="14"/>
                    <a:pt x="5" y="14"/>
                    <a:pt x="11" y="14"/>
                  </a:cubicBezTo>
                  <a:cubicBezTo>
                    <a:pt x="14" y="11"/>
                    <a:pt x="17" y="8"/>
                    <a:pt x="20" y="8"/>
                  </a:cubicBezTo>
                  <a:cubicBezTo>
                    <a:pt x="14" y="3"/>
                    <a:pt x="14" y="0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79" name="Freeform 437"/>
            <p:cNvSpPr>
              <a:spLocks noChangeArrowheads="1"/>
            </p:cNvSpPr>
            <p:nvPr/>
          </p:nvSpPr>
          <p:spPr bwMode="auto">
            <a:xfrm>
              <a:off x="3932238" y="2436813"/>
              <a:ext cx="3175" cy="3175"/>
            </a:xfrm>
            <a:custGeom>
              <a:avLst/>
              <a:gdLst>
                <a:gd name="T0" fmla="*/ 0 w 9"/>
                <a:gd name="T1" fmla="*/ 6 h 7"/>
                <a:gd name="T2" fmla="*/ 5 w 9"/>
                <a:gd name="T3" fmla="*/ 0 h 7"/>
                <a:gd name="T4" fmla="*/ 0 w 9"/>
                <a:gd name="T5" fmla="*/ 0 h 7"/>
                <a:gd name="T6" fmla="*/ 0 w 9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0" y="6"/>
                  </a:moveTo>
                  <a:cubicBezTo>
                    <a:pt x="2" y="6"/>
                    <a:pt x="8" y="6"/>
                    <a:pt x="5" y="0"/>
                  </a:cubicBezTo>
                  <a:cubicBezTo>
                    <a:pt x="2" y="0"/>
                    <a:pt x="0" y="0"/>
                    <a:pt x="0" y="0"/>
                  </a:cubicBezTo>
                  <a:cubicBezTo>
                    <a:pt x="0" y="3"/>
                    <a:pt x="0" y="6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0" name="Freeform 438"/>
            <p:cNvSpPr>
              <a:spLocks noChangeArrowheads="1"/>
            </p:cNvSpPr>
            <p:nvPr/>
          </p:nvSpPr>
          <p:spPr bwMode="auto">
            <a:xfrm>
              <a:off x="3895725" y="2838450"/>
              <a:ext cx="9525" cy="4763"/>
            </a:xfrm>
            <a:custGeom>
              <a:avLst/>
              <a:gdLst>
                <a:gd name="T0" fmla="*/ 22 w 26"/>
                <a:gd name="T1" fmla="*/ 8 h 12"/>
                <a:gd name="T2" fmla="*/ 25 w 26"/>
                <a:gd name="T3" fmla="*/ 3 h 12"/>
                <a:gd name="T4" fmla="*/ 25 w 26"/>
                <a:gd name="T5" fmla="*/ 3 h 12"/>
                <a:gd name="T6" fmla="*/ 8 w 26"/>
                <a:gd name="T7" fmla="*/ 0 h 12"/>
                <a:gd name="T8" fmla="*/ 3 w 26"/>
                <a:gd name="T9" fmla="*/ 3 h 12"/>
                <a:gd name="T10" fmla="*/ 0 w 26"/>
                <a:gd name="T11" fmla="*/ 6 h 12"/>
                <a:gd name="T12" fmla="*/ 0 w 26"/>
                <a:gd name="T13" fmla="*/ 11 h 12"/>
                <a:gd name="T14" fmla="*/ 22 w 26"/>
                <a:gd name="T1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2">
                  <a:moveTo>
                    <a:pt x="22" y="8"/>
                  </a:moveTo>
                  <a:cubicBezTo>
                    <a:pt x="22" y="6"/>
                    <a:pt x="22" y="6"/>
                    <a:pt x="25" y="3"/>
                  </a:cubicBezTo>
                  <a:lnTo>
                    <a:pt x="25" y="3"/>
                  </a:lnTo>
                  <a:cubicBezTo>
                    <a:pt x="17" y="6"/>
                    <a:pt x="17" y="3"/>
                    <a:pt x="8" y="0"/>
                  </a:cubicBezTo>
                  <a:cubicBezTo>
                    <a:pt x="6" y="0"/>
                    <a:pt x="6" y="3"/>
                    <a:pt x="3" y="3"/>
                  </a:cubicBezTo>
                  <a:lnTo>
                    <a:pt x="0" y="6"/>
                  </a:lnTo>
                  <a:cubicBezTo>
                    <a:pt x="0" y="8"/>
                    <a:pt x="0" y="8"/>
                    <a:pt x="0" y="11"/>
                  </a:cubicBezTo>
                  <a:cubicBezTo>
                    <a:pt x="6" y="11"/>
                    <a:pt x="17" y="8"/>
                    <a:pt x="22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1" name="Freeform 439"/>
            <p:cNvSpPr>
              <a:spLocks noChangeArrowheads="1"/>
            </p:cNvSpPr>
            <p:nvPr/>
          </p:nvSpPr>
          <p:spPr bwMode="auto">
            <a:xfrm>
              <a:off x="3900488" y="2692400"/>
              <a:ext cx="6350" cy="1588"/>
            </a:xfrm>
            <a:custGeom>
              <a:avLst/>
              <a:gdLst>
                <a:gd name="T0" fmla="*/ 0 w 18"/>
                <a:gd name="T1" fmla="*/ 5 h 6"/>
                <a:gd name="T2" fmla="*/ 17 w 18"/>
                <a:gd name="T3" fmla="*/ 2 h 6"/>
                <a:gd name="T4" fmla="*/ 3 w 18"/>
                <a:gd name="T5" fmla="*/ 0 h 6"/>
                <a:gd name="T6" fmla="*/ 0 w 18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0" y="5"/>
                  </a:moveTo>
                  <a:cubicBezTo>
                    <a:pt x="6" y="5"/>
                    <a:pt x="14" y="5"/>
                    <a:pt x="17" y="2"/>
                  </a:cubicBezTo>
                  <a:cubicBezTo>
                    <a:pt x="14" y="0"/>
                    <a:pt x="8" y="0"/>
                    <a:pt x="3" y="0"/>
                  </a:cubicBezTo>
                  <a:cubicBezTo>
                    <a:pt x="0" y="0"/>
                    <a:pt x="0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2" name="Freeform 440"/>
            <p:cNvSpPr>
              <a:spLocks noChangeArrowheads="1"/>
            </p:cNvSpPr>
            <p:nvPr/>
          </p:nvSpPr>
          <p:spPr bwMode="auto">
            <a:xfrm>
              <a:off x="3886200" y="2282825"/>
              <a:ext cx="6350" cy="7938"/>
            </a:xfrm>
            <a:custGeom>
              <a:avLst/>
              <a:gdLst>
                <a:gd name="T0" fmla="*/ 0 w 16"/>
                <a:gd name="T1" fmla="*/ 0 h 21"/>
                <a:gd name="T2" fmla="*/ 0 w 16"/>
                <a:gd name="T3" fmla="*/ 6 h 21"/>
                <a:gd name="T4" fmla="*/ 6 w 16"/>
                <a:gd name="T5" fmla="*/ 9 h 21"/>
                <a:gd name="T6" fmla="*/ 6 w 16"/>
                <a:gd name="T7" fmla="*/ 20 h 21"/>
                <a:gd name="T8" fmla="*/ 15 w 16"/>
                <a:gd name="T9" fmla="*/ 14 h 21"/>
                <a:gd name="T10" fmla="*/ 0 w 16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1">
                  <a:moveTo>
                    <a:pt x="0" y="0"/>
                  </a:moveTo>
                  <a:cubicBezTo>
                    <a:pt x="0" y="3"/>
                    <a:pt x="0" y="6"/>
                    <a:pt x="0" y="6"/>
                  </a:cubicBezTo>
                  <a:lnTo>
                    <a:pt x="6" y="9"/>
                  </a:lnTo>
                  <a:cubicBezTo>
                    <a:pt x="6" y="11"/>
                    <a:pt x="6" y="17"/>
                    <a:pt x="6" y="20"/>
                  </a:cubicBezTo>
                  <a:cubicBezTo>
                    <a:pt x="9" y="20"/>
                    <a:pt x="12" y="17"/>
                    <a:pt x="15" y="14"/>
                  </a:cubicBezTo>
                  <a:cubicBezTo>
                    <a:pt x="9" y="9"/>
                    <a:pt x="6" y="6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3" name="Freeform 441"/>
            <p:cNvSpPr>
              <a:spLocks noChangeArrowheads="1"/>
            </p:cNvSpPr>
            <p:nvPr/>
          </p:nvSpPr>
          <p:spPr bwMode="auto">
            <a:xfrm>
              <a:off x="3886200" y="2363788"/>
              <a:ext cx="3175" cy="4762"/>
            </a:xfrm>
            <a:custGeom>
              <a:avLst/>
              <a:gdLst>
                <a:gd name="T0" fmla="*/ 0 w 10"/>
                <a:gd name="T1" fmla="*/ 0 h 12"/>
                <a:gd name="T2" fmla="*/ 3 w 10"/>
                <a:gd name="T3" fmla="*/ 11 h 12"/>
                <a:gd name="T4" fmla="*/ 9 w 10"/>
                <a:gd name="T5" fmla="*/ 5 h 12"/>
                <a:gd name="T6" fmla="*/ 0 w 10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0" y="0"/>
                  </a:moveTo>
                  <a:cubicBezTo>
                    <a:pt x="0" y="2"/>
                    <a:pt x="3" y="5"/>
                    <a:pt x="3" y="11"/>
                  </a:cubicBezTo>
                  <a:cubicBezTo>
                    <a:pt x="6" y="11"/>
                    <a:pt x="9" y="8"/>
                    <a:pt x="9" y="5"/>
                  </a:cubicBezTo>
                  <a:cubicBezTo>
                    <a:pt x="3" y="5"/>
                    <a:pt x="0" y="2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4" name="Freeform 442"/>
            <p:cNvSpPr>
              <a:spLocks noChangeArrowheads="1"/>
            </p:cNvSpPr>
            <p:nvPr/>
          </p:nvSpPr>
          <p:spPr bwMode="auto">
            <a:xfrm>
              <a:off x="3889375" y="3014663"/>
              <a:ext cx="1588" cy="3175"/>
            </a:xfrm>
            <a:custGeom>
              <a:avLst/>
              <a:gdLst>
                <a:gd name="T0" fmla="*/ 0 w 4"/>
                <a:gd name="T1" fmla="*/ 0 h 9"/>
                <a:gd name="T2" fmla="*/ 0 w 4"/>
                <a:gd name="T3" fmla="*/ 8 h 9"/>
                <a:gd name="T4" fmla="*/ 3 w 4"/>
                <a:gd name="T5" fmla="*/ 8 h 9"/>
                <a:gd name="T6" fmla="*/ 0 w 4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0" y="0"/>
                  </a:moveTo>
                  <a:cubicBezTo>
                    <a:pt x="0" y="3"/>
                    <a:pt x="0" y="6"/>
                    <a:pt x="0" y="8"/>
                  </a:cubicBezTo>
                  <a:lnTo>
                    <a:pt x="3" y="8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5" name="Freeform 443"/>
            <p:cNvSpPr>
              <a:spLocks noChangeArrowheads="1"/>
            </p:cNvSpPr>
            <p:nvPr/>
          </p:nvSpPr>
          <p:spPr bwMode="auto">
            <a:xfrm>
              <a:off x="3900488" y="3019425"/>
              <a:ext cx="4762" cy="3175"/>
            </a:xfrm>
            <a:custGeom>
              <a:avLst/>
              <a:gdLst>
                <a:gd name="T0" fmla="*/ 6 w 12"/>
                <a:gd name="T1" fmla="*/ 0 h 7"/>
                <a:gd name="T2" fmla="*/ 0 w 12"/>
                <a:gd name="T3" fmla="*/ 3 h 7"/>
                <a:gd name="T4" fmla="*/ 8 w 12"/>
                <a:gd name="T5" fmla="*/ 6 h 7"/>
                <a:gd name="T6" fmla="*/ 11 w 12"/>
                <a:gd name="T7" fmla="*/ 6 h 7"/>
                <a:gd name="T8" fmla="*/ 6 w 12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6" y="0"/>
                  </a:moveTo>
                  <a:cubicBezTo>
                    <a:pt x="3" y="0"/>
                    <a:pt x="3" y="3"/>
                    <a:pt x="0" y="3"/>
                  </a:cubicBezTo>
                  <a:cubicBezTo>
                    <a:pt x="0" y="6"/>
                    <a:pt x="3" y="6"/>
                    <a:pt x="8" y="6"/>
                  </a:cubicBezTo>
                  <a:lnTo>
                    <a:pt x="11" y="6"/>
                  </a:lnTo>
                  <a:cubicBezTo>
                    <a:pt x="11" y="3"/>
                    <a:pt x="8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6" name="Freeform 444"/>
            <p:cNvSpPr>
              <a:spLocks noChangeArrowheads="1"/>
            </p:cNvSpPr>
            <p:nvPr/>
          </p:nvSpPr>
          <p:spPr bwMode="auto">
            <a:xfrm>
              <a:off x="3910013" y="3027363"/>
              <a:ext cx="1587" cy="1587"/>
            </a:xfrm>
            <a:custGeom>
              <a:avLst/>
              <a:gdLst>
                <a:gd name="T0" fmla="*/ 0 w 6"/>
                <a:gd name="T1" fmla="*/ 5 h 6"/>
                <a:gd name="T2" fmla="*/ 5 w 6"/>
                <a:gd name="T3" fmla="*/ 2 h 6"/>
                <a:gd name="T4" fmla="*/ 0 w 6"/>
                <a:gd name="T5" fmla="*/ 0 h 6"/>
                <a:gd name="T6" fmla="*/ 0 w 6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5"/>
                  </a:moveTo>
                  <a:cubicBezTo>
                    <a:pt x="2" y="5"/>
                    <a:pt x="5" y="2"/>
                    <a:pt x="5" y="2"/>
                  </a:cubicBezTo>
                  <a:cubicBezTo>
                    <a:pt x="2" y="0"/>
                    <a:pt x="2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7" name="Freeform 445"/>
            <p:cNvSpPr>
              <a:spLocks noChangeArrowheads="1"/>
            </p:cNvSpPr>
            <p:nvPr/>
          </p:nvSpPr>
          <p:spPr bwMode="auto">
            <a:xfrm>
              <a:off x="3911600" y="2882900"/>
              <a:ext cx="3175" cy="1588"/>
            </a:xfrm>
            <a:custGeom>
              <a:avLst/>
              <a:gdLst>
                <a:gd name="T0" fmla="*/ 3 w 10"/>
                <a:gd name="T1" fmla="*/ 3 h 4"/>
                <a:gd name="T2" fmla="*/ 9 w 10"/>
                <a:gd name="T3" fmla="*/ 3 h 4"/>
                <a:gd name="T4" fmla="*/ 0 w 10"/>
                <a:gd name="T5" fmla="*/ 0 h 4"/>
                <a:gd name="T6" fmla="*/ 3 w 10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4">
                  <a:moveTo>
                    <a:pt x="3" y="3"/>
                  </a:moveTo>
                  <a:lnTo>
                    <a:pt x="9" y="3"/>
                  </a:lnTo>
                  <a:cubicBezTo>
                    <a:pt x="6" y="3"/>
                    <a:pt x="3" y="0"/>
                    <a:pt x="0" y="0"/>
                  </a:cubicBezTo>
                  <a:cubicBezTo>
                    <a:pt x="0" y="3"/>
                    <a:pt x="0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8" name="Freeform 446"/>
            <p:cNvSpPr>
              <a:spLocks noChangeArrowheads="1"/>
            </p:cNvSpPr>
            <p:nvPr/>
          </p:nvSpPr>
          <p:spPr bwMode="auto">
            <a:xfrm>
              <a:off x="3910013" y="3030538"/>
              <a:ext cx="1587" cy="1587"/>
            </a:xfrm>
            <a:custGeom>
              <a:avLst/>
              <a:gdLst>
                <a:gd name="T0" fmla="*/ 0 w 6"/>
                <a:gd name="T1" fmla="*/ 3 h 4"/>
                <a:gd name="T2" fmla="*/ 2 w 6"/>
                <a:gd name="T3" fmla="*/ 3 h 4"/>
                <a:gd name="T4" fmla="*/ 5 w 6"/>
                <a:gd name="T5" fmla="*/ 0 h 4"/>
                <a:gd name="T6" fmla="*/ 5 w 6"/>
                <a:gd name="T7" fmla="*/ 0 h 4"/>
                <a:gd name="T8" fmla="*/ 0 w 6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3"/>
                  </a:moveTo>
                  <a:lnTo>
                    <a:pt x="2" y="3"/>
                  </a:lnTo>
                  <a:lnTo>
                    <a:pt x="5" y="0"/>
                  </a:lnTo>
                  <a:lnTo>
                    <a:pt x="5" y="0"/>
                  </a:lnTo>
                  <a:cubicBezTo>
                    <a:pt x="2" y="3"/>
                    <a:pt x="2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89" name="Freeform 447"/>
            <p:cNvSpPr>
              <a:spLocks noChangeArrowheads="1"/>
            </p:cNvSpPr>
            <p:nvPr/>
          </p:nvSpPr>
          <p:spPr bwMode="auto">
            <a:xfrm>
              <a:off x="3903663" y="2757488"/>
              <a:ext cx="6350" cy="4762"/>
            </a:xfrm>
            <a:custGeom>
              <a:avLst/>
              <a:gdLst>
                <a:gd name="T0" fmla="*/ 3 w 16"/>
                <a:gd name="T1" fmla="*/ 12 h 13"/>
                <a:gd name="T2" fmla="*/ 12 w 16"/>
                <a:gd name="T3" fmla="*/ 0 h 13"/>
                <a:gd name="T4" fmla="*/ 3 w 16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3" y="12"/>
                  </a:moveTo>
                  <a:cubicBezTo>
                    <a:pt x="9" y="12"/>
                    <a:pt x="15" y="9"/>
                    <a:pt x="12" y="0"/>
                  </a:cubicBezTo>
                  <a:cubicBezTo>
                    <a:pt x="6" y="0"/>
                    <a:pt x="0" y="0"/>
                    <a:pt x="3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0" name="Freeform 448"/>
            <p:cNvSpPr>
              <a:spLocks noChangeArrowheads="1"/>
            </p:cNvSpPr>
            <p:nvPr/>
          </p:nvSpPr>
          <p:spPr bwMode="auto">
            <a:xfrm>
              <a:off x="3910013" y="2238375"/>
              <a:ext cx="6350" cy="11113"/>
            </a:xfrm>
            <a:custGeom>
              <a:avLst/>
              <a:gdLst>
                <a:gd name="T0" fmla="*/ 17 w 18"/>
                <a:gd name="T1" fmla="*/ 8 h 29"/>
                <a:gd name="T2" fmla="*/ 14 w 18"/>
                <a:gd name="T3" fmla="*/ 0 h 29"/>
                <a:gd name="T4" fmla="*/ 8 w 18"/>
                <a:gd name="T5" fmla="*/ 0 h 29"/>
                <a:gd name="T6" fmla="*/ 0 w 18"/>
                <a:gd name="T7" fmla="*/ 17 h 29"/>
                <a:gd name="T8" fmla="*/ 2 w 18"/>
                <a:gd name="T9" fmla="*/ 17 h 29"/>
                <a:gd name="T10" fmla="*/ 14 w 18"/>
                <a:gd name="T11" fmla="*/ 8 h 29"/>
                <a:gd name="T12" fmla="*/ 5 w 18"/>
                <a:gd name="T13" fmla="*/ 25 h 29"/>
                <a:gd name="T14" fmla="*/ 17 w 18"/>
                <a:gd name="T15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9">
                  <a:moveTo>
                    <a:pt x="17" y="8"/>
                  </a:moveTo>
                  <a:cubicBezTo>
                    <a:pt x="17" y="5"/>
                    <a:pt x="17" y="3"/>
                    <a:pt x="14" y="0"/>
                  </a:cubicBezTo>
                  <a:lnTo>
                    <a:pt x="8" y="0"/>
                  </a:lnTo>
                  <a:cubicBezTo>
                    <a:pt x="5" y="5"/>
                    <a:pt x="2" y="11"/>
                    <a:pt x="0" y="17"/>
                  </a:cubicBezTo>
                  <a:cubicBezTo>
                    <a:pt x="0" y="17"/>
                    <a:pt x="0" y="17"/>
                    <a:pt x="2" y="17"/>
                  </a:cubicBezTo>
                  <a:cubicBezTo>
                    <a:pt x="5" y="14"/>
                    <a:pt x="5" y="8"/>
                    <a:pt x="14" y="8"/>
                  </a:cubicBezTo>
                  <a:cubicBezTo>
                    <a:pt x="14" y="14"/>
                    <a:pt x="11" y="20"/>
                    <a:pt x="5" y="25"/>
                  </a:cubicBezTo>
                  <a:cubicBezTo>
                    <a:pt x="11" y="28"/>
                    <a:pt x="14" y="17"/>
                    <a:pt x="17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1" name="Freeform 449"/>
            <p:cNvSpPr>
              <a:spLocks noChangeArrowheads="1"/>
            </p:cNvSpPr>
            <p:nvPr/>
          </p:nvSpPr>
          <p:spPr bwMode="auto">
            <a:xfrm>
              <a:off x="3960813" y="2740025"/>
              <a:ext cx="7937" cy="4763"/>
            </a:xfrm>
            <a:custGeom>
              <a:avLst/>
              <a:gdLst>
                <a:gd name="T0" fmla="*/ 12 w 21"/>
                <a:gd name="T1" fmla="*/ 14 h 15"/>
                <a:gd name="T2" fmla="*/ 17 w 21"/>
                <a:gd name="T3" fmla="*/ 9 h 15"/>
                <a:gd name="T4" fmla="*/ 20 w 21"/>
                <a:gd name="T5" fmla="*/ 3 h 15"/>
                <a:gd name="T6" fmla="*/ 15 w 21"/>
                <a:gd name="T7" fmla="*/ 0 h 15"/>
                <a:gd name="T8" fmla="*/ 12 w 21"/>
                <a:gd name="T9" fmla="*/ 3 h 15"/>
                <a:gd name="T10" fmla="*/ 12 w 21"/>
                <a:gd name="T11" fmla="*/ 3 h 15"/>
                <a:gd name="T12" fmla="*/ 6 w 21"/>
                <a:gd name="T13" fmla="*/ 6 h 15"/>
                <a:gd name="T14" fmla="*/ 0 w 21"/>
                <a:gd name="T15" fmla="*/ 0 h 15"/>
                <a:gd name="T16" fmla="*/ 0 w 21"/>
                <a:gd name="T17" fmla="*/ 9 h 15"/>
                <a:gd name="T18" fmla="*/ 3 w 21"/>
                <a:gd name="T19" fmla="*/ 9 h 15"/>
                <a:gd name="T20" fmla="*/ 12 w 21"/>
                <a:gd name="T21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5">
                  <a:moveTo>
                    <a:pt x="12" y="14"/>
                  </a:moveTo>
                  <a:cubicBezTo>
                    <a:pt x="12" y="11"/>
                    <a:pt x="15" y="9"/>
                    <a:pt x="17" y="9"/>
                  </a:cubicBezTo>
                  <a:cubicBezTo>
                    <a:pt x="17" y="6"/>
                    <a:pt x="20" y="6"/>
                    <a:pt x="20" y="3"/>
                  </a:cubicBezTo>
                  <a:cubicBezTo>
                    <a:pt x="17" y="3"/>
                    <a:pt x="17" y="0"/>
                    <a:pt x="15" y="0"/>
                  </a:cubicBezTo>
                  <a:cubicBezTo>
                    <a:pt x="15" y="0"/>
                    <a:pt x="15" y="3"/>
                    <a:pt x="12" y="3"/>
                  </a:cubicBezTo>
                  <a:lnTo>
                    <a:pt x="12" y="3"/>
                  </a:lnTo>
                  <a:cubicBezTo>
                    <a:pt x="9" y="3"/>
                    <a:pt x="9" y="6"/>
                    <a:pt x="6" y="6"/>
                  </a:cubicBezTo>
                  <a:cubicBezTo>
                    <a:pt x="3" y="6"/>
                    <a:pt x="3" y="3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0" y="9"/>
                    <a:pt x="0" y="9"/>
                    <a:pt x="3" y="9"/>
                  </a:cubicBezTo>
                  <a:cubicBezTo>
                    <a:pt x="6" y="9"/>
                    <a:pt x="6" y="11"/>
                    <a:pt x="12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2" name="Freeform 450"/>
            <p:cNvSpPr>
              <a:spLocks noChangeArrowheads="1"/>
            </p:cNvSpPr>
            <p:nvPr/>
          </p:nvSpPr>
          <p:spPr bwMode="auto">
            <a:xfrm>
              <a:off x="3959225" y="2587625"/>
              <a:ext cx="4763" cy="3175"/>
            </a:xfrm>
            <a:custGeom>
              <a:avLst/>
              <a:gdLst>
                <a:gd name="T0" fmla="*/ 11 w 12"/>
                <a:gd name="T1" fmla="*/ 3 h 10"/>
                <a:gd name="T2" fmla="*/ 5 w 12"/>
                <a:gd name="T3" fmla="*/ 0 h 10"/>
                <a:gd name="T4" fmla="*/ 11 w 12"/>
                <a:gd name="T5" fmla="*/ 6 h 10"/>
                <a:gd name="T6" fmla="*/ 11 w 12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1" y="3"/>
                  </a:moveTo>
                  <a:cubicBezTo>
                    <a:pt x="11" y="3"/>
                    <a:pt x="8" y="0"/>
                    <a:pt x="5" y="0"/>
                  </a:cubicBezTo>
                  <a:cubicBezTo>
                    <a:pt x="2" y="3"/>
                    <a:pt x="0" y="9"/>
                    <a:pt x="11" y="6"/>
                  </a:cubicBezTo>
                  <a:lnTo>
                    <a:pt x="11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3" name="Freeform 451"/>
            <p:cNvSpPr>
              <a:spLocks noChangeArrowheads="1"/>
            </p:cNvSpPr>
            <p:nvPr/>
          </p:nvSpPr>
          <p:spPr bwMode="auto">
            <a:xfrm>
              <a:off x="3965575" y="2511425"/>
              <a:ext cx="3175" cy="4763"/>
            </a:xfrm>
            <a:custGeom>
              <a:avLst/>
              <a:gdLst>
                <a:gd name="T0" fmla="*/ 0 w 9"/>
                <a:gd name="T1" fmla="*/ 11 h 15"/>
                <a:gd name="T2" fmla="*/ 0 w 9"/>
                <a:gd name="T3" fmla="*/ 11 h 15"/>
                <a:gd name="T4" fmla="*/ 3 w 9"/>
                <a:gd name="T5" fmla="*/ 0 h 15"/>
                <a:gd name="T6" fmla="*/ 0 w 9"/>
                <a:gd name="T7" fmla="*/ 0 h 15"/>
                <a:gd name="T8" fmla="*/ 0 w 9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0" y="11"/>
                  </a:moveTo>
                  <a:lnTo>
                    <a:pt x="0" y="11"/>
                  </a:lnTo>
                  <a:cubicBezTo>
                    <a:pt x="8" y="14"/>
                    <a:pt x="8" y="2"/>
                    <a:pt x="3" y="0"/>
                  </a:cubicBezTo>
                  <a:cubicBezTo>
                    <a:pt x="3" y="0"/>
                    <a:pt x="3" y="0"/>
                    <a:pt x="0" y="0"/>
                  </a:cubicBezTo>
                  <a:cubicBezTo>
                    <a:pt x="0" y="2"/>
                    <a:pt x="3" y="8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4" name="Freeform 452"/>
            <p:cNvSpPr>
              <a:spLocks noChangeArrowheads="1"/>
            </p:cNvSpPr>
            <p:nvPr/>
          </p:nvSpPr>
          <p:spPr bwMode="auto">
            <a:xfrm>
              <a:off x="3959225" y="270033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0 h 4"/>
                <a:gd name="T4" fmla="*/ 0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0"/>
                    <a:pt x="0" y="0"/>
                    <a:pt x="0" y="0"/>
                  </a:cubicBezTo>
                  <a:lnTo>
                    <a:pt x="0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5" name="Freeform 453"/>
            <p:cNvSpPr>
              <a:spLocks noChangeArrowheads="1"/>
            </p:cNvSpPr>
            <p:nvPr/>
          </p:nvSpPr>
          <p:spPr bwMode="auto">
            <a:xfrm>
              <a:off x="3952875" y="3033713"/>
              <a:ext cx="3175" cy="3175"/>
            </a:xfrm>
            <a:custGeom>
              <a:avLst/>
              <a:gdLst>
                <a:gd name="T0" fmla="*/ 3 w 7"/>
                <a:gd name="T1" fmla="*/ 6 h 7"/>
                <a:gd name="T2" fmla="*/ 6 w 7"/>
                <a:gd name="T3" fmla="*/ 0 h 7"/>
                <a:gd name="T4" fmla="*/ 0 w 7"/>
                <a:gd name="T5" fmla="*/ 0 h 7"/>
                <a:gd name="T6" fmla="*/ 3 w 7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3" y="6"/>
                  </a:moveTo>
                  <a:cubicBezTo>
                    <a:pt x="6" y="3"/>
                    <a:pt x="6" y="0"/>
                    <a:pt x="6" y="0"/>
                  </a:cubicBezTo>
                  <a:cubicBezTo>
                    <a:pt x="3" y="0"/>
                    <a:pt x="3" y="0"/>
                    <a:pt x="0" y="0"/>
                  </a:cubicBezTo>
                  <a:cubicBezTo>
                    <a:pt x="0" y="0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6" name="Freeform 454"/>
            <p:cNvSpPr>
              <a:spLocks noChangeArrowheads="1"/>
            </p:cNvSpPr>
            <p:nvPr/>
          </p:nvSpPr>
          <p:spPr bwMode="auto">
            <a:xfrm>
              <a:off x="3956050" y="2590800"/>
              <a:ext cx="3175" cy="3175"/>
            </a:xfrm>
            <a:custGeom>
              <a:avLst/>
              <a:gdLst>
                <a:gd name="T0" fmla="*/ 0 w 7"/>
                <a:gd name="T1" fmla="*/ 9 h 10"/>
                <a:gd name="T2" fmla="*/ 3 w 7"/>
                <a:gd name="T3" fmla="*/ 0 h 10"/>
                <a:gd name="T4" fmla="*/ 0 w 7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0">
                  <a:moveTo>
                    <a:pt x="0" y="9"/>
                  </a:moveTo>
                  <a:cubicBezTo>
                    <a:pt x="6" y="6"/>
                    <a:pt x="6" y="3"/>
                    <a:pt x="3" y="0"/>
                  </a:cubicBezTo>
                  <a:cubicBezTo>
                    <a:pt x="3" y="3"/>
                    <a:pt x="0" y="6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7" name="Freeform 455"/>
            <p:cNvSpPr>
              <a:spLocks noChangeArrowheads="1"/>
            </p:cNvSpPr>
            <p:nvPr/>
          </p:nvSpPr>
          <p:spPr bwMode="auto">
            <a:xfrm>
              <a:off x="3973513" y="2719388"/>
              <a:ext cx="3175" cy="3175"/>
            </a:xfrm>
            <a:custGeom>
              <a:avLst/>
              <a:gdLst>
                <a:gd name="T0" fmla="*/ 3 w 10"/>
                <a:gd name="T1" fmla="*/ 6 h 7"/>
                <a:gd name="T2" fmla="*/ 9 w 10"/>
                <a:gd name="T3" fmla="*/ 0 h 7"/>
                <a:gd name="T4" fmla="*/ 3 w 10"/>
                <a:gd name="T5" fmla="*/ 0 h 7"/>
                <a:gd name="T6" fmla="*/ 3 w 10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3" y="6"/>
                  </a:moveTo>
                  <a:cubicBezTo>
                    <a:pt x="3" y="3"/>
                    <a:pt x="6" y="3"/>
                    <a:pt x="9" y="0"/>
                  </a:cubicBezTo>
                  <a:lnTo>
                    <a:pt x="3" y="0"/>
                  </a:lnTo>
                  <a:cubicBezTo>
                    <a:pt x="0" y="0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8" name="Freeform 456"/>
            <p:cNvSpPr>
              <a:spLocks noChangeArrowheads="1"/>
            </p:cNvSpPr>
            <p:nvPr/>
          </p:nvSpPr>
          <p:spPr bwMode="auto">
            <a:xfrm>
              <a:off x="3946525" y="2928938"/>
              <a:ext cx="6350" cy="4762"/>
            </a:xfrm>
            <a:custGeom>
              <a:avLst/>
              <a:gdLst>
                <a:gd name="T0" fmla="*/ 8 w 18"/>
                <a:gd name="T1" fmla="*/ 11 h 12"/>
                <a:gd name="T2" fmla="*/ 17 w 18"/>
                <a:gd name="T3" fmla="*/ 3 h 12"/>
                <a:gd name="T4" fmla="*/ 11 w 18"/>
                <a:gd name="T5" fmla="*/ 0 h 12"/>
                <a:gd name="T6" fmla="*/ 8 w 18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2">
                  <a:moveTo>
                    <a:pt x="8" y="11"/>
                  </a:moveTo>
                  <a:cubicBezTo>
                    <a:pt x="17" y="11"/>
                    <a:pt x="17" y="6"/>
                    <a:pt x="17" y="3"/>
                  </a:cubicBezTo>
                  <a:cubicBezTo>
                    <a:pt x="14" y="0"/>
                    <a:pt x="14" y="0"/>
                    <a:pt x="11" y="0"/>
                  </a:cubicBezTo>
                  <a:cubicBezTo>
                    <a:pt x="8" y="3"/>
                    <a:pt x="0" y="6"/>
                    <a:pt x="8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9" name="Freeform 457"/>
            <p:cNvSpPr>
              <a:spLocks noChangeArrowheads="1"/>
            </p:cNvSpPr>
            <p:nvPr/>
          </p:nvSpPr>
          <p:spPr bwMode="auto">
            <a:xfrm>
              <a:off x="3973513" y="2370138"/>
              <a:ext cx="4762" cy="1587"/>
            </a:xfrm>
            <a:custGeom>
              <a:avLst/>
              <a:gdLst>
                <a:gd name="T0" fmla="*/ 3 w 15"/>
                <a:gd name="T1" fmla="*/ 5 h 6"/>
                <a:gd name="T2" fmla="*/ 14 w 15"/>
                <a:gd name="T3" fmla="*/ 3 h 6"/>
                <a:gd name="T4" fmla="*/ 12 w 15"/>
                <a:gd name="T5" fmla="*/ 0 h 6"/>
                <a:gd name="T6" fmla="*/ 3 w 15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6">
                  <a:moveTo>
                    <a:pt x="3" y="5"/>
                  </a:moveTo>
                  <a:cubicBezTo>
                    <a:pt x="9" y="5"/>
                    <a:pt x="12" y="5"/>
                    <a:pt x="14" y="3"/>
                  </a:cubicBezTo>
                  <a:lnTo>
                    <a:pt x="12" y="0"/>
                  </a:lnTo>
                  <a:cubicBezTo>
                    <a:pt x="6" y="0"/>
                    <a:pt x="0" y="0"/>
                    <a:pt x="3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0" name="Freeform 458"/>
            <p:cNvSpPr>
              <a:spLocks noChangeArrowheads="1"/>
            </p:cNvSpPr>
            <p:nvPr/>
          </p:nvSpPr>
          <p:spPr bwMode="auto">
            <a:xfrm>
              <a:off x="3965575" y="2987675"/>
              <a:ext cx="6350" cy="6350"/>
            </a:xfrm>
            <a:custGeom>
              <a:avLst/>
              <a:gdLst>
                <a:gd name="T0" fmla="*/ 8 w 18"/>
                <a:gd name="T1" fmla="*/ 0 h 18"/>
                <a:gd name="T2" fmla="*/ 8 w 18"/>
                <a:gd name="T3" fmla="*/ 0 h 18"/>
                <a:gd name="T4" fmla="*/ 8 w 18"/>
                <a:gd name="T5" fmla="*/ 17 h 18"/>
                <a:gd name="T6" fmla="*/ 14 w 18"/>
                <a:gd name="T7" fmla="*/ 0 h 18"/>
                <a:gd name="T8" fmla="*/ 14 w 18"/>
                <a:gd name="T9" fmla="*/ 0 h 18"/>
                <a:gd name="T10" fmla="*/ 8 w 18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cubicBezTo>
                    <a:pt x="0" y="5"/>
                    <a:pt x="5" y="11"/>
                    <a:pt x="8" y="17"/>
                  </a:cubicBezTo>
                  <a:cubicBezTo>
                    <a:pt x="14" y="14"/>
                    <a:pt x="17" y="5"/>
                    <a:pt x="14" y="0"/>
                  </a:cubicBezTo>
                  <a:lnTo>
                    <a:pt x="14" y="0"/>
                  </a:lnTo>
                  <a:cubicBezTo>
                    <a:pt x="11" y="0"/>
                    <a:pt x="8" y="0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1" name="Freeform 459"/>
            <p:cNvSpPr>
              <a:spLocks noChangeArrowheads="1"/>
            </p:cNvSpPr>
            <p:nvPr/>
          </p:nvSpPr>
          <p:spPr bwMode="auto">
            <a:xfrm>
              <a:off x="3965575" y="2778125"/>
              <a:ext cx="3175" cy="4763"/>
            </a:xfrm>
            <a:custGeom>
              <a:avLst/>
              <a:gdLst>
                <a:gd name="T0" fmla="*/ 5 w 9"/>
                <a:gd name="T1" fmla="*/ 0 h 15"/>
                <a:gd name="T2" fmla="*/ 0 w 9"/>
                <a:gd name="T3" fmla="*/ 5 h 15"/>
                <a:gd name="T4" fmla="*/ 3 w 9"/>
                <a:gd name="T5" fmla="*/ 11 h 15"/>
                <a:gd name="T6" fmla="*/ 5 w 9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5">
                  <a:moveTo>
                    <a:pt x="5" y="0"/>
                  </a:moveTo>
                  <a:cubicBezTo>
                    <a:pt x="3" y="0"/>
                    <a:pt x="8" y="11"/>
                    <a:pt x="0" y="5"/>
                  </a:cubicBezTo>
                  <a:cubicBezTo>
                    <a:pt x="0" y="8"/>
                    <a:pt x="0" y="11"/>
                    <a:pt x="3" y="11"/>
                  </a:cubicBezTo>
                  <a:cubicBezTo>
                    <a:pt x="5" y="14"/>
                    <a:pt x="5" y="8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2" name="Freeform 460"/>
            <p:cNvSpPr>
              <a:spLocks noChangeArrowheads="1"/>
            </p:cNvSpPr>
            <p:nvPr/>
          </p:nvSpPr>
          <p:spPr bwMode="auto">
            <a:xfrm>
              <a:off x="3959225" y="2408238"/>
              <a:ext cx="14288" cy="22225"/>
            </a:xfrm>
            <a:custGeom>
              <a:avLst/>
              <a:gdLst>
                <a:gd name="T0" fmla="*/ 31 w 38"/>
                <a:gd name="T1" fmla="*/ 6 h 63"/>
                <a:gd name="T2" fmla="*/ 25 w 38"/>
                <a:gd name="T3" fmla="*/ 20 h 63"/>
                <a:gd name="T4" fmla="*/ 22 w 38"/>
                <a:gd name="T5" fmla="*/ 20 h 63"/>
                <a:gd name="T6" fmla="*/ 20 w 38"/>
                <a:gd name="T7" fmla="*/ 20 h 63"/>
                <a:gd name="T8" fmla="*/ 14 w 38"/>
                <a:gd name="T9" fmla="*/ 25 h 63"/>
                <a:gd name="T10" fmla="*/ 3 w 38"/>
                <a:gd name="T11" fmla="*/ 25 h 63"/>
                <a:gd name="T12" fmla="*/ 0 w 38"/>
                <a:gd name="T13" fmla="*/ 53 h 63"/>
                <a:gd name="T14" fmla="*/ 0 w 38"/>
                <a:gd name="T15" fmla="*/ 59 h 63"/>
                <a:gd name="T16" fmla="*/ 8 w 38"/>
                <a:gd name="T17" fmla="*/ 62 h 63"/>
                <a:gd name="T18" fmla="*/ 20 w 38"/>
                <a:gd name="T19" fmla="*/ 45 h 63"/>
                <a:gd name="T20" fmla="*/ 28 w 38"/>
                <a:gd name="T21" fmla="*/ 42 h 63"/>
                <a:gd name="T22" fmla="*/ 22 w 38"/>
                <a:gd name="T23" fmla="*/ 25 h 63"/>
                <a:gd name="T24" fmla="*/ 31 w 38"/>
                <a:gd name="T25" fmla="*/ 17 h 63"/>
                <a:gd name="T26" fmla="*/ 31 w 38"/>
                <a:gd name="T27" fmla="*/ 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63">
                  <a:moveTo>
                    <a:pt x="31" y="6"/>
                  </a:moveTo>
                  <a:cubicBezTo>
                    <a:pt x="31" y="11"/>
                    <a:pt x="31" y="17"/>
                    <a:pt x="25" y="20"/>
                  </a:cubicBezTo>
                  <a:lnTo>
                    <a:pt x="22" y="20"/>
                  </a:lnTo>
                  <a:lnTo>
                    <a:pt x="20" y="20"/>
                  </a:lnTo>
                  <a:cubicBezTo>
                    <a:pt x="20" y="22"/>
                    <a:pt x="17" y="25"/>
                    <a:pt x="14" y="25"/>
                  </a:cubicBezTo>
                  <a:cubicBezTo>
                    <a:pt x="11" y="25"/>
                    <a:pt x="3" y="28"/>
                    <a:pt x="3" y="25"/>
                  </a:cubicBezTo>
                  <a:cubicBezTo>
                    <a:pt x="0" y="34"/>
                    <a:pt x="0" y="42"/>
                    <a:pt x="0" y="53"/>
                  </a:cubicBezTo>
                  <a:lnTo>
                    <a:pt x="0" y="59"/>
                  </a:lnTo>
                  <a:cubicBezTo>
                    <a:pt x="3" y="59"/>
                    <a:pt x="5" y="62"/>
                    <a:pt x="8" y="62"/>
                  </a:cubicBezTo>
                  <a:cubicBezTo>
                    <a:pt x="14" y="56"/>
                    <a:pt x="11" y="48"/>
                    <a:pt x="20" y="45"/>
                  </a:cubicBezTo>
                  <a:cubicBezTo>
                    <a:pt x="22" y="45"/>
                    <a:pt x="25" y="45"/>
                    <a:pt x="28" y="42"/>
                  </a:cubicBezTo>
                  <a:cubicBezTo>
                    <a:pt x="28" y="37"/>
                    <a:pt x="25" y="34"/>
                    <a:pt x="22" y="25"/>
                  </a:cubicBezTo>
                  <a:lnTo>
                    <a:pt x="31" y="17"/>
                  </a:lnTo>
                  <a:cubicBezTo>
                    <a:pt x="31" y="11"/>
                    <a:pt x="37" y="0"/>
                    <a:pt x="31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3" name="Freeform 461"/>
            <p:cNvSpPr>
              <a:spLocks noChangeArrowheads="1"/>
            </p:cNvSpPr>
            <p:nvPr/>
          </p:nvSpPr>
          <p:spPr bwMode="auto">
            <a:xfrm>
              <a:off x="3965575" y="2430463"/>
              <a:ext cx="1588" cy="3175"/>
            </a:xfrm>
            <a:custGeom>
              <a:avLst/>
              <a:gdLst>
                <a:gd name="T0" fmla="*/ 0 w 3"/>
                <a:gd name="T1" fmla="*/ 0 h 7"/>
                <a:gd name="T2" fmla="*/ 0 w 3"/>
                <a:gd name="T3" fmla="*/ 6 h 7"/>
                <a:gd name="T4" fmla="*/ 2 w 3"/>
                <a:gd name="T5" fmla="*/ 0 h 7"/>
                <a:gd name="T6" fmla="*/ 0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0" y="3"/>
                    <a:pt x="2" y="3"/>
                    <a:pt x="2" y="0"/>
                  </a:cubicBezTo>
                  <a:cubicBezTo>
                    <a:pt x="2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4" name="Freeform 462"/>
            <p:cNvSpPr>
              <a:spLocks noChangeArrowheads="1"/>
            </p:cNvSpPr>
            <p:nvPr/>
          </p:nvSpPr>
          <p:spPr bwMode="auto">
            <a:xfrm>
              <a:off x="3971925" y="2863850"/>
              <a:ext cx="1588" cy="1588"/>
            </a:xfrm>
            <a:custGeom>
              <a:avLst/>
              <a:gdLst>
                <a:gd name="T0" fmla="*/ 2 w 3"/>
                <a:gd name="T1" fmla="*/ 3 h 4"/>
                <a:gd name="T2" fmla="*/ 2 w 3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3"/>
                  </a:moveTo>
                  <a:cubicBezTo>
                    <a:pt x="2" y="3"/>
                    <a:pt x="0" y="0"/>
                    <a:pt x="2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5" name="Freeform 463"/>
            <p:cNvSpPr>
              <a:spLocks noChangeArrowheads="1"/>
            </p:cNvSpPr>
            <p:nvPr/>
          </p:nvSpPr>
          <p:spPr bwMode="auto">
            <a:xfrm>
              <a:off x="3957638" y="2344738"/>
              <a:ext cx="12700" cy="11112"/>
            </a:xfrm>
            <a:custGeom>
              <a:avLst/>
              <a:gdLst>
                <a:gd name="T0" fmla="*/ 0 w 35"/>
                <a:gd name="T1" fmla="*/ 9 h 29"/>
                <a:gd name="T2" fmla="*/ 3 w 35"/>
                <a:gd name="T3" fmla="*/ 26 h 29"/>
                <a:gd name="T4" fmla="*/ 14 w 35"/>
                <a:gd name="T5" fmla="*/ 9 h 29"/>
                <a:gd name="T6" fmla="*/ 20 w 35"/>
                <a:gd name="T7" fmla="*/ 20 h 29"/>
                <a:gd name="T8" fmla="*/ 23 w 35"/>
                <a:gd name="T9" fmla="*/ 20 h 29"/>
                <a:gd name="T10" fmla="*/ 31 w 35"/>
                <a:gd name="T11" fmla="*/ 28 h 29"/>
                <a:gd name="T12" fmla="*/ 34 w 35"/>
                <a:gd name="T13" fmla="*/ 17 h 29"/>
                <a:gd name="T14" fmla="*/ 28 w 35"/>
                <a:gd name="T15" fmla="*/ 6 h 29"/>
                <a:gd name="T16" fmla="*/ 20 w 35"/>
                <a:gd name="T17" fmla="*/ 3 h 29"/>
                <a:gd name="T18" fmla="*/ 17 w 35"/>
                <a:gd name="T19" fmla="*/ 0 h 29"/>
                <a:gd name="T20" fmla="*/ 17 w 35"/>
                <a:gd name="T21" fmla="*/ 0 h 29"/>
                <a:gd name="T22" fmla="*/ 20 w 35"/>
                <a:gd name="T23" fmla="*/ 9 h 29"/>
                <a:gd name="T24" fmla="*/ 0 w 35"/>
                <a:gd name="T25" fmla="*/ 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29">
                  <a:moveTo>
                    <a:pt x="0" y="9"/>
                  </a:moveTo>
                  <a:cubicBezTo>
                    <a:pt x="0" y="14"/>
                    <a:pt x="0" y="23"/>
                    <a:pt x="3" y="26"/>
                  </a:cubicBezTo>
                  <a:cubicBezTo>
                    <a:pt x="8" y="20"/>
                    <a:pt x="11" y="14"/>
                    <a:pt x="14" y="9"/>
                  </a:cubicBezTo>
                  <a:cubicBezTo>
                    <a:pt x="17" y="11"/>
                    <a:pt x="20" y="14"/>
                    <a:pt x="20" y="20"/>
                  </a:cubicBezTo>
                  <a:cubicBezTo>
                    <a:pt x="20" y="20"/>
                    <a:pt x="20" y="20"/>
                    <a:pt x="23" y="20"/>
                  </a:cubicBezTo>
                  <a:cubicBezTo>
                    <a:pt x="28" y="20"/>
                    <a:pt x="25" y="28"/>
                    <a:pt x="31" y="28"/>
                  </a:cubicBezTo>
                  <a:cubicBezTo>
                    <a:pt x="31" y="26"/>
                    <a:pt x="31" y="20"/>
                    <a:pt x="34" y="17"/>
                  </a:cubicBezTo>
                  <a:cubicBezTo>
                    <a:pt x="31" y="14"/>
                    <a:pt x="31" y="9"/>
                    <a:pt x="28" y="6"/>
                  </a:cubicBezTo>
                  <a:cubicBezTo>
                    <a:pt x="28" y="6"/>
                    <a:pt x="23" y="3"/>
                    <a:pt x="20" y="3"/>
                  </a:cubicBezTo>
                  <a:lnTo>
                    <a:pt x="17" y="0"/>
                  </a:lnTo>
                  <a:lnTo>
                    <a:pt x="17" y="0"/>
                  </a:lnTo>
                  <a:cubicBezTo>
                    <a:pt x="14" y="3"/>
                    <a:pt x="20" y="6"/>
                    <a:pt x="20" y="9"/>
                  </a:cubicBezTo>
                  <a:cubicBezTo>
                    <a:pt x="14" y="9"/>
                    <a:pt x="8" y="9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6" name="Freeform 464"/>
            <p:cNvSpPr>
              <a:spLocks noChangeArrowheads="1"/>
            </p:cNvSpPr>
            <p:nvPr/>
          </p:nvSpPr>
          <p:spPr bwMode="auto">
            <a:xfrm>
              <a:off x="3956050" y="2386013"/>
              <a:ext cx="12700" cy="19050"/>
            </a:xfrm>
            <a:custGeom>
              <a:avLst/>
              <a:gdLst>
                <a:gd name="T0" fmla="*/ 9 w 35"/>
                <a:gd name="T1" fmla="*/ 51 h 52"/>
                <a:gd name="T2" fmla="*/ 23 w 35"/>
                <a:gd name="T3" fmla="*/ 48 h 52"/>
                <a:gd name="T4" fmla="*/ 23 w 35"/>
                <a:gd name="T5" fmla="*/ 31 h 52"/>
                <a:gd name="T6" fmla="*/ 31 w 35"/>
                <a:gd name="T7" fmla="*/ 36 h 52"/>
                <a:gd name="T8" fmla="*/ 34 w 35"/>
                <a:gd name="T9" fmla="*/ 22 h 52"/>
                <a:gd name="T10" fmla="*/ 29 w 35"/>
                <a:gd name="T11" fmla="*/ 14 h 52"/>
                <a:gd name="T12" fmla="*/ 34 w 35"/>
                <a:gd name="T13" fmla="*/ 0 h 52"/>
                <a:gd name="T14" fmla="*/ 6 w 35"/>
                <a:gd name="T15" fmla="*/ 8 h 52"/>
                <a:gd name="T16" fmla="*/ 3 w 35"/>
                <a:gd name="T17" fmla="*/ 11 h 52"/>
                <a:gd name="T18" fmla="*/ 12 w 35"/>
                <a:gd name="T19" fmla="*/ 20 h 52"/>
                <a:gd name="T20" fmla="*/ 9 w 35"/>
                <a:gd name="T21" fmla="*/ 22 h 52"/>
                <a:gd name="T22" fmla="*/ 14 w 35"/>
                <a:gd name="T23" fmla="*/ 25 h 52"/>
                <a:gd name="T24" fmla="*/ 17 w 35"/>
                <a:gd name="T25" fmla="*/ 34 h 52"/>
                <a:gd name="T26" fmla="*/ 6 w 35"/>
                <a:gd name="T27" fmla="*/ 31 h 52"/>
                <a:gd name="T28" fmla="*/ 0 w 35"/>
                <a:gd name="T29" fmla="*/ 42 h 52"/>
                <a:gd name="T30" fmla="*/ 9 w 35"/>
                <a:gd name="T31" fmla="*/ 5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52">
                  <a:moveTo>
                    <a:pt x="9" y="51"/>
                  </a:moveTo>
                  <a:cubicBezTo>
                    <a:pt x="14" y="51"/>
                    <a:pt x="14" y="45"/>
                    <a:pt x="23" y="48"/>
                  </a:cubicBezTo>
                  <a:cubicBezTo>
                    <a:pt x="23" y="42"/>
                    <a:pt x="17" y="34"/>
                    <a:pt x="23" y="31"/>
                  </a:cubicBezTo>
                  <a:cubicBezTo>
                    <a:pt x="31" y="28"/>
                    <a:pt x="26" y="39"/>
                    <a:pt x="31" y="36"/>
                  </a:cubicBezTo>
                  <a:cubicBezTo>
                    <a:pt x="31" y="31"/>
                    <a:pt x="31" y="28"/>
                    <a:pt x="34" y="22"/>
                  </a:cubicBezTo>
                  <a:cubicBezTo>
                    <a:pt x="31" y="20"/>
                    <a:pt x="31" y="17"/>
                    <a:pt x="29" y="14"/>
                  </a:cubicBezTo>
                  <a:cubicBezTo>
                    <a:pt x="29" y="8"/>
                    <a:pt x="34" y="5"/>
                    <a:pt x="34" y="0"/>
                  </a:cubicBezTo>
                  <a:cubicBezTo>
                    <a:pt x="23" y="3"/>
                    <a:pt x="17" y="11"/>
                    <a:pt x="6" y="8"/>
                  </a:cubicBezTo>
                  <a:lnTo>
                    <a:pt x="3" y="11"/>
                  </a:lnTo>
                  <a:cubicBezTo>
                    <a:pt x="6" y="14"/>
                    <a:pt x="9" y="14"/>
                    <a:pt x="12" y="20"/>
                  </a:cubicBezTo>
                  <a:cubicBezTo>
                    <a:pt x="12" y="20"/>
                    <a:pt x="9" y="20"/>
                    <a:pt x="9" y="22"/>
                  </a:cubicBezTo>
                  <a:cubicBezTo>
                    <a:pt x="9" y="22"/>
                    <a:pt x="14" y="22"/>
                    <a:pt x="14" y="25"/>
                  </a:cubicBezTo>
                  <a:cubicBezTo>
                    <a:pt x="17" y="28"/>
                    <a:pt x="14" y="31"/>
                    <a:pt x="17" y="34"/>
                  </a:cubicBezTo>
                  <a:cubicBezTo>
                    <a:pt x="12" y="34"/>
                    <a:pt x="12" y="31"/>
                    <a:pt x="6" y="31"/>
                  </a:cubicBezTo>
                  <a:cubicBezTo>
                    <a:pt x="6" y="36"/>
                    <a:pt x="3" y="39"/>
                    <a:pt x="0" y="42"/>
                  </a:cubicBezTo>
                  <a:cubicBezTo>
                    <a:pt x="6" y="45"/>
                    <a:pt x="9" y="48"/>
                    <a:pt x="9" y="5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7" name="Freeform 465"/>
            <p:cNvSpPr>
              <a:spLocks noChangeArrowheads="1"/>
            </p:cNvSpPr>
            <p:nvPr/>
          </p:nvSpPr>
          <p:spPr bwMode="auto">
            <a:xfrm>
              <a:off x="3963988" y="2338388"/>
              <a:ext cx="1587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3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8" name="Freeform 466"/>
            <p:cNvSpPr>
              <a:spLocks noChangeArrowheads="1"/>
            </p:cNvSpPr>
            <p:nvPr/>
          </p:nvSpPr>
          <p:spPr bwMode="auto">
            <a:xfrm>
              <a:off x="3946525" y="2932113"/>
              <a:ext cx="6350" cy="4762"/>
            </a:xfrm>
            <a:custGeom>
              <a:avLst/>
              <a:gdLst>
                <a:gd name="T0" fmla="*/ 0 w 18"/>
                <a:gd name="T1" fmla="*/ 3 h 15"/>
                <a:gd name="T2" fmla="*/ 0 w 18"/>
                <a:gd name="T3" fmla="*/ 12 h 15"/>
                <a:gd name="T4" fmla="*/ 14 w 18"/>
                <a:gd name="T5" fmla="*/ 9 h 15"/>
                <a:gd name="T6" fmla="*/ 17 w 18"/>
                <a:gd name="T7" fmla="*/ 6 h 15"/>
                <a:gd name="T8" fmla="*/ 0 w 18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0" y="3"/>
                  </a:moveTo>
                  <a:cubicBezTo>
                    <a:pt x="0" y="6"/>
                    <a:pt x="0" y="9"/>
                    <a:pt x="0" y="12"/>
                  </a:cubicBezTo>
                  <a:cubicBezTo>
                    <a:pt x="6" y="14"/>
                    <a:pt x="11" y="12"/>
                    <a:pt x="14" y="9"/>
                  </a:cubicBezTo>
                  <a:cubicBezTo>
                    <a:pt x="14" y="9"/>
                    <a:pt x="14" y="6"/>
                    <a:pt x="17" y="6"/>
                  </a:cubicBezTo>
                  <a:cubicBezTo>
                    <a:pt x="11" y="0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9" name="Freeform 467"/>
            <p:cNvSpPr>
              <a:spLocks noChangeArrowheads="1"/>
            </p:cNvSpPr>
            <p:nvPr/>
          </p:nvSpPr>
          <p:spPr bwMode="auto">
            <a:xfrm>
              <a:off x="3962400" y="2400300"/>
              <a:ext cx="7938" cy="9525"/>
            </a:xfrm>
            <a:custGeom>
              <a:avLst/>
              <a:gdLst>
                <a:gd name="T0" fmla="*/ 20 w 24"/>
                <a:gd name="T1" fmla="*/ 3 h 27"/>
                <a:gd name="T2" fmla="*/ 3 w 24"/>
                <a:gd name="T3" fmla="*/ 17 h 27"/>
                <a:gd name="T4" fmla="*/ 0 w 24"/>
                <a:gd name="T5" fmla="*/ 20 h 27"/>
                <a:gd name="T6" fmla="*/ 6 w 24"/>
                <a:gd name="T7" fmla="*/ 26 h 27"/>
                <a:gd name="T8" fmla="*/ 20 w 24"/>
                <a:gd name="T9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7">
                  <a:moveTo>
                    <a:pt x="20" y="3"/>
                  </a:moveTo>
                  <a:cubicBezTo>
                    <a:pt x="9" y="0"/>
                    <a:pt x="9" y="11"/>
                    <a:pt x="3" y="17"/>
                  </a:cubicBezTo>
                  <a:lnTo>
                    <a:pt x="0" y="20"/>
                  </a:lnTo>
                  <a:cubicBezTo>
                    <a:pt x="3" y="23"/>
                    <a:pt x="3" y="23"/>
                    <a:pt x="6" y="26"/>
                  </a:cubicBezTo>
                  <a:cubicBezTo>
                    <a:pt x="14" y="20"/>
                    <a:pt x="23" y="14"/>
                    <a:pt x="2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0" name="Freeform 468"/>
            <p:cNvSpPr>
              <a:spLocks noChangeArrowheads="1"/>
            </p:cNvSpPr>
            <p:nvPr/>
          </p:nvSpPr>
          <p:spPr bwMode="auto">
            <a:xfrm>
              <a:off x="3944938" y="2406650"/>
              <a:ext cx="4762" cy="4763"/>
            </a:xfrm>
            <a:custGeom>
              <a:avLst/>
              <a:gdLst>
                <a:gd name="T0" fmla="*/ 6 w 13"/>
                <a:gd name="T1" fmla="*/ 14 h 15"/>
                <a:gd name="T2" fmla="*/ 12 w 13"/>
                <a:gd name="T3" fmla="*/ 12 h 15"/>
                <a:gd name="T4" fmla="*/ 6 w 13"/>
                <a:gd name="T5" fmla="*/ 0 h 15"/>
                <a:gd name="T6" fmla="*/ 0 w 13"/>
                <a:gd name="T7" fmla="*/ 9 h 15"/>
                <a:gd name="T8" fmla="*/ 6 w 13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6" y="14"/>
                  </a:moveTo>
                  <a:cubicBezTo>
                    <a:pt x="9" y="14"/>
                    <a:pt x="12" y="12"/>
                    <a:pt x="12" y="12"/>
                  </a:cubicBezTo>
                  <a:cubicBezTo>
                    <a:pt x="9" y="9"/>
                    <a:pt x="9" y="3"/>
                    <a:pt x="6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3" y="12"/>
                    <a:pt x="3" y="12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1" name="Freeform 469"/>
            <p:cNvSpPr>
              <a:spLocks noChangeArrowheads="1"/>
            </p:cNvSpPr>
            <p:nvPr/>
          </p:nvSpPr>
          <p:spPr bwMode="auto">
            <a:xfrm>
              <a:off x="3965575" y="2355850"/>
              <a:ext cx="3175" cy="3175"/>
            </a:xfrm>
            <a:custGeom>
              <a:avLst/>
              <a:gdLst>
                <a:gd name="T0" fmla="*/ 0 w 9"/>
                <a:gd name="T1" fmla="*/ 0 h 9"/>
                <a:gd name="T2" fmla="*/ 0 w 9"/>
                <a:gd name="T3" fmla="*/ 6 h 9"/>
                <a:gd name="T4" fmla="*/ 0 w 9"/>
                <a:gd name="T5" fmla="*/ 8 h 9"/>
                <a:gd name="T6" fmla="*/ 8 w 9"/>
                <a:gd name="T7" fmla="*/ 3 h 9"/>
                <a:gd name="T8" fmla="*/ 0 w 9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0" y="6"/>
                    <a:pt x="0" y="6"/>
                    <a:pt x="0" y="8"/>
                  </a:cubicBezTo>
                  <a:cubicBezTo>
                    <a:pt x="3" y="8"/>
                    <a:pt x="5" y="6"/>
                    <a:pt x="8" y="3"/>
                  </a:cubicBezTo>
                  <a:cubicBezTo>
                    <a:pt x="5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2" name="Freeform 470"/>
            <p:cNvSpPr>
              <a:spLocks noChangeArrowheads="1"/>
            </p:cNvSpPr>
            <p:nvPr/>
          </p:nvSpPr>
          <p:spPr bwMode="auto">
            <a:xfrm>
              <a:off x="3944938" y="2724150"/>
              <a:ext cx="3175" cy="3175"/>
            </a:xfrm>
            <a:custGeom>
              <a:avLst/>
              <a:gdLst>
                <a:gd name="T0" fmla="*/ 0 w 7"/>
                <a:gd name="T1" fmla="*/ 6 h 7"/>
                <a:gd name="T2" fmla="*/ 6 w 7"/>
                <a:gd name="T3" fmla="*/ 3 h 7"/>
                <a:gd name="T4" fmla="*/ 6 w 7"/>
                <a:gd name="T5" fmla="*/ 0 h 7"/>
                <a:gd name="T6" fmla="*/ 0 w 7"/>
                <a:gd name="T7" fmla="*/ 0 h 7"/>
                <a:gd name="T8" fmla="*/ 0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6"/>
                  </a:moveTo>
                  <a:cubicBezTo>
                    <a:pt x="3" y="6"/>
                    <a:pt x="3" y="6"/>
                    <a:pt x="6" y="3"/>
                  </a:cubicBez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3" name="Freeform 471"/>
            <p:cNvSpPr>
              <a:spLocks noChangeArrowheads="1"/>
            </p:cNvSpPr>
            <p:nvPr/>
          </p:nvSpPr>
          <p:spPr bwMode="auto">
            <a:xfrm>
              <a:off x="3944938" y="2687638"/>
              <a:ext cx="4762" cy="4762"/>
            </a:xfrm>
            <a:custGeom>
              <a:avLst/>
              <a:gdLst>
                <a:gd name="T0" fmla="*/ 6 w 12"/>
                <a:gd name="T1" fmla="*/ 0 h 13"/>
                <a:gd name="T2" fmla="*/ 0 w 12"/>
                <a:gd name="T3" fmla="*/ 9 h 13"/>
                <a:gd name="T4" fmla="*/ 6 w 12"/>
                <a:gd name="T5" fmla="*/ 12 h 13"/>
                <a:gd name="T6" fmla="*/ 9 w 12"/>
                <a:gd name="T7" fmla="*/ 6 h 13"/>
                <a:gd name="T8" fmla="*/ 6 w 12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6" y="0"/>
                  </a:moveTo>
                  <a:cubicBezTo>
                    <a:pt x="3" y="3"/>
                    <a:pt x="3" y="6"/>
                    <a:pt x="0" y="9"/>
                  </a:cubicBezTo>
                  <a:cubicBezTo>
                    <a:pt x="3" y="9"/>
                    <a:pt x="3" y="9"/>
                    <a:pt x="6" y="12"/>
                  </a:cubicBezTo>
                  <a:cubicBezTo>
                    <a:pt x="9" y="12"/>
                    <a:pt x="9" y="9"/>
                    <a:pt x="9" y="6"/>
                  </a:cubicBezTo>
                  <a:cubicBezTo>
                    <a:pt x="11" y="6"/>
                    <a:pt x="9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4" name="Freeform 472"/>
            <p:cNvSpPr>
              <a:spLocks noChangeArrowheads="1"/>
            </p:cNvSpPr>
            <p:nvPr/>
          </p:nvSpPr>
          <p:spPr bwMode="auto">
            <a:xfrm>
              <a:off x="3952875" y="2366963"/>
              <a:ext cx="9525" cy="7937"/>
            </a:xfrm>
            <a:custGeom>
              <a:avLst/>
              <a:gdLst>
                <a:gd name="T0" fmla="*/ 0 w 26"/>
                <a:gd name="T1" fmla="*/ 20 h 24"/>
                <a:gd name="T2" fmla="*/ 14 w 26"/>
                <a:gd name="T3" fmla="*/ 23 h 24"/>
                <a:gd name="T4" fmla="*/ 25 w 26"/>
                <a:gd name="T5" fmla="*/ 11 h 24"/>
                <a:gd name="T6" fmla="*/ 17 w 26"/>
                <a:gd name="T7" fmla="*/ 0 h 24"/>
                <a:gd name="T8" fmla="*/ 0 w 26"/>
                <a:gd name="T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4">
                  <a:moveTo>
                    <a:pt x="0" y="20"/>
                  </a:moveTo>
                  <a:cubicBezTo>
                    <a:pt x="3" y="23"/>
                    <a:pt x="11" y="20"/>
                    <a:pt x="14" y="23"/>
                  </a:cubicBezTo>
                  <a:cubicBezTo>
                    <a:pt x="17" y="17"/>
                    <a:pt x="20" y="14"/>
                    <a:pt x="25" y="11"/>
                  </a:cubicBezTo>
                  <a:cubicBezTo>
                    <a:pt x="25" y="6"/>
                    <a:pt x="22" y="3"/>
                    <a:pt x="17" y="0"/>
                  </a:cubicBezTo>
                  <a:cubicBezTo>
                    <a:pt x="8" y="6"/>
                    <a:pt x="6" y="14"/>
                    <a:pt x="0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5" name="Freeform 473"/>
            <p:cNvSpPr>
              <a:spLocks noChangeArrowheads="1"/>
            </p:cNvSpPr>
            <p:nvPr/>
          </p:nvSpPr>
          <p:spPr bwMode="auto">
            <a:xfrm>
              <a:off x="3948113" y="2352675"/>
              <a:ext cx="6350" cy="4763"/>
            </a:xfrm>
            <a:custGeom>
              <a:avLst/>
              <a:gdLst>
                <a:gd name="T0" fmla="*/ 0 w 18"/>
                <a:gd name="T1" fmla="*/ 8 h 12"/>
                <a:gd name="T2" fmla="*/ 11 w 18"/>
                <a:gd name="T3" fmla="*/ 11 h 12"/>
                <a:gd name="T4" fmla="*/ 14 w 18"/>
                <a:gd name="T5" fmla="*/ 0 h 12"/>
                <a:gd name="T6" fmla="*/ 0 w 18"/>
                <a:gd name="T7" fmla="*/ 0 h 12"/>
                <a:gd name="T8" fmla="*/ 0 w 18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0" y="8"/>
                  </a:moveTo>
                  <a:cubicBezTo>
                    <a:pt x="2" y="11"/>
                    <a:pt x="8" y="11"/>
                    <a:pt x="11" y="11"/>
                  </a:cubicBezTo>
                  <a:cubicBezTo>
                    <a:pt x="11" y="5"/>
                    <a:pt x="17" y="5"/>
                    <a:pt x="14" y="0"/>
                  </a:cubicBez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6" name="Freeform 474"/>
            <p:cNvSpPr>
              <a:spLocks noChangeArrowheads="1"/>
            </p:cNvSpPr>
            <p:nvPr/>
          </p:nvSpPr>
          <p:spPr bwMode="auto">
            <a:xfrm>
              <a:off x="3948113" y="2752725"/>
              <a:ext cx="1587" cy="1588"/>
            </a:xfrm>
            <a:custGeom>
              <a:avLst/>
              <a:gdLst>
                <a:gd name="T0" fmla="*/ 5 w 6"/>
                <a:gd name="T1" fmla="*/ 0 h 4"/>
                <a:gd name="T2" fmla="*/ 0 w 6"/>
                <a:gd name="T3" fmla="*/ 0 h 4"/>
                <a:gd name="T4" fmla="*/ 0 w 6"/>
                <a:gd name="T5" fmla="*/ 3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2" y="0"/>
                    <a:pt x="2" y="0"/>
                    <a:pt x="0" y="0"/>
                  </a:cubicBezTo>
                  <a:lnTo>
                    <a:pt x="0" y="3"/>
                  </a:lnTo>
                  <a:cubicBezTo>
                    <a:pt x="2" y="3"/>
                    <a:pt x="2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7" name="Freeform 475"/>
            <p:cNvSpPr>
              <a:spLocks noChangeArrowheads="1"/>
            </p:cNvSpPr>
            <p:nvPr/>
          </p:nvSpPr>
          <p:spPr bwMode="auto">
            <a:xfrm>
              <a:off x="3948113" y="2357438"/>
              <a:ext cx="4762" cy="4762"/>
            </a:xfrm>
            <a:custGeom>
              <a:avLst/>
              <a:gdLst>
                <a:gd name="T0" fmla="*/ 0 w 12"/>
                <a:gd name="T1" fmla="*/ 5 h 15"/>
                <a:gd name="T2" fmla="*/ 11 w 12"/>
                <a:gd name="T3" fmla="*/ 11 h 15"/>
                <a:gd name="T4" fmla="*/ 0 w 12"/>
                <a:gd name="T5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0" y="5"/>
                  </a:moveTo>
                  <a:cubicBezTo>
                    <a:pt x="5" y="5"/>
                    <a:pt x="3" y="14"/>
                    <a:pt x="11" y="11"/>
                  </a:cubicBezTo>
                  <a:cubicBezTo>
                    <a:pt x="11" y="5"/>
                    <a:pt x="0" y="0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8" name="Freeform 476"/>
            <p:cNvSpPr>
              <a:spLocks noChangeArrowheads="1"/>
            </p:cNvSpPr>
            <p:nvPr/>
          </p:nvSpPr>
          <p:spPr bwMode="auto">
            <a:xfrm>
              <a:off x="3759200" y="2627313"/>
              <a:ext cx="4763" cy="4762"/>
            </a:xfrm>
            <a:custGeom>
              <a:avLst/>
              <a:gdLst>
                <a:gd name="T0" fmla="*/ 0 w 12"/>
                <a:gd name="T1" fmla="*/ 11 h 12"/>
                <a:gd name="T2" fmla="*/ 0 w 12"/>
                <a:gd name="T3" fmla="*/ 9 h 12"/>
                <a:gd name="T4" fmla="*/ 0 w 12"/>
                <a:gd name="T5" fmla="*/ 11 h 12"/>
                <a:gd name="T6" fmla="*/ 6 w 12"/>
                <a:gd name="T7" fmla="*/ 9 h 12"/>
                <a:gd name="T8" fmla="*/ 3 w 12"/>
                <a:gd name="T9" fmla="*/ 11 h 12"/>
                <a:gd name="T10" fmla="*/ 11 w 12"/>
                <a:gd name="T11" fmla="*/ 11 h 12"/>
                <a:gd name="T12" fmla="*/ 11 w 12"/>
                <a:gd name="T13" fmla="*/ 6 h 12"/>
                <a:gd name="T14" fmla="*/ 8 w 12"/>
                <a:gd name="T15" fmla="*/ 3 h 12"/>
                <a:gd name="T16" fmla="*/ 0 w 12"/>
                <a:gd name="T17" fmla="*/ 9 h 12"/>
                <a:gd name="T18" fmla="*/ 6 w 12"/>
                <a:gd name="T1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0" y="11"/>
                  </a:moveTo>
                  <a:cubicBezTo>
                    <a:pt x="0" y="11"/>
                    <a:pt x="0" y="10"/>
                    <a:pt x="0" y="9"/>
                  </a:cubicBezTo>
                  <a:cubicBezTo>
                    <a:pt x="0" y="10"/>
                    <a:pt x="0" y="11"/>
                    <a:pt x="0" y="11"/>
                  </a:cubicBezTo>
                  <a:close/>
                  <a:moveTo>
                    <a:pt x="6" y="9"/>
                  </a:moveTo>
                  <a:lnTo>
                    <a:pt x="3" y="11"/>
                  </a:lnTo>
                  <a:lnTo>
                    <a:pt x="11" y="11"/>
                  </a:lnTo>
                  <a:lnTo>
                    <a:pt x="11" y="6"/>
                  </a:lnTo>
                  <a:lnTo>
                    <a:pt x="8" y="3"/>
                  </a:lnTo>
                  <a:cubicBezTo>
                    <a:pt x="6" y="0"/>
                    <a:pt x="1" y="2"/>
                    <a:pt x="0" y="9"/>
                  </a:cubicBezTo>
                  <a:cubicBezTo>
                    <a:pt x="1" y="7"/>
                    <a:pt x="2" y="7"/>
                    <a:pt x="6" y="9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19" name="Freeform 477"/>
            <p:cNvSpPr>
              <a:spLocks noChangeArrowheads="1"/>
            </p:cNvSpPr>
            <p:nvPr/>
          </p:nvSpPr>
          <p:spPr bwMode="auto">
            <a:xfrm>
              <a:off x="3756025" y="2757488"/>
              <a:ext cx="4763" cy="4762"/>
            </a:xfrm>
            <a:custGeom>
              <a:avLst/>
              <a:gdLst>
                <a:gd name="T0" fmla="*/ 2 w 12"/>
                <a:gd name="T1" fmla="*/ 11 h 12"/>
                <a:gd name="T2" fmla="*/ 11 w 12"/>
                <a:gd name="T3" fmla="*/ 11 h 12"/>
                <a:gd name="T4" fmla="*/ 11 w 12"/>
                <a:gd name="T5" fmla="*/ 3 h 12"/>
                <a:gd name="T6" fmla="*/ 2 w 12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2" y="11"/>
                  </a:moveTo>
                  <a:cubicBezTo>
                    <a:pt x="5" y="11"/>
                    <a:pt x="8" y="11"/>
                    <a:pt x="11" y="11"/>
                  </a:cubicBezTo>
                  <a:cubicBezTo>
                    <a:pt x="11" y="9"/>
                    <a:pt x="11" y="6"/>
                    <a:pt x="11" y="3"/>
                  </a:cubicBezTo>
                  <a:cubicBezTo>
                    <a:pt x="5" y="0"/>
                    <a:pt x="0" y="3"/>
                    <a:pt x="2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0" name="Freeform 478"/>
            <p:cNvSpPr>
              <a:spLocks noChangeArrowheads="1"/>
            </p:cNvSpPr>
            <p:nvPr/>
          </p:nvSpPr>
          <p:spPr bwMode="auto">
            <a:xfrm>
              <a:off x="3703638" y="2319338"/>
              <a:ext cx="1587" cy="3175"/>
            </a:xfrm>
            <a:custGeom>
              <a:avLst/>
              <a:gdLst>
                <a:gd name="T0" fmla="*/ 0 w 4"/>
                <a:gd name="T1" fmla="*/ 0 h 7"/>
                <a:gd name="T2" fmla="*/ 0 w 4"/>
                <a:gd name="T3" fmla="*/ 6 h 7"/>
                <a:gd name="T4" fmla="*/ 0 w 4"/>
                <a:gd name="T5" fmla="*/ 6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lnTo>
                    <a:pt x="0" y="6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1" name="Freeform 479"/>
            <p:cNvSpPr>
              <a:spLocks noChangeArrowheads="1"/>
            </p:cNvSpPr>
            <p:nvPr/>
          </p:nvSpPr>
          <p:spPr bwMode="auto">
            <a:xfrm>
              <a:off x="3759200" y="2900363"/>
              <a:ext cx="4763" cy="4762"/>
            </a:xfrm>
            <a:custGeom>
              <a:avLst/>
              <a:gdLst>
                <a:gd name="T0" fmla="*/ 11 w 12"/>
                <a:gd name="T1" fmla="*/ 3 h 12"/>
                <a:gd name="T2" fmla="*/ 0 w 12"/>
                <a:gd name="T3" fmla="*/ 0 h 12"/>
                <a:gd name="T4" fmla="*/ 11 w 12"/>
                <a:gd name="T5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11" y="3"/>
                  </a:moveTo>
                  <a:cubicBezTo>
                    <a:pt x="6" y="3"/>
                    <a:pt x="6" y="0"/>
                    <a:pt x="0" y="0"/>
                  </a:cubicBezTo>
                  <a:cubicBezTo>
                    <a:pt x="0" y="8"/>
                    <a:pt x="11" y="11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2" name="Freeform 480"/>
            <p:cNvSpPr>
              <a:spLocks noChangeArrowheads="1"/>
            </p:cNvSpPr>
            <p:nvPr/>
          </p:nvSpPr>
          <p:spPr bwMode="auto">
            <a:xfrm>
              <a:off x="3759200" y="2892425"/>
              <a:ext cx="3175" cy="3175"/>
            </a:xfrm>
            <a:custGeom>
              <a:avLst/>
              <a:gdLst>
                <a:gd name="T0" fmla="*/ 5 w 9"/>
                <a:gd name="T1" fmla="*/ 9 h 10"/>
                <a:gd name="T2" fmla="*/ 3 w 9"/>
                <a:gd name="T3" fmla="*/ 0 h 10"/>
                <a:gd name="T4" fmla="*/ 5 w 9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5" y="9"/>
                  </a:moveTo>
                  <a:cubicBezTo>
                    <a:pt x="8" y="6"/>
                    <a:pt x="8" y="0"/>
                    <a:pt x="3" y="0"/>
                  </a:cubicBezTo>
                  <a:cubicBezTo>
                    <a:pt x="0" y="3"/>
                    <a:pt x="0" y="9"/>
                    <a:pt x="5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3" name="Freeform 481"/>
            <p:cNvSpPr>
              <a:spLocks noChangeArrowheads="1"/>
            </p:cNvSpPr>
            <p:nvPr/>
          </p:nvSpPr>
          <p:spPr bwMode="auto">
            <a:xfrm>
              <a:off x="3756025" y="2887663"/>
              <a:ext cx="4763" cy="4762"/>
            </a:xfrm>
            <a:custGeom>
              <a:avLst/>
              <a:gdLst>
                <a:gd name="T0" fmla="*/ 0 w 12"/>
                <a:gd name="T1" fmla="*/ 11 h 15"/>
                <a:gd name="T2" fmla="*/ 11 w 12"/>
                <a:gd name="T3" fmla="*/ 11 h 15"/>
                <a:gd name="T4" fmla="*/ 11 w 12"/>
                <a:gd name="T5" fmla="*/ 3 h 15"/>
                <a:gd name="T6" fmla="*/ 8 w 12"/>
                <a:gd name="T7" fmla="*/ 0 h 15"/>
                <a:gd name="T8" fmla="*/ 0 w 12"/>
                <a:gd name="T9" fmla="*/ 6 h 15"/>
                <a:gd name="T10" fmla="*/ 0 w 12"/>
                <a:gd name="T11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5">
                  <a:moveTo>
                    <a:pt x="0" y="11"/>
                  </a:moveTo>
                  <a:cubicBezTo>
                    <a:pt x="2" y="11"/>
                    <a:pt x="5" y="14"/>
                    <a:pt x="11" y="11"/>
                  </a:cubicBezTo>
                  <a:cubicBezTo>
                    <a:pt x="8" y="9"/>
                    <a:pt x="11" y="6"/>
                    <a:pt x="11" y="3"/>
                  </a:cubicBezTo>
                  <a:lnTo>
                    <a:pt x="8" y="0"/>
                  </a:lnTo>
                  <a:cubicBezTo>
                    <a:pt x="8" y="3"/>
                    <a:pt x="5" y="6"/>
                    <a:pt x="0" y="6"/>
                  </a:cubicBezTo>
                  <a:cubicBezTo>
                    <a:pt x="0" y="9"/>
                    <a:pt x="0" y="9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4" name="Freeform 482"/>
            <p:cNvSpPr>
              <a:spLocks noChangeArrowheads="1"/>
            </p:cNvSpPr>
            <p:nvPr/>
          </p:nvSpPr>
          <p:spPr bwMode="auto">
            <a:xfrm>
              <a:off x="3762375" y="2863850"/>
              <a:ext cx="1588" cy="1588"/>
            </a:xfrm>
            <a:custGeom>
              <a:avLst/>
              <a:gdLst>
                <a:gd name="T0" fmla="*/ 0 w 4"/>
                <a:gd name="T1" fmla="*/ 3 h 4"/>
                <a:gd name="T2" fmla="*/ 3 w 4"/>
                <a:gd name="T3" fmla="*/ 0 h 4"/>
                <a:gd name="T4" fmla="*/ 0 w 4"/>
                <a:gd name="T5" fmla="*/ 0 h 4"/>
                <a:gd name="T6" fmla="*/ 0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3"/>
                    <a:pt x="0" y="0"/>
                    <a:pt x="3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5" name="Freeform 483"/>
            <p:cNvSpPr>
              <a:spLocks noChangeArrowheads="1"/>
            </p:cNvSpPr>
            <p:nvPr/>
          </p:nvSpPr>
          <p:spPr bwMode="auto">
            <a:xfrm>
              <a:off x="3756025" y="2728913"/>
              <a:ext cx="3175" cy="3175"/>
            </a:xfrm>
            <a:custGeom>
              <a:avLst/>
              <a:gdLst>
                <a:gd name="T0" fmla="*/ 0 w 10"/>
                <a:gd name="T1" fmla="*/ 0 h 10"/>
                <a:gd name="T2" fmla="*/ 0 w 10"/>
                <a:gd name="T3" fmla="*/ 0 h 10"/>
                <a:gd name="T4" fmla="*/ 3 w 10"/>
                <a:gd name="T5" fmla="*/ 6 h 10"/>
                <a:gd name="T6" fmla="*/ 3 w 10"/>
                <a:gd name="T7" fmla="*/ 9 h 10"/>
                <a:gd name="T8" fmla="*/ 6 w 10"/>
                <a:gd name="T9" fmla="*/ 9 h 10"/>
                <a:gd name="T10" fmla="*/ 9 w 10"/>
                <a:gd name="T11" fmla="*/ 6 h 10"/>
                <a:gd name="T12" fmla="*/ 0 w 10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0" y="0"/>
                  </a:moveTo>
                  <a:lnTo>
                    <a:pt x="0" y="0"/>
                  </a:lnTo>
                  <a:cubicBezTo>
                    <a:pt x="0" y="3"/>
                    <a:pt x="3" y="3"/>
                    <a:pt x="3" y="6"/>
                  </a:cubicBezTo>
                  <a:cubicBezTo>
                    <a:pt x="3" y="6"/>
                    <a:pt x="3" y="6"/>
                    <a:pt x="3" y="9"/>
                  </a:cubicBezTo>
                  <a:cubicBezTo>
                    <a:pt x="3" y="9"/>
                    <a:pt x="3" y="9"/>
                    <a:pt x="6" y="9"/>
                  </a:cubicBezTo>
                  <a:cubicBezTo>
                    <a:pt x="6" y="6"/>
                    <a:pt x="6" y="6"/>
                    <a:pt x="9" y="6"/>
                  </a:cubicBezTo>
                  <a:cubicBezTo>
                    <a:pt x="6" y="3"/>
                    <a:pt x="6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6" name="Freeform 484"/>
            <p:cNvSpPr>
              <a:spLocks noChangeArrowheads="1"/>
            </p:cNvSpPr>
            <p:nvPr/>
          </p:nvSpPr>
          <p:spPr bwMode="auto">
            <a:xfrm>
              <a:off x="3759200" y="2228850"/>
              <a:ext cx="3175" cy="4763"/>
            </a:xfrm>
            <a:custGeom>
              <a:avLst/>
              <a:gdLst>
                <a:gd name="T0" fmla="*/ 6 w 7"/>
                <a:gd name="T1" fmla="*/ 0 h 12"/>
                <a:gd name="T2" fmla="*/ 3 w 7"/>
                <a:gd name="T3" fmla="*/ 0 h 12"/>
                <a:gd name="T4" fmla="*/ 0 w 7"/>
                <a:gd name="T5" fmla="*/ 2 h 12"/>
                <a:gd name="T6" fmla="*/ 6 w 7"/>
                <a:gd name="T7" fmla="*/ 11 h 12"/>
                <a:gd name="T8" fmla="*/ 6 w 7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2">
                  <a:moveTo>
                    <a:pt x="6" y="0"/>
                  </a:moveTo>
                  <a:lnTo>
                    <a:pt x="3" y="0"/>
                  </a:lnTo>
                  <a:cubicBezTo>
                    <a:pt x="3" y="2"/>
                    <a:pt x="3" y="2"/>
                    <a:pt x="0" y="2"/>
                  </a:cubicBezTo>
                  <a:cubicBezTo>
                    <a:pt x="0" y="5"/>
                    <a:pt x="3" y="8"/>
                    <a:pt x="6" y="11"/>
                  </a:cubicBezTo>
                  <a:cubicBezTo>
                    <a:pt x="6" y="5"/>
                    <a:pt x="6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7" name="Freeform 485"/>
            <p:cNvSpPr>
              <a:spLocks noChangeArrowheads="1"/>
            </p:cNvSpPr>
            <p:nvPr/>
          </p:nvSpPr>
          <p:spPr bwMode="auto">
            <a:xfrm>
              <a:off x="3751263" y="2619375"/>
              <a:ext cx="11112" cy="12700"/>
            </a:xfrm>
            <a:custGeom>
              <a:avLst/>
              <a:gdLst>
                <a:gd name="T0" fmla="*/ 20 w 29"/>
                <a:gd name="T1" fmla="*/ 36 h 37"/>
                <a:gd name="T2" fmla="*/ 9 w 29"/>
                <a:gd name="T3" fmla="*/ 0 h 37"/>
                <a:gd name="T4" fmla="*/ 20 w 29"/>
                <a:gd name="T5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37">
                  <a:moveTo>
                    <a:pt x="20" y="36"/>
                  </a:moveTo>
                  <a:cubicBezTo>
                    <a:pt x="14" y="25"/>
                    <a:pt x="28" y="0"/>
                    <a:pt x="9" y="0"/>
                  </a:cubicBezTo>
                  <a:cubicBezTo>
                    <a:pt x="0" y="14"/>
                    <a:pt x="3" y="36"/>
                    <a:pt x="20" y="3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8" name="Freeform 486"/>
            <p:cNvSpPr>
              <a:spLocks noChangeArrowheads="1"/>
            </p:cNvSpPr>
            <p:nvPr/>
          </p:nvSpPr>
          <p:spPr bwMode="auto">
            <a:xfrm>
              <a:off x="3706813" y="2543175"/>
              <a:ext cx="9525" cy="11113"/>
            </a:xfrm>
            <a:custGeom>
              <a:avLst/>
              <a:gdLst>
                <a:gd name="T0" fmla="*/ 14 w 26"/>
                <a:gd name="T1" fmla="*/ 0 h 29"/>
                <a:gd name="T2" fmla="*/ 6 w 26"/>
                <a:gd name="T3" fmla="*/ 6 h 29"/>
                <a:gd name="T4" fmla="*/ 0 w 26"/>
                <a:gd name="T5" fmla="*/ 20 h 29"/>
                <a:gd name="T6" fmla="*/ 11 w 26"/>
                <a:gd name="T7" fmla="*/ 25 h 29"/>
                <a:gd name="T8" fmla="*/ 23 w 26"/>
                <a:gd name="T9" fmla="*/ 20 h 29"/>
                <a:gd name="T10" fmla="*/ 25 w 26"/>
                <a:gd name="T11" fmla="*/ 9 h 29"/>
                <a:gd name="T12" fmla="*/ 25 w 26"/>
                <a:gd name="T13" fmla="*/ 9 h 29"/>
                <a:gd name="T14" fmla="*/ 14 w 26"/>
                <a:gd name="T1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9">
                  <a:moveTo>
                    <a:pt x="14" y="0"/>
                  </a:moveTo>
                  <a:cubicBezTo>
                    <a:pt x="11" y="3"/>
                    <a:pt x="9" y="6"/>
                    <a:pt x="6" y="6"/>
                  </a:cubicBezTo>
                  <a:cubicBezTo>
                    <a:pt x="6" y="11"/>
                    <a:pt x="3" y="14"/>
                    <a:pt x="0" y="20"/>
                  </a:cubicBezTo>
                  <a:cubicBezTo>
                    <a:pt x="6" y="23"/>
                    <a:pt x="3" y="28"/>
                    <a:pt x="11" y="25"/>
                  </a:cubicBezTo>
                  <a:cubicBezTo>
                    <a:pt x="14" y="23"/>
                    <a:pt x="17" y="20"/>
                    <a:pt x="23" y="20"/>
                  </a:cubicBezTo>
                  <a:cubicBezTo>
                    <a:pt x="23" y="17"/>
                    <a:pt x="23" y="14"/>
                    <a:pt x="25" y="9"/>
                  </a:cubicBezTo>
                  <a:lnTo>
                    <a:pt x="25" y="9"/>
                  </a:lnTo>
                  <a:cubicBezTo>
                    <a:pt x="20" y="6"/>
                    <a:pt x="20" y="3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9" name="Freeform 487"/>
            <p:cNvSpPr>
              <a:spLocks noChangeArrowheads="1"/>
            </p:cNvSpPr>
            <p:nvPr/>
          </p:nvSpPr>
          <p:spPr bwMode="auto">
            <a:xfrm>
              <a:off x="3716338" y="2562225"/>
              <a:ext cx="11112" cy="4763"/>
            </a:xfrm>
            <a:custGeom>
              <a:avLst/>
              <a:gdLst>
                <a:gd name="T0" fmla="*/ 20 w 30"/>
                <a:gd name="T1" fmla="*/ 8 h 15"/>
                <a:gd name="T2" fmla="*/ 12 w 30"/>
                <a:gd name="T3" fmla="*/ 0 h 15"/>
                <a:gd name="T4" fmla="*/ 3 w 30"/>
                <a:gd name="T5" fmla="*/ 8 h 15"/>
                <a:gd name="T6" fmla="*/ 15 w 30"/>
                <a:gd name="T7" fmla="*/ 8 h 15"/>
                <a:gd name="T8" fmla="*/ 15 w 30"/>
                <a:gd name="T9" fmla="*/ 8 h 15"/>
                <a:gd name="T10" fmla="*/ 20 w 30"/>
                <a:gd name="T11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5">
                  <a:moveTo>
                    <a:pt x="20" y="8"/>
                  </a:moveTo>
                  <a:cubicBezTo>
                    <a:pt x="15" y="11"/>
                    <a:pt x="15" y="2"/>
                    <a:pt x="12" y="0"/>
                  </a:cubicBezTo>
                  <a:cubicBezTo>
                    <a:pt x="6" y="0"/>
                    <a:pt x="0" y="0"/>
                    <a:pt x="3" y="8"/>
                  </a:cubicBezTo>
                  <a:cubicBezTo>
                    <a:pt x="6" y="11"/>
                    <a:pt x="12" y="11"/>
                    <a:pt x="15" y="8"/>
                  </a:cubicBezTo>
                  <a:lnTo>
                    <a:pt x="15" y="8"/>
                  </a:lnTo>
                  <a:cubicBezTo>
                    <a:pt x="12" y="14"/>
                    <a:pt x="29" y="8"/>
                    <a:pt x="2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0" name="Freeform 488"/>
            <p:cNvSpPr>
              <a:spLocks noChangeArrowheads="1"/>
            </p:cNvSpPr>
            <p:nvPr/>
          </p:nvSpPr>
          <p:spPr bwMode="auto">
            <a:xfrm>
              <a:off x="3716338" y="2587625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3 h 7"/>
                <a:gd name="T4" fmla="*/ 0 w 10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cubicBezTo>
                    <a:pt x="3" y="6"/>
                    <a:pt x="6" y="3"/>
                    <a:pt x="9" y="3"/>
                  </a:cubicBezTo>
                  <a:cubicBezTo>
                    <a:pt x="3" y="3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1" name="Freeform 489"/>
            <p:cNvSpPr>
              <a:spLocks noChangeArrowheads="1"/>
            </p:cNvSpPr>
            <p:nvPr/>
          </p:nvSpPr>
          <p:spPr bwMode="auto">
            <a:xfrm>
              <a:off x="3725863" y="2884488"/>
              <a:ext cx="4762" cy="4762"/>
            </a:xfrm>
            <a:custGeom>
              <a:avLst/>
              <a:gdLst>
                <a:gd name="T0" fmla="*/ 8 w 15"/>
                <a:gd name="T1" fmla="*/ 5 h 12"/>
                <a:gd name="T2" fmla="*/ 8 w 15"/>
                <a:gd name="T3" fmla="*/ 0 h 12"/>
                <a:gd name="T4" fmla="*/ 0 w 15"/>
                <a:gd name="T5" fmla="*/ 8 h 12"/>
                <a:gd name="T6" fmla="*/ 11 w 15"/>
                <a:gd name="T7" fmla="*/ 11 h 12"/>
                <a:gd name="T8" fmla="*/ 14 w 15"/>
                <a:gd name="T9" fmla="*/ 0 h 12"/>
                <a:gd name="T10" fmla="*/ 11 w 15"/>
                <a:gd name="T11" fmla="*/ 0 h 12"/>
                <a:gd name="T12" fmla="*/ 8 w 15"/>
                <a:gd name="T1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2">
                  <a:moveTo>
                    <a:pt x="8" y="5"/>
                  </a:moveTo>
                  <a:cubicBezTo>
                    <a:pt x="8" y="2"/>
                    <a:pt x="8" y="2"/>
                    <a:pt x="8" y="0"/>
                  </a:cubicBezTo>
                  <a:cubicBezTo>
                    <a:pt x="2" y="0"/>
                    <a:pt x="0" y="2"/>
                    <a:pt x="0" y="8"/>
                  </a:cubicBezTo>
                  <a:cubicBezTo>
                    <a:pt x="2" y="11"/>
                    <a:pt x="5" y="11"/>
                    <a:pt x="11" y="11"/>
                  </a:cubicBezTo>
                  <a:cubicBezTo>
                    <a:pt x="11" y="8"/>
                    <a:pt x="11" y="2"/>
                    <a:pt x="14" y="0"/>
                  </a:cubicBezTo>
                  <a:cubicBezTo>
                    <a:pt x="14" y="0"/>
                    <a:pt x="14" y="0"/>
                    <a:pt x="11" y="0"/>
                  </a:cubicBezTo>
                  <a:cubicBezTo>
                    <a:pt x="11" y="2"/>
                    <a:pt x="11" y="2"/>
                    <a:pt x="8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2" name="Freeform 490"/>
            <p:cNvSpPr>
              <a:spLocks noChangeArrowheads="1"/>
            </p:cNvSpPr>
            <p:nvPr/>
          </p:nvSpPr>
          <p:spPr bwMode="auto">
            <a:xfrm>
              <a:off x="3724275" y="2535238"/>
              <a:ext cx="3175" cy="4762"/>
            </a:xfrm>
            <a:custGeom>
              <a:avLst/>
              <a:gdLst>
                <a:gd name="T0" fmla="*/ 6 w 9"/>
                <a:gd name="T1" fmla="*/ 0 h 13"/>
                <a:gd name="T2" fmla="*/ 6 w 9"/>
                <a:gd name="T3" fmla="*/ 0 h 13"/>
                <a:gd name="T4" fmla="*/ 0 w 9"/>
                <a:gd name="T5" fmla="*/ 12 h 13"/>
                <a:gd name="T6" fmla="*/ 6 w 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6" y="0"/>
                  </a:moveTo>
                  <a:lnTo>
                    <a:pt x="6" y="0"/>
                  </a:lnTo>
                  <a:cubicBezTo>
                    <a:pt x="3" y="3"/>
                    <a:pt x="3" y="9"/>
                    <a:pt x="0" y="12"/>
                  </a:cubicBezTo>
                  <a:cubicBezTo>
                    <a:pt x="6" y="12"/>
                    <a:pt x="8" y="9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3" name="Freeform 491"/>
            <p:cNvSpPr>
              <a:spLocks noChangeArrowheads="1"/>
            </p:cNvSpPr>
            <p:nvPr/>
          </p:nvSpPr>
          <p:spPr bwMode="auto">
            <a:xfrm>
              <a:off x="3706813" y="2625725"/>
              <a:ext cx="1587" cy="1588"/>
            </a:xfrm>
            <a:custGeom>
              <a:avLst/>
              <a:gdLst>
                <a:gd name="T0" fmla="*/ 3 w 4"/>
                <a:gd name="T1" fmla="*/ 5 h 6"/>
                <a:gd name="T2" fmla="*/ 3 w 4"/>
                <a:gd name="T3" fmla="*/ 0 h 6"/>
                <a:gd name="T4" fmla="*/ 0 w 4"/>
                <a:gd name="T5" fmla="*/ 0 h 6"/>
                <a:gd name="T6" fmla="*/ 3 w 4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5"/>
                  </a:moveTo>
                  <a:lnTo>
                    <a:pt x="3" y="0"/>
                  </a:lnTo>
                  <a:lnTo>
                    <a:pt x="0" y="0"/>
                  </a:lnTo>
                  <a:cubicBezTo>
                    <a:pt x="3" y="0"/>
                    <a:pt x="3" y="2"/>
                    <a:pt x="3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4" name="Freeform 492"/>
            <p:cNvSpPr>
              <a:spLocks noChangeArrowheads="1"/>
            </p:cNvSpPr>
            <p:nvPr/>
          </p:nvSpPr>
          <p:spPr bwMode="auto">
            <a:xfrm>
              <a:off x="3705225" y="2673350"/>
              <a:ext cx="3175" cy="4763"/>
            </a:xfrm>
            <a:custGeom>
              <a:avLst/>
              <a:gdLst>
                <a:gd name="T0" fmla="*/ 0 w 7"/>
                <a:gd name="T1" fmla="*/ 3 h 15"/>
                <a:gd name="T2" fmla="*/ 3 w 7"/>
                <a:gd name="T3" fmla="*/ 14 h 15"/>
                <a:gd name="T4" fmla="*/ 6 w 7"/>
                <a:gd name="T5" fmla="*/ 6 h 15"/>
                <a:gd name="T6" fmla="*/ 3 w 7"/>
                <a:gd name="T7" fmla="*/ 0 h 15"/>
                <a:gd name="T8" fmla="*/ 0 w 7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cubicBezTo>
                    <a:pt x="0" y="8"/>
                    <a:pt x="0" y="14"/>
                    <a:pt x="3" y="14"/>
                  </a:cubicBezTo>
                  <a:cubicBezTo>
                    <a:pt x="3" y="11"/>
                    <a:pt x="6" y="8"/>
                    <a:pt x="6" y="6"/>
                  </a:cubicBezTo>
                  <a:cubicBezTo>
                    <a:pt x="6" y="3"/>
                    <a:pt x="3" y="3"/>
                    <a:pt x="3" y="0"/>
                  </a:cubicBezTo>
                  <a:cubicBezTo>
                    <a:pt x="3" y="3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5" name="Freeform 493"/>
            <p:cNvSpPr>
              <a:spLocks noChangeArrowheads="1"/>
            </p:cNvSpPr>
            <p:nvPr/>
          </p:nvSpPr>
          <p:spPr bwMode="auto">
            <a:xfrm>
              <a:off x="3705225" y="2727325"/>
              <a:ext cx="4763" cy="4763"/>
            </a:xfrm>
            <a:custGeom>
              <a:avLst/>
              <a:gdLst>
                <a:gd name="T0" fmla="*/ 9 w 15"/>
                <a:gd name="T1" fmla="*/ 11 h 12"/>
                <a:gd name="T2" fmla="*/ 9 w 15"/>
                <a:gd name="T3" fmla="*/ 0 h 12"/>
                <a:gd name="T4" fmla="*/ 9 w 15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9" y="11"/>
                  </a:moveTo>
                  <a:cubicBezTo>
                    <a:pt x="9" y="8"/>
                    <a:pt x="14" y="0"/>
                    <a:pt x="9" y="0"/>
                  </a:cubicBezTo>
                  <a:cubicBezTo>
                    <a:pt x="6" y="0"/>
                    <a:pt x="0" y="8"/>
                    <a:pt x="9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6" name="Freeform 494"/>
            <p:cNvSpPr>
              <a:spLocks noChangeArrowheads="1"/>
            </p:cNvSpPr>
            <p:nvPr/>
          </p:nvSpPr>
          <p:spPr bwMode="auto">
            <a:xfrm>
              <a:off x="3740150" y="2595563"/>
              <a:ext cx="6350" cy="4762"/>
            </a:xfrm>
            <a:custGeom>
              <a:avLst/>
              <a:gdLst>
                <a:gd name="T0" fmla="*/ 0 w 18"/>
                <a:gd name="T1" fmla="*/ 5 h 15"/>
                <a:gd name="T2" fmla="*/ 9 w 18"/>
                <a:gd name="T3" fmla="*/ 14 h 15"/>
                <a:gd name="T4" fmla="*/ 14 w 18"/>
                <a:gd name="T5" fmla="*/ 14 h 15"/>
                <a:gd name="T6" fmla="*/ 1 w 18"/>
                <a:gd name="T7" fmla="*/ 0 h 15"/>
                <a:gd name="T8" fmla="*/ 0 w 18"/>
                <a:gd name="T9" fmla="*/ 5 h 15"/>
                <a:gd name="T10" fmla="*/ 0 w 18"/>
                <a:gd name="T11" fmla="*/ 0 h 15"/>
                <a:gd name="T12" fmla="*/ 1 w 18"/>
                <a:gd name="T13" fmla="*/ 0 h 15"/>
                <a:gd name="T14" fmla="*/ 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0" y="5"/>
                  </a:moveTo>
                  <a:cubicBezTo>
                    <a:pt x="3" y="8"/>
                    <a:pt x="9" y="8"/>
                    <a:pt x="9" y="14"/>
                  </a:cubicBezTo>
                  <a:lnTo>
                    <a:pt x="14" y="14"/>
                  </a:lnTo>
                  <a:cubicBezTo>
                    <a:pt x="17" y="3"/>
                    <a:pt x="9" y="3"/>
                    <a:pt x="1" y="0"/>
                  </a:cubicBezTo>
                  <a:cubicBezTo>
                    <a:pt x="2" y="1"/>
                    <a:pt x="0" y="3"/>
                    <a:pt x="0" y="5"/>
                  </a:cubicBezTo>
                  <a:close/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7" name="Freeform 495"/>
            <p:cNvSpPr>
              <a:spLocks noChangeArrowheads="1"/>
            </p:cNvSpPr>
            <p:nvPr/>
          </p:nvSpPr>
          <p:spPr bwMode="auto">
            <a:xfrm>
              <a:off x="3744913" y="2586038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0 w 7"/>
                <a:gd name="T3" fmla="*/ 0 h 6"/>
                <a:gd name="T4" fmla="*/ 0 w 7"/>
                <a:gd name="T5" fmla="*/ 2 h 6"/>
                <a:gd name="T6" fmla="*/ 0 w 7"/>
                <a:gd name="T7" fmla="*/ 2 h 6"/>
                <a:gd name="T8" fmla="*/ 6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cubicBezTo>
                    <a:pt x="6" y="2"/>
                    <a:pt x="6" y="0"/>
                    <a:pt x="0" y="0"/>
                  </a:cubicBezTo>
                  <a:lnTo>
                    <a:pt x="0" y="2"/>
                  </a:lnTo>
                  <a:lnTo>
                    <a:pt x="0" y="2"/>
                  </a:lnTo>
                  <a:cubicBezTo>
                    <a:pt x="3" y="2"/>
                    <a:pt x="3" y="5"/>
                    <a:pt x="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8" name="Freeform 496"/>
            <p:cNvSpPr>
              <a:spLocks noChangeArrowheads="1"/>
            </p:cNvSpPr>
            <p:nvPr/>
          </p:nvSpPr>
          <p:spPr bwMode="auto">
            <a:xfrm>
              <a:off x="3748088" y="2857500"/>
              <a:ext cx="3175" cy="1588"/>
            </a:xfrm>
            <a:custGeom>
              <a:avLst/>
              <a:gdLst>
                <a:gd name="T0" fmla="*/ 0 w 9"/>
                <a:gd name="T1" fmla="*/ 2 h 6"/>
                <a:gd name="T2" fmla="*/ 8 w 9"/>
                <a:gd name="T3" fmla="*/ 2 h 6"/>
                <a:gd name="T4" fmla="*/ 0 w 9"/>
                <a:gd name="T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0" y="2"/>
                  </a:moveTo>
                  <a:cubicBezTo>
                    <a:pt x="3" y="5"/>
                    <a:pt x="5" y="5"/>
                    <a:pt x="8" y="2"/>
                  </a:cubicBezTo>
                  <a:cubicBezTo>
                    <a:pt x="5" y="0"/>
                    <a:pt x="3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39" name="Freeform 497"/>
            <p:cNvSpPr>
              <a:spLocks noChangeArrowheads="1"/>
            </p:cNvSpPr>
            <p:nvPr/>
          </p:nvSpPr>
          <p:spPr bwMode="auto">
            <a:xfrm>
              <a:off x="3749675" y="2909888"/>
              <a:ext cx="9525" cy="11112"/>
            </a:xfrm>
            <a:custGeom>
              <a:avLst/>
              <a:gdLst>
                <a:gd name="T0" fmla="*/ 19 w 26"/>
                <a:gd name="T1" fmla="*/ 6 h 30"/>
                <a:gd name="T2" fmla="*/ 19 w 26"/>
                <a:gd name="T3" fmla="*/ 6 h 30"/>
                <a:gd name="T4" fmla="*/ 0 w 26"/>
                <a:gd name="T5" fmla="*/ 6 h 30"/>
                <a:gd name="T6" fmla="*/ 25 w 26"/>
                <a:gd name="T7" fmla="*/ 29 h 30"/>
                <a:gd name="T8" fmla="*/ 22 w 26"/>
                <a:gd name="T9" fmla="*/ 20 h 30"/>
                <a:gd name="T10" fmla="*/ 19 w 26"/>
                <a:gd name="T11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0">
                  <a:moveTo>
                    <a:pt x="19" y="6"/>
                  </a:moveTo>
                  <a:lnTo>
                    <a:pt x="19" y="6"/>
                  </a:lnTo>
                  <a:cubicBezTo>
                    <a:pt x="8" y="9"/>
                    <a:pt x="5" y="0"/>
                    <a:pt x="0" y="6"/>
                  </a:cubicBezTo>
                  <a:cubicBezTo>
                    <a:pt x="2" y="17"/>
                    <a:pt x="14" y="26"/>
                    <a:pt x="25" y="29"/>
                  </a:cubicBezTo>
                  <a:cubicBezTo>
                    <a:pt x="25" y="26"/>
                    <a:pt x="25" y="23"/>
                    <a:pt x="22" y="20"/>
                  </a:cubicBezTo>
                  <a:cubicBezTo>
                    <a:pt x="19" y="17"/>
                    <a:pt x="17" y="12"/>
                    <a:pt x="19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0" name="Freeform 498"/>
            <p:cNvSpPr>
              <a:spLocks noChangeArrowheads="1"/>
            </p:cNvSpPr>
            <p:nvPr/>
          </p:nvSpPr>
          <p:spPr bwMode="auto">
            <a:xfrm>
              <a:off x="3738563" y="2863850"/>
              <a:ext cx="7937" cy="4763"/>
            </a:xfrm>
            <a:custGeom>
              <a:avLst/>
              <a:gdLst>
                <a:gd name="T0" fmla="*/ 0 w 23"/>
                <a:gd name="T1" fmla="*/ 6 h 13"/>
                <a:gd name="T2" fmla="*/ 0 w 23"/>
                <a:gd name="T3" fmla="*/ 12 h 13"/>
                <a:gd name="T4" fmla="*/ 16 w 23"/>
                <a:gd name="T5" fmla="*/ 12 h 13"/>
                <a:gd name="T6" fmla="*/ 22 w 23"/>
                <a:gd name="T7" fmla="*/ 3 h 13"/>
                <a:gd name="T8" fmla="*/ 19 w 23"/>
                <a:gd name="T9" fmla="*/ 3 h 13"/>
                <a:gd name="T10" fmla="*/ 0 w 23"/>
                <a:gd name="T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3">
                  <a:moveTo>
                    <a:pt x="0" y="6"/>
                  </a:moveTo>
                  <a:cubicBezTo>
                    <a:pt x="0" y="9"/>
                    <a:pt x="0" y="9"/>
                    <a:pt x="0" y="12"/>
                  </a:cubicBezTo>
                  <a:cubicBezTo>
                    <a:pt x="5" y="12"/>
                    <a:pt x="11" y="12"/>
                    <a:pt x="16" y="12"/>
                  </a:cubicBezTo>
                  <a:cubicBezTo>
                    <a:pt x="19" y="9"/>
                    <a:pt x="22" y="6"/>
                    <a:pt x="22" y="3"/>
                  </a:cubicBezTo>
                  <a:cubicBezTo>
                    <a:pt x="22" y="3"/>
                    <a:pt x="22" y="3"/>
                    <a:pt x="19" y="3"/>
                  </a:cubicBezTo>
                  <a:cubicBezTo>
                    <a:pt x="16" y="0"/>
                    <a:pt x="8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1" name="Freeform 499"/>
            <p:cNvSpPr>
              <a:spLocks noChangeArrowheads="1"/>
            </p:cNvSpPr>
            <p:nvPr/>
          </p:nvSpPr>
          <p:spPr bwMode="auto">
            <a:xfrm>
              <a:off x="3730625" y="2582863"/>
              <a:ext cx="4763" cy="4762"/>
            </a:xfrm>
            <a:custGeom>
              <a:avLst/>
              <a:gdLst>
                <a:gd name="T0" fmla="*/ 8 w 15"/>
                <a:gd name="T1" fmla="*/ 14 h 15"/>
                <a:gd name="T2" fmla="*/ 8 w 15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8" y="14"/>
                  </a:moveTo>
                  <a:cubicBezTo>
                    <a:pt x="14" y="0"/>
                    <a:pt x="0" y="6"/>
                    <a:pt x="8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2" name="Freeform 500"/>
            <p:cNvSpPr>
              <a:spLocks noChangeArrowheads="1"/>
            </p:cNvSpPr>
            <p:nvPr/>
          </p:nvSpPr>
          <p:spPr bwMode="auto">
            <a:xfrm>
              <a:off x="3733800" y="2586038"/>
              <a:ext cx="4763" cy="4762"/>
            </a:xfrm>
            <a:custGeom>
              <a:avLst/>
              <a:gdLst>
                <a:gd name="T0" fmla="*/ 6 w 15"/>
                <a:gd name="T1" fmla="*/ 0 h 15"/>
                <a:gd name="T2" fmla="*/ 6 w 15"/>
                <a:gd name="T3" fmla="*/ 14 h 15"/>
                <a:gd name="T4" fmla="*/ 6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6" y="0"/>
                  </a:moveTo>
                  <a:cubicBezTo>
                    <a:pt x="9" y="5"/>
                    <a:pt x="0" y="14"/>
                    <a:pt x="6" y="14"/>
                  </a:cubicBezTo>
                  <a:cubicBezTo>
                    <a:pt x="9" y="8"/>
                    <a:pt x="14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3" name="Freeform 501"/>
            <p:cNvSpPr>
              <a:spLocks noChangeArrowheads="1"/>
            </p:cNvSpPr>
            <p:nvPr/>
          </p:nvSpPr>
          <p:spPr bwMode="auto">
            <a:xfrm>
              <a:off x="3762375" y="2228850"/>
              <a:ext cx="3175" cy="3175"/>
            </a:xfrm>
            <a:custGeom>
              <a:avLst/>
              <a:gdLst>
                <a:gd name="T0" fmla="*/ 6 w 7"/>
                <a:gd name="T1" fmla="*/ 6 h 10"/>
                <a:gd name="T2" fmla="*/ 3 w 7"/>
                <a:gd name="T3" fmla="*/ 0 h 10"/>
                <a:gd name="T4" fmla="*/ 0 w 7"/>
                <a:gd name="T5" fmla="*/ 9 h 10"/>
                <a:gd name="T6" fmla="*/ 6 w 7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6"/>
                  </a:moveTo>
                  <a:cubicBezTo>
                    <a:pt x="6" y="3"/>
                    <a:pt x="6" y="3"/>
                    <a:pt x="3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0" y="9"/>
                    <a:pt x="3" y="9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4" name="Freeform 502"/>
            <p:cNvSpPr>
              <a:spLocks noChangeArrowheads="1"/>
            </p:cNvSpPr>
            <p:nvPr/>
          </p:nvSpPr>
          <p:spPr bwMode="auto">
            <a:xfrm>
              <a:off x="3681413" y="2425700"/>
              <a:ext cx="3175" cy="4763"/>
            </a:xfrm>
            <a:custGeom>
              <a:avLst/>
              <a:gdLst>
                <a:gd name="T0" fmla="*/ 5 w 9"/>
                <a:gd name="T1" fmla="*/ 14 h 15"/>
                <a:gd name="T2" fmla="*/ 8 w 9"/>
                <a:gd name="T3" fmla="*/ 0 h 15"/>
                <a:gd name="T4" fmla="*/ 0 w 9"/>
                <a:gd name="T5" fmla="*/ 2 h 15"/>
                <a:gd name="T6" fmla="*/ 0 w 9"/>
                <a:gd name="T7" fmla="*/ 11 h 15"/>
                <a:gd name="T8" fmla="*/ 5 w 9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5" y="14"/>
                  </a:moveTo>
                  <a:cubicBezTo>
                    <a:pt x="8" y="11"/>
                    <a:pt x="8" y="5"/>
                    <a:pt x="8" y="0"/>
                  </a:cubicBezTo>
                  <a:cubicBezTo>
                    <a:pt x="5" y="0"/>
                    <a:pt x="2" y="2"/>
                    <a:pt x="0" y="2"/>
                  </a:cubicBezTo>
                  <a:cubicBezTo>
                    <a:pt x="0" y="5"/>
                    <a:pt x="2" y="8"/>
                    <a:pt x="0" y="11"/>
                  </a:cubicBezTo>
                  <a:cubicBezTo>
                    <a:pt x="2" y="11"/>
                    <a:pt x="2" y="14"/>
                    <a:pt x="5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5" name="Freeform 503"/>
            <p:cNvSpPr>
              <a:spLocks noChangeArrowheads="1"/>
            </p:cNvSpPr>
            <p:nvPr/>
          </p:nvSpPr>
          <p:spPr bwMode="auto">
            <a:xfrm>
              <a:off x="3673475" y="2436813"/>
              <a:ext cx="4763" cy="3175"/>
            </a:xfrm>
            <a:custGeom>
              <a:avLst/>
              <a:gdLst>
                <a:gd name="T0" fmla="*/ 3 w 12"/>
                <a:gd name="T1" fmla="*/ 8 h 9"/>
                <a:gd name="T2" fmla="*/ 11 w 12"/>
                <a:gd name="T3" fmla="*/ 3 h 9"/>
                <a:gd name="T4" fmla="*/ 3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3" y="8"/>
                  </a:moveTo>
                  <a:cubicBezTo>
                    <a:pt x="8" y="8"/>
                    <a:pt x="11" y="8"/>
                    <a:pt x="11" y="3"/>
                  </a:cubicBezTo>
                  <a:cubicBezTo>
                    <a:pt x="8" y="0"/>
                    <a:pt x="0" y="0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6" name="Freeform 504"/>
            <p:cNvSpPr>
              <a:spLocks noChangeArrowheads="1"/>
            </p:cNvSpPr>
            <p:nvPr/>
          </p:nvSpPr>
          <p:spPr bwMode="auto">
            <a:xfrm>
              <a:off x="3703638" y="2298700"/>
              <a:ext cx="1587" cy="3175"/>
            </a:xfrm>
            <a:custGeom>
              <a:avLst/>
              <a:gdLst>
                <a:gd name="T0" fmla="*/ 3 w 6"/>
                <a:gd name="T1" fmla="*/ 3 h 7"/>
                <a:gd name="T2" fmla="*/ 5 w 6"/>
                <a:gd name="T3" fmla="*/ 6 h 7"/>
                <a:gd name="T4" fmla="*/ 3 w 6"/>
                <a:gd name="T5" fmla="*/ 3 h 7"/>
                <a:gd name="T6" fmla="*/ 0 w 6"/>
                <a:gd name="T7" fmla="*/ 3 h 7"/>
                <a:gd name="T8" fmla="*/ 3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3" y="3"/>
                  </a:moveTo>
                  <a:lnTo>
                    <a:pt x="5" y="6"/>
                  </a:lnTo>
                  <a:cubicBezTo>
                    <a:pt x="5" y="3"/>
                    <a:pt x="5" y="3"/>
                    <a:pt x="3" y="3"/>
                  </a:cubicBezTo>
                  <a:cubicBezTo>
                    <a:pt x="3" y="0"/>
                    <a:pt x="0" y="3"/>
                    <a:pt x="0" y="3"/>
                  </a:cubicBezTo>
                  <a:lnTo>
                    <a:pt x="3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7" name="Freeform 505"/>
            <p:cNvSpPr>
              <a:spLocks noChangeArrowheads="1"/>
            </p:cNvSpPr>
            <p:nvPr/>
          </p:nvSpPr>
          <p:spPr bwMode="auto">
            <a:xfrm>
              <a:off x="3683000" y="2473325"/>
              <a:ext cx="6350" cy="11113"/>
            </a:xfrm>
            <a:custGeom>
              <a:avLst/>
              <a:gdLst>
                <a:gd name="T0" fmla="*/ 17 w 18"/>
                <a:gd name="T1" fmla="*/ 26 h 29"/>
                <a:gd name="T2" fmla="*/ 14 w 18"/>
                <a:gd name="T3" fmla="*/ 14 h 29"/>
                <a:gd name="T4" fmla="*/ 11 w 18"/>
                <a:gd name="T5" fmla="*/ 12 h 29"/>
                <a:gd name="T6" fmla="*/ 9 w 18"/>
                <a:gd name="T7" fmla="*/ 0 h 29"/>
                <a:gd name="T8" fmla="*/ 6 w 18"/>
                <a:gd name="T9" fmla="*/ 0 h 29"/>
                <a:gd name="T10" fmla="*/ 6 w 18"/>
                <a:gd name="T11" fmla="*/ 3 h 29"/>
                <a:gd name="T12" fmla="*/ 17 w 18"/>
                <a:gd name="T13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9">
                  <a:moveTo>
                    <a:pt x="17" y="26"/>
                  </a:moveTo>
                  <a:cubicBezTo>
                    <a:pt x="14" y="23"/>
                    <a:pt x="14" y="17"/>
                    <a:pt x="14" y="14"/>
                  </a:cubicBezTo>
                  <a:lnTo>
                    <a:pt x="11" y="12"/>
                  </a:lnTo>
                  <a:cubicBezTo>
                    <a:pt x="11" y="9"/>
                    <a:pt x="11" y="3"/>
                    <a:pt x="9" y="0"/>
                  </a:cubicBezTo>
                  <a:cubicBezTo>
                    <a:pt x="9" y="0"/>
                    <a:pt x="9" y="0"/>
                    <a:pt x="6" y="0"/>
                  </a:cubicBezTo>
                  <a:lnTo>
                    <a:pt x="6" y="3"/>
                  </a:lnTo>
                  <a:cubicBezTo>
                    <a:pt x="6" y="12"/>
                    <a:pt x="0" y="28"/>
                    <a:pt x="17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8" name="Freeform 506"/>
            <p:cNvSpPr>
              <a:spLocks noChangeArrowheads="1"/>
            </p:cNvSpPr>
            <p:nvPr/>
          </p:nvSpPr>
          <p:spPr bwMode="auto">
            <a:xfrm>
              <a:off x="3665538" y="2403475"/>
              <a:ext cx="9525" cy="4763"/>
            </a:xfrm>
            <a:custGeom>
              <a:avLst/>
              <a:gdLst>
                <a:gd name="T0" fmla="*/ 26 w 27"/>
                <a:gd name="T1" fmla="*/ 5 h 15"/>
                <a:gd name="T2" fmla="*/ 26 w 27"/>
                <a:gd name="T3" fmla="*/ 0 h 15"/>
                <a:gd name="T4" fmla="*/ 9 w 27"/>
                <a:gd name="T5" fmla="*/ 5 h 15"/>
                <a:gd name="T6" fmla="*/ 6 w 27"/>
                <a:gd name="T7" fmla="*/ 8 h 15"/>
                <a:gd name="T8" fmla="*/ 6 w 27"/>
                <a:gd name="T9" fmla="*/ 5 h 15"/>
                <a:gd name="T10" fmla="*/ 0 w 27"/>
                <a:gd name="T11" fmla="*/ 5 h 15"/>
                <a:gd name="T12" fmla="*/ 0 w 27"/>
                <a:gd name="T13" fmla="*/ 5 h 15"/>
                <a:gd name="T14" fmla="*/ 26 w 27"/>
                <a:gd name="T15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5">
                  <a:moveTo>
                    <a:pt x="26" y="5"/>
                  </a:moveTo>
                  <a:cubicBezTo>
                    <a:pt x="26" y="3"/>
                    <a:pt x="26" y="3"/>
                    <a:pt x="26" y="0"/>
                  </a:cubicBezTo>
                  <a:cubicBezTo>
                    <a:pt x="20" y="3"/>
                    <a:pt x="14" y="3"/>
                    <a:pt x="9" y="5"/>
                  </a:cubicBezTo>
                  <a:cubicBezTo>
                    <a:pt x="9" y="5"/>
                    <a:pt x="9" y="8"/>
                    <a:pt x="6" y="8"/>
                  </a:cubicBezTo>
                  <a:lnTo>
                    <a:pt x="6" y="5"/>
                  </a:lnTo>
                  <a:cubicBezTo>
                    <a:pt x="3" y="5"/>
                    <a:pt x="3" y="5"/>
                    <a:pt x="0" y="5"/>
                  </a:cubicBezTo>
                  <a:lnTo>
                    <a:pt x="0" y="5"/>
                  </a:lnTo>
                  <a:cubicBezTo>
                    <a:pt x="9" y="11"/>
                    <a:pt x="20" y="14"/>
                    <a:pt x="2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49" name="Freeform 507"/>
            <p:cNvSpPr>
              <a:spLocks noChangeArrowheads="1"/>
            </p:cNvSpPr>
            <p:nvPr/>
          </p:nvSpPr>
          <p:spPr bwMode="auto">
            <a:xfrm>
              <a:off x="3686175" y="2714625"/>
              <a:ext cx="6350" cy="12700"/>
            </a:xfrm>
            <a:custGeom>
              <a:avLst/>
              <a:gdLst>
                <a:gd name="T0" fmla="*/ 0 w 18"/>
                <a:gd name="T1" fmla="*/ 3 h 35"/>
                <a:gd name="T2" fmla="*/ 0 w 18"/>
                <a:gd name="T3" fmla="*/ 3 h 35"/>
                <a:gd name="T4" fmla="*/ 5 w 18"/>
                <a:gd name="T5" fmla="*/ 14 h 35"/>
                <a:gd name="T6" fmla="*/ 5 w 18"/>
                <a:gd name="T7" fmla="*/ 17 h 35"/>
                <a:gd name="T8" fmla="*/ 11 w 18"/>
                <a:gd name="T9" fmla="*/ 31 h 35"/>
                <a:gd name="T10" fmla="*/ 17 w 18"/>
                <a:gd name="T11" fmla="*/ 14 h 35"/>
                <a:gd name="T12" fmla="*/ 5 w 18"/>
                <a:gd name="T13" fmla="*/ 11 h 35"/>
                <a:gd name="T14" fmla="*/ 0 w 18"/>
                <a:gd name="T15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5">
                  <a:moveTo>
                    <a:pt x="0" y="3"/>
                  </a:moveTo>
                  <a:lnTo>
                    <a:pt x="0" y="3"/>
                  </a:lnTo>
                  <a:cubicBezTo>
                    <a:pt x="0" y="5"/>
                    <a:pt x="2" y="8"/>
                    <a:pt x="5" y="14"/>
                  </a:cubicBezTo>
                  <a:lnTo>
                    <a:pt x="5" y="17"/>
                  </a:lnTo>
                  <a:cubicBezTo>
                    <a:pt x="8" y="22"/>
                    <a:pt x="5" y="34"/>
                    <a:pt x="11" y="31"/>
                  </a:cubicBezTo>
                  <a:cubicBezTo>
                    <a:pt x="17" y="28"/>
                    <a:pt x="17" y="22"/>
                    <a:pt x="17" y="14"/>
                  </a:cubicBezTo>
                  <a:cubicBezTo>
                    <a:pt x="14" y="14"/>
                    <a:pt x="11" y="14"/>
                    <a:pt x="5" y="11"/>
                  </a:cubicBezTo>
                  <a:cubicBezTo>
                    <a:pt x="5" y="8"/>
                    <a:pt x="8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0" name="Freeform 508"/>
            <p:cNvSpPr>
              <a:spLocks noChangeArrowheads="1"/>
            </p:cNvSpPr>
            <p:nvPr/>
          </p:nvSpPr>
          <p:spPr bwMode="auto">
            <a:xfrm>
              <a:off x="3668713" y="2360613"/>
              <a:ext cx="4762" cy="3175"/>
            </a:xfrm>
            <a:custGeom>
              <a:avLst/>
              <a:gdLst>
                <a:gd name="T0" fmla="*/ 11 w 12"/>
                <a:gd name="T1" fmla="*/ 0 h 10"/>
                <a:gd name="T2" fmla="*/ 0 w 12"/>
                <a:gd name="T3" fmla="*/ 6 h 10"/>
                <a:gd name="T4" fmla="*/ 11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0"/>
                  </a:moveTo>
                  <a:cubicBezTo>
                    <a:pt x="5" y="0"/>
                    <a:pt x="0" y="0"/>
                    <a:pt x="0" y="6"/>
                  </a:cubicBezTo>
                  <a:cubicBezTo>
                    <a:pt x="2" y="9"/>
                    <a:pt x="11" y="9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1" name="Freeform 509"/>
            <p:cNvSpPr>
              <a:spLocks noChangeArrowheads="1"/>
            </p:cNvSpPr>
            <p:nvPr/>
          </p:nvSpPr>
          <p:spPr bwMode="auto">
            <a:xfrm>
              <a:off x="3654425" y="2392363"/>
              <a:ext cx="3175" cy="1587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3 h 6"/>
                <a:gd name="T4" fmla="*/ 3 w 7"/>
                <a:gd name="T5" fmla="*/ 0 h 6"/>
                <a:gd name="T6" fmla="*/ 0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cubicBezTo>
                    <a:pt x="3" y="5"/>
                    <a:pt x="6" y="3"/>
                    <a:pt x="6" y="3"/>
                  </a:cubicBezTo>
                  <a:lnTo>
                    <a:pt x="3" y="0"/>
                  </a:lnTo>
                  <a:cubicBezTo>
                    <a:pt x="0" y="0"/>
                    <a:pt x="0" y="0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2" name="Freeform 510"/>
            <p:cNvSpPr>
              <a:spLocks noChangeArrowheads="1"/>
            </p:cNvSpPr>
            <p:nvPr/>
          </p:nvSpPr>
          <p:spPr bwMode="auto">
            <a:xfrm>
              <a:off x="3656013" y="2376488"/>
              <a:ext cx="4762" cy="6350"/>
            </a:xfrm>
            <a:custGeom>
              <a:avLst/>
              <a:gdLst>
                <a:gd name="T0" fmla="*/ 8 w 15"/>
                <a:gd name="T1" fmla="*/ 15 h 16"/>
                <a:gd name="T2" fmla="*/ 8 w 15"/>
                <a:gd name="T3" fmla="*/ 0 h 16"/>
                <a:gd name="T4" fmla="*/ 8 w 15"/>
                <a:gd name="T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8" y="15"/>
                  </a:moveTo>
                  <a:cubicBezTo>
                    <a:pt x="8" y="12"/>
                    <a:pt x="14" y="0"/>
                    <a:pt x="8" y="0"/>
                  </a:cubicBezTo>
                  <a:cubicBezTo>
                    <a:pt x="6" y="6"/>
                    <a:pt x="0" y="12"/>
                    <a:pt x="8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3" name="Freeform 511"/>
            <p:cNvSpPr>
              <a:spLocks noChangeArrowheads="1"/>
            </p:cNvSpPr>
            <p:nvPr/>
          </p:nvSpPr>
          <p:spPr bwMode="auto">
            <a:xfrm>
              <a:off x="3660775" y="2670175"/>
              <a:ext cx="3175" cy="6350"/>
            </a:xfrm>
            <a:custGeom>
              <a:avLst/>
              <a:gdLst>
                <a:gd name="T0" fmla="*/ 9 w 10"/>
                <a:gd name="T1" fmla="*/ 12 h 16"/>
                <a:gd name="T2" fmla="*/ 0 w 10"/>
                <a:gd name="T3" fmla="*/ 0 h 16"/>
                <a:gd name="T4" fmla="*/ 9 w 10"/>
                <a:gd name="T5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9" y="12"/>
                  </a:moveTo>
                  <a:cubicBezTo>
                    <a:pt x="9" y="3"/>
                    <a:pt x="9" y="0"/>
                    <a:pt x="0" y="0"/>
                  </a:cubicBezTo>
                  <a:cubicBezTo>
                    <a:pt x="0" y="9"/>
                    <a:pt x="0" y="15"/>
                    <a:pt x="9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4" name="Freeform 512"/>
            <p:cNvSpPr>
              <a:spLocks noChangeArrowheads="1"/>
            </p:cNvSpPr>
            <p:nvPr/>
          </p:nvSpPr>
          <p:spPr bwMode="auto">
            <a:xfrm>
              <a:off x="3665538" y="2435225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5" name="Freeform 513"/>
            <p:cNvSpPr>
              <a:spLocks noChangeArrowheads="1"/>
            </p:cNvSpPr>
            <p:nvPr/>
          </p:nvSpPr>
          <p:spPr bwMode="auto">
            <a:xfrm>
              <a:off x="3659188" y="2427288"/>
              <a:ext cx="6350" cy="6350"/>
            </a:xfrm>
            <a:custGeom>
              <a:avLst/>
              <a:gdLst>
                <a:gd name="T0" fmla="*/ 3 w 18"/>
                <a:gd name="T1" fmla="*/ 15 h 16"/>
                <a:gd name="T2" fmla="*/ 9 w 18"/>
                <a:gd name="T3" fmla="*/ 15 h 16"/>
                <a:gd name="T4" fmla="*/ 3 w 18"/>
                <a:gd name="T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6">
                  <a:moveTo>
                    <a:pt x="3" y="15"/>
                  </a:moveTo>
                  <a:lnTo>
                    <a:pt x="9" y="15"/>
                  </a:lnTo>
                  <a:cubicBezTo>
                    <a:pt x="17" y="9"/>
                    <a:pt x="0" y="0"/>
                    <a:pt x="3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6" name="Freeform 514"/>
            <p:cNvSpPr>
              <a:spLocks noChangeArrowheads="1"/>
            </p:cNvSpPr>
            <p:nvPr/>
          </p:nvSpPr>
          <p:spPr bwMode="auto">
            <a:xfrm>
              <a:off x="3719513" y="2374900"/>
              <a:ext cx="6350" cy="4763"/>
            </a:xfrm>
            <a:custGeom>
              <a:avLst/>
              <a:gdLst>
                <a:gd name="T0" fmla="*/ 8 w 18"/>
                <a:gd name="T1" fmla="*/ 0 h 12"/>
                <a:gd name="T2" fmla="*/ 8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cubicBezTo>
                    <a:pt x="0" y="11"/>
                    <a:pt x="17" y="8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7" name="Freeform 515"/>
            <p:cNvSpPr>
              <a:spLocks noChangeArrowheads="1"/>
            </p:cNvSpPr>
            <p:nvPr/>
          </p:nvSpPr>
          <p:spPr bwMode="auto">
            <a:xfrm>
              <a:off x="3703638" y="2374900"/>
              <a:ext cx="4762" cy="6350"/>
            </a:xfrm>
            <a:custGeom>
              <a:avLst/>
              <a:gdLst>
                <a:gd name="T0" fmla="*/ 0 w 15"/>
                <a:gd name="T1" fmla="*/ 8 h 18"/>
                <a:gd name="T2" fmla="*/ 11 w 15"/>
                <a:gd name="T3" fmla="*/ 14 h 18"/>
                <a:gd name="T4" fmla="*/ 0 w 15"/>
                <a:gd name="T5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8">
                  <a:moveTo>
                    <a:pt x="0" y="8"/>
                  </a:moveTo>
                  <a:cubicBezTo>
                    <a:pt x="5" y="8"/>
                    <a:pt x="5" y="17"/>
                    <a:pt x="11" y="14"/>
                  </a:cubicBezTo>
                  <a:cubicBezTo>
                    <a:pt x="14" y="5"/>
                    <a:pt x="3" y="0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8" name="Freeform 516"/>
            <p:cNvSpPr>
              <a:spLocks noChangeArrowheads="1"/>
            </p:cNvSpPr>
            <p:nvPr/>
          </p:nvSpPr>
          <p:spPr bwMode="auto">
            <a:xfrm>
              <a:off x="3732213" y="2386013"/>
              <a:ext cx="1587" cy="1587"/>
            </a:xfrm>
            <a:custGeom>
              <a:avLst/>
              <a:gdLst>
                <a:gd name="T0" fmla="*/ 5 w 6"/>
                <a:gd name="T1" fmla="*/ 0 h 6"/>
                <a:gd name="T2" fmla="*/ 0 w 6"/>
                <a:gd name="T3" fmla="*/ 0 h 6"/>
                <a:gd name="T4" fmla="*/ 0 w 6"/>
                <a:gd name="T5" fmla="*/ 5 h 6"/>
                <a:gd name="T6" fmla="*/ 5 w 6"/>
                <a:gd name="T7" fmla="*/ 5 h 6"/>
                <a:gd name="T8" fmla="*/ 5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5" y="5"/>
                  </a:lnTo>
                  <a:lnTo>
                    <a:pt x="5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59" name="Freeform 517"/>
            <p:cNvSpPr>
              <a:spLocks noChangeArrowheads="1"/>
            </p:cNvSpPr>
            <p:nvPr/>
          </p:nvSpPr>
          <p:spPr bwMode="auto">
            <a:xfrm>
              <a:off x="3724275" y="2266950"/>
              <a:ext cx="6350" cy="7938"/>
            </a:xfrm>
            <a:custGeom>
              <a:avLst/>
              <a:gdLst>
                <a:gd name="T0" fmla="*/ 17 w 18"/>
                <a:gd name="T1" fmla="*/ 8 h 21"/>
                <a:gd name="T2" fmla="*/ 17 w 18"/>
                <a:gd name="T3" fmla="*/ 3 h 21"/>
                <a:gd name="T4" fmla="*/ 3 w 18"/>
                <a:gd name="T5" fmla="*/ 0 h 21"/>
                <a:gd name="T6" fmla="*/ 0 w 18"/>
                <a:gd name="T7" fmla="*/ 17 h 21"/>
                <a:gd name="T8" fmla="*/ 17 w 18"/>
                <a:gd name="T9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1">
                  <a:moveTo>
                    <a:pt x="17" y="8"/>
                  </a:moveTo>
                  <a:lnTo>
                    <a:pt x="17" y="3"/>
                  </a:lnTo>
                  <a:cubicBezTo>
                    <a:pt x="11" y="0"/>
                    <a:pt x="8" y="0"/>
                    <a:pt x="3" y="0"/>
                  </a:cubicBezTo>
                  <a:cubicBezTo>
                    <a:pt x="0" y="5"/>
                    <a:pt x="0" y="11"/>
                    <a:pt x="0" y="17"/>
                  </a:cubicBezTo>
                  <a:cubicBezTo>
                    <a:pt x="8" y="20"/>
                    <a:pt x="8" y="11"/>
                    <a:pt x="17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0" name="Freeform 518"/>
            <p:cNvSpPr>
              <a:spLocks noChangeArrowheads="1"/>
            </p:cNvSpPr>
            <p:nvPr/>
          </p:nvSpPr>
          <p:spPr bwMode="auto">
            <a:xfrm>
              <a:off x="3841750" y="2760663"/>
              <a:ext cx="12700" cy="7937"/>
            </a:xfrm>
            <a:custGeom>
              <a:avLst/>
              <a:gdLst>
                <a:gd name="T0" fmla="*/ 33 w 34"/>
                <a:gd name="T1" fmla="*/ 11 h 23"/>
                <a:gd name="T2" fmla="*/ 33 w 34"/>
                <a:gd name="T3" fmla="*/ 5 h 23"/>
                <a:gd name="T4" fmla="*/ 31 w 34"/>
                <a:gd name="T5" fmla="*/ 8 h 23"/>
                <a:gd name="T6" fmla="*/ 25 w 34"/>
                <a:gd name="T7" fmla="*/ 0 h 23"/>
                <a:gd name="T8" fmla="*/ 0 w 34"/>
                <a:gd name="T9" fmla="*/ 22 h 23"/>
                <a:gd name="T10" fmla="*/ 33 w 34"/>
                <a:gd name="T11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3" y="8"/>
                    <a:pt x="33" y="8"/>
                    <a:pt x="33" y="5"/>
                  </a:cubicBezTo>
                  <a:lnTo>
                    <a:pt x="31" y="8"/>
                  </a:lnTo>
                  <a:cubicBezTo>
                    <a:pt x="31" y="5"/>
                    <a:pt x="28" y="3"/>
                    <a:pt x="25" y="0"/>
                  </a:cubicBezTo>
                  <a:cubicBezTo>
                    <a:pt x="14" y="5"/>
                    <a:pt x="8" y="17"/>
                    <a:pt x="0" y="22"/>
                  </a:cubicBezTo>
                  <a:cubicBezTo>
                    <a:pt x="16" y="22"/>
                    <a:pt x="19" y="8"/>
                    <a:pt x="3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1" name="Freeform 519"/>
            <p:cNvSpPr>
              <a:spLocks noChangeArrowheads="1"/>
            </p:cNvSpPr>
            <p:nvPr/>
          </p:nvSpPr>
          <p:spPr bwMode="auto">
            <a:xfrm>
              <a:off x="3846513" y="2160588"/>
              <a:ext cx="1587" cy="3175"/>
            </a:xfrm>
            <a:custGeom>
              <a:avLst/>
              <a:gdLst>
                <a:gd name="T0" fmla="*/ 5 w 6"/>
                <a:gd name="T1" fmla="*/ 0 h 10"/>
                <a:gd name="T2" fmla="*/ 2 w 6"/>
                <a:gd name="T3" fmla="*/ 0 h 10"/>
                <a:gd name="T4" fmla="*/ 0 w 6"/>
                <a:gd name="T5" fmla="*/ 6 h 10"/>
                <a:gd name="T6" fmla="*/ 2 w 6"/>
                <a:gd name="T7" fmla="*/ 9 h 10"/>
                <a:gd name="T8" fmla="*/ 5 w 6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5" y="0"/>
                  </a:moveTo>
                  <a:lnTo>
                    <a:pt x="2" y="0"/>
                  </a:lnTo>
                  <a:cubicBezTo>
                    <a:pt x="2" y="3"/>
                    <a:pt x="2" y="3"/>
                    <a:pt x="0" y="6"/>
                  </a:cubicBezTo>
                  <a:lnTo>
                    <a:pt x="2" y="9"/>
                  </a:lnTo>
                  <a:cubicBezTo>
                    <a:pt x="2" y="3"/>
                    <a:pt x="2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2" name="Freeform 520"/>
            <p:cNvSpPr>
              <a:spLocks noChangeArrowheads="1"/>
            </p:cNvSpPr>
            <p:nvPr/>
          </p:nvSpPr>
          <p:spPr bwMode="auto">
            <a:xfrm>
              <a:off x="3838575" y="2730500"/>
              <a:ext cx="3175" cy="3175"/>
            </a:xfrm>
            <a:custGeom>
              <a:avLst/>
              <a:gdLst>
                <a:gd name="T0" fmla="*/ 3 w 7"/>
                <a:gd name="T1" fmla="*/ 0 h 9"/>
                <a:gd name="T2" fmla="*/ 0 w 7"/>
                <a:gd name="T3" fmla="*/ 8 h 9"/>
                <a:gd name="T4" fmla="*/ 6 w 7"/>
                <a:gd name="T5" fmla="*/ 6 h 9"/>
                <a:gd name="T6" fmla="*/ 3 w 7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cubicBezTo>
                    <a:pt x="3" y="3"/>
                    <a:pt x="0" y="6"/>
                    <a:pt x="0" y="8"/>
                  </a:cubicBezTo>
                  <a:cubicBezTo>
                    <a:pt x="3" y="8"/>
                    <a:pt x="3" y="6"/>
                    <a:pt x="6" y="6"/>
                  </a:cubicBezTo>
                  <a:cubicBezTo>
                    <a:pt x="6" y="0"/>
                    <a:pt x="6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3" name="Freeform 521"/>
            <p:cNvSpPr>
              <a:spLocks noChangeArrowheads="1"/>
            </p:cNvSpPr>
            <p:nvPr/>
          </p:nvSpPr>
          <p:spPr bwMode="auto">
            <a:xfrm>
              <a:off x="3836988" y="2765425"/>
              <a:ext cx="4762" cy="4763"/>
            </a:xfrm>
            <a:custGeom>
              <a:avLst/>
              <a:gdLst>
                <a:gd name="T0" fmla="*/ 0 w 13"/>
                <a:gd name="T1" fmla="*/ 8 h 15"/>
                <a:gd name="T2" fmla="*/ 0 w 13"/>
                <a:gd name="T3" fmla="*/ 14 h 15"/>
                <a:gd name="T4" fmla="*/ 6 w 13"/>
                <a:gd name="T5" fmla="*/ 14 h 15"/>
                <a:gd name="T6" fmla="*/ 12 w 13"/>
                <a:gd name="T7" fmla="*/ 0 h 15"/>
                <a:gd name="T8" fmla="*/ 0 w 13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0" y="8"/>
                  </a:moveTo>
                  <a:cubicBezTo>
                    <a:pt x="0" y="11"/>
                    <a:pt x="0" y="11"/>
                    <a:pt x="0" y="14"/>
                  </a:cubicBezTo>
                  <a:lnTo>
                    <a:pt x="6" y="14"/>
                  </a:lnTo>
                  <a:cubicBezTo>
                    <a:pt x="9" y="11"/>
                    <a:pt x="9" y="3"/>
                    <a:pt x="12" y="0"/>
                  </a:cubicBezTo>
                  <a:cubicBezTo>
                    <a:pt x="9" y="0"/>
                    <a:pt x="3" y="3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4" name="Freeform 522"/>
            <p:cNvSpPr>
              <a:spLocks noChangeArrowheads="1"/>
            </p:cNvSpPr>
            <p:nvPr/>
          </p:nvSpPr>
          <p:spPr bwMode="auto">
            <a:xfrm>
              <a:off x="3849688" y="2547938"/>
              <a:ext cx="3175" cy="3175"/>
            </a:xfrm>
            <a:custGeom>
              <a:avLst/>
              <a:gdLst>
                <a:gd name="T0" fmla="*/ 9 w 10"/>
                <a:gd name="T1" fmla="*/ 9 h 10"/>
                <a:gd name="T2" fmla="*/ 9 w 10"/>
                <a:gd name="T3" fmla="*/ 0 h 10"/>
                <a:gd name="T4" fmla="*/ 0 w 10"/>
                <a:gd name="T5" fmla="*/ 0 h 10"/>
                <a:gd name="T6" fmla="*/ 3 w 10"/>
                <a:gd name="T7" fmla="*/ 9 h 10"/>
                <a:gd name="T8" fmla="*/ 9 w 10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9" y="9"/>
                  </a:moveTo>
                  <a:cubicBezTo>
                    <a:pt x="9" y="6"/>
                    <a:pt x="9" y="3"/>
                    <a:pt x="9" y="0"/>
                  </a:cubicBezTo>
                  <a:cubicBezTo>
                    <a:pt x="6" y="0"/>
                    <a:pt x="3" y="0"/>
                    <a:pt x="0" y="0"/>
                  </a:cubicBezTo>
                  <a:cubicBezTo>
                    <a:pt x="0" y="3"/>
                    <a:pt x="0" y="6"/>
                    <a:pt x="3" y="9"/>
                  </a:cubicBezTo>
                  <a:cubicBezTo>
                    <a:pt x="6" y="9"/>
                    <a:pt x="6" y="9"/>
                    <a:pt x="9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5" name="Freeform 523"/>
            <p:cNvSpPr>
              <a:spLocks noChangeArrowheads="1"/>
            </p:cNvSpPr>
            <p:nvPr/>
          </p:nvSpPr>
          <p:spPr bwMode="auto">
            <a:xfrm>
              <a:off x="3703638" y="2389188"/>
              <a:ext cx="3175" cy="3175"/>
            </a:xfrm>
            <a:custGeom>
              <a:avLst/>
              <a:gdLst>
                <a:gd name="T0" fmla="*/ 3 w 9"/>
                <a:gd name="T1" fmla="*/ 0 h 10"/>
                <a:gd name="T2" fmla="*/ 0 w 9"/>
                <a:gd name="T3" fmla="*/ 6 h 10"/>
                <a:gd name="T4" fmla="*/ 5 w 9"/>
                <a:gd name="T5" fmla="*/ 9 h 10"/>
                <a:gd name="T6" fmla="*/ 8 w 9"/>
                <a:gd name="T7" fmla="*/ 3 h 10"/>
                <a:gd name="T8" fmla="*/ 3 w 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3" y="0"/>
                  </a:moveTo>
                  <a:cubicBezTo>
                    <a:pt x="3" y="3"/>
                    <a:pt x="0" y="3"/>
                    <a:pt x="0" y="6"/>
                  </a:cubicBezTo>
                  <a:cubicBezTo>
                    <a:pt x="3" y="6"/>
                    <a:pt x="3" y="9"/>
                    <a:pt x="5" y="9"/>
                  </a:cubicBezTo>
                  <a:cubicBezTo>
                    <a:pt x="5" y="6"/>
                    <a:pt x="8" y="6"/>
                    <a:pt x="8" y="3"/>
                  </a:cubicBezTo>
                  <a:cubicBezTo>
                    <a:pt x="5" y="3"/>
                    <a:pt x="5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6" name="Freeform 524"/>
            <p:cNvSpPr>
              <a:spLocks noChangeArrowheads="1"/>
            </p:cNvSpPr>
            <p:nvPr/>
          </p:nvSpPr>
          <p:spPr bwMode="auto">
            <a:xfrm>
              <a:off x="3836988" y="2336800"/>
              <a:ext cx="4762" cy="3175"/>
            </a:xfrm>
            <a:custGeom>
              <a:avLst/>
              <a:gdLst>
                <a:gd name="T0" fmla="*/ 3 w 13"/>
                <a:gd name="T1" fmla="*/ 0 h 10"/>
                <a:gd name="T2" fmla="*/ 0 w 13"/>
                <a:gd name="T3" fmla="*/ 9 h 10"/>
                <a:gd name="T4" fmla="*/ 9 w 13"/>
                <a:gd name="T5" fmla="*/ 6 h 10"/>
                <a:gd name="T6" fmla="*/ 12 w 13"/>
                <a:gd name="T7" fmla="*/ 6 h 10"/>
                <a:gd name="T8" fmla="*/ 12 w 13"/>
                <a:gd name="T9" fmla="*/ 6 h 10"/>
                <a:gd name="T10" fmla="*/ 3 w 13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0">
                  <a:moveTo>
                    <a:pt x="3" y="0"/>
                  </a:moveTo>
                  <a:cubicBezTo>
                    <a:pt x="0" y="3"/>
                    <a:pt x="0" y="6"/>
                    <a:pt x="0" y="9"/>
                  </a:cubicBezTo>
                  <a:cubicBezTo>
                    <a:pt x="3" y="9"/>
                    <a:pt x="6" y="9"/>
                    <a:pt x="9" y="6"/>
                  </a:cubicBezTo>
                  <a:lnTo>
                    <a:pt x="12" y="6"/>
                  </a:lnTo>
                  <a:lnTo>
                    <a:pt x="12" y="6"/>
                  </a:lnTo>
                  <a:cubicBezTo>
                    <a:pt x="6" y="6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7" name="Freeform 525"/>
            <p:cNvSpPr>
              <a:spLocks noChangeArrowheads="1"/>
            </p:cNvSpPr>
            <p:nvPr/>
          </p:nvSpPr>
          <p:spPr bwMode="auto">
            <a:xfrm>
              <a:off x="3822700" y="2598738"/>
              <a:ext cx="3175" cy="4762"/>
            </a:xfrm>
            <a:custGeom>
              <a:avLst/>
              <a:gdLst>
                <a:gd name="T0" fmla="*/ 8 w 9"/>
                <a:gd name="T1" fmla="*/ 3 h 15"/>
                <a:gd name="T2" fmla="*/ 0 w 9"/>
                <a:gd name="T3" fmla="*/ 11 h 15"/>
                <a:gd name="T4" fmla="*/ 8 w 9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8" y="3"/>
                  </a:moveTo>
                  <a:cubicBezTo>
                    <a:pt x="3" y="0"/>
                    <a:pt x="3" y="9"/>
                    <a:pt x="0" y="11"/>
                  </a:cubicBezTo>
                  <a:cubicBezTo>
                    <a:pt x="8" y="14"/>
                    <a:pt x="8" y="11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8" name="Freeform 526"/>
            <p:cNvSpPr>
              <a:spLocks noChangeArrowheads="1"/>
            </p:cNvSpPr>
            <p:nvPr/>
          </p:nvSpPr>
          <p:spPr bwMode="auto">
            <a:xfrm>
              <a:off x="3827463" y="2498725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  <a:gd name="T4" fmla="*/ 0 w 4"/>
                <a:gd name="T5" fmla="*/ 3 h 4"/>
                <a:gd name="T6" fmla="*/ 3 w 4"/>
                <a:gd name="T7" fmla="*/ 3 h 4"/>
                <a:gd name="T8" fmla="*/ 3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lnTo>
                    <a:pt x="3" y="0"/>
                  </a:lnTo>
                  <a:cubicBezTo>
                    <a:pt x="0" y="0"/>
                    <a:pt x="0" y="3"/>
                    <a:pt x="0" y="3"/>
                  </a:cubicBezTo>
                  <a:cubicBezTo>
                    <a:pt x="0" y="3"/>
                    <a:pt x="0" y="3"/>
                    <a:pt x="3" y="3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69" name="Freeform 527"/>
            <p:cNvSpPr>
              <a:spLocks noChangeArrowheads="1"/>
            </p:cNvSpPr>
            <p:nvPr/>
          </p:nvSpPr>
          <p:spPr bwMode="auto">
            <a:xfrm>
              <a:off x="3825875" y="2476500"/>
              <a:ext cx="1588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0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0" name="Freeform 528"/>
            <p:cNvSpPr>
              <a:spLocks noChangeArrowheads="1"/>
            </p:cNvSpPr>
            <p:nvPr/>
          </p:nvSpPr>
          <p:spPr bwMode="auto">
            <a:xfrm>
              <a:off x="3838575" y="2235200"/>
              <a:ext cx="3175" cy="1588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0 h 6"/>
                <a:gd name="T4" fmla="*/ 0 w 7"/>
                <a:gd name="T5" fmla="*/ 2 h 6"/>
                <a:gd name="T6" fmla="*/ 3 w 7"/>
                <a:gd name="T7" fmla="*/ 5 h 6"/>
                <a:gd name="T8" fmla="*/ 6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lnTo>
                    <a:pt x="0" y="0"/>
                  </a:lnTo>
                  <a:lnTo>
                    <a:pt x="0" y="2"/>
                  </a:lnTo>
                  <a:cubicBezTo>
                    <a:pt x="0" y="2"/>
                    <a:pt x="3" y="2"/>
                    <a:pt x="3" y="5"/>
                  </a:cubicBezTo>
                  <a:cubicBezTo>
                    <a:pt x="3" y="5"/>
                    <a:pt x="6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1" name="Freeform 529"/>
            <p:cNvSpPr>
              <a:spLocks noChangeArrowheads="1"/>
            </p:cNvSpPr>
            <p:nvPr/>
          </p:nvSpPr>
          <p:spPr bwMode="auto">
            <a:xfrm>
              <a:off x="3835400" y="2195513"/>
              <a:ext cx="3175" cy="4762"/>
            </a:xfrm>
            <a:custGeom>
              <a:avLst/>
              <a:gdLst>
                <a:gd name="T0" fmla="*/ 5 w 9"/>
                <a:gd name="T1" fmla="*/ 12 h 13"/>
                <a:gd name="T2" fmla="*/ 8 w 9"/>
                <a:gd name="T3" fmla="*/ 3 h 13"/>
                <a:gd name="T4" fmla="*/ 0 w 9"/>
                <a:gd name="T5" fmla="*/ 0 h 13"/>
                <a:gd name="T6" fmla="*/ 2 w 9"/>
                <a:gd name="T7" fmla="*/ 9 h 13"/>
                <a:gd name="T8" fmla="*/ 5 w 9"/>
                <a:gd name="T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3">
                  <a:moveTo>
                    <a:pt x="5" y="12"/>
                  </a:moveTo>
                  <a:cubicBezTo>
                    <a:pt x="5" y="9"/>
                    <a:pt x="8" y="6"/>
                    <a:pt x="8" y="3"/>
                  </a:cubicBezTo>
                  <a:cubicBezTo>
                    <a:pt x="5" y="0"/>
                    <a:pt x="2" y="0"/>
                    <a:pt x="0" y="0"/>
                  </a:cubicBezTo>
                  <a:cubicBezTo>
                    <a:pt x="0" y="3"/>
                    <a:pt x="0" y="6"/>
                    <a:pt x="2" y="9"/>
                  </a:cubicBezTo>
                  <a:lnTo>
                    <a:pt x="5" y="1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2" name="Freeform 530"/>
            <p:cNvSpPr>
              <a:spLocks noChangeArrowheads="1"/>
            </p:cNvSpPr>
            <p:nvPr/>
          </p:nvSpPr>
          <p:spPr bwMode="auto">
            <a:xfrm>
              <a:off x="3832225" y="2746375"/>
              <a:ext cx="3175" cy="4763"/>
            </a:xfrm>
            <a:custGeom>
              <a:avLst/>
              <a:gdLst>
                <a:gd name="T0" fmla="*/ 9 w 10"/>
                <a:gd name="T1" fmla="*/ 0 h 13"/>
                <a:gd name="T2" fmla="*/ 3 w 10"/>
                <a:gd name="T3" fmla="*/ 0 h 13"/>
                <a:gd name="T4" fmla="*/ 0 w 10"/>
                <a:gd name="T5" fmla="*/ 12 h 13"/>
                <a:gd name="T6" fmla="*/ 9 w 1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9" y="0"/>
                  </a:moveTo>
                  <a:cubicBezTo>
                    <a:pt x="6" y="0"/>
                    <a:pt x="6" y="0"/>
                    <a:pt x="3" y="0"/>
                  </a:cubicBezTo>
                  <a:cubicBezTo>
                    <a:pt x="3" y="3"/>
                    <a:pt x="0" y="9"/>
                    <a:pt x="0" y="12"/>
                  </a:cubicBezTo>
                  <a:cubicBezTo>
                    <a:pt x="6" y="12"/>
                    <a:pt x="9" y="6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3" name="Freeform 531"/>
            <p:cNvSpPr>
              <a:spLocks noChangeArrowheads="1"/>
            </p:cNvSpPr>
            <p:nvPr/>
          </p:nvSpPr>
          <p:spPr bwMode="auto">
            <a:xfrm>
              <a:off x="3892550" y="2209800"/>
              <a:ext cx="3175" cy="4763"/>
            </a:xfrm>
            <a:custGeom>
              <a:avLst/>
              <a:gdLst>
                <a:gd name="T0" fmla="*/ 8 w 9"/>
                <a:gd name="T1" fmla="*/ 3 h 12"/>
                <a:gd name="T2" fmla="*/ 5 w 9"/>
                <a:gd name="T3" fmla="*/ 3 h 12"/>
                <a:gd name="T4" fmla="*/ 0 w 9"/>
                <a:gd name="T5" fmla="*/ 5 h 12"/>
                <a:gd name="T6" fmla="*/ 8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3"/>
                  </a:moveTo>
                  <a:lnTo>
                    <a:pt x="5" y="3"/>
                  </a:lnTo>
                  <a:cubicBezTo>
                    <a:pt x="0" y="0"/>
                    <a:pt x="0" y="3"/>
                    <a:pt x="0" y="5"/>
                  </a:cubicBezTo>
                  <a:cubicBezTo>
                    <a:pt x="2" y="11"/>
                    <a:pt x="5" y="5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4" name="Freeform 532"/>
            <p:cNvSpPr>
              <a:spLocks noChangeArrowheads="1"/>
            </p:cNvSpPr>
            <p:nvPr/>
          </p:nvSpPr>
          <p:spPr bwMode="auto">
            <a:xfrm>
              <a:off x="3895725" y="2386013"/>
              <a:ext cx="3175" cy="1587"/>
            </a:xfrm>
            <a:custGeom>
              <a:avLst/>
              <a:gdLst>
                <a:gd name="T0" fmla="*/ 3 w 7"/>
                <a:gd name="T1" fmla="*/ 5 h 6"/>
                <a:gd name="T2" fmla="*/ 0 w 7"/>
                <a:gd name="T3" fmla="*/ 0 h 6"/>
                <a:gd name="T4" fmla="*/ 0 w 7"/>
                <a:gd name="T5" fmla="*/ 3 h 6"/>
                <a:gd name="T6" fmla="*/ 3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3" y="5"/>
                  </a:moveTo>
                  <a:cubicBezTo>
                    <a:pt x="6" y="3"/>
                    <a:pt x="3" y="0"/>
                    <a:pt x="0" y="0"/>
                  </a:cubicBezTo>
                  <a:lnTo>
                    <a:pt x="0" y="3"/>
                  </a:lnTo>
                  <a:lnTo>
                    <a:pt x="3" y="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5" name="Freeform 533"/>
            <p:cNvSpPr>
              <a:spLocks noChangeArrowheads="1"/>
            </p:cNvSpPr>
            <p:nvPr/>
          </p:nvSpPr>
          <p:spPr bwMode="auto">
            <a:xfrm>
              <a:off x="3819525" y="2767013"/>
              <a:ext cx="4763" cy="4762"/>
            </a:xfrm>
            <a:custGeom>
              <a:avLst/>
              <a:gdLst>
                <a:gd name="T0" fmla="*/ 6 w 15"/>
                <a:gd name="T1" fmla="*/ 0 h 13"/>
                <a:gd name="T2" fmla="*/ 6 w 15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6" y="0"/>
                  </a:moveTo>
                  <a:cubicBezTo>
                    <a:pt x="0" y="12"/>
                    <a:pt x="14" y="9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6" name="Freeform 534"/>
            <p:cNvSpPr>
              <a:spLocks noChangeArrowheads="1"/>
            </p:cNvSpPr>
            <p:nvPr/>
          </p:nvSpPr>
          <p:spPr bwMode="auto">
            <a:xfrm>
              <a:off x="3894138" y="2805113"/>
              <a:ext cx="3175" cy="1587"/>
            </a:xfrm>
            <a:custGeom>
              <a:avLst/>
              <a:gdLst>
                <a:gd name="T0" fmla="*/ 0 w 7"/>
                <a:gd name="T1" fmla="*/ 5 h 6"/>
                <a:gd name="T2" fmla="*/ 6 w 7"/>
                <a:gd name="T3" fmla="*/ 0 h 6"/>
                <a:gd name="T4" fmla="*/ 3 w 7"/>
                <a:gd name="T5" fmla="*/ 0 h 6"/>
                <a:gd name="T6" fmla="*/ 0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cubicBezTo>
                    <a:pt x="0" y="3"/>
                    <a:pt x="3" y="3"/>
                    <a:pt x="6" y="0"/>
                  </a:cubicBezTo>
                  <a:lnTo>
                    <a:pt x="3" y="0"/>
                  </a:lnTo>
                  <a:cubicBezTo>
                    <a:pt x="0" y="0"/>
                    <a:pt x="0" y="3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7" name="Freeform 535"/>
            <p:cNvSpPr>
              <a:spLocks noChangeArrowheads="1"/>
            </p:cNvSpPr>
            <p:nvPr/>
          </p:nvSpPr>
          <p:spPr bwMode="auto">
            <a:xfrm>
              <a:off x="3890963" y="2276475"/>
              <a:ext cx="1587" cy="1588"/>
            </a:xfrm>
            <a:custGeom>
              <a:avLst/>
              <a:gdLst>
                <a:gd name="T0" fmla="*/ 3 w 4"/>
                <a:gd name="T1" fmla="*/ 3 h 4"/>
                <a:gd name="T2" fmla="*/ 0 w 4"/>
                <a:gd name="T3" fmla="*/ 0 h 4"/>
                <a:gd name="T4" fmla="*/ 3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lnTo>
                    <a:pt x="0" y="0"/>
                  </a:lnTo>
                  <a:cubicBezTo>
                    <a:pt x="0" y="0"/>
                    <a:pt x="0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8" name="Freeform 536"/>
            <p:cNvSpPr>
              <a:spLocks noChangeArrowheads="1"/>
            </p:cNvSpPr>
            <p:nvPr/>
          </p:nvSpPr>
          <p:spPr bwMode="auto">
            <a:xfrm>
              <a:off x="3897313" y="2457450"/>
              <a:ext cx="1587" cy="1588"/>
            </a:xfrm>
            <a:custGeom>
              <a:avLst/>
              <a:gdLst>
                <a:gd name="T0" fmla="*/ 3 w 4"/>
                <a:gd name="T1" fmla="*/ 3 h 4"/>
                <a:gd name="T2" fmla="*/ 3 w 4"/>
                <a:gd name="T3" fmla="*/ 0 h 4"/>
                <a:gd name="T4" fmla="*/ 0 w 4"/>
                <a:gd name="T5" fmla="*/ 0 h 4"/>
                <a:gd name="T6" fmla="*/ 3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9" name="Freeform 537"/>
            <p:cNvSpPr>
              <a:spLocks noChangeArrowheads="1"/>
            </p:cNvSpPr>
            <p:nvPr/>
          </p:nvSpPr>
          <p:spPr bwMode="auto">
            <a:xfrm>
              <a:off x="3898900" y="2724150"/>
              <a:ext cx="1588" cy="1588"/>
            </a:xfrm>
            <a:custGeom>
              <a:avLst/>
              <a:gdLst>
                <a:gd name="T0" fmla="*/ 3 w 4"/>
                <a:gd name="T1" fmla="*/ 3 h 4"/>
                <a:gd name="T2" fmla="*/ 3 w 4"/>
                <a:gd name="T3" fmla="*/ 0 h 4"/>
                <a:gd name="T4" fmla="*/ 3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lnTo>
                    <a:pt x="3" y="0"/>
                  </a:lnTo>
                  <a:cubicBezTo>
                    <a:pt x="3" y="3"/>
                    <a:pt x="0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0" name="Freeform 538"/>
            <p:cNvSpPr>
              <a:spLocks noChangeArrowheads="1"/>
            </p:cNvSpPr>
            <p:nvPr/>
          </p:nvSpPr>
          <p:spPr bwMode="auto">
            <a:xfrm>
              <a:off x="3897313" y="2728913"/>
              <a:ext cx="3175" cy="4762"/>
            </a:xfrm>
            <a:custGeom>
              <a:avLst/>
              <a:gdLst>
                <a:gd name="T0" fmla="*/ 0 w 9"/>
                <a:gd name="T1" fmla="*/ 9 h 12"/>
                <a:gd name="T2" fmla="*/ 8 w 9"/>
                <a:gd name="T3" fmla="*/ 3 h 12"/>
                <a:gd name="T4" fmla="*/ 3 w 9"/>
                <a:gd name="T5" fmla="*/ 0 h 12"/>
                <a:gd name="T6" fmla="*/ 0 w 9"/>
                <a:gd name="T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9"/>
                  </a:moveTo>
                  <a:cubicBezTo>
                    <a:pt x="5" y="11"/>
                    <a:pt x="8" y="6"/>
                    <a:pt x="8" y="3"/>
                  </a:cubicBezTo>
                  <a:cubicBezTo>
                    <a:pt x="5" y="3"/>
                    <a:pt x="5" y="3"/>
                    <a:pt x="3" y="0"/>
                  </a:cubicBezTo>
                  <a:cubicBezTo>
                    <a:pt x="5" y="6"/>
                    <a:pt x="3" y="9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1" name="Freeform 539"/>
            <p:cNvSpPr>
              <a:spLocks noChangeArrowheads="1"/>
            </p:cNvSpPr>
            <p:nvPr/>
          </p:nvSpPr>
          <p:spPr bwMode="auto">
            <a:xfrm>
              <a:off x="3884613" y="2255838"/>
              <a:ext cx="6350" cy="6350"/>
            </a:xfrm>
            <a:custGeom>
              <a:avLst/>
              <a:gdLst>
                <a:gd name="T0" fmla="*/ 11 w 18"/>
                <a:gd name="T1" fmla="*/ 0 h 18"/>
                <a:gd name="T2" fmla="*/ 0 w 18"/>
                <a:gd name="T3" fmla="*/ 11 h 18"/>
                <a:gd name="T4" fmla="*/ 8 w 18"/>
                <a:gd name="T5" fmla="*/ 17 h 18"/>
                <a:gd name="T6" fmla="*/ 11 w 18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cubicBezTo>
                    <a:pt x="3" y="0"/>
                    <a:pt x="0" y="3"/>
                    <a:pt x="0" y="11"/>
                  </a:cubicBezTo>
                  <a:cubicBezTo>
                    <a:pt x="3" y="11"/>
                    <a:pt x="5" y="14"/>
                    <a:pt x="8" y="17"/>
                  </a:cubicBezTo>
                  <a:cubicBezTo>
                    <a:pt x="11" y="11"/>
                    <a:pt x="17" y="5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2" name="Freeform 540"/>
            <p:cNvSpPr>
              <a:spLocks noChangeArrowheads="1"/>
            </p:cNvSpPr>
            <p:nvPr/>
          </p:nvSpPr>
          <p:spPr bwMode="auto">
            <a:xfrm>
              <a:off x="3868738" y="2430463"/>
              <a:ext cx="4762" cy="6350"/>
            </a:xfrm>
            <a:custGeom>
              <a:avLst/>
              <a:gdLst>
                <a:gd name="T0" fmla="*/ 5 w 15"/>
                <a:gd name="T1" fmla="*/ 0 h 18"/>
                <a:gd name="T2" fmla="*/ 0 w 15"/>
                <a:gd name="T3" fmla="*/ 11 h 18"/>
                <a:gd name="T4" fmla="*/ 14 w 15"/>
                <a:gd name="T5" fmla="*/ 17 h 18"/>
                <a:gd name="T6" fmla="*/ 5 w 15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8">
                  <a:moveTo>
                    <a:pt x="5" y="0"/>
                  </a:moveTo>
                  <a:cubicBezTo>
                    <a:pt x="3" y="3"/>
                    <a:pt x="0" y="6"/>
                    <a:pt x="0" y="11"/>
                  </a:cubicBezTo>
                  <a:cubicBezTo>
                    <a:pt x="3" y="14"/>
                    <a:pt x="8" y="17"/>
                    <a:pt x="14" y="17"/>
                  </a:cubicBezTo>
                  <a:cubicBezTo>
                    <a:pt x="8" y="8"/>
                    <a:pt x="5" y="6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3" name="Freeform 541"/>
            <p:cNvSpPr>
              <a:spLocks noChangeArrowheads="1"/>
            </p:cNvSpPr>
            <p:nvPr/>
          </p:nvSpPr>
          <p:spPr bwMode="auto">
            <a:xfrm>
              <a:off x="3873500" y="2433638"/>
              <a:ext cx="4763" cy="3175"/>
            </a:xfrm>
            <a:custGeom>
              <a:avLst/>
              <a:gdLst>
                <a:gd name="T0" fmla="*/ 0 w 12"/>
                <a:gd name="T1" fmla="*/ 6 h 7"/>
                <a:gd name="T2" fmla="*/ 11 w 12"/>
                <a:gd name="T3" fmla="*/ 3 h 7"/>
                <a:gd name="T4" fmla="*/ 0 w 12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7">
                  <a:moveTo>
                    <a:pt x="0" y="6"/>
                  </a:moveTo>
                  <a:cubicBezTo>
                    <a:pt x="5" y="6"/>
                    <a:pt x="8" y="6"/>
                    <a:pt x="11" y="3"/>
                  </a:cubicBezTo>
                  <a:cubicBezTo>
                    <a:pt x="8" y="0"/>
                    <a:pt x="3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4" name="Freeform 542"/>
            <p:cNvSpPr>
              <a:spLocks noChangeArrowheads="1"/>
            </p:cNvSpPr>
            <p:nvPr/>
          </p:nvSpPr>
          <p:spPr bwMode="auto">
            <a:xfrm>
              <a:off x="3862388" y="2568575"/>
              <a:ext cx="4762" cy="4763"/>
            </a:xfrm>
            <a:custGeom>
              <a:avLst/>
              <a:gdLst>
                <a:gd name="T0" fmla="*/ 11 w 12"/>
                <a:gd name="T1" fmla="*/ 9 h 13"/>
                <a:gd name="T2" fmla="*/ 8 w 12"/>
                <a:gd name="T3" fmla="*/ 0 h 13"/>
                <a:gd name="T4" fmla="*/ 5 w 12"/>
                <a:gd name="T5" fmla="*/ 6 h 13"/>
                <a:gd name="T6" fmla="*/ 0 w 12"/>
                <a:gd name="T7" fmla="*/ 6 h 13"/>
                <a:gd name="T8" fmla="*/ 0 w 12"/>
                <a:gd name="T9" fmla="*/ 12 h 13"/>
                <a:gd name="T10" fmla="*/ 11 w 12"/>
                <a:gd name="T1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3">
                  <a:moveTo>
                    <a:pt x="11" y="9"/>
                  </a:moveTo>
                  <a:cubicBezTo>
                    <a:pt x="11" y="6"/>
                    <a:pt x="11" y="3"/>
                    <a:pt x="8" y="0"/>
                  </a:cubicBezTo>
                  <a:cubicBezTo>
                    <a:pt x="8" y="3"/>
                    <a:pt x="5" y="3"/>
                    <a:pt x="5" y="6"/>
                  </a:cubicBezTo>
                  <a:lnTo>
                    <a:pt x="0" y="6"/>
                  </a:lnTo>
                  <a:cubicBezTo>
                    <a:pt x="0" y="9"/>
                    <a:pt x="0" y="9"/>
                    <a:pt x="0" y="12"/>
                  </a:cubicBezTo>
                  <a:lnTo>
                    <a:pt x="11" y="9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5" name="Freeform 543"/>
            <p:cNvSpPr>
              <a:spLocks noChangeArrowheads="1"/>
            </p:cNvSpPr>
            <p:nvPr/>
          </p:nvSpPr>
          <p:spPr bwMode="auto">
            <a:xfrm>
              <a:off x="3878263" y="2776538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6 w 7"/>
                <a:gd name="T3" fmla="*/ 0 h 6"/>
                <a:gd name="T4" fmla="*/ 3 w 7"/>
                <a:gd name="T5" fmla="*/ 0 h 6"/>
                <a:gd name="T6" fmla="*/ 6 w 7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lnTo>
                    <a:pt x="6" y="0"/>
                  </a:lnTo>
                  <a:lnTo>
                    <a:pt x="3" y="0"/>
                  </a:lnTo>
                  <a:cubicBezTo>
                    <a:pt x="0" y="3"/>
                    <a:pt x="0" y="5"/>
                    <a:pt x="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6" name="Freeform 544"/>
            <p:cNvSpPr>
              <a:spLocks noChangeArrowheads="1"/>
            </p:cNvSpPr>
            <p:nvPr/>
          </p:nvSpPr>
          <p:spPr bwMode="auto">
            <a:xfrm>
              <a:off x="3878263" y="2913063"/>
              <a:ext cx="1587" cy="1587"/>
            </a:xfrm>
            <a:custGeom>
              <a:avLst/>
              <a:gdLst>
                <a:gd name="T0" fmla="*/ 3 w 4"/>
                <a:gd name="T1" fmla="*/ 0 h 3"/>
                <a:gd name="T2" fmla="*/ 0 w 4"/>
                <a:gd name="T3" fmla="*/ 0 h 3"/>
                <a:gd name="T4" fmla="*/ 0 w 4"/>
                <a:gd name="T5" fmla="*/ 2 h 3"/>
                <a:gd name="T6" fmla="*/ 3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2"/>
                  </a:cubicBezTo>
                  <a:cubicBezTo>
                    <a:pt x="0" y="0"/>
                    <a:pt x="0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7" name="Freeform 545"/>
            <p:cNvSpPr>
              <a:spLocks noChangeArrowheads="1"/>
            </p:cNvSpPr>
            <p:nvPr/>
          </p:nvSpPr>
          <p:spPr bwMode="auto">
            <a:xfrm>
              <a:off x="3646488" y="2722563"/>
              <a:ext cx="9525" cy="9525"/>
            </a:xfrm>
            <a:custGeom>
              <a:avLst/>
              <a:gdLst>
                <a:gd name="T0" fmla="*/ 14 w 26"/>
                <a:gd name="T1" fmla="*/ 3 h 27"/>
                <a:gd name="T2" fmla="*/ 11 w 26"/>
                <a:gd name="T3" fmla="*/ 9 h 27"/>
                <a:gd name="T4" fmla="*/ 8 w 26"/>
                <a:gd name="T5" fmla="*/ 0 h 27"/>
                <a:gd name="T6" fmla="*/ 0 w 26"/>
                <a:gd name="T7" fmla="*/ 3 h 27"/>
                <a:gd name="T8" fmla="*/ 20 w 26"/>
                <a:gd name="T9" fmla="*/ 26 h 27"/>
                <a:gd name="T10" fmla="*/ 25 w 26"/>
                <a:gd name="T11" fmla="*/ 23 h 27"/>
                <a:gd name="T12" fmla="*/ 14 w 26"/>
                <a:gd name="T13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7">
                  <a:moveTo>
                    <a:pt x="14" y="3"/>
                  </a:moveTo>
                  <a:cubicBezTo>
                    <a:pt x="14" y="6"/>
                    <a:pt x="14" y="14"/>
                    <a:pt x="11" y="9"/>
                  </a:cubicBezTo>
                  <a:cubicBezTo>
                    <a:pt x="11" y="6"/>
                    <a:pt x="8" y="3"/>
                    <a:pt x="8" y="0"/>
                  </a:cubicBezTo>
                  <a:cubicBezTo>
                    <a:pt x="5" y="0"/>
                    <a:pt x="3" y="3"/>
                    <a:pt x="0" y="3"/>
                  </a:cubicBezTo>
                  <a:cubicBezTo>
                    <a:pt x="3" y="14"/>
                    <a:pt x="8" y="23"/>
                    <a:pt x="20" y="26"/>
                  </a:cubicBezTo>
                  <a:cubicBezTo>
                    <a:pt x="22" y="26"/>
                    <a:pt x="22" y="23"/>
                    <a:pt x="25" y="23"/>
                  </a:cubicBezTo>
                  <a:cubicBezTo>
                    <a:pt x="22" y="14"/>
                    <a:pt x="22" y="9"/>
                    <a:pt x="14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8" name="Freeform 546"/>
            <p:cNvSpPr>
              <a:spLocks noChangeArrowheads="1"/>
            </p:cNvSpPr>
            <p:nvPr/>
          </p:nvSpPr>
          <p:spPr bwMode="auto">
            <a:xfrm>
              <a:off x="3651250" y="2586038"/>
              <a:ext cx="6350" cy="4762"/>
            </a:xfrm>
            <a:custGeom>
              <a:avLst/>
              <a:gdLst>
                <a:gd name="T0" fmla="*/ 8 w 18"/>
                <a:gd name="T1" fmla="*/ 0 h 12"/>
                <a:gd name="T2" fmla="*/ 0 w 18"/>
                <a:gd name="T3" fmla="*/ 0 h 12"/>
                <a:gd name="T4" fmla="*/ 17 w 18"/>
                <a:gd name="T5" fmla="*/ 11 h 12"/>
                <a:gd name="T6" fmla="*/ 17 w 18"/>
                <a:gd name="T7" fmla="*/ 11 h 12"/>
                <a:gd name="T8" fmla="*/ 8 w 18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cubicBezTo>
                    <a:pt x="6" y="0"/>
                    <a:pt x="3" y="0"/>
                    <a:pt x="0" y="0"/>
                  </a:cubicBezTo>
                  <a:cubicBezTo>
                    <a:pt x="3" y="5"/>
                    <a:pt x="8" y="11"/>
                    <a:pt x="17" y="11"/>
                  </a:cubicBezTo>
                  <a:lnTo>
                    <a:pt x="17" y="11"/>
                  </a:lnTo>
                  <a:cubicBezTo>
                    <a:pt x="14" y="8"/>
                    <a:pt x="8" y="2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9" name="Freeform 547"/>
            <p:cNvSpPr>
              <a:spLocks noChangeArrowheads="1"/>
            </p:cNvSpPr>
            <p:nvPr/>
          </p:nvSpPr>
          <p:spPr bwMode="auto">
            <a:xfrm>
              <a:off x="3816350" y="2633663"/>
              <a:ext cx="4763" cy="4762"/>
            </a:xfrm>
            <a:custGeom>
              <a:avLst/>
              <a:gdLst>
                <a:gd name="T0" fmla="*/ 11 w 15"/>
                <a:gd name="T1" fmla="*/ 11 h 12"/>
                <a:gd name="T2" fmla="*/ 14 w 15"/>
                <a:gd name="T3" fmla="*/ 3 h 12"/>
                <a:gd name="T4" fmla="*/ 5 w 15"/>
                <a:gd name="T5" fmla="*/ 0 h 12"/>
                <a:gd name="T6" fmla="*/ 0 w 15"/>
                <a:gd name="T7" fmla="*/ 6 h 12"/>
                <a:gd name="T8" fmla="*/ 11 w 15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2">
                  <a:moveTo>
                    <a:pt x="11" y="11"/>
                  </a:moveTo>
                  <a:cubicBezTo>
                    <a:pt x="11" y="9"/>
                    <a:pt x="14" y="6"/>
                    <a:pt x="14" y="3"/>
                  </a:cubicBezTo>
                  <a:cubicBezTo>
                    <a:pt x="11" y="0"/>
                    <a:pt x="7" y="0"/>
                    <a:pt x="5" y="0"/>
                  </a:cubicBezTo>
                  <a:cubicBezTo>
                    <a:pt x="2" y="0"/>
                    <a:pt x="3" y="3"/>
                    <a:pt x="0" y="6"/>
                  </a:cubicBezTo>
                  <a:cubicBezTo>
                    <a:pt x="5" y="9"/>
                    <a:pt x="8" y="9"/>
                    <a:pt x="11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0" name="Freeform 548"/>
            <p:cNvSpPr>
              <a:spLocks noChangeArrowheads="1"/>
            </p:cNvSpPr>
            <p:nvPr/>
          </p:nvSpPr>
          <p:spPr bwMode="auto">
            <a:xfrm>
              <a:off x="3644900" y="2582863"/>
              <a:ext cx="3175" cy="3175"/>
            </a:xfrm>
            <a:custGeom>
              <a:avLst/>
              <a:gdLst>
                <a:gd name="T0" fmla="*/ 8 w 9"/>
                <a:gd name="T1" fmla="*/ 0 h 7"/>
                <a:gd name="T2" fmla="*/ 0 w 9"/>
                <a:gd name="T3" fmla="*/ 6 h 7"/>
                <a:gd name="T4" fmla="*/ 8 w 9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8" y="0"/>
                  </a:moveTo>
                  <a:cubicBezTo>
                    <a:pt x="3" y="0"/>
                    <a:pt x="0" y="0"/>
                    <a:pt x="0" y="6"/>
                  </a:cubicBezTo>
                  <a:cubicBezTo>
                    <a:pt x="6" y="6"/>
                    <a:pt x="8" y="6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1" name="Freeform 549"/>
            <p:cNvSpPr>
              <a:spLocks noChangeArrowheads="1"/>
            </p:cNvSpPr>
            <p:nvPr/>
          </p:nvSpPr>
          <p:spPr bwMode="auto">
            <a:xfrm>
              <a:off x="3702050" y="2305050"/>
              <a:ext cx="3175" cy="3175"/>
            </a:xfrm>
            <a:custGeom>
              <a:avLst/>
              <a:gdLst>
                <a:gd name="T0" fmla="*/ 8 w 9"/>
                <a:gd name="T1" fmla="*/ 6 h 10"/>
                <a:gd name="T2" fmla="*/ 8 w 9"/>
                <a:gd name="T3" fmla="*/ 0 h 10"/>
                <a:gd name="T4" fmla="*/ 6 w 9"/>
                <a:gd name="T5" fmla="*/ 0 h 10"/>
                <a:gd name="T6" fmla="*/ 0 w 9"/>
                <a:gd name="T7" fmla="*/ 9 h 10"/>
                <a:gd name="T8" fmla="*/ 8 w 9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8" y="6"/>
                  </a:moveTo>
                  <a:cubicBezTo>
                    <a:pt x="8" y="6"/>
                    <a:pt x="8" y="3"/>
                    <a:pt x="8" y="0"/>
                  </a:cubicBezTo>
                  <a:lnTo>
                    <a:pt x="6" y="0"/>
                  </a:lnTo>
                  <a:cubicBezTo>
                    <a:pt x="6" y="3"/>
                    <a:pt x="0" y="3"/>
                    <a:pt x="0" y="9"/>
                  </a:cubicBezTo>
                  <a:cubicBezTo>
                    <a:pt x="3" y="9"/>
                    <a:pt x="6" y="9"/>
                    <a:pt x="8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2" name="Freeform 550"/>
            <p:cNvSpPr>
              <a:spLocks noChangeArrowheads="1"/>
            </p:cNvSpPr>
            <p:nvPr/>
          </p:nvSpPr>
          <p:spPr bwMode="auto">
            <a:xfrm>
              <a:off x="3700463" y="2397125"/>
              <a:ext cx="3175" cy="4763"/>
            </a:xfrm>
            <a:custGeom>
              <a:avLst/>
              <a:gdLst>
                <a:gd name="T0" fmla="*/ 0 w 10"/>
                <a:gd name="T1" fmla="*/ 14 h 15"/>
                <a:gd name="T2" fmla="*/ 9 w 10"/>
                <a:gd name="T3" fmla="*/ 3 h 15"/>
                <a:gd name="T4" fmla="*/ 0 w 10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0" y="14"/>
                  </a:moveTo>
                  <a:cubicBezTo>
                    <a:pt x="6" y="14"/>
                    <a:pt x="9" y="11"/>
                    <a:pt x="9" y="3"/>
                  </a:cubicBezTo>
                  <a:cubicBezTo>
                    <a:pt x="0" y="0"/>
                    <a:pt x="0" y="5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3" name="Freeform 551"/>
            <p:cNvSpPr>
              <a:spLocks noChangeArrowheads="1"/>
            </p:cNvSpPr>
            <p:nvPr/>
          </p:nvSpPr>
          <p:spPr bwMode="auto">
            <a:xfrm>
              <a:off x="3641725" y="2584450"/>
              <a:ext cx="4763" cy="4763"/>
            </a:xfrm>
            <a:custGeom>
              <a:avLst/>
              <a:gdLst>
                <a:gd name="T0" fmla="*/ 0 w 12"/>
                <a:gd name="T1" fmla="*/ 8 h 15"/>
                <a:gd name="T2" fmla="*/ 8 w 12"/>
                <a:gd name="T3" fmla="*/ 14 h 15"/>
                <a:gd name="T4" fmla="*/ 11 w 12"/>
                <a:gd name="T5" fmla="*/ 0 h 15"/>
                <a:gd name="T6" fmla="*/ 0 w 12"/>
                <a:gd name="T7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0" y="8"/>
                  </a:moveTo>
                  <a:cubicBezTo>
                    <a:pt x="2" y="11"/>
                    <a:pt x="5" y="11"/>
                    <a:pt x="8" y="14"/>
                  </a:cubicBezTo>
                  <a:cubicBezTo>
                    <a:pt x="11" y="11"/>
                    <a:pt x="11" y="8"/>
                    <a:pt x="11" y="0"/>
                  </a:cubicBezTo>
                  <a:cubicBezTo>
                    <a:pt x="5" y="3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4" name="Freeform 552"/>
            <p:cNvSpPr>
              <a:spLocks noChangeArrowheads="1"/>
            </p:cNvSpPr>
            <p:nvPr/>
          </p:nvSpPr>
          <p:spPr bwMode="auto">
            <a:xfrm>
              <a:off x="3806825" y="2706688"/>
              <a:ext cx="3175" cy="4762"/>
            </a:xfrm>
            <a:custGeom>
              <a:avLst/>
              <a:gdLst>
                <a:gd name="T0" fmla="*/ 8 w 9"/>
                <a:gd name="T1" fmla="*/ 6 h 15"/>
                <a:gd name="T2" fmla="*/ 0 w 9"/>
                <a:gd name="T3" fmla="*/ 0 h 15"/>
                <a:gd name="T4" fmla="*/ 8 w 9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8" y="6"/>
                  </a:moveTo>
                  <a:cubicBezTo>
                    <a:pt x="5" y="6"/>
                    <a:pt x="2" y="3"/>
                    <a:pt x="0" y="0"/>
                  </a:cubicBezTo>
                  <a:cubicBezTo>
                    <a:pt x="0" y="6"/>
                    <a:pt x="8" y="14"/>
                    <a:pt x="8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5" name="Freeform 553"/>
            <p:cNvSpPr>
              <a:spLocks noChangeArrowheads="1"/>
            </p:cNvSpPr>
            <p:nvPr/>
          </p:nvSpPr>
          <p:spPr bwMode="auto">
            <a:xfrm>
              <a:off x="3800475" y="2209800"/>
              <a:ext cx="1588" cy="1588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0 h 4"/>
                <a:gd name="T4" fmla="*/ 0 w 3"/>
                <a:gd name="T5" fmla="*/ 0 h 4"/>
                <a:gd name="T6" fmla="*/ 2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2" y="0"/>
                    <a:pt x="0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6" name="Freeform 554"/>
            <p:cNvSpPr>
              <a:spLocks noChangeArrowheads="1"/>
            </p:cNvSpPr>
            <p:nvPr/>
          </p:nvSpPr>
          <p:spPr bwMode="auto">
            <a:xfrm>
              <a:off x="3802063" y="2951163"/>
              <a:ext cx="1587" cy="3175"/>
            </a:xfrm>
            <a:custGeom>
              <a:avLst/>
              <a:gdLst>
                <a:gd name="T0" fmla="*/ 0 w 4"/>
                <a:gd name="T1" fmla="*/ 0 h 7"/>
                <a:gd name="T2" fmla="*/ 0 w 4"/>
                <a:gd name="T3" fmla="*/ 6 h 7"/>
                <a:gd name="T4" fmla="*/ 3 w 4"/>
                <a:gd name="T5" fmla="*/ 6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cubicBezTo>
                    <a:pt x="0" y="3"/>
                    <a:pt x="0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7" name="Freeform 555"/>
            <p:cNvSpPr>
              <a:spLocks noChangeArrowheads="1"/>
            </p:cNvSpPr>
            <p:nvPr/>
          </p:nvSpPr>
          <p:spPr bwMode="auto">
            <a:xfrm>
              <a:off x="3813175" y="2487613"/>
              <a:ext cx="3175" cy="1587"/>
            </a:xfrm>
            <a:custGeom>
              <a:avLst/>
              <a:gdLst>
                <a:gd name="T0" fmla="*/ 8 w 9"/>
                <a:gd name="T1" fmla="*/ 0 h 4"/>
                <a:gd name="T2" fmla="*/ 0 w 9"/>
                <a:gd name="T3" fmla="*/ 0 h 4"/>
                <a:gd name="T4" fmla="*/ 0 w 9"/>
                <a:gd name="T5" fmla="*/ 3 h 4"/>
                <a:gd name="T6" fmla="*/ 5 w 9"/>
                <a:gd name="T7" fmla="*/ 3 h 4"/>
                <a:gd name="T8" fmla="*/ 8 w 9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8" y="0"/>
                  </a:moveTo>
                  <a:lnTo>
                    <a:pt x="0" y="0"/>
                  </a:lnTo>
                  <a:lnTo>
                    <a:pt x="0" y="3"/>
                  </a:lnTo>
                  <a:cubicBezTo>
                    <a:pt x="2" y="3"/>
                    <a:pt x="5" y="3"/>
                    <a:pt x="5" y="3"/>
                  </a:cubicBezTo>
                  <a:cubicBezTo>
                    <a:pt x="8" y="3"/>
                    <a:pt x="8" y="0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8" name="Freeform 556"/>
            <p:cNvSpPr>
              <a:spLocks noChangeArrowheads="1"/>
            </p:cNvSpPr>
            <p:nvPr/>
          </p:nvSpPr>
          <p:spPr bwMode="auto">
            <a:xfrm>
              <a:off x="3816350" y="2622550"/>
              <a:ext cx="1588" cy="1588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3 h 4"/>
                <a:gd name="T4" fmla="*/ 0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3"/>
                  </a:lnTo>
                  <a:cubicBezTo>
                    <a:pt x="0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99" name="Freeform 557"/>
            <p:cNvSpPr>
              <a:spLocks noChangeArrowheads="1"/>
            </p:cNvSpPr>
            <p:nvPr/>
          </p:nvSpPr>
          <p:spPr bwMode="auto">
            <a:xfrm>
              <a:off x="3816350" y="2479675"/>
              <a:ext cx="3175" cy="4763"/>
            </a:xfrm>
            <a:custGeom>
              <a:avLst/>
              <a:gdLst>
                <a:gd name="T0" fmla="*/ 8 w 9"/>
                <a:gd name="T1" fmla="*/ 14 h 15"/>
                <a:gd name="T2" fmla="*/ 3 w 9"/>
                <a:gd name="T3" fmla="*/ 0 h 15"/>
                <a:gd name="T4" fmla="*/ 3 w 9"/>
                <a:gd name="T5" fmla="*/ 0 h 15"/>
                <a:gd name="T6" fmla="*/ 3 w 9"/>
                <a:gd name="T7" fmla="*/ 12 h 15"/>
                <a:gd name="T8" fmla="*/ 8 w 9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8" y="14"/>
                  </a:moveTo>
                  <a:cubicBezTo>
                    <a:pt x="3" y="12"/>
                    <a:pt x="3" y="6"/>
                    <a:pt x="3" y="0"/>
                  </a:cubicBezTo>
                  <a:lnTo>
                    <a:pt x="3" y="0"/>
                  </a:lnTo>
                  <a:cubicBezTo>
                    <a:pt x="0" y="3"/>
                    <a:pt x="0" y="9"/>
                    <a:pt x="3" y="12"/>
                  </a:cubicBezTo>
                  <a:cubicBezTo>
                    <a:pt x="3" y="12"/>
                    <a:pt x="6" y="14"/>
                    <a:pt x="8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0" name="Freeform 558"/>
            <p:cNvSpPr>
              <a:spLocks noChangeArrowheads="1"/>
            </p:cNvSpPr>
            <p:nvPr/>
          </p:nvSpPr>
          <p:spPr bwMode="auto">
            <a:xfrm>
              <a:off x="3811588" y="2636838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0 w 4"/>
                <a:gd name="T3" fmla="*/ 0 h 7"/>
                <a:gd name="T4" fmla="*/ 3 w 4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0" y="0"/>
                    <a:pt x="0" y="0"/>
                  </a:cubicBezTo>
                  <a:cubicBezTo>
                    <a:pt x="0" y="3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1" name="Freeform 559"/>
            <p:cNvSpPr>
              <a:spLocks noChangeArrowheads="1"/>
            </p:cNvSpPr>
            <p:nvPr/>
          </p:nvSpPr>
          <p:spPr bwMode="auto">
            <a:xfrm>
              <a:off x="3783013" y="2200275"/>
              <a:ext cx="9525" cy="12700"/>
            </a:xfrm>
            <a:custGeom>
              <a:avLst/>
              <a:gdLst>
                <a:gd name="T0" fmla="*/ 22 w 26"/>
                <a:gd name="T1" fmla="*/ 20 h 35"/>
                <a:gd name="T2" fmla="*/ 22 w 26"/>
                <a:gd name="T3" fmla="*/ 0 h 35"/>
                <a:gd name="T4" fmla="*/ 0 w 26"/>
                <a:gd name="T5" fmla="*/ 31 h 35"/>
                <a:gd name="T6" fmla="*/ 22 w 26"/>
                <a:gd name="T7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5">
                  <a:moveTo>
                    <a:pt x="22" y="20"/>
                  </a:moveTo>
                  <a:cubicBezTo>
                    <a:pt x="19" y="9"/>
                    <a:pt x="25" y="6"/>
                    <a:pt x="22" y="0"/>
                  </a:cubicBezTo>
                  <a:cubicBezTo>
                    <a:pt x="8" y="6"/>
                    <a:pt x="0" y="17"/>
                    <a:pt x="0" y="31"/>
                  </a:cubicBezTo>
                  <a:cubicBezTo>
                    <a:pt x="8" y="34"/>
                    <a:pt x="5" y="17"/>
                    <a:pt x="22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2" name="Freeform 560"/>
            <p:cNvSpPr>
              <a:spLocks noChangeArrowheads="1"/>
            </p:cNvSpPr>
            <p:nvPr/>
          </p:nvSpPr>
          <p:spPr bwMode="auto">
            <a:xfrm>
              <a:off x="3900488" y="2662238"/>
              <a:ext cx="4762" cy="4762"/>
            </a:xfrm>
            <a:custGeom>
              <a:avLst/>
              <a:gdLst>
                <a:gd name="T0" fmla="*/ 11 w 12"/>
                <a:gd name="T1" fmla="*/ 6 h 12"/>
                <a:gd name="T2" fmla="*/ 9 w 12"/>
                <a:gd name="T3" fmla="*/ 0 h 12"/>
                <a:gd name="T4" fmla="*/ 0 w 12"/>
                <a:gd name="T5" fmla="*/ 3 h 12"/>
                <a:gd name="T6" fmla="*/ 11 w 12"/>
                <a:gd name="T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11" y="6"/>
                  </a:moveTo>
                  <a:cubicBezTo>
                    <a:pt x="9" y="6"/>
                    <a:pt x="9" y="3"/>
                    <a:pt x="9" y="0"/>
                  </a:cubicBezTo>
                  <a:cubicBezTo>
                    <a:pt x="6" y="0"/>
                    <a:pt x="3" y="3"/>
                    <a:pt x="0" y="3"/>
                  </a:cubicBezTo>
                  <a:cubicBezTo>
                    <a:pt x="6" y="3"/>
                    <a:pt x="9" y="11"/>
                    <a:pt x="11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3" name="Freeform 561"/>
            <p:cNvSpPr>
              <a:spLocks noChangeArrowheads="1"/>
            </p:cNvSpPr>
            <p:nvPr/>
          </p:nvSpPr>
          <p:spPr bwMode="auto">
            <a:xfrm>
              <a:off x="3798888" y="2203450"/>
              <a:ext cx="1587" cy="3175"/>
            </a:xfrm>
            <a:custGeom>
              <a:avLst/>
              <a:gdLst>
                <a:gd name="T0" fmla="*/ 0 w 4"/>
                <a:gd name="T1" fmla="*/ 8 h 9"/>
                <a:gd name="T2" fmla="*/ 3 w 4"/>
                <a:gd name="T3" fmla="*/ 3 h 9"/>
                <a:gd name="T4" fmla="*/ 0 w 4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9">
                  <a:moveTo>
                    <a:pt x="0" y="8"/>
                  </a:moveTo>
                  <a:cubicBezTo>
                    <a:pt x="0" y="6"/>
                    <a:pt x="3" y="6"/>
                    <a:pt x="3" y="3"/>
                  </a:cubicBezTo>
                  <a:cubicBezTo>
                    <a:pt x="3" y="0"/>
                    <a:pt x="0" y="3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4" name="Freeform 562"/>
            <p:cNvSpPr>
              <a:spLocks noChangeArrowheads="1"/>
            </p:cNvSpPr>
            <p:nvPr/>
          </p:nvSpPr>
          <p:spPr bwMode="auto">
            <a:xfrm>
              <a:off x="3789363" y="2490788"/>
              <a:ext cx="1587" cy="3175"/>
            </a:xfrm>
            <a:custGeom>
              <a:avLst/>
              <a:gdLst>
                <a:gd name="T0" fmla="*/ 0 w 6"/>
                <a:gd name="T1" fmla="*/ 3 h 10"/>
                <a:gd name="T2" fmla="*/ 0 w 6"/>
                <a:gd name="T3" fmla="*/ 9 h 10"/>
                <a:gd name="T4" fmla="*/ 5 w 6"/>
                <a:gd name="T5" fmla="*/ 3 h 10"/>
                <a:gd name="T6" fmla="*/ 5 w 6"/>
                <a:gd name="T7" fmla="*/ 3 h 10"/>
                <a:gd name="T8" fmla="*/ 0 w 6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0" y="3"/>
                  </a:moveTo>
                  <a:cubicBezTo>
                    <a:pt x="0" y="6"/>
                    <a:pt x="0" y="6"/>
                    <a:pt x="0" y="9"/>
                  </a:cubicBezTo>
                  <a:cubicBezTo>
                    <a:pt x="2" y="9"/>
                    <a:pt x="2" y="6"/>
                    <a:pt x="5" y="3"/>
                  </a:cubicBezTo>
                  <a:lnTo>
                    <a:pt x="5" y="3"/>
                  </a:lnTo>
                  <a:cubicBezTo>
                    <a:pt x="5" y="3"/>
                    <a:pt x="2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5" name="Freeform 563"/>
            <p:cNvSpPr>
              <a:spLocks noChangeArrowheads="1"/>
            </p:cNvSpPr>
            <p:nvPr/>
          </p:nvSpPr>
          <p:spPr bwMode="auto">
            <a:xfrm>
              <a:off x="4192588" y="2154238"/>
              <a:ext cx="3175" cy="3175"/>
            </a:xfrm>
            <a:custGeom>
              <a:avLst/>
              <a:gdLst>
                <a:gd name="T0" fmla="*/ 8 w 9"/>
                <a:gd name="T1" fmla="*/ 0 h 9"/>
                <a:gd name="T2" fmla="*/ 2 w 9"/>
                <a:gd name="T3" fmla="*/ 0 h 9"/>
                <a:gd name="T4" fmla="*/ 0 w 9"/>
                <a:gd name="T5" fmla="*/ 8 h 9"/>
                <a:gd name="T6" fmla="*/ 8 w 9"/>
                <a:gd name="T7" fmla="*/ 8 h 9"/>
                <a:gd name="T8" fmla="*/ 8 w 9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0"/>
                  </a:moveTo>
                  <a:lnTo>
                    <a:pt x="2" y="0"/>
                  </a:lnTo>
                  <a:cubicBezTo>
                    <a:pt x="2" y="2"/>
                    <a:pt x="0" y="2"/>
                    <a:pt x="0" y="8"/>
                  </a:cubicBezTo>
                  <a:lnTo>
                    <a:pt x="8" y="8"/>
                  </a:lnTo>
                  <a:lnTo>
                    <a:pt x="8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6" name="Freeform 564"/>
            <p:cNvSpPr>
              <a:spLocks noChangeArrowheads="1"/>
            </p:cNvSpPr>
            <p:nvPr/>
          </p:nvSpPr>
          <p:spPr bwMode="auto">
            <a:xfrm>
              <a:off x="4133850" y="2317750"/>
              <a:ext cx="1588" cy="1588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3 h 4"/>
                <a:gd name="T4" fmla="*/ 0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3"/>
                  </a:lnTo>
                  <a:cubicBezTo>
                    <a:pt x="0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7" name="Freeform 565"/>
            <p:cNvSpPr>
              <a:spLocks noChangeArrowheads="1"/>
            </p:cNvSpPr>
            <p:nvPr/>
          </p:nvSpPr>
          <p:spPr bwMode="auto">
            <a:xfrm>
              <a:off x="4133850" y="3076575"/>
              <a:ext cx="4763" cy="1588"/>
            </a:xfrm>
            <a:custGeom>
              <a:avLst/>
              <a:gdLst>
                <a:gd name="T0" fmla="*/ 0 w 15"/>
                <a:gd name="T1" fmla="*/ 3 h 6"/>
                <a:gd name="T2" fmla="*/ 14 w 15"/>
                <a:gd name="T3" fmla="*/ 5 h 6"/>
                <a:gd name="T4" fmla="*/ 0 w 15"/>
                <a:gd name="T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6">
                  <a:moveTo>
                    <a:pt x="0" y="3"/>
                  </a:moveTo>
                  <a:cubicBezTo>
                    <a:pt x="6" y="3"/>
                    <a:pt x="8" y="5"/>
                    <a:pt x="14" y="5"/>
                  </a:cubicBezTo>
                  <a:cubicBezTo>
                    <a:pt x="11" y="3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8" name="Freeform 566"/>
            <p:cNvSpPr>
              <a:spLocks noChangeArrowheads="1"/>
            </p:cNvSpPr>
            <p:nvPr/>
          </p:nvSpPr>
          <p:spPr bwMode="auto">
            <a:xfrm>
              <a:off x="4149725" y="2662238"/>
              <a:ext cx="4763" cy="3175"/>
            </a:xfrm>
            <a:custGeom>
              <a:avLst/>
              <a:gdLst>
                <a:gd name="T0" fmla="*/ 6 w 13"/>
                <a:gd name="T1" fmla="*/ 9 h 10"/>
                <a:gd name="T2" fmla="*/ 12 w 13"/>
                <a:gd name="T3" fmla="*/ 6 h 10"/>
                <a:gd name="T4" fmla="*/ 12 w 13"/>
                <a:gd name="T5" fmla="*/ 0 h 10"/>
                <a:gd name="T6" fmla="*/ 0 w 13"/>
                <a:gd name="T7" fmla="*/ 0 h 10"/>
                <a:gd name="T8" fmla="*/ 6 w 13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0">
                  <a:moveTo>
                    <a:pt x="6" y="9"/>
                  </a:moveTo>
                  <a:cubicBezTo>
                    <a:pt x="9" y="9"/>
                    <a:pt x="9" y="6"/>
                    <a:pt x="12" y="6"/>
                  </a:cubicBezTo>
                  <a:lnTo>
                    <a:pt x="12" y="0"/>
                  </a:lnTo>
                  <a:lnTo>
                    <a:pt x="0" y="0"/>
                  </a:lnTo>
                  <a:cubicBezTo>
                    <a:pt x="0" y="6"/>
                    <a:pt x="3" y="9"/>
                    <a:pt x="6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9" name="Freeform 567"/>
            <p:cNvSpPr>
              <a:spLocks noChangeArrowheads="1"/>
            </p:cNvSpPr>
            <p:nvPr/>
          </p:nvSpPr>
          <p:spPr bwMode="auto">
            <a:xfrm>
              <a:off x="4151313" y="2590800"/>
              <a:ext cx="3175" cy="4763"/>
            </a:xfrm>
            <a:custGeom>
              <a:avLst/>
              <a:gdLst>
                <a:gd name="T0" fmla="*/ 0 w 7"/>
                <a:gd name="T1" fmla="*/ 9 h 13"/>
                <a:gd name="T2" fmla="*/ 6 w 7"/>
                <a:gd name="T3" fmla="*/ 3 h 13"/>
                <a:gd name="T4" fmla="*/ 6 w 7"/>
                <a:gd name="T5" fmla="*/ 0 h 13"/>
                <a:gd name="T6" fmla="*/ 0 w 7"/>
                <a:gd name="T7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0" y="9"/>
                  </a:moveTo>
                  <a:cubicBezTo>
                    <a:pt x="6" y="12"/>
                    <a:pt x="6" y="6"/>
                    <a:pt x="6" y="3"/>
                  </a:cubicBezTo>
                  <a:cubicBezTo>
                    <a:pt x="6" y="3"/>
                    <a:pt x="6" y="3"/>
                    <a:pt x="6" y="0"/>
                  </a:cubicBezTo>
                  <a:cubicBezTo>
                    <a:pt x="3" y="0"/>
                    <a:pt x="0" y="3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0" name="Freeform 568"/>
            <p:cNvSpPr>
              <a:spLocks noChangeArrowheads="1"/>
            </p:cNvSpPr>
            <p:nvPr/>
          </p:nvSpPr>
          <p:spPr bwMode="auto">
            <a:xfrm>
              <a:off x="4152900" y="2674938"/>
              <a:ext cx="4763" cy="3175"/>
            </a:xfrm>
            <a:custGeom>
              <a:avLst/>
              <a:gdLst>
                <a:gd name="T0" fmla="*/ 14 w 15"/>
                <a:gd name="T1" fmla="*/ 0 h 9"/>
                <a:gd name="T2" fmla="*/ 5 w 15"/>
                <a:gd name="T3" fmla="*/ 0 h 9"/>
                <a:gd name="T4" fmla="*/ 2 w 15"/>
                <a:gd name="T5" fmla="*/ 5 h 9"/>
                <a:gd name="T6" fmla="*/ 2 w 15"/>
                <a:gd name="T7" fmla="*/ 5 h 9"/>
                <a:gd name="T8" fmla="*/ 14 w 1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9">
                  <a:moveTo>
                    <a:pt x="14" y="0"/>
                  </a:moveTo>
                  <a:cubicBezTo>
                    <a:pt x="11" y="0"/>
                    <a:pt x="8" y="0"/>
                    <a:pt x="5" y="0"/>
                  </a:cubicBezTo>
                  <a:cubicBezTo>
                    <a:pt x="2" y="0"/>
                    <a:pt x="0" y="3"/>
                    <a:pt x="2" y="5"/>
                  </a:cubicBezTo>
                  <a:lnTo>
                    <a:pt x="2" y="5"/>
                  </a:lnTo>
                  <a:cubicBezTo>
                    <a:pt x="5" y="8"/>
                    <a:pt x="11" y="5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1" name="Freeform 569"/>
            <p:cNvSpPr>
              <a:spLocks noChangeArrowheads="1"/>
            </p:cNvSpPr>
            <p:nvPr/>
          </p:nvSpPr>
          <p:spPr bwMode="auto">
            <a:xfrm>
              <a:off x="4156075" y="277653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3 w 4"/>
                <a:gd name="T3" fmla="*/ 3 h 4"/>
                <a:gd name="T4" fmla="*/ 3 w 4"/>
                <a:gd name="T5" fmla="*/ 0 h 4"/>
                <a:gd name="T6" fmla="*/ 0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2" name="Freeform 570"/>
            <p:cNvSpPr>
              <a:spLocks noChangeArrowheads="1"/>
            </p:cNvSpPr>
            <p:nvPr/>
          </p:nvSpPr>
          <p:spPr bwMode="auto">
            <a:xfrm>
              <a:off x="4133850" y="2990850"/>
              <a:ext cx="3175" cy="3175"/>
            </a:xfrm>
            <a:custGeom>
              <a:avLst/>
              <a:gdLst>
                <a:gd name="T0" fmla="*/ 8 w 9"/>
                <a:gd name="T1" fmla="*/ 6 h 7"/>
                <a:gd name="T2" fmla="*/ 0 w 9"/>
                <a:gd name="T3" fmla="*/ 0 h 7"/>
                <a:gd name="T4" fmla="*/ 8 w 9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8" y="6"/>
                  </a:moveTo>
                  <a:cubicBezTo>
                    <a:pt x="8" y="0"/>
                    <a:pt x="3" y="0"/>
                    <a:pt x="0" y="0"/>
                  </a:cubicBezTo>
                  <a:cubicBezTo>
                    <a:pt x="3" y="0"/>
                    <a:pt x="6" y="3"/>
                    <a:pt x="8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3" name="Freeform 571"/>
            <p:cNvSpPr>
              <a:spLocks noChangeArrowheads="1"/>
            </p:cNvSpPr>
            <p:nvPr/>
          </p:nvSpPr>
          <p:spPr bwMode="auto">
            <a:xfrm>
              <a:off x="4146550" y="2587625"/>
              <a:ext cx="4763" cy="1588"/>
            </a:xfrm>
            <a:custGeom>
              <a:avLst/>
              <a:gdLst>
                <a:gd name="T0" fmla="*/ 11 w 12"/>
                <a:gd name="T1" fmla="*/ 3 h 4"/>
                <a:gd name="T2" fmla="*/ 0 w 12"/>
                <a:gd name="T3" fmla="*/ 0 h 4"/>
                <a:gd name="T4" fmla="*/ 11 w 12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4">
                  <a:moveTo>
                    <a:pt x="11" y="3"/>
                  </a:moveTo>
                  <a:cubicBezTo>
                    <a:pt x="8" y="3"/>
                    <a:pt x="3" y="0"/>
                    <a:pt x="0" y="0"/>
                  </a:cubicBezTo>
                  <a:cubicBezTo>
                    <a:pt x="5" y="3"/>
                    <a:pt x="8" y="3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4" name="Freeform 572"/>
            <p:cNvSpPr>
              <a:spLocks noChangeArrowheads="1"/>
            </p:cNvSpPr>
            <p:nvPr/>
          </p:nvSpPr>
          <p:spPr bwMode="auto">
            <a:xfrm>
              <a:off x="4148138" y="2625725"/>
              <a:ext cx="4762" cy="3175"/>
            </a:xfrm>
            <a:custGeom>
              <a:avLst/>
              <a:gdLst>
                <a:gd name="T0" fmla="*/ 11 w 12"/>
                <a:gd name="T1" fmla="*/ 3 h 7"/>
                <a:gd name="T2" fmla="*/ 0 w 12"/>
                <a:gd name="T3" fmla="*/ 3 h 7"/>
                <a:gd name="T4" fmla="*/ 5 w 12"/>
                <a:gd name="T5" fmla="*/ 6 h 7"/>
                <a:gd name="T6" fmla="*/ 11 w 12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7">
                  <a:moveTo>
                    <a:pt x="11" y="3"/>
                  </a:moveTo>
                  <a:cubicBezTo>
                    <a:pt x="5" y="3"/>
                    <a:pt x="2" y="0"/>
                    <a:pt x="0" y="3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8" y="6"/>
                    <a:pt x="8" y="6"/>
                    <a:pt x="1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5" name="Freeform 573"/>
            <p:cNvSpPr>
              <a:spLocks noChangeArrowheads="1"/>
            </p:cNvSpPr>
            <p:nvPr/>
          </p:nvSpPr>
          <p:spPr bwMode="auto">
            <a:xfrm>
              <a:off x="4256088" y="2279650"/>
              <a:ext cx="4762" cy="4763"/>
            </a:xfrm>
            <a:custGeom>
              <a:avLst/>
              <a:gdLst>
                <a:gd name="T0" fmla="*/ 14 w 15"/>
                <a:gd name="T1" fmla="*/ 8 h 15"/>
                <a:gd name="T2" fmla="*/ 0 w 15"/>
                <a:gd name="T3" fmla="*/ 8 h 15"/>
                <a:gd name="T4" fmla="*/ 14 w 15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8"/>
                  </a:moveTo>
                  <a:cubicBezTo>
                    <a:pt x="11" y="5"/>
                    <a:pt x="2" y="0"/>
                    <a:pt x="0" y="8"/>
                  </a:cubicBezTo>
                  <a:cubicBezTo>
                    <a:pt x="0" y="8"/>
                    <a:pt x="11" y="14"/>
                    <a:pt x="14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6" name="Freeform 574"/>
            <p:cNvSpPr>
              <a:spLocks noChangeArrowheads="1"/>
            </p:cNvSpPr>
            <p:nvPr/>
          </p:nvSpPr>
          <p:spPr bwMode="auto">
            <a:xfrm>
              <a:off x="4159250" y="2157413"/>
              <a:ext cx="1588" cy="3175"/>
            </a:xfrm>
            <a:custGeom>
              <a:avLst/>
              <a:gdLst>
                <a:gd name="T0" fmla="*/ 0 w 4"/>
                <a:gd name="T1" fmla="*/ 3 h 10"/>
                <a:gd name="T2" fmla="*/ 3 w 4"/>
                <a:gd name="T3" fmla="*/ 0 h 10"/>
                <a:gd name="T4" fmla="*/ 0 w 4"/>
                <a:gd name="T5" fmla="*/ 0 h 10"/>
                <a:gd name="T6" fmla="*/ 0 w 4"/>
                <a:gd name="T7" fmla="*/ 9 h 10"/>
                <a:gd name="T8" fmla="*/ 3 w 4"/>
                <a:gd name="T9" fmla="*/ 9 h 10"/>
                <a:gd name="T10" fmla="*/ 0 w 4"/>
                <a:gd name="T1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0">
                  <a:moveTo>
                    <a:pt x="0" y="3"/>
                  </a:moveTo>
                  <a:cubicBezTo>
                    <a:pt x="0" y="3"/>
                    <a:pt x="0" y="0"/>
                    <a:pt x="3" y="0"/>
                  </a:cubicBezTo>
                  <a:lnTo>
                    <a:pt x="0" y="0"/>
                  </a:lnTo>
                  <a:lnTo>
                    <a:pt x="0" y="9"/>
                  </a:lnTo>
                  <a:lnTo>
                    <a:pt x="3" y="9"/>
                  </a:lnTo>
                  <a:cubicBezTo>
                    <a:pt x="0" y="6"/>
                    <a:pt x="0" y="6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7" name="Freeform 575"/>
            <p:cNvSpPr>
              <a:spLocks noChangeArrowheads="1"/>
            </p:cNvSpPr>
            <p:nvPr/>
          </p:nvSpPr>
          <p:spPr bwMode="auto">
            <a:xfrm>
              <a:off x="3873500" y="2511425"/>
              <a:ext cx="1588" cy="1588"/>
            </a:xfrm>
            <a:custGeom>
              <a:avLst/>
              <a:gdLst>
                <a:gd name="T0" fmla="*/ 5 w 6"/>
                <a:gd name="T1" fmla="*/ 0 h 6"/>
                <a:gd name="T2" fmla="*/ 0 w 6"/>
                <a:gd name="T3" fmla="*/ 2 h 6"/>
                <a:gd name="T4" fmla="*/ 3 w 6"/>
                <a:gd name="T5" fmla="*/ 5 h 6"/>
                <a:gd name="T6" fmla="*/ 5 w 6"/>
                <a:gd name="T7" fmla="*/ 5 h 6"/>
                <a:gd name="T8" fmla="*/ 5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0"/>
                  </a:moveTo>
                  <a:cubicBezTo>
                    <a:pt x="3" y="0"/>
                    <a:pt x="0" y="0"/>
                    <a:pt x="0" y="2"/>
                  </a:cubicBezTo>
                  <a:cubicBezTo>
                    <a:pt x="3" y="2"/>
                    <a:pt x="3" y="2"/>
                    <a:pt x="3" y="5"/>
                  </a:cubicBezTo>
                  <a:cubicBezTo>
                    <a:pt x="3" y="5"/>
                    <a:pt x="3" y="5"/>
                    <a:pt x="5" y="5"/>
                  </a:cubicBezTo>
                  <a:cubicBezTo>
                    <a:pt x="5" y="5"/>
                    <a:pt x="5" y="2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8" name="Freeform 576"/>
            <p:cNvSpPr>
              <a:spLocks noChangeArrowheads="1"/>
            </p:cNvSpPr>
            <p:nvPr/>
          </p:nvSpPr>
          <p:spPr bwMode="auto">
            <a:xfrm>
              <a:off x="4249738" y="2287588"/>
              <a:ext cx="1587" cy="1587"/>
            </a:xfrm>
            <a:custGeom>
              <a:avLst/>
              <a:gdLst>
                <a:gd name="T0" fmla="*/ 5 w 6"/>
                <a:gd name="T1" fmla="*/ 3 h 4"/>
                <a:gd name="T2" fmla="*/ 5 w 6"/>
                <a:gd name="T3" fmla="*/ 3 h 4"/>
                <a:gd name="T4" fmla="*/ 0 w 6"/>
                <a:gd name="T5" fmla="*/ 0 h 4"/>
                <a:gd name="T6" fmla="*/ 0 w 6"/>
                <a:gd name="T7" fmla="*/ 0 h 4"/>
                <a:gd name="T8" fmla="*/ 5 w 6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3" y="3"/>
                    <a:pt x="3" y="3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9" name="Freeform 577"/>
            <p:cNvSpPr>
              <a:spLocks noChangeArrowheads="1"/>
            </p:cNvSpPr>
            <p:nvPr/>
          </p:nvSpPr>
          <p:spPr bwMode="auto">
            <a:xfrm>
              <a:off x="4232275" y="3052763"/>
              <a:ext cx="7938" cy="3175"/>
            </a:xfrm>
            <a:custGeom>
              <a:avLst/>
              <a:gdLst>
                <a:gd name="T0" fmla="*/ 3 w 21"/>
                <a:gd name="T1" fmla="*/ 8 h 9"/>
                <a:gd name="T2" fmla="*/ 8 w 21"/>
                <a:gd name="T3" fmla="*/ 8 h 9"/>
                <a:gd name="T4" fmla="*/ 19 w 21"/>
                <a:gd name="T5" fmla="*/ 6 h 9"/>
                <a:gd name="T6" fmla="*/ 17 w 21"/>
                <a:gd name="T7" fmla="*/ 3 h 9"/>
                <a:gd name="T8" fmla="*/ 8 w 21"/>
                <a:gd name="T9" fmla="*/ 3 h 9"/>
                <a:gd name="T10" fmla="*/ 0 w 21"/>
                <a:gd name="T11" fmla="*/ 3 h 9"/>
                <a:gd name="T12" fmla="*/ 3 w 21"/>
                <a:gd name="T1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9">
                  <a:moveTo>
                    <a:pt x="3" y="8"/>
                  </a:moveTo>
                  <a:cubicBezTo>
                    <a:pt x="5" y="8"/>
                    <a:pt x="8" y="8"/>
                    <a:pt x="8" y="8"/>
                  </a:cubicBezTo>
                  <a:cubicBezTo>
                    <a:pt x="5" y="0"/>
                    <a:pt x="8" y="6"/>
                    <a:pt x="19" y="6"/>
                  </a:cubicBezTo>
                  <a:cubicBezTo>
                    <a:pt x="19" y="6"/>
                    <a:pt x="20" y="3"/>
                    <a:pt x="17" y="3"/>
                  </a:cubicBezTo>
                  <a:cubicBezTo>
                    <a:pt x="15" y="3"/>
                    <a:pt x="11" y="3"/>
                    <a:pt x="8" y="3"/>
                  </a:cubicBezTo>
                  <a:cubicBezTo>
                    <a:pt x="5" y="3"/>
                    <a:pt x="3" y="3"/>
                    <a:pt x="0" y="3"/>
                  </a:cubicBezTo>
                  <a:cubicBezTo>
                    <a:pt x="0" y="3"/>
                    <a:pt x="0" y="6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0" name="Freeform 578"/>
            <p:cNvSpPr>
              <a:spLocks noChangeArrowheads="1"/>
            </p:cNvSpPr>
            <p:nvPr/>
          </p:nvSpPr>
          <p:spPr bwMode="auto">
            <a:xfrm>
              <a:off x="4238625" y="2330450"/>
              <a:ext cx="4763" cy="3175"/>
            </a:xfrm>
            <a:custGeom>
              <a:avLst/>
              <a:gdLst>
                <a:gd name="T0" fmla="*/ 14 w 15"/>
                <a:gd name="T1" fmla="*/ 2 h 9"/>
                <a:gd name="T2" fmla="*/ 0 w 15"/>
                <a:gd name="T3" fmla="*/ 0 h 9"/>
                <a:gd name="T4" fmla="*/ 14 w 15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2"/>
                  </a:moveTo>
                  <a:cubicBezTo>
                    <a:pt x="11" y="0"/>
                    <a:pt x="5" y="0"/>
                    <a:pt x="0" y="0"/>
                  </a:cubicBezTo>
                  <a:cubicBezTo>
                    <a:pt x="0" y="5"/>
                    <a:pt x="14" y="8"/>
                    <a:pt x="14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1" name="Freeform 579"/>
            <p:cNvSpPr>
              <a:spLocks noChangeArrowheads="1"/>
            </p:cNvSpPr>
            <p:nvPr/>
          </p:nvSpPr>
          <p:spPr bwMode="auto">
            <a:xfrm>
              <a:off x="4248150" y="2432050"/>
              <a:ext cx="7938" cy="6350"/>
            </a:xfrm>
            <a:custGeom>
              <a:avLst/>
              <a:gdLst>
                <a:gd name="T0" fmla="*/ 20 w 21"/>
                <a:gd name="T1" fmla="*/ 8 h 18"/>
                <a:gd name="T2" fmla="*/ 20 w 21"/>
                <a:gd name="T3" fmla="*/ 8 h 18"/>
                <a:gd name="T4" fmla="*/ 3 w 21"/>
                <a:gd name="T5" fmla="*/ 0 h 18"/>
                <a:gd name="T6" fmla="*/ 0 w 21"/>
                <a:gd name="T7" fmla="*/ 11 h 18"/>
                <a:gd name="T8" fmla="*/ 3 w 21"/>
                <a:gd name="T9" fmla="*/ 17 h 18"/>
                <a:gd name="T10" fmla="*/ 20 w 21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8">
                  <a:moveTo>
                    <a:pt x="20" y="8"/>
                  </a:moveTo>
                  <a:lnTo>
                    <a:pt x="20" y="8"/>
                  </a:lnTo>
                  <a:cubicBezTo>
                    <a:pt x="17" y="3"/>
                    <a:pt x="8" y="0"/>
                    <a:pt x="3" y="0"/>
                  </a:cubicBezTo>
                  <a:cubicBezTo>
                    <a:pt x="3" y="3"/>
                    <a:pt x="3" y="8"/>
                    <a:pt x="0" y="11"/>
                  </a:cubicBezTo>
                  <a:cubicBezTo>
                    <a:pt x="0" y="14"/>
                    <a:pt x="3" y="14"/>
                    <a:pt x="3" y="17"/>
                  </a:cubicBezTo>
                  <a:cubicBezTo>
                    <a:pt x="8" y="14"/>
                    <a:pt x="14" y="11"/>
                    <a:pt x="2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2" name="Freeform 580"/>
            <p:cNvSpPr>
              <a:spLocks noChangeArrowheads="1"/>
            </p:cNvSpPr>
            <p:nvPr/>
          </p:nvSpPr>
          <p:spPr bwMode="auto">
            <a:xfrm>
              <a:off x="4187825" y="3073400"/>
              <a:ext cx="1588" cy="3175"/>
            </a:xfrm>
            <a:custGeom>
              <a:avLst/>
              <a:gdLst>
                <a:gd name="T0" fmla="*/ 0 w 6"/>
                <a:gd name="T1" fmla="*/ 5 h 9"/>
                <a:gd name="T2" fmla="*/ 2 w 6"/>
                <a:gd name="T3" fmla="*/ 8 h 9"/>
                <a:gd name="T4" fmla="*/ 5 w 6"/>
                <a:gd name="T5" fmla="*/ 2 h 9"/>
                <a:gd name="T6" fmla="*/ 0 w 6"/>
                <a:gd name="T7" fmla="*/ 0 h 9"/>
                <a:gd name="T8" fmla="*/ 0 w 6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0" y="5"/>
                  </a:moveTo>
                  <a:cubicBezTo>
                    <a:pt x="2" y="5"/>
                    <a:pt x="2" y="8"/>
                    <a:pt x="2" y="8"/>
                  </a:cubicBezTo>
                  <a:cubicBezTo>
                    <a:pt x="2" y="5"/>
                    <a:pt x="5" y="5"/>
                    <a:pt x="5" y="2"/>
                  </a:cubicBezTo>
                  <a:cubicBezTo>
                    <a:pt x="2" y="2"/>
                    <a:pt x="2" y="0"/>
                    <a:pt x="0" y="0"/>
                  </a:cubicBezTo>
                  <a:cubicBezTo>
                    <a:pt x="2" y="2"/>
                    <a:pt x="2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3" name="Freeform 581"/>
            <p:cNvSpPr>
              <a:spLocks noChangeArrowheads="1"/>
            </p:cNvSpPr>
            <p:nvPr/>
          </p:nvSpPr>
          <p:spPr bwMode="auto">
            <a:xfrm>
              <a:off x="4159250" y="2374900"/>
              <a:ext cx="1588" cy="3175"/>
            </a:xfrm>
            <a:custGeom>
              <a:avLst/>
              <a:gdLst>
                <a:gd name="T0" fmla="*/ 0 w 6"/>
                <a:gd name="T1" fmla="*/ 2 h 9"/>
                <a:gd name="T2" fmla="*/ 0 w 6"/>
                <a:gd name="T3" fmla="*/ 8 h 9"/>
                <a:gd name="T4" fmla="*/ 5 w 6"/>
                <a:gd name="T5" fmla="*/ 5 h 9"/>
                <a:gd name="T6" fmla="*/ 5 w 6"/>
                <a:gd name="T7" fmla="*/ 0 h 9"/>
                <a:gd name="T8" fmla="*/ 0 w 6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0" y="2"/>
                  </a:moveTo>
                  <a:cubicBezTo>
                    <a:pt x="0" y="5"/>
                    <a:pt x="0" y="8"/>
                    <a:pt x="0" y="8"/>
                  </a:cubicBezTo>
                  <a:cubicBezTo>
                    <a:pt x="3" y="8"/>
                    <a:pt x="5" y="5"/>
                    <a:pt x="5" y="5"/>
                  </a:cubicBezTo>
                  <a:lnTo>
                    <a:pt x="5" y="0"/>
                  </a:lnTo>
                  <a:cubicBezTo>
                    <a:pt x="5" y="2"/>
                    <a:pt x="3" y="2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4" name="Freeform 582"/>
            <p:cNvSpPr>
              <a:spLocks noChangeArrowheads="1"/>
            </p:cNvSpPr>
            <p:nvPr/>
          </p:nvSpPr>
          <p:spPr bwMode="auto">
            <a:xfrm>
              <a:off x="4167188" y="2455863"/>
              <a:ext cx="4762" cy="4762"/>
            </a:xfrm>
            <a:custGeom>
              <a:avLst/>
              <a:gdLst>
                <a:gd name="T0" fmla="*/ 0 w 12"/>
                <a:gd name="T1" fmla="*/ 9 h 15"/>
                <a:gd name="T2" fmla="*/ 3 w 12"/>
                <a:gd name="T3" fmla="*/ 14 h 15"/>
                <a:gd name="T4" fmla="*/ 3 w 12"/>
                <a:gd name="T5" fmla="*/ 14 h 15"/>
                <a:gd name="T6" fmla="*/ 11 w 12"/>
                <a:gd name="T7" fmla="*/ 9 h 15"/>
                <a:gd name="T8" fmla="*/ 11 w 12"/>
                <a:gd name="T9" fmla="*/ 6 h 15"/>
                <a:gd name="T10" fmla="*/ 3 w 12"/>
                <a:gd name="T11" fmla="*/ 0 h 15"/>
                <a:gd name="T12" fmla="*/ 0 w 12"/>
                <a:gd name="T13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">
                  <a:moveTo>
                    <a:pt x="0" y="9"/>
                  </a:moveTo>
                  <a:cubicBezTo>
                    <a:pt x="3" y="12"/>
                    <a:pt x="0" y="14"/>
                    <a:pt x="3" y="14"/>
                  </a:cubicBezTo>
                  <a:lnTo>
                    <a:pt x="3" y="14"/>
                  </a:lnTo>
                  <a:cubicBezTo>
                    <a:pt x="6" y="14"/>
                    <a:pt x="9" y="12"/>
                    <a:pt x="11" y="9"/>
                  </a:cubicBezTo>
                  <a:lnTo>
                    <a:pt x="11" y="6"/>
                  </a:lnTo>
                  <a:cubicBezTo>
                    <a:pt x="9" y="6"/>
                    <a:pt x="3" y="3"/>
                    <a:pt x="3" y="0"/>
                  </a:cubicBezTo>
                  <a:cubicBezTo>
                    <a:pt x="0" y="6"/>
                    <a:pt x="0" y="6"/>
                    <a:pt x="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5" name="Freeform 583"/>
            <p:cNvSpPr>
              <a:spLocks noChangeArrowheads="1"/>
            </p:cNvSpPr>
            <p:nvPr/>
          </p:nvSpPr>
          <p:spPr bwMode="auto">
            <a:xfrm>
              <a:off x="4162425" y="2982913"/>
              <a:ext cx="7938" cy="6350"/>
            </a:xfrm>
            <a:custGeom>
              <a:avLst/>
              <a:gdLst>
                <a:gd name="T0" fmla="*/ 3 w 21"/>
                <a:gd name="T1" fmla="*/ 0 h 18"/>
                <a:gd name="T2" fmla="*/ 8 w 21"/>
                <a:gd name="T3" fmla="*/ 17 h 18"/>
                <a:gd name="T4" fmla="*/ 14 w 21"/>
                <a:gd name="T5" fmla="*/ 17 h 18"/>
                <a:gd name="T6" fmla="*/ 20 w 21"/>
                <a:gd name="T7" fmla="*/ 14 h 18"/>
                <a:gd name="T8" fmla="*/ 20 w 21"/>
                <a:gd name="T9" fmla="*/ 12 h 18"/>
                <a:gd name="T10" fmla="*/ 3 w 21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8">
                  <a:moveTo>
                    <a:pt x="3" y="0"/>
                  </a:moveTo>
                  <a:cubicBezTo>
                    <a:pt x="0" y="6"/>
                    <a:pt x="3" y="14"/>
                    <a:pt x="8" y="17"/>
                  </a:cubicBezTo>
                  <a:cubicBezTo>
                    <a:pt x="11" y="17"/>
                    <a:pt x="11" y="17"/>
                    <a:pt x="14" y="17"/>
                  </a:cubicBezTo>
                  <a:cubicBezTo>
                    <a:pt x="14" y="12"/>
                    <a:pt x="17" y="12"/>
                    <a:pt x="20" y="14"/>
                  </a:cubicBezTo>
                  <a:cubicBezTo>
                    <a:pt x="20" y="14"/>
                    <a:pt x="20" y="14"/>
                    <a:pt x="20" y="12"/>
                  </a:cubicBezTo>
                  <a:cubicBezTo>
                    <a:pt x="17" y="6"/>
                    <a:pt x="11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6" name="Freeform 584"/>
            <p:cNvSpPr>
              <a:spLocks noChangeArrowheads="1"/>
            </p:cNvSpPr>
            <p:nvPr/>
          </p:nvSpPr>
          <p:spPr bwMode="auto">
            <a:xfrm>
              <a:off x="4156075" y="2994025"/>
              <a:ext cx="4763" cy="4763"/>
            </a:xfrm>
            <a:custGeom>
              <a:avLst/>
              <a:gdLst>
                <a:gd name="T0" fmla="*/ 6 w 15"/>
                <a:gd name="T1" fmla="*/ 0 h 12"/>
                <a:gd name="T2" fmla="*/ 0 w 15"/>
                <a:gd name="T3" fmla="*/ 8 h 12"/>
                <a:gd name="T4" fmla="*/ 14 w 15"/>
                <a:gd name="T5" fmla="*/ 8 h 12"/>
                <a:gd name="T6" fmla="*/ 6 w 15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2">
                  <a:moveTo>
                    <a:pt x="6" y="0"/>
                  </a:moveTo>
                  <a:cubicBezTo>
                    <a:pt x="3" y="2"/>
                    <a:pt x="0" y="2"/>
                    <a:pt x="0" y="8"/>
                  </a:cubicBezTo>
                  <a:cubicBezTo>
                    <a:pt x="9" y="8"/>
                    <a:pt x="12" y="11"/>
                    <a:pt x="14" y="8"/>
                  </a:cubicBezTo>
                  <a:cubicBezTo>
                    <a:pt x="12" y="5"/>
                    <a:pt x="9" y="2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7" name="Freeform 585"/>
            <p:cNvSpPr>
              <a:spLocks noChangeArrowheads="1"/>
            </p:cNvSpPr>
            <p:nvPr/>
          </p:nvSpPr>
          <p:spPr bwMode="auto">
            <a:xfrm>
              <a:off x="4167188" y="2921000"/>
              <a:ext cx="1587" cy="1588"/>
            </a:xfrm>
            <a:custGeom>
              <a:avLst/>
              <a:gdLst>
                <a:gd name="T0" fmla="*/ 0 w 4"/>
                <a:gd name="T1" fmla="*/ 0 h 4"/>
                <a:gd name="T2" fmla="*/ 3 w 4"/>
                <a:gd name="T3" fmla="*/ 3 h 4"/>
                <a:gd name="T4" fmla="*/ 0 w 4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cubicBezTo>
                    <a:pt x="0" y="3"/>
                    <a:pt x="3" y="3"/>
                    <a:pt x="3" y="3"/>
                  </a:cubicBez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8" name="Freeform 586"/>
            <p:cNvSpPr>
              <a:spLocks noChangeArrowheads="1"/>
            </p:cNvSpPr>
            <p:nvPr/>
          </p:nvSpPr>
          <p:spPr bwMode="auto">
            <a:xfrm>
              <a:off x="4164013" y="2994025"/>
              <a:ext cx="7937" cy="4763"/>
            </a:xfrm>
            <a:custGeom>
              <a:avLst/>
              <a:gdLst>
                <a:gd name="T0" fmla="*/ 0 w 21"/>
                <a:gd name="T1" fmla="*/ 3 h 13"/>
                <a:gd name="T2" fmla="*/ 14 w 21"/>
                <a:gd name="T3" fmla="*/ 12 h 13"/>
                <a:gd name="T4" fmla="*/ 20 w 21"/>
                <a:gd name="T5" fmla="*/ 6 h 13"/>
                <a:gd name="T6" fmla="*/ 17 w 21"/>
                <a:gd name="T7" fmla="*/ 3 h 13"/>
                <a:gd name="T8" fmla="*/ 0 w 21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3">
                  <a:moveTo>
                    <a:pt x="0" y="3"/>
                  </a:moveTo>
                  <a:cubicBezTo>
                    <a:pt x="3" y="9"/>
                    <a:pt x="8" y="9"/>
                    <a:pt x="14" y="12"/>
                  </a:cubicBezTo>
                  <a:cubicBezTo>
                    <a:pt x="17" y="12"/>
                    <a:pt x="17" y="9"/>
                    <a:pt x="20" y="6"/>
                  </a:cubicBezTo>
                  <a:cubicBezTo>
                    <a:pt x="20" y="6"/>
                    <a:pt x="20" y="3"/>
                    <a:pt x="17" y="3"/>
                  </a:cubicBezTo>
                  <a:cubicBezTo>
                    <a:pt x="8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9" name="Freeform 587"/>
            <p:cNvSpPr>
              <a:spLocks noChangeArrowheads="1"/>
            </p:cNvSpPr>
            <p:nvPr/>
          </p:nvSpPr>
          <p:spPr bwMode="auto">
            <a:xfrm>
              <a:off x="4168775" y="2546350"/>
              <a:ext cx="9525" cy="11113"/>
            </a:xfrm>
            <a:custGeom>
              <a:avLst/>
              <a:gdLst>
                <a:gd name="T0" fmla="*/ 0 w 26"/>
                <a:gd name="T1" fmla="*/ 20 h 30"/>
                <a:gd name="T2" fmla="*/ 14 w 26"/>
                <a:gd name="T3" fmla="*/ 26 h 30"/>
                <a:gd name="T4" fmla="*/ 20 w 26"/>
                <a:gd name="T5" fmla="*/ 26 h 30"/>
                <a:gd name="T6" fmla="*/ 25 w 26"/>
                <a:gd name="T7" fmla="*/ 17 h 30"/>
                <a:gd name="T8" fmla="*/ 0 w 26"/>
                <a:gd name="T9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0">
                  <a:moveTo>
                    <a:pt x="0" y="20"/>
                  </a:moveTo>
                  <a:cubicBezTo>
                    <a:pt x="8" y="23"/>
                    <a:pt x="11" y="29"/>
                    <a:pt x="14" y="26"/>
                  </a:cubicBezTo>
                  <a:cubicBezTo>
                    <a:pt x="17" y="23"/>
                    <a:pt x="20" y="23"/>
                    <a:pt x="20" y="26"/>
                  </a:cubicBezTo>
                  <a:cubicBezTo>
                    <a:pt x="22" y="26"/>
                    <a:pt x="25" y="23"/>
                    <a:pt x="25" y="17"/>
                  </a:cubicBezTo>
                  <a:cubicBezTo>
                    <a:pt x="20" y="0"/>
                    <a:pt x="6" y="9"/>
                    <a:pt x="0" y="2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0" name="Freeform 588"/>
            <p:cNvSpPr>
              <a:spLocks noChangeArrowheads="1"/>
            </p:cNvSpPr>
            <p:nvPr/>
          </p:nvSpPr>
          <p:spPr bwMode="auto">
            <a:xfrm>
              <a:off x="4175125" y="3008313"/>
              <a:ext cx="1588" cy="3175"/>
            </a:xfrm>
            <a:custGeom>
              <a:avLst/>
              <a:gdLst>
                <a:gd name="T0" fmla="*/ 0 w 6"/>
                <a:gd name="T1" fmla="*/ 0 h 7"/>
                <a:gd name="T2" fmla="*/ 5 w 6"/>
                <a:gd name="T3" fmla="*/ 6 h 7"/>
                <a:gd name="T4" fmla="*/ 5 w 6"/>
                <a:gd name="T5" fmla="*/ 0 h 7"/>
                <a:gd name="T6" fmla="*/ 0 w 6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cubicBezTo>
                    <a:pt x="0" y="3"/>
                    <a:pt x="3" y="6"/>
                    <a:pt x="5" y="6"/>
                  </a:cubicBezTo>
                  <a:cubicBezTo>
                    <a:pt x="5" y="3"/>
                    <a:pt x="5" y="3"/>
                    <a:pt x="5" y="0"/>
                  </a:cubicBezTo>
                  <a:cubicBezTo>
                    <a:pt x="3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1" name="Freeform 589"/>
            <p:cNvSpPr>
              <a:spLocks noChangeArrowheads="1"/>
            </p:cNvSpPr>
            <p:nvPr/>
          </p:nvSpPr>
          <p:spPr bwMode="auto">
            <a:xfrm>
              <a:off x="4159250" y="2917825"/>
              <a:ext cx="4763" cy="4763"/>
            </a:xfrm>
            <a:custGeom>
              <a:avLst/>
              <a:gdLst>
                <a:gd name="T0" fmla="*/ 3 w 15"/>
                <a:gd name="T1" fmla="*/ 3 h 15"/>
                <a:gd name="T2" fmla="*/ 11 w 15"/>
                <a:gd name="T3" fmla="*/ 14 h 15"/>
                <a:gd name="T4" fmla="*/ 11 w 15"/>
                <a:gd name="T5" fmla="*/ 11 h 15"/>
                <a:gd name="T6" fmla="*/ 5 w 15"/>
                <a:gd name="T7" fmla="*/ 8 h 15"/>
                <a:gd name="T8" fmla="*/ 14 w 15"/>
                <a:gd name="T9" fmla="*/ 0 h 15"/>
                <a:gd name="T10" fmla="*/ 3 w 15"/>
                <a:gd name="T11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5">
                  <a:moveTo>
                    <a:pt x="3" y="3"/>
                  </a:moveTo>
                  <a:cubicBezTo>
                    <a:pt x="0" y="11"/>
                    <a:pt x="5" y="14"/>
                    <a:pt x="11" y="14"/>
                  </a:cubicBezTo>
                  <a:cubicBezTo>
                    <a:pt x="11" y="14"/>
                    <a:pt x="11" y="14"/>
                    <a:pt x="11" y="11"/>
                  </a:cubicBezTo>
                  <a:cubicBezTo>
                    <a:pt x="8" y="11"/>
                    <a:pt x="5" y="11"/>
                    <a:pt x="5" y="8"/>
                  </a:cubicBezTo>
                  <a:cubicBezTo>
                    <a:pt x="8" y="6"/>
                    <a:pt x="11" y="3"/>
                    <a:pt x="14" y="0"/>
                  </a:cubicBezTo>
                  <a:cubicBezTo>
                    <a:pt x="8" y="3"/>
                    <a:pt x="5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2" name="Freeform 590"/>
            <p:cNvSpPr>
              <a:spLocks noChangeArrowheads="1"/>
            </p:cNvSpPr>
            <p:nvPr/>
          </p:nvSpPr>
          <p:spPr bwMode="auto">
            <a:xfrm>
              <a:off x="4184650" y="3036888"/>
              <a:ext cx="3175" cy="1587"/>
            </a:xfrm>
            <a:custGeom>
              <a:avLst/>
              <a:gdLst>
                <a:gd name="T0" fmla="*/ 6 w 7"/>
                <a:gd name="T1" fmla="*/ 3 h 4"/>
                <a:gd name="T2" fmla="*/ 0 w 7"/>
                <a:gd name="T3" fmla="*/ 0 h 4"/>
                <a:gd name="T4" fmla="*/ 6 w 7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3"/>
                  </a:moveTo>
                  <a:cubicBezTo>
                    <a:pt x="3" y="3"/>
                    <a:pt x="3" y="0"/>
                    <a:pt x="0" y="0"/>
                  </a:cubicBezTo>
                  <a:cubicBezTo>
                    <a:pt x="0" y="0"/>
                    <a:pt x="3" y="3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3" name="Freeform 591"/>
            <p:cNvSpPr>
              <a:spLocks noChangeArrowheads="1"/>
            </p:cNvSpPr>
            <p:nvPr/>
          </p:nvSpPr>
          <p:spPr bwMode="auto">
            <a:xfrm>
              <a:off x="4181475" y="3068638"/>
              <a:ext cx="4763" cy="4762"/>
            </a:xfrm>
            <a:custGeom>
              <a:avLst/>
              <a:gdLst>
                <a:gd name="T0" fmla="*/ 5 w 12"/>
                <a:gd name="T1" fmla="*/ 3 h 15"/>
                <a:gd name="T2" fmla="*/ 3 w 12"/>
                <a:gd name="T3" fmla="*/ 14 h 15"/>
                <a:gd name="T4" fmla="*/ 11 w 12"/>
                <a:gd name="T5" fmla="*/ 3 h 15"/>
                <a:gd name="T6" fmla="*/ 5 w 12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5" y="3"/>
                  </a:moveTo>
                  <a:cubicBezTo>
                    <a:pt x="5" y="9"/>
                    <a:pt x="0" y="9"/>
                    <a:pt x="3" y="14"/>
                  </a:cubicBezTo>
                  <a:cubicBezTo>
                    <a:pt x="5" y="12"/>
                    <a:pt x="8" y="6"/>
                    <a:pt x="11" y="3"/>
                  </a:cubicBezTo>
                  <a:cubicBezTo>
                    <a:pt x="8" y="0"/>
                    <a:pt x="5" y="0"/>
                    <a:pt x="5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4" name="Freeform 592"/>
            <p:cNvSpPr>
              <a:spLocks noChangeArrowheads="1"/>
            </p:cNvSpPr>
            <p:nvPr/>
          </p:nvSpPr>
          <p:spPr bwMode="auto">
            <a:xfrm>
              <a:off x="4181475" y="2592388"/>
              <a:ext cx="4763" cy="3175"/>
            </a:xfrm>
            <a:custGeom>
              <a:avLst/>
              <a:gdLst>
                <a:gd name="T0" fmla="*/ 14 w 15"/>
                <a:gd name="T1" fmla="*/ 0 h 10"/>
                <a:gd name="T2" fmla="*/ 0 w 15"/>
                <a:gd name="T3" fmla="*/ 9 h 10"/>
                <a:gd name="T4" fmla="*/ 14 w 15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14" y="0"/>
                  </a:moveTo>
                  <a:cubicBezTo>
                    <a:pt x="8" y="0"/>
                    <a:pt x="2" y="3"/>
                    <a:pt x="0" y="9"/>
                  </a:cubicBezTo>
                  <a:cubicBezTo>
                    <a:pt x="8" y="9"/>
                    <a:pt x="14" y="6"/>
                    <a:pt x="1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5" name="Freeform 593"/>
            <p:cNvSpPr>
              <a:spLocks noChangeArrowheads="1"/>
            </p:cNvSpPr>
            <p:nvPr/>
          </p:nvSpPr>
          <p:spPr bwMode="auto">
            <a:xfrm>
              <a:off x="4179888" y="2647950"/>
              <a:ext cx="1587" cy="1588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  <a:gd name="T4" fmla="*/ 0 w 4"/>
                <a:gd name="T5" fmla="*/ 0 h 4"/>
                <a:gd name="T6" fmla="*/ 0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0" y="3"/>
                  </a:lnTo>
                  <a:cubicBezTo>
                    <a:pt x="3" y="0"/>
                    <a:pt x="0" y="0"/>
                    <a:pt x="0" y="0"/>
                  </a:cubicBezTo>
                  <a:lnTo>
                    <a:pt x="0" y="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6" name="Freeform 594"/>
            <p:cNvSpPr>
              <a:spLocks noChangeArrowheads="1"/>
            </p:cNvSpPr>
            <p:nvPr/>
          </p:nvSpPr>
          <p:spPr bwMode="auto">
            <a:xfrm>
              <a:off x="4254500" y="2143125"/>
              <a:ext cx="3175" cy="6350"/>
            </a:xfrm>
            <a:custGeom>
              <a:avLst/>
              <a:gdLst>
                <a:gd name="T0" fmla="*/ 0 w 9"/>
                <a:gd name="T1" fmla="*/ 2 h 18"/>
                <a:gd name="T2" fmla="*/ 0 w 9"/>
                <a:gd name="T3" fmla="*/ 14 h 18"/>
                <a:gd name="T4" fmla="*/ 0 w 9"/>
                <a:gd name="T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8">
                  <a:moveTo>
                    <a:pt x="0" y="2"/>
                  </a:moveTo>
                  <a:lnTo>
                    <a:pt x="0" y="14"/>
                  </a:lnTo>
                  <a:cubicBezTo>
                    <a:pt x="8" y="17"/>
                    <a:pt x="8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7" name="Freeform 595"/>
            <p:cNvSpPr>
              <a:spLocks noChangeArrowheads="1"/>
            </p:cNvSpPr>
            <p:nvPr/>
          </p:nvSpPr>
          <p:spPr bwMode="auto">
            <a:xfrm>
              <a:off x="4305300" y="2430463"/>
              <a:ext cx="4763" cy="4762"/>
            </a:xfrm>
            <a:custGeom>
              <a:avLst/>
              <a:gdLst>
                <a:gd name="T0" fmla="*/ 11 w 12"/>
                <a:gd name="T1" fmla="*/ 14 h 15"/>
                <a:gd name="T2" fmla="*/ 6 w 12"/>
                <a:gd name="T3" fmla="*/ 0 h 15"/>
                <a:gd name="T4" fmla="*/ 11 w 12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1" y="14"/>
                  </a:moveTo>
                  <a:cubicBezTo>
                    <a:pt x="11" y="8"/>
                    <a:pt x="8" y="3"/>
                    <a:pt x="6" y="0"/>
                  </a:cubicBezTo>
                  <a:cubicBezTo>
                    <a:pt x="6" y="6"/>
                    <a:pt x="0" y="14"/>
                    <a:pt x="11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8" name="Freeform 596"/>
            <p:cNvSpPr>
              <a:spLocks noChangeArrowheads="1"/>
            </p:cNvSpPr>
            <p:nvPr/>
          </p:nvSpPr>
          <p:spPr bwMode="auto">
            <a:xfrm>
              <a:off x="4319588" y="2771775"/>
              <a:ext cx="1587" cy="3175"/>
            </a:xfrm>
            <a:custGeom>
              <a:avLst/>
              <a:gdLst>
                <a:gd name="T0" fmla="*/ 0 w 6"/>
                <a:gd name="T1" fmla="*/ 5 h 7"/>
                <a:gd name="T2" fmla="*/ 0 w 6"/>
                <a:gd name="T3" fmla="*/ 5 h 7"/>
                <a:gd name="T4" fmla="*/ 2 w 6"/>
                <a:gd name="T5" fmla="*/ 5 h 7"/>
                <a:gd name="T6" fmla="*/ 5 w 6"/>
                <a:gd name="T7" fmla="*/ 3 h 7"/>
                <a:gd name="T8" fmla="*/ 2 w 6"/>
                <a:gd name="T9" fmla="*/ 0 h 7"/>
                <a:gd name="T10" fmla="*/ 0 w 6"/>
                <a:gd name="T1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7">
                  <a:moveTo>
                    <a:pt x="0" y="5"/>
                  </a:moveTo>
                  <a:lnTo>
                    <a:pt x="0" y="5"/>
                  </a:lnTo>
                  <a:lnTo>
                    <a:pt x="2" y="5"/>
                  </a:lnTo>
                  <a:cubicBezTo>
                    <a:pt x="2" y="5"/>
                    <a:pt x="5" y="6"/>
                    <a:pt x="5" y="3"/>
                  </a:cubicBezTo>
                  <a:cubicBezTo>
                    <a:pt x="5" y="1"/>
                    <a:pt x="2" y="0"/>
                    <a:pt x="2" y="0"/>
                  </a:cubicBezTo>
                  <a:cubicBezTo>
                    <a:pt x="2" y="3"/>
                    <a:pt x="0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9" name="Freeform 597"/>
            <p:cNvSpPr>
              <a:spLocks noChangeArrowheads="1"/>
            </p:cNvSpPr>
            <p:nvPr/>
          </p:nvSpPr>
          <p:spPr bwMode="auto">
            <a:xfrm>
              <a:off x="4297363" y="2608263"/>
              <a:ext cx="3175" cy="4762"/>
            </a:xfrm>
            <a:custGeom>
              <a:avLst/>
              <a:gdLst>
                <a:gd name="T0" fmla="*/ 0 w 10"/>
                <a:gd name="T1" fmla="*/ 3 h 13"/>
                <a:gd name="T2" fmla="*/ 0 w 10"/>
                <a:gd name="T3" fmla="*/ 12 h 13"/>
                <a:gd name="T4" fmla="*/ 6 w 10"/>
                <a:gd name="T5" fmla="*/ 12 h 13"/>
                <a:gd name="T6" fmla="*/ 6 w 10"/>
                <a:gd name="T7" fmla="*/ 9 h 13"/>
                <a:gd name="T8" fmla="*/ 9 w 10"/>
                <a:gd name="T9" fmla="*/ 0 h 13"/>
                <a:gd name="T10" fmla="*/ 0 w 10"/>
                <a:gd name="T11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3">
                  <a:moveTo>
                    <a:pt x="0" y="3"/>
                  </a:moveTo>
                  <a:cubicBezTo>
                    <a:pt x="0" y="6"/>
                    <a:pt x="0" y="9"/>
                    <a:pt x="0" y="12"/>
                  </a:cubicBezTo>
                  <a:cubicBezTo>
                    <a:pt x="3" y="12"/>
                    <a:pt x="3" y="12"/>
                    <a:pt x="6" y="12"/>
                  </a:cubicBezTo>
                  <a:lnTo>
                    <a:pt x="6" y="9"/>
                  </a:lnTo>
                  <a:cubicBezTo>
                    <a:pt x="9" y="6"/>
                    <a:pt x="9" y="3"/>
                    <a:pt x="9" y="0"/>
                  </a:cubicBezTo>
                  <a:cubicBezTo>
                    <a:pt x="6" y="0"/>
                    <a:pt x="3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0" name="Freeform 598"/>
            <p:cNvSpPr>
              <a:spLocks noChangeArrowheads="1"/>
            </p:cNvSpPr>
            <p:nvPr/>
          </p:nvSpPr>
          <p:spPr bwMode="auto">
            <a:xfrm>
              <a:off x="4302125" y="2168525"/>
              <a:ext cx="4763" cy="4763"/>
            </a:xfrm>
            <a:custGeom>
              <a:avLst/>
              <a:gdLst>
                <a:gd name="T0" fmla="*/ 0 w 12"/>
                <a:gd name="T1" fmla="*/ 0 h 15"/>
                <a:gd name="T2" fmla="*/ 11 w 12"/>
                <a:gd name="T3" fmla="*/ 14 h 15"/>
                <a:gd name="T4" fmla="*/ 0 w 1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0" y="0"/>
                  </a:moveTo>
                  <a:cubicBezTo>
                    <a:pt x="0" y="9"/>
                    <a:pt x="2" y="14"/>
                    <a:pt x="11" y="14"/>
                  </a:cubicBezTo>
                  <a:cubicBezTo>
                    <a:pt x="11" y="3"/>
                    <a:pt x="8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1" name="Freeform 599"/>
            <p:cNvSpPr>
              <a:spLocks noChangeArrowheads="1"/>
            </p:cNvSpPr>
            <p:nvPr/>
          </p:nvSpPr>
          <p:spPr bwMode="auto">
            <a:xfrm>
              <a:off x="4289425" y="2738438"/>
              <a:ext cx="3175" cy="3175"/>
            </a:xfrm>
            <a:custGeom>
              <a:avLst/>
              <a:gdLst>
                <a:gd name="T0" fmla="*/ 0 w 9"/>
                <a:gd name="T1" fmla="*/ 8 h 9"/>
                <a:gd name="T2" fmla="*/ 8 w 9"/>
                <a:gd name="T3" fmla="*/ 0 h 9"/>
                <a:gd name="T4" fmla="*/ 0 w 9"/>
                <a:gd name="T5" fmla="*/ 0 h 9"/>
                <a:gd name="T6" fmla="*/ 0 w 9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0" y="8"/>
                  </a:moveTo>
                  <a:cubicBezTo>
                    <a:pt x="5" y="8"/>
                    <a:pt x="8" y="5"/>
                    <a:pt x="8" y="0"/>
                  </a:cubicBez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2" name="Freeform 600"/>
            <p:cNvSpPr>
              <a:spLocks noChangeArrowheads="1"/>
            </p:cNvSpPr>
            <p:nvPr/>
          </p:nvSpPr>
          <p:spPr bwMode="auto">
            <a:xfrm>
              <a:off x="4300538" y="2506663"/>
              <a:ext cx="3175" cy="4762"/>
            </a:xfrm>
            <a:custGeom>
              <a:avLst/>
              <a:gdLst>
                <a:gd name="T0" fmla="*/ 0 w 9"/>
                <a:gd name="T1" fmla="*/ 3 h 13"/>
                <a:gd name="T2" fmla="*/ 8 w 9"/>
                <a:gd name="T3" fmla="*/ 12 h 13"/>
                <a:gd name="T4" fmla="*/ 3 w 9"/>
                <a:gd name="T5" fmla="*/ 0 h 13"/>
                <a:gd name="T6" fmla="*/ 0 w 9"/>
                <a:gd name="T7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0" y="3"/>
                  </a:moveTo>
                  <a:cubicBezTo>
                    <a:pt x="0" y="9"/>
                    <a:pt x="3" y="12"/>
                    <a:pt x="8" y="12"/>
                  </a:cubicBezTo>
                  <a:cubicBezTo>
                    <a:pt x="8" y="6"/>
                    <a:pt x="6" y="3"/>
                    <a:pt x="3" y="0"/>
                  </a:cubicBezTo>
                  <a:cubicBezTo>
                    <a:pt x="0" y="0"/>
                    <a:pt x="0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3" name="Freeform 601"/>
            <p:cNvSpPr>
              <a:spLocks noChangeArrowheads="1"/>
            </p:cNvSpPr>
            <p:nvPr/>
          </p:nvSpPr>
          <p:spPr bwMode="auto">
            <a:xfrm>
              <a:off x="4300538" y="2408238"/>
              <a:ext cx="14287" cy="7937"/>
            </a:xfrm>
            <a:custGeom>
              <a:avLst/>
              <a:gdLst>
                <a:gd name="T0" fmla="*/ 14 w 40"/>
                <a:gd name="T1" fmla="*/ 22 h 23"/>
                <a:gd name="T2" fmla="*/ 31 w 40"/>
                <a:gd name="T3" fmla="*/ 14 h 23"/>
                <a:gd name="T4" fmla="*/ 30 w 40"/>
                <a:gd name="T5" fmla="*/ 8 h 23"/>
                <a:gd name="T6" fmla="*/ 28 w 40"/>
                <a:gd name="T7" fmla="*/ 11 h 23"/>
                <a:gd name="T8" fmla="*/ 25 w 40"/>
                <a:gd name="T9" fmla="*/ 8 h 23"/>
                <a:gd name="T10" fmla="*/ 22 w 40"/>
                <a:gd name="T11" fmla="*/ 14 h 23"/>
                <a:gd name="T12" fmla="*/ 14 w 40"/>
                <a:gd name="T13" fmla="*/ 17 h 23"/>
                <a:gd name="T14" fmla="*/ 17 w 40"/>
                <a:gd name="T15" fmla="*/ 6 h 23"/>
                <a:gd name="T16" fmla="*/ 8 w 40"/>
                <a:gd name="T17" fmla="*/ 3 h 23"/>
                <a:gd name="T18" fmla="*/ 0 w 40"/>
                <a:gd name="T19" fmla="*/ 8 h 23"/>
                <a:gd name="T20" fmla="*/ 14 w 40"/>
                <a:gd name="T21" fmla="*/ 22 h 23"/>
                <a:gd name="T22" fmla="*/ 32 w 40"/>
                <a:gd name="T23" fmla="*/ 6 h 23"/>
                <a:gd name="T24" fmla="*/ 30 w 40"/>
                <a:gd name="T25" fmla="*/ 8 h 23"/>
                <a:gd name="T26" fmla="*/ 32 w 40"/>
                <a:gd name="T27" fmla="*/ 6 h 23"/>
                <a:gd name="T28" fmla="*/ 39 w 40"/>
                <a:gd name="T29" fmla="*/ 3 h 23"/>
                <a:gd name="T30" fmla="*/ 39 w 40"/>
                <a:gd name="T31" fmla="*/ 0 h 23"/>
                <a:gd name="T32" fmla="*/ 37 w 40"/>
                <a:gd name="T33" fmla="*/ 0 h 23"/>
                <a:gd name="T34" fmla="*/ 32 w 40"/>
                <a:gd name="T35" fmla="*/ 6 h 23"/>
                <a:gd name="T36" fmla="*/ 39 w 40"/>
                <a:gd name="T3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23">
                  <a:moveTo>
                    <a:pt x="14" y="22"/>
                  </a:moveTo>
                  <a:cubicBezTo>
                    <a:pt x="14" y="14"/>
                    <a:pt x="25" y="20"/>
                    <a:pt x="31" y="14"/>
                  </a:cubicBezTo>
                  <a:cubicBezTo>
                    <a:pt x="30" y="12"/>
                    <a:pt x="30" y="10"/>
                    <a:pt x="30" y="8"/>
                  </a:cubicBezTo>
                  <a:cubicBezTo>
                    <a:pt x="30" y="9"/>
                    <a:pt x="29" y="10"/>
                    <a:pt x="28" y="11"/>
                  </a:cubicBezTo>
                  <a:cubicBezTo>
                    <a:pt x="28" y="11"/>
                    <a:pt x="28" y="8"/>
                    <a:pt x="25" y="8"/>
                  </a:cubicBezTo>
                  <a:cubicBezTo>
                    <a:pt x="25" y="8"/>
                    <a:pt x="25" y="14"/>
                    <a:pt x="22" y="14"/>
                  </a:cubicBezTo>
                  <a:cubicBezTo>
                    <a:pt x="20" y="17"/>
                    <a:pt x="17" y="14"/>
                    <a:pt x="14" y="17"/>
                  </a:cubicBezTo>
                  <a:cubicBezTo>
                    <a:pt x="14" y="11"/>
                    <a:pt x="17" y="11"/>
                    <a:pt x="17" y="6"/>
                  </a:cubicBezTo>
                  <a:cubicBezTo>
                    <a:pt x="14" y="6"/>
                    <a:pt x="8" y="6"/>
                    <a:pt x="8" y="3"/>
                  </a:cubicBezTo>
                  <a:cubicBezTo>
                    <a:pt x="6" y="6"/>
                    <a:pt x="3" y="6"/>
                    <a:pt x="0" y="8"/>
                  </a:cubicBezTo>
                  <a:cubicBezTo>
                    <a:pt x="0" y="17"/>
                    <a:pt x="8" y="22"/>
                    <a:pt x="14" y="22"/>
                  </a:cubicBezTo>
                  <a:close/>
                  <a:moveTo>
                    <a:pt x="32" y="6"/>
                  </a:moveTo>
                  <a:cubicBezTo>
                    <a:pt x="31" y="6"/>
                    <a:pt x="31" y="7"/>
                    <a:pt x="30" y="8"/>
                  </a:cubicBezTo>
                  <a:cubicBezTo>
                    <a:pt x="31" y="7"/>
                    <a:pt x="31" y="6"/>
                    <a:pt x="32" y="6"/>
                  </a:cubicBezTo>
                  <a:close/>
                  <a:moveTo>
                    <a:pt x="39" y="3"/>
                  </a:moveTo>
                  <a:lnTo>
                    <a:pt x="39" y="0"/>
                  </a:lnTo>
                  <a:lnTo>
                    <a:pt x="37" y="0"/>
                  </a:lnTo>
                  <a:cubicBezTo>
                    <a:pt x="33" y="0"/>
                    <a:pt x="33" y="2"/>
                    <a:pt x="32" y="6"/>
                  </a:cubicBezTo>
                  <a:cubicBezTo>
                    <a:pt x="33" y="4"/>
                    <a:pt x="36" y="3"/>
                    <a:pt x="39" y="3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4" name="Freeform 602"/>
            <p:cNvSpPr>
              <a:spLocks noChangeArrowheads="1"/>
            </p:cNvSpPr>
            <p:nvPr/>
          </p:nvSpPr>
          <p:spPr bwMode="auto">
            <a:xfrm>
              <a:off x="4292600" y="2579688"/>
              <a:ext cx="7938" cy="6350"/>
            </a:xfrm>
            <a:custGeom>
              <a:avLst/>
              <a:gdLst>
                <a:gd name="T0" fmla="*/ 20 w 21"/>
                <a:gd name="T1" fmla="*/ 9 h 16"/>
                <a:gd name="T2" fmla="*/ 3 w 21"/>
                <a:gd name="T3" fmla="*/ 6 h 16"/>
                <a:gd name="T4" fmla="*/ 20 w 21"/>
                <a:gd name="T5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6">
                  <a:moveTo>
                    <a:pt x="20" y="9"/>
                  </a:moveTo>
                  <a:cubicBezTo>
                    <a:pt x="11" y="9"/>
                    <a:pt x="9" y="0"/>
                    <a:pt x="3" y="6"/>
                  </a:cubicBezTo>
                  <a:cubicBezTo>
                    <a:pt x="0" y="15"/>
                    <a:pt x="20" y="15"/>
                    <a:pt x="20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5" name="Freeform 603"/>
            <p:cNvSpPr>
              <a:spLocks noChangeArrowheads="1"/>
            </p:cNvSpPr>
            <p:nvPr/>
          </p:nvSpPr>
          <p:spPr bwMode="auto">
            <a:xfrm>
              <a:off x="4322763" y="2574925"/>
              <a:ext cx="4762" cy="3175"/>
            </a:xfrm>
            <a:custGeom>
              <a:avLst/>
              <a:gdLst>
                <a:gd name="T0" fmla="*/ 0 w 12"/>
                <a:gd name="T1" fmla="*/ 8 h 9"/>
                <a:gd name="T2" fmla="*/ 11 w 12"/>
                <a:gd name="T3" fmla="*/ 8 h 9"/>
                <a:gd name="T4" fmla="*/ 11 w 12"/>
                <a:gd name="T5" fmla="*/ 5 h 9"/>
                <a:gd name="T6" fmla="*/ 0 w 12"/>
                <a:gd name="T7" fmla="*/ 0 h 9"/>
                <a:gd name="T8" fmla="*/ 0 w 12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lnTo>
                    <a:pt x="11" y="8"/>
                  </a:lnTo>
                  <a:lnTo>
                    <a:pt x="11" y="5"/>
                  </a:lnTo>
                  <a:cubicBezTo>
                    <a:pt x="8" y="2"/>
                    <a:pt x="3" y="0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6" name="Freeform 604"/>
            <p:cNvSpPr>
              <a:spLocks noChangeArrowheads="1"/>
            </p:cNvSpPr>
            <p:nvPr/>
          </p:nvSpPr>
          <p:spPr bwMode="auto">
            <a:xfrm>
              <a:off x="4319588" y="2265363"/>
              <a:ext cx="4762" cy="3175"/>
            </a:xfrm>
            <a:custGeom>
              <a:avLst/>
              <a:gdLst>
                <a:gd name="T0" fmla="*/ 0 w 13"/>
                <a:gd name="T1" fmla="*/ 3 h 10"/>
                <a:gd name="T2" fmla="*/ 3 w 13"/>
                <a:gd name="T3" fmla="*/ 9 h 10"/>
                <a:gd name="T4" fmla="*/ 6 w 13"/>
                <a:gd name="T5" fmla="*/ 9 h 10"/>
                <a:gd name="T6" fmla="*/ 12 w 13"/>
                <a:gd name="T7" fmla="*/ 0 h 10"/>
                <a:gd name="T8" fmla="*/ 0 w 13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0">
                  <a:moveTo>
                    <a:pt x="0" y="3"/>
                  </a:moveTo>
                  <a:cubicBezTo>
                    <a:pt x="0" y="6"/>
                    <a:pt x="0" y="9"/>
                    <a:pt x="3" y="9"/>
                  </a:cubicBezTo>
                  <a:lnTo>
                    <a:pt x="6" y="9"/>
                  </a:lnTo>
                  <a:cubicBezTo>
                    <a:pt x="9" y="9"/>
                    <a:pt x="9" y="3"/>
                    <a:pt x="12" y="0"/>
                  </a:cubicBezTo>
                  <a:cubicBezTo>
                    <a:pt x="6" y="0"/>
                    <a:pt x="6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7" name="Freeform 605"/>
            <p:cNvSpPr>
              <a:spLocks noChangeArrowheads="1"/>
            </p:cNvSpPr>
            <p:nvPr/>
          </p:nvSpPr>
          <p:spPr bwMode="auto">
            <a:xfrm>
              <a:off x="4302125" y="2689225"/>
              <a:ext cx="4763" cy="6350"/>
            </a:xfrm>
            <a:custGeom>
              <a:avLst/>
              <a:gdLst>
                <a:gd name="T0" fmla="*/ 6 w 13"/>
                <a:gd name="T1" fmla="*/ 14 h 18"/>
                <a:gd name="T2" fmla="*/ 0 w 13"/>
                <a:gd name="T3" fmla="*/ 17 h 18"/>
                <a:gd name="T4" fmla="*/ 9 w 13"/>
                <a:gd name="T5" fmla="*/ 17 h 18"/>
                <a:gd name="T6" fmla="*/ 12 w 13"/>
                <a:gd name="T7" fmla="*/ 9 h 18"/>
                <a:gd name="T8" fmla="*/ 0 w 13"/>
                <a:gd name="T9" fmla="*/ 0 h 18"/>
                <a:gd name="T10" fmla="*/ 6 w 13"/>
                <a:gd name="T11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8">
                  <a:moveTo>
                    <a:pt x="6" y="14"/>
                  </a:moveTo>
                  <a:cubicBezTo>
                    <a:pt x="3" y="14"/>
                    <a:pt x="0" y="14"/>
                    <a:pt x="0" y="17"/>
                  </a:cubicBezTo>
                  <a:cubicBezTo>
                    <a:pt x="3" y="17"/>
                    <a:pt x="6" y="17"/>
                    <a:pt x="9" y="17"/>
                  </a:cubicBezTo>
                  <a:cubicBezTo>
                    <a:pt x="9" y="14"/>
                    <a:pt x="12" y="14"/>
                    <a:pt x="12" y="9"/>
                  </a:cubicBezTo>
                  <a:cubicBezTo>
                    <a:pt x="9" y="6"/>
                    <a:pt x="3" y="3"/>
                    <a:pt x="0" y="0"/>
                  </a:cubicBezTo>
                  <a:cubicBezTo>
                    <a:pt x="3" y="6"/>
                    <a:pt x="6" y="12"/>
                    <a:pt x="6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8" name="Freeform 606"/>
            <p:cNvSpPr>
              <a:spLocks noChangeArrowheads="1"/>
            </p:cNvSpPr>
            <p:nvPr/>
          </p:nvSpPr>
          <p:spPr bwMode="auto">
            <a:xfrm>
              <a:off x="4319588" y="2711450"/>
              <a:ext cx="3175" cy="1588"/>
            </a:xfrm>
            <a:custGeom>
              <a:avLst/>
              <a:gdLst>
                <a:gd name="T0" fmla="*/ 8 w 9"/>
                <a:gd name="T1" fmla="*/ 0 h 4"/>
                <a:gd name="T2" fmla="*/ 0 w 9"/>
                <a:gd name="T3" fmla="*/ 3 h 4"/>
                <a:gd name="T4" fmla="*/ 8 w 9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4">
                  <a:moveTo>
                    <a:pt x="8" y="0"/>
                  </a:moveTo>
                  <a:cubicBezTo>
                    <a:pt x="5" y="0"/>
                    <a:pt x="2" y="0"/>
                    <a:pt x="0" y="3"/>
                  </a:cubicBezTo>
                  <a:lnTo>
                    <a:pt x="8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9" name="Freeform 607"/>
            <p:cNvSpPr>
              <a:spLocks noChangeArrowheads="1"/>
            </p:cNvSpPr>
            <p:nvPr/>
          </p:nvSpPr>
          <p:spPr bwMode="auto">
            <a:xfrm>
              <a:off x="4306888" y="2665413"/>
              <a:ext cx="11112" cy="11112"/>
            </a:xfrm>
            <a:custGeom>
              <a:avLst/>
              <a:gdLst>
                <a:gd name="T0" fmla="*/ 8 w 29"/>
                <a:gd name="T1" fmla="*/ 23 h 30"/>
                <a:gd name="T2" fmla="*/ 22 w 29"/>
                <a:gd name="T3" fmla="*/ 12 h 30"/>
                <a:gd name="T4" fmla="*/ 19 w 29"/>
                <a:gd name="T5" fmla="*/ 23 h 30"/>
                <a:gd name="T6" fmla="*/ 19 w 29"/>
                <a:gd name="T7" fmla="*/ 29 h 30"/>
                <a:gd name="T8" fmla="*/ 19 w 29"/>
                <a:gd name="T9" fmla="*/ 0 h 30"/>
                <a:gd name="T10" fmla="*/ 19 w 29"/>
                <a:gd name="T11" fmla="*/ 0 h 30"/>
                <a:gd name="T12" fmla="*/ 0 w 29"/>
                <a:gd name="T13" fmla="*/ 9 h 30"/>
                <a:gd name="T14" fmla="*/ 8 w 29"/>
                <a:gd name="T15" fmla="*/ 2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30">
                  <a:moveTo>
                    <a:pt x="8" y="23"/>
                  </a:moveTo>
                  <a:cubicBezTo>
                    <a:pt x="11" y="17"/>
                    <a:pt x="17" y="14"/>
                    <a:pt x="22" y="12"/>
                  </a:cubicBezTo>
                  <a:cubicBezTo>
                    <a:pt x="28" y="14"/>
                    <a:pt x="22" y="17"/>
                    <a:pt x="19" y="23"/>
                  </a:cubicBezTo>
                  <a:cubicBezTo>
                    <a:pt x="19" y="26"/>
                    <a:pt x="19" y="29"/>
                    <a:pt x="19" y="29"/>
                  </a:cubicBezTo>
                  <a:cubicBezTo>
                    <a:pt x="28" y="20"/>
                    <a:pt x="28" y="9"/>
                    <a:pt x="19" y="0"/>
                  </a:cubicBezTo>
                  <a:lnTo>
                    <a:pt x="19" y="0"/>
                  </a:lnTo>
                  <a:cubicBezTo>
                    <a:pt x="11" y="0"/>
                    <a:pt x="2" y="0"/>
                    <a:pt x="0" y="9"/>
                  </a:cubicBezTo>
                  <a:cubicBezTo>
                    <a:pt x="5" y="14"/>
                    <a:pt x="8" y="17"/>
                    <a:pt x="8" y="2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0" name="Freeform 608"/>
            <p:cNvSpPr>
              <a:spLocks noChangeArrowheads="1"/>
            </p:cNvSpPr>
            <p:nvPr/>
          </p:nvSpPr>
          <p:spPr bwMode="auto">
            <a:xfrm>
              <a:off x="4303713" y="2447925"/>
              <a:ext cx="1587" cy="1588"/>
            </a:xfrm>
            <a:custGeom>
              <a:avLst/>
              <a:gdLst>
                <a:gd name="T0" fmla="*/ 0 w 4"/>
                <a:gd name="T1" fmla="*/ 3 h 4"/>
                <a:gd name="T2" fmla="*/ 3 w 4"/>
                <a:gd name="T3" fmla="*/ 0 h 4"/>
                <a:gd name="T4" fmla="*/ 3 w 4"/>
                <a:gd name="T5" fmla="*/ 0 h 4"/>
                <a:gd name="T6" fmla="*/ 0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3" y="3"/>
                    <a:pt x="3" y="0"/>
                  </a:cubicBezTo>
                  <a:lnTo>
                    <a:pt x="3" y="0"/>
                  </a:lnTo>
                  <a:cubicBezTo>
                    <a:pt x="3" y="3"/>
                    <a:pt x="0" y="3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1" name="Freeform 609"/>
            <p:cNvSpPr>
              <a:spLocks noChangeArrowheads="1"/>
            </p:cNvSpPr>
            <p:nvPr/>
          </p:nvSpPr>
          <p:spPr bwMode="auto">
            <a:xfrm>
              <a:off x="4278313" y="2819400"/>
              <a:ext cx="4762" cy="3175"/>
            </a:xfrm>
            <a:custGeom>
              <a:avLst/>
              <a:gdLst>
                <a:gd name="T0" fmla="*/ 0 w 12"/>
                <a:gd name="T1" fmla="*/ 0 h 10"/>
                <a:gd name="T2" fmla="*/ 8 w 12"/>
                <a:gd name="T3" fmla="*/ 9 h 10"/>
                <a:gd name="T4" fmla="*/ 11 w 12"/>
                <a:gd name="T5" fmla="*/ 0 h 10"/>
                <a:gd name="T6" fmla="*/ 0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cubicBezTo>
                    <a:pt x="0" y="6"/>
                    <a:pt x="3" y="9"/>
                    <a:pt x="8" y="9"/>
                  </a:cubicBezTo>
                  <a:cubicBezTo>
                    <a:pt x="8" y="3"/>
                    <a:pt x="11" y="3"/>
                    <a:pt x="11" y="0"/>
                  </a:cubicBezTo>
                  <a:cubicBezTo>
                    <a:pt x="8" y="3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2" name="Freeform 610"/>
            <p:cNvSpPr>
              <a:spLocks noChangeArrowheads="1"/>
            </p:cNvSpPr>
            <p:nvPr/>
          </p:nvSpPr>
          <p:spPr bwMode="auto">
            <a:xfrm>
              <a:off x="4276725" y="2690813"/>
              <a:ext cx="3175" cy="3175"/>
            </a:xfrm>
            <a:custGeom>
              <a:avLst/>
              <a:gdLst>
                <a:gd name="T0" fmla="*/ 6 w 9"/>
                <a:gd name="T1" fmla="*/ 0 h 7"/>
                <a:gd name="T2" fmla="*/ 0 w 9"/>
                <a:gd name="T3" fmla="*/ 6 h 7"/>
                <a:gd name="T4" fmla="*/ 8 w 9"/>
                <a:gd name="T5" fmla="*/ 3 h 7"/>
                <a:gd name="T6" fmla="*/ 6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6" y="0"/>
                  </a:moveTo>
                  <a:cubicBezTo>
                    <a:pt x="3" y="0"/>
                    <a:pt x="3" y="3"/>
                    <a:pt x="0" y="6"/>
                  </a:cubicBezTo>
                  <a:cubicBezTo>
                    <a:pt x="3" y="6"/>
                    <a:pt x="6" y="6"/>
                    <a:pt x="8" y="3"/>
                  </a:cubicBezTo>
                  <a:cubicBezTo>
                    <a:pt x="8" y="0"/>
                    <a:pt x="6" y="0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3" name="Freeform 611"/>
            <p:cNvSpPr>
              <a:spLocks noChangeArrowheads="1"/>
            </p:cNvSpPr>
            <p:nvPr/>
          </p:nvSpPr>
          <p:spPr bwMode="auto">
            <a:xfrm>
              <a:off x="4279900" y="3052763"/>
              <a:ext cx="4763" cy="6350"/>
            </a:xfrm>
            <a:custGeom>
              <a:avLst/>
              <a:gdLst>
                <a:gd name="T0" fmla="*/ 6 w 15"/>
                <a:gd name="T1" fmla="*/ 17 h 18"/>
                <a:gd name="T2" fmla="*/ 14 w 15"/>
                <a:gd name="T3" fmla="*/ 3 h 18"/>
                <a:gd name="T4" fmla="*/ 6 w 15"/>
                <a:gd name="T5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8">
                  <a:moveTo>
                    <a:pt x="6" y="17"/>
                  </a:moveTo>
                  <a:cubicBezTo>
                    <a:pt x="14" y="17"/>
                    <a:pt x="14" y="11"/>
                    <a:pt x="14" y="3"/>
                  </a:cubicBezTo>
                  <a:cubicBezTo>
                    <a:pt x="3" y="0"/>
                    <a:pt x="0" y="11"/>
                    <a:pt x="6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4" name="Freeform 612"/>
            <p:cNvSpPr>
              <a:spLocks noChangeArrowheads="1"/>
            </p:cNvSpPr>
            <p:nvPr/>
          </p:nvSpPr>
          <p:spPr bwMode="auto">
            <a:xfrm>
              <a:off x="4283075" y="2581275"/>
              <a:ext cx="4763" cy="3175"/>
            </a:xfrm>
            <a:custGeom>
              <a:avLst/>
              <a:gdLst>
                <a:gd name="T0" fmla="*/ 0 w 12"/>
                <a:gd name="T1" fmla="*/ 0 h 10"/>
                <a:gd name="T2" fmla="*/ 11 w 12"/>
                <a:gd name="T3" fmla="*/ 9 h 10"/>
                <a:gd name="T4" fmla="*/ 11 w 12"/>
                <a:gd name="T5" fmla="*/ 0 h 10"/>
                <a:gd name="T6" fmla="*/ 0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cubicBezTo>
                    <a:pt x="3" y="3"/>
                    <a:pt x="8" y="6"/>
                    <a:pt x="11" y="9"/>
                  </a:cubicBezTo>
                  <a:cubicBezTo>
                    <a:pt x="11" y="6"/>
                    <a:pt x="11" y="3"/>
                    <a:pt x="11" y="0"/>
                  </a:cubicBez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5" name="Freeform 613"/>
            <p:cNvSpPr>
              <a:spLocks noChangeArrowheads="1"/>
            </p:cNvSpPr>
            <p:nvPr/>
          </p:nvSpPr>
          <p:spPr bwMode="auto">
            <a:xfrm>
              <a:off x="4279900" y="2674938"/>
              <a:ext cx="3175" cy="1587"/>
            </a:xfrm>
            <a:custGeom>
              <a:avLst/>
              <a:gdLst>
                <a:gd name="T0" fmla="*/ 6 w 7"/>
                <a:gd name="T1" fmla="*/ 0 h 6"/>
                <a:gd name="T2" fmla="*/ 0 w 7"/>
                <a:gd name="T3" fmla="*/ 5 h 6"/>
                <a:gd name="T4" fmla="*/ 6 w 7"/>
                <a:gd name="T5" fmla="*/ 5 h 6"/>
                <a:gd name="T6" fmla="*/ 6 w 7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6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3" y="5"/>
                    <a:pt x="6" y="5"/>
                  </a:cubicBez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6" name="Freeform 614"/>
            <p:cNvSpPr>
              <a:spLocks noChangeArrowheads="1"/>
            </p:cNvSpPr>
            <p:nvPr/>
          </p:nvSpPr>
          <p:spPr bwMode="auto">
            <a:xfrm>
              <a:off x="4283075" y="2779713"/>
              <a:ext cx="4763" cy="3175"/>
            </a:xfrm>
            <a:custGeom>
              <a:avLst/>
              <a:gdLst>
                <a:gd name="T0" fmla="*/ 0 w 12"/>
                <a:gd name="T1" fmla="*/ 3 h 7"/>
                <a:gd name="T2" fmla="*/ 5 w 12"/>
                <a:gd name="T3" fmla="*/ 6 h 7"/>
                <a:gd name="T4" fmla="*/ 11 w 12"/>
                <a:gd name="T5" fmla="*/ 0 h 7"/>
                <a:gd name="T6" fmla="*/ 0 w 12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7">
                  <a:moveTo>
                    <a:pt x="0" y="3"/>
                  </a:moveTo>
                  <a:cubicBezTo>
                    <a:pt x="3" y="3"/>
                    <a:pt x="3" y="6"/>
                    <a:pt x="5" y="6"/>
                  </a:cubicBezTo>
                  <a:cubicBezTo>
                    <a:pt x="8" y="3"/>
                    <a:pt x="8" y="0"/>
                    <a:pt x="11" y="0"/>
                  </a:cubicBezTo>
                  <a:cubicBezTo>
                    <a:pt x="5" y="0"/>
                    <a:pt x="0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7" name="Freeform 615"/>
            <p:cNvSpPr>
              <a:spLocks noChangeArrowheads="1"/>
            </p:cNvSpPr>
            <p:nvPr/>
          </p:nvSpPr>
          <p:spPr bwMode="auto">
            <a:xfrm>
              <a:off x="4291013" y="2393950"/>
              <a:ext cx="4762" cy="4763"/>
            </a:xfrm>
            <a:custGeom>
              <a:avLst/>
              <a:gdLst>
                <a:gd name="T0" fmla="*/ 0 w 15"/>
                <a:gd name="T1" fmla="*/ 11 h 15"/>
                <a:gd name="T2" fmla="*/ 0 w 15"/>
                <a:gd name="T3" fmla="*/ 11 h 15"/>
                <a:gd name="T4" fmla="*/ 9 w 15"/>
                <a:gd name="T5" fmla="*/ 14 h 15"/>
                <a:gd name="T6" fmla="*/ 9 w 15"/>
                <a:gd name="T7" fmla="*/ 14 h 15"/>
                <a:gd name="T8" fmla="*/ 14 w 15"/>
                <a:gd name="T9" fmla="*/ 0 h 15"/>
                <a:gd name="T10" fmla="*/ 0 w 15"/>
                <a:gd name="T11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5">
                  <a:moveTo>
                    <a:pt x="0" y="11"/>
                  </a:moveTo>
                  <a:lnTo>
                    <a:pt x="0" y="11"/>
                  </a:lnTo>
                  <a:cubicBezTo>
                    <a:pt x="0" y="14"/>
                    <a:pt x="6" y="14"/>
                    <a:pt x="9" y="14"/>
                  </a:cubicBezTo>
                  <a:lnTo>
                    <a:pt x="9" y="14"/>
                  </a:lnTo>
                  <a:cubicBezTo>
                    <a:pt x="12" y="11"/>
                    <a:pt x="12" y="3"/>
                    <a:pt x="14" y="0"/>
                  </a:cubicBezTo>
                  <a:cubicBezTo>
                    <a:pt x="9" y="3"/>
                    <a:pt x="3" y="6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8" name="Freeform 616"/>
            <p:cNvSpPr>
              <a:spLocks noChangeArrowheads="1"/>
            </p:cNvSpPr>
            <p:nvPr/>
          </p:nvSpPr>
          <p:spPr bwMode="auto">
            <a:xfrm>
              <a:off x="4289425" y="2344738"/>
              <a:ext cx="4763" cy="4762"/>
            </a:xfrm>
            <a:custGeom>
              <a:avLst/>
              <a:gdLst>
                <a:gd name="T0" fmla="*/ 0 w 15"/>
                <a:gd name="T1" fmla="*/ 11 h 15"/>
                <a:gd name="T2" fmla="*/ 11 w 15"/>
                <a:gd name="T3" fmla="*/ 14 h 15"/>
                <a:gd name="T4" fmla="*/ 14 w 15"/>
                <a:gd name="T5" fmla="*/ 9 h 15"/>
                <a:gd name="T6" fmla="*/ 11 w 15"/>
                <a:gd name="T7" fmla="*/ 0 h 15"/>
                <a:gd name="T8" fmla="*/ 0 w 15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0" y="11"/>
                  </a:moveTo>
                  <a:cubicBezTo>
                    <a:pt x="3" y="11"/>
                    <a:pt x="5" y="14"/>
                    <a:pt x="11" y="14"/>
                  </a:cubicBezTo>
                  <a:cubicBezTo>
                    <a:pt x="11" y="11"/>
                    <a:pt x="11" y="11"/>
                    <a:pt x="14" y="9"/>
                  </a:cubicBezTo>
                  <a:cubicBezTo>
                    <a:pt x="14" y="6"/>
                    <a:pt x="11" y="3"/>
                    <a:pt x="11" y="0"/>
                  </a:cubicBezTo>
                  <a:cubicBezTo>
                    <a:pt x="5" y="3"/>
                    <a:pt x="3" y="9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59" name="Freeform 617"/>
            <p:cNvSpPr>
              <a:spLocks noChangeArrowheads="1"/>
            </p:cNvSpPr>
            <p:nvPr/>
          </p:nvSpPr>
          <p:spPr bwMode="auto">
            <a:xfrm>
              <a:off x="4287838" y="2411413"/>
              <a:ext cx="3175" cy="1587"/>
            </a:xfrm>
            <a:custGeom>
              <a:avLst/>
              <a:gdLst>
                <a:gd name="T0" fmla="*/ 0 w 7"/>
                <a:gd name="T1" fmla="*/ 3 h 4"/>
                <a:gd name="T2" fmla="*/ 6 w 7"/>
                <a:gd name="T3" fmla="*/ 3 h 4"/>
                <a:gd name="T4" fmla="*/ 0 w 7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lnTo>
                    <a:pt x="6" y="3"/>
                  </a:lnTo>
                  <a:cubicBezTo>
                    <a:pt x="3" y="3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0" name="Freeform 618"/>
            <p:cNvSpPr>
              <a:spLocks noChangeArrowheads="1"/>
            </p:cNvSpPr>
            <p:nvPr/>
          </p:nvSpPr>
          <p:spPr bwMode="auto">
            <a:xfrm>
              <a:off x="4291013" y="2354263"/>
              <a:ext cx="4762" cy="3175"/>
            </a:xfrm>
            <a:custGeom>
              <a:avLst/>
              <a:gdLst>
                <a:gd name="T0" fmla="*/ 0 w 15"/>
                <a:gd name="T1" fmla="*/ 3 h 10"/>
                <a:gd name="T2" fmla="*/ 4 w 15"/>
                <a:gd name="T3" fmla="*/ 4 h 10"/>
                <a:gd name="T4" fmla="*/ 0 w 15"/>
                <a:gd name="T5" fmla="*/ 3 h 10"/>
                <a:gd name="T6" fmla="*/ 14 w 15"/>
                <a:gd name="T7" fmla="*/ 9 h 10"/>
                <a:gd name="T8" fmla="*/ 14 w 15"/>
                <a:gd name="T9" fmla="*/ 0 h 10"/>
                <a:gd name="T10" fmla="*/ 4 w 15"/>
                <a:gd name="T11" fmla="*/ 4 h 10"/>
                <a:gd name="T12" fmla="*/ 14 w 15"/>
                <a:gd name="T1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0">
                  <a:moveTo>
                    <a:pt x="0" y="3"/>
                  </a:moveTo>
                  <a:cubicBezTo>
                    <a:pt x="2" y="3"/>
                    <a:pt x="3" y="4"/>
                    <a:pt x="4" y="4"/>
                  </a:cubicBezTo>
                  <a:cubicBezTo>
                    <a:pt x="3" y="4"/>
                    <a:pt x="2" y="4"/>
                    <a:pt x="0" y="3"/>
                  </a:cubicBezTo>
                  <a:close/>
                  <a:moveTo>
                    <a:pt x="14" y="9"/>
                  </a:moveTo>
                  <a:lnTo>
                    <a:pt x="14" y="0"/>
                  </a:lnTo>
                  <a:cubicBezTo>
                    <a:pt x="7" y="0"/>
                    <a:pt x="8" y="4"/>
                    <a:pt x="4" y="4"/>
                  </a:cubicBezTo>
                  <a:cubicBezTo>
                    <a:pt x="7" y="6"/>
                    <a:pt x="10" y="9"/>
                    <a:pt x="14" y="9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1" name="Freeform 619"/>
            <p:cNvSpPr>
              <a:spLocks noChangeArrowheads="1"/>
            </p:cNvSpPr>
            <p:nvPr/>
          </p:nvSpPr>
          <p:spPr bwMode="auto">
            <a:xfrm>
              <a:off x="4283075" y="2425700"/>
              <a:ext cx="1588" cy="3175"/>
            </a:xfrm>
            <a:custGeom>
              <a:avLst/>
              <a:gdLst>
                <a:gd name="T0" fmla="*/ 0 w 6"/>
                <a:gd name="T1" fmla="*/ 2 h 9"/>
                <a:gd name="T2" fmla="*/ 5 w 6"/>
                <a:gd name="T3" fmla="*/ 8 h 9"/>
                <a:gd name="T4" fmla="*/ 0 w 6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9">
                  <a:moveTo>
                    <a:pt x="0" y="2"/>
                  </a:moveTo>
                  <a:cubicBezTo>
                    <a:pt x="0" y="5"/>
                    <a:pt x="3" y="8"/>
                    <a:pt x="5" y="8"/>
                  </a:cubicBezTo>
                  <a:cubicBezTo>
                    <a:pt x="5" y="5"/>
                    <a:pt x="5" y="0"/>
                    <a:pt x="0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2" name="Freeform 620"/>
            <p:cNvSpPr>
              <a:spLocks noChangeArrowheads="1"/>
            </p:cNvSpPr>
            <p:nvPr/>
          </p:nvSpPr>
          <p:spPr bwMode="auto">
            <a:xfrm>
              <a:off x="4284663" y="2717800"/>
              <a:ext cx="3175" cy="3175"/>
            </a:xfrm>
            <a:custGeom>
              <a:avLst/>
              <a:gdLst>
                <a:gd name="T0" fmla="*/ 3 w 7"/>
                <a:gd name="T1" fmla="*/ 0 h 10"/>
                <a:gd name="T2" fmla="*/ 0 w 7"/>
                <a:gd name="T3" fmla="*/ 6 h 10"/>
                <a:gd name="T4" fmla="*/ 6 w 7"/>
                <a:gd name="T5" fmla="*/ 9 h 10"/>
                <a:gd name="T6" fmla="*/ 3 w 7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3" y="0"/>
                  </a:moveTo>
                  <a:cubicBezTo>
                    <a:pt x="3" y="3"/>
                    <a:pt x="0" y="3"/>
                    <a:pt x="0" y="6"/>
                  </a:cubicBezTo>
                  <a:cubicBezTo>
                    <a:pt x="3" y="9"/>
                    <a:pt x="6" y="9"/>
                    <a:pt x="6" y="9"/>
                  </a:cubicBezTo>
                  <a:cubicBezTo>
                    <a:pt x="6" y="6"/>
                    <a:pt x="6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3" name="Freeform 621"/>
            <p:cNvSpPr>
              <a:spLocks noChangeArrowheads="1"/>
            </p:cNvSpPr>
            <p:nvPr/>
          </p:nvSpPr>
          <p:spPr bwMode="auto">
            <a:xfrm>
              <a:off x="4283075" y="2859088"/>
              <a:ext cx="6350" cy="4762"/>
            </a:xfrm>
            <a:custGeom>
              <a:avLst/>
              <a:gdLst>
                <a:gd name="T0" fmla="*/ 6 w 18"/>
                <a:gd name="T1" fmla="*/ 0 h 12"/>
                <a:gd name="T2" fmla="*/ 0 w 18"/>
                <a:gd name="T3" fmla="*/ 6 h 12"/>
                <a:gd name="T4" fmla="*/ 0 w 18"/>
                <a:gd name="T5" fmla="*/ 11 h 12"/>
                <a:gd name="T6" fmla="*/ 3 w 18"/>
                <a:gd name="T7" fmla="*/ 11 h 12"/>
                <a:gd name="T8" fmla="*/ 6 w 18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6" y="0"/>
                  </a:moveTo>
                  <a:cubicBezTo>
                    <a:pt x="6" y="3"/>
                    <a:pt x="3" y="3"/>
                    <a:pt x="0" y="6"/>
                  </a:cubicBezTo>
                  <a:cubicBezTo>
                    <a:pt x="0" y="9"/>
                    <a:pt x="0" y="9"/>
                    <a:pt x="0" y="11"/>
                  </a:cubicBezTo>
                  <a:lnTo>
                    <a:pt x="3" y="11"/>
                  </a:lnTo>
                  <a:cubicBezTo>
                    <a:pt x="0" y="3"/>
                    <a:pt x="17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4" name="Freeform 622"/>
            <p:cNvSpPr>
              <a:spLocks noChangeArrowheads="1"/>
            </p:cNvSpPr>
            <p:nvPr/>
          </p:nvSpPr>
          <p:spPr bwMode="auto">
            <a:xfrm>
              <a:off x="4287838" y="2560638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9 w 10"/>
                <a:gd name="T3" fmla="*/ 3 h 9"/>
                <a:gd name="T4" fmla="*/ 9 w 10"/>
                <a:gd name="T5" fmla="*/ 3 h 9"/>
                <a:gd name="T6" fmla="*/ 6 w 10"/>
                <a:gd name="T7" fmla="*/ 0 h 9"/>
                <a:gd name="T8" fmla="*/ 0 w 10"/>
                <a:gd name="T9" fmla="*/ 0 h 9"/>
                <a:gd name="T10" fmla="*/ 9 w 10"/>
                <a:gd name="T1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lnTo>
                    <a:pt x="9" y="3"/>
                  </a:lnTo>
                  <a:lnTo>
                    <a:pt x="9" y="3"/>
                  </a:lnTo>
                  <a:lnTo>
                    <a:pt x="6" y="0"/>
                  </a:lnTo>
                  <a:lnTo>
                    <a:pt x="0" y="0"/>
                  </a:lnTo>
                  <a:cubicBezTo>
                    <a:pt x="0" y="6"/>
                    <a:pt x="3" y="8"/>
                    <a:pt x="9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5" name="Freeform 623"/>
            <p:cNvSpPr>
              <a:spLocks noChangeArrowheads="1"/>
            </p:cNvSpPr>
            <p:nvPr/>
          </p:nvSpPr>
          <p:spPr bwMode="auto">
            <a:xfrm>
              <a:off x="4329113" y="2640013"/>
              <a:ext cx="4762" cy="3175"/>
            </a:xfrm>
            <a:custGeom>
              <a:avLst/>
              <a:gdLst>
                <a:gd name="T0" fmla="*/ 0 w 12"/>
                <a:gd name="T1" fmla="*/ 5 h 9"/>
                <a:gd name="T2" fmla="*/ 11 w 12"/>
                <a:gd name="T3" fmla="*/ 5 h 9"/>
                <a:gd name="T4" fmla="*/ 3 w 12"/>
                <a:gd name="T5" fmla="*/ 0 h 9"/>
                <a:gd name="T6" fmla="*/ 0 w 12"/>
                <a:gd name="T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3" y="8"/>
                    <a:pt x="8" y="8"/>
                    <a:pt x="11" y="5"/>
                  </a:cubicBezTo>
                  <a:cubicBezTo>
                    <a:pt x="8" y="3"/>
                    <a:pt x="5" y="0"/>
                    <a:pt x="3" y="0"/>
                  </a:cubicBezTo>
                  <a:cubicBezTo>
                    <a:pt x="3" y="3"/>
                    <a:pt x="0" y="5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6" name="Freeform 624"/>
            <p:cNvSpPr>
              <a:spLocks noChangeArrowheads="1"/>
            </p:cNvSpPr>
            <p:nvPr/>
          </p:nvSpPr>
          <p:spPr bwMode="auto">
            <a:xfrm>
              <a:off x="4302125" y="2138363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9 w 10"/>
                <a:gd name="T3" fmla="*/ 5 h 9"/>
                <a:gd name="T4" fmla="*/ 0 w 10"/>
                <a:gd name="T5" fmla="*/ 0 h 9"/>
                <a:gd name="T6" fmla="*/ 9 w 10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lnTo>
                    <a:pt x="9" y="5"/>
                  </a:lnTo>
                  <a:cubicBezTo>
                    <a:pt x="6" y="5"/>
                    <a:pt x="3" y="2"/>
                    <a:pt x="0" y="0"/>
                  </a:cubicBezTo>
                  <a:cubicBezTo>
                    <a:pt x="3" y="5"/>
                    <a:pt x="6" y="8"/>
                    <a:pt x="9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7" name="Freeform 625"/>
            <p:cNvSpPr>
              <a:spLocks noChangeArrowheads="1"/>
            </p:cNvSpPr>
            <p:nvPr/>
          </p:nvSpPr>
          <p:spPr bwMode="auto">
            <a:xfrm>
              <a:off x="4302125" y="2149475"/>
              <a:ext cx="23813" cy="17463"/>
            </a:xfrm>
            <a:custGeom>
              <a:avLst/>
              <a:gdLst>
                <a:gd name="T0" fmla="*/ 14 w 66"/>
                <a:gd name="T1" fmla="*/ 34 h 47"/>
                <a:gd name="T2" fmla="*/ 23 w 66"/>
                <a:gd name="T3" fmla="*/ 43 h 47"/>
                <a:gd name="T4" fmla="*/ 26 w 66"/>
                <a:gd name="T5" fmla="*/ 46 h 47"/>
                <a:gd name="T6" fmla="*/ 26 w 66"/>
                <a:gd name="T7" fmla="*/ 37 h 47"/>
                <a:gd name="T8" fmla="*/ 31 w 66"/>
                <a:gd name="T9" fmla="*/ 42 h 47"/>
                <a:gd name="T10" fmla="*/ 29 w 66"/>
                <a:gd name="T11" fmla="*/ 37 h 47"/>
                <a:gd name="T12" fmla="*/ 57 w 66"/>
                <a:gd name="T13" fmla="*/ 6 h 47"/>
                <a:gd name="T14" fmla="*/ 51 w 66"/>
                <a:gd name="T15" fmla="*/ 3 h 47"/>
                <a:gd name="T16" fmla="*/ 37 w 66"/>
                <a:gd name="T17" fmla="*/ 6 h 47"/>
                <a:gd name="T18" fmla="*/ 37 w 66"/>
                <a:gd name="T19" fmla="*/ 12 h 47"/>
                <a:gd name="T20" fmla="*/ 34 w 66"/>
                <a:gd name="T21" fmla="*/ 17 h 47"/>
                <a:gd name="T22" fmla="*/ 14 w 66"/>
                <a:gd name="T23" fmla="*/ 23 h 47"/>
                <a:gd name="T24" fmla="*/ 23 w 66"/>
                <a:gd name="T25" fmla="*/ 12 h 47"/>
                <a:gd name="T26" fmla="*/ 9 w 66"/>
                <a:gd name="T27" fmla="*/ 0 h 47"/>
                <a:gd name="T28" fmla="*/ 3 w 66"/>
                <a:gd name="T29" fmla="*/ 0 h 47"/>
                <a:gd name="T30" fmla="*/ 0 w 66"/>
                <a:gd name="T31" fmla="*/ 23 h 47"/>
                <a:gd name="T32" fmla="*/ 12 w 66"/>
                <a:gd name="T33" fmla="*/ 26 h 47"/>
                <a:gd name="T34" fmla="*/ 14 w 66"/>
                <a:gd name="T35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47">
                  <a:moveTo>
                    <a:pt x="14" y="34"/>
                  </a:moveTo>
                  <a:cubicBezTo>
                    <a:pt x="17" y="40"/>
                    <a:pt x="20" y="43"/>
                    <a:pt x="23" y="43"/>
                  </a:cubicBezTo>
                  <a:lnTo>
                    <a:pt x="26" y="46"/>
                  </a:lnTo>
                  <a:lnTo>
                    <a:pt x="26" y="37"/>
                  </a:lnTo>
                  <a:cubicBezTo>
                    <a:pt x="28" y="40"/>
                    <a:pt x="31" y="40"/>
                    <a:pt x="31" y="42"/>
                  </a:cubicBezTo>
                  <a:cubicBezTo>
                    <a:pt x="31" y="41"/>
                    <a:pt x="30" y="39"/>
                    <a:pt x="29" y="37"/>
                  </a:cubicBezTo>
                  <a:cubicBezTo>
                    <a:pt x="43" y="31"/>
                    <a:pt x="65" y="23"/>
                    <a:pt x="57" y="6"/>
                  </a:cubicBezTo>
                  <a:cubicBezTo>
                    <a:pt x="54" y="6"/>
                    <a:pt x="51" y="6"/>
                    <a:pt x="51" y="3"/>
                  </a:cubicBezTo>
                  <a:cubicBezTo>
                    <a:pt x="48" y="6"/>
                    <a:pt x="46" y="9"/>
                    <a:pt x="37" y="6"/>
                  </a:cubicBezTo>
                  <a:lnTo>
                    <a:pt x="37" y="12"/>
                  </a:lnTo>
                  <a:cubicBezTo>
                    <a:pt x="37" y="14"/>
                    <a:pt x="37" y="17"/>
                    <a:pt x="34" y="17"/>
                  </a:cubicBezTo>
                  <a:cubicBezTo>
                    <a:pt x="29" y="26"/>
                    <a:pt x="20" y="29"/>
                    <a:pt x="14" y="23"/>
                  </a:cubicBezTo>
                  <a:cubicBezTo>
                    <a:pt x="14" y="17"/>
                    <a:pt x="23" y="17"/>
                    <a:pt x="23" y="12"/>
                  </a:cubicBezTo>
                  <a:cubicBezTo>
                    <a:pt x="20" y="6"/>
                    <a:pt x="17" y="0"/>
                    <a:pt x="9" y="0"/>
                  </a:cubicBezTo>
                  <a:lnTo>
                    <a:pt x="3" y="0"/>
                  </a:lnTo>
                  <a:cubicBezTo>
                    <a:pt x="9" y="12"/>
                    <a:pt x="0" y="17"/>
                    <a:pt x="0" y="23"/>
                  </a:cubicBezTo>
                  <a:cubicBezTo>
                    <a:pt x="3" y="23"/>
                    <a:pt x="9" y="23"/>
                    <a:pt x="12" y="26"/>
                  </a:cubicBezTo>
                  <a:cubicBezTo>
                    <a:pt x="12" y="31"/>
                    <a:pt x="14" y="31"/>
                    <a:pt x="14" y="3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8" name="Freeform 626"/>
            <p:cNvSpPr>
              <a:spLocks noChangeArrowheads="1"/>
            </p:cNvSpPr>
            <p:nvPr/>
          </p:nvSpPr>
          <p:spPr bwMode="auto">
            <a:xfrm>
              <a:off x="4324350" y="2301875"/>
              <a:ext cx="3175" cy="4763"/>
            </a:xfrm>
            <a:custGeom>
              <a:avLst/>
              <a:gdLst>
                <a:gd name="T0" fmla="*/ 9 w 10"/>
                <a:gd name="T1" fmla="*/ 2 h 15"/>
                <a:gd name="T2" fmla="*/ 3 w 10"/>
                <a:gd name="T3" fmla="*/ 0 h 15"/>
                <a:gd name="T4" fmla="*/ 0 w 10"/>
                <a:gd name="T5" fmla="*/ 2 h 15"/>
                <a:gd name="T6" fmla="*/ 6 w 10"/>
                <a:gd name="T7" fmla="*/ 14 h 15"/>
                <a:gd name="T8" fmla="*/ 9 w 10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9" y="2"/>
                  </a:moveTo>
                  <a:cubicBezTo>
                    <a:pt x="9" y="2"/>
                    <a:pt x="6" y="0"/>
                    <a:pt x="3" y="0"/>
                  </a:cubicBezTo>
                  <a:lnTo>
                    <a:pt x="0" y="2"/>
                  </a:lnTo>
                  <a:cubicBezTo>
                    <a:pt x="3" y="5"/>
                    <a:pt x="6" y="11"/>
                    <a:pt x="6" y="14"/>
                  </a:cubicBezTo>
                  <a:cubicBezTo>
                    <a:pt x="9" y="8"/>
                    <a:pt x="9" y="5"/>
                    <a:pt x="9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69" name="Freeform 627"/>
            <p:cNvSpPr>
              <a:spLocks noChangeArrowheads="1"/>
            </p:cNvSpPr>
            <p:nvPr/>
          </p:nvSpPr>
          <p:spPr bwMode="auto">
            <a:xfrm>
              <a:off x="4300538" y="2146300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0" name="Freeform 628"/>
            <p:cNvSpPr>
              <a:spLocks noChangeArrowheads="1"/>
            </p:cNvSpPr>
            <p:nvPr/>
          </p:nvSpPr>
          <p:spPr bwMode="auto">
            <a:xfrm>
              <a:off x="4327525" y="2422525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0 w 7"/>
                <a:gd name="T3" fmla="*/ 3 h 7"/>
                <a:gd name="T4" fmla="*/ 6 w 7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cubicBezTo>
                    <a:pt x="6" y="0"/>
                    <a:pt x="0" y="0"/>
                    <a:pt x="0" y="3"/>
                  </a:cubicBezTo>
                  <a:cubicBezTo>
                    <a:pt x="0" y="3"/>
                    <a:pt x="3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1" name="Freeform 629"/>
            <p:cNvSpPr>
              <a:spLocks noChangeArrowheads="1"/>
            </p:cNvSpPr>
            <p:nvPr/>
          </p:nvSpPr>
          <p:spPr bwMode="auto">
            <a:xfrm>
              <a:off x="4262438" y="2324100"/>
              <a:ext cx="6350" cy="6350"/>
            </a:xfrm>
            <a:custGeom>
              <a:avLst/>
              <a:gdLst>
                <a:gd name="T0" fmla="*/ 0 w 17"/>
                <a:gd name="T1" fmla="*/ 5 h 18"/>
                <a:gd name="T2" fmla="*/ 0 w 17"/>
                <a:gd name="T3" fmla="*/ 11 h 18"/>
                <a:gd name="T4" fmla="*/ 11 w 17"/>
                <a:gd name="T5" fmla="*/ 17 h 18"/>
                <a:gd name="T6" fmla="*/ 16 w 17"/>
                <a:gd name="T7" fmla="*/ 11 h 18"/>
                <a:gd name="T8" fmla="*/ 14 w 17"/>
                <a:gd name="T9" fmla="*/ 5 h 18"/>
                <a:gd name="T10" fmla="*/ 0 w 17"/>
                <a:gd name="T11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8">
                  <a:moveTo>
                    <a:pt x="0" y="5"/>
                  </a:moveTo>
                  <a:lnTo>
                    <a:pt x="0" y="11"/>
                  </a:lnTo>
                  <a:cubicBezTo>
                    <a:pt x="5" y="17"/>
                    <a:pt x="8" y="14"/>
                    <a:pt x="11" y="17"/>
                  </a:cubicBezTo>
                  <a:cubicBezTo>
                    <a:pt x="11" y="14"/>
                    <a:pt x="14" y="11"/>
                    <a:pt x="16" y="11"/>
                  </a:cubicBezTo>
                  <a:cubicBezTo>
                    <a:pt x="16" y="8"/>
                    <a:pt x="16" y="5"/>
                    <a:pt x="14" y="5"/>
                  </a:cubicBezTo>
                  <a:cubicBezTo>
                    <a:pt x="8" y="0"/>
                    <a:pt x="5" y="2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2" name="Freeform 630"/>
            <p:cNvSpPr>
              <a:spLocks noChangeArrowheads="1"/>
            </p:cNvSpPr>
            <p:nvPr/>
          </p:nvSpPr>
          <p:spPr bwMode="auto">
            <a:xfrm>
              <a:off x="4322763" y="2852738"/>
              <a:ext cx="1587" cy="3175"/>
            </a:xfrm>
            <a:custGeom>
              <a:avLst/>
              <a:gdLst>
                <a:gd name="T0" fmla="*/ 3 w 4"/>
                <a:gd name="T1" fmla="*/ 0 h 7"/>
                <a:gd name="T2" fmla="*/ 3 w 4"/>
                <a:gd name="T3" fmla="*/ 0 h 7"/>
                <a:gd name="T4" fmla="*/ 0 w 4"/>
                <a:gd name="T5" fmla="*/ 6 h 7"/>
                <a:gd name="T6" fmla="*/ 3 w 4"/>
                <a:gd name="T7" fmla="*/ 6 h 7"/>
                <a:gd name="T8" fmla="*/ 3 w 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3" y="0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3" y="6"/>
                  </a:lnTo>
                  <a:cubicBezTo>
                    <a:pt x="3" y="3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3" name="Freeform 631"/>
            <p:cNvSpPr>
              <a:spLocks noChangeArrowheads="1"/>
            </p:cNvSpPr>
            <p:nvPr/>
          </p:nvSpPr>
          <p:spPr bwMode="auto">
            <a:xfrm>
              <a:off x="4292600" y="2146300"/>
              <a:ext cx="3175" cy="3175"/>
            </a:xfrm>
            <a:custGeom>
              <a:avLst/>
              <a:gdLst>
                <a:gd name="T0" fmla="*/ 9 w 10"/>
                <a:gd name="T1" fmla="*/ 0 h 10"/>
                <a:gd name="T2" fmla="*/ 0 w 10"/>
                <a:gd name="T3" fmla="*/ 0 h 10"/>
                <a:gd name="T4" fmla="*/ 0 w 10"/>
                <a:gd name="T5" fmla="*/ 9 h 10"/>
                <a:gd name="T6" fmla="*/ 9 w 10"/>
                <a:gd name="T7" fmla="*/ 9 h 10"/>
                <a:gd name="T8" fmla="*/ 9 w 1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9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9" y="9"/>
                  </a:lnTo>
                  <a:lnTo>
                    <a:pt x="9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4" name="Freeform 632"/>
            <p:cNvSpPr>
              <a:spLocks noChangeArrowheads="1"/>
            </p:cNvSpPr>
            <p:nvPr/>
          </p:nvSpPr>
          <p:spPr bwMode="auto">
            <a:xfrm>
              <a:off x="4294188" y="2155825"/>
              <a:ext cx="1587" cy="3175"/>
            </a:xfrm>
            <a:custGeom>
              <a:avLst/>
              <a:gdLst>
                <a:gd name="T0" fmla="*/ 0 w 4"/>
                <a:gd name="T1" fmla="*/ 0 h 7"/>
                <a:gd name="T2" fmla="*/ 0 w 4"/>
                <a:gd name="T3" fmla="*/ 6 h 7"/>
                <a:gd name="T4" fmla="*/ 0 w 4"/>
                <a:gd name="T5" fmla="*/ 6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cubicBezTo>
                    <a:pt x="0" y="0"/>
                    <a:pt x="0" y="3"/>
                    <a:pt x="0" y="6"/>
                  </a:cubicBezTo>
                  <a:lnTo>
                    <a:pt x="0" y="6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5" name="Freeform 633"/>
            <p:cNvSpPr>
              <a:spLocks noChangeArrowheads="1"/>
            </p:cNvSpPr>
            <p:nvPr/>
          </p:nvSpPr>
          <p:spPr bwMode="auto">
            <a:xfrm>
              <a:off x="4284663" y="2139950"/>
              <a:ext cx="6350" cy="4763"/>
            </a:xfrm>
            <a:custGeom>
              <a:avLst/>
              <a:gdLst>
                <a:gd name="T0" fmla="*/ 17 w 18"/>
                <a:gd name="T1" fmla="*/ 11 h 15"/>
                <a:gd name="T2" fmla="*/ 6 w 18"/>
                <a:gd name="T3" fmla="*/ 0 h 15"/>
                <a:gd name="T4" fmla="*/ 17 w 18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7" y="11"/>
                  </a:moveTo>
                  <a:cubicBezTo>
                    <a:pt x="17" y="3"/>
                    <a:pt x="15" y="0"/>
                    <a:pt x="6" y="0"/>
                  </a:cubicBezTo>
                  <a:cubicBezTo>
                    <a:pt x="0" y="3"/>
                    <a:pt x="6" y="14"/>
                    <a:pt x="17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6" name="Freeform 634"/>
            <p:cNvSpPr>
              <a:spLocks noChangeArrowheads="1"/>
            </p:cNvSpPr>
            <p:nvPr/>
          </p:nvSpPr>
          <p:spPr bwMode="auto">
            <a:xfrm>
              <a:off x="4308475" y="2965450"/>
              <a:ext cx="14288" cy="11113"/>
            </a:xfrm>
            <a:custGeom>
              <a:avLst/>
              <a:gdLst>
                <a:gd name="T0" fmla="*/ 37 w 38"/>
                <a:gd name="T1" fmla="*/ 9 h 30"/>
                <a:gd name="T2" fmla="*/ 0 w 38"/>
                <a:gd name="T3" fmla="*/ 17 h 30"/>
                <a:gd name="T4" fmla="*/ 29 w 38"/>
                <a:gd name="T5" fmla="*/ 14 h 30"/>
                <a:gd name="T6" fmla="*/ 32 w 38"/>
                <a:gd name="T7" fmla="*/ 29 h 30"/>
                <a:gd name="T8" fmla="*/ 34 w 38"/>
                <a:gd name="T9" fmla="*/ 26 h 30"/>
                <a:gd name="T10" fmla="*/ 37 w 38"/>
                <a:gd name="T11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30">
                  <a:moveTo>
                    <a:pt x="37" y="9"/>
                  </a:moveTo>
                  <a:cubicBezTo>
                    <a:pt x="23" y="0"/>
                    <a:pt x="6" y="6"/>
                    <a:pt x="0" y="17"/>
                  </a:cubicBezTo>
                  <a:cubicBezTo>
                    <a:pt x="12" y="17"/>
                    <a:pt x="17" y="12"/>
                    <a:pt x="29" y="14"/>
                  </a:cubicBezTo>
                  <a:cubicBezTo>
                    <a:pt x="29" y="17"/>
                    <a:pt x="26" y="29"/>
                    <a:pt x="32" y="29"/>
                  </a:cubicBezTo>
                  <a:cubicBezTo>
                    <a:pt x="32" y="26"/>
                    <a:pt x="34" y="26"/>
                    <a:pt x="34" y="26"/>
                  </a:cubicBezTo>
                  <a:cubicBezTo>
                    <a:pt x="32" y="20"/>
                    <a:pt x="34" y="14"/>
                    <a:pt x="37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7" name="Freeform 635"/>
            <p:cNvSpPr>
              <a:spLocks noChangeArrowheads="1"/>
            </p:cNvSpPr>
            <p:nvPr/>
          </p:nvSpPr>
          <p:spPr bwMode="auto">
            <a:xfrm>
              <a:off x="4311650" y="2709863"/>
              <a:ext cx="1588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0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0"/>
                    <a:pt x="3" y="0"/>
                  </a:cubicBezTo>
                  <a:lnTo>
                    <a:pt x="0" y="0"/>
                  </a:lnTo>
                  <a:cubicBezTo>
                    <a:pt x="0" y="3"/>
                    <a:pt x="0" y="3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8" name="Freeform 636"/>
            <p:cNvSpPr>
              <a:spLocks noChangeArrowheads="1"/>
            </p:cNvSpPr>
            <p:nvPr/>
          </p:nvSpPr>
          <p:spPr bwMode="auto">
            <a:xfrm>
              <a:off x="4306888" y="2940050"/>
              <a:ext cx="4762" cy="4763"/>
            </a:xfrm>
            <a:custGeom>
              <a:avLst/>
              <a:gdLst>
                <a:gd name="T0" fmla="*/ 11 w 12"/>
                <a:gd name="T1" fmla="*/ 11 h 15"/>
                <a:gd name="T2" fmla="*/ 2 w 12"/>
                <a:gd name="T3" fmla="*/ 3 h 15"/>
                <a:gd name="T4" fmla="*/ 11 w 12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1" y="11"/>
                  </a:moveTo>
                  <a:cubicBezTo>
                    <a:pt x="11" y="5"/>
                    <a:pt x="11" y="0"/>
                    <a:pt x="2" y="3"/>
                  </a:cubicBezTo>
                  <a:cubicBezTo>
                    <a:pt x="0" y="5"/>
                    <a:pt x="2" y="14"/>
                    <a:pt x="11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9" name="Freeform 637"/>
            <p:cNvSpPr>
              <a:spLocks noChangeArrowheads="1"/>
            </p:cNvSpPr>
            <p:nvPr/>
          </p:nvSpPr>
          <p:spPr bwMode="auto">
            <a:xfrm>
              <a:off x="4308475" y="2684463"/>
              <a:ext cx="3175" cy="4762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9 h 15"/>
                <a:gd name="T4" fmla="*/ 9 w 10"/>
                <a:gd name="T5" fmla="*/ 14 h 15"/>
                <a:gd name="T6" fmla="*/ 0 w 10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0" y="6"/>
                    <a:pt x="0" y="6"/>
                    <a:pt x="0" y="9"/>
                  </a:cubicBezTo>
                  <a:cubicBezTo>
                    <a:pt x="6" y="9"/>
                    <a:pt x="6" y="11"/>
                    <a:pt x="9" y="14"/>
                  </a:cubicBezTo>
                  <a:cubicBezTo>
                    <a:pt x="9" y="6"/>
                    <a:pt x="9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0" name="Freeform 638"/>
            <p:cNvSpPr>
              <a:spLocks noChangeArrowheads="1"/>
            </p:cNvSpPr>
            <p:nvPr/>
          </p:nvSpPr>
          <p:spPr bwMode="auto">
            <a:xfrm>
              <a:off x="4313238" y="2171700"/>
              <a:ext cx="6350" cy="4763"/>
            </a:xfrm>
            <a:custGeom>
              <a:avLst/>
              <a:gdLst>
                <a:gd name="T0" fmla="*/ 0 w 18"/>
                <a:gd name="T1" fmla="*/ 14 h 15"/>
                <a:gd name="T2" fmla="*/ 17 w 18"/>
                <a:gd name="T3" fmla="*/ 5 h 15"/>
                <a:gd name="T4" fmla="*/ 0 w 18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0" y="14"/>
                  </a:moveTo>
                  <a:cubicBezTo>
                    <a:pt x="9" y="14"/>
                    <a:pt x="17" y="14"/>
                    <a:pt x="17" y="5"/>
                  </a:cubicBezTo>
                  <a:cubicBezTo>
                    <a:pt x="9" y="0"/>
                    <a:pt x="3" y="8"/>
                    <a:pt x="0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1" name="Freeform 639"/>
            <p:cNvSpPr>
              <a:spLocks noChangeArrowheads="1"/>
            </p:cNvSpPr>
            <p:nvPr/>
          </p:nvSpPr>
          <p:spPr bwMode="auto">
            <a:xfrm>
              <a:off x="4316413" y="2184400"/>
              <a:ext cx="3175" cy="4763"/>
            </a:xfrm>
            <a:custGeom>
              <a:avLst/>
              <a:gdLst>
                <a:gd name="T0" fmla="*/ 8 w 9"/>
                <a:gd name="T1" fmla="*/ 12 h 13"/>
                <a:gd name="T2" fmla="*/ 0 w 9"/>
                <a:gd name="T3" fmla="*/ 0 h 13"/>
                <a:gd name="T4" fmla="*/ 8 w 9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3">
                  <a:moveTo>
                    <a:pt x="8" y="12"/>
                  </a:moveTo>
                  <a:cubicBezTo>
                    <a:pt x="8" y="3"/>
                    <a:pt x="6" y="3"/>
                    <a:pt x="0" y="0"/>
                  </a:cubicBezTo>
                  <a:cubicBezTo>
                    <a:pt x="0" y="6"/>
                    <a:pt x="3" y="9"/>
                    <a:pt x="8" y="1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2" name="Freeform 640"/>
            <p:cNvSpPr>
              <a:spLocks noChangeArrowheads="1"/>
            </p:cNvSpPr>
            <p:nvPr/>
          </p:nvSpPr>
          <p:spPr bwMode="auto">
            <a:xfrm>
              <a:off x="4313238" y="2535238"/>
              <a:ext cx="6350" cy="3175"/>
            </a:xfrm>
            <a:custGeom>
              <a:avLst/>
              <a:gdLst>
                <a:gd name="T0" fmla="*/ 9 w 16"/>
                <a:gd name="T1" fmla="*/ 9 h 10"/>
                <a:gd name="T2" fmla="*/ 15 w 16"/>
                <a:gd name="T3" fmla="*/ 3 h 10"/>
                <a:gd name="T4" fmla="*/ 9 w 16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0">
                  <a:moveTo>
                    <a:pt x="9" y="9"/>
                  </a:moveTo>
                  <a:cubicBezTo>
                    <a:pt x="9" y="6"/>
                    <a:pt x="12" y="6"/>
                    <a:pt x="15" y="3"/>
                  </a:cubicBezTo>
                  <a:cubicBezTo>
                    <a:pt x="9" y="0"/>
                    <a:pt x="0" y="9"/>
                    <a:pt x="9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3" name="Freeform 641"/>
            <p:cNvSpPr>
              <a:spLocks noChangeArrowheads="1"/>
            </p:cNvSpPr>
            <p:nvPr/>
          </p:nvSpPr>
          <p:spPr bwMode="auto">
            <a:xfrm>
              <a:off x="4332288" y="2990850"/>
              <a:ext cx="4762" cy="3175"/>
            </a:xfrm>
            <a:custGeom>
              <a:avLst/>
              <a:gdLst>
                <a:gd name="T0" fmla="*/ 3 w 12"/>
                <a:gd name="T1" fmla="*/ 0 h 10"/>
                <a:gd name="T2" fmla="*/ 11 w 12"/>
                <a:gd name="T3" fmla="*/ 9 h 10"/>
                <a:gd name="T4" fmla="*/ 3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3" y="0"/>
                  </a:moveTo>
                  <a:cubicBezTo>
                    <a:pt x="0" y="3"/>
                    <a:pt x="6" y="6"/>
                    <a:pt x="11" y="9"/>
                  </a:cubicBezTo>
                  <a:cubicBezTo>
                    <a:pt x="11" y="3"/>
                    <a:pt x="9" y="0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4" name="Freeform 642"/>
            <p:cNvSpPr>
              <a:spLocks noChangeArrowheads="1"/>
            </p:cNvSpPr>
            <p:nvPr/>
          </p:nvSpPr>
          <p:spPr bwMode="auto">
            <a:xfrm>
              <a:off x="4333875" y="2974975"/>
              <a:ext cx="1588" cy="317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6 h 7"/>
                <a:gd name="T4" fmla="*/ 3 w 6"/>
                <a:gd name="T5" fmla="*/ 6 h 7"/>
                <a:gd name="T6" fmla="*/ 5 w 6"/>
                <a:gd name="T7" fmla="*/ 0 h 7"/>
                <a:gd name="T8" fmla="*/ 5 w 6"/>
                <a:gd name="T9" fmla="*/ 0 h 7"/>
                <a:gd name="T10" fmla="*/ 0 w 6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cubicBezTo>
                    <a:pt x="5" y="6"/>
                    <a:pt x="5" y="3"/>
                    <a:pt x="5" y="0"/>
                  </a:cubicBez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5" name="Freeform 643"/>
            <p:cNvSpPr>
              <a:spLocks noChangeArrowheads="1"/>
            </p:cNvSpPr>
            <p:nvPr/>
          </p:nvSpPr>
          <p:spPr bwMode="auto">
            <a:xfrm>
              <a:off x="4330700" y="2965450"/>
              <a:ext cx="4763" cy="4763"/>
            </a:xfrm>
            <a:custGeom>
              <a:avLst/>
              <a:gdLst>
                <a:gd name="T0" fmla="*/ 14 w 15"/>
                <a:gd name="T1" fmla="*/ 2 h 12"/>
                <a:gd name="T2" fmla="*/ 3 w 15"/>
                <a:gd name="T3" fmla="*/ 2 h 12"/>
                <a:gd name="T4" fmla="*/ 14 w 15"/>
                <a:gd name="T5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14" y="2"/>
                  </a:moveTo>
                  <a:cubicBezTo>
                    <a:pt x="6" y="2"/>
                    <a:pt x="9" y="0"/>
                    <a:pt x="3" y="2"/>
                  </a:cubicBezTo>
                  <a:cubicBezTo>
                    <a:pt x="0" y="11"/>
                    <a:pt x="14" y="11"/>
                    <a:pt x="14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6" name="Freeform 644"/>
            <p:cNvSpPr>
              <a:spLocks noChangeArrowheads="1"/>
            </p:cNvSpPr>
            <p:nvPr/>
          </p:nvSpPr>
          <p:spPr bwMode="auto">
            <a:xfrm>
              <a:off x="4319588" y="2971800"/>
              <a:ext cx="4762" cy="3175"/>
            </a:xfrm>
            <a:custGeom>
              <a:avLst/>
              <a:gdLst>
                <a:gd name="T0" fmla="*/ 0 w 13"/>
                <a:gd name="T1" fmla="*/ 6 h 10"/>
                <a:gd name="T2" fmla="*/ 0 w 13"/>
                <a:gd name="T3" fmla="*/ 6 h 10"/>
                <a:gd name="T4" fmla="*/ 6 w 13"/>
                <a:gd name="T5" fmla="*/ 6 h 10"/>
                <a:gd name="T6" fmla="*/ 9 w 13"/>
                <a:gd name="T7" fmla="*/ 9 h 10"/>
                <a:gd name="T8" fmla="*/ 12 w 13"/>
                <a:gd name="T9" fmla="*/ 9 h 10"/>
                <a:gd name="T10" fmla="*/ 0 w 13"/>
                <a:gd name="T1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0">
                  <a:moveTo>
                    <a:pt x="0" y="6"/>
                  </a:moveTo>
                  <a:cubicBezTo>
                    <a:pt x="0" y="6"/>
                    <a:pt x="3" y="6"/>
                    <a:pt x="0" y="6"/>
                  </a:cubicBezTo>
                  <a:cubicBezTo>
                    <a:pt x="3" y="6"/>
                    <a:pt x="3" y="6"/>
                    <a:pt x="6" y="6"/>
                  </a:cubicBezTo>
                  <a:cubicBezTo>
                    <a:pt x="6" y="6"/>
                    <a:pt x="6" y="9"/>
                    <a:pt x="9" y="9"/>
                  </a:cubicBezTo>
                  <a:lnTo>
                    <a:pt x="12" y="9"/>
                  </a:lnTo>
                  <a:cubicBezTo>
                    <a:pt x="12" y="3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7" name="Freeform 645"/>
            <p:cNvSpPr>
              <a:spLocks noChangeArrowheads="1"/>
            </p:cNvSpPr>
            <p:nvPr/>
          </p:nvSpPr>
          <p:spPr bwMode="auto">
            <a:xfrm>
              <a:off x="4324350" y="2643188"/>
              <a:ext cx="1588" cy="1587"/>
            </a:xfrm>
            <a:custGeom>
              <a:avLst/>
              <a:gdLst>
                <a:gd name="T0" fmla="*/ 0 w 3"/>
                <a:gd name="T1" fmla="*/ 0 h 4"/>
                <a:gd name="T2" fmla="*/ 2 w 3"/>
                <a:gd name="T3" fmla="*/ 3 h 4"/>
                <a:gd name="T4" fmla="*/ 0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cubicBezTo>
                    <a:pt x="0" y="0"/>
                    <a:pt x="2" y="0"/>
                    <a:pt x="2" y="3"/>
                  </a:cubicBezTo>
                  <a:cubicBezTo>
                    <a:pt x="2" y="0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8" name="Freeform 646"/>
            <p:cNvSpPr>
              <a:spLocks noChangeArrowheads="1"/>
            </p:cNvSpPr>
            <p:nvPr/>
          </p:nvSpPr>
          <p:spPr bwMode="auto">
            <a:xfrm>
              <a:off x="4324350" y="2609850"/>
              <a:ext cx="3175" cy="3175"/>
            </a:xfrm>
            <a:custGeom>
              <a:avLst/>
              <a:gdLst>
                <a:gd name="T0" fmla="*/ 5 w 9"/>
                <a:gd name="T1" fmla="*/ 0 h 10"/>
                <a:gd name="T2" fmla="*/ 0 w 9"/>
                <a:gd name="T3" fmla="*/ 3 h 10"/>
                <a:gd name="T4" fmla="*/ 0 w 9"/>
                <a:gd name="T5" fmla="*/ 9 h 10"/>
                <a:gd name="T6" fmla="*/ 5 w 9"/>
                <a:gd name="T7" fmla="*/ 9 h 10"/>
                <a:gd name="T8" fmla="*/ 5 w 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cubicBezTo>
                    <a:pt x="2" y="0"/>
                    <a:pt x="0" y="0"/>
                    <a:pt x="0" y="3"/>
                  </a:cubicBezTo>
                  <a:cubicBezTo>
                    <a:pt x="0" y="6"/>
                    <a:pt x="0" y="6"/>
                    <a:pt x="0" y="9"/>
                  </a:cubicBezTo>
                  <a:lnTo>
                    <a:pt x="5" y="9"/>
                  </a:lnTo>
                  <a:cubicBezTo>
                    <a:pt x="5" y="3"/>
                    <a:pt x="8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89" name="Freeform 647"/>
            <p:cNvSpPr>
              <a:spLocks noChangeArrowheads="1"/>
            </p:cNvSpPr>
            <p:nvPr/>
          </p:nvSpPr>
          <p:spPr bwMode="auto">
            <a:xfrm>
              <a:off x="4327525" y="2720975"/>
              <a:ext cx="3175" cy="1588"/>
            </a:xfrm>
            <a:custGeom>
              <a:avLst/>
              <a:gdLst>
                <a:gd name="T0" fmla="*/ 0 w 10"/>
                <a:gd name="T1" fmla="*/ 0 h 6"/>
                <a:gd name="T2" fmla="*/ 6 w 10"/>
                <a:gd name="T3" fmla="*/ 5 h 6"/>
                <a:gd name="T4" fmla="*/ 9 w 10"/>
                <a:gd name="T5" fmla="*/ 3 h 6"/>
                <a:gd name="T6" fmla="*/ 0 w 1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6">
                  <a:moveTo>
                    <a:pt x="0" y="0"/>
                  </a:moveTo>
                  <a:cubicBezTo>
                    <a:pt x="0" y="3"/>
                    <a:pt x="0" y="5"/>
                    <a:pt x="6" y="5"/>
                  </a:cubicBezTo>
                  <a:cubicBezTo>
                    <a:pt x="6" y="5"/>
                    <a:pt x="9" y="5"/>
                    <a:pt x="9" y="3"/>
                  </a:cubicBezTo>
                  <a:cubicBezTo>
                    <a:pt x="6" y="3"/>
                    <a:pt x="6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0" name="Freeform 648"/>
            <p:cNvSpPr>
              <a:spLocks noChangeArrowheads="1"/>
            </p:cNvSpPr>
            <p:nvPr/>
          </p:nvSpPr>
          <p:spPr bwMode="auto">
            <a:xfrm>
              <a:off x="4065588" y="2649538"/>
              <a:ext cx="3175" cy="1587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0 w 7"/>
                <a:gd name="T5" fmla="*/ 3 h 4"/>
                <a:gd name="T6" fmla="*/ 6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0" y="0"/>
                    <a:pt x="0" y="0"/>
                  </a:cubicBezTo>
                  <a:lnTo>
                    <a:pt x="0" y="3"/>
                  </a:lnTo>
                  <a:cubicBezTo>
                    <a:pt x="0" y="3"/>
                    <a:pt x="3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1" name="Freeform 649"/>
            <p:cNvSpPr>
              <a:spLocks noChangeArrowheads="1"/>
            </p:cNvSpPr>
            <p:nvPr/>
          </p:nvSpPr>
          <p:spPr bwMode="auto">
            <a:xfrm>
              <a:off x="4075113" y="2495550"/>
              <a:ext cx="3175" cy="6350"/>
            </a:xfrm>
            <a:custGeom>
              <a:avLst/>
              <a:gdLst>
                <a:gd name="T0" fmla="*/ 9 w 10"/>
                <a:gd name="T1" fmla="*/ 0 h 16"/>
                <a:gd name="T2" fmla="*/ 0 w 10"/>
                <a:gd name="T3" fmla="*/ 12 h 16"/>
                <a:gd name="T4" fmla="*/ 9 w 10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9" y="0"/>
                  </a:moveTo>
                  <a:cubicBezTo>
                    <a:pt x="3" y="0"/>
                    <a:pt x="3" y="6"/>
                    <a:pt x="0" y="12"/>
                  </a:cubicBezTo>
                  <a:cubicBezTo>
                    <a:pt x="9" y="15"/>
                    <a:pt x="9" y="6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2" name="Freeform 650"/>
            <p:cNvSpPr>
              <a:spLocks noChangeArrowheads="1"/>
            </p:cNvSpPr>
            <p:nvPr/>
          </p:nvSpPr>
          <p:spPr bwMode="auto">
            <a:xfrm>
              <a:off x="4041775" y="2146300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3 w 7"/>
                <a:gd name="T3" fmla="*/ 0 h 7"/>
                <a:gd name="T4" fmla="*/ 3 w 7"/>
                <a:gd name="T5" fmla="*/ 0 h 7"/>
                <a:gd name="T6" fmla="*/ 0 w 7"/>
                <a:gd name="T7" fmla="*/ 3 h 7"/>
                <a:gd name="T8" fmla="*/ 3 w 7"/>
                <a:gd name="T9" fmla="*/ 6 h 7"/>
                <a:gd name="T10" fmla="*/ 6 w 7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cubicBezTo>
                    <a:pt x="6" y="3"/>
                    <a:pt x="6" y="0"/>
                    <a:pt x="3" y="0"/>
                  </a:cubicBezTo>
                  <a:lnTo>
                    <a:pt x="3" y="0"/>
                  </a:lnTo>
                  <a:cubicBezTo>
                    <a:pt x="3" y="3"/>
                    <a:pt x="3" y="3"/>
                    <a:pt x="0" y="3"/>
                  </a:cubicBezTo>
                  <a:cubicBezTo>
                    <a:pt x="0" y="3"/>
                    <a:pt x="0" y="6"/>
                    <a:pt x="3" y="6"/>
                  </a:cubicBezTo>
                  <a:lnTo>
                    <a:pt x="6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3" name="Freeform 651"/>
            <p:cNvSpPr>
              <a:spLocks noChangeArrowheads="1"/>
            </p:cNvSpPr>
            <p:nvPr/>
          </p:nvSpPr>
          <p:spPr bwMode="auto">
            <a:xfrm>
              <a:off x="4064000" y="2890838"/>
              <a:ext cx="3175" cy="1587"/>
            </a:xfrm>
            <a:custGeom>
              <a:avLst/>
              <a:gdLst>
                <a:gd name="T0" fmla="*/ 6 w 7"/>
                <a:gd name="T1" fmla="*/ 2 h 6"/>
                <a:gd name="T2" fmla="*/ 0 w 7"/>
                <a:gd name="T3" fmla="*/ 0 h 6"/>
                <a:gd name="T4" fmla="*/ 6 w 7"/>
                <a:gd name="T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2"/>
                  </a:moveTo>
                  <a:cubicBezTo>
                    <a:pt x="6" y="0"/>
                    <a:pt x="3" y="0"/>
                    <a:pt x="0" y="0"/>
                  </a:cubicBezTo>
                  <a:cubicBezTo>
                    <a:pt x="0" y="0"/>
                    <a:pt x="6" y="5"/>
                    <a:pt x="6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4" name="Freeform 652"/>
            <p:cNvSpPr>
              <a:spLocks noChangeArrowheads="1"/>
            </p:cNvSpPr>
            <p:nvPr/>
          </p:nvSpPr>
          <p:spPr bwMode="auto">
            <a:xfrm>
              <a:off x="4049713" y="2984500"/>
              <a:ext cx="6350" cy="7938"/>
            </a:xfrm>
            <a:custGeom>
              <a:avLst/>
              <a:gdLst>
                <a:gd name="T0" fmla="*/ 0 w 18"/>
                <a:gd name="T1" fmla="*/ 6 h 21"/>
                <a:gd name="T2" fmla="*/ 0 w 18"/>
                <a:gd name="T3" fmla="*/ 20 h 21"/>
                <a:gd name="T4" fmla="*/ 17 w 18"/>
                <a:gd name="T5" fmla="*/ 0 h 21"/>
                <a:gd name="T6" fmla="*/ 0 w 18"/>
                <a:gd name="T7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0" y="6"/>
                  </a:moveTo>
                  <a:lnTo>
                    <a:pt x="0" y="20"/>
                  </a:lnTo>
                  <a:cubicBezTo>
                    <a:pt x="8" y="17"/>
                    <a:pt x="17" y="11"/>
                    <a:pt x="17" y="0"/>
                  </a:cubicBezTo>
                  <a:cubicBezTo>
                    <a:pt x="8" y="0"/>
                    <a:pt x="11" y="9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5" name="Freeform 653"/>
            <p:cNvSpPr>
              <a:spLocks noChangeArrowheads="1"/>
            </p:cNvSpPr>
            <p:nvPr/>
          </p:nvSpPr>
          <p:spPr bwMode="auto">
            <a:xfrm>
              <a:off x="4064000" y="3065463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6 h 7"/>
                <a:gd name="T4" fmla="*/ 9 w 10"/>
                <a:gd name="T5" fmla="*/ 0 h 7"/>
                <a:gd name="T6" fmla="*/ 0 w 10"/>
                <a:gd name="T7" fmla="*/ 0 h 7"/>
                <a:gd name="T8" fmla="*/ 0 w 10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lnTo>
                    <a:pt x="9" y="6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6" name="Freeform 654"/>
            <p:cNvSpPr>
              <a:spLocks noChangeArrowheads="1"/>
            </p:cNvSpPr>
            <p:nvPr/>
          </p:nvSpPr>
          <p:spPr bwMode="auto">
            <a:xfrm>
              <a:off x="4046538" y="2649538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0 h 7"/>
                <a:gd name="T4" fmla="*/ 0 w 10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cubicBezTo>
                    <a:pt x="3" y="6"/>
                    <a:pt x="6" y="3"/>
                    <a:pt x="9" y="0"/>
                  </a:cubicBezTo>
                  <a:cubicBezTo>
                    <a:pt x="3" y="0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7" name="Freeform 655"/>
            <p:cNvSpPr>
              <a:spLocks noChangeArrowheads="1"/>
            </p:cNvSpPr>
            <p:nvPr/>
          </p:nvSpPr>
          <p:spPr bwMode="auto">
            <a:xfrm>
              <a:off x="4043363" y="2892425"/>
              <a:ext cx="3175" cy="3175"/>
            </a:xfrm>
            <a:custGeom>
              <a:avLst/>
              <a:gdLst>
                <a:gd name="T0" fmla="*/ 8 w 9"/>
                <a:gd name="T1" fmla="*/ 6 h 7"/>
                <a:gd name="T2" fmla="*/ 8 w 9"/>
                <a:gd name="T3" fmla="*/ 0 h 7"/>
                <a:gd name="T4" fmla="*/ 0 w 9"/>
                <a:gd name="T5" fmla="*/ 0 h 7"/>
                <a:gd name="T6" fmla="*/ 8 w 9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8" y="6"/>
                  </a:moveTo>
                  <a:cubicBezTo>
                    <a:pt x="8" y="3"/>
                    <a:pt x="8" y="0"/>
                    <a:pt x="8" y="0"/>
                  </a:cubicBezTo>
                  <a:cubicBezTo>
                    <a:pt x="6" y="0"/>
                    <a:pt x="3" y="0"/>
                    <a:pt x="0" y="0"/>
                  </a:cubicBezTo>
                  <a:cubicBezTo>
                    <a:pt x="0" y="3"/>
                    <a:pt x="3" y="6"/>
                    <a:pt x="8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8" name="Freeform 656"/>
            <p:cNvSpPr>
              <a:spLocks noChangeArrowheads="1"/>
            </p:cNvSpPr>
            <p:nvPr/>
          </p:nvSpPr>
          <p:spPr bwMode="auto">
            <a:xfrm>
              <a:off x="4056063" y="2273300"/>
              <a:ext cx="4762" cy="1588"/>
            </a:xfrm>
            <a:custGeom>
              <a:avLst/>
              <a:gdLst>
                <a:gd name="T0" fmla="*/ 11 w 12"/>
                <a:gd name="T1" fmla="*/ 0 h 6"/>
                <a:gd name="T2" fmla="*/ 11 w 12"/>
                <a:gd name="T3" fmla="*/ 0 h 6"/>
                <a:gd name="T4" fmla="*/ 0 w 12"/>
                <a:gd name="T5" fmla="*/ 3 h 6"/>
                <a:gd name="T6" fmla="*/ 11 w 1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1" y="0"/>
                  </a:moveTo>
                  <a:lnTo>
                    <a:pt x="11" y="0"/>
                  </a:lnTo>
                  <a:cubicBezTo>
                    <a:pt x="3" y="3"/>
                    <a:pt x="3" y="3"/>
                    <a:pt x="0" y="3"/>
                  </a:cubicBezTo>
                  <a:cubicBezTo>
                    <a:pt x="6" y="5"/>
                    <a:pt x="11" y="5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99" name="Freeform 657"/>
            <p:cNvSpPr>
              <a:spLocks noChangeArrowheads="1"/>
            </p:cNvSpPr>
            <p:nvPr/>
          </p:nvSpPr>
          <p:spPr bwMode="auto">
            <a:xfrm>
              <a:off x="4043363" y="2168525"/>
              <a:ext cx="3175" cy="3175"/>
            </a:xfrm>
            <a:custGeom>
              <a:avLst/>
              <a:gdLst>
                <a:gd name="T0" fmla="*/ 6 w 7"/>
                <a:gd name="T1" fmla="*/ 6 h 10"/>
                <a:gd name="T2" fmla="*/ 6 w 7"/>
                <a:gd name="T3" fmla="*/ 0 h 10"/>
                <a:gd name="T4" fmla="*/ 0 w 7"/>
                <a:gd name="T5" fmla="*/ 9 h 10"/>
                <a:gd name="T6" fmla="*/ 6 w 7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6" y="6"/>
                  </a:moveTo>
                  <a:cubicBezTo>
                    <a:pt x="6" y="3"/>
                    <a:pt x="6" y="0"/>
                    <a:pt x="6" y="0"/>
                  </a:cubicBezTo>
                  <a:cubicBezTo>
                    <a:pt x="3" y="3"/>
                    <a:pt x="0" y="6"/>
                    <a:pt x="0" y="9"/>
                  </a:cubicBezTo>
                  <a:cubicBezTo>
                    <a:pt x="0" y="6"/>
                    <a:pt x="3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0" name="Freeform 658"/>
            <p:cNvSpPr>
              <a:spLocks noChangeArrowheads="1"/>
            </p:cNvSpPr>
            <p:nvPr/>
          </p:nvSpPr>
          <p:spPr bwMode="auto">
            <a:xfrm>
              <a:off x="4046538" y="2576513"/>
              <a:ext cx="3175" cy="3175"/>
            </a:xfrm>
            <a:custGeom>
              <a:avLst/>
              <a:gdLst>
                <a:gd name="T0" fmla="*/ 6 w 10"/>
                <a:gd name="T1" fmla="*/ 0 h 7"/>
                <a:gd name="T2" fmla="*/ 0 w 10"/>
                <a:gd name="T3" fmla="*/ 6 h 7"/>
                <a:gd name="T4" fmla="*/ 9 w 10"/>
                <a:gd name="T5" fmla="*/ 6 h 7"/>
                <a:gd name="T6" fmla="*/ 6 w 10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6" y="0"/>
                  </a:moveTo>
                  <a:cubicBezTo>
                    <a:pt x="3" y="0"/>
                    <a:pt x="3" y="3"/>
                    <a:pt x="0" y="6"/>
                  </a:cubicBezTo>
                  <a:cubicBezTo>
                    <a:pt x="3" y="6"/>
                    <a:pt x="6" y="6"/>
                    <a:pt x="9" y="6"/>
                  </a:cubicBezTo>
                  <a:cubicBezTo>
                    <a:pt x="9" y="3"/>
                    <a:pt x="9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1" name="Freeform 659"/>
            <p:cNvSpPr>
              <a:spLocks noChangeArrowheads="1"/>
            </p:cNvSpPr>
            <p:nvPr/>
          </p:nvSpPr>
          <p:spPr bwMode="auto">
            <a:xfrm>
              <a:off x="4054475" y="2405063"/>
              <a:ext cx="3175" cy="4762"/>
            </a:xfrm>
            <a:custGeom>
              <a:avLst/>
              <a:gdLst>
                <a:gd name="T0" fmla="*/ 6 w 7"/>
                <a:gd name="T1" fmla="*/ 6 h 13"/>
                <a:gd name="T2" fmla="*/ 0 w 7"/>
                <a:gd name="T3" fmla="*/ 0 h 13"/>
                <a:gd name="T4" fmla="*/ 3 w 7"/>
                <a:gd name="T5" fmla="*/ 12 h 13"/>
                <a:gd name="T6" fmla="*/ 6 w 7"/>
                <a:gd name="T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3">
                  <a:moveTo>
                    <a:pt x="6" y="6"/>
                  </a:moveTo>
                  <a:cubicBezTo>
                    <a:pt x="3" y="3"/>
                    <a:pt x="0" y="3"/>
                    <a:pt x="0" y="0"/>
                  </a:cubicBezTo>
                  <a:cubicBezTo>
                    <a:pt x="0" y="3"/>
                    <a:pt x="0" y="9"/>
                    <a:pt x="3" y="12"/>
                  </a:cubicBezTo>
                  <a:cubicBezTo>
                    <a:pt x="3" y="9"/>
                    <a:pt x="6" y="9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2" name="Freeform 660"/>
            <p:cNvSpPr>
              <a:spLocks noChangeArrowheads="1"/>
            </p:cNvSpPr>
            <p:nvPr/>
          </p:nvSpPr>
          <p:spPr bwMode="auto">
            <a:xfrm>
              <a:off x="4049713" y="2511425"/>
              <a:ext cx="4762" cy="11113"/>
            </a:xfrm>
            <a:custGeom>
              <a:avLst/>
              <a:gdLst>
                <a:gd name="T0" fmla="*/ 3 w 15"/>
                <a:gd name="T1" fmla="*/ 17 h 29"/>
                <a:gd name="T2" fmla="*/ 8 w 15"/>
                <a:gd name="T3" fmla="*/ 28 h 29"/>
                <a:gd name="T4" fmla="*/ 11 w 15"/>
                <a:gd name="T5" fmla="*/ 8 h 29"/>
                <a:gd name="T6" fmla="*/ 3 w 15"/>
                <a:gd name="T7" fmla="*/ 0 h 29"/>
                <a:gd name="T8" fmla="*/ 0 w 15"/>
                <a:gd name="T9" fmla="*/ 0 h 29"/>
                <a:gd name="T10" fmla="*/ 0 w 15"/>
                <a:gd name="T11" fmla="*/ 2 h 29"/>
                <a:gd name="T12" fmla="*/ 5 w 15"/>
                <a:gd name="T13" fmla="*/ 16 h 29"/>
                <a:gd name="T14" fmla="*/ 3 w 15"/>
                <a:gd name="T15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9">
                  <a:moveTo>
                    <a:pt x="3" y="17"/>
                  </a:moveTo>
                  <a:cubicBezTo>
                    <a:pt x="3" y="19"/>
                    <a:pt x="6" y="25"/>
                    <a:pt x="8" y="28"/>
                  </a:cubicBezTo>
                  <a:cubicBezTo>
                    <a:pt x="11" y="22"/>
                    <a:pt x="14" y="14"/>
                    <a:pt x="11" y="8"/>
                  </a:cubicBez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cubicBezTo>
                    <a:pt x="0" y="8"/>
                    <a:pt x="2" y="13"/>
                    <a:pt x="5" y="16"/>
                  </a:cubicBezTo>
                  <a:cubicBezTo>
                    <a:pt x="5" y="16"/>
                    <a:pt x="4" y="17"/>
                    <a:pt x="3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3" name="Freeform 661"/>
            <p:cNvSpPr>
              <a:spLocks noChangeArrowheads="1"/>
            </p:cNvSpPr>
            <p:nvPr/>
          </p:nvSpPr>
          <p:spPr bwMode="auto">
            <a:xfrm>
              <a:off x="4052888" y="2974975"/>
              <a:ext cx="6350" cy="6350"/>
            </a:xfrm>
            <a:custGeom>
              <a:avLst/>
              <a:gdLst>
                <a:gd name="T0" fmla="*/ 3 w 18"/>
                <a:gd name="T1" fmla="*/ 0 h 18"/>
                <a:gd name="T2" fmla="*/ 0 w 18"/>
                <a:gd name="T3" fmla="*/ 17 h 18"/>
                <a:gd name="T4" fmla="*/ 9 w 18"/>
                <a:gd name="T5" fmla="*/ 17 h 18"/>
                <a:gd name="T6" fmla="*/ 17 w 18"/>
                <a:gd name="T7" fmla="*/ 11 h 18"/>
                <a:gd name="T8" fmla="*/ 6 w 18"/>
                <a:gd name="T9" fmla="*/ 8 h 18"/>
                <a:gd name="T10" fmla="*/ 3 w 18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8">
                  <a:moveTo>
                    <a:pt x="3" y="0"/>
                  </a:moveTo>
                  <a:cubicBezTo>
                    <a:pt x="0" y="5"/>
                    <a:pt x="0" y="11"/>
                    <a:pt x="0" y="17"/>
                  </a:cubicBezTo>
                  <a:cubicBezTo>
                    <a:pt x="3" y="14"/>
                    <a:pt x="6" y="14"/>
                    <a:pt x="9" y="17"/>
                  </a:cubicBezTo>
                  <a:cubicBezTo>
                    <a:pt x="12" y="14"/>
                    <a:pt x="17" y="17"/>
                    <a:pt x="17" y="11"/>
                  </a:cubicBezTo>
                  <a:cubicBezTo>
                    <a:pt x="14" y="8"/>
                    <a:pt x="12" y="11"/>
                    <a:pt x="6" y="8"/>
                  </a:cubicBezTo>
                  <a:cubicBezTo>
                    <a:pt x="6" y="5"/>
                    <a:pt x="3" y="3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4" name="Freeform 662"/>
            <p:cNvSpPr>
              <a:spLocks noChangeArrowheads="1"/>
            </p:cNvSpPr>
            <p:nvPr/>
          </p:nvSpPr>
          <p:spPr bwMode="auto">
            <a:xfrm>
              <a:off x="4019550" y="2979738"/>
              <a:ext cx="12700" cy="9525"/>
            </a:xfrm>
            <a:custGeom>
              <a:avLst/>
              <a:gdLst>
                <a:gd name="T0" fmla="*/ 0 w 35"/>
                <a:gd name="T1" fmla="*/ 11 h 26"/>
                <a:gd name="T2" fmla="*/ 3 w 35"/>
                <a:gd name="T3" fmla="*/ 25 h 26"/>
                <a:gd name="T4" fmla="*/ 20 w 35"/>
                <a:gd name="T5" fmla="*/ 14 h 26"/>
                <a:gd name="T6" fmla="*/ 28 w 35"/>
                <a:gd name="T7" fmla="*/ 17 h 26"/>
                <a:gd name="T8" fmla="*/ 34 w 35"/>
                <a:gd name="T9" fmla="*/ 8 h 26"/>
                <a:gd name="T10" fmla="*/ 31 w 35"/>
                <a:gd name="T11" fmla="*/ 0 h 26"/>
                <a:gd name="T12" fmla="*/ 9 w 35"/>
                <a:gd name="T13" fmla="*/ 0 h 26"/>
                <a:gd name="T14" fmla="*/ 0 w 35"/>
                <a:gd name="T15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6">
                  <a:moveTo>
                    <a:pt x="0" y="11"/>
                  </a:moveTo>
                  <a:cubicBezTo>
                    <a:pt x="0" y="17"/>
                    <a:pt x="0" y="20"/>
                    <a:pt x="3" y="25"/>
                  </a:cubicBezTo>
                  <a:cubicBezTo>
                    <a:pt x="9" y="22"/>
                    <a:pt x="17" y="22"/>
                    <a:pt x="20" y="14"/>
                  </a:cubicBezTo>
                  <a:cubicBezTo>
                    <a:pt x="23" y="17"/>
                    <a:pt x="26" y="17"/>
                    <a:pt x="28" y="17"/>
                  </a:cubicBezTo>
                  <a:cubicBezTo>
                    <a:pt x="28" y="14"/>
                    <a:pt x="31" y="8"/>
                    <a:pt x="34" y="8"/>
                  </a:cubicBezTo>
                  <a:cubicBezTo>
                    <a:pt x="34" y="5"/>
                    <a:pt x="34" y="3"/>
                    <a:pt x="31" y="0"/>
                  </a:cubicBezTo>
                  <a:lnTo>
                    <a:pt x="9" y="0"/>
                  </a:lnTo>
                  <a:cubicBezTo>
                    <a:pt x="6" y="5"/>
                    <a:pt x="3" y="11"/>
                    <a:pt x="0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5" name="Freeform 663"/>
            <p:cNvSpPr>
              <a:spLocks noChangeArrowheads="1"/>
            </p:cNvSpPr>
            <p:nvPr/>
          </p:nvSpPr>
          <p:spPr bwMode="auto">
            <a:xfrm>
              <a:off x="4073525" y="2200275"/>
              <a:ext cx="3175" cy="3175"/>
            </a:xfrm>
            <a:custGeom>
              <a:avLst/>
              <a:gdLst>
                <a:gd name="T0" fmla="*/ 8 w 9"/>
                <a:gd name="T1" fmla="*/ 0 h 9"/>
                <a:gd name="T2" fmla="*/ 0 w 9"/>
                <a:gd name="T3" fmla="*/ 8 h 9"/>
                <a:gd name="T4" fmla="*/ 8 w 9"/>
                <a:gd name="T5" fmla="*/ 5 h 9"/>
                <a:gd name="T6" fmla="*/ 8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8" y="0"/>
                  </a:moveTo>
                  <a:cubicBezTo>
                    <a:pt x="5" y="2"/>
                    <a:pt x="3" y="5"/>
                    <a:pt x="0" y="8"/>
                  </a:cubicBezTo>
                  <a:cubicBezTo>
                    <a:pt x="3" y="8"/>
                    <a:pt x="5" y="8"/>
                    <a:pt x="8" y="5"/>
                  </a:cubicBezTo>
                  <a:cubicBezTo>
                    <a:pt x="8" y="2"/>
                    <a:pt x="8" y="2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6" name="Freeform 664"/>
            <p:cNvSpPr>
              <a:spLocks noChangeArrowheads="1"/>
            </p:cNvSpPr>
            <p:nvPr/>
          </p:nvSpPr>
          <p:spPr bwMode="auto">
            <a:xfrm>
              <a:off x="4025900" y="2747963"/>
              <a:ext cx="3175" cy="1587"/>
            </a:xfrm>
            <a:custGeom>
              <a:avLst/>
              <a:gdLst>
                <a:gd name="T0" fmla="*/ 0 w 7"/>
                <a:gd name="T1" fmla="*/ 0 h 4"/>
                <a:gd name="T2" fmla="*/ 6 w 7"/>
                <a:gd name="T3" fmla="*/ 3 h 4"/>
                <a:gd name="T4" fmla="*/ 6 w 7"/>
                <a:gd name="T5" fmla="*/ 0 h 4"/>
                <a:gd name="T6" fmla="*/ 0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cubicBezTo>
                    <a:pt x="0" y="3"/>
                    <a:pt x="3" y="3"/>
                    <a:pt x="6" y="3"/>
                  </a:cubicBez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7" name="Freeform 665"/>
            <p:cNvSpPr>
              <a:spLocks noChangeArrowheads="1"/>
            </p:cNvSpPr>
            <p:nvPr/>
          </p:nvSpPr>
          <p:spPr bwMode="auto">
            <a:xfrm>
              <a:off x="4017963" y="3065463"/>
              <a:ext cx="4762" cy="4762"/>
            </a:xfrm>
            <a:custGeom>
              <a:avLst/>
              <a:gdLst>
                <a:gd name="T0" fmla="*/ 0 w 13"/>
                <a:gd name="T1" fmla="*/ 3 h 15"/>
                <a:gd name="T2" fmla="*/ 9 w 13"/>
                <a:gd name="T3" fmla="*/ 14 h 15"/>
                <a:gd name="T4" fmla="*/ 12 w 13"/>
                <a:gd name="T5" fmla="*/ 3 h 15"/>
                <a:gd name="T6" fmla="*/ 0 w 13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5">
                  <a:moveTo>
                    <a:pt x="0" y="3"/>
                  </a:moveTo>
                  <a:cubicBezTo>
                    <a:pt x="0" y="8"/>
                    <a:pt x="0" y="14"/>
                    <a:pt x="9" y="14"/>
                  </a:cubicBezTo>
                  <a:cubicBezTo>
                    <a:pt x="9" y="11"/>
                    <a:pt x="9" y="6"/>
                    <a:pt x="12" y="3"/>
                  </a:cubicBezTo>
                  <a:cubicBezTo>
                    <a:pt x="9" y="0"/>
                    <a:pt x="3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8" name="Freeform 666"/>
            <p:cNvSpPr>
              <a:spLocks noChangeArrowheads="1"/>
            </p:cNvSpPr>
            <p:nvPr/>
          </p:nvSpPr>
          <p:spPr bwMode="auto">
            <a:xfrm>
              <a:off x="4013200" y="2586038"/>
              <a:ext cx="3175" cy="3175"/>
            </a:xfrm>
            <a:custGeom>
              <a:avLst/>
              <a:gdLst>
                <a:gd name="T0" fmla="*/ 3 w 7"/>
                <a:gd name="T1" fmla="*/ 9 h 10"/>
                <a:gd name="T2" fmla="*/ 6 w 7"/>
                <a:gd name="T3" fmla="*/ 3 h 10"/>
                <a:gd name="T4" fmla="*/ 0 w 7"/>
                <a:gd name="T5" fmla="*/ 0 h 10"/>
                <a:gd name="T6" fmla="*/ 3 w 7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3" y="9"/>
                  </a:moveTo>
                  <a:cubicBezTo>
                    <a:pt x="3" y="9"/>
                    <a:pt x="6" y="6"/>
                    <a:pt x="6" y="3"/>
                  </a:cubicBezTo>
                  <a:cubicBezTo>
                    <a:pt x="3" y="3"/>
                    <a:pt x="0" y="3"/>
                    <a:pt x="0" y="0"/>
                  </a:cubicBezTo>
                  <a:cubicBezTo>
                    <a:pt x="0" y="6"/>
                    <a:pt x="0" y="9"/>
                    <a:pt x="3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09" name="Freeform 667"/>
            <p:cNvSpPr>
              <a:spLocks noChangeArrowheads="1"/>
            </p:cNvSpPr>
            <p:nvPr/>
          </p:nvSpPr>
          <p:spPr bwMode="auto">
            <a:xfrm>
              <a:off x="4021138" y="3009900"/>
              <a:ext cx="12700" cy="9525"/>
            </a:xfrm>
            <a:custGeom>
              <a:avLst/>
              <a:gdLst>
                <a:gd name="T0" fmla="*/ 28 w 37"/>
                <a:gd name="T1" fmla="*/ 0 h 26"/>
                <a:gd name="T2" fmla="*/ 11 w 37"/>
                <a:gd name="T3" fmla="*/ 14 h 26"/>
                <a:gd name="T4" fmla="*/ 0 w 37"/>
                <a:gd name="T5" fmla="*/ 17 h 26"/>
                <a:gd name="T6" fmla="*/ 0 w 37"/>
                <a:gd name="T7" fmla="*/ 17 h 26"/>
                <a:gd name="T8" fmla="*/ 3 w 37"/>
                <a:gd name="T9" fmla="*/ 17 h 26"/>
                <a:gd name="T10" fmla="*/ 8 w 37"/>
                <a:gd name="T11" fmla="*/ 25 h 26"/>
                <a:gd name="T12" fmla="*/ 20 w 37"/>
                <a:gd name="T13" fmla="*/ 25 h 26"/>
                <a:gd name="T14" fmla="*/ 20 w 37"/>
                <a:gd name="T15" fmla="*/ 22 h 26"/>
                <a:gd name="T16" fmla="*/ 25 w 37"/>
                <a:gd name="T17" fmla="*/ 14 h 26"/>
                <a:gd name="T18" fmla="*/ 34 w 37"/>
                <a:gd name="T19" fmla="*/ 14 h 26"/>
                <a:gd name="T20" fmla="*/ 34 w 37"/>
                <a:gd name="T21" fmla="*/ 14 h 26"/>
                <a:gd name="T22" fmla="*/ 28 w 37"/>
                <a:gd name="T2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26">
                  <a:moveTo>
                    <a:pt x="28" y="0"/>
                  </a:moveTo>
                  <a:cubicBezTo>
                    <a:pt x="22" y="2"/>
                    <a:pt x="17" y="8"/>
                    <a:pt x="11" y="14"/>
                  </a:cubicBezTo>
                  <a:cubicBezTo>
                    <a:pt x="8" y="14"/>
                    <a:pt x="3" y="14"/>
                    <a:pt x="0" y="17"/>
                  </a:cubicBezTo>
                  <a:lnTo>
                    <a:pt x="0" y="17"/>
                  </a:lnTo>
                  <a:lnTo>
                    <a:pt x="3" y="17"/>
                  </a:lnTo>
                  <a:cubicBezTo>
                    <a:pt x="5" y="17"/>
                    <a:pt x="8" y="19"/>
                    <a:pt x="8" y="25"/>
                  </a:cubicBezTo>
                  <a:cubicBezTo>
                    <a:pt x="11" y="25"/>
                    <a:pt x="17" y="25"/>
                    <a:pt x="20" y="25"/>
                  </a:cubicBezTo>
                  <a:lnTo>
                    <a:pt x="20" y="22"/>
                  </a:lnTo>
                  <a:cubicBezTo>
                    <a:pt x="20" y="19"/>
                    <a:pt x="22" y="17"/>
                    <a:pt x="25" y="14"/>
                  </a:cubicBezTo>
                  <a:lnTo>
                    <a:pt x="34" y="14"/>
                  </a:lnTo>
                  <a:lnTo>
                    <a:pt x="34" y="14"/>
                  </a:lnTo>
                  <a:cubicBezTo>
                    <a:pt x="36" y="5"/>
                    <a:pt x="36" y="2"/>
                    <a:pt x="2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0" name="Freeform 668"/>
            <p:cNvSpPr>
              <a:spLocks noChangeArrowheads="1"/>
            </p:cNvSpPr>
            <p:nvPr/>
          </p:nvSpPr>
          <p:spPr bwMode="auto">
            <a:xfrm>
              <a:off x="4033838" y="2979738"/>
              <a:ext cx="4762" cy="4762"/>
            </a:xfrm>
            <a:custGeom>
              <a:avLst/>
              <a:gdLst>
                <a:gd name="T0" fmla="*/ 8 w 12"/>
                <a:gd name="T1" fmla="*/ 0 h 12"/>
                <a:gd name="T2" fmla="*/ 3 w 12"/>
                <a:gd name="T3" fmla="*/ 0 h 12"/>
                <a:gd name="T4" fmla="*/ 8 w 12"/>
                <a:gd name="T5" fmla="*/ 11 h 12"/>
                <a:gd name="T6" fmla="*/ 11 w 12"/>
                <a:gd name="T7" fmla="*/ 11 h 12"/>
                <a:gd name="T8" fmla="*/ 8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3" y="0"/>
                  </a:lnTo>
                  <a:cubicBezTo>
                    <a:pt x="0" y="8"/>
                    <a:pt x="8" y="5"/>
                    <a:pt x="8" y="11"/>
                  </a:cubicBezTo>
                  <a:cubicBezTo>
                    <a:pt x="8" y="11"/>
                    <a:pt x="8" y="11"/>
                    <a:pt x="11" y="11"/>
                  </a:cubicBezTo>
                  <a:cubicBezTo>
                    <a:pt x="8" y="5"/>
                    <a:pt x="8" y="3"/>
                    <a:pt x="8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1" name="Freeform 669"/>
            <p:cNvSpPr>
              <a:spLocks noChangeArrowheads="1"/>
            </p:cNvSpPr>
            <p:nvPr/>
          </p:nvSpPr>
          <p:spPr bwMode="auto">
            <a:xfrm>
              <a:off x="4037013" y="2886075"/>
              <a:ext cx="3175" cy="3175"/>
            </a:xfrm>
            <a:custGeom>
              <a:avLst/>
              <a:gdLst>
                <a:gd name="T0" fmla="*/ 0 w 7"/>
                <a:gd name="T1" fmla="*/ 0 h 10"/>
                <a:gd name="T2" fmla="*/ 0 w 7"/>
                <a:gd name="T3" fmla="*/ 0 h 10"/>
                <a:gd name="T4" fmla="*/ 0 w 7"/>
                <a:gd name="T5" fmla="*/ 9 h 10"/>
                <a:gd name="T6" fmla="*/ 6 w 7"/>
                <a:gd name="T7" fmla="*/ 9 h 10"/>
                <a:gd name="T8" fmla="*/ 3 w 7"/>
                <a:gd name="T9" fmla="*/ 3 h 10"/>
                <a:gd name="T10" fmla="*/ 0 w 7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0">
                  <a:moveTo>
                    <a:pt x="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6" y="9"/>
                  </a:lnTo>
                  <a:cubicBezTo>
                    <a:pt x="6" y="6"/>
                    <a:pt x="6" y="3"/>
                    <a:pt x="3" y="3"/>
                  </a:cubicBezTo>
                  <a:cubicBezTo>
                    <a:pt x="3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2" name="Freeform 670"/>
            <p:cNvSpPr>
              <a:spLocks noChangeArrowheads="1"/>
            </p:cNvSpPr>
            <p:nvPr/>
          </p:nvSpPr>
          <p:spPr bwMode="auto">
            <a:xfrm>
              <a:off x="4021138" y="2987675"/>
              <a:ext cx="12700" cy="7938"/>
            </a:xfrm>
            <a:custGeom>
              <a:avLst/>
              <a:gdLst>
                <a:gd name="T0" fmla="*/ 34 w 37"/>
                <a:gd name="T1" fmla="*/ 0 h 21"/>
                <a:gd name="T2" fmla="*/ 31 w 37"/>
                <a:gd name="T3" fmla="*/ 0 h 21"/>
                <a:gd name="T4" fmla="*/ 8 w 37"/>
                <a:gd name="T5" fmla="*/ 3 h 21"/>
                <a:gd name="T6" fmla="*/ 0 w 37"/>
                <a:gd name="T7" fmla="*/ 12 h 21"/>
                <a:gd name="T8" fmla="*/ 36 w 37"/>
                <a:gd name="T9" fmla="*/ 12 h 21"/>
                <a:gd name="T10" fmla="*/ 36 w 37"/>
                <a:gd name="T11" fmla="*/ 12 h 21"/>
                <a:gd name="T12" fmla="*/ 36 w 37"/>
                <a:gd name="T13" fmla="*/ 6 h 21"/>
                <a:gd name="T14" fmla="*/ 34 w 37"/>
                <a:gd name="T1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21">
                  <a:moveTo>
                    <a:pt x="34" y="0"/>
                  </a:moveTo>
                  <a:lnTo>
                    <a:pt x="31" y="0"/>
                  </a:lnTo>
                  <a:cubicBezTo>
                    <a:pt x="25" y="3"/>
                    <a:pt x="17" y="3"/>
                    <a:pt x="8" y="3"/>
                  </a:cubicBezTo>
                  <a:cubicBezTo>
                    <a:pt x="5" y="3"/>
                    <a:pt x="3" y="9"/>
                    <a:pt x="0" y="12"/>
                  </a:cubicBezTo>
                  <a:cubicBezTo>
                    <a:pt x="11" y="20"/>
                    <a:pt x="25" y="20"/>
                    <a:pt x="36" y="12"/>
                  </a:cubicBezTo>
                  <a:lnTo>
                    <a:pt x="36" y="12"/>
                  </a:lnTo>
                  <a:cubicBezTo>
                    <a:pt x="36" y="9"/>
                    <a:pt x="36" y="9"/>
                    <a:pt x="36" y="6"/>
                  </a:cubicBezTo>
                  <a:cubicBezTo>
                    <a:pt x="36" y="3"/>
                    <a:pt x="34" y="3"/>
                    <a:pt x="34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3" name="Freeform 671"/>
            <p:cNvSpPr>
              <a:spLocks noChangeArrowheads="1"/>
            </p:cNvSpPr>
            <p:nvPr/>
          </p:nvSpPr>
          <p:spPr bwMode="auto">
            <a:xfrm>
              <a:off x="4029075" y="3000375"/>
              <a:ext cx="4763" cy="3175"/>
            </a:xfrm>
            <a:custGeom>
              <a:avLst/>
              <a:gdLst>
                <a:gd name="T0" fmla="*/ 11 w 12"/>
                <a:gd name="T1" fmla="*/ 6 h 10"/>
                <a:gd name="T2" fmla="*/ 0 w 12"/>
                <a:gd name="T3" fmla="*/ 0 h 10"/>
                <a:gd name="T4" fmla="*/ 0 w 12"/>
                <a:gd name="T5" fmla="*/ 9 h 10"/>
                <a:gd name="T6" fmla="*/ 11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1" y="6"/>
                  </a:moveTo>
                  <a:cubicBezTo>
                    <a:pt x="8" y="3"/>
                    <a:pt x="2" y="3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2" y="9"/>
                    <a:pt x="11" y="9"/>
                    <a:pt x="11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4" name="Freeform 672"/>
            <p:cNvSpPr>
              <a:spLocks noChangeArrowheads="1"/>
            </p:cNvSpPr>
            <p:nvPr/>
          </p:nvSpPr>
          <p:spPr bwMode="auto">
            <a:xfrm>
              <a:off x="4062413" y="2854325"/>
              <a:ext cx="4762" cy="4763"/>
            </a:xfrm>
            <a:custGeom>
              <a:avLst/>
              <a:gdLst>
                <a:gd name="T0" fmla="*/ 5 w 12"/>
                <a:gd name="T1" fmla="*/ 0 h 12"/>
                <a:gd name="T2" fmla="*/ 2 w 12"/>
                <a:gd name="T3" fmla="*/ 11 h 12"/>
                <a:gd name="T4" fmla="*/ 11 w 12"/>
                <a:gd name="T5" fmla="*/ 9 h 12"/>
                <a:gd name="T6" fmla="*/ 5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cubicBezTo>
                    <a:pt x="2" y="3"/>
                    <a:pt x="0" y="6"/>
                    <a:pt x="2" y="11"/>
                  </a:cubicBezTo>
                  <a:cubicBezTo>
                    <a:pt x="5" y="11"/>
                    <a:pt x="8" y="11"/>
                    <a:pt x="11" y="9"/>
                  </a:cubicBezTo>
                  <a:cubicBezTo>
                    <a:pt x="8" y="6"/>
                    <a:pt x="8" y="3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5" name="Freeform 673"/>
            <p:cNvSpPr>
              <a:spLocks noChangeArrowheads="1"/>
            </p:cNvSpPr>
            <p:nvPr/>
          </p:nvSpPr>
          <p:spPr bwMode="auto">
            <a:xfrm>
              <a:off x="3778250" y="2749550"/>
              <a:ext cx="4763" cy="3175"/>
            </a:xfrm>
            <a:custGeom>
              <a:avLst/>
              <a:gdLst>
                <a:gd name="T0" fmla="*/ 3 w 13"/>
                <a:gd name="T1" fmla="*/ 8 h 9"/>
                <a:gd name="T2" fmla="*/ 12 w 13"/>
                <a:gd name="T3" fmla="*/ 0 h 9"/>
                <a:gd name="T4" fmla="*/ 3 w 13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9">
                  <a:moveTo>
                    <a:pt x="3" y="8"/>
                  </a:moveTo>
                  <a:cubicBezTo>
                    <a:pt x="9" y="8"/>
                    <a:pt x="12" y="5"/>
                    <a:pt x="12" y="0"/>
                  </a:cubicBezTo>
                  <a:cubicBezTo>
                    <a:pt x="6" y="0"/>
                    <a:pt x="0" y="0"/>
                    <a:pt x="3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6" name="Freeform 674"/>
            <p:cNvSpPr>
              <a:spLocks noChangeArrowheads="1"/>
            </p:cNvSpPr>
            <p:nvPr/>
          </p:nvSpPr>
          <p:spPr bwMode="auto">
            <a:xfrm>
              <a:off x="3816350" y="2968625"/>
              <a:ext cx="4763" cy="3175"/>
            </a:xfrm>
            <a:custGeom>
              <a:avLst/>
              <a:gdLst>
                <a:gd name="T0" fmla="*/ 3 w 12"/>
                <a:gd name="T1" fmla="*/ 3 h 9"/>
                <a:gd name="T2" fmla="*/ 0 w 12"/>
                <a:gd name="T3" fmla="*/ 6 h 9"/>
                <a:gd name="T4" fmla="*/ 3 w 12"/>
                <a:gd name="T5" fmla="*/ 6 h 9"/>
                <a:gd name="T6" fmla="*/ 5 w 12"/>
                <a:gd name="T7" fmla="*/ 8 h 9"/>
                <a:gd name="T8" fmla="*/ 3 w 12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3" y="3"/>
                  </a:moveTo>
                  <a:cubicBezTo>
                    <a:pt x="3" y="3"/>
                    <a:pt x="3" y="6"/>
                    <a:pt x="0" y="6"/>
                  </a:cubicBezTo>
                  <a:lnTo>
                    <a:pt x="3" y="6"/>
                  </a:lnTo>
                  <a:cubicBezTo>
                    <a:pt x="3" y="6"/>
                    <a:pt x="3" y="8"/>
                    <a:pt x="5" y="8"/>
                  </a:cubicBezTo>
                  <a:cubicBezTo>
                    <a:pt x="5" y="8"/>
                    <a:pt x="11" y="0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7" name="Freeform 675"/>
            <p:cNvSpPr>
              <a:spLocks noChangeArrowheads="1"/>
            </p:cNvSpPr>
            <p:nvPr/>
          </p:nvSpPr>
          <p:spPr bwMode="auto">
            <a:xfrm>
              <a:off x="3787775" y="2608263"/>
              <a:ext cx="1588" cy="3175"/>
            </a:xfrm>
            <a:custGeom>
              <a:avLst/>
              <a:gdLst>
                <a:gd name="T0" fmla="*/ 0 w 4"/>
                <a:gd name="T1" fmla="*/ 6 h 7"/>
                <a:gd name="T2" fmla="*/ 3 w 4"/>
                <a:gd name="T3" fmla="*/ 6 h 7"/>
                <a:gd name="T4" fmla="*/ 3 w 4"/>
                <a:gd name="T5" fmla="*/ 0 h 7"/>
                <a:gd name="T6" fmla="*/ 0 w 4"/>
                <a:gd name="T7" fmla="*/ 0 h 7"/>
                <a:gd name="T8" fmla="*/ 0 w 4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0" y="6"/>
                  </a:moveTo>
                  <a:lnTo>
                    <a:pt x="3" y="6"/>
                  </a:lnTo>
                  <a:lnTo>
                    <a:pt x="3" y="0"/>
                  </a:lnTo>
                  <a:cubicBezTo>
                    <a:pt x="3" y="0"/>
                    <a:pt x="3" y="0"/>
                    <a:pt x="0" y="0"/>
                  </a:cubicBezTo>
                  <a:cubicBezTo>
                    <a:pt x="0" y="0"/>
                    <a:pt x="0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8" name="Freeform 676"/>
            <p:cNvSpPr>
              <a:spLocks noChangeArrowheads="1"/>
            </p:cNvSpPr>
            <p:nvPr/>
          </p:nvSpPr>
          <p:spPr bwMode="auto">
            <a:xfrm>
              <a:off x="3786188" y="2555875"/>
              <a:ext cx="3175" cy="3175"/>
            </a:xfrm>
            <a:custGeom>
              <a:avLst/>
              <a:gdLst>
                <a:gd name="T0" fmla="*/ 6 w 7"/>
                <a:gd name="T1" fmla="*/ 3 h 9"/>
                <a:gd name="T2" fmla="*/ 3 w 7"/>
                <a:gd name="T3" fmla="*/ 0 h 9"/>
                <a:gd name="T4" fmla="*/ 3 w 7"/>
                <a:gd name="T5" fmla="*/ 5 h 9"/>
                <a:gd name="T6" fmla="*/ 3 w 7"/>
                <a:gd name="T7" fmla="*/ 5 h 9"/>
                <a:gd name="T8" fmla="*/ 6 w 7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6" y="3"/>
                  </a:moveTo>
                  <a:cubicBezTo>
                    <a:pt x="6" y="3"/>
                    <a:pt x="3" y="3"/>
                    <a:pt x="3" y="0"/>
                  </a:cubicBezTo>
                  <a:cubicBezTo>
                    <a:pt x="3" y="3"/>
                    <a:pt x="0" y="3"/>
                    <a:pt x="3" y="5"/>
                  </a:cubicBezTo>
                  <a:lnTo>
                    <a:pt x="3" y="5"/>
                  </a:lnTo>
                  <a:cubicBezTo>
                    <a:pt x="3" y="8"/>
                    <a:pt x="6" y="5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19" name="Freeform 677"/>
            <p:cNvSpPr>
              <a:spLocks noChangeArrowheads="1"/>
            </p:cNvSpPr>
            <p:nvPr/>
          </p:nvSpPr>
          <p:spPr bwMode="auto">
            <a:xfrm>
              <a:off x="3784600" y="2452688"/>
              <a:ext cx="3175" cy="3175"/>
            </a:xfrm>
            <a:custGeom>
              <a:avLst/>
              <a:gdLst>
                <a:gd name="T0" fmla="*/ 6 w 7"/>
                <a:gd name="T1" fmla="*/ 8 h 9"/>
                <a:gd name="T2" fmla="*/ 6 w 7"/>
                <a:gd name="T3" fmla="*/ 3 h 9"/>
                <a:gd name="T4" fmla="*/ 0 w 7"/>
                <a:gd name="T5" fmla="*/ 0 h 9"/>
                <a:gd name="T6" fmla="*/ 6 w 7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6" y="8"/>
                  </a:moveTo>
                  <a:lnTo>
                    <a:pt x="6" y="3"/>
                  </a:lnTo>
                  <a:cubicBezTo>
                    <a:pt x="3" y="3"/>
                    <a:pt x="3" y="0"/>
                    <a:pt x="0" y="0"/>
                  </a:cubicBezTo>
                  <a:cubicBezTo>
                    <a:pt x="3" y="3"/>
                    <a:pt x="0" y="8"/>
                    <a:pt x="6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0" name="Freeform 678"/>
            <p:cNvSpPr>
              <a:spLocks noChangeArrowheads="1"/>
            </p:cNvSpPr>
            <p:nvPr/>
          </p:nvSpPr>
          <p:spPr bwMode="auto">
            <a:xfrm>
              <a:off x="3816350" y="2971800"/>
              <a:ext cx="6350" cy="6350"/>
            </a:xfrm>
            <a:custGeom>
              <a:avLst/>
              <a:gdLst>
                <a:gd name="T0" fmla="*/ 14 w 18"/>
                <a:gd name="T1" fmla="*/ 15 h 18"/>
                <a:gd name="T2" fmla="*/ 6 w 18"/>
                <a:gd name="T3" fmla="*/ 15 h 18"/>
                <a:gd name="T4" fmla="*/ 0 w 18"/>
                <a:gd name="T5" fmla="*/ 15 h 18"/>
                <a:gd name="T6" fmla="*/ 0 w 18"/>
                <a:gd name="T7" fmla="*/ 15 h 18"/>
                <a:gd name="T8" fmla="*/ 17 w 18"/>
                <a:gd name="T9" fmla="*/ 17 h 18"/>
                <a:gd name="T10" fmla="*/ 8 w 18"/>
                <a:gd name="T11" fmla="*/ 0 h 18"/>
                <a:gd name="T12" fmla="*/ 14 w 18"/>
                <a:gd name="T13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8">
                  <a:moveTo>
                    <a:pt x="14" y="15"/>
                  </a:moveTo>
                  <a:cubicBezTo>
                    <a:pt x="11" y="15"/>
                    <a:pt x="8" y="15"/>
                    <a:pt x="6" y="15"/>
                  </a:cubicBezTo>
                  <a:cubicBezTo>
                    <a:pt x="3" y="15"/>
                    <a:pt x="3" y="15"/>
                    <a:pt x="0" y="15"/>
                  </a:cubicBezTo>
                  <a:lnTo>
                    <a:pt x="0" y="15"/>
                  </a:lnTo>
                  <a:cubicBezTo>
                    <a:pt x="6" y="17"/>
                    <a:pt x="11" y="17"/>
                    <a:pt x="17" y="17"/>
                  </a:cubicBezTo>
                  <a:cubicBezTo>
                    <a:pt x="17" y="9"/>
                    <a:pt x="11" y="6"/>
                    <a:pt x="8" y="0"/>
                  </a:cubicBezTo>
                  <a:cubicBezTo>
                    <a:pt x="11" y="6"/>
                    <a:pt x="14" y="12"/>
                    <a:pt x="14" y="1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1" name="Freeform 679"/>
            <p:cNvSpPr>
              <a:spLocks noChangeArrowheads="1"/>
            </p:cNvSpPr>
            <p:nvPr/>
          </p:nvSpPr>
          <p:spPr bwMode="auto">
            <a:xfrm>
              <a:off x="3836988" y="2643188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6 w 7"/>
                <a:gd name="T3" fmla="*/ 3 h 7"/>
                <a:gd name="T4" fmla="*/ 0 w 7"/>
                <a:gd name="T5" fmla="*/ 0 h 7"/>
                <a:gd name="T6" fmla="*/ 6 w 7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lnTo>
                    <a:pt x="6" y="3"/>
                  </a:lnTo>
                  <a:cubicBezTo>
                    <a:pt x="6" y="0"/>
                    <a:pt x="3" y="0"/>
                    <a:pt x="0" y="0"/>
                  </a:cubicBezTo>
                  <a:cubicBezTo>
                    <a:pt x="0" y="3"/>
                    <a:pt x="3" y="6"/>
                    <a:pt x="6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2" name="Freeform 680"/>
            <p:cNvSpPr>
              <a:spLocks noChangeArrowheads="1"/>
            </p:cNvSpPr>
            <p:nvPr/>
          </p:nvSpPr>
          <p:spPr bwMode="auto">
            <a:xfrm>
              <a:off x="3848100" y="2946400"/>
              <a:ext cx="4763" cy="3175"/>
            </a:xfrm>
            <a:custGeom>
              <a:avLst/>
              <a:gdLst>
                <a:gd name="T0" fmla="*/ 0 w 13"/>
                <a:gd name="T1" fmla="*/ 6 h 7"/>
                <a:gd name="T2" fmla="*/ 12 w 13"/>
                <a:gd name="T3" fmla="*/ 6 h 7"/>
                <a:gd name="T4" fmla="*/ 6 w 13"/>
                <a:gd name="T5" fmla="*/ 0 h 7"/>
                <a:gd name="T6" fmla="*/ 0 w 13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7">
                  <a:moveTo>
                    <a:pt x="0" y="6"/>
                  </a:moveTo>
                  <a:cubicBezTo>
                    <a:pt x="3" y="6"/>
                    <a:pt x="6" y="6"/>
                    <a:pt x="12" y="6"/>
                  </a:cubicBezTo>
                  <a:cubicBezTo>
                    <a:pt x="9" y="3"/>
                    <a:pt x="9" y="3"/>
                    <a:pt x="6" y="0"/>
                  </a:cubicBezTo>
                  <a:cubicBezTo>
                    <a:pt x="3" y="0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3" name="Freeform 681"/>
            <p:cNvSpPr>
              <a:spLocks noChangeArrowheads="1"/>
            </p:cNvSpPr>
            <p:nvPr/>
          </p:nvSpPr>
          <p:spPr bwMode="auto">
            <a:xfrm>
              <a:off x="3830638" y="2878138"/>
              <a:ext cx="6350" cy="4762"/>
            </a:xfrm>
            <a:custGeom>
              <a:avLst/>
              <a:gdLst>
                <a:gd name="T0" fmla="*/ 3 w 18"/>
                <a:gd name="T1" fmla="*/ 11 h 15"/>
                <a:gd name="T2" fmla="*/ 14 w 18"/>
                <a:gd name="T3" fmla="*/ 11 h 15"/>
                <a:gd name="T4" fmla="*/ 17 w 18"/>
                <a:gd name="T5" fmla="*/ 3 h 15"/>
                <a:gd name="T6" fmla="*/ 6 w 18"/>
                <a:gd name="T7" fmla="*/ 0 h 15"/>
                <a:gd name="T8" fmla="*/ 3 w 18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3" y="11"/>
                  </a:moveTo>
                  <a:cubicBezTo>
                    <a:pt x="6" y="14"/>
                    <a:pt x="12" y="11"/>
                    <a:pt x="14" y="11"/>
                  </a:cubicBezTo>
                  <a:cubicBezTo>
                    <a:pt x="14" y="8"/>
                    <a:pt x="14" y="6"/>
                    <a:pt x="17" y="3"/>
                  </a:cubicBezTo>
                  <a:cubicBezTo>
                    <a:pt x="17" y="0"/>
                    <a:pt x="12" y="0"/>
                    <a:pt x="6" y="0"/>
                  </a:cubicBezTo>
                  <a:cubicBezTo>
                    <a:pt x="3" y="3"/>
                    <a:pt x="0" y="6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4" name="Freeform 682"/>
            <p:cNvSpPr>
              <a:spLocks noChangeArrowheads="1"/>
            </p:cNvSpPr>
            <p:nvPr/>
          </p:nvSpPr>
          <p:spPr bwMode="auto">
            <a:xfrm>
              <a:off x="3835400" y="2449513"/>
              <a:ext cx="3175" cy="4762"/>
            </a:xfrm>
            <a:custGeom>
              <a:avLst/>
              <a:gdLst>
                <a:gd name="T0" fmla="*/ 6 w 7"/>
                <a:gd name="T1" fmla="*/ 5 h 15"/>
                <a:gd name="T2" fmla="*/ 6 w 7"/>
                <a:gd name="T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6" y="5"/>
                  </a:moveTo>
                  <a:cubicBezTo>
                    <a:pt x="0" y="0"/>
                    <a:pt x="0" y="14"/>
                    <a:pt x="6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5" name="Freeform 683"/>
            <p:cNvSpPr>
              <a:spLocks noChangeArrowheads="1"/>
            </p:cNvSpPr>
            <p:nvPr/>
          </p:nvSpPr>
          <p:spPr bwMode="auto">
            <a:xfrm>
              <a:off x="4040188" y="2171700"/>
              <a:ext cx="1587" cy="1588"/>
            </a:xfrm>
            <a:custGeom>
              <a:avLst/>
              <a:gdLst>
                <a:gd name="T0" fmla="*/ 5 w 6"/>
                <a:gd name="T1" fmla="*/ 0 h 4"/>
                <a:gd name="T2" fmla="*/ 0 w 6"/>
                <a:gd name="T3" fmla="*/ 3 h 4"/>
                <a:gd name="T4" fmla="*/ 2 w 6"/>
                <a:gd name="T5" fmla="*/ 3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2" y="0"/>
                    <a:pt x="0" y="0"/>
                    <a:pt x="0" y="3"/>
                  </a:cubicBezTo>
                  <a:lnTo>
                    <a:pt x="2" y="3"/>
                  </a:lnTo>
                  <a:cubicBezTo>
                    <a:pt x="2" y="0"/>
                    <a:pt x="2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6" name="Freeform 684"/>
            <p:cNvSpPr>
              <a:spLocks noChangeArrowheads="1"/>
            </p:cNvSpPr>
            <p:nvPr/>
          </p:nvSpPr>
          <p:spPr bwMode="auto">
            <a:xfrm>
              <a:off x="3819525" y="2965450"/>
              <a:ext cx="4763" cy="3175"/>
            </a:xfrm>
            <a:custGeom>
              <a:avLst/>
              <a:gdLst>
                <a:gd name="T0" fmla="*/ 12 w 13"/>
                <a:gd name="T1" fmla="*/ 6 h 10"/>
                <a:gd name="T2" fmla="*/ 12 w 13"/>
                <a:gd name="T3" fmla="*/ 0 h 10"/>
                <a:gd name="T4" fmla="*/ 0 w 13"/>
                <a:gd name="T5" fmla="*/ 0 h 10"/>
                <a:gd name="T6" fmla="*/ 12 w 13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12" y="6"/>
                  </a:moveTo>
                  <a:cubicBezTo>
                    <a:pt x="12" y="3"/>
                    <a:pt x="12" y="3"/>
                    <a:pt x="12" y="0"/>
                  </a:cubicBezTo>
                  <a:cubicBezTo>
                    <a:pt x="9" y="0"/>
                    <a:pt x="3" y="0"/>
                    <a:pt x="0" y="0"/>
                  </a:cubicBezTo>
                  <a:cubicBezTo>
                    <a:pt x="3" y="3"/>
                    <a:pt x="3" y="9"/>
                    <a:pt x="12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7" name="Freeform 685"/>
            <p:cNvSpPr>
              <a:spLocks noChangeArrowheads="1"/>
            </p:cNvSpPr>
            <p:nvPr/>
          </p:nvSpPr>
          <p:spPr bwMode="auto">
            <a:xfrm>
              <a:off x="4029075" y="2760663"/>
              <a:ext cx="7938" cy="9525"/>
            </a:xfrm>
            <a:custGeom>
              <a:avLst/>
              <a:gdLst>
                <a:gd name="T0" fmla="*/ 11 w 23"/>
                <a:gd name="T1" fmla="*/ 22 h 26"/>
                <a:gd name="T2" fmla="*/ 22 w 23"/>
                <a:gd name="T3" fmla="*/ 14 h 26"/>
                <a:gd name="T4" fmla="*/ 22 w 23"/>
                <a:gd name="T5" fmla="*/ 5 h 26"/>
                <a:gd name="T6" fmla="*/ 8 w 23"/>
                <a:gd name="T7" fmla="*/ 0 h 26"/>
                <a:gd name="T8" fmla="*/ 5 w 23"/>
                <a:gd name="T9" fmla="*/ 5 h 26"/>
                <a:gd name="T10" fmla="*/ 8 w 23"/>
                <a:gd name="T11" fmla="*/ 14 h 26"/>
                <a:gd name="T12" fmla="*/ 2 w 23"/>
                <a:gd name="T13" fmla="*/ 14 h 26"/>
                <a:gd name="T14" fmla="*/ 0 w 23"/>
                <a:gd name="T15" fmla="*/ 19 h 26"/>
                <a:gd name="T16" fmla="*/ 11 w 23"/>
                <a:gd name="T17" fmla="*/ 2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6">
                  <a:moveTo>
                    <a:pt x="11" y="22"/>
                  </a:moveTo>
                  <a:cubicBezTo>
                    <a:pt x="16" y="19"/>
                    <a:pt x="19" y="17"/>
                    <a:pt x="22" y="14"/>
                  </a:cubicBezTo>
                  <a:cubicBezTo>
                    <a:pt x="22" y="11"/>
                    <a:pt x="22" y="8"/>
                    <a:pt x="22" y="5"/>
                  </a:cubicBezTo>
                  <a:cubicBezTo>
                    <a:pt x="19" y="3"/>
                    <a:pt x="14" y="0"/>
                    <a:pt x="8" y="0"/>
                  </a:cubicBezTo>
                  <a:cubicBezTo>
                    <a:pt x="5" y="0"/>
                    <a:pt x="5" y="3"/>
                    <a:pt x="5" y="5"/>
                  </a:cubicBezTo>
                  <a:cubicBezTo>
                    <a:pt x="8" y="8"/>
                    <a:pt x="8" y="11"/>
                    <a:pt x="8" y="14"/>
                  </a:cubicBezTo>
                  <a:cubicBezTo>
                    <a:pt x="5" y="17"/>
                    <a:pt x="5" y="17"/>
                    <a:pt x="2" y="14"/>
                  </a:cubicBezTo>
                  <a:cubicBezTo>
                    <a:pt x="2" y="17"/>
                    <a:pt x="2" y="17"/>
                    <a:pt x="0" y="19"/>
                  </a:cubicBezTo>
                  <a:cubicBezTo>
                    <a:pt x="2" y="25"/>
                    <a:pt x="8" y="25"/>
                    <a:pt x="11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8" name="Freeform 686"/>
            <p:cNvSpPr>
              <a:spLocks noChangeArrowheads="1"/>
            </p:cNvSpPr>
            <p:nvPr/>
          </p:nvSpPr>
          <p:spPr bwMode="auto">
            <a:xfrm>
              <a:off x="3776663" y="2936875"/>
              <a:ext cx="4762" cy="3175"/>
            </a:xfrm>
            <a:custGeom>
              <a:avLst/>
              <a:gdLst>
                <a:gd name="T0" fmla="*/ 0 w 12"/>
                <a:gd name="T1" fmla="*/ 0 h 7"/>
                <a:gd name="T2" fmla="*/ 11 w 12"/>
                <a:gd name="T3" fmla="*/ 6 h 7"/>
                <a:gd name="T4" fmla="*/ 3 w 12"/>
                <a:gd name="T5" fmla="*/ 0 h 7"/>
                <a:gd name="T6" fmla="*/ 0 w 12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7">
                  <a:moveTo>
                    <a:pt x="0" y="0"/>
                  </a:moveTo>
                  <a:cubicBezTo>
                    <a:pt x="0" y="0"/>
                    <a:pt x="6" y="3"/>
                    <a:pt x="11" y="6"/>
                  </a:cubicBezTo>
                  <a:cubicBezTo>
                    <a:pt x="11" y="3"/>
                    <a:pt x="8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29" name="Freeform 687"/>
            <p:cNvSpPr>
              <a:spLocks noChangeArrowheads="1"/>
            </p:cNvSpPr>
            <p:nvPr/>
          </p:nvSpPr>
          <p:spPr bwMode="auto">
            <a:xfrm>
              <a:off x="4017963" y="2247900"/>
              <a:ext cx="3175" cy="4763"/>
            </a:xfrm>
            <a:custGeom>
              <a:avLst/>
              <a:gdLst>
                <a:gd name="T0" fmla="*/ 3 w 10"/>
                <a:gd name="T1" fmla="*/ 11 h 12"/>
                <a:gd name="T2" fmla="*/ 3 w 10"/>
                <a:gd name="T3" fmla="*/ 11 h 12"/>
                <a:gd name="T4" fmla="*/ 9 w 10"/>
                <a:gd name="T5" fmla="*/ 11 h 12"/>
                <a:gd name="T6" fmla="*/ 0 w 10"/>
                <a:gd name="T7" fmla="*/ 6 h 12"/>
                <a:gd name="T8" fmla="*/ 3 w 10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3" y="11"/>
                  </a:moveTo>
                  <a:lnTo>
                    <a:pt x="3" y="11"/>
                  </a:lnTo>
                  <a:cubicBezTo>
                    <a:pt x="6" y="11"/>
                    <a:pt x="6" y="11"/>
                    <a:pt x="9" y="11"/>
                  </a:cubicBezTo>
                  <a:cubicBezTo>
                    <a:pt x="6" y="11"/>
                    <a:pt x="0" y="0"/>
                    <a:pt x="0" y="6"/>
                  </a:cubicBezTo>
                  <a:cubicBezTo>
                    <a:pt x="0" y="6"/>
                    <a:pt x="3" y="9"/>
                    <a:pt x="3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0" name="Freeform 688"/>
            <p:cNvSpPr>
              <a:spLocks noChangeArrowheads="1"/>
            </p:cNvSpPr>
            <p:nvPr/>
          </p:nvSpPr>
          <p:spPr bwMode="auto">
            <a:xfrm>
              <a:off x="4019550" y="2241550"/>
              <a:ext cx="4763" cy="6350"/>
            </a:xfrm>
            <a:custGeom>
              <a:avLst/>
              <a:gdLst>
                <a:gd name="T0" fmla="*/ 11 w 12"/>
                <a:gd name="T1" fmla="*/ 0 h 18"/>
                <a:gd name="T2" fmla="*/ 11 w 12"/>
                <a:gd name="T3" fmla="*/ 0 h 18"/>
                <a:gd name="T4" fmla="*/ 0 w 12"/>
                <a:gd name="T5" fmla="*/ 17 h 18"/>
                <a:gd name="T6" fmla="*/ 11 w 12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8">
                  <a:moveTo>
                    <a:pt x="11" y="0"/>
                  </a:moveTo>
                  <a:lnTo>
                    <a:pt x="11" y="0"/>
                  </a:lnTo>
                  <a:cubicBezTo>
                    <a:pt x="3" y="3"/>
                    <a:pt x="0" y="9"/>
                    <a:pt x="0" y="17"/>
                  </a:cubicBezTo>
                  <a:cubicBezTo>
                    <a:pt x="9" y="14"/>
                    <a:pt x="9" y="6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1" name="Freeform 689"/>
            <p:cNvSpPr>
              <a:spLocks noChangeArrowheads="1"/>
            </p:cNvSpPr>
            <p:nvPr/>
          </p:nvSpPr>
          <p:spPr bwMode="auto">
            <a:xfrm>
              <a:off x="4035425" y="2211388"/>
              <a:ext cx="3175" cy="3175"/>
            </a:xfrm>
            <a:custGeom>
              <a:avLst/>
              <a:gdLst>
                <a:gd name="T0" fmla="*/ 9 w 10"/>
                <a:gd name="T1" fmla="*/ 6 h 10"/>
                <a:gd name="T2" fmla="*/ 9 w 10"/>
                <a:gd name="T3" fmla="*/ 0 h 10"/>
                <a:gd name="T4" fmla="*/ 0 w 10"/>
                <a:gd name="T5" fmla="*/ 6 h 10"/>
                <a:gd name="T6" fmla="*/ 9 w 10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9" y="6"/>
                  </a:moveTo>
                  <a:cubicBezTo>
                    <a:pt x="9" y="3"/>
                    <a:pt x="9" y="3"/>
                    <a:pt x="9" y="0"/>
                  </a:cubicBezTo>
                  <a:cubicBezTo>
                    <a:pt x="6" y="3"/>
                    <a:pt x="3" y="3"/>
                    <a:pt x="0" y="6"/>
                  </a:cubicBezTo>
                  <a:cubicBezTo>
                    <a:pt x="3" y="9"/>
                    <a:pt x="6" y="9"/>
                    <a:pt x="9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2" name="Freeform 690"/>
            <p:cNvSpPr>
              <a:spLocks noChangeArrowheads="1"/>
            </p:cNvSpPr>
            <p:nvPr/>
          </p:nvSpPr>
          <p:spPr bwMode="auto">
            <a:xfrm>
              <a:off x="4032250" y="2438400"/>
              <a:ext cx="1588" cy="1588"/>
            </a:xfrm>
            <a:custGeom>
              <a:avLst/>
              <a:gdLst>
                <a:gd name="T0" fmla="*/ 0 w 4"/>
                <a:gd name="T1" fmla="*/ 2 h 3"/>
                <a:gd name="T2" fmla="*/ 3 w 4"/>
                <a:gd name="T3" fmla="*/ 0 h 3"/>
                <a:gd name="T4" fmla="*/ 0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cubicBezTo>
                    <a:pt x="3" y="2"/>
                    <a:pt x="3" y="0"/>
                    <a:pt x="3" y="0"/>
                  </a:cubicBez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3" name="Freeform 691"/>
            <p:cNvSpPr>
              <a:spLocks noChangeArrowheads="1"/>
            </p:cNvSpPr>
            <p:nvPr/>
          </p:nvSpPr>
          <p:spPr bwMode="auto">
            <a:xfrm>
              <a:off x="4024313" y="2398713"/>
              <a:ext cx="6350" cy="7937"/>
            </a:xfrm>
            <a:custGeom>
              <a:avLst/>
              <a:gdLst>
                <a:gd name="T0" fmla="*/ 9 w 16"/>
                <a:gd name="T1" fmla="*/ 22 h 23"/>
                <a:gd name="T2" fmla="*/ 9 w 16"/>
                <a:gd name="T3" fmla="*/ 0 h 23"/>
                <a:gd name="T4" fmla="*/ 6 w 16"/>
                <a:gd name="T5" fmla="*/ 0 h 23"/>
                <a:gd name="T6" fmla="*/ 6 w 16"/>
                <a:gd name="T7" fmla="*/ 5 h 23"/>
                <a:gd name="T8" fmla="*/ 0 w 16"/>
                <a:gd name="T9" fmla="*/ 8 h 23"/>
                <a:gd name="T10" fmla="*/ 0 w 16"/>
                <a:gd name="T11" fmla="*/ 14 h 23"/>
                <a:gd name="T12" fmla="*/ 9 w 16"/>
                <a:gd name="T13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3">
                  <a:moveTo>
                    <a:pt x="9" y="22"/>
                  </a:moveTo>
                  <a:cubicBezTo>
                    <a:pt x="9" y="17"/>
                    <a:pt x="15" y="8"/>
                    <a:pt x="9" y="0"/>
                  </a:cubicBezTo>
                  <a:lnTo>
                    <a:pt x="6" y="0"/>
                  </a:lnTo>
                  <a:lnTo>
                    <a:pt x="6" y="5"/>
                  </a:lnTo>
                  <a:cubicBezTo>
                    <a:pt x="6" y="5"/>
                    <a:pt x="3" y="8"/>
                    <a:pt x="0" y="8"/>
                  </a:cubicBezTo>
                  <a:cubicBezTo>
                    <a:pt x="0" y="11"/>
                    <a:pt x="0" y="11"/>
                    <a:pt x="0" y="14"/>
                  </a:cubicBezTo>
                  <a:cubicBezTo>
                    <a:pt x="3" y="19"/>
                    <a:pt x="6" y="22"/>
                    <a:pt x="9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4" name="Freeform 692"/>
            <p:cNvSpPr>
              <a:spLocks noChangeArrowheads="1"/>
            </p:cNvSpPr>
            <p:nvPr/>
          </p:nvSpPr>
          <p:spPr bwMode="auto">
            <a:xfrm>
              <a:off x="3773488" y="2705100"/>
              <a:ext cx="11112" cy="7938"/>
            </a:xfrm>
            <a:custGeom>
              <a:avLst/>
              <a:gdLst>
                <a:gd name="T0" fmla="*/ 17 w 30"/>
                <a:gd name="T1" fmla="*/ 14 h 23"/>
                <a:gd name="T2" fmla="*/ 26 w 30"/>
                <a:gd name="T3" fmla="*/ 5 h 23"/>
                <a:gd name="T4" fmla="*/ 3 w 30"/>
                <a:gd name="T5" fmla="*/ 19 h 23"/>
                <a:gd name="T6" fmla="*/ 3 w 30"/>
                <a:gd name="T7" fmla="*/ 19 h 23"/>
                <a:gd name="T8" fmla="*/ 17 w 30"/>
                <a:gd name="T9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3">
                  <a:moveTo>
                    <a:pt x="17" y="14"/>
                  </a:moveTo>
                  <a:cubicBezTo>
                    <a:pt x="20" y="11"/>
                    <a:pt x="29" y="14"/>
                    <a:pt x="26" y="5"/>
                  </a:cubicBezTo>
                  <a:cubicBezTo>
                    <a:pt x="12" y="0"/>
                    <a:pt x="0" y="5"/>
                    <a:pt x="3" y="19"/>
                  </a:cubicBezTo>
                  <a:lnTo>
                    <a:pt x="3" y="19"/>
                  </a:lnTo>
                  <a:cubicBezTo>
                    <a:pt x="12" y="22"/>
                    <a:pt x="15" y="16"/>
                    <a:pt x="17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5" name="Freeform 693"/>
            <p:cNvSpPr>
              <a:spLocks noChangeArrowheads="1"/>
            </p:cNvSpPr>
            <p:nvPr/>
          </p:nvSpPr>
          <p:spPr bwMode="auto">
            <a:xfrm>
              <a:off x="3776663" y="2940050"/>
              <a:ext cx="3175" cy="1588"/>
            </a:xfrm>
            <a:custGeom>
              <a:avLst/>
              <a:gdLst>
                <a:gd name="T0" fmla="*/ 8 w 9"/>
                <a:gd name="T1" fmla="*/ 3 h 4"/>
                <a:gd name="T2" fmla="*/ 8 w 9"/>
                <a:gd name="T3" fmla="*/ 3 h 4"/>
                <a:gd name="T4" fmla="*/ 0 w 9"/>
                <a:gd name="T5" fmla="*/ 0 h 4"/>
                <a:gd name="T6" fmla="*/ 8 w 9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4">
                  <a:moveTo>
                    <a:pt x="8" y="3"/>
                  </a:moveTo>
                  <a:lnTo>
                    <a:pt x="8" y="3"/>
                  </a:lnTo>
                  <a:cubicBezTo>
                    <a:pt x="6" y="0"/>
                    <a:pt x="3" y="0"/>
                    <a:pt x="0" y="0"/>
                  </a:cubicBezTo>
                  <a:cubicBezTo>
                    <a:pt x="3" y="3"/>
                    <a:pt x="6" y="3"/>
                    <a:pt x="8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6" name="Freeform 694"/>
            <p:cNvSpPr>
              <a:spLocks noChangeArrowheads="1"/>
            </p:cNvSpPr>
            <p:nvPr/>
          </p:nvSpPr>
          <p:spPr bwMode="auto">
            <a:xfrm>
              <a:off x="4016375" y="2771775"/>
              <a:ext cx="4763" cy="4763"/>
            </a:xfrm>
            <a:custGeom>
              <a:avLst/>
              <a:gdLst>
                <a:gd name="T0" fmla="*/ 11 w 15"/>
                <a:gd name="T1" fmla="*/ 0 h 12"/>
                <a:gd name="T2" fmla="*/ 0 w 15"/>
                <a:gd name="T3" fmla="*/ 3 h 12"/>
                <a:gd name="T4" fmla="*/ 2 w 15"/>
                <a:gd name="T5" fmla="*/ 11 h 12"/>
                <a:gd name="T6" fmla="*/ 11 w 15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2">
                  <a:moveTo>
                    <a:pt x="11" y="0"/>
                  </a:moveTo>
                  <a:cubicBezTo>
                    <a:pt x="8" y="0"/>
                    <a:pt x="2" y="0"/>
                    <a:pt x="0" y="3"/>
                  </a:cubicBezTo>
                  <a:cubicBezTo>
                    <a:pt x="0" y="5"/>
                    <a:pt x="0" y="8"/>
                    <a:pt x="2" y="11"/>
                  </a:cubicBezTo>
                  <a:cubicBezTo>
                    <a:pt x="11" y="11"/>
                    <a:pt x="14" y="5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7" name="Freeform 695"/>
            <p:cNvSpPr>
              <a:spLocks noChangeArrowheads="1"/>
            </p:cNvSpPr>
            <p:nvPr/>
          </p:nvSpPr>
          <p:spPr bwMode="auto">
            <a:xfrm>
              <a:off x="4013200" y="2546350"/>
              <a:ext cx="3175" cy="3175"/>
            </a:xfrm>
            <a:custGeom>
              <a:avLst/>
              <a:gdLst>
                <a:gd name="T0" fmla="*/ 9 w 10"/>
                <a:gd name="T1" fmla="*/ 0 h 10"/>
                <a:gd name="T2" fmla="*/ 9 w 10"/>
                <a:gd name="T3" fmla="*/ 0 h 10"/>
                <a:gd name="T4" fmla="*/ 9 w 10"/>
                <a:gd name="T5" fmla="*/ 0 h 10"/>
                <a:gd name="T6" fmla="*/ 0 w 10"/>
                <a:gd name="T7" fmla="*/ 6 h 10"/>
                <a:gd name="T8" fmla="*/ 9 w 1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9" y="0"/>
                  </a:moveTo>
                  <a:lnTo>
                    <a:pt x="9" y="0"/>
                  </a:lnTo>
                  <a:lnTo>
                    <a:pt x="9" y="0"/>
                  </a:lnTo>
                  <a:cubicBezTo>
                    <a:pt x="3" y="0"/>
                    <a:pt x="0" y="0"/>
                    <a:pt x="0" y="6"/>
                  </a:cubicBezTo>
                  <a:cubicBezTo>
                    <a:pt x="3" y="9"/>
                    <a:pt x="9" y="9"/>
                    <a:pt x="9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8" name="Freeform 696"/>
            <p:cNvSpPr>
              <a:spLocks noChangeArrowheads="1"/>
            </p:cNvSpPr>
            <p:nvPr/>
          </p:nvSpPr>
          <p:spPr bwMode="auto">
            <a:xfrm>
              <a:off x="4121150" y="2987675"/>
              <a:ext cx="6350" cy="7938"/>
            </a:xfrm>
            <a:custGeom>
              <a:avLst/>
              <a:gdLst>
                <a:gd name="T0" fmla="*/ 6 w 17"/>
                <a:gd name="T1" fmla="*/ 2 h 23"/>
                <a:gd name="T2" fmla="*/ 3 w 17"/>
                <a:gd name="T3" fmla="*/ 22 h 23"/>
                <a:gd name="T4" fmla="*/ 6 w 17"/>
                <a:gd name="T5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6" y="2"/>
                  </a:moveTo>
                  <a:cubicBezTo>
                    <a:pt x="9" y="11"/>
                    <a:pt x="0" y="14"/>
                    <a:pt x="3" y="22"/>
                  </a:cubicBezTo>
                  <a:cubicBezTo>
                    <a:pt x="12" y="19"/>
                    <a:pt x="16" y="0"/>
                    <a:pt x="6" y="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39" name="Freeform 697"/>
            <p:cNvSpPr>
              <a:spLocks noChangeArrowheads="1"/>
            </p:cNvSpPr>
            <p:nvPr/>
          </p:nvSpPr>
          <p:spPr bwMode="auto">
            <a:xfrm>
              <a:off x="4122738" y="2406650"/>
              <a:ext cx="3175" cy="3175"/>
            </a:xfrm>
            <a:custGeom>
              <a:avLst/>
              <a:gdLst>
                <a:gd name="T0" fmla="*/ 3 w 7"/>
                <a:gd name="T1" fmla="*/ 6 h 7"/>
                <a:gd name="T2" fmla="*/ 6 w 7"/>
                <a:gd name="T3" fmla="*/ 6 h 7"/>
                <a:gd name="T4" fmla="*/ 6 w 7"/>
                <a:gd name="T5" fmla="*/ 0 h 7"/>
                <a:gd name="T6" fmla="*/ 0 w 7"/>
                <a:gd name="T7" fmla="*/ 0 h 7"/>
                <a:gd name="T8" fmla="*/ 0 w 7"/>
                <a:gd name="T9" fmla="*/ 6 h 7"/>
                <a:gd name="T10" fmla="*/ 3 w 7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3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3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0" name="Freeform 698"/>
            <p:cNvSpPr>
              <a:spLocks noChangeArrowheads="1"/>
            </p:cNvSpPr>
            <p:nvPr/>
          </p:nvSpPr>
          <p:spPr bwMode="auto">
            <a:xfrm>
              <a:off x="4086225" y="2384425"/>
              <a:ext cx="3175" cy="3175"/>
            </a:xfrm>
            <a:custGeom>
              <a:avLst/>
              <a:gdLst>
                <a:gd name="T0" fmla="*/ 2 w 9"/>
                <a:gd name="T1" fmla="*/ 0 h 9"/>
                <a:gd name="T2" fmla="*/ 8 w 9"/>
                <a:gd name="T3" fmla="*/ 6 h 9"/>
                <a:gd name="T4" fmla="*/ 5 w 9"/>
                <a:gd name="T5" fmla="*/ 3 h 9"/>
                <a:gd name="T6" fmla="*/ 2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2" y="0"/>
                  </a:moveTo>
                  <a:cubicBezTo>
                    <a:pt x="0" y="6"/>
                    <a:pt x="5" y="8"/>
                    <a:pt x="8" y="6"/>
                  </a:cubicBezTo>
                  <a:lnTo>
                    <a:pt x="5" y="3"/>
                  </a:lnTo>
                  <a:cubicBezTo>
                    <a:pt x="2" y="3"/>
                    <a:pt x="2" y="0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1" name="Freeform 699"/>
            <p:cNvSpPr>
              <a:spLocks noChangeArrowheads="1"/>
            </p:cNvSpPr>
            <p:nvPr/>
          </p:nvSpPr>
          <p:spPr bwMode="auto">
            <a:xfrm>
              <a:off x="4090988" y="3052763"/>
              <a:ext cx="1587" cy="3175"/>
            </a:xfrm>
            <a:custGeom>
              <a:avLst/>
              <a:gdLst>
                <a:gd name="T0" fmla="*/ 0 w 3"/>
                <a:gd name="T1" fmla="*/ 0 h 7"/>
                <a:gd name="T2" fmla="*/ 2 w 3"/>
                <a:gd name="T3" fmla="*/ 6 h 7"/>
                <a:gd name="T4" fmla="*/ 2 w 3"/>
                <a:gd name="T5" fmla="*/ 6 h 7"/>
                <a:gd name="T6" fmla="*/ 0 w 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cubicBezTo>
                    <a:pt x="0" y="3"/>
                    <a:pt x="0" y="6"/>
                    <a:pt x="2" y="6"/>
                  </a:cubicBezTo>
                  <a:lnTo>
                    <a:pt x="2" y="6"/>
                  </a:lnTo>
                  <a:cubicBezTo>
                    <a:pt x="2" y="3"/>
                    <a:pt x="2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2" name="Freeform 700"/>
            <p:cNvSpPr>
              <a:spLocks noChangeArrowheads="1"/>
            </p:cNvSpPr>
            <p:nvPr/>
          </p:nvSpPr>
          <p:spPr bwMode="auto">
            <a:xfrm>
              <a:off x="4129088" y="2232025"/>
              <a:ext cx="3175" cy="3175"/>
            </a:xfrm>
            <a:custGeom>
              <a:avLst/>
              <a:gdLst>
                <a:gd name="T0" fmla="*/ 0 w 7"/>
                <a:gd name="T1" fmla="*/ 0 h 7"/>
                <a:gd name="T2" fmla="*/ 0 w 7"/>
                <a:gd name="T3" fmla="*/ 6 h 7"/>
                <a:gd name="T4" fmla="*/ 6 w 7"/>
                <a:gd name="T5" fmla="*/ 6 h 7"/>
                <a:gd name="T6" fmla="*/ 0 w 7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cubicBezTo>
                    <a:pt x="0" y="3"/>
                    <a:pt x="0" y="3"/>
                    <a:pt x="0" y="6"/>
                  </a:cubicBezTo>
                  <a:lnTo>
                    <a:pt x="6" y="6"/>
                  </a:ln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3" name="Freeform 701"/>
            <p:cNvSpPr>
              <a:spLocks noChangeArrowheads="1"/>
            </p:cNvSpPr>
            <p:nvPr/>
          </p:nvSpPr>
          <p:spPr bwMode="auto">
            <a:xfrm>
              <a:off x="4121150" y="2444750"/>
              <a:ext cx="9525" cy="14288"/>
            </a:xfrm>
            <a:custGeom>
              <a:avLst/>
              <a:gdLst>
                <a:gd name="T0" fmla="*/ 3 w 26"/>
                <a:gd name="T1" fmla="*/ 6 h 38"/>
                <a:gd name="T2" fmla="*/ 9 w 26"/>
                <a:gd name="T3" fmla="*/ 20 h 38"/>
                <a:gd name="T4" fmla="*/ 0 w 26"/>
                <a:gd name="T5" fmla="*/ 31 h 38"/>
                <a:gd name="T6" fmla="*/ 13 w 26"/>
                <a:gd name="T7" fmla="*/ 37 h 38"/>
                <a:gd name="T8" fmla="*/ 3 w 26"/>
                <a:gd name="T9" fmla="*/ 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8">
                  <a:moveTo>
                    <a:pt x="3" y="6"/>
                  </a:moveTo>
                  <a:cubicBezTo>
                    <a:pt x="3" y="15"/>
                    <a:pt x="6" y="15"/>
                    <a:pt x="9" y="20"/>
                  </a:cubicBezTo>
                  <a:cubicBezTo>
                    <a:pt x="9" y="26"/>
                    <a:pt x="0" y="26"/>
                    <a:pt x="0" y="31"/>
                  </a:cubicBezTo>
                  <a:cubicBezTo>
                    <a:pt x="6" y="31"/>
                    <a:pt x="6" y="37"/>
                    <a:pt x="13" y="37"/>
                  </a:cubicBezTo>
                  <a:cubicBezTo>
                    <a:pt x="19" y="29"/>
                    <a:pt x="25" y="0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4" name="Freeform 702"/>
            <p:cNvSpPr>
              <a:spLocks noChangeArrowheads="1"/>
            </p:cNvSpPr>
            <p:nvPr/>
          </p:nvSpPr>
          <p:spPr bwMode="auto">
            <a:xfrm>
              <a:off x="4125913" y="2536825"/>
              <a:ext cx="4762" cy="4763"/>
            </a:xfrm>
            <a:custGeom>
              <a:avLst/>
              <a:gdLst>
                <a:gd name="T0" fmla="*/ 1 w 14"/>
                <a:gd name="T1" fmla="*/ 6 h 15"/>
                <a:gd name="T2" fmla="*/ 4 w 14"/>
                <a:gd name="T3" fmla="*/ 11 h 15"/>
                <a:gd name="T4" fmla="*/ 13 w 14"/>
                <a:gd name="T5" fmla="*/ 14 h 15"/>
                <a:gd name="T6" fmla="*/ 13 w 14"/>
                <a:gd name="T7" fmla="*/ 11 h 15"/>
                <a:gd name="T8" fmla="*/ 7 w 14"/>
                <a:gd name="T9" fmla="*/ 6 h 15"/>
                <a:gd name="T10" fmla="*/ 4 w 14"/>
                <a:gd name="T11" fmla="*/ 0 h 15"/>
                <a:gd name="T12" fmla="*/ 0 w 14"/>
                <a:gd name="T13" fmla="*/ 3 h 15"/>
                <a:gd name="T14" fmla="*/ 1 w 14"/>
                <a:gd name="T1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5">
                  <a:moveTo>
                    <a:pt x="1" y="6"/>
                  </a:moveTo>
                  <a:cubicBezTo>
                    <a:pt x="1" y="9"/>
                    <a:pt x="4" y="9"/>
                    <a:pt x="4" y="11"/>
                  </a:cubicBezTo>
                  <a:cubicBezTo>
                    <a:pt x="7" y="14"/>
                    <a:pt x="10" y="14"/>
                    <a:pt x="13" y="14"/>
                  </a:cubicBezTo>
                  <a:lnTo>
                    <a:pt x="13" y="11"/>
                  </a:lnTo>
                  <a:cubicBezTo>
                    <a:pt x="10" y="11"/>
                    <a:pt x="10" y="9"/>
                    <a:pt x="7" y="6"/>
                  </a:cubicBezTo>
                  <a:cubicBezTo>
                    <a:pt x="7" y="3"/>
                    <a:pt x="7" y="3"/>
                    <a:pt x="4" y="0"/>
                  </a:cubicBezTo>
                  <a:cubicBezTo>
                    <a:pt x="1" y="0"/>
                    <a:pt x="1" y="0"/>
                    <a:pt x="0" y="3"/>
                  </a:cubicBezTo>
                  <a:lnTo>
                    <a:pt x="1" y="6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5" name="Freeform 703"/>
            <p:cNvSpPr>
              <a:spLocks noChangeArrowheads="1"/>
            </p:cNvSpPr>
            <p:nvPr/>
          </p:nvSpPr>
          <p:spPr bwMode="auto">
            <a:xfrm>
              <a:off x="4119563" y="2500313"/>
              <a:ext cx="1587" cy="1587"/>
            </a:xfrm>
            <a:custGeom>
              <a:avLst/>
              <a:gdLst>
                <a:gd name="T0" fmla="*/ 5 w 6"/>
                <a:gd name="T1" fmla="*/ 0 h 3"/>
                <a:gd name="T2" fmla="*/ 0 w 6"/>
                <a:gd name="T3" fmla="*/ 0 h 3"/>
                <a:gd name="T4" fmla="*/ 0 w 6"/>
                <a:gd name="T5" fmla="*/ 2 h 3"/>
                <a:gd name="T6" fmla="*/ 5 w 6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5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2"/>
                  </a:cubicBezTo>
                  <a:cubicBezTo>
                    <a:pt x="0" y="0"/>
                    <a:pt x="2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6" name="Freeform 704"/>
            <p:cNvSpPr>
              <a:spLocks noChangeArrowheads="1"/>
            </p:cNvSpPr>
            <p:nvPr/>
          </p:nvSpPr>
          <p:spPr bwMode="auto">
            <a:xfrm>
              <a:off x="4117975" y="2527300"/>
              <a:ext cx="6350" cy="6350"/>
            </a:xfrm>
            <a:custGeom>
              <a:avLst/>
              <a:gdLst>
                <a:gd name="T0" fmla="*/ 6 w 18"/>
                <a:gd name="T1" fmla="*/ 17 h 18"/>
                <a:gd name="T2" fmla="*/ 11 w 18"/>
                <a:gd name="T3" fmla="*/ 5 h 18"/>
                <a:gd name="T4" fmla="*/ 17 w 18"/>
                <a:gd name="T5" fmla="*/ 11 h 18"/>
                <a:gd name="T6" fmla="*/ 8 w 18"/>
                <a:gd name="T7" fmla="*/ 0 h 18"/>
                <a:gd name="T8" fmla="*/ 6 w 18"/>
                <a:gd name="T9" fmla="*/ 0 h 18"/>
                <a:gd name="T10" fmla="*/ 6 w 18"/>
                <a:gd name="T11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8">
                  <a:moveTo>
                    <a:pt x="6" y="17"/>
                  </a:moveTo>
                  <a:cubicBezTo>
                    <a:pt x="8" y="14"/>
                    <a:pt x="6" y="5"/>
                    <a:pt x="11" y="5"/>
                  </a:cubicBezTo>
                  <a:cubicBezTo>
                    <a:pt x="11" y="11"/>
                    <a:pt x="14" y="11"/>
                    <a:pt x="17" y="11"/>
                  </a:cubicBezTo>
                  <a:cubicBezTo>
                    <a:pt x="17" y="8"/>
                    <a:pt x="14" y="3"/>
                    <a:pt x="8" y="0"/>
                  </a:cubicBezTo>
                  <a:lnTo>
                    <a:pt x="6" y="0"/>
                  </a:lnTo>
                  <a:cubicBezTo>
                    <a:pt x="8" y="5"/>
                    <a:pt x="0" y="11"/>
                    <a:pt x="6" y="17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7" name="Freeform 705"/>
            <p:cNvSpPr>
              <a:spLocks noChangeArrowheads="1"/>
            </p:cNvSpPr>
            <p:nvPr/>
          </p:nvSpPr>
          <p:spPr bwMode="auto">
            <a:xfrm>
              <a:off x="4114800" y="3000375"/>
              <a:ext cx="6350" cy="4763"/>
            </a:xfrm>
            <a:custGeom>
              <a:avLst/>
              <a:gdLst>
                <a:gd name="T0" fmla="*/ 6 w 18"/>
                <a:gd name="T1" fmla="*/ 0 h 15"/>
                <a:gd name="T2" fmla="*/ 6 w 18"/>
                <a:gd name="T3" fmla="*/ 0 h 15"/>
                <a:gd name="T4" fmla="*/ 12 w 18"/>
                <a:gd name="T5" fmla="*/ 12 h 15"/>
                <a:gd name="T6" fmla="*/ 6 w 18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6" y="0"/>
                  </a:moveTo>
                  <a:lnTo>
                    <a:pt x="6" y="0"/>
                  </a:lnTo>
                  <a:cubicBezTo>
                    <a:pt x="0" y="6"/>
                    <a:pt x="0" y="14"/>
                    <a:pt x="12" y="12"/>
                  </a:cubicBezTo>
                  <a:cubicBezTo>
                    <a:pt x="17" y="9"/>
                    <a:pt x="12" y="3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8" name="Freeform 706"/>
            <p:cNvSpPr>
              <a:spLocks noChangeArrowheads="1"/>
            </p:cNvSpPr>
            <p:nvPr/>
          </p:nvSpPr>
          <p:spPr bwMode="auto">
            <a:xfrm>
              <a:off x="4086225" y="2708275"/>
              <a:ext cx="3175" cy="1588"/>
            </a:xfrm>
            <a:custGeom>
              <a:avLst/>
              <a:gdLst>
                <a:gd name="T0" fmla="*/ 1 w 7"/>
                <a:gd name="T1" fmla="*/ 3 h 6"/>
                <a:gd name="T2" fmla="*/ 3 w 7"/>
                <a:gd name="T3" fmla="*/ 5 h 6"/>
                <a:gd name="T4" fmla="*/ 6 w 7"/>
                <a:gd name="T5" fmla="*/ 0 h 6"/>
                <a:gd name="T6" fmla="*/ 1 w 7"/>
                <a:gd name="T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1" y="3"/>
                  </a:moveTo>
                  <a:cubicBezTo>
                    <a:pt x="1" y="3"/>
                    <a:pt x="0" y="5"/>
                    <a:pt x="3" y="5"/>
                  </a:cubicBezTo>
                  <a:cubicBezTo>
                    <a:pt x="5" y="5"/>
                    <a:pt x="6" y="3"/>
                    <a:pt x="6" y="0"/>
                  </a:cubicBezTo>
                  <a:cubicBezTo>
                    <a:pt x="3" y="0"/>
                    <a:pt x="1" y="0"/>
                    <a:pt x="1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49" name="Freeform 707"/>
            <p:cNvSpPr>
              <a:spLocks noChangeArrowheads="1"/>
            </p:cNvSpPr>
            <p:nvPr/>
          </p:nvSpPr>
          <p:spPr bwMode="auto">
            <a:xfrm>
              <a:off x="4098925" y="2887663"/>
              <a:ext cx="3175" cy="4762"/>
            </a:xfrm>
            <a:custGeom>
              <a:avLst/>
              <a:gdLst>
                <a:gd name="T0" fmla="*/ 0 w 10"/>
                <a:gd name="T1" fmla="*/ 3 h 12"/>
                <a:gd name="T2" fmla="*/ 9 w 10"/>
                <a:gd name="T3" fmla="*/ 11 h 12"/>
                <a:gd name="T4" fmla="*/ 0 w 10"/>
                <a:gd name="T5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0" y="3"/>
                  </a:moveTo>
                  <a:cubicBezTo>
                    <a:pt x="0" y="9"/>
                    <a:pt x="6" y="11"/>
                    <a:pt x="9" y="11"/>
                  </a:cubicBezTo>
                  <a:cubicBezTo>
                    <a:pt x="9" y="6"/>
                    <a:pt x="9" y="0"/>
                    <a:pt x="0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0" name="Freeform 708"/>
            <p:cNvSpPr>
              <a:spLocks noChangeArrowheads="1"/>
            </p:cNvSpPr>
            <p:nvPr/>
          </p:nvSpPr>
          <p:spPr bwMode="auto">
            <a:xfrm>
              <a:off x="4108450" y="2405063"/>
              <a:ext cx="4763" cy="6350"/>
            </a:xfrm>
            <a:custGeom>
              <a:avLst/>
              <a:gdLst>
                <a:gd name="T0" fmla="*/ 11 w 15"/>
                <a:gd name="T1" fmla="*/ 0 h 18"/>
                <a:gd name="T2" fmla="*/ 0 w 15"/>
                <a:gd name="T3" fmla="*/ 6 h 18"/>
                <a:gd name="T4" fmla="*/ 2 w 15"/>
                <a:gd name="T5" fmla="*/ 15 h 18"/>
                <a:gd name="T6" fmla="*/ 14 w 15"/>
                <a:gd name="T7" fmla="*/ 9 h 18"/>
                <a:gd name="T8" fmla="*/ 11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11" y="0"/>
                  </a:moveTo>
                  <a:cubicBezTo>
                    <a:pt x="8" y="0"/>
                    <a:pt x="2" y="0"/>
                    <a:pt x="0" y="6"/>
                  </a:cubicBezTo>
                  <a:cubicBezTo>
                    <a:pt x="0" y="9"/>
                    <a:pt x="0" y="12"/>
                    <a:pt x="2" y="15"/>
                  </a:cubicBezTo>
                  <a:cubicBezTo>
                    <a:pt x="5" y="17"/>
                    <a:pt x="8" y="12"/>
                    <a:pt x="14" y="9"/>
                  </a:cubicBezTo>
                  <a:cubicBezTo>
                    <a:pt x="14" y="3"/>
                    <a:pt x="11" y="0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1" name="Freeform 709"/>
            <p:cNvSpPr>
              <a:spLocks noChangeArrowheads="1"/>
            </p:cNvSpPr>
            <p:nvPr/>
          </p:nvSpPr>
          <p:spPr bwMode="auto">
            <a:xfrm>
              <a:off x="4111625" y="2409825"/>
              <a:ext cx="4763" cy="4763"/>
            </a:xfrm>
            <a:custGeom>
              <a:avLst/>
              <a:gdLst>
                <a:gd name="T0" fmla="*/ 3 w 15"/>
                <a:gd name="T1" fmla="*/ 14 h 15"/>
                <a:gd name="T2" fmla="*/ 8 w 15"/>
                <a:gd name="T3" fmla="*/ 14 h 15"/>
                <a:gd name="T4" fmla="*/ 3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3" y="14"/>
                  </a:moveTo>
                  <a:lnTo>
                    <a:pt x="8" y="14"/>
                  </a:lnTo>
                  <a:cubicBezTo>
                    <a:pt x="14" y="8"/>
                    <a:pt x="0" y="0"/>
                    <a:pt x="3" y="1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2" name="Freeform 710"/>
            <p:cNvSpPr>
              <a:spLocks noChangeArrowheads="1"/>
            </p:cNvSpPr>
            <p:nvPr/>
          </p:nvSpPr>
          <p:spPr bwMode="auto">
            <a:xfrm>
              <a:off x="4106863" y="2876550"/>
              <a:ext cx="1587" cy="3175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0 h 7"/>
                <a:gd name="T4" fmla="*/ 0 w 4"/>
                <a:gd name="T5" fmla="*/ 0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3"/>
                    <a:pt x="3" y="0"/>
                    <a:pt x="3" y="0"/>
                  </a:cubicBezTo>
                  <a:lnTo>
                    <a:pt x="0" y="0"/>
                  </a:lnTo>
                  <a:cubicBezTo>
                    <a:pt x="0" y="3"/>
                    <a:pt x="0" y="6"/>
                    <a:pt x="3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3" name="Freeform 711"/>
            <p:cNvSpPr>
              <a:spLocks noChangeArrowheads="1"/>
            </p:cNvSpPr>
            <p:nvPr/>
          </p:nvSpPr>
          <p:spPr bwMode="auto">
            <a:xfrm>
              <a:off x="4127500" y="2976563"/>
              <a:ext cx="6350" cy="7937"/>
            </a:xfrm>
            <a:custGeom>
              <a:avLst/>
              <a:gdLst>
                <a:gd name="T0" fmla="*/ 6 w 18"/>
                <a:gd name="T1" fmla="*/ 0 h 21"/>
                <a:gd name="T2" fmla="*/ 0 w 18"/>
                <a:gd name="T3" fmla="*/ 6 h 21"/>
                <a:gd name="T4" fmla="*/ 3 w 18"/>
                <a:gd name="T5" fmla="*/ 20 h 21"/>
                <a:gd name="T6" fmla="*/ 14 w 18"/>
                <a:gd name="T7" fmla="*/ 14 h 21"/>
                <a:gd name="T8" fmla="*/ 6 w 18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1">
                  <a:moveTo>
                    <a:pt x="6" y="0"/>
                  </a:moveTo>
                  <a:cubicBezTo>
                    <a:pt x="3" y="0"/>
                    <a:pt x="3" y="3"/>
                    <a:pt x="0" y="6"/>
                  </a:cubicBezTo>
                  <a:cubicBezTo>
                    <a:pt x="0" y="12"/>
                    <a:pt x="0" y="14"/>
                    <a:pt x="3" y="20"/>
                  </a:cubicBezTo>
                  <a:cubicBezTo>
                    <a:pt x="6" y="17"/>
                    <a:pt x="12" y="17"/>
                    <a:pt x="14" y="14"/>
                  </a:cubicBezTo>
                  <a:cubicBezTo>
                    <a:pt x="17" y="3"/>
                    <a:pt x="6" y="9"/>
                    <a:pt x="6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4" name="Freeform 712"/>
            <p:cNvSpPr>
              <a:spLocks noChangeArrowheads="1"/>
            </p:cNvSpPr>
            <p:nvPr/>
          </p:nvSpPr>
          <p:spPr bwMode="auto">
            <a:xfrm>
              <a:off x="4111625" y="2981325"/>
              <a:ext cx="3175" cy="4763"/>
            </a:xfrm>
            <a:custGeom>
              <a:avLst/>
              <a:gdLst>
                <a:gd name="T0" fmla="*/ 0 w 10"/>
                <a:gd name="T1" fmla="*/ 5 h 12"/>
                <a:gd name="T2" fmla="*/ 9 w 10"/>
                <a:gd name="T3" fmla="*/ 8 h 12"/>
                <a:gd name="T4" fmla="*/ 9 w 10"/>
                <a:gd name="T5" fmla="*/ 8 h 12"/>
                <a:gd name="T6" fmla="*/ 0 w 10"/>
                <a:gd name="T7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0" y="5"/>
                  </a:moveTo>
                  <a:cubicBezTo>
                    <a:pt x="0" y="8"/>
                    <a:pt x="3" y="11"/>
                    <a:pt x="9" y="8"/>
                  </a:cubicBezTo>
                  <a:lnTo>
                    <a:pt x="9" y="8"/>
                  </a:lnTo>
                  <a:cubicBezTo>
                    <a:pt x="3" y="8"/>
                    <a:pt x="6" y="0"/>
                    <a:pt x="0" y="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5" name="Freeform 713"/>
            <p:cNvSpPr>
              <a:spLocks noChangeArrowheads="1"/>
            </p:cNvSpPr>
            <p:nvPr/>
          </p:nvSpPr>
          <p:spPr bwMode="auto">
            <a:xfrm>
              <a:off x="4111625" y="3067050"/>
              <a:ext cx="4763" cy="3175"/>
            </a:xfrm>
            <a:custGeom>
              <a:avLst/>
              <a:gdLst>
                <a:gd name="T0" fmla="*/ 0 w 12"/>
                <a:gd name="T1" fmla="*/ 0 h 10"/>
                <a:gd name="T2" fmla="*/ 9 w 12"/>
                <a:gd name="T3" fmla="*/ 9 h 10"/>
                <a:gd name="T4" fmla="*/ 0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cubicBezTo>
                    <a:pt x="0" y="6"/>
                    <a:pt x="3" y="9"/>
                    <a:pt x="9" y="9"/>
                  </a:cubicBezTo>
                  <a:cubicBezTo>
                    <a:pt x="11" y="0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6" name="Freeform 714"/>
            <p:cNvSpPr>
              <a:spLocks noChangeArrowheads="1"/>
            </p:cNvSpPr>
            <p:nvPr/>
          </p:nvSpPr>
          <p:spPr bwMode="auto">
            <a:xfrm>
              <a:off x="4119563" y="2800350"/>
              <a:ext cx="1587" cy="1588"/>
            </a:xfrm>
            <a:custGeom>
              <a:avLst/>
              <a:gdLst>
                <a:gd name="T0" fmla="*/ 0 w 6"/>
                <a:gd name="T1" fmla="*/ 0 h 4"/>
                <a:gd name="T2" fmla="*/ 5 w 6"/>
                <a:gd name="T3" fmla="*/ 3 h 4"/>
                <a:gd name="T4" fmla="*/ 0 w 6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cubicBezTo>
                    <a:pt x="2" y="0"/>
                    <a:pt x="2" y="0"/>
                    <a:pt x="5" y="3"/>
                  </a:cubicBezTo>
                  <a:cubicBezTo>
                    <a:pt x="2" y="0"/>
                    <a:pt x="0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7" name="Freeform 715"/>
            <p:cNvSpPr>
              <a:spLocks noChangeArrowheads="1"/>
            </p:cNvSpPr>
            <p:nvPr/>
          </p:nvSpPr>
          <p:spPr bwMode="auto">
            <a:xfrm>
              <a:off x="4114800" y="2297113"/>
              <a:ext cx="3175" cy="1587"/>
            </a:xfrm>
            <a:custGeom>
              <a:avLst/>
              <a:gdLst>
                <a:gd name="T0" fmla="*/ 0 w 9"/>
                <a:gd name="T1" fmla="*/ 2 h 6"/>
                <a:gd name="T2" fmla="*/ 8 w 9"/>
                <a:gd name="T3" fmla="*/ 0 h 6"/>
                <a:gd name="T4" fmla="*/ 8 w 9"/>
                <a:gd name="T5" fmla="*/ 0 h 6"/>
                <a:gd name="T6" fmla="*/ 0 w 9"/>
                <a:gd name="T7" fmla="*/ 0 h 6"/>
                <a:gd name="T8" fmla="*/ 0 w 9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0" y="2"/>
                  </a:moveTo>
                  <a:cubicBezTo>
                    <a:pt x="2" y="5"/>
                    <a:pt x="5" y="2"/>
                    <a:pt x="8" y="0"/>
                  </a:cubicBezTo>
                  <a:lnTo>
                    <a:pt x="8" y="0"/>
                  </a:lnTo>
                  <a:cubicBezTo>
                    <a:pt x="5" y="0"/>
                    <a:pt x="2" y="0"/>
                    <a:pt x="0" y="0"/>
                  </a:cubicBezTo>
                  <a:lnTo>
                    <a:pt x="0" y="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8" name="Freeform 716"/>
            <p:cNvSpPr>
              <a:spLocks noChangeArrowheads="1"/>
            </p:cNvSpPr>
            <p:nvPr/>
          </p:nvSpPr>
          <p:spPr bwMode="auto">
            <a:xfrm>
              <a:off x="4122738" y="2900363"/>
              <a:ext cx="3175" cy="3175"/>
            </a:xfrm>
            <a:custGeom>
              <a:avLst/>
              <a:gdLst>
                <a:gd name="T0" fmla="*/ 0 w 11"/>
                <a:gd name="T1" fmla="*/ 6 h 7"/>
                <a:gd name="T2" fmla="*/ 10 w 11"/>
                <a:gd name="T3" fmla="*/ 3 h 7"/>
                <a:gd name="T4" fmla="*/ 10 w 11"/>
                <a:gd name="T5" fmla="*/ 0 h 7"/>
                <a:gd name="T6" fmla="*/ 0 w 11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7">
                  <a:moveTo>
                    <a:pt x="0" y="6"/>
                  </a:moveTo>
                  <a:cubicBezTo>
                    <a:pt x="3" y="6"/>
                    <a:pt x="6" y="3"/>
                    <a:pt x="10" y="3"/>
                  </a:cubicBezTo>
                  <a:lnTo>
                    <a:pt x="10" y="0"/>
                  </a:lnTo>
                  <a:cubicBezTo>
                    <a:pt x="6" y="0"/>
                    <a:pt x="0" y="0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59" name="Freeform 717"/>
            <p:cNvSpPr>
              <a:spLocks noChangeArrowheads="1"/>
            </p:cNvSpPr>
            <p:nvPr/>
          </p:nvSpPr>
          <p:spPr bwMode="auto">
            <a:xfrm>
              <a:off x="4119563" y="2795588"/>
              <a:ext cx="1587" cy="1587"/>
            </a:xfrm>
            <a:custGeom>
              <a:avLst/>
              <a:gdLst>
                <a:gd name="T0" fmla="*/ 3 w 4"/>
                <a:gd name="T1" fmla="*/ 3 h 4"/>
                <a:gd name="T2" fmla="*/ 3 w 4"/>
                <a:gd name="T3" fmla="*/ 0 h 4"/>
                <a:gd name="T4" fmla="*/ 0 w 4"/>
                <a:gd name="T5" fmla="*/ 3 h 4"/>
                <a:gd name="T6" fmla="*/ 3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lnTo>
                    <a:pt x="3" y="0"/>
                  </a:lnTo>
                  <a:lnTo>
                    <a:pt x="0" y="3"/>
                  </a:lnTo>
                  <a:cubicBezTo>
                    <a:pt x="0" y="3"/>
                    <a:pt x="0" y="3"/>
                    <a:pt x="3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0" name="Freeform 718"/>
            <p:cNvSpPr>
              <a:spLocks noChangeArrowheads="1"/>
            </p:cNvSpPr>
            <p:nvPr/>
          </p:nvSpPr>
          <p:spPr bwMode="auto">
            <a:xfrm>
              <a:off x="4090988" y="2986088"/>
              <a:ext cx="3175" cy="4762"/>
            </a:xfrm>
            <a:custGeom>
              <a:avLst/>
              <a:gdLst>
                <a:gd name="T0" fmla="*/ 5 w 9"/>
                <a:gd name="T1" fmla="*/ 0 h 12"/>
                <a:gd name="T2" fmla="*/ 0 w 9"/>
                <a:gd name="T3" fmla="*/ 8 h 12"/>
                <a:gd name="T4" fmla="*/ 2 w 9"/>
                <a:gd name="T5" fmla="*/ 11 h 12"/>
                <a:gd name="T6" fmla="*/ 5 w 9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5" y="0"/>
                  </a:moveTo>
                  <a:cubicBezTo>
                    <a:pt x="5" y="6"/>
                    <a:pt x="2" y="6"/>
                    <a:pt x="0" y="8"/>
                  </a:cubicBezTo>
                  <a:lnTo>
                    <a:pt x="2" y="11"/>
                  </a:lnTo>
                  <a:cubicBezTo>
                    <a:pt x="5" y="8"/>
                    <a:pt x="8" y="0"/>
                    <a:pt x="5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1" name="Freeform 719"/>
            <p:cNvSpPr>
              <a:spLocks noChangeArrowheads="1"/>
            </p:cNvSpPr>
            <p:nvPr/>
          </p:nvSpPr>
          <p:spPr bwMode="auto">
            <a:xfrm>
              <a:off x="4141788" y="2990850"/>
              <a:ext cx="4762" cy="7938"/>
            </a:xfrm>
            <a:custGeom>
              <a:avLst/>
              <a:gdLst>
                <a:gd name="T0" fmla="*/ 5 w 15"/>
                <a:gd name="T1" fmla="*/ 22 h 23"/>
                <a:gd name="T2" fmla="*/ 11 w 15"/>
                <a:gd name="T3" fmla="*/ 17 h 23"/>
                <a:gd name="T4" fmla="*/ 8 w 15"/>
                <a:gd name="T5" fmla="*/ 8 h 23"/>
                <a:gd name="T6" fmla="*/ 14 w 15"/>
                <a:gd name="T7" fmla="*/ 8 h 23"/>
                <a:gd name="T8" fmla="*/ 14 w 15"/>
                <a:gd name="T9" fmla="*/ 0 h 23"/>
                <a:gd name="T10" fmla="*/ 8 w 15"/>
                <a:gd name="T11" fmla="*/ 3 h 23"/>
                <a:gd name="T12" fmla="*/ 8 w 15"/>
                <a:gd name="T13" fmla="*/ 3 h 23"/>
                <a:gd name="T14" fmla="*/ 5 w 15"/>
                <a:gd name="T15" fmla="*/ 3 h 23"/>
                <a:gd name="T16" fmla="*/ 0 w 15"/>
                <a:gd name="T17" fmla="*/ 11 h 23"/>
                <a:gd name="T18" fmla="*/ 0 w 15"/>
                <a:gd name="T19" fmla="*/ 17 h 23"/>
                <a:gd name="T20" fmla="*/ 5 w 15"/>
                <a:gd name="T21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3">
                  <a:moveTo>
                    <a:pt x="5" y="22"/>
                  </a:moveTo>
                  <a:cubicBezTo>
                    <a:pt x="5" y="20"/>
                    <a:pt x="8" y="20"/>
                    <a:pt x="11" y="17"/>
                  </a:cubicBezTo>
                  <a:cubicBezTo>
                    <a:pt x="11" y="14"/>
                    <a:pt x="8" y="11"/>
                    <a:pt x="8" y="8"/>
                  </a:cubicBezTo>
                  <a:lnTo>
                    <a:pt x="14" y="8"/>
                  </a:lnTo>
                  <a:cubicBezTo>
                    <a:pt x="14" y="6"/>
                    <a:pt x="14" y="3"/>
                    <a:pt x="14" y="0"/>
                  </a:cubicBezTo>
                  <a:cubicBezTo>
                    <a:pt x="11" y="3"/>
                    <a:pt x="11" y="3"/>
                    <a:pt x="8" y="3"/>
                  </a:cubicBezTo>
                  <a:lnTo>
                    <a:pt x="8" y="3"/>
                  </a:lnTo>
                  <a:lnTo>
                    <a:pt x="5" y="3"/>
                  </a:lnTo>
                  <a:cubicBezTo>
                    <a:pt x="2" y="6"/>
                    <a:pt x="2" y="8"/>
                    <a:pt x="0" y="11"/>
                  </a:cubicBezTo>
                  <a:cubicBezTo>
                    <a:pt x="0" y="14"/>
                    <a:pt x="0" y="14"/>
                    <a:pt x="0" y="17"/>
                  </a:cubicBezTo>
                  <a:cubicBezTo>
                    <a:pt x="2" y="20"/>
                    <a:pt x="5" y="22"/>
                    <a:pt x="5" y="22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2" name="Freeform 720"/>
            <p:cNvSpPr>
              <a:spLocks noChangeArrowheads="1"/>
            </p:cNvSpPr>
            <p:nvPr/>
          </p:nvSpPr>
          <p:spPr bwMode="auto">
            <a:xfrm>
              <a:off x="4089400" y="2574925"/>
              <a:ext cx="1588" cy="1588"/>
            </a:xfrm>
            <a:custGeom>
              <a:avLst/>
              <a:gdLst>
                <a:gd name="T0" fmla="*/ 3 w 4"/>
                <a:gd name="T1" fmla="*/ 0 h 6"/>
                <a:gd name="T2" fmla="*/ 0 w 4"/>
                <a:gd name="T3" fmla="*/ 5 h 6"/>
                <a:gd name="T4" fmla="*/ 3 w 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3" y="0"/>
                  </a:moveTo>
                  <a:cubicBezTo>
                    <a:pt x="0" y="0"/>
                    <a:pt x="0" y="2"/>
                    <a:pt x="0" y="5"/>
                  </a:cubicBezTo>
                  <a:cubicBezTo>
                    <a:pt x="0" y="2"/>
                    <a:pt x="3" y="2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3" name="Freeform 721"/>
            <p:cNvSpPr>
              <a:spLocks noChangeArrowheads="1"/>
            </p:cNvSpPr>
            <p:nvPr/>
          </p:nvSpPr>
          <p:spPr bwMode="auto">
            <a:xfrm>
              <a:off x="4138613" y="2738438"/>
              <a:ext cx="3175" cy="3175"/>
            </a:xfrm>
            <a:custGeom>
              <a:avLst/>
              <a:gdLst>
                <a:gd name="T0" fmla="*/ 0 w 10"/>
                <a:gd name="T1" fmla="*/ 8 h 9"/>
                <a:gd name="T2" fmla="*/ 9 w 10"/>
                <a:gd name="T3" fmla="*/ 8 h 9"/>
                <a:gd name="T4" fmla="*/ 9 w 10"/>
                <a:gd name="T5" fmla="*/ 0 h 9"/>
                <a:gd name="T6" fmla="*/ 0 w 10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0" y="8"/>
                  </a:moveTo>
                  <a:lnTo>
                    <a:pt x="9" y="8"/>
                  </a:lnTo>
                  <a:lnTo>
                    <a:pt x="9" y="0"/>
                  </a:lnTo>
                  <a:cubicBezTo>
                    <a:pt x="0" y="0"/>
                    <a:pt x="0" y="2"/>
                    <a:pt x="0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4" name="Freeform 722"/>
            <p:cNvSpPr>
              <a:spLocks noChangeArrowheads="1"/>
            </p:cNvSpPr>
            <p:nvPr/>
          </p:nvSpPr>
          <p:spPr bwMode="auto">
            <a:xfrm>
              <a:off x="4138613" y="2533650"/>
              <a:ext cx="3175" cy="1588"/>
            </a:xfrm>
            <a:custGeom>
              <a:avLst/>
              <a:gdLst>
                <a:gd name="T0" fmla="*/ 0 w 10"/>
                <a:gd name="T1" fmla="*/ 0 h 3"/>
                <a:gd name="T2" fmla="*/ 0 w 10"/>
                <a:gd name="T3" fmla="*/ 2 h 3"/>
                <a:gd name="T4" fmla="*/ 9 w 10"/>
                <a:gd name="T5" fmla="*/ 0 h 3"/>
                <a:gd name="T6" fmla="*/ 0 w 10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">
                  <a:moveTo>
                    <a:pt x="0" y="0"/>
                  </a:moveTo>
                  <a:lnTo>
                    <a:pt x="0" y="2"/>
                  </a:lnTo>
                  <a:cubicBezTo>
                    <a:pt x="3" y="2"/>
                    <a:pt x="9" y="2"/>
                    <a:pt x="9" y="0"/>
                  </a:cubicBezTo>
                  <a:cubicBezTo>
                    <a:pt x="6" y="0"/>
                    <a:pt x="3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5" name="Freeform 723"/>
            <p:cNvSpPr>
              <a:spLocks noChangeArrowheads="1"/>
            </p:cNvSpPr>
            <p:nvPr/>
          </p:nvSpPr>
          <p:spPr bwMode="auto">
            <a:xfrm>
              <a:off x="4144963" y="2490788"/>
              <a:ext cx="11112" cy="9525"/>
            </a:xfrm>
            <a:custGeom>
              <a:avLst/>
              <a:gdLst>
                <a:gd name="T0" fmla="*/ 17 w 29"/>
                <a:gd name="T1" fmla="*/ 11 h 27"/>
                <a:gd name="T2" fmla="*/ 28 w 29"/>
                <a:gd name="T3" fmla="*/ 17 h 27"/>
                <a:gd name="T4" fmla="*/ 6 w 29"/>
                <a:gd name="T5" fmla="*/ 0 h 27"/>
                <a:gd name="T6" fmla="*/ 17 w 29"/>
                <a:gd name="T7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27">
                  <a:moveTo>
                    <a:pt x="17" y="11"/>
                  </a:moveTo>
                  <a:cubicBezTo>
                    <a:pt x="20" y="17"/>
                    <a:pt x="26" y="26"/>
                    <a:pt x="28" y="17"/>
                  </a:cubicBezTo>
                  <a:cubicBezTo>
                    <a:pt x="17" y="14"/>
                    <a:pt x="17" y="3"/>
                    <a:pt x="6" y="0"/>
                  </a:cubicBezTo>
                  <a:cubicBezTo>
                    <a:pt x="0" y="3"/>
                    <a:pt x="9" y="9"/>
                    <a:pt x="17" y="11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6" name="Freeform 724"/>
            <p:cNvSpPr>
              <a:spLocks noChangeArrowheads="1"/>
            </p:cNvSpPr>
            <p:nvPr/>
          </p:nvSpPr>
          <p:spPr bwMode="auto">
            <a:xfrm>
              <a:off x="4083050" y="2195513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8 w 9"/>
                <a:gd name="T3" fmla="*/ 8 h 9"/>
                <a:gd name="T4" fmla="*/ 8 w 9"/>
                <a:gd name="T5" fmla="*/ 0 h 9"/>
                <a:gd name="T6" fmla="*/ 0 w 9"/>
                <a:gd name="T7" fmla="*/ 0 h 9"/>
                <a:gd name="T8" fmla="*/ 8 w 9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lnTo>
                    <a:pt x="8" y="8"/>
                  </a:lnTo>
                  <a:cubicBezTo>
                    <a:pt x="8" y="5"/>
                    <a:pt x="8" y="2"/>
                    <a:pt x="8" y="0"/>
                  </a:cubicBezTo>
                  <a:cubicBezTo>
                    <a:pt x="6" y="0"/>
                    <a:pt x="3" y="2"/>
                    <a:pt x="0" y="0"/>
                  </a:cubicBezTo>
                  <a:cubicBezTo>
                    <a:pt x="0" y="5"/>
                    <a:pt x="3" y="8"/>
                    <a:pt x="8" y="8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7" name="Freeform 725"/>
            <p:cNvSpPr>
              <a:spLocks noChangeArrowheads="1"/>
            </p:cNvSpPr>
            <p:nvPr/>
          </p:nvSpPr>
          <p:spPr bwMode="auto">
            <a:xfrm>
              <a:off x="4086225" y="2284413"/>
              <a:ext cx="3175" cy="4762"/>
            </a:xfrm>
            <a:custGeom>
              <a:avLst/>
              <a:gdLst>
                <a:gd name="T0" fmla="*/ 0 w 9"/>
                <a:gd name="T1" fmla="*/ 0 h 15"/>
                <a:gd name="T2" fmla="*/ 0 w 9"/>
                <a:gd name="T3" fmla="*/ 14 h 15"/>
                <a:gd name="T4" fmla="*/ 8 w 9"/>
                <a:gd name="T5" fmla="*/ 11 h 15"/>
                <a:gd name="T6" fmla="*/ 0 w 9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5">
                  <a:moveTo>
                    <a:pt x="0" y="0"/>
                  </a:moveTo>
                  <a:cubicBezTo>
                    <a:pt x="0" y="5"/>
                    <a:pt x="0" y="8"/>
                    <a:pt x="0" y="14"/>
                  </a:cubicBezTo>
                  <a:cubicBezTo>
                    <a:pt x="2" y="14"/>
                    <a:pt x="5" y="11"/>
                    <a:pt x="8" y="11"/>
                  </a:cubicBezTo>
                  <a:cubicBezTo>
                    <a:pt x="2" y="8"/>
                    <a:pt x="5" y="0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8" name="Freeform 726"/>
            <p:cNvSpPr>
              <a:spLocks noChangeArrowheads="1"/>
            </p:cNvSpPr>
            <p:nvPr/>
          </p:nvSpPr>
          <p:spPr bwMode="auto">
            <a:xfrm>
              <a:off x="4149725" y="2462213"/>
              <a:ext cx="9525" cy="9525"/>
            </a:xfrm>
            <a:custGeom>
              <a:avLst/>
              <a:gdLst>
                <a:gd name="T0" fmla="*/ 11 w 27"/>
                <a:gd name="T1" fmla="*/ 26 h 27"/>
                <a:gd name="T2" fmla="*/ 14 w 27"/>
                <a:gd name="T3" fmla="*/ 26 h 27"/>
                <a:gd name="T4" fmla="*/ 14 w 27"/>
                <a:gd name="T5" fmla="*/ 26 h 27"/>
                <a:gd name="T6" fmla="*/ 14 w 27"/>
                <a:gd name="T7" fmla="*/ 11 h 27"/>
                <a:gd name="T8" fmla="*/ 26 w 27"/>
                <a:gd name="T9" fmla="*/ 6 h 27"/>
                <a:gd name="T10" fmla="*/ 14 w 27"/>
                <a:gd name="T11" fmla="*/ 0 h 27"/>
                <a:gd name="T12" fmla="*/ 11 w 27"/>
                <a:gd name="T13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7">
                  <a:moveTo>
                    <a:pt x="11" y="26"/>
                  </a:moveTo>
                  <a:lnTo>
                    <a:pt x="14" y="26"/>
                  </a:lnTo>
                  <a:lnTo>
                    <a:pt x="14" y="26"/>
                  </a:lnTo>
                  <a:lnTo>
                    <a:pt x="14" y="11"/>
                  </a:lnTo>
                  <a:cubicBezTo>
                    <a:pt x="17" y="9"/>
                    <a:pt x="23" y="9"/>
                    <a:pt x="26" y="6"/>
                  </a:cubicBezTo>
                  <a:cubicBezTo>
                    <a:pt x="23" y="3"/>
                    <a:pt x="17" y="3"/>
                    <a:pt x="14" y="0"/>
                  </a:cubicBezTo>
                  <a:cubicBezTo>
                    <a:pt x="6" y="3"/>
                    <a:pt x="0" y="20"/>
                    <a:pt x="11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69" name="Freeform 727"/>
            <p:cNvSpPr>
              <a:spLocks noChangeArrowheads="1"/>
            </p:cNvSpPr>
            <p:nvPr/>
          </p:nvSpPr>
          <p:spPr bwMode="auto">
            <a:xfrm>
              <a:off x="4138613" y="2460625"/>
              <a:ext cx="1587" cy="4763"/>
            </a:xfrm>
            <a:custGeom>
              <a:avLst/>
              <a:gdLst>
                <a:gd name="T0" fmla="*/ 3 w 4"/>
                <a:gd name="T1" fmla="*/ 0 h 15"/>
                <a:gd name="T2" fmla="*/ 3 w 4"/>
                <a:gd name="T3" fmla="*/ 14 h 15"/>
                <a:gd name="T4" fmla="*/ 3 w 4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5">
                  <a:moveTo>
                    <a:pt x="3" y="0"/>
                  </a:moveTo>
                  <a:cubicBezTo>
                    <a:pt x="0" y="3"/>
                    <a:pt x="0" y="8"/>
                    <a:pt x="3" y="14"/>
                  </a:cubicBezTo>
                  <a:cubicBezTo>
                    <a:pt x="3" y="8"/>
                    <a:pt x="3" y="5"/>
                    <a:pt x="3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0" name="Freeform 728"/>
            <p:cNvSpPr>
              <a:spLocks noChangeArrowheads="1"/>
            </p:cNvSpPr>
            <p:nvPr/>
          </p:nvSpPr>
          <p:spPr bwMode="auto">
            <a:xfrm>
              <a:off x="4086225" y="2276475"/>
              <a:ext cx="3175" cy="1588"/>
            </a:xfrm>
            <a:custGeom>
              <a:avLst/>
              <a:gdLst>
                <a:gd name="T0" fmla="*/ 6 w 7"/>
                <a:gd name="T1" fmla="*/ 3 h 4"/>
                <a:gd name="T2" fmla="*/ 0 w 7"/>
                <a:gd name="T3" fmla="*/ 0 h 4"/>
                <a:gd name="T4" fmla="*/ 6 w 7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3"/>
                  </a:moveTo>
                  <a:cubicBezTo>
                    <a:pt x="3" y="0"/>
                    <a:pt x="3" y="0"/>
                    <a:pt x="0" y="0"/>
                  </a:cubicBezTo>
                  <a:cubicBezTo>
                    <a:pt x="0" y="3"/>
                    <a:pt x="3" y="3"/>
                    <a:pt x="6" y="3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1" name="Freeform 729"/>
            <p:cNvSpPr>
              <a:spLocks noChangeArrowheads="1"/>
            </p:cNvSpPr>
            <p:nvPr/>
          </p:nvSpPr>
          <p:spPr bwMode="auto">
            <a:xfrm>
              <a:off x="4079875" y="2255838"/>
              <a:ext cx="6350" cy="7937"/>
            </a:xfrm>
            <a:custGeom>
              <a:avLst/>
              <a:gdLst>
                <a:gd name="T0" fmla="*/ 12 w 18"/>
                <a:gd name="T1" fmla="*/ 0 h 23"/>
                <a:gd name="T2" fmla="*/ 12 w 18"/>
                <a:gd name="T3" fmla="*/ 0 h 23"/>
                <a:gd name="T4" fmla="*/ 15 w 18"/>
                <a:gd name="T5" fmla="*/ 22 h 23"/>
                <a:gd name="T6" fmla="*/ 17 w 18"/>
                <a:gd name="T7" fmla="*/ 17 h 23"/>
                <a:gd name="T8" fmla="*/ 12 w 18"/>
                <a:gd name="T9" fmla="*/ 17 h 23"/>
                <a:gd name="T10" fmla="*/ 12 w 18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3">
                  <a:moveTo>
                    <a:pt x="12" y="0"/>
                  </a:moveTo>
                  <a:lnTo>
                    <a:pt x="12" y="0"/>
                  </a:lnTo>
                  <a:cubicBezTo>
                    <a:pt x="15" y="11"/>
                    <a:pt x="0" y="22"/>
                    <a:pt x="15" y="22"/>
                  </a:cubicBezTo>
                  <a:cubicBezTo>
                    <a:pt x="15" y="20"/>
                    <a:pt x="17" y="20"/>
                    <a:pt x="17" y="17"/>
                  </a:cubicBezTo>
                  <a:cubicBezTo>
                    <a:pt x="15" y="17"/>
                    <a:pt x="12" y="17"/>
                    <a:pt x="12" y="17"/>
                  </a:cubicBezTo>
                  <a:cubicBezTo>
                    <a:pt x="17" y="8"/>
                    <a:pt x="15" y="3"/>
                    <a:pt x="1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2" name="Freeform 730"/>
            <p:cNvSpPr>
              <a:spLocks noChangeArrowheads="1"/>
            </p:cNvSpPr>
            <p:nvPr/>
          </p:nvSpPr>
          <p:spPr bwMode="auto">
            <a:xfrm>
              <a:off x="4137025" y="2170113"/>
              <a:ext cx="4763" cy="4762"/>
            </a:xfrm>
            <a:custGeom>
              <a:avLst/>
              <a:gdLst>
                <a:gd name="T0" fmla="*/ 2 w 15"/>
                <a:gd name="T1" fmla="*/ 0 h 15"/>
                <a:gd name="T2" fmla="*/ 2 w 15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2" y="0"/>
                  </a:moveTo>
                  <a:cubicBezTo>
                    <a:pt x="0" y="14"/>
                    <a:pt x="14" y="3"/>
                    <a:pt x="2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3" name="Freeform 731"/>
            <p:cNvSpPr>
              <a:spLocks noChangeArrowheads="1"/>
            </p:cNvSpPr>
            <p:nvPr/>
          </p:nvSpPr>
          <p:spPr bwMode="auto">
            <a:xfrm>
              <a:off x="4098925" y="2270125"/>
              <a:ext cx="4763" cy="4763"/>
            </a:xfrm>
            <a:custGeom>
              <a:avLst/>
              <a:gdLst>
                <a:gd name="T0" fmla="*/ 12 w 13"/>
                <a:gd name="T1" fmla="*/ 9 h 15"/>
                <a:gd name="T2" fmla="*/ 12 w 13"/>
                <a:gd name="T3" fmla="*/ 0 h 15"/>
                <a:gd name="T4" fmla="*/ 6 w 13"/>
                <a:gd name="T5" fmla="*/ 3 h 15"/>
                <a:gd name="T6" fmla="*/ 0 w 13"/>
                <a:gd name="T7" fmla="*/ 9 h 15"/>
                <a:gd name="T8" fmla="*/ 12 w 13"/>
                <a:gd name="T9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5">
                  <a:moveTo>
                    <a:pt x="12" y="9"/>
                  </a:moveTo>
                  <a:cubicBezTo>
                    <a:pt x="12" y="6"/>
                    <a:pt x="12" y="3"/>
                    <a:pt x="12" y="0"/>
                  </a:cubicBezTo>
                  <a:cubicBezTo>
                    <a:pt x="9" y="0"/>
                    <a:pt x="6" y="3"/>
                    <a:pt x="6" y="3"/>
                  </a:cubicBezTo>
                  <a:cubicBezTo>
                    <a:pt x="3" y="6"/>
                    <a:pt x="3" y="6"/>
                    <a:pt x="0" y="9"/>
                  </a:cubicBezTo>
                  <a:cubicBezTo>
                    <a:pt x="6" y="14"/>
                    <a:pt x="9" y="12"/>
                    <a:pt x="12" y="9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4" name="Freeform 732"/>
            <p:cNvSpPr>
              <a:spLocks noChangeArrowheads="1"/>
            </p:cNvSpPr>
            <p:nvPr/>
          </p:nvSpPr>
          <p:spPr bwMode="auto">
            <a:xfrm>
              <a:off x="4110038" y="2174875"/>
              <a:ext cx="1587" cy="1588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cubicBezTo>
                    <a:pt x="0" y="0"/>
                    <a:pt x="3" y="3"/>
                    <a:pt x="0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5" name="Freeform 733"/>
            <p:cNvSpPr>
              <a:spLocks noChangeArrowheads="1"/>
            </p:cNvSpPr>
            <p:nvPr/>
          </p:nvSpPr>
          <p:spPr bwMode="auto">
            <a:xfrm>
              <a:off x="4083050" y="2755900"/>
              <a:ext cx="4763" cy="3175"/>
            </a:xfrm>
            <a:custGeom>
              <a:avLst/>
              <a:gdLst>
                <a:gd name="T0" fmla="*/ 0 w 12"/>
                <a:gd name="T1" fmla="*/ 6 h 10"/>
                <a:gd name="T2" fmla="*/ 0 w 12"/>
                <a:gd name="T3" fmla="*/ 6 h 10"/>
                <a:gd name="T4" fmla="*/ 11 w 12"/>
                <a:gd name="T5" fmla="*/ 0 h 10"/>
                <a:gd name="T6" fmla="*/ 9 w 12"/>
                <a:gd name="T7" fmla="*/ 0 h 10"/>
                <a:gd name="T8" fmla="*/ 0 w 12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lnTo>
                    <a:pt x="0" y="6"/>
                  </a:lnTo>
                  <a:cubicBezTo>
                    <a:pt x="6" y="9"/>
                    <a:pt x="9" y="6"/>
                    <a:pt x="11" y="0"/>
                  </a:cubicBezTo>
                  <a:lnTo>
                    <a:pt x="9" y="0"/>
                  </a:lnTo>
                  <a:cubicBezTo>
                    <a:pt x="6" y="3"/>
                    <a:pt x="3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6" name="Freeform 734"/>
            <p:cNvSpPr>
              <a:spLocks noChangeArrowheads="1"/>
            </p:cNvSpPr>
            <p:nvPr/>
          </p:nvSpPr>
          <p:spPr bwMode="auto">
            <a:xfrm>
              <a:off x="4111625" y="2495550"/>
              <a:ext cx="3175" cy="1588"/>
            </a:xfrm>
            <a:custGeom>
              <a:avLst/>
              <a:gdLst>
                <a:gd name="T0" fmla="*/ 6 w 7"/>
                <a:gd name="T1" fmla="*/ 0 h 4"/>
                <a:gd name="T2" fmla="*/ 0 w 7"/>
                <a:gd name="T3" fmla="*/ 0 h 4"/>
                <a:gd name="T4" fmla="*/ 0 w 7"/>
                <a:gd name="T5" fmla="*/ 3 h 4"/>
                <a:gd name="T6" fmla="*/ 6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3" y="0"/>
                    <a:pt x="3" y="0"/>
                    <a:pt x="0" y="0"/>
                  </a:cubicBezTo>
                  <a:lnTo>
                    <a:pt x="0" y="3"/>
                  </a:lnTo>
                  <a:lnTo>
                    <a:pt x="6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7" name="Freeform 735"/>
            <p:cNvSpPr>
              <a:spLocks noChangeArrowheads="1"/>
            </p:cNvSpPr>
            <p:nvPr/>
          </p:nvSpPr>
          <p:spPr bwMode="auto">
            <a:xfrm>
              <a:off x="4137025" y="2524125"/>
              <a:ext cx="4763" cy="3175"/>
            </a:xfrm>
            <a:custGeom>
              <a:avLst/>
              <a:gdLst>
                <a:gd name="T0" fmla="*/ 11 w 12"/>
                <a:gd name="T1" fmla="*/ 0 h 10"/>
                <a:gd name="T2" fmla="*/ 2 w 12"/>
                <a:gd name="T3" fmla="*/ 9 h 10"/>
                <a:gd name="T4" fmla="*/ 11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0"/>
                  </a:moveTo>
                  <a:cubicBezTo>
                    <a:pt x="5" y="0"/>
                    <a:pt x="0" y="0"/>
                    <a:pt x="2" y="9"/>
                  </a:cubicBezTo>
                  <a:cubicBezTo>
                    <a:pt x="5" y="9"/>
                    <a:pt x="11" y="6"/>
                    <a:pt x="11" y="0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8" name="Freeform 736"/>
            <p:cNvSpPr>
              <a:spLocks noChangeArrowheads="1"/>
            </p:cNvSpPr>
            <p:nvPr/>
          </p:nvSpPr>
          <p:spPr bwMode="auto">
            <a:xfrm>
              <a:off x="4092575" y="2239963"/>
              <a:ext cx="3175" cy="3175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0 w 7"/>
                <a:gd name="T5" fmla="*/ 0 h 9"/>
                <a:gd name="T6" fmla="*/ 3 w 7"/>
                <a:gd name="T7" fmla="*/ 8 h 9"/>
                <a:gd name="T8" fmla="*/ 3 w 7"/>
                <a:gd name="T9" fmla="*/ 8 h 9"/>
                <a:gd name="T10" fmla="*/ 4 w 7"/>
                <a:gd name="T11" fmla="*/ 6 h 9"/>
                <a:gd name="T12" fmla="*/ 3 w 7"/>
                <a:gd name="T1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3" y="7"/>
                    <a:pt x="4" y="6"/>
                    <a:pt x="4" y="6"/>
                  </a:cubicBezTo>
                  <a:cubicBezTo>
                    <a:pt x="6" y="2"/>
                    <a:pt x="5" y="0"/>
                    <a:pt x="0" y="0"/>
                  </a:cubicBezTo>
                  <a:cubicBezTo>
                    <a:pt x="3" y="2"/>
                    <a:pt x="0" y="8"/>
                    <a:pt x="3" y="8"/>
                  </a:cubicBezTo>
                  <a:close/>
                  <a:moveTo>
                    <a:pt x="3" y="8"/>
                  </a:moveTo>
                  <a:cubicBezTo>
                    <a:pt x="3" y="7"/>
                    <a:pt x="4" y="7"/>
                    <a:pt x="4" y="6"/>
                  </a:cubicBezTo>
                  <a:cubicBezTo>
                    <a:pt x="5" y="6"/>
                    <a:pt x="5" y="7"/>
                    <a:pt x="3" y="8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79" name="Freeform 737"/>
            <p:cNvSpPr>
              <a:spLocks noChangeArrowheads="1"/>
            </p:cNvSpPr>
            <p:nvPr/>
          </p:nvSpPr>
          <p:spPr bwMode="auto">
            <a:xfrm>
              <a:off x="3978275" y="2103438"/>
              <a:ext cx="3175" cy="3175"/>
            </a:xfrm>
            <a:custGeom>
              <a:avLst/>
              <a:gdLst>
                <a:gd name="T0" fmla="*/ 0 w 10"/>
                <a:gd name="T1" fmla="*/ 6 h 7"/>
                <a:gd name="T2" fmla="*/ 9 w 10"/>
                <a:gd name="T3" fmla="*/ 0 h 7"/>
                <a:gd name="T4" fmla="*/ 0 w 10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0" y="6"/>
                  </a:moveTo>
                  <a:cubicBezTo>
                    <a:pt x="3" y="3"/>
                    <a:pt x="6" y="3"/>
                    <a:pt x="9" y="0"/>
                  </a:cubicBezTo>
                  <a:cubicBezTo>
                    <a:pt x="6" y="0"/>
                    <a:pt x="3" y="3"/>
                    <a:pt x="0" y="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0" name="Freeform 738"/>
            <p:cNvSpPr>
              <a:spLocks noChangeArrowheads="1"/>
            </p:cNvSpPr>
            <p:nvPr/>
          </p:nvSpPr>
          <p:spPr bwMode="auto">
            <a:xfrm>
              <a:off x="4391025" y="2801938"/>
              <a:ext cx="3175" cy="3175"/>
            </a:xfrm>
            <a:custGeom>
              <a:avLst/>
              <a:gdLst>
                <a:gd name="T0" fmla="*/ 0 w 9"/>
                <a:gd name="T1" fmla="*/ 9 h 10"/>
                <a:gd name="T2" fmla="*/ 8 w 9"/>
                <a:gd name="T3" fmla="*/ 0 h 10"/>
                <a:gd name="T4" fmla="*/ 0 w 9"/>
                <a:gd name="T5" fmla="*/ 0 h 10"/>
                <a:gd name="T6" fmla="*/ 0 w 9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9"/>
                  </a:moveTo>
                  <a:cubicBezTo>
                    <a:pt x="6" y="9"/>
                    <a:pt x="8" y="6"/>
                    <a:pt x="8" y="0"/>
                  </a:cubicBez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1" name="Freeform 739"/>
            <p:cNvSpPr>
              <a:spLocks noChangeArrowheads="1"/>
            </p:cNvSpPr>
            <p:nvPr/>
          </p:nvSpPr>
          <p:spPr bwMode="auto">
            <a:xfrm>
              <a:off x="3725863" y="2413000"/>
              <a:ext cx="61912" cy="31750"/>
            </a:xfrm>
            <a:custGeom>
              <a:avLst/>
              <a:gdLst>
                <a:gd name="T0" fmla="*/ 0 w 173"/>
                <a:gd name="T1" fmla="*/ 20 h 88"/>
                <a:gd name="T2" fmla="*/ 8 w 173"/>
                <a:gd name="T3" fmla="*/ 0 h 88"/>
                <a:gd name="T4" fmla="*/ 172 w 173"/>
                <a:gd name="T5" fmla="*/ 68 h 88"/>
                <a:gd name="T6" fmla="*/ 163 w 173"/>
                <a:gd name="T7" fmla="*/ 87 h 88"/>
                <a:gd name="T8" fmla="*/ 0 w 173"/>
                <a:gd name="T9" fmla="*/ 2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88">
                  <a:moveTo>
                    <a:pt x="0" y="20"/>
                  </a:moveTo>
                  <a:lnTo>
                    <a:pt x="8" y="0"/>
                  </a:lnTo>
                  <a:lnTo>
                    <a:pt x="172" y="68"/>
                  </a:lnTo>
                  <a:lnTo>
                    <a:pt x="163" y="87"/>
                  </a:lnTo>
                  <a:lnTo>
                    <a:pt x="0" y="2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2" name="Freeform 740"/>
            <p:cNvSpPr>
              <a:spLocks noChangeArrowheads="1"/>
            </p:cNvSpPr>
            <p:nvPr/>
          </p:nvSpPr>
          <p:spPr bwMode="auto">
            <a:xfrm>
              <a:off x="3743325" y="2362200"/>
              <a:ext cx="69850" cy="53975"/>
            </a:xfrm>
            <a:custGeom>
              <a:avLst/>
              <a:gdLst>
                <a:gd name="T0" fmla="*/ 14 w 193"/>
                <a:gd name="T1" fmla="*/ 39 h 148"/>
                <a:gd name="T2" fmla="*/ 101 w 193"/>
                <a:gd name="T3" fmla="*/ 62 h 148"/>
                <a:gd name="T4" fmla="*/ 25 w 193"/>
                <a:gd name="T5" fmla="*/ 20 h 148"/>
                <a:gd name="T6" fmla="*/ 37 w 193"/>
                <a:gd name="T7" fmla="*/ 0 h 148"/>
                <a:gd name="T8" fmla="*/ 192 w 193"/>
                <a:gd name="T9" fmla="*/ 85 h 148"/>
                <a:gd name="T10" fmla="*/ 178 w 193"/>
                <a:gd name="T11" fmla="*/ 107 h 148"/>
                <a:gd name="T12" fmla="*/ 84 w 193"/>
                <a:gd name="T13" fmla="*/ 82 h 148"/>
                <a:gd name="T14" fmla="*/ 166 w 193"/>
                <a:gd name="T15" fmla="*/ 127 h 148"/>
                <a:gd name="T16" fmla="*/ 155 w 193"/>
                <a:gd name="T17" fmla="*/ 147 h 148"/>
                <a:gd name="T18" fmla="*/ 0 w 193"/>
                <a:gd name="T19" fmla="*/ 62 h 148"/>
                <a:gd name="T20" fmla="*/ 14 w 193"/>
                <a:gd name="T21" fmla="*/ 3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" h="148">
                  <a:moveTo>
                    <a:pt x="14" y="39"/>
                  </a:moveTo>
                  <a:lnTo>
                    <a:pt x="101" y="62"/>
                  </a:lnTo>
                  <a:lnTo>
                    <a:pt x="25" y="20"/>
                  </a:lnTo>
                  <a:lnTo>
                    <a:pt x="37" y="0"/>
                  </a:lnTo>
                  <a:lnTo>
                    <a:pt x="192" y="85"/>
                  </a:lnTo>
                  <a:lnTo>
                    <a:pt x="178" y="107"/>
                  </a:lnTo>
                  <a:lnTo>
                    <a:pt x="84" y="82"/>
                  </a:lnTo>
                  <a:lnTo>
                    <a:pt x="166" y="127"/>
                  </a:lnTo>
                  <a:lnTo>
                    <a:pt x="155" y="147"/>
                  </a:lnTo>
                  <a:lnTo>
                    <a:pt x="0" y="62"/>
                  </a:lnTo>
                  <a:lnTo>
                    <a:pt x="14" y="39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3" name="Freeform 741"/>
            <p:cNvSpPr>
              <a:spLocks noChangeArrowheads="1"/>
            </p:cNvSpPr>
            <p:nvPr/>
          </p:nvSpPr>
          <p:spPr bwMode="auto">
            <a:xfrm>
              <a:off x="3773488" y="2319338"/>
              <a:ext cx="65087" cy="52387"/>
            </a:xfrm>
            <a:custGeom>
              <a:avLst/>
              <a:gdLst>
                <a:gd name="T0" fmla="*/ 108 w 179"/>
                <a:gd name="T1" fmla="*/ 101 h 147"/>
                <a:gd name="T2" fmla="*/ 133 w 179"/>
                <a:gd name="T3" fmla="*/ 118 h 147"/>
                <a:gd name="T4" fmla="*/ 144 w 179"/>
                <a:gd name="T5" fmla="*/ 104 h 147"/>
                <a:gd name="T6" fmla="*/ 99 w 179"/>
                <a:gd name="T7" fmla="*/ 70 h 147"/>
                <a:gd name="T8" fmla="*/ 82 w 179"/>
                <a:gd name="T9" fmla="*/ 93 h 147"/>
                <a:gd name="T10" fmla="*/ 62 w 179"/>
                <a:gd name="T11" fmla="*/ 96 h 147"/>
                <a:gd name="T12" fmla="*/ 9 w 179"/>
                <a:gd name="T13" fmla="*/ 56 h 147"/>
                <a:gd name="T14" fmla="*/ 6 w 179"/>
                <a:gd name="T15" fmla="*/ 36 h 147"/>
                <a:gd name="T16" fmla="*/ 6 w 179"/>
                <a:gd name="T17" fmla="*/ 36 h 147"/>
                <a:gd name="T18" fmla="*/ 26 w 179"/>
                <a:gd name="T19" fmla="*/ 8 h 147"/>
                <a:gd name="T20" fmla="*/ 45 w 179"/>
                <a:gd name="T21" fmla="*/ 5 h 147"/>
                <a:gd name="T22" fmla="*/ 45 w 179"/>
                <a:gd name="T23" fmla="*/ 5 h 147"/>
                <a:gd name="T24" fmla="*/ 76 w 179"/>
                <a:gd name="T25" fmla="*/ 28 h 147"/>
                <a:gd name="T26" fmla="*/ 62 w 179"/>
                <a:gd name="T27" fmla="*/ 45 h 147"/>
                <a:gd name="T28" fmla="*/ 40 w 179"/>
                <a:gd name="T29" fmla="*/ 28 h 147"/>
                <a:gd name="T30" fmla="*/ 29 w 179"/>
                <a:gd name="T31" fmla="*/ 42 h 147"/>
                <a:gd name="T32" fmla="*/ 71 w 179"/>
                <a:gd name="T33" fmla="*/ 73 h 147"/>
                <a:gd name="T34" fmla="*/ 88 w 179"/>
                <a:gd name="T35" fmla="*/ 50 h 147"/>
                <a:gd name="T36" fmla="*/ 110 w 179"/>
                <a:gd name="T37" fmla="*/ 48 h 147"/>
                <a:gd name="T38" fmla="*/ 170 w 179"/>
                <a:gd name="T39" fmla="*/ 90 h 147"/>
                <a:gd name="T40" fmla="*/ 172 w 179"/>
                <a:gd name="T41" fmla="*/ 110 h 147"/>
                <a:gd name="T42" fmla="*/ 153 w 179"/>
                <a:gd name="T43" fmla="*/ 138 h 147"/>
                <a:gd name="T44" fmla="*/ 133 w 179"/>
                <a:gd name="T45" fmla="*/ 141 h 147"/>
                <a:gd name="T46" fmla="*/ 102 w 179"/>
                <a:gd name="T47" fmla="*/ 118 h 147"/>
                <a:gd name="T48" fmla="*/ 108 w 179"/>
                <a:gd name="T49" fmla="*/ 101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9" h="147">
                  <a:moveTo>
                    <a:pt x="108" y="101"/>
                  </a:moveTo>
                  <a:lnTo>
                    <a:pt x="133" y="118"/>
                  </a:lnTo>
                  <a:lnTo>
                    <a:pt x="144" y="104"/>
                  </a:lnTo>
                  <a:lnTo>
                    <a:pt x="99" y="70"/>
                  </a:lnTo>
                  <a:lnTo>
                    <a:pt x="82" y="93"/>
                  </a:lnTo>
                  <a:cubicBezTo>
                    <a:pt x="76" y="98"/>
                    <a:pt x="68" y="101"/>
                    <a:pt x="62" y="96"/>
                  </a:cubicBezTo>
                  <a:lnTo>
                    <a:pt x="9" y="56"/>
                  </a:lnTo>
                  <a:cubicBezTo>
                    <a:pt x="3" y="50"/>
                    <a:pt x="0" y="42"/>
                    <a:pt x="6" y="36"/>
                  </a:cubicBezTo>
                  <a:lnTo>
                    <a:pt x="6" y="36"/>
                  </a:lnTo>
                  <a:lnTo>
                    <a:pt x="26" y="8"/>
                  </a:lnTo>
                  <a:cubicBezTo>
                    <a:pt x="31" y="2"/>
                    <a:pt x="40" y="0"/>
                    <a:pt x="45" y="5"/>
                  </a:cubicBezTo>
                  <a:lnTo>
                    <a:pt x="45" y="5"/>
                  </a:lnTo>
                  <a:lnTo>
                    <a:pt x="76" y="28"/>
                  </a:lnTo>
                  <a:lnTo>
                    <a:pt x="62" y="45"/>
                  </a:lnTo>
                  <a:lnTo>
                    <a:pt x="40" y="28"/>
                  </a:lnTo>
                  <a:lnTo>
                    <a:pt x="29" y="42"/>
                  </a:lnTo>
                  <a:lnTo>
                    <a:pt x="71" y="73"/>
                  </a:lnTo>
                  <a:lnTo>
                    <a:pt x="88" y="50"/>
                  </a:lnTo>
                  <a:cubicBezTo>
                    <a:pt x="93" y="45"/>
                    <a:pt x="102" y="42"/>
                    <a:pt x="110" y="48"/>
                  </a:cubicBezTo>
                  <a:lnTo>
                    <a:pt x="170" y="90"/>
                  </a:lnTo>
                  <a:cubicBezTo>
                    <a:pt x="175" y="96"/>
                    <a:pt x="178" y="104"/>
                    <a:pt x="172" y="110"/>
                  </a:cubicBezTo>
                  <a:lnTo>
                    <a:pt x="153" y="138"/>
                  </a:lnTo>
                  <a:cubicBezTo>
                    <a:pt x="147" y="144"/>
                    <a:pt x="139" y="146"/>
                    <a:pt x="133" y="141"/>
                  </a:cubicBezTo>
                  <a:lnTo>
                    <a:pt x="102" y="118"/>
                  </a:lnTo>
                  <a:lnTo>
                    <a:pt x="108" y="101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4" name="Freeform 742"/>
            <p:cNvSpPr>
              <a:spLocks noChangeArrowheads="1"/>
            </p:cNvSpPr>
            <p:nvPr/>
          </p:nvSpPr>
          <p:spPr bwMode="auto">
            <a:xfrm>
              <a:off x="3806825" y="2276475"/>
              <a:ext cx="60325" cy="58738"/>
            </a:xfrm>
            <a:custGeom>
              <a:avLst/>
              <a:gdLst>
                <a:gd name="T0" fmla="*/ 14 w 167"/>
                <a:gd name="T1" fmla="*/ 31 h 165"/>
                <a:gd name="T2" fmla="*/ 124 w 167"/>
                <a:gd name="T3" fmla="*/ 138 h 165"/>
                <a:gd name="T4" fmla="*/ 138 w 167"/>
                <a:gd name="T5" fmla="*/ 124 h 165"/>
                <a:gd name="T6" fmla="*/ 28 w 167"/>
                <a:gd name="T7" fmla="*/ 17 h 165"/>
                <a:gd name="T8" fmla="*/ 45 w 167"/>
                <a:gd name="T9" fmla="*/ 0 h 165"/>
                <a:gd name="T10" fmla="*/ 160 w 167"/>
                <a:gd name="T11" fmla="*/ 113 h 165"/>
                <a:gd name="T12" fmla="*/ 160 w 167"/>
                <a:gd name="T13" fmla="*/ 136 h 165"/>
                <a:gd name="T14" fmla="*/ 138 w 167"/>
                <a:gd name="T15" fmla="*/ 158 h 165"/>
                <a:gd name="T16" fmla="*/ 115 w 167"/>
                <a:gd name="T17" fmla="*/ 158 h 165"/>
                <a:gd name="T18" fmla="*/ 0 w 167"/>
                <a:gd name="T19" fmla="*/ 45 h 165"/>
                <a:gd name="T20" fmla="*/ 14 w 167"/>
                <a:gd name="T21" fmla="*/ 3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7" h="165">
                  <a:moveTo>
                    <a:pt x="14" y="31"/>
                  </a:moveTo>
                  <a:lnTo>
                    <a:pt x="124" y="138"/>
                  </a:lnTo>
                  <a:lnTo>
                    <a:pt x="138" y="124"/>
                  </a:lnTo>
                  <a:lnTo>
                    <a:pt x="28" y="17"/>
                  </a:lnTo>
                  <a:lnTo>
                    <a:pt x="45" y="0"/>
                  </a:lnTo>
                  <a:lnTo>
                    <a:pt x="160" y="113"/>
                  </a:lnTo>
                  <a:cubicBezTo>
                    <a:pt x="166" y="119"/>
                    <a:pt x="166" y="127"/>
                    <a:pt x="160" y="136"/>
                  </a:cubicBezTo>
                  <a:lnTo>
                    <a:pt x="138" y="158"/>
                  </a:lnTo>
                  <a:cubicBezTo>
                    <a:pt x="132" y="164"/>
                    <a:pt x="124" y="164"/>
                    <a:pt x="115" y="158"/>
                  </a:cubicBezTo>
                  <a:lnTo>
                    <a:pt x="0" y="45"/>
                  </a:lnTo>
                  <a:lnTo>
                    <a:pt x="14" y="31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5" name="Freeform 743"/>
            <p:cNvSpPr>
              <a:spLocks noChangeArrowheads="1"/>
            </p:cNvSpPr>
            <p:nvPr/>
          </p:nvSpPr>
          <p:spPr bwMode="auto">
            <a:xfrm>
              <a:off x="3846513" y="2243138"/>
              <a:ext cx="58737" cy="61912"/>
            </a:xfrm>
            <a:custGeom>
              <a:avLst/>
              <a:gdLst>
                <a:gd name="T0" fmla="*/ 96 w 164"/>
                <a:gd name="T1" fmla="*/ 85 h 170"/>
                <a:gd name="T2" fmla="*/ 81 w 164"/>
                <a:gd name="T3" fmla="*/ 96 h 170"/>
                <a:gd name="T4" fmla="*/ 129 w 164"/>
                <a:gd name="T5" fmla="*/ 155 h 170"/>
                <a:gd name="T6" fmla="*/ 112 w 164"/>
                <a:gd name="T7" fmla="*/ 169 h 170"/>
                <a:gd name="T8" fmla="*/ 0 w 164"/>
                <a:gd name="T9" fmla="*/ 34 h 170"/>
                <a:gd name="T10" fmla="*/ 36 w 164"/>
                <a:gd name="T11" fmla="*/ 6 h 170"/>
                <a:gd name="T12" fmla="*/ 59 w 164"/>
                <a:gd name="T13" fmla="*/ 8 h 170"/>
                <a:gd name="T14" fmla="*/ 98 w 164"/>
                <a:gd name="T15" fmla="*/ 56 h 170"/>
                <a:gd name="T16" fmla="*/ 101 w 164"/>
                <a:gd name="T17" fmla="*/ 70 h 170"/>
                <a:gd name="T18" fmla="*/ 118 w 164"/>
                <a:gd name="T19" fmla="*/ 76 h 170"/>
                <a:gd name="T20" fmla="*/ 163 w 164"/>
                <a:gd name="T21" fmla="*/ 132 h 170"/>
                <a:gd name="T22" fmla="*/ 146 w 164"/>
                <a:gd name="T23" fmla="*/ 147 h 170"/>
                <a:gd name="T24" fmla="*/ 96 w 164"/>
                <a:gd name="T25" fmla="*/ 85 h 170"/>
                <a:gd name="T26" fmla="*/ 65 w 164"/>
                <a:gd name="T27" fmla="*/ 79 h 170"/>
                <a:gd name="T28" fmla="*/ 79 w 164"/>
                <a:gd name="T29" fmla="*/ 68 h 170"/>
                <a:gd name="T30" fmla="*/ 42 w 164"/>
                <a:gd name="T31" fmla="*/ 25 h 170"/>
                <a:gd name="T32" fmla="*/ 28 w 164"/>
                <a:gd name="T33" fmla="*/ 37 h 170"/>
                <a:gd name="T34" fmla="*/ 65 w 164"/>
                <a:gd name="T35" fmla="*/ 7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4" h="170">
                  <a:moveTo>
                    <a:pt x="96" y="85"/>
                  </a:moveTo>
                  <a:lnTo>
                    <a:pt x="81" y="96"/>
                  </a:lnTo>
                  <a:lnTo>
                    <a:pt x="129" y="155"/>
                  </a:lnTo>
                  <a:lnTo>
                    <a:pt x="112" y="169"/>
                  </a:lnTo>
                  <a:lnTo>
                    <a:pt x="0" y="34"/>
                  </a:lnTo>
                  <a:lnTo>
                    <a:pt x="36" y="6"/>
                  </a:lnTo>
                  <a:cubicBezTo>
                    <a:pt x="42" y="0"/>
                    <a:pt x="53" y="0"/>
                    <a:pt x="59" y="8"/>
                  </a:cubicBezTo>
                  <a:lnTo>
                    <a:pt x="98" y="56"/>
                  </a:lnTo>
                  <a:cubicBezTo>
                    <a:pt x="101" y="59"/>
                    <a:pt x="104" y="65"/>
                    <a:pt x="101" y="70"/>
                  </a:cubicBezTo>
                  <a:cubicBezTo>
                    <a:pt x="107" y="68"/>
                    <a:pt x="115" y="70"/>
                    <a:pt x="118" y="76"/>
                  </a:cubicBezTo>
                  <a:lnTo>
                    <a:pt x="163" y="132"/>
                  </a:lnTo>
                  <a:lnTo>
                    <a:pt x="146" y="147"/>
                  </a:lnTo>
                  <a:lnTo>
                    <a:pt x="96" y="85"/>
                  </a:lnTo>
                  <a:close/>
                  <a:moveTo>
                    <a:pt x="65" y="79"/>
                  </a:moveTo>
                  <a:lnTo>
                    <a:pt x="79" y="68"/>
                  </a:lnTo>
                  <a:lnTo>
                    <a:pt x="42" y="25"/>
                  </a:lnTo>
                  <a:lnTo>
                    <a:pt x="28" y="37"/>
                  </a:lnTo>
                  <a:lnTo>
                    <a:pt x="65" y="79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6" name="Freeform 744"/>
            <p:cNvSpPr>
              <a:spLocks noChangeArrowheads="1"/>
            </p:cNvSpPr>
            <p:nvPr/>
          </p:nvSpPr>
          <p:spPr bwMode="auto">
            <a:xfrm>
              <a:off x="3886200" y="2211388"/>
              <a:ext cx="47625" cy="61912"/>
            </a:xfrm>
            <a:custGeom>
              <a:avLst/>
              <a:gdLst>
                <a:gd name="T0" fmla="*/ 29 w 131"/>
                <a:gd name="T1" fmla="*/ 43 h 174"/>
                <a:gd name="T2" fmla="*/ 12 w 131"/>
                <a:gd name="T3" fmla="*/ 54 h 174"/>
                <a:gd name="T4" fmla="*/ 0 w 131"/>
                <a:gd name="T5" fmla="*/ 34 h 174"/>
                <a:gd name="T6" fmla="*/ 54 w 131"/>
                <a:gd name="T7" fmla="*/ 0 h 174"/>
                <a:gd name="T8" fmla="*/ 65 w 131"/>
                <a:gd name="T9" fmla="*/ 20 h 174"/>
                <a:gd name="T10" fmla="*/ 48 w 131"/>
                <a:gd name="T11" fmla="*/ 31 h 174"/>
                <a:gd name="T12" fmla="*/ 130 w 131"/>
                <a:gd name="T13" fmla="*/ 161 h 174"/>
                <a:gd name="T14" fmla="*/ 111 w 131"/>
                <a:gd name="T15" fmla="*/ 173 h 174"/>
                <a:gd name="T16" fmla="*/ 29 w 131"/>
                <a:gd name="T17" fmla="*/ 43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174">
                  <a:moveTo>
                    <a:pt x="29" y="43"/>
                  </a:moveTo>
                  <a:lnTo>
                    <a:pt x="12" y="54"/>
                  </a:lnTo>
                  <a:lnTo>
                    <a:pt x="0" y="34"/>
                  </a:lnTo>
                  <a:lnTo>
                    <a:pt x="54" y="0"/>
                  </a:lnTo>
                  <a:lnTo>
                    <a:pt x="65" y="20"/>
                  </a:lnTo>
                  <a:lnTo>
                    <a:pt x="48" y="31"/>
                  </a:lnTo>
                  <a:lnTo>
                    <a:pt x="130" y="161"/>
                  </a:lnTo>
                  <a:lnTo>
                    <a:pt x="111" y="173"/>
                  </a:lnTo>
                  <a:lnTo>
                    <a:pt x="29" y="4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7" name="Freeform 745"/>
            <p:cNvSpPr>
              <a:spLocks noChangeArrowheads="1"/>
            </p:cNvSpPr>
            <p:nvPr/>
          </p:nvSpPr>
          <p:spPr bwMode="auto">
            <a:xfrm>
              <a:off x="3930650" y="2189163"/>
              <a:ext cx="47625" cy="66675"/>
            </a:xfrm>
            <a:custGeom>
              <a:avLst/>
              <a:gdLst>
                <a:gd name="T0" fmla="*/ 130 w 131"/>
                <a:gd name="T1" fmla="*/ 158 h 185"/>
                <a:gd name="T2" fmla="*/ 76 w 131"/>
                <a:gd name="T3" fmla="*/ 184 h 185"/>
                <a:gd name="T4" fmla="*/ 0 w 131"/>
                <a:gd name="T5" fmla="*/ 26 h 185"/>
                <a:gd name="T6" fmla="*/ 51 w 131"/>
                <a:gd name="T7" fmla="*/ 0 h 185"/>
                <a:gd name="T8" fmla="*/ 59 w 131"/>
                <a:gd name="T9" fmla="*/ 20 h 185"/>
                <a:gd name="T10" fmla="*/ 28 w 131"/>
                <a:gd name="T11" fmla="*/ 34 h 185"/>
                <a:gd name="T12" fmla="*/ 51 w 131"/>
                <a:gd name="T13" fmla="*/ 79 h 185"/>
                <a:gd name="T14" fmla="*/ 73 w 131"/>
                <a:gd name="T15" fmla="*/ 68 h 185"/>
                <a:gd name="T16" fmla="*/ 82 w 131"/>
                <a:gd name="T17" fmla="*/ 88 h 185"/>
                <a:gd name="T18" fmla="*/ 59 w 131"/>
                <a:gd name="T19" fmla="*/ 99 h 185"/>
                <a:gd name="T20" fmla="*/ 84 w 131"/>
                <a:gd name="T21" fmla="*/ 153 h 185"/>
                <a:gd name="T22" fmla="*/ 116 w 131"/>
                <a:gd name="T23" fmla="*/ 136 h 185"/>
                <a:gd name="T24" fmla="*/ 130 w 131"/>
                <a:gd name="T25" fmla="*/ 158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1" h="185">
                  <a:moveTo>
                    <a:pt x="130" y="158"/>
                  </a:moveTo>
                  <a:lnTo>
                    <a:pt x="76" y="184"/>
                  </a:lnTo>
                  <a:lnTo>
                    <a:pt x="0" y="26"/>
                  </a:lnTo>
                  <a:lnTo>
                    <a:pt x="51" y="0"/>
                  </a:lnTo>
                  <a:lnTo>
                    <a:pt x="59" y="20"/>
                  </a:lnTo>
                  <a:lnTo>
                    <a:pt x="28" y="34"/>
                  </a:lnTo>
                  <a:lnTo>
                    <a:pt x="51" y="79"/>
                  </a:lnTo>
                  <a:lnTo>
                    <a:pt x="73" y="68"/>
                  </a:lnTo>
                  <a:lnTo>
                    <a:pt x="82" y="88"/>
                  </a:lnTo>
                  <a:lnTo>
                    <a:pt x="59" y="99"/>
                  </a:lnTo>
                  <a:lnTo>
                    <a:pt x="84" y="153"/>
                  </a:lnTo>
                  <a:lnTo>
                    <a:pt x="116" y="136"/>
                  </a:lnTo>
                  <a:lnTo>
                    <a:pt x="130" y="15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8" name="Freeform 746"/>
            <p:cNvSpPr>
              <a:spLocks noChangeArrowheads="1"/>
            </p:cNvSpPr>
            <p:nvPr/>
          </p:nvSpPr>
          <p:spPr bwMode="auto">
            <a:xfrm>
              <a:off x="3979863" y="2171700"/>
              <a:ext cx="41275" cy="66675"/>
            </a:xfrm>
            <a:custGeom>
              <a:avLst/>
              <a:gdLst>
                <a:gd name="T0" fmla="*/ 51 w 114"/>
                <a:gd name="T1" fmla="*/ 54 h 185"/>
                <a:gd name="T2" fmla="*/ 43 w 114"/>
                <a:gd name="T3" fmla="*/ 26 h 185"/>
                <a:gd name="T4" fmla="*/ 26 w 114"/>
                <a:gd name="T5" fmla="*/ 31 h 185"/>
                <a:gd name="T6" fmla="*/ 68 w 114"/>
                <a:gd name="T7" fmla="*/ 156 h 185"/>
                <a:gd name="T8" fmla="*/ 85 w 114"/>
                <a:gd name="T9" fmla="*/ 150 h 185"/>
                <a:gd name="T10" fmla="*/ 76 w 114"/>
                <a:gd name="T11" fmla="*/ 122 h 185"/>
                <a:gd name="T12" fmla="*/ 99 w 114"/>
                <a:gd name="T13" fmla="*/ 113 h 185"/>
                <a:gd name="T14" fmla="*/ 110 w 114"/>
                <a:gd name="T15" fmla="*/ 150 h 185"/>
                <a:gd name="T16" fmla="*/ 102 w 114"/>
                <a:gd name="T17" fmla="*/ 170 h 185"/>
                <a:gd name="T18" fmla="*/ 68 w 114"/>
                <a:gd name="T19" fmla="*/ 181 h 185"/>
                <a:gd name="T20" fmla="*/ 48 w 114"/>
                <a:gd name="T21" fmla="*/ 173 h 185"/>
                <a:gd name="T22" fmla="*/ 3 w 114"/>
                <a:gd name="T23" fmla="*/ 34 h 185"/>
                <a:gd name="T24" fmla="*/ 12 w 114"/>
                <a:gd name="T25" fmla="*/ 15 h 185"/>
                <a:gd name="T26" fmla="*/ 45 w 114"/>
                <a:gd name="T27" fmla="*/ 3 h 185"/>
                <a:gd name="T28" fmla="*/ 65 w 114"/>
                <a:gd name="T29" fmla="*/ 12 h 185"/>
                <a:gd name="T30" fmla="*/ 76 w 114"/>
                <a:gd name="T31" fmla="*/ 48 h 185"/>
                <a:gd name="T32" fmla="*/ 51 w 114"/>
                <a:gd name="T33" fmla="*/ 54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" h="185">
                  <a:moveTo>
                    <a:pt x="51" y="54"/>
                  </a:moveTo>
                  <a:lnTo>
                    <a:pt x="43" y="26"/>
                  </a:lnTo>
                  <a:lnTo>
                    <a:pt x="26" y="31"/>
                  </a:lnTo>
                  <a:lnTo>
                    <a:pt x="68" y="156"/>
                  </a:lnTo>
                  <a:lnTo>
                    <a:pt x="85" y="150"/>
                  </a:lnTo>
                  <a:lnTo>
                    <a:pt x="76" y="122"/>
                  </a:lnTo>
                  <a:lnTo>
                    <a:pt x="99" y="113"/>
                  </a:lnTo>
                  <a:lnTo>
                    <a:pt x="110" y="150"/>
                  </a:lnTo>
                  <a:cubicBezTo>
                    <a:pt x="113" y="158"/>
                    <a:pt x="107" y="167"/>
                    <a:pt x="102" y="170"/>
                  </a:cubicBezTo>
                  <a:lnTo>
                    <a:pt x="68" y="181"/>
                  </a:lnTo>
                  <a:cubicBezTo>
                    <a:pt x="60" y="184"/>
                    <a:pt x="51" y="178"/>
                    <a:pt x="48" y="173"/>
                  </a:cubicBezTo>
                  <a:lnTo>
                    <a:pt x="3" y="34"/>
                  </a:lnTo>
                  <a:cubicBezTo>
                    <a:pt x="0" y="26"/>
                    <a:pt x="6" y="17"/>
                    <a:pt x="12" y="15"/>
                  </a:cubicBezTo>
                  <a:lnTo>
                    <a:pt x="45" y="3"/>
                  </a:lnTo>
                  <a:cubicBezTo>
                    <a:pt x="54" y="0"/>
                    <a:pt x="62" y="6"/>
                    <a:pt x="65" y="12"/>
                  </a:cubicBezTo>
                  <a:lnTo>
                    <a:pt x="76" y="48"/>
                  </a:lnTo>
                  <a:lnTo>
                    <a:pt x="51" y="54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89" name="Freeform 747"/>
            <p:cNvSpPr>
              <a:spLocks noChangeArrowheads="1"/>
            </p:cNvSpPr>
            <p:nvPr/>
          </p:nvSpPr>
          <p:spPr bwMode="auto">
            <a:xfrm>
              <a:off x="4029075" y="2157413"/>
              <a:ext cx="34925" cy="66675"/>
            </a:xfrm>
            <a:custGeom>
              <a:avLst/>
              <a:gdLst>
                <a:gd name="T0" fmla="*/ 0 w 99"/>
                <a:gd name="T1" fmla="*/ 14 h 187"/>
                <a:gd name="T2" fmla="*/ 22 w 99"/>
                <a:gd name="T3" fmla="*/ 8 h 187"/>
                <a:gd name="T4" fmla="*/ 36 w 99"/>
                <a:gd name="T5" fmla="*/ 87 h 187"/>
                <a:gd name="T6" fmla="*/ 56 w 99"/>
                <a:gd name="T7" fmla="*/ 85 h 187"/>
                <a:gd name="T8" fmla="*/ 42 w 99"/>
                <a:gd name="T9" fmla="*/ 6 h 187"/>
                <a:gd name="T10" fmla="*/ 64 w 99"/>
                <a:gd name="T11" fmla="*/ 0 h 187"/>
                <a:gd name="T12" fmla="*/ 98 w 99"/>
                <a:gd name="T13" fmla="*/ 175 h 187"/>
                <a:gd name="T14" fmla="*/ 76 w 99"/>
                <a:gd name="T15" fmla="*/ 180 h 187"/>
                <a:gd name="T16" fmla="*/ 62 w 99"/>
                <a:gd name="T17" fmla="*/ 110 h 187"/>
                <a:gd name="T18" fmla="*/ 42 w 99"/>
                <a:gd name="T19" fmla="*/ 110 h 187"/>
                <a:gd name="T20" fmla="*/ 56 w 99"/>
                <a:gd name="T21" fmla="*/ 180 h 187"/>
                <a:gd name="T22" fmla="*/ 33 w 99"/>
                <a:gd name="T23" fmla="*/ 186 h 187"/>
                <a:gd name="T24" fmla="*/ 0 w 99"/>
                <a:gd name="T25" fmla="*/ 14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" h="187">
                  <a:moveTo>
                    <a:pt x="0" y="14"/>
                  </a:moveTo>
                  <a:lnTo>
                    <a:pt x="22" y="8"/>
                  </a:lnTo>
                  <a:lnTo>
                    <a:pt x="36" y="87"/>
                  </a:lnTo>
                  <a:lnTo>
                    <a:pt x="56" y="85"/>
                  </a:lnTo>
                  <a:lnTo>
                    <a:pt x="42" y="6"/>
                  </a:lnTo>
                  <a:lnTo>
                    <a:pt x="64" y="0"/>
                  </a:lnTo>
                  <a:lnTo>
                    <a:pt x="98" y="175"/>
                  </a:lnTo>
                  <a:lnTo>
                    <a:pt x="76" y="180"/>
                  </a:lnTo>
                  <a:lnTo>
                    <a:pt x="62" y="110"/>
                  </a:lnTo>
                  <a:lnTo>
                    <a:pt x="42" y="110"/>
                  </a:lnTo>
                  <a:lnTo>
                    <a:pt x="56" y="180"/>
                  </a:lnTo>
                  <a:lnTo>
                    <a:pt x="33" y="186"/>
                  </a:lnTo>
                  <a:lnTo>
                    <a:pt x="0" y="14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0" name="Freeform 748"/>
            <p:cNvSpPr>
              <a:spLocks noChangeArrowheads="1"/>
            </p:cNvSpPr>
            <p:nvPr/>
          </p:nvSpPr>
          <p:spPr bwMode="auto">
            <a:xfrm>
              <a:off x="4138613" y="2152650"/>
              <a:ext cx="23812" cy="65088"/>
            </a:xfrm>
            <a:custGeom>
              <a:avLst/>
              <a:gdLst>
                <a:gd name="T0" fmla="*/ 20 w 66"/>
                <a:gd name="T1" fmla="*/ 25 h 179"/>
                <a:gd name="T2" fmla="*/ 0 w 66"/>
                <a:gd name="T3" fmla="*/ 22 h 179"/>
                <a:gd name="T4" fmla="*/ 3 w 66"/>
                <a:gd name="T5" fmla="*/ 0 h 179"/>
                <a:gd name="T6" fmla="*/ 65 w 66"/>
                <a:gd name="T7" fmla="*/ 5 h 179"/>
                <a:gd name="T8" fmla="*/ 62 w 66"/>
                <a:gd name="T9" fmla="*/ 28 h 179"/>
                <a:gd name="T10" fmla="*/ 42 w 66"/>
                <a:gd name="T11" fmla="*/ 25 h 179"/>
                <a:gd name="T12" fmla="*/ 31 w 66"/>
                <a:gd name="T13" fmla="*/ 178 h 179"/>
                <a:gd name="T14" fmla="*/ 9 w 66"/>
                <a:gd name="T15" fmla="*/ 175 h 179"/>
                <a:gd name="T16" fmla="*/ 20 w 66"/>
                <a:gd name="T17" fmla="*/ 2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79">
                  <a:moveTo>
                    <a:pt x="20" y="25"/>
                  </a:moveTo>
                  <a:lnTo>
                    <a:pt x="0" y="22"/>
                  </a:lnTo>
                  <a:lnTo>
                    <a:pt x="3" y="0"/>
                  </a:lnTo>
                  <a:lnTo>
                    <a:pt x="65" y="5"/>
                  </a:lnTo>
                  <a:lnTo>
                    <a:pt x="62" y="28"/>
                  </a:lnTo>
                  <a:lnTo>
                    <a:pt x="42" y="25"/>
                  </a:lnTo>
                  <a:lnTo>
                    <a:pt x="31" y="178"/>
                  </a:lnTo>
                  <a:lnTo>
                    <a:pt x="9" y="175"/>
                  </a:lnTo>
                  <a:lnTo>
                    <a:pt x="20" y="25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1" name="Freeform 749"/>
            <p:cNvSpPr>
              <a:spLocks noChangeArrowheads="1"/>
            </p:cNvSpPr>
            <p:nvPr/>
          </p:nvSpPr>
          <p:spPr bwMode="auto">
            <a:xfrm>
              <a:off x="4178300" y="2159000"/>
              <a:ext cx="34925" cy="66675"/>
            </a:xfrm>
            <a:custGeom>
              <a:avLst/>
              <a:gdLst>
                <a:gd name="T0" fmla="*/ 31 w 97"/>
                <a:gd name="T1" fmla="*/ 14 h 184"/>
                <a:gd name="T2" fmla="*/ 48 w 97"/>
                <a:gd name="T3" fmla="*/ 3 h 184"/>
                <a:gd name="T4" fmla="*/ 82 w 97"/>
                <a:gd name="T5" fmla="*/ 8 h 184"/>
                <a:gd name="T6" fmla="*/ 93 w 97"/>
                <a:gd name="T7" fmla="*/ 25 h 184"/>
                <a:gd name="T8" fmla="*/ 65 w 97"/>
                <a:gd name="T9" fmla="*/ 169 h 184"/>
                <a:gd name="T10" fmla="*/ 48 w 97"/>
                <a:gd name="T11" fmla="*/ 180 h 184"/>
                <a:gd name="T12" fmla="*/ 14 w 97"/>
                <a:gd name="T13" fmla="*/ 175 h 184"/>
                <a:gd name="T14" fmla="*/ 3 w 97"/>
                <a:gd name="T15" fmla="*/ 158 h 184"/>
                <a:gd name="T16" fmla="*/ 31 w 97"/>
                <a:gd name="T17" fmla="*/ 14 h 184"/>
                <a:gd name="T18" fmla="*/ 71 w 97"/>
                <a:gd name="T19" fmla="*/ 28 h 184"/>
                <a:gd name="T20" fmla="*/ 51 w 97"/>
                <a:gd name="T21" fmla="*/ 25 h 184"/>
                <a:gd name="T22" fmla="*/ 26 w 97"/>
                <a:gd name="T23" fmla="*/ 155 h 184"/>
                <a:gd name="T24" fmla="*/ 45 w 97"/>
                <a:gd name="T25" fmla="*/ 158 h 184"/>
                <a:gd name="T26" fmla="*/ 71 w 97"/>
                <a:gd name="T27" fmla="*/ 2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" h="184">
                  <a:moveTo>
                    <a:pt x="31" y="14"/>
                  </a:moveTo>
                  <a:cubicBezTo>
                    <a:pt x="34" y="5"/>
                    <a:pt x="40" y="0"/>
                    <a:pt x="48" y="3"/>
                  </a:cubicBezTo>
                  <a:lnTo>
                    <a:pt x="82" y="8"/>
                  </a:lnTo>
                  <a:cubicBezTo>
                    <a:pt x="90" y="11"/>
                    <a:pt x="96" y="17"/>
                    <a:pt x="93" y="25"/>
                  </a:cubicBezTo>
                  <a:lnTo>
                    <a:pt x="65" y="169"/>
                  </a:lnTo>
                  <a:cubicBezTo>
                    <a:pt x="62" y="177"/>
                    <a:pt x="57" y="183"/>
                    <a:pt x="48" y="180"/>
                  </a:cubicBezTo>
                  <a:lnTo>
                    <a:pt x="14" y="175"/>
                  </a:lnTo>
                  <a:cubicBezTo>
                    <a:pt x="6" y="172"/>
                    <a:pt x="0" y="166"/>
                    <a:pt x="3" y="158"/>
                  </a:cubicBezTo>
                  <a:lnTo>
                    <a:pt x="31" y="14"/>
                  </a:lnTo>
                  <a:close/>
                  <a:moveTo>
                    <a:pt x="71" y="28"/>
                  </a:moveTo>
                  <a:lnTo>
                    <a:pt x="51" y="25"/>
                  </a:lnTo>
                  <a:lnTo>
                    <a:pt x="26" y="155"/>
                  </a:lnTo>
                  <a:lnTo>
                    <a:pt x="45" y="158"/>
                  </a:lnTo>
                  <a:lnTo>
                    <a:pt x="71" y="28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2" name="Freeform 750"/>
            <p:cNvSpPr>
              <a:spLocks noChangeArrowheads="1"/>
            </p:cNvSpPr>
            <p:nvPr/>
          </p:nvSpPr>
          <p:spPr bwMode="auto">
            <a:xfrm>
              <a:off x="4224338" y="2171700"/>
              <a:ext cx="41275" cy="66675"/>
            </a:xfrm>
            <a:custGeom>
              <a:avLst/>
              <a:gdLst>
                <a:gd name="T0" fmla="*/ 62 w 114"/>
                <a:gd name="T1" fmla="*/ 107 h 184"/>
                <a:gd name="T2" fmla="*/ 45 w 114"/>
                <a:gd name="T3" fmla="*/ 101 h 184"/>
                <a:gd name="T4" fmla="*/ 23 w 114"/>
                <a:gd name="T5" fmla="*/ 172 h 184"/>
                <a:gd name="T6" fmla="*/ 0 w 114"/>
                <a:gd name="T7" fmla="*/ 166 h 184"/>
                <a:gd name="T8" fmla="*/ 57 w 114"/>
                <a:gd name="T9" fmla="*/ 0 h 184"/>
                <a:gd name="T10" fmla="*/ 102 w 114"/>
                <a:gd name="T11" fmla="*/ 14 h 184"/>
                <a:gd name="T12" fmla="*/ 110 w 114"/>
                <a:gd name="T13" fmla="*/ 33 h 184"/>
                <a:gd name="T14" fmla="*/ 90 w 114"/>
                <a:gd name="T15" fmla="*/ 90 h 184"/>
                <a:gd name="T16" fmla="*/ 79 w 114"/>
                <a:gd name="T17" fmla="*/ 98 h 184"/>
                <a:gd name="T18" fmla="*/ 85 w 114"/>
                <a:gd name="T19" fmla="*/ 115 h 184"/>
                <a:gd name="T20" fmla="*/ 62 w 114"/>
                <a:gd name="T21" fmla="*/ 183 h 184"/>
                <a:gd name="T22" fmla="*/ 40 w 114"/>
                <a:gd name="T23" fmla="*/ 175 h 184"/>
                <a:gd name="T24" fmla="*/ 62 w 114"/>
                <a:gd name="T25" fmla="*/ 107 h 184"/>
                <a:gd name="T26" fmla="*/ 51 w 114"/>
                <a:gd name="T27" fmla="*/ 81 h 184"/>
                <a:gd name="T28" fmla="*/ 68 w 114"/>
                <a:gd name="T29" fmla="*/ 87 h 184"/>
                <a:gd name="T30" fmla="*/ 85 w 114"/>
                <a:gd name="T31" fmla="*/ 33 h 184"/>
                <a:gd name="T32" fmla="*/ 68 w 114"/>
                <a:gd name="T33" fmla="*/ 28 h 184"/>
                <a:gd name="T34" fmla="*/ 51 w 114"/>
                <a:gd name="T35" fmla="*/ 8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184">
                  <a:moveTo>
                    <a:pt x="62" y="107"/>
                  </a:moveTo>
                  <a:lnTo>
                    <a:pt x="45" y="101"/>
                  </a:lnTo>
                  <a:lnTo>
                    <a:pt x="23" y="172"/>
                  </a:lnTo>
                  <a:lnTo>
                    <a:pt x="0" y="166"/>
                  </a:lnTo>
                  <a:lnTo>
                    <a:pt x="57" y="0"/>
                  </a:lnTo>
                  <a:lnTo>
                    <a:pt x="102" y="14"/>
                  </a:lnTo>
                  <a:cubicBezTo>
                    <a:pt x="110" y="17"/>
                    <a:pt x="113" y="25"/>
                    <a:pt x="110" y="33"/>
                  </a:cubicBezTo>
                  <a:lnTo>
                    <a:pt x="90" y="90"/>
                  </a:lnTo>
                  <a:cubicBezTo>
                    <a:pt x="90" y="96"/>
                    <a:pt x="85" y="98"/>
                    <a:pt x="79" y="98"/>
                  </a:cubicBezTo>
                  <a:cubicBezTo>
                    <a:pt x="85" y="101"/>
                    <a:pt x="88" y="110"/>
                    <a:pt x="85" y="115"/>
                  </a:cubicBezTo>
                  <a:lnTo>
                    <a:pt x="62" y="183"/>
                  </a:lnTo>
                  <a:lnTo>
                    <a:pt x="40" y="175"/>
                  </a:lnTo>
                  <a:lnTo>
                    <a:pt x="62" y="107"/>
                  </a:lnTo>
                  <a:close/>
                  <a:moveTo>
                    <a:pt x="51" y="81"/>
                  </a:moveTo>
                  <a:lnTo>
                    <a:pt x="68" y="87"/>
                  </a:lnTo>
                  <a:lnTo>
                    <a:pt x="85" y="33"/>
                  </a:lnTo>
                  <a:lnTo>
                    <a:pt x="68" y="28"/>
                  </a:lnTo>
                  <a:lnTo>
                    <a:pt x="51" y="81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3" name="Freeform 751"/>
            <p:cNvSpPr>
              <a:spLocks noChangeArrowheads="1"/>
            </p:cNvSpPr>
            <p:nvPr/>
          </p:nvSpPr>
          <p:spPr bwMode="auto">
            <a:xfrm>
              <a:off x="4267200" y="2190750"/>
              <a:ext cx="47625" cy="66675"/>
            </a:xfrm>
            <a:custGeom>
              <a:avLst/>
              <a:gdLst>
                <a:gd name="T0" fmla="*/ 70 w 133"/>
                <a:gd name="T1" fmla="*/ 12 h 185"/>
                <a:gd name="T2" fmla="*/ 90 w 133"/>
                <a:gd name="T3" fmla="*/ 6 h 185"/>
                <a:gd name="T4" fmla="*/ 121 w 133"/>
                <a:gd name="T5" fmla="*/ 20 h 185"/>
                <a:gd name="T6" fmla="*/ 127 w 133"/>
                <a:gd name="T7" fmla="*/ 40 h 185"/>
                <a:gd name="T8" fmla="*/ 62 w 133"/>
                <a:gd name="T9" fmla="*/ 172 h 185"/>
                <a:gd name="T10" fmla="*/ 42 w 133"/>
                <a:gd name="T11" fmla="*/ 178 h 185"/>
                <a:gd name="T12" fmla="*/ 11 w 133"/>
                <a:gd name="T13" fmla="*/ 164 h 185"/>
                <a:gd name="T14" fmla="*/ 2 w 133"/>
                <a:gd name="T15" fmla="*/ 144 h 185"/>
                <a:gd name="T16" fmla="*/ 70 w 133"/>
                <a:gd name="T17" fmla="*/ 12 h 185"/>
                <a:gd name="T18" fmla="*/ 104 w 133"/>
                <a:gd name="T19" fmla="*/ 37 h 185"/>
                <a:gd name="T20" fmla="*/ 87 w 133"/>
                <a:gd name="T21" fmla="*/ 28 h 185"/>
                <a:gd name="T22" fmla="*/ 31 w 133"/>
                <a:gd name="T23" fmla="*/ 147 h 185"/>
                <a:gd name="T24" fmla="*/ 48 w 133"/>
                <a:gd name="T25" fmla="*/ 155 h 185"/>
                <a:gd name="T26" fmla="*/ 104 w 133"/>
                <a:gd name="T27" fmla="*/ 3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3" h="185">
                  <a:moveTo>
                    <a:pt x="70" y="12"/>
                  </a:moveTo>
                  <a:cubicBezTo>
                    <a:pt x="73" y="3"/>
                    <a:pt x="81" y="0"/>
                    <a:pt x="90" y="6"/>
                  </a:cubicBezTo>
                  <a:lnTo>
                    <a:pt x="121" y="20"/>
                  </a:lnTo>
                  <a:cubicBezTo>
                    <a:pt x="129" y="23"/>
                    <a:pt x="132" y="34"/>
                    <a:pt x="127" y="40"/>
                  </a:cubicBezTo>
                  <a:lnTo>
                    <a:pt x="62" y="172"/>
                  </a:lnTo>
                  <a:cubicBezTo>
                    <a:pt x="59" y="181"/>
                    <a:pt x="50" y="184"/>
                    <a:pt x="42" y="178"/>
                  </a:cubicBezTo>
                  <a:lnTo>
                    <a:pt x="11" y="164"/>
                  </a:lnTo>
                  <a:cubicBezTo>
                    <a:pt x="2" y="161"/>
                    <a:pt x="0" y="153"/>
                    <a:pt x="2" y="144"/>
                  </a:cubicBezTo>
                  <a:lnTo>
                    <a:pt x="70" y="12"/>
                  </a:lnTo>
                  <a:close/>
                  <a:moveTo>
                    <a:pt x="104" y="37"/>
                  </a:moveTo>
                  <a:lnTo>
                    <a:pt x="87" y="28"/>
                  </a:lnTo>
                  <a:lnTo>
                    <a:pt x="31" y="147"/>
                  </a:lnTo>
                  <a:lnTo>
                    <a:pt x="48" y="155"/>
                  </a:lnTo>
                  <a:lnTo>
                    <a:pt x="104" y="37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4" name="Freeform 752"/>
            <p:cNvSpPr>
              <a:spLocks noChangeArrowheads="1"/>
            </p:cNvSpPr>
            <p:nvPr/>
          </p:nvSpPr>
          <p:spPr bwMode="auto">
            <a:xfrm>
              <a:off x="4308475" y="2214563"/>
              <a:ext cx="57150" cy="66675"/>
            </a:xfrm>
            <a:custGeom>
              <a:avLst/>
              <a:gdLst>
                <a:gd name="T0" fmla="*/ 122 w 159"/>
                <a:gd name="T1" fmla="*/ 17 h 187"/>
                <a:gd name="T2" fmla="*/ 91 w 159"/>
                <a:gd name="T3" fmla="*/ 101 h 187"/>
                <a:gd name="T4" fmla="*/ 139 w 159"/>
                <a:gd name="T5" fmla="*/ 28 h 187"/>
                <a:gd name="T6" fmla="*/ 158 w 159"/>
                <a:gd name="T7" fmla="*/ 39 h 187"/>
                <a:gd name="T8" fmla="*/ 62 w 159"/>
                <a:gd name="T9" fmla="*/ 186 h 187"/>
                <a:gd name="T10" fmla="*/ 40 w 159"/>
                <a:gd name="T11" fmla="*/ 172 h 187"/>
                <a:gd name="T12" fmla="*/ 74 w 159"/>
                <a:gd name="T13" fmla="*/ 79 h 187"/>
                <a:gd name="T14" fmla="*/ 20 w 159"/>
                <a:gd name="T15" fmla="*/ 158 h 187"/>
                <a:gd name="T16" fmla="*/ 0 w 159"/>
                <a:gd name="T17" fmla="*/ 147 h 187"/>
                <a:gd name="T18" fmla="*/ 96 w 159"/>
                <a:gd name="T19" fmla="*/ 0 h 187"/>
                <a:gd name="T20" fmla="*/ 122 w 159"/>
                <a:gd name="T21" fmla="*/ 1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9" h="187">
                  <a:moveTo>
                    <a:pt x="122" y="17"/>
                  </a:moveTo>
                  <a:lnTo>
                    <a:pt x="91" y="101"/>
                  </a:lnTo>
                  <a:lnTo>
                    <a:pt x="139" y="28"/>
                  </a:lnTo>
                  <a:lnTo>
                    <a:pt x="158" y="39"/>
                  </a:lnTo>
                  <a:lnTo>
                    <a:pt x="62" y="186"/>
                  </a:lnTo>
                  <a:lnTo>
                    <a:pt x="40" y="172"/>
                  </a:lnTo>
                  <a:lnTo>
                    <a:pt x="74" y="79"/>
                  </a:lnTo>
                  <a:lnTo>
                    <a:pt x="20" y="158"/>
                  </a:lnTo>
                  <a:lnTo>
                    <a:pt x="0" y="147"/>
                  </a:lnTo>
                  <a:lnTo>
                    <a:pt x="96" y="0"/>
                  </a:lnTo>
                  <a:lnTo>
                    <a:pt x="122" y="17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5" name="Freeform 753"/>
            <p:cNvSpPr>
              <a:spLocks noChangeArrowheads="1"/>
            </p:cNvSpPr>
            <p:nvPr/>
          </p:nvSpPr>
          <p:spPr bwMode="auto">
            <a:xfrm>
              <a:off x="4352925" y="2246313"/>
              <a:ext cx="52388" cy="58737"/>
            </a:xfrm>
            <a:custGeom>
              <a:avLst/>
              <a:gdLst>
                <a:gd name="T0" fmla="*/ 98 w 147"/>
                <a:gd name="T1" fmla="*/ 31 h 165"/>
                <a:gd name="T2" fmla="*/ 84 w 147"/>
                <a:gd name="T3" fmla="*/ 17 h 165"/>
                <a:gd name="T4" fmla="*/ 98 w 147"/>
                <a:gd name="T5" fmla="*/ 0 h 165"/>
                <a:gd name="T6" fmla="*/ 146 w 147"/>
                <a:gd name="T7" fmla="*/ 43 h 165"/>
                <a:gd name="T8" fmla="*/ 132 w 147"/>
                <a:gd name="T9" fmla="*/ 60 h 165"/>
                <a:gd name="T10" fmla="*/ 118 w 147"/>
                <a:gd name="T11" fmla="*/ 46 h 165"/>
                <a:gd name="T12" fmla="*/ 17 w 147"/>
                <a:gd name="T13" fmla="*/ 164 h 165"/>
                <a:gd name="T14" fmla="*/ 0 w 147"/>
                <a:gd name="T15" fmla="*/ 150 h 165"/>
                <a:gd name="T16" fmla="*/ 98 w 147"/>
                <a:gd name="T17" fmla="*/ 3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165">
                  <a:moveTo>
                    <a:pt x="98" y="31"/>
                  </a:moveTo>
                  <a:lnTo>
                    <a:pt x="84" y="17"/>
                  </a:lnTo>
                  <a:lnTo>
                    <a:pt x="98" y="0"/>
                  </a:lnTo>
                  <a:lnTo>
                    <a:pt x="146" y="43"/>
                  </a:lnTo>
                  <a:lnTo>
                    <a:pt x="132" y="60"/>
                  </a:lnTo>
                  <a:lnTo>
                    <a:pt x="118" y="46"/>
                  </a:lnTo>
                  <a:lnTo>
                    <a:pt x="17" y="164"/>
                  </a:lnTo>
                  <a:lnTo>
                    <a:pt x="0" y="150"/>
                  </a:lnTo>
                  <a:lnTo>
                    <a:pt x="98" y="31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6" name="Freeform 754"/>
            <p:cNvSpPr>
              <a:spLocks noChangeArrowheads="1"/>
            </p:cNvSpPr>
            <p:nvPr/>
          </p:nvSpPr>
          <p:spPr bwMode="auto">
            <a:xfrm>
              <a:off x="4381500" y="2282825"/>
              <a:ext cx="58738" cy="57150"/>
            </a:xfrm>
            <a:custGeom>
              <a:avLst/>
              <a:gdLst>
                <a:gd name="T0" fmla="*/ 113 w 164"/>
                <a:gd name="T1" fmla="*/ 6 h 159"/>
                <a:gd name="T2" fmla="*/ 135 w 164"/>
                <a:gd name="T3" fmla="*/ 6 h 159"/>
                <a:gd name="T4" fmla="*/ 158 w 164"/>
                <a:gd name="T5" fmla="*/ 31 h 159"/>
                <a:gd name="T6" fmla="*/ 158 w 164"/>
                <a:gd name="T7" fmla="*/ 54 h 159"/>
                <a:gd name="T8" fmla="*/ 50 w 164"/>
                <a:gd name="T9" fmla="*/ 152 h 159"/>
                <a:gd name="T10" fmla="*/ 28 w 164"/>
                <a:gd name="T11" fmla="*/ 152 h 159"/>
                <a:gd name="T12" fmla="*/ 5 w 164"/>
                <a:gd name="T13" fmla="*/ 127 h 159"/>
                <a:gd name="T14" fmla="*/ 5 w 164"/>
                <a:gd name="T15" fmla="*/ 104 h 159"/>
                <a:gd name="T16" fmla="*/ 113 w 164"/>
                <a:gd name="T17" fmla="*/ 6 h 159"/>
                <a:gd name="T18" fmla="*/ 135 w 164"/>
                <a:gd name="T19" fmla="*/ 42 h 159"/>
                <a:gd name="T20" fmla="*/ 121 w 164"/>
                <a:gd name="T21" fmla="*/ 28 h 159"/>
                <a:gd name="T22" fmla="*/ 25 w 164"/>
                <a:gd name="T23" fmla="*/ 118 h 159"/>
                <a:gd name="T24" fmla="*/ 39 w 164"/>
                <a:gd name="T25" fmla="*/ 133 h 159"/>
                <a:gd name="T26" fmla="*/ 135 w 164"/>
                <a:gd name="T27" fmla="*/ 4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4" h="159">
                  <a:moveTo>
                    <a:pt x="113" y="6"/>
                  </a:moveTo>
                  <a:cubicBezTo>
                    <a:pt x="118" y="0"/>
                    <a:pt x="129" y="0"/>
                    <a:pt x="135" y="6"/>
                  </a:cubicBezTo>
                  <a:lnTo>
                    <a:pt x="158" y="31"/>
                  </a:lnTo>
                  <a:cubicBezTo>
                    <a:pt x="163" y="37"/>
                    <a:pt x="163" y="48"/>
                    <a:pt x="158" y="54"/>
                  </a:cubicBezTo>
                  <a:lnTo>
                    <a:pt x="50" y="152"/>
                  </a:lnTo>
                  <a:cubicBezTo>
                    <a:pt x="45" y="158"/>
                    <a:pt x="34" y="158"/>
                    <a:pt x="28" y="152"/>
                  </a:cubicBezTo>
                  <a:lnTo>
                    <a:pt x="5" y="127"/>
                  </a:lnTo>
                  <a:cubicBezTo>
                    <a:pt x="0" y="121"/>
                    <a:pt x="0" y="113"/>
                    <a:pt x="5" y="104"/>
                  </a:cubicBezTo>
                  <a:lnTo>
                    <a:pt x="113" y="6"/>
                  </a:lnTo>
                  <a:close/>
                  <a:moveTo>
                    <a:pt x="135" y="42"/>
                  </a:moveTo>
                  <a:lnTo>
                    <a:pt x="121" y="28"/>
                  </a:lnTo>
                  <a:lnTo>
                    <a:pt x="25" y="118"/>
                  </a:lnTo>
                  <a:lnTo>
                    <a:pt x="39" y="133"/>
                  </a:lnTo>
                  <a:lnTo>
                    <a:pt x="135" y="42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7" name="Freeform 755"/>
            <p:cNvSpPr>
              <a:spLocks noChangeArrowheads="1"/>
            </p:cNvSpPr>
            <p:nvPr/>
          </p:nvSpPr>
          <p:spPr bwMode="auto">
            <a:xfrm>
              <a:off x="3722688" y="2463800"/>
              <a:ext cx="19050" cy="19050"/>
            </a:xfrm>
            <a:custGeom>
              <a:avLst/>
              <a:gdLst>
                <a:gd name="T0" fmla="*/ 51 w 52"/>
                <a:gd name="T1" fmla="*/ 25 h 52"/>
                <a:gd name="T2" fmla="*/ 48 w 52"/>
                <a:gd name="T3" fmla="*/ 38 h 52"/>
                <a:gd name="T4" fmla="*/ 38 w 52"/>
                <a:gd name="T5" fmla="*/ 47 h 52"/>
                <a:gd name="T6" fmla="*/ 26 w 52"/>
                <a:gd name="T7" fmla="*/ 51 h 52"/>
                <a:gd name="T8" fmla="*/ 13 w 52"/>
                <a:gd name="T9" fmla="*/ 47 h 52"/>
                <a:gd name="T10" fmla="*/ 4 w 52"/>
                <a:gd name="T11" fmla="*/ 38 h 52"/>
                <a:gd name="T12" fmla="*/ 0 w 52"/>
                <a:gd name="T13" fmla="*/ 25 h 52"/>
                <a:gd name="T14" fmla="*/ 4 w 52"/>
                <a:gd name="T15" fmla="*/ 13 h 52"/>
                <a:gd name="T16" fmla="*/ 13 w 52"/>
                <a:gd name="T17" fmla="*/ 3 h 52"/>
                <a:gd name="T18" fmla="*/ 26 w 52"/>
                <a:gd name="T19" fmla="*/ 0 h 52"/>
                <a:gd name="T20" fmla="*/ 38 w 52"/>
                <a:gd name="T21" fmla="*/ 3 h 52"/>
                <a:gd name="T22" fmla="*/ 48 w 52"/>
                <a:gd name="T23" fmla="*/ 13 h 52"/>
                <a:gd name="T24" fmla="*/ 51 w 52"/>
                <a:gd name="T25" fmla="*/ 2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52">
                  <a:moveTo>
                    <a:pt x="51" y="25"/>
                  </a:moveTo>
                  <a:cubicBezTo>
                    <a:pt x="51" y="30"/>
                    <a:pt x="50" y="34"/>
                    <a:pt x="48" y="38"/>
                  </a:cubicBezTo>
                  <a:cubicBezTo>
                    <a:pt x="45" y="42"/>
                    <a:pt x="42" y="44"/>
                    <a:pt x="38" y="47"/>
                  </a:cubicBezTo>
                  <a:cubicBezTo>
                    <a:pt x="34" y="49"/>
                    <a:pt x="30" y="51"/>
                    <a:pt x="26" y="51"/>
                  </a:cubicBezTo>
                  <a:cubicBezTo>
                    <a:pt x="21" y="51"/>
                    <a:pt x="17" y="49"/>
                    <a:pt x="13" y="47"/>
                  </a:cubicBezTo>
                  <a:cubicBezTo>
                    <a:pt x="9" y="44"/>
                    <a:pt x="6" y="42"/>
                    <a:pt x="4" y="38"/>
                  </a:cubicBezTo>
                  <a:cubicBezTo>
                    <a:pt x="1" y="34"/>
                    <a:pt x="0" y="29"/>
                    <a:pt x="0" y="25"/>
                  </a:cubicBezTo>
                  <a:cubicBezTo>
                    <a:pt x="0" y="20"/>
                    <a:pt x="1" y="17"/>
                    <a:pt x="4" y="13"/>
                  </a:cubicBezTo>
                  <a:cubicBezTo>
                    <a:pt x="6" y="9"/>
                    <a:pt x="9" y="5"/>
                    <a:pt x="13" y="3"/>
                  </a:cubicBezTo>
                  <a:cubicBezTo>
                    <a:pt x="17" y="0"/>
                    <a:pt x="21" y="0"/>
                    <a:pt x="26" y="0"/>
                  </a:cubicBezTo>
                  <a:cubicBezTo>
                    <a:pt x="30" y="0"/>
                    <a:pt x="34" y="0"/>
                    <a:pt x="38" y="3"/>
                  </a:cubicBezTo>
                  <a:cubicBezTo>
                    <a:pt x="42" y="5"/>
                    <a:pt x="45" y="9"/>
                    <a:pt x="48" y="13"/>
                  </a:cubicBezTo>
                  <a:cubicBezTo>
                    <a:pt x="50" y="17"/>
                    <a:pt x="51" y="21"/>
                    <a:pt x="51" y="2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8" name="Freeform 756"/>
            <p:cNvSpPr>
              <a:spLocks noChangeArrowheads="1"/>
            </p:cNvSpPr>
            <p:nvPr/>
          </p:nvSpPr>
          <p:spPr bwMode="auto">
            <a:xfrm>
              <a:off x="4445000" y="2336800"/>
              <a:ext cx="19050" cy="19050"/>
            </a:xfrm>
            <a:custGeom>
              <a:avLst/>
              <a:gdLst>
                <a:gd name="T0" fmla="*/ 51 w 52"/>
                <a:gd name="T1" fmla="*/ 26 h 52"/>
                <a:gd name="T2" fmla="*/ 48 w 52"/>
                <a:gd name="T3" fmla="*/ 39 h 52"/>
                <a:gd name="T4" fmla="*/ 39 w 52"/>
                <a:gd name="T5" fmla="*/ 48 h 52"/>
                <a:gd name="T6" fmla="*/ 26 w 52"/>
                <a:gd name="T7" fmla="*/ 51 h 52"/>
                <a:gd name="T8" fmla="*/ 13 w 52"/>
                <a:gd name="T9" fmla="*/ 48 h 52"/>
                <a:gd name="T10" fmla="*/ 4 w 52"/>
                <a:gd name="T11" fmla="*/ 39 h 52"/>
                <a:gd name="T12" fmla="*/ 0 w 52"/>
                <a:gd name="T13" fmla="*/ 26 h 52"/>
                <a:gd name="T14" fmla="*/ 4 w 52"/>
                <a:gd name="T15" fmla="*/ 13 h 52"/>
                <a:gd name="T16" fmla="*/ 13 w 52"/>
                <a:gd name="T17" fmla="*/ 4 h 52"/>
                <a:gd name="T18" fmla="*/ 26 w 52"/>
                <a:gd name="T19" fmla="*/ 0 h 52"/>
                <a:gd name="T20" fmla="*/ 39 w 52"/>
                <a:gd name="T21" fmla="*/ 4 h 52"/>
                <a:gd name="T22" fmla="*/ 48 w 52"/>
                <a:gd name="T23" fmla="*/ 13 h 52"/>
                <a:gd name="T24" fmla="*/ 51 w 52"/>
                <a:gd name="T25" fmla="*/ 2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52">
                  <a:moveTo>
                    <a:pt x="51" y="26"/>
                  </a:moveTo>
                  <a:cubicBezTo>
                    <a:pt x="51" y="30"/>
                    <a:pt x="51" y="34"/>
                    <a:pt x="48" y="39"/>
                  </a:cubicBezTo>
                  <a:cubicBezTo>
                    <a:pt x="46" y="43"/>
                    <a:pt x="44" y="45"/>
                    <a:pt x="39" y="48"/>
                  </a:cubicBezTo>
                  <a:cubicBezTo>
                    <a:pt x="35" y="50"/>
                    <a:pt x="31" y="51"/>
                    <a:pt x="26" y="51"/>
                  </a:cubicBezTo>
                  <a:cubicBezTo>
                    <a:pt x="22" y="51"/>
                    <a:pt x="17" y="50"/>
                    <a:pt x="13" y="48"/>
                  </a:cubicBezTo>
                  <a:cubicBezTo>
                    <a:pt x="9" y="45"/>
                    <a:pt x="7" y="43"/>
                    <a:pt x="4" y="39"/>
                  </a:cubicBezTo>
                  <a:cubicBezTo>
                    <a:pt x="2" y="34"/>
                    <a:pt x="0" y="30"/>
                    <a:pt x="0" y="26"/>
                  </a:cubicBezTo>
                  <a:cubicBezTo>
                    <a:pt x="0" y="21"/>
                    <a:pt x="2" y="17"/>
                    <a:pt x="4" y="13"/>
                  </a:cubicBezTo>
                  <a:cubicBezTo>
                    <a:pt x="7" y="9"/>
                    <a:pt x="9" y="6"/>
                    <a:pt x="13" y="4"/>
                  </a:cubicBezTo>
                  <a:cubicBezTo>
                    <a:pt x="17" y="1"/>
                    <a:pt x="21" y="0"/>
                    <a:pt x="26" y="0"/>
                  </a:cubicBezTo>
                  <a:cubicBezTo>
                    <a:pt x="30" y="0"/>
                    <a:pt x="35" y="1"/>
                    <a:pt x="39" y="4"/>
                  </a:cubicBezTo>
                  <a:cubicBezTo>
                    <a:pt x="44" y="6"/>
                    <a:pt x="46" y="9"/>
                    <a:pt x="48" y="13"/>
                  </a:cubicBezTo>
                  <a:cubicBezTo>
                    <a:pt x="51" y="17"/>
                    <a:pt x="51" y="21"/>
                    <a:pt x="51" y="26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799" name="Freeform 757"/>
            <p:cNvSpPr>
              <a:spLocks noChangeArrowheads="1"/>
            </p:cNvSpPr>
            <p:nvPr/>
          </p:nvSpPr>
          <p:spPr bwMode="auto">
            <a:xfrm>
              <a:off x="3681413" y="2378075"/>
              <a:ext cx="917575" cy="657225"/>
            </a:xfrm>
            <a:custGeom>
              <a:avLst/>
              <a:gdLst>
                <a:gd name="T0" fmla="*/ 1237 w 2550"/>
                <a:gd name="T1" fmla="*/ 1734 h 1825"/>
                <a:gd name="T2" fmla="*/ 90 w 2550"/>
                <a:gd name="T3" fmla="*/ 583 h 1825"/>
                <a:gd name="T4" fmla="*/ 113 w 2550"/>
                <a:gd name="T5" fmla="*/ 361 h 1825"/>
                <a:gd name="T6" fmla="*/ 124 w 2550"/>
                <a:gd name="T7" fmla="*/ 364 h 1825"/>
                <a:gd name="T8" fmla="*/ 1015 w 2550"/>
                <a:gd name="T9" fmla="*/ 1700 h 1825"/>
                <a:gd name="T10" fmla="*/ 2352 w 2550"/>
                <a:gd name="T11" fmla="*/ 809 h 1825"/>
                <a:gd name="T12" fmla="*/ 2214 w 2550"/>
                <a:gd name="T13" fmla="*/ 6 h 1825"/>
                <a:gd name="T14" fmla="*/ 2225 w 2550"/>
                <a:gd name="T15" fmla="*/ 0 h 1825"/>
                <a:gd name="T16" fmla="*/ 1827 w 2550"/>
                <a:gd name="T17" fmla="*/ 1576 h 1825"/>
                <a:gd name="T18" fmla="*/ 1237 w 2550"/>
                <a:gd name="T19" fmla="*/ 173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50" h="1825">
                  <a:moveTo>
                    <a:pt x="1237" y="1734"/>
                  </a:moveTo>
                  <a:cubicBezTo>
                    <a:pt x="604" y="1734"/>
                    <a:pt x="87" y="1218"/>
                    <a:pt x="90" y="583"/>
                  </a:cubicBezTo>
                  <a:cubicBezTo>
                    <a:pt x="90" y="508"/>
                    <a:pt x="98" y="435"/>
                    <a:pt x="113" y="361"/>
                  </a:cubicBezTo>
                  <a:lnTo>
                    <a:pt x="124" y="364"/>
                  </a:lnTo>
                  <a:cubicBezTo>
                    <a:pt x="0" y="978"/>
                    <a:pt x="399" y="1576"/>
                    <a:pt x="1015" y="1700"/>
                  </a:cubicBezTo>
                  <a:cubicBezTo>
                    <a:pt x="1630" y="1824"/>
                    <a:pt x="2228" y="1424"/>
                    <a:pt x="2352" y="809"/>
                  </a:cubicBezTo>
                  <a:cubicBezTo>
                    <a:pt x="2408" y="533"/>
                    <a:pt x="2358" y="246"/>
                    <a:pt x="2214" y="6"/>
                  </a:cubicBezTo>
                  <a:lnTo>
                    <a:pt x="2225" y="0"/>
                  </a:lnTo>
                  <a:cubicBezTo>
                    <a:pt x="2549" y="545"/>
                    <a:pt x="2372" y="1249"/>
                    <a:pt x="1827" y="1576"/>
                  </a:cubicBezTo>
                  <a:cubicBezTo>
                    <a:pt x="1647" y="1678"/>
                    <a:pt x="1443" y="1734"/>
                    <a:pt x="1237" y="1734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0" name="Freeform 758"/>
            <p:cNvSpPr>
              <a:spLocks noChangeArrowheads="1"/>
            </p:cNvSpPr>
            <p:nvPr/>
          </p:nvSpPr>
          <p:spPr bwMode="auto">
            <a:xfrm>
              <a:off x="4046538" y="2782888"/>
              <a:ext cx="55562" cy="120650"/>
            </a:xfrm>
            <a:custGeom>
              <a:avLst/>
              <a:gdLst>
                <a:gd name="T0" fmla="*/ 0 w 154"/>
                <a:gd name="T1" fmla="*/ 8 h 336"/>
                <a:gd name="T2" fmla="*/ 43 w 154"/>
                <a:gd name="T3" fmla="*/ 0 h 336"/>
                <a:gd name="T4" fmla="*/ 93 w 154"/>
                <a:gd name="T5" fmla="*/ 285 h 336"/>
                <a:gd name="T6" fmla="*/ 144 w 154"/>
                <a:gd name="T7" fmla="*/ 276 h 336"/>
                <a:gd name="T8" fmla="*/ 153 w 154"/>
                <a:gd name="T9" fmla="*/ 319 h 336"/>
                <a:gd name="T10" fmla="*/ 60 w 154"/>
                <a:gd name="T11" fmla="*/ 335 h 336"/>
                <a:gd name="T12" fmla="*/ 0 w 154"/>
                <a:gd name="T13" fmla="*/ 8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" h="336">
                  <a:moveTo>
                    <a:pt x="0" y="8"/>
                  </a:moveTo>
                  <a:lnTo>
                    <a:pt x="43" y="0"/>
                  </a:lnTo>
                  <a:lnTo>
                    <a:pt x="93" y="285"/>
                  </a:lnTo>
                  <a:lnTo>
                    <a:pt x="144" y="276"/>
                  </a:lnTo>
                  <a:lnTo>
                    <a:pt x="153" y="319"/>
                  </a:lnTo>
                  <a:lnTo>
                    <a:pt x="60" y="335"/>
                  </a:lnTo>
                  <a:lnTo>
                    <a:pt x="0" y="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1" name="Freeform 759"/>
            <p:cNvSpPr>
              <a:spLocks noChangeArrowheads="1"/>
            </p:cNvSpPr>
            <p:nvPr/>
          </p:nvSpPr>
          <p:spPr bwMode="auto">
            <a:xfrm>
              <a:off x="4111625" y="2768600"/>
              <a:ext cx="60325" cy="125413"/>
            </a:xfrm>
            <a:custGeom>
              <a:avLst/>
              <a:gdLst>
                <a:gd name="T0" fmla="*/ 106 w 169"/>
                <a:gd name="T1" fmla="*/ 265 h 348"/>
                <a:gd name="T2" fmla="*/ 58 w 169"/>
                <a:gd name="T3" fmla="*/ 274 h 348"/>
                <a:gd name="T4" fmla="*/ 64 w 169"/>
                <a:gd name="T5" fmla="*/ 339 h 348"/>
                <a:gd name="T6" fmla="*/ 23 w 169"/>
                <a:gd name="T7" fmla="*/ 347 h 348"/>
                <a:gd name="T8" fmla="*/ 0 w 169"/>
                <a:gd name="T9" fmla="*/ 14 h 348"/>
                <a:gd name="T10" fmla="*/ 75 w 169"/>
                <a:gd name="T11" fmla="*/ 0 h 348"/>
                <a:gd name="T12" fmla="*/ 168 w 169"/>
                <a:gd name="T13" fmla="*/ 322 h 348"/>
                <a:gd name="T14" fmla="*/ 123 w 169"/>
                <a:gd name="T15" fmla="*/ 327 h 348"/>
                <a:gd name="T16" fmla="*/ 106 w 169"/>
                <a:gd name="T17" fmla="*/ 265 h 348"/>
                <a:gd name="T18" fmla="*/ 56 w 169"/>
                <a:gd name="T19" fmla="*/ 231 h 348"/>
                <a:gd name="T20" fmla="*/ 92 w 169"/>
                <a:gd name="T21" fmla="*/ 226 h 348"/>
                <a:gd name="T22" fmla="*/ 41 w 169"/>
                <a:gd name="T23" fmla="*/ 51 h 348"/>
                <a:gd name="T24" fmla="*/ 56 w 169"/>
                <a:gd name="T25" fmla="*/ 231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" h="348">
                  <a:moveTo>
                    <a:pt x="106" y="265"/>
                  </a:moveTo>
                  <a:lnTo>
                    <a:pt x="58" y="274"/>
                  </a:lnTo>
                  <a:lnTo>
                    <a:pt x="64" y="339"/>
                  </a:lnTo>
                  <a:lnTo>
                    <a:pt x="23" y="347"/>
                  </a:lnTo>
                  <a:lnTo>
                    <a:pt x="0" y="14"/>
                  </a:lnTo>
                  <a:lnTo>
                    <a:pt x="75" y="0"/>
                  </a:lnTo>
                  <a:lnTo>
                    <a:pt x="168" y="322"/>
                  </a:lnTo>
                  <a:lnTo>
                    <a:pt x="123" y="327"/>
                  </a:lnTo>
                  <a:lnTo>
                    <a:pt x="106" y="265"/>
                  </a:lnTo>
                  <a:close/>
                  <a:moveTo>
                    <a:pt x="56" y="231"/>
                  </a:moveTo>
                  <a:lnTo>
                    <a:pt x="92" y="226"/>
                  </a:lnTo>
                  <a:lnTo>
                    <a:pt x="41" y="51"/>
                  </a:lnTo>
                  <a:lnTo>
                    <a:pt x="56" y="231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2" name="Freeform 760"/>
            <p:cNvSpPr>
              <a:spLocks noChangeArrowheads="1"/>
            </p:cNvSpPr>
            <p:nvPr/>
          </p:nvSpPr>
          <p:spPr bwMode="auto">
            <a:xfrm>
              <a:off x="4171950" y="2757488"/>
              <a:ext cx="65088" cy="123825"/>
            </a:xfrm>
            <a:custGeom>
              <a:avLst/>
              <a:gdLst>
                <a:gd name="T0" fmla="*/ 0 w 179"/>
                <a:gd name="T1" fmla="*/ 17 h 345"/>
                <a:gd name="T2" fmla="*/ 88 w 179"/>
                <a:gd name="T3" fmla="*/ 3 h 345"/>
                <a:gd name="T4" fmla="*/ 122 w 179"/>
                <a:gd name="T5" fmla="*/ 26 h 345"/>
                <a:gd name="T6" fmla="*/ 141 w 179"/>
                <a:gd name="T7" fmla="*/ 130 h 345"/>
                <a:gd name="T8" fmla="*/ 130 w 179"/>
                <a:gd name="T9" fmla="*/ 155 h 345"/>
                <a:gd name="T10" fmla="*/ 156 w 179"/>
                <a:gd name="T11" fmla="*/ 181 h 345"/>
                <a:gd name="T12" fmla="*/ 175 w 179"/>
                <a:gd name="T13" fmla="*/ 296 h 345"/>
                <a:gd name="T14" fmla="*/ 153 w 179"/>
                <a:gd name="T15" fmla="*/ 330 h 345"/>
                <a:gd name="T16" fmla="*/ 57 w 179"/>
                <a:gd name="T17" fmla="*/ 344 h 345"/>
                <a:gd name="T18" fmla="*/ 0 w 179"/>
                <a:gd name="T19" fmla="*/ 17 h 345"/>
                <a:gd name="T20" fmla="*/ 65 w 179"/>
                <a:gd name="T21" fmla="*/ 147 h 345"/>
                <a:gd name="T22" fmla="*/ 96 w 179"/>
                <a:gd name="T23" fmla="*/ 141 h 345"/>
                <a:gd name="T24" fmla="*/ 79 w 179"/>
                <a:gd name="T25" fmla="*/ 45 h 345"/>
                <a:gd name="T26" fmla="*/ 48 w 179"/>
                <a:gd name="T27" fmla="*/ 51 h 345"/>
                <a:gd name="T28" fmla="*/ 65 w 179"/>
                <a:gd name="T29" fmla="*/ 147 h 345"/>
                <a:gd name="T30" fmla="*/ 127 w 179"/>
                <a:gd name="T31" fmla="*/ 288 h 345"/>
                <a:gd name="T32" fmla="*/ 108 w 179"/>
                <a:gd name="T33" fmla="*/ 184 h 345"/>
                <a:gd name="T34" fmla="*/ 71 w 179"/>
                <a:gd name="T35" fmla="*/ 189 h 345"/>
                <a:gd name="T36" fmla="*/ 91 w 179"/>
                <a:gd name="T37" fmla="*/ 294 h 345"/>
                <a:gd name="T38" fmla="*/ 127 w 179"/>
                <a:gd name="T39" fmla="*/ 288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9" h="345">
                  <a:moveTo>
                    <a:pt x="0" y="17"/>
                  </a:moveTo>
                  <a:lnTo>
                    <a:pt x="88" y="3"/>
                  </a:lnTo>
                  <a:cubicBezTo>
                    <a:pt x="102" y="0"/>
                    <a:pt x="119" y="12"/>
                    <a:pt x="122" y="26"/>
                  </a:cubicBezTo>
                  <a:lnTo>
                    <a:pt x="141" y="130"/>
                  </a:lnTo>
                  <a:cubicBezTo>
                    <a:pt x="144" y="141"/>
                    <a:pt x="139" y="150"/>
                    <a:pt x="130" y="155"/>
                  </a:cubicBezTo>
                  <a:cubicBezTo>
                    <a:pt x="144" y="158"/>
                    <a:pt x="153" y="167"/>
                    <a:pt x="156" y="181"/>
                  </a:cubicBezTo>
                  <a:cubicBezTo>
                    <a:pt x="158" y="192"/>
                    <a:pt x="175" y="288"/>
                    <a:pt x="175" y="296"/>
                  </a:cubicBezTo>
                  <a:cubicBezTo>
                    <a:pt x="178" y="311"/>
                    <a:pt x="167" y="327"/>
                    <a:pt x="153" y="330"/>
                  </a:cubicBezTo>
                  <a:lnTo>
                    <a:pt x="57" y="344"/>
                  </a:lnTo>
                  <a:lnTo>
                    <a:pt x="0" y="17"/>
                  </a:lnTo>
                  <a:close/>
                  <a:moveTo>
                    <a:pt x="65" y="147"/>
                  </a:moveTo>
                  <a:lnTo>
                    <a:pt x="96" y="141"/>
                  </a:lnTo>
                  <a:lnTo>
                    <a:pt x="79" y="45"/>
                  </a:lnTo>
                  <a:lnTo>
                    <a:pt x="48" y="51"/>
                  </a:lnTo>
                  <a:lnTo>
                    <a:pt x="65" y="147"/>
                  </a:lnTo>
                  <a:close/>
                  <a:moveTo>
                    <a:pt x="127" y="288"/>
                  </a:moveTo>
                  <a:lnTo>
                    <a:pt x="108" y="184"/>
                  </a:lnTo>
                  <a:lnTo>
                    <a:pt x="71" y="189"/>
                  </a:lnTo>
                  <a:lnTo>
                    <a:pt x="91" y="294"/>
                  </a:lnTo>
                  <a:lnTo>
                    <a:pt x="127" y="288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3" name="Freeform 761"/>
            <p:cNvSpPr>
              <a:spLocks noChangeArrowheads="1"/>
            </p:cNvSpPr>
            <p:nvPr/>
          </p:nvSpPr>
          <p:spPr bwMode="auto">
            <a:xfrm>
              <a:off x="4240213" y="2743200"/>
              <a:ext cx="63500" cy="125413"/>
            </a:xfrm>
            <a:custGeom>
              <a:avLst/>
              <a:gdLst>
                <a:gd name="T0" fmla="*/ 82 w 176"/>
                <a:gd name="T1" fmla="*/ 242 h 348"/>
                <a:gd name="T2" fmla="*/ 93 w 176"/>
                <a:gd name="T3" fmla="*/ 299 h 348"/>
                <a:gd name="T4" fmla="*/ 130 w 176"/>
                <a:gd name="T5" fmla="*/ 293 h 348"/>
                <a:gd name="T6" fmla="*/ 110 w 176"/>
                <a:gd name="T7" fmla="*/ 186 h 348"/>
                <a:gd name="T8" fmla="*/ 60 w 176"/>
                <a:gd name="T9" fmla="*/ 194 h 348"/>
                <a:gd name="T10" fmla="*/ 26 w 176"/>
                <a:gd name="T11" fmla="*/ 172 h 348"/>
                <a:gd name="T12" fmla="*/ 3 w 176"/>
                <a:gd name="T13" fmla="*/ 48 h 348"/>
                <a:gd name="T14" fmla="*/ 23 w 176"/>
                <a:gd name="T15" fmla="*/ 14 h 348"/>
                <a:gd name="T16" fmla="*/ 26 w 176"/>
                <a:gd name="T17" fmla="*/ 14 h 348"/>
                <a:gd name="T18" fmla="*/ 91 w 176"/>
                <a:gd name="T19" fmla="*/ 3 h 348"/>
                <a:gd name="T20" fmla="*/ 124 w 176"/>
                <a:gd name="T21" fmla="*/ 25 h 348"/>
                <a:gd name="T22" fmla="*/ 124 w 176"/>
                <a:gd name="T23" fmla="*/ 25 h 348"/>
                <a:gd name="T24" fmla="*/ 136 w 176"/>
                <a:gd name="T25" fmla="*/ 93 h 348"/>
                <a:gd name="T26" fmla="*/ 93 w 176"/>
                <a:gd name="T27" fmla="*/ 101 h 348"/>
                <a:gd name="T28" fmla="*/ 85 w 176"/>
                <a:gd name="T29" fmla="*/ 48 h 348"/>
                <a:gd name="T30" fmla="*/ 48 w 176"/>
                <a:gd name="T31" fmla="*/ 53 h 348"/>
                <a:gd name="T32" fmla="*/ 65 w 176"/>
                <a:gd name="T33" fmla="*/ 149 h 348"/>
                <a:gd name="T34" fmla="*/ 116 w 176"/>
                <a:gd name="T35" fmla="*/ 141 h 348"/>
                <a:gd name="T36" fmla="*/ 150 w 176"/>
                <a:gd name="T37" fmla="*/ 163 h 348"/>
                <a:gd name="T38" fmla="*/ 172 w 176"/>
                <a:gd name="T39" fmla="*/ 299 h 348"/>
                <a:gd name="T40" fmla="*/ 150 w 176"/>
                <a:gd name="T41" fmla="*/ 333 h 348"/>
                <a:gd name="T42" fmla="*/ 85 w 176"/>
                <a:gd name="T43" fmla="*/ 344 h 348"/>
                <a:gd name="T44" fmla="*/ 51 w 176"/>
                <a:gd name="T45" fmla="*/ 321 h 348"/>
                <a:gd name="T46" fmla="*/ 40 w 176"/>
                <a:gd name="T47" fmla="*/ 251 h 348"/>
                <a:gd name="T48" fmla="*/ 82 w 176"/>
                <a:gd name="T49" fmla="*/ 242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6" h="348">
                  <a:moveTo>
                    <a:pt x="82" y="242"/>
                  </a:moveTo>
                  <a:lnTo>
                    <a:pt x="93" y="299"/>
                  </a:lnTo>
                  <a:lnTo>
                    <a:pt x="130" y="293"/>
                  </a:lnTo>
                  <a:lnTo>
                    <a:pt x="110" y="186"/>
                  </a:lnTo>
                  <a:lnTo>
                    <a:pt x="60" y="194"/>
                  </a:lnTo>
                  <a:cubicBezTo>
                    <a:pt x="45" y="197"/>
                    <a:pt x="28" y="186"/>
                    <a:pt x="26" y="172"/>
                  </a:cubicBezTo>
                  <a:lnTo>
                    <a:pt x="3" y="48"/>
                  </a:lnTo>
                  <a:cubicBezTo>
                    <a:pt x="0" y="34"/>
                    <a:pt x="9" y="20"/>
                    <a:pt x="23" y="14"/>
                  </a:cubicBezTo>
                  <a:lnTo>
                    <a:pt x="26" y="14"/>
                  </a:lnTo>
                  <a:lnTo>
                    <a:pt x="91" y="3"/>
                  </a:lnTo>
                  <a:cubicBezTo>
                    <a:pt x="105" y="0"/>
                    <a:pt x="122" y="8"/>
                    <a:pt x="124" y="25"/>
                  </a:cubicBezTo>
                  <a:lnTo>
                    <a:pt x="124" y="25"/>
                  </a:lnTo>
                  <a:lnTo>
                    <a:pt x="136" y="93"/>
                  </a:lnTo>
                  <a:lnTo>
                    <a:pt x="93" y="101"/>
                  </a:lnTo>
                  <a:lnTo>
                    <a:pt x="85" y="48"/>
                  </a:lnTo>
                  <a:lnTo>
                    <a:pt x="48" y="53"/>
                  </a:lnTo>
                  <a:lnTo>
                    <a:pt x="65" y="149"/>
                  </a:lnTo>
                  <a:lnTo>
                    <a:pt x="116" y="141"/>
                  </a:lnTo>
                  <a:cubicBezTo>
                    <a:pt x="133" y="138"/>
                    <a:pt x="147" y="149"/>
                    <a:pt x="150" y="163"/>
                  </a:cubicBezTo>
                  <a:lnTo>
                    <a:pt x="172" y="299"/>
                  </a:lnTo>
                  <a:cubicBezTo>
                    <a:pt x="175" y="313"/>
                    <a:pt x="164" y="330"/>
                    <a:pt x="150" y="333"/>
                  </a:cubicBezTo>
                  <a:lnTo>
                    <a:pt x="85" y="344"/>
                  </a:lnTo>
                  <a:cubicBezTo>
                    <a:pt x="71" y="347"/>
                    <a:pt x="54" y="335"/>
                    <a:pt x="51" y="321"/>
                  </a:cubicBezTo>
                  <a:lnTo>
                    <a:pt x="40" y="251"/>
                  </a:lnTo>
                  <a:lnTo>
                    <a:pt x="82" y="242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4" name="Freeform 762"/>
            <p:cNvSpPr>
              <a:spLocks noChangeArrowheads="1"/>
            </p:cNvSpPr>
            <p:nvPr/>
          </p:nvSpPr>
          <p:spPr bwMode="auto">
            <a:xfrm>
              <a:off x="4175125" y="2817813"/>
              <a:ext cx="1588" cy="3175"/>
            </a:xfrm>
            <a:custGeom>
              <a:avLst/>
              <a:gdLst>
                <a:gd name="T0" fmla="*/ 3 w 6"/>
                <a:gd name="T1" fmla="*/ 6 h 7"/>
                <a:gd name="T2" fmla="*/ 5 w 6"/>
                <a:gd name="T3" fmla="*/ 0 h 7"/>
                <a:gd name="T4" fmla="*/ 3 w 6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5" y="6"/>
                    <a:pt x="5" y="3"/>
                    <a:pt x="5" y="0"/>
                  </a:cubicBezTo>
                  <a:cubicBezTo>
                    <a:pt x="5" y="0"/>
                    <a:pt x="0" y="3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5" name="Freeform 763"/>
            <p:cNvSpPr>
              <a:spLocks noChangeArrowheads="1"/>
            </p:cNvSpPr>
            <p:nvPr/>
          </p:nvSpPr>
          <p:spPr bwMode="auto">
            <a:xfrm>
              <a:off x="4189413" y="2830513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6 h 7"/>
                <a:gd name="T4" fmla="*/ 6 w 7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3" y="6"/>
                    <a:pt x="6" y="3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6" name="Freeform 764"/>
            <p:cNvSpPr>
              <a:spLocks noChangeArrowheads="1"/>
            </p:cNvSpPr>
            <p:nvPr/>
          </p:nvSpPr>
          <p:spPr bwMode="auto">
            <a:xfrm>
              <a:off x="4195763" y="2828925"/>
              <a:ext cx="3175" cy="3175"/>
            </a:xfrm>
            <a:custGeom>
              <a:avLst/>
              <a:gdLst>
                <a:gd name="T0" fmla="*/ 3 w 10"/>
                <a:gd name="T1" fmla="*/ 8 h 9"/>
                <a:gd name="T2" fmla="*/ 9 w 10"/>
                <a:gd name="T3" fmla="*/ 5 h 9"/>
                <a:gd name="T4" fmla="*/ 3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3" y="8"/>
                  </a:moveTo>
                  <a:cubicBezTo>
                    <a:pt x="6" y="8"/>
                    <a:pt x="6" y="8"/>
                    <a:pt x="9" y="5"/>
                  </a:cubicBezTo>
                  <a:cubicBezTo>
                    <a:pt x="6" y="0"/>
                    <a:pt x="0" y="5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7" name="Freeform 765"/>
            <p:cNvSpPr>
              <a:spLocks noChangeArrowheads="1"/>
            </p:cNvSpPr>
            <p:nvPr/>
          </p:nvSpPr>
          <p:spPr bwMode="auto">
            <a:xfrm>
              <a:off x="4187825" y="2820988"/>
              <a:ext cx="1588" cy="3175"/>
            </a:xfrm>
            <a:custGeom>
              <a:avLst/>
              <a:gdLst>
                <a:gd name="T0" fmla="*/ 3 w 6"/>
                <a:gd name="T1" fmla="*/ 6 h 7"/>
                <a:gd name="T2" fmla="*/ 3 w 6"/>
                <a:gd name="T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5" y="3"/>
                    <a:pt x="0" y="0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8" name="Freeform 766"/>
            <p:cNvSpPr>
              <a:spLocks noChangeArrowheads="1"/>
            </p:cNvSpPr>
            <p:nvPr/>
          </p:nvSpPr>
          <p:spPr bwMode="auto">
            <a:xfrm>
              <a:off x="4178300" y="2808288"/>
              <a:ext cx="3175" cy="1587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cubicBezTo>
                    <a:pt x="6" y="0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09" name="Freeform 767"/>
            <p:cNvSpPr>
              <a:spLocks noChangeArrowheads="1"/>
            </p:cNvSpPr>
            <p:nvPr/>
          </p:nvSpPr>
          <p:spPr bwMode="auto">
            <a:xfrm>
              <a:off x="4159250" y="2778125"/>
              <a:ext cx="3175" cy="1588"/>
            </a:xfrm>
            <a:custGeom>
              <a:avLst/>
              <a:gdLst>
                <a:gd name="T0" fmla="*/ 2 w 9"/>
                <a:gd name="T1" fmla="*/ 5 h 6"/>
                <a:gd name="T2" fmla="*/ 2 w 9"/>
                <a:gd name="T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6">
                  <a:moveTo>
                    <a:pt x="2" y="5"/>
                  </a:moveTo>
                  <a:cubicBezTo>
                    <a:pt x="8" y="2"/>
                    <a:pt x="0" y="0"/>
                    <a:pt x="2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0" name="Freeform 768"/>
            <p:cNvSpPr>
              <a:spLocks noChangeArrowheads="1"/>
            </p:cNvSpPr>
            <p:nvPr/>
          </p:nvSpPr>
          <p:spPr bwMode="auto">
            <a:xfrm>
              <a:off x="4186238" y="2811463"/>
              <a:ext cx="3175" cy="1587"/>
            </a:xfrm>
            <a:custGeom>
              <a:avLst/>
              <a:gdLst>
                <a:gd name="T0" fmla="*/ 3 w 9"/>
                <a:gd name="T1" fmla="*/ 3 h 4"/>
                <a:gd name="T2" fmla="*/ 3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cubicBezTo>
                    <a:pt x="8" y="0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1" name="Freeform 769"/>
            <p:cNvSpPr>
              <a:spLocks noChangeArrowheads="1"/>
            </p:cNvSpPr>
            <p:nvPr/>
          </p:nvSpPr>
          <p:spPr bwMode="auto">
            <a:xfrm>
              <a:off x="4187825" y="2808288"/>
              <a:ext cx="1588" cy="3175"/>
            </a:xfrm>
            <a:custGeom>
              <a:avLst/>
              <a:gdLst>
                <a:gd name="T0" fmla="*/ 3 w 6"/>
                <a:gd name="T1" fmla="*/ 0 h 7"/>
                <a:gd name="T2" fmla="*/ 0 w 6"/>
                <a:gd name="T3" fmla="*/ 6 h 7"/>
                <a:gd name="T4" fmla="*/ 3 w 6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0" y="3"/>
                    <a:pt x="0" y="3"/>
                    <a:pt x="0" y="6"/>
                  </a:cubicBezTo>
                  <a:cubicBezTo>
                    <a:pt x="3" y="3"/>
                    <a:pt x="5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2" name="Freeform 770"/>
            <p:cNvSpPr>
              <a:spLocks noChangeArrowheads="1"/>
            </p:cNvSpPr>
            <p:nvPr/>
          </p:nvSpPr>
          <p:spPr bwMode="auto">
            <a:xfrm>
              <a:off x="4187825" y="2754313"/>
              <a:ext cx="3175" cy="4762"/>
            </a:xfrm>
            <a:custGeom>
              <a:avLst/>
              <a:gdLst>
                <a:gd name="T0" fmla="*/ 3 w 9"/>
                <a:gd name="T1" fmla="*/ 11 h 12"/>
                <a:gd name="T2" fmla="*/ 3 w 9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3" y="11"/>
                  </a:moveTo>
                  <a:cubicBezTo>
                    <a:pt x="8" y="8"/>
                    <a:pt x="0" y="0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3" name="Freeform 771"/>
            <p:cNvSpPr>
              <a:spLocks noChangeArrowheads="1"/>
            </p:cNvSpPr>
            <p:nvPr/>
          </p:nvSpPr>
          <p:spPr bwMode="auto">
            <a:xfrm>
              <a:off x="4200525" y="2776538"/>
              <a:ext cx="1588" cy="3175"/>
            </a:xfrm>
            <a:custGeom>
              <a:avLst/>
              <a:gdLst>
                <a:gd name="T0" fmla="*/ 0 w 4"/>
                <a:gd name="T1" fmla="*/ 5 h 9"/>
                <a:gd name="T2" fmla="*/ 3 w 4"/>
                <a:gd name="T3" fmla="*/ 8 h 9"/>
                <a:gd name="T4" fmla="*/ 0 w 4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9">
                  <a:moveTo>
                    <a:pt x="0" y="5"/>
                  </a:moveTo>
                  <a:lnTo>
                    <a:pt x="3" y="8"/>
                  </a:lnTo>
                  <a:cubicBezTo>
                    <a:pt x="3" y="5"/>
                    <a:pt x="3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4" name="Freeform 772"/>
            <p:cNvSpPr>
              <a:spLocks noChangeArrowheads="1"/>
            </p:cNvSpPr>
            <p:nvPr/>
          </p:nvSpPr>
          <p:spPr bwMode="auto">
            <a:xfrm>
              <a:off x="4198938" y="2770188"/>
              <a:ext cx="1587" cy="4762"/>
            </a:xfrm>
            <a:custGeom>
              <a:avLst/>
              <a:gdLst>
                <a:gd name="T0" fmla="*/ 0 w 6"/>
                <a:gd name="T1" fmla="*/ 3 h 15"/>
                <a:gd name="T2" fmla="*/ 0 w 6"/>
                <a:gd name="T3" fmla="*/ 14 h 15"/>
                <a:gd name="T4" fmla="*/ 0 w 6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5">
                  <a:moveTo>
                    <a:pt x="0" y="3"/>
                  </a:moveTo>
                  <a:cubicBezTo>
                    <a:pt x="0" y="6"/>
                    <a:pt x="0" y="8"/>
                    <a:pt x="0" y="14"/>
                  </a:cubicBezTo>
                  <a:cubicBezTo>
                    <a:pt x="5" y="8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5" name="Freeform 773"/>
            <p:cNvSpPr>
              <a:spLocks noChangeArrowheads="1"/>
            </p:cNvSpPr>
            <p:nvPr/>
          </p:nvSpPr>
          <p:spPr bwMode="auto">
            <a:xfrm>
              <a:off x="4187825" y="2762250"/>
              <a:ext cx="3175" cy="3175"/>
            </a:xfrm>
            <a:custGeom>
              <a:avLst/>
              <a:gdLst>
                <a:gd name="T0" fmla="*/ 5 w 9"/>
                <a:gd name="T1" fmla="*/ 0 h 10"/>
                <a:gd name="T2" fmla="*/ 8 w 9"/>
                <a:gd name="T3" fmla="*/ 6 h 10"/>
                <a:gd name="T4" fmla="*/ 5 w 9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cubicBezTo>
                    <a:pt x="0" y="0"/>
                    <a:pt x="5" y="9"/>
                    <a:pt x="8" y="6"/>
                  </a:cubicBezTo>
                  <a:cubicBezTo>
                    <a:pt x="5" y="6"/>
                    <a:pt x="8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6" name="Freeform 774"/>
            <p:cNvSpPr>
              <a:spLocks noChangeArrowheads="1"/>
            </p:cNvSpPr>
            <p:nvPr/>
          </p:nvSpPr>
          <p:spPr bwMode="auto">
            <a:xfrm>
              <a:off x="4237038" y="2808288"/>
              <a:ext cx="3175" cy="3175"/>
            </a:xfrm>
            <a:custGeom>
              <a:avLst/>
              <a:gdLst>
                <a:gd name="T0" fmla="*/ 3 w 7"/>
                <a:gd name="T1" fmla="*/ 6 h 7"/>
                <a:gd name="T2" fmla="*/ 3 w 7"/>
                <a:gd name="T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7">
                  <a:moveTo>
                    <a:pt x="3" y="6"/>
                  </a:moveTo>
                  <a:cubicBezTo>
                    <a:pt x="6" y="3"/>
                    <a:pt x="0" y="0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7" name="Freeform 775"/>
            <p:cNvSpPr>
              <a:spLocks noChangeArrowheads="1"/>
            </p:cNvSpPr>
            <p:nvPr/>
          </p:nvSpPr>
          <p:spPr bwMode="auto">
            <a:xfrm>
              <a:off x="4210050" y="2779713"/>
              <a:ext cx="3175" cy="1587"/>
            </a:xfrm>
            <a:custGeom>
              <a:avLst/>
              <a:gdLst>
                <a:gd name="T0" fmla="*/ 2 w 9"/>
                <a:gd name="T1" fmla="*/ 3 h 4"/>
                <a:gd name="T2" fmla="*/ 2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2" y="3"/>
                  </a:moveTo>
                  <a:cubicBezTo>
                    <a:pt x="8" y="0"/>
                    <a:pt x="0" y="0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8" name="Freeform 776"/>
            <p:cNvSpPr>
              <a:spLocks noChangeArrowheads="1"/>
            </p:cNvSpPr>
            <p:nvPr/>
          </p:nvSpPr>
          <p:spPr bwMode="auto">
            <a:xfrm>
              <a:off x="4198938" y="2765425"/>
              <a:ext cx="1587" cy="1588"/>
            </a:xfrm>
            <a:custGeom>
              <a:avLst/>
              <a:gdLst>
                <a:gd name="T0" fmla="*/ 2 w 6"/>
                <a:gd name="T1" fmla="*/ 0 h 6"/>
                <a:gd name="T2" fmla="*/ 0 w 6"/>
                <a:gd name="T3" fmla="*/ 3 h 6"/>
                <a:gd name="T4" fmla="*/ 2 w 6"/>
                <a:gd name="T5" fmla="*/ 5 h 6"/>
                <a:gd name="T6" fmla="*/ 2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0" y="3"/>
                  </a:lnTo>
                  <a:lnTo>
                    <a:pt x="2" y="5"/>
                  </a:lnTo>
                  <a:cubicBezTo>
                    <a:pt x="2" y="3"/>
                    <a:pt x="5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19" name="Freeform 777"/>
            <p:cNvSpPr>
              <a:spLocks noChangeArrowheads="1"/>
            </p:cNvSpPr>
            <p:nvPr/>
          </p:nvSpPr>
          <p:spPr bwMode="auto">
            <a:xfrm>
              <a:off x="4205288" y="2795588"/>
              <a:ext cx="1587" cy="3175"/>
            </a:xfrm>
            <a:custGeom>
              <a:avLst/>
              <a:gdLst>
                <a:gd name="T0" fmla="*/ 2 w 6"/>
                <a:gd name="T1" fmla="*/ 6 h 7"/>
                <a:gd name="T2" fmla="*/ 2 w 6"/>
                <a:gd name="T3" fmla="*/ 0 h 7"/>
                <a:gd name="T4" fmla="*/ 2 w 6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2" y="6"/>
                  </a:moveTo>
                  <a:cubicBezTo>
                    <a:pt x="5" y="3"/>
                    <a:pt x="5" y="3"/>
                    <a:pt x="2" y="0"/>
                  </a:cubicBezTo>
                  <a:cubicBezTo>
                    <a:pt x="2" y="0"/>
                    <a:pt x="0" y="3"/>
                    <a:pt x="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0" name="Freeform 778"/>
            <p:cNvSpPr>
              <a:spLocks noChangeArrowheads="1"/>
            </p:cNvSpPr>
            <p:nvPr/>
          </p:nvSpPr>
          <p:spPr bwMode="auto">
            <a:xfrm>
              <a:off x="4160838" y="2816225"/>
              <a:ext cx="3175" cy="3175"/>
            </a:xfrm>
            <a:custGeom>
              <a:avLst/>
              <a:gdLst>
                <a:gd name="T0" fmla="*/ 0 w 7"/>
                <a:gd name="T1" fmla="*/ 5 h 9"/>
                <a:gd name="T2" fmla="*/ 0 w 7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9">
                  <a:moveTo>
                    <a:pt x="0" y="5"/>
                  </a:moveTo>
                  <a:cubicBezTo>
                    <a:pt x="6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1" name="Freeform 779"/>
            <p:cNvSpPr>
              <a:spLocks noChangeArrowheads="1"/>
            </p:cNvSpPr>
            <p:nvPr/>
          </p:nvSpPr>
          <p:spPr bwMode="auto">
            <a:xfrm>
              <a:off x="4173538" y="2835275"/>
              <a:ext cx="3175" cy="1588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cubicBezTo>
                    <a:pt x="6" y="0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2" name="Freeform 780"/>
            <p:cNvSpPr>
              <a:spLocks noChangeArrowheads="1"/>
            </p:cNvSpPr>
            <p:nvPr/>
          </p:nvSpPr>
          <p:spPr bwMode="auto">
            <a:xfrm>
              <a:off x="4170363" y="2822575"/>
              <a:ext cx="1587" cy="4763"/>
            </a:xfrm>
            <a:custGeom>
              <a:avLst/>
              <a:gdLst>
                <a:gd name="T0" fmla="*/ 0 w 4"/>
                <a:gd name="T1" fmla="*/ 5 h 12"/>
                <a:gd name="T2" fmla="*/ 0 w 4"/>
                <a:gd name="T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2">
                  <a:moveTo>
                    <a:pt x="0" y="5"/>
                  </a:moveTo>
                  <a:cubicBezTo>
                    <a:pt x="0" y="11"/>
                    <a:pt x="3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3" name="Freeform 781"/>
            <p:cNvSpPr>
              <a:spLocks noChangeArrowheads="1"/>
            </p:cNvSpPr>
            <p:nvPr/>
          </p:nvSpPr>
          <p:spPr bwMode="auto">
            <a:xfrm>
              <a:off x="4152900" y="2801938"/>
              <a:ext cx="1588" cy="3175"/>
            </a:xfrm>
            <a:custGeom>
              <a:avLst/>
              <a:gdLst>
                <a:gd name="T0" fmla="*/ 0 w 6"/>
                <a:gd name="T1" fmla="*/ 0 h 10"/>
                <a:gd name="T2" fmla="*/ 3 w 6"/>
                <a:gd name="T3" fmla="*/ 9 h 10"/>
                <a:gd name="T4" fmla="*/ 5 w 6"/>
                <a:gd name="T5" fmla="*/ 3 h 10"/>
                <a:gd name="T6" fmla="*/ 0 w 6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0" y="0"/>
                  </a:moveTo>
                  <a:cubicBezTo>
                    <a:pt x="0" y="3"/>
                    <a:pt x="0" y="6"/>
                    <a:pt x="3" y="9"/>
                  </a:cubicBezTo>
                  <a:cubicBezTo>
                    <a:pt x="5" y="9"/>
                    <a:pt x="5" y="6"/>
                    <a:pt x="5" y="3"/>
                  </a:cubicBezTo>
                  <a:cubicBezTo>
                    <a:pt x="3" y="3"/>
                    <a:pt x="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4" name="Freeform 782"/>
            <p:cNvSpPr>
              <a:spLocks noChangeArrowheads="1"/>
            </p:cNvSpPr>
            <p:nvPr/>
          </p:nvSpPr>
          <p:spPr bwMode="auto">
            <a:xfrm>
              <a:off x="4179888" y="2841625"/>
              <a:ext cx="3175" cy="1588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cubicBezTo>
                    <a:pt x="6" y="0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5" name="Freeform 783"/>
            <p:cNvSpPr>
              <a:spLocks noChangeArrowheads="1"/>
            </p:cNvSpPr>
            <p:nvPr/>
          </p:nvSpPr>
          <p:spPr bwMode="auto">
            <a:xfrm>
              <a:off x="4210050" y="2816225"/>
              <a:ext cx="3175" cy="1588"/>
            </a:xfrm>
            <a:custGeom>
              <a:avLst/>
              <a:gdLst>
                <a:gd name="T0" fmla="*/ 2 w 9"/>
                <a:gd name="T1" fmla="*/ 2 h 3"/>
                <a:gd name="T2" fmla="*/ 2 w 9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3">
                  <a:moveTo>
                    <a:pt x="2" y="2"/>
                  </a:moveTo>
                  <a:cubicBezTo>
                    <a:pt x="8" y="0"/>
                    <a:pt x="0" y="0"/>
                    <a:pt x="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6" name="Freeform 784"/>
            <p:cNvSpPr>
              <a:spLocks noChangeArrowheads="1"/>
            </p:cNvSpPr>
            <p:nvPr/>
          </p:nvSpPr>
          <p:spPr bwMode="auto">
            <a:xfrm>
              <a:off x="4217988" y="2830513"/>
              <a:ext cx="3175" cy="1587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3 h 4"/>
                <a:gd name="T4" fmla="*/ 6 w 7"/>
                <a:gd name="T5" fmla="*/ 3 h 4"/>
                <a:gd name="T6" fmla="*/ 0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0" y="3"/>
                  </a:moveTo>
                  <a:lnTo>
                    <a:pt x="0" y="3"/>
                  </a:lnTo>
                  <a:lnTo>
                    <a:pt x="6" y="3"/>
                  </a:lnTo>
                  <a:cubicBezTo>
                    <a:pt x="3" y="0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7" name="Freeform 785"/>
            <p:cNvSpPr>
              <a:spLocks noChangeArrowheads="1"/>
            </p:cNvSpPr>
            <p:nvPr/>
          </p:nvSpPr>
          <p:spPr bwMode="auto">
            <a:xfrm>
              <a:off x="4206875" y="2816225"/>
              <a:ext cx="3175" cy="1588"/>
            </a:xfrm>
            <a:custGeom>
              <a:avLst/>
              <a:gdLst>
                <a:gd name="T0" fmla="*/ 3 w 7"/>
                <a:gd name="T1" fmla="*/ 0 h 6"/>
                <a:gd name="T2" fmla="*/ 0 w 7"/>
                <a:gd name="T3" fmla="*/ 5 h 6"/>
                <a:gd name="T4" fmla="*/ 3 w 7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cubicBezTo>
                    <a:pt x="0" y="0"/>
                    <a:pt x="0" y="2"/>
                    <a:pt x="0" y="5"/>
                  </a:cubicBezTo>
                  <a:cubicBezTo>
                    <a:pt x="3" y="5"/>
                    <a:pt x="6" y="2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8" name="Freeform 786"/>
            <p:cNvSpPr>
              <a:spLocks noChangeArrowheads="1"/>
            </p:cNvSpPr>
            <p:nvPr/>
          </p:nvSpPr>
          <p:spPr bwMode="auto">
            <a:xfrm>
              <a:off x="4213225" y="2825750"/>
              <a:ext cx="3175" cy="3175"/>
            </a:xfrm>
            <a:custGeom>
              <a:avLst/>
              <a:gdLst>
                <a:gd name="T0" fmla="*/ 3 w 10"/>
                <a:gd name="T1" fmla="*/ 6 h 7"/>
                <a:gd name="T2" fmla="*/ 3 w 10"/>
                <a:gd name="T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7">
                  <a:moveTo>
                    <a:pt x="3" y="6"/>
                  </a:moveTo>
                  <a:cubicBezTo>
                    <a:pt x="9" y="3"/>
                    <a:pt x="0" y="0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29" name="Freeform 787"/>
            <p:cNvSpPr>
              <a:spLocks noChangeArrowheads="1"/>
            </p:cNvSpPr>
            <p:nvPr/>
          </p:nvSpPr>
          <p:spPr bwMode="auto">
            <a:xfrm>
              <a:off x="4156075" y="2805113"/>
              <a:ext cx="3175" cy="1587"/>
            </a:xfrm>
            <a:custGeom>
              <a:avLst/>
              <a:gdLst>
                <a:gd name="T0" fmla="*/ 3 w 7"/>
                <a:gd name="T1" fmla="*/ 5 h 6"/>
                <a:gd name="T2" fmla="*/ 3 w 7"/>
                <a:gd name="T3" fmla="*/ 0 h 6"/>
                <a:gd name="T4" fmla="*/ 3 w 7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3" y="5"/>
                  </a:moveTo>
                  <a:cubicBezTo>
                    <a:pt x="6" y="5"/>
                    <a:pt x="6" y="3"/>
                    <a:pt x="3" y="0"/>
                  </a:cubicBezTo>
                  <a:cubicBezTo>
                    <a:pt x="3" y="3"/>
                    <a:pt x="0" y="5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0" name="Freeform 788"/>
            <p:cNvSpPr>
              <a:spLocks noChangeArrowheads="1"/>
            </p:cNvSpPr>
            <p:nvPr/>
          </p:nvSpPr>
          <p:spPr bwMode="auto">
            <a:xfrm>
              <a:off x="4206875" y="2813050"/>
              <a:ext cx="3175" cy="3175"/>
            </a:xfrm>
            <a:custGeom>
              <a:avLst/>
              <a:gdLst>
                <a:gd name="T0" fmla="*/ 3 w 7"/>
                <a:gd name="T1" fmla="*/ 0 h 7"/>
                <a:gd name="T2" fmla="*/ 3 w 7"/>
                <a:gd name="T3" fmla="*/ 6 h 7"/>
                <a:gd name="T4" fmla="*/ 3 w 7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3" y="0"/>
                  </a:moveTo>
                  <a:cubicBezTo>
                    <a:pt x="0" y="0"/>
                    <a:pt x="0" y="3"/>
                    <a:pt x="3" y="6"/>
                  </a:cubicBezTo>
                  <a:cubicBezTo>
                    <a:pt x="3" y="3"/>
                    <a:pt x="6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1" name="Freeform 789"/>
            <p:cNvSpPr>
              <a:spLocks noChangeArrowheads="1"/>
            </p:cNvSpPr>
            <p:nvPr/>
          </p:nvSpPr>
          <p:spPr bwMode="auto">
            <a:xfrm>
              <a:off x="4137025" y="2832100"/>
              <a:ext cx="3175" cy="3175"/>
            </a:xfrm>
            <a:custGeom>
              <a:avLst/>
              <a:gdLst>
                <a:gd name="T0" fmla="*/ 5 w 9"/>
                <a:gd name="T1" fmla="*/ 6 h 7"/>
                <a:gd name="T2" fmla="*/ 5 w 9"/>
                <a:gd name="T3" fmla="*/ 0 h 7"/>
                <a:gd name="T4" fmla="*/ 5 w 9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5" y="6"/>
                  </a:moveTo>
                  <a:cubicBezTo>
                    <a:pt x="5" y="3"/>
                    <a:pt x="8" y="3"/>
                    <a:pt x="5" y="0"/>
                  </a:cubicBezTo>
                  <a:cubicBezTo>
                    <a:pt x="0" y="0"/>
                    <a:pt x="0" y="6"/>
                    <a:pt x="5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2" name="Freeform 790"/>
            <p:cNvSpPr>
              <a:spLocks noChangeArrowheads="1"/>
            </p:cNvSpPr>
            <p:nvPr/>
          </p:nvSpPr>
          <p:spPr bwMode="auto">
            <a:xfrm>
              <a:off x="4230688" y="2794000"/>
              <a:ext cx="3175" cy="1588"/>
            </a:xfrm>
            <a:custGeom>
              <a:avLst/>
              <a:gdLst>
                <a:gd name="T0" fmla="*/ 3 w 10"/>
                <a:gd name="T1" fmla="*/ 5 h 6"/>
                <a:gd name="T2" fmla="*/ 3 w 10"/>
                <a:gd name="T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6">
                  <a:moveTo>
                    <a:pt x="3" y="5"/>
                  </a:moveTo>
                  <a:cubicBezTo>
                    <a:pt x="9" y="2"/>
                    <a:pt x="0" y="0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3" name="Freeform 791"/>
            <p:cNvSpPr>
              <a:spLocks noChangeArrowheads="1"/>
            </p:cNvSpPr>
            <p:nvPr/>
          </p:nvSpPr>
          <p:spPr bwMode="auto">
            <a:xfrm>
              <a:off x="4214813" y="2776538"/>
              <a:ext cx="1587" cy="4762"/>
            </a:xfrm>
            <a:custGeom>
              <a:avLst/>
              <a:gdLst>
                <a:gd name="T0" fmla="*/ 3 w 6"/>
                <a:gd name="T1" fmla="*/ 3 h 12"/>
                <a:gd name="T2" fmla="*/ 3 w 6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2">
                  <a:moveTo>
                    <a:pt x="3" y="3"/>
                  </a:moveTo>
                  <a:cubicBezTo>
                    <a:pt x="0" y="0"/>
                    <a:pt x="5" y="11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4" name="Freeform 792"/>
            <p:cNvSpPr>
              <a:spLocks noChangeArrowheads="1"/>
            </p:cNvSpPr>
            <p:nvPr/>
          </p:nvSpPr>
          <p:spPr bwMode="auto">
            <a:xfrm>
              <a:off x="4203700" y="2754313"/>
              <a:ext cx="3175" cy="1587"/>
            </a:xfrm>
            <a:custGeom>
              <a:avLst/>
              <a:gdLst>
                <a:gd name="T0" fmla="*/ 3 w 9"/>
                <a:gd name="T1" fmla="*/ 3 h 4"/>
                <a:gd name="T2" fmla="*/ 3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cubicBezTo>
                    <a:pt x="8" y="0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5" name="Freeform 793"/>
            <p:cNvSpPr>
              <a:spLocks noChangeArrowheads="1"/>
            </p:cNvSpPr>
            <p:nvPr/>
          </p:nvSpPr>
          <p:spPr bwMode="auto">
            <a:xfrm>
              <a:off x="4203700" y="2757488"/>
              <a:ext cx="1588" cy="3175"/>
            </a:xfrm>
            <a:custGeom>
              <a:avLst/>
              <a:gdLst>
                <a:gd name="T0" fmla="*/ 5 w 6"/>
                <a:gd name="T1" fmla="*/ 0 h 10"/>
                <a:gd name="T2" fmla="*/ 0 w 6"/>
                <a:gd name="T3" fmla="*/ 3 h 10"/>
                <a:gd name="T4" fmla="*/ 5 w 6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0">
                  <a:moveTo>
                    <a:pt x="5" y="0"/>
                  </a:moveTo>
                  <a:cubicBezTo>
                    <a:pt x="3" y="0"/>
                    <a:pt x="0" y="3"/>
                    <a:pt x="0" y="3"/>
                  </a:cubicBezTo>
                  <a:cubicBezTo>
                    <a:pt x="0" y="9"/>
                    <a:pt x="5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6" name="Freeform 794"/>
            <p:cNvSpPr>
              <a:spLocks noChangeArrowheads="1"/>
            </p:cNvSpPr>
            <p:nvPr/>
          </p:nvSpPr>
          <p:spPr bwMode="auto">
            <a:xfrm>
              <a:off x="4189413" y="2767013"/>
              <a:ext cx="3175" cy="4762"/>
            </a:xfrm>
            <a:custGeom>
              <a:avLst/>
              <a:gdLst>
                <a:gd name="T0" fmla="*/ 3 w 7"/>
                <a:gd name="T1" fmla="*/ 3 h 13"/>
                <a:gd name="T2" fmla="*/ 3 w 7"/>
                <a:gd name="T3" fmla="*/ 9 h 13"/>
                <a:gd name="T4" fmla="*/ 3 w 7"/>
                <a:gd name="T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3" y="3"/>
                  </a:moveTo>
                  <a:cubicBezTo>
                    <a:pt x="6" y="6"/>
                    <a:pt x="0" y="6"/>
                    <a:pt x="3" y="9"/>
                  </a:cubicBezTo>
                  <a:cubicBezTo>
                    <a:pt x="6" y="12"/>
                    <a:pt x="6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7" name="Freeform 795"/>
            <p:cNvSpPr>
              <a:spLocks noChangeArrowheads="1"/>
            </p:cNvSpPr>
            <p:nvPr/>
          </p:nvSpPr>
          <p:spPr bwMode="auto">
            <a:xfrm>
              <a:off x="4198938" y="2779713"/>
              <a:ext cx="3175" cy="1587"/>
            </a:xfrm>
            <a:custGeom>
              <a:avLst/>
              <a:gdLst>
                <a:gd name="T0" fmla="*/ 3 w 9"/>
                <a:gd name="T1" fmla="*/ 3 h 4"/>
                <a:gd name="T2" fmla="*/ 3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cubicBezTo>
                    <a:pt x="8" y="0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8" name="Freeform 796"/>
            <p:cNvSpPr>
              <a:spLocks noChangeArrowheads="1"/>
            </p:cNvSpPr>
            <p:nvPr/>
          </p:nvSpPr>
          <p:spPr bwMode="auto">
            <a:xfrm>
              <a:off x="4198938" y="2743200"/>
              <a:ext cx="3175" cy="1588"/>
            </a:xfrm>
            <a:custGeom>
              <a:avLst/>
              <a:gdLst>
                <a:gd name="T0" fmla="*/ 3 w 9"/>
                <a:gd name="T1" fmla="*/ 2 h 3"/>
                <a:gd name="T2" fmla="*/ 3 w 9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3">
                  <a:moveTo>
                    <a:pt x="3" y="2"/>
                  </a:moveTo>
                  <a:cubicBezTo>
                    <a:pt x="8" y="0"/>
                    <a:pt x="0" y="0"/>
                    <a:pt x="3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39" name="Freeform 797"/>
            <p:cNvSpPr>
              <a:spLocks noChangeArrowheads="1"/>
            </p:cNvSpPr>
            <p:nvPr/>
          </p:nvSpPr>
          <p:spPr bwMode="auto">
            <a:xfrm>
              <a:off x="4249738" y="2797175"/>
              <a:ext cx="3175" cy="3175"/>
            </a:xfrm>
            <a:custGeom>
              <a:avLst/>
              <a:gdLst>
                <a:gd name="T0" fmla="*/ 5 w 9"/>
                <a:gd name="T1" fmla="*/ 0 h 10"/>
                <a:gd name="T2" fmla="*/ 0 w 9"/>
                <a:gd name="T3" fmla="*/ 6 h 10"/>
                <a:gd name="T4" fmla="*/ 2 w 9"/>
                <a:gd name="T5" fmla="*/ 9 h 10"/>
                <a:gd name="T6" fmla="*/ 5 w 9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lnTo>
                    <a:pt x="0" y="6"/>
                  </a:lnTo>
                  <a:lnTo>
                    <a:pt x="2" y="9"/>
                  </a:lnTo>
                  <a:cubicBezTo>
                    <a:pt x="2" y="3"/>
                    <a:pt x="8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0" name="Freeform 798"/>
            <p:cNvSpPr>
              <a:spLocks noChangeArrowheads="1"/>
            </p:cNvSpPr>
            <p:nvPr/>
          </p:nvSpPr>
          <p:spPr bwMode="auto">
            <a:xfrm>
              <a:off x="4233863" y="2806700"/>
              <a:ext cx="1587" cy="3175"/>
            </a:xfrm>
            <a:custGeom>
              <a:avLst/>
              <a:gdLst>
                <a:gd name="T0" fmla="*/ 5 w 6"/>
                <a:gd name="T1" fmla="*/ 9 h 10"/>
                <a:gd name="T2" fmla="*/ 2 w 6"/>
                <a:gd name="T3" fmla="*/ 6 h 10"/>
                <a:gd name="T4" fmla="*/ 2 w 6"/>
                <a:gd name="T5" fmla="*/ 3 h 10"/>
                <a:gd name="T6" fmla="*/ 0 w 6"/>
                <a:gd name="T7" fmla="*/ 6 h 10"/>
                <a:gd name="T8" fmla="*/ 5 w 6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5" y="9"/>
                  </a:moveTo>
                  <a:lnTo>
                    <a:pt x="2" y="6"/>
                  </a:lnTo>
                  <a:cubicBezTo>
                    <a:pt x="5" y="6"/>
                    <a:pt x="5" y="0"/>
                    <a:pt x="2" y="3"/>
                  </a:cubicBezTo>
                  <a:cubicBezTo>
                    <a:pt x="2" y="3"/>
                    <a:pt x="2" y="6"/>
                    <a:pt x="0" y="6"/>
                  </a:cubicBezTo>
                  <a:cubicBezTo>
                    <a:pt x="2" y="6"/>
                    <a:pt x="2" y="9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1" name="Freeform 799"/>
            <p:cNvSpPr>
              <a:spLocks noChangeArrowheads="1"/>
            </p:cNvSpPr>
            <p:nvPr/>
          </p:nvSpPr>
          <p:spPr bwMode="auto">
            <a:xfrm>
              <a:off x="4144963" y="2825750"/>
              <a:ext cx="3175" cy="1588"/>
            </a:xfrm>
            <a:custGeom>
              <a:avLst/>
              <a:gdLst>
                <a:gd name="T0" fmla="*/ 3 w 9"/>
                <a:gd name="T1" fmla="*/ 3 h 4"/>
                <a:gd name="T2" fmla="*/ 3 w 9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cubicBezTo>
                    <a:pt x="8" y="0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2" name="Freeform 800"/>
            <p:cNvSpPr>
              <a:spLocks noChangeArrowheads="1"/>
            </p:cNvSpPr>
            <p:nvPr/>
          </p:nvSpPr>
          <p:spPr bwMode="auto">
            <a:xfrm>
              <a:off x="4137025" y="2840038"/>
              <a:ext cx="3175" cy="1587"/>
            </a:xfrm>
            <a:custGeom>
              <a:avLst/>
              <a:gdLst>
                <a:gd name="T0" fmla="*/ 2 w 9"/>
                <a:gd name="T1" fmla="*/ 2 h 3"/>
                <a:gd name="T2" fmla="*/ 2 w 9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3">
                  <a:moveTo>
                    <a:pt x="2" y="2"/>
                  </a:moveTo>
                  <a:cubicBezTo>
                    <a:pt x="8" y="0"/>
                    <a:pt x="0" y="0"/>
                    <a:pt x="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3" name="Freeform 801"/>
            <p:cNvSpPr>
              <a:spLocks noChangeArrowheads="1"/>
            </p:cNvSpPr>
            <p:nvPr/>
          </p:nvSpPr>
          <p:spPr bwMode="auto">
            <a:xfrm>
              <a:off x="4157663" y="2841625"/>
              <a:ext cx="1587" cy="3175"/>
            </a:xfrm>
            <a:custGeom>
              <a:avLst/>
              <a:gdLst>
                <a:gd name="T0" fmla="*/ 0 w 4"/>
                <a:gd name="T1" fmla="*/ 3 h 7"/>
                <a:gd name="T2" fmla="*/ 3 w 4"/>
                <a:gd name="T3" fmla="*/ 6 h 7"/>
                <a:gd name="T4" fmla="*/ 0 w 4"/>
                <a:gd name="T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0" y="3"/>
                  </a:moveTo>
                  <a:lnTo>
                    <a:pt x="3" y="6"/>
                  </a:lnTo>
                  <a:cubicBezTo>
                    <a:pt x="3" y="3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4" name="Freeform 802"/>
            <p:cNvSpPr>
              <a:spLocks noChangeArrowheads="1"/>
            </p:cNvSpPr>
            <p:nvPr/>
          </p:nvSpPr>
          <p:spPr bwMode="auto">
            <a:xfrm>
              <a:off x="4214813" y="2760663"/>
              <a:ext cx="4762" cy="4762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5 h 12"/>
                <a:gd name="T4" fmla="*/ 6 w 12"/>
                <a:gd name="T5" fmla="*/ 11 h 12"/>
                <a:gd name="T6" fmla="*/ 11 w 12"/>
                <a:gd name="T7" fmla="*/ 5 h 12"/>
                <a:gd name="T8" fmla="*/ 6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0" y="5"/>
                  </a:lnTo>
                  <a:lnTo>
                    <a:pt x="6" y="11"/>
                  </a:lnTo>
                  <a:lnTo>
                    <a:pt x="11" y="5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5" name="Freeform 803"/>
            <p:cNvSpPr>
              <a:spLocks noChangeArrowheads="1"/>
            </p:cNvSpPr>
            <p:nvPr/>
          </p:nvSpPr>
          <p:spPr bwMode="auto">
            <a:xfrm>
              <a:off x="4198938" y="2751138"/>
              <a:ext cx="4762" cy="4762"/>
            </a:xfrm>
            <a:custGeom>
              <a:avLst/>
              <a:gdLst>
                <a:gd name="T0" fmla="*/ 0 w 15"/>
                <a:gd name="T1" fmla="*/ 3 h 13"/>
                <a:gd name="T2" fmla="*/ 14 w 15"/>
                <a:gd name="T3" fmla="*/ 9 h 13"/>
                <a:gd name="T4" fmla="*/ 0 w 15"/>
                <a:gd name="T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0" y="3"/>
                  </a:moveTo>
                  <a:cubicBezTo>
                    <a:pt x="5" y="6"/>
                    <a:pt x="11" y="12"/>
                    <a:pt x="14" y="9"/>
                  </a:cubicBezTo>
                  <a:cubicBezTo>
                    <a:pt x="8" y="6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6" name="Freeform 804"/>
            <p:cNvSpPr>
              <a:spLocks noChangeArrowheads="1"/>
            </p:cNvSpPr>
            <p:nvPr/>
          </p:nvSpPr>
          <p:spPr bwMode="auto">
            <a:xfrm>
              <a:off x="4203700" y="2752725"/>
              <a:ext cx="3175" cy="7938"/>
            </a:xfrm>
            <a:custGeom>
              <a:avLst/>
              <a:gdLst>
                <a:gd name="T0" fmla="*/ 0 w 9"/>
                <a:gd name="T1" fmla="*/ 8 h 21"/>
                <a:gd name="T2" fmla="*/ 0 w 9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8"/>
                  </a:moveTo>
                  <a:cubicBezTo>
                    <a:pt x="8" y="20"/>
                    <a:pt x="8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7" name="Freeform 805"/>
            <p:cNvSpPr>
              <a:spLocks noChangeArrowheads="1"/>
            </p:cNvSpPr>
            <p:nvPr/>
          </p:nvSpPr>
          <p:spPr bwMode="auto">
            <a:xfrm>
              <a:off x="4240213" y="2794000"/>
              <a:ext cx="3175" cy="7938"/>
            </a:xfrm>
            <a:custGeom>
              <a:avLst/>
              <a:gdLst>
                <a:gd name="T0" fmla="*/ 0 w 10"/>
                <a:gd name="T1" fmla="*/ 8 h 20"/>
                <a:gd name="T2" fmla="*/ 0 w 10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0">
                  <a:moveTo>
                    <a:pt x="0" y="8"/>
                  </a:moveTo>
                  <a:cubicBezTo>
                    <a:pt x="9" y="19"/>
                    <a:pt x="9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8" name="Freeform 806"/>
            <p:cNvSpPr>
              <a:spLocks noChangeArrowheads="1"/>
            </p:cNvSpPr>
            <p:nvPr/>
          </p:nvSpPr>
          <p:spPr bwMode="auto">
            <a:xfrm>
              <a:off x="4235450" y="2800350"/>
              <a:ext cx="4763" cy="4763"/>
            </a:xfrm>
            <a:custGeom>
              <a:avLst/>
              <a:gdLst>
                <a:gd name="T0" fmla="*/ 0 w 12"/>
                <a:gd name="T1" fmla="*/ 11 h 12"/>
                <a:gd name="T2" fmla="*/ 6 w 12"/>
                <a:gd name="T3" fmla="*/ 8 h 12"/>
                <a:gd name="T4" fmla="*/ 0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0" y="11"/>
                  </a:moveTo>
                  <a:cubicBezTo>
                    <a:pt x="0" y="11"/>
                    <a:pt x="3" y="8"/>
                    <a:pt x="6" y="8"/>
                  </a:cubicBezTo>
                  <a:cubicBezTo>
                    <a:pt x="11" y="0"/>
                    <a:pt x="3" y="8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49" name="Freeform 807"/>
            <p:cNvSpPr>
              <a:spLocks noChangeArrowheads="1"/>
            </p:cNvSpPr>
            <p:nvPr/>
          </p:nvSpPr>
          <p:spPr bwMode="auto">
            <a:xfrm>
              <a:off x="4216400" y="2789238"/>
              <a:ext cx="6350" cy="7937"/>
            </a:xfrm>
            <a:custGeom>
              <a:avLst/>
              <a:gdLst>
                <a:gd name="T0" fmla="*/ 0 w 17"/>
                <a:gd name="T1" fmla="*/ 3 h 20"/>
                <a:gd name="T2" fmla="*/ 0 w 17"/>
                <a:gd name="T3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20">
                  <a:moveTo>
                    <a:pt x="0" y="3"/>
                  </a:moveTo>
                  <a:cubicBezTo>
                    <a:pt x="2" y="19"/>
                    <a:pt x="1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0" name="Freeform 808"/>
            <p:cNvSpPr>
              <a:spLocks noChangeArrowheads="1"/>
            </p:cNvSpPr>
            <p:nvPr/>
          </p:nvSpPr>
          <p:spPr bwMode="auto">
            <a:xfrm>
              <a:off x="4225925" y="2794000"/>
              <a:ext cx="4763" cy="6350"/>
            </a:xfrm>
            <a:custGeom>
              <a:avLst/>
              <a:gdLst>
                <a:gd name="T0" fmla="*/ 0 w 15"/>
                <a:gd name="T1" fmla="*/ 5 h 18"/>
                <a:gd name="T2" fmla="*/ 0 w 15"/>
                <a:gd name="T3" fmla="*/ 11 h 18"/>
                <a:gd name="T4" fmla="*/ 6 w 15"/>
                <a:gd name="T5" fmla="*/ 17 h 18"/>
                <a:gd name="T6" fmla="*/ 0 w 15"/>
                <a:gd name="T7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8">
                  <a:moveTo>
                    <a:pt x="0" y="5"/>
                  </a:moveTo>
                  <a:cubicBezTo>
                    <a:pt x="3" y="8"/>
                    <a:pt x="3" y="8"/>
                    <a:pt x="0" y="11"/>
                  </a:cubicBezTo>
                  <a:lnTo>
                    <a:pt x="6" y="17"/>
                  </a:lnTo>
                  <a:cubicBezTo>
                    <a:pt x="14" y="14"/>
                    <a:pt x="3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1" name="Freeform 809"/>
            <p:cNvSpPr>
              <a:spLocks noChangeArrowheads="1"/>
            </p:cNvSpPr>
            <p:nvPr/>
          </p:nvSpPr>
          <p:spPr bwMode="auto">
            <a:xfrm>
              <a:off x="4237038" y="2808288"/>
              <a:ext cx="4762" cy="7937"/>
            </a:xfrm>
            <a:custGeom>
              <a:avLst/>
              <a:gdLst>
                <a:gd name="T0" fmla="*/ 0 w 12"/>
                <a:gd name="T1" fmla="*/ 9 h 21"/>
                <a:gd name="T2" fmla="*/ 0 w 12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1">
                  <a:moveTo>
                    <a:pt x="0" y="9"/>
                  </a:moveTo>
                  <a:cubicBezTo>
                    <a:pt x="11" y="20"/>
                    <a:pt x="8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2" name="Freeform 810"/>
            <p:cNvSpPr>
              <a:spLocks noChangeArrowheads="1"/>
            </p:cNvSpPr>
            <p:nvPr/>
          </p:nvSpPr>
          <p:spPr bwMode="auto">
            <a:xfrm>
              <a:off x="4211638" y="2789238"/>
              <a:ext cx="7937" cy="3175"/>
            </a:xfrm>
            <a:custGeom>
              <a:avLst/>
              <a:gdLst>
                <a:gd name="T0" fmla="*/ 3 w 21"/>
                <a:gd name="T1" fmla="*/ 5 h 9"/>
                <a:gd name="T2" fmla="*/ 3 w 21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9">
                  <a:moveTo>
                    <a:pt x="3" y="5"/>
                  </a:moveTo>
                  <a:cubicBezTo>
                    <a:pt x="0" y="8"/>
                    <a:pt x="20" y="0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3" name="Freeform 811"/>
            <p:cNvSpPr>
              <a:spLocks noChangeArrowheads="1"/>
            </p:cNvSpPr>
            <p:nvPr/>
          </p:nvSpPr>
          <p:spPr bwMode="auto">
            <a:xfrm>
              <a:off x="4159250" y="2746375"/>
              <a:ext cx="4763" cy="7938"/>
            </a:xfrm>
            <a:custGeom>
              <a:avLst/>
              <a:gdLst>
                <a:gd name="T0" fmla="*/ 0 w 15"/>
                <a:gd name="T1" fmla="*/ 6 h 24"/>
                <a:gd name="T2" fmla="*/ 0 w 15"/>
                <a:gd name="T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0" y="6"/>
                  </a:moveTo>
                  <a:cubicBezTo>
                    <a:pt x="0" y="23"/>
                    <a:pt x="14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4" name="Freeform 812"/>
            <p:cNvSpPr>
              <a:spLocks noChangeArrowheads="1"/>
            </p:cNvSpPr>
            <p:nvPr/>
          </p:nvSpPr>
          <p:spPr bwMode="auto">
            <a:xfrm>
              <a:off x="4198938" y="2779713"/>
              <a:ext cx="6350" cy="7937"/>
            </a:xfrm>
            <a:custGeom>
              <a:avLst/>
              <a:gdLst>
                <a:gd name="T0" fmla="*/ 5 w 18"/>
                <a:gd name="T1" fmla="*/ 0 h 21"/>
                <a:gd name="T2" fmla="*/ 0 w 18"/>
                <a:gd name="T3" fmla="*/ 9 h 21"/>
                <a:gd name="T4" fmla="*/ 5 w 18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5" y="0"/>
                  </a:moveTo>
                  <a:lnTo>
                    <a:pt x="0" y="9"/>
                  </a:lnTo>
                  <a:cubicBezTo>
                    <a:pt x="3" y="20"/>
                    <a:pt x="17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5" name="Freeform 813"/>
            <p:cNvSpPr>
              <a:spLocks noChangeArrowheads="1"/>
            </p:cNvSpPr>
            <p:nvPr/>
          </p:nvSpPr>
          <p:spPr bwMode="auto">
            <a:xfrm>
              <a:off x="4211638" y="2797175"/>
              <a:ext cx="7937" cy="11113"/>
            </a:xfrm>
            <a:custGeom>
              <a:avLst/>
              <a:gdLst>
                <a:gd name="T0" fmla="*/ 20 w 21"/>
                <a:gd name="T1" fmla="*/ 12 h 29"/>
                <a:gd name="T2" fmla="*/ 20 w 21"/>
                <a:gd name="T3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29">
                  <a:moveTo>
                    <a:pt x="20" y="12"/>
                  </a:moveTo>
                  <a:cubicBezTo>
                    <a:pt x="0" y="0"/>
                    <a:pt x="3" y="28"/>
                    <a:pt x="2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6" name="Freeform 814"/>
            <p:cNvSpPr>
              <a:spLocks noChangeArrowheads="1"/>
            </p:cNvSpPr>
            <p:nvPr/>
          </p:nvSpPr>
          <p:spPr bwMode="auto">
            <a:xfrm>
              <a:off x="4237038" y="2813050"/>
              <a:ext cx="3175" cy="7938"/>
            </a:xfrm>
            <a:custGeom>
              <a:avLst/>
              <a:gdLst>
                <a:gd name="T0" fmla="*/ 0 w 9"/>
                <a:gd name="T1" fmla="*/ 9 h 21"/>
                <a:gd name="T2" fmla="*/ 0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9"/>
                  </a:moveTo>
                  <a:cubicBezTo>
                    <a:pt x="8" y="20"/>
                    <a:pt x="8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7" name="Freeform 815"/>
            <p:cNvSpPr>
              <a:spLocks noChangeArrowheads="1"/>
            </p:cNvSpPr>
            <p:nvPr/>
          </p:nvSpPr>
          <p:spPr bwMode="auto">
            <a:xfrm>
              <a:off x="4165600" y="2757488"/>
              <a:ext cx="3175" cy="7937"/>
            </a:xfrm>
            <a:custGeom>
              <a:avLst/>
              <a:gdLst>
                <a:gd name="T0" fmla="*/ 0 w 9"/>
                <a:gd name="T1" fmla="*/ 9 h 21"/>
                <a:gd name="T2" fmla="*/ 0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9"/>
                  </a:moveTo>
                  <a:cubicBezTo>
                    <a:pt x="8" y="20"/>
                    <a:pt x="8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8" name="Freeform 816"/>
            <p:cNvSpPr>
              <a:spLocks noChangeArrowheads="1"/>
            </p:cNvSpPr>
            <p:nvPr/>
          </p:nvSpPr>
          <p:spPr bwMode="auto">
            <a:xfrm>
              <a:off x="4227513" y="2811463"/>
              <a:ext cx="3175" cy="7937"/>
            </a:xfrm>
            <a:custGeom>
              <a:avLst/>
              <a:gdLst>
                <a:gd name="T0" fmla="*/ 0 w 9"/>
                <a:gd name="T1" fmla="*/ 8 h 23"/>
                <a:gd name="T2" fmla="*/ 0 w 9"/>
                <a:gd name="T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3">
                  <a:moveTo>
                    <a:pt x="0" y="8"/>
                  </a:moveTo>
                  <a:cubicBezTo>
                    <a:pt x="8" y="22"/>
                    <a:pt x="8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59" name="Freeform 817"/>
            <p:cNvSpPr>
              <a:spLocks noChangeArrowheads="1"/>
            </p:cNvSpPr>
            <p:nvPr/>
          </p:nvSpPr>
          <p:spPr bwMode="auto">
            <a:xfrm>
              <a:off x="4151313" y="2749550"/>
              <a:ext cx="3175" cy="7938"/>
            </a:xfrm>
            <a:custGeom>
              <a:avLst/>
              <a:gdLst>
                <a:gd name="T0" fmla="*/ 0 w 9"/>
                <a:gd name="T1" fmla="*/ 8 h 20"/>
                <a:gd name="T2" fmla="*/ 0 w 9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8"/>
                  </a:moveTo>
                  <a:cubicBezTo>
                    <a:pt x="8" y="19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0" name="Freeform 818"/>
            <p:cNvSpPr>
              <a:spLocks noChangeArrowheads="1"/>
            </p:cNvSpPr>
            <p:nvPr/>
          </p:nvSpPr>
          <p:spPr bwMode="auto">
            <a:xfrm>
              <a:off x="4210050" y="2800350"/>
              <a:ext cx="3175" cy="7938"/>
            </a:xfrm>
            <a:custGeom>
              <a:avLst/>
              <a:gdLst>
                <a:gd name="T0" fmla="*/ 0 w 9"/>
                <a:gd name="T1" fmla="*/ 5 h 20"/>
                <a:gd name="T2" fmla="*/ 0 w 9"/>
                <a:gd name="T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5"/>
                  </a:moveTo>
                  <a:cubicBezTo>
                    <a:pt x="8" y="19"/>
                    <a:pt x="5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1" name="Freeform 819"/>
            <p:cNvSpPr>
              <a:spLocks noChangeArrowheads="1"/>
            </p:cNvSpPr>
            <p:nvPr/>
          </p:nvSpPr>
          <p:spPr bwMode="auto">
            <a:xfrm>
              <a:off x="4159250" y="2760663"/>
              <a:ext cx="3175" cy="7937"/>
            </a:xfrm>
            <a:custGeom>
              <a:avLst/>
              <a:gdLst>
                <a:gd name="T0" fmla="*/ 0 w 9"/>
                <a:gd name="T1" fmla="*/ 8 h 20"/>
                <a:gd name="T2" fmla="*/ 0 w 9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8"/>
                  </a:moveTo>
                  <a:cubicBezTo>
                    <a:pt x="8" y="19"/>
                    <a:pt x="5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2" name="Freeform 820"/>
            <p:cNvSpPr>
              <a:spLocks noChangeArrowheads="1"/>
            </p:cNvSpPr>
            <p:nvPr/>
          </p:nvSpPr>
          <p:spPr bwMode="auto">
            <a:xfrm>
              <a:off x="4206875" y="2805113"/>
              <a:ext cx="4763" cy="7937"/>
            </a:xfrm>
            <a:custGeom>
              <a:avLst/>
              <a:gdLst>
                <a:gd name="T0" fmla="*/ 11 w 15"/>
                <a:gd name="T1" fmla="*/ 0 h 20"/>
                <a:gd name="T2" fmla="*/ 14 w 15"/>
                <a:gd name="T3" fmla="*/ 11 h 20"/>
                <a:gd name="T4" fmla="*/ 11 w 15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0">
                  <a:moveTo>
                    <a:pt x="11" y="0"/>
                  </a:moveTo>
                  <a:cubicBezTo>
                    <a:pt x="0" y="8"/>
                    <a:pt x="6" y="19"/>
                    <a:pt x="14" y="11"/>
                  </a:cubicBezTo>
                  <a:cubicBezTo>
                    <a:pt x="9" y="8"/>
                    <a:pt x="11" y="2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3" name="Freeform 821"/>
            <p:cNvSpPr>
              <a:spLocks noChangeArrowheads="1"/>
            </p:cNvSpPr>
            <p:nvPr/>
          </p:nvSpPr>
          <p:spPr bwMode="auto">
            <a:xfrm>
              <a:off x="4144963" y="2754313"/>
              <a:ext cx="7937" cy="6350"/>
            </a:xfrm>
            <a:custGeom>
              <a:avLst/>
              <a:gdLst>
                <a:gd name="T0" fmla="*/ 20 w 21"/>
                <a:gd name="T1" fmla="*/ 11 h 18"/>
                <a:gd name="T2" fmla="*/ 11 w 21"/>
                <a:gd name="T3" fmla="*/ 0 h 18"/>
                <a:gd name="T4" fmla="*/ 20 w 21"/>
                <a:gd name="T5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20" y="11"/>
                  </a:moveTo>
                  <a:cubicBezTo>
                    <a:pt x="14" y="8"/>
                    <a:pt x="11" y="5"/>
                    <a:pt x="11" y="0"/>
                  </a:cubicBezTo>
                  <a:cubicBezTo>
                    <a:pt x="0" y="2"/>
                    <a:pt x="17" y="17"/>
                    <a:pt x="2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4" name="Freeform 822"/>
            <p:cNvSpPr>
              <a:spLocks noChangeArrowheads="1"/>
            </p:cNvSpPr>
            <p:nvPr/>
          </p:nvSpPr>
          <p:spPr bwMode="auto">
            <a:xfrm>
              <a:off x="4171950" y="2774950"/>
              <a:ext cx="3175" cy="7938"/>
            </a:xfrm>
            <a:custGeom>
              <a:avLst/>
              <a:gdLst>
                <a:gd name="T0" fmla="*/ 0 w 10"/>
                <a:gd name="T1" fmla="*/ 9 h 21"/>
                <a:gd name="T2" fmla="*/ 0 w 10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9"/>
                  </a:moveTo>
                  <a:cubicBezTo>
                    <a:pt x="9" y="20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5" name="Freeform 823"/>
            <p:cNvSpPr>
              <a:spLocks noChangeArrowheads="1"/>
            </p:cNvSpPr>
            <p:nvPr/>
          </p:nvSpPr>
          <p:spPr bwMode="auto">
            <a:xfrm>
              <a:off x="4176713" y="2781300"/>
              <a:ext cx="3175" cy="7938"/>
            </a:xfrm>
            <a:custGeom>
              <a:avLst/>
              <a:gdLst>
                <a:gd name="T0" fmla="*/ 0 w 9"/>
                <a:gd name="T1" fmla="*/ 6 h 21"/>
                <a:gd name="T2" fmla="*/ 0 w 9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6"/>
                  </a:moveTo>
                  <a:cubicBezTo>
                    <a:pt x="8" y="20"/>
                    <a:pt x="8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6" name="Freeform 824"/>
            <p:cNvSpPr>
              <a:spLocks noChangeArrowheads="1"/>
            </p:cNvSpPr>
            <p:nvPr/>
          </p:nvSpPr>
          <p:spPr bwMode="auto">
            <a:xfrm>
              <a:off x="4187825" y="2792413"/>
              <a:ext cx="4763" cy="7937"/>
            </a:xfrm>
            <a:custGeom>
              <a:avLst/>
              <a:gdLst>
                <a:gd name="T0" fmla="*/ 0 w 12"/>
                <a:gd name="T1" fmla="*/ 6 h 24"/>
                <a:gd name="T2" fmla="*/ 0 w 12"/>
                <a:gd name="T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4">
                  <a:moveTo>
                    <a:pt x="0" y="6"/>
                  </a:moveTo>
                  <a:cubicBezTo>
                    <a:pt x="11" y="23"/>
                    <a:pt x="8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7" name="Freeform 825"/>
            <p:cNvSpPr>
              <a:spLocks noChangeArrowheads="1"/>
            </p:cNvSpPr>
            <p:nvPr/>
          </p:nvSpPr>
          <p:spPr bwMode="auto">
            <a:xfrm>
              <a:off x="4197350" y="2808288"/>
              <a:ext cx="9525" cy="9525"/>
            </a:xfrm>
            <a:custGeom>
              <a:avLst/>
              <a:gdLst>
                <a:gd name="T0" fmla="*/ 17 w 26"/>
                <a:gd name="T1" fmla="*/ 14 h 26"/>
                <a:gd name="T2" fmla="*/ 0 w 26"/>
                <a:gd name="T3" fmla="*/ 14 h 26"/>
                <a:gd name="T4" fmla="*/ 17 w 26"/>
                <a:gd name="T5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6">
                  <a:moveTo>
                    <a:pt x="17" y="14"/>
                  </a:moveTo>
                  <a:cubicBezTo>
                    <a:pt x="11" y="23"/>
                    <a:pt x="3" y="0"/>
                    <a:pt x="0" y="14"/>
                  </a:cubicBezTo>
                  <a:cubicBezTo>
                    <a:pt x="6" y="23"/>
                    <a:pt x="25" y="25"/>
                    <a:pt x="17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8" name="Freeform 826"/>
            <p:cNvSpPr>
              <a:spLocks noChangeArrowheads="1"/>
            </p:cNvSpPr>
            <p:nvPr/>
          </p:nvSpPr>
          <p:spPr bwMode="auto">
            <a:xfrm>
              <a:off x="4183063" y="2800350"/>
              <a:ext cx="4762" cy="7938"/>
            </a:xfrm>
            <a:custGeom>
              <a:avLst/>
              <a:gdLst>
                <a:gd name="T0" fmla="*/ 0 w 13"/>
                <a:gd name="T1" fmla="*/ 5 h 20"/>
                <a:gd name="T2" fmla="*/ 0 w 13"/>
                <a:gd name="T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0">
                  <a:moveTo>
                    <a:pt x="0" y="5"/>
                  </a:moveTo>
                  <a:cubicBezTo>
                    <a:pt x="12" y="19"/>
                    <a:pt x="9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69" name="Freeform 827"/>
            <p:cNvSpPr>
              <a:spLocks noChangeArrowheads="1"/>
            </p:cNvSpPr>
            <p:nvPr/>
          </p:nvSpPr>
          <p:spPr bwMode="auto">
            <a:xfrm>
              <a:off x="4149725" y="2779713"/>
              <a:ext cx="6350" cy="4762"/>
            </a:xfrm>
            <a:custGeom>
              <a:avLst/>
              <a:gdLst>
                <a:gd name="T0" fmla="*/ 12 w 18"/>
                <a:gd name="T1" fmla="*/ 0 h 15"/>
                <a:gd name="T2" fmla="*/ 6 w 18"/>
                <a:gd name="T3" fmla="*/ 14 h 15"/>
                <a:gd name="T4" fmla="*/ 12 w 18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2" y="0"/>
                  </a:moveTo>
                  <a:cubicBezTo>
                    <a:pt x="6" y="0"/>
                    <a:pt x="0" y="9"/>
                    <a:pt x="6" y="14"/>
                  </a:cubicBezTo>
                  <a:cubicBezTo>
                    <a:pt x="12" y="11"/>
                    <a:pt x="17" y="6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0" name="Freeform 828"/>
            <p:cNvSpPr>
              <a:spLocks noChangeArrowheads="1"/>
            </p:cNvSpPr>
            <p:nvPr/>
          </p:nvSpPr>
          <p:spPr bwMode="auto">
            <a:xfrm>
              <a:off x="4198938" y="2819400"/>
              <a:ext cx="4762" cy="7938"/>
            </a:xfrm>
            <a:custGeom>
              <a:avLst/>
              <a:gdLst>
                <a:gd name="T0" fmla="*/ 0 w 12"/>
                <a:gd name="T1" fmla="*/ 6 h 21"/>
                <a:gd name="T2" fmla="*/ 0 w 12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1">
                  <a:moveTo>
                    <a:pt x="0" y="6"/>
                  </a:moveTo>
                  <a:cubicBezTo>
                    <a:pt x="11" y="20"/>
                    <a:pt x="8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1" name="Freeform 829"/>
            <p:cNvSpPr>
              <a:spLocks noChangeArrowheads="1"/>
            </p:cNvSpPr>
            <p:nvPr/>
          </p:nvSpPr>
          <p:spPr bwMode="auto">
            <a:xfrm>
              <a:off x="4175125" y="2811463"/>
              <a:ext cx="11113" cy="1587"/>
            </a:xfrm>
            <a:custGeom>
              <a:avLst/>
              <a:gdLst>
                <a:gd name="T0" fmla="*/ 14 w 29"/>
                <a:gd name="T1" fmla="*/ 0 h 4"/>
                <a:gd name="T2" fmla="*/ 14 w 29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9" h="4">
                  <a:moveTo>
                    <a:pt x="14" y="0"/>
                  </a:moveTo>
                  <a:cubicBezTo>
                    <a:pt x="0" y="3"/>
                    <a:pt x="28" y="0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2" name="Freeform 830"/>
            <p:cNvSpPr>
              <a:spLocks noChangeArrowheads="1"/>
            </p:cNvSpPr>
            <p:nvPr/>
          </p:nvSpPr>
          <p:spPr bwMode="auto">
            <a:xfrm>
              <a:off x="4183063" y="2830513"/>
              <a:ext cx="6350" cy="3175"/>
            </a:xfrm>
            <a:custGeom>
              <a:avLst/>
              <a:gdLst>
                <a:gd name="T0" fmla="*/ 15 w 16"/>
                <a:gd name="T1" fmla="*/ 3 h 7"/>
                <a:gd name="T2" fmla="*/ 0 w 16"/>
                <a:gd name="T3" fmla="*/ 0 h 7"/>
                <a:gd name="T4" fmla="*/ 15 w 16"/>
                <a:gd name="T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7">
                  <a:moveTo>
                    <a:pt x="15" y="3"/>
                  </a:moveTo>
                  <a:cubicBezTo>
                    <a:pt x="12" y="0"/>
                    <a:pt x="6" y="0"/>
                    <a:pt x="0" y="0"/>
                  </a:cubicBezTo>
                  <a:cubicBezTo>
                    <a:pt x="3" y="6"/>
                    <a:pt x="9" y="6"/>
                    <a:pt x="15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3" name="Freeform 831"/>
            <p:cNvSpPr>
              <a:spLocks noChangeArrowheads="1"/>
            </p:cNvSpPr>
            <p:nvPr/>
          </p:nvSpPr>
          <p:spPr bwMode="auto">
            <a:xfrm>
              <a:off x="4156075" y="2822575"/>
              <a:ext cx="4763" cy="7938"/>
            </a:xfrm>
            <a:custGeom>
              <a:avLst/>
              <a:gdLst>
                <a:gd name="T0" fmla="*/ 0 w 13"/>
                <a:gd name="T1" fmla="*/ 8 h 23"/>
                <a:gd name="T2" fmla="*/ 0 w 13"/>
                <a:gd name="T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3">
                  <a:moveTo>
                    <a:pt x="0" y="8"/>
                  </a:moveTo>
                  <a:cubicBezTo>
                    <a:pt x="0" y="22"/>
                    <a:pt x="12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4" name="Freeform 832"/>
            <p:cNvSpPr>
              <a:spLocks noChangeArrowheads="1"/>
            </p:cNvSpPr>
            <p:nvPr/>
          </p:nvSpPr>
          <p:spPr bwMode="auto">
            <a:xfrm>
              <a:off x="4151313" y="2820988"/>
              <a:ext cx="3175" cy="7937"/>
            </a:xfrm>
            <a:custGeom>
              <a:avLst/>
              <a:gdLst>
                <a:gd name="T0" fmla="*/ 0 w 9"/>
                <a:gd name="T1" fmla="*/ 8 h 21"/>
                <a:gd name="T2" fmla="*/ 0 w 9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8"/>
                  </a:moveTo>
                  <a:cubicBezTo>
                    <a:pt x="8" y="20"/>
                    <a:pt x="8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5" name="Freeform 833"/>
            <p:cNvSpPr>
              <a:spLocks noChangeArrowheads="1"/>
            </p:cNvSpPr>
            <p:nvPr/>
          </p:nvSpPr>
          <p:spPr bwMode="auto">
            <a:xfrm>
              <a:off x="4144963" y="2822575"/>
              <a:ext cx="3175" cy="7938"/>
            </a:xfrm>
            <a:custGeom>
              <a:avLst/>
              <a:gdLst>
                <a:gd name="T0" fmla="*/ 0 w 9"/>
                <a:gd name="T1" fmla="*/ 5 h 20"/>
                <a:gd name="T2" fmla="*/ 0 w 9"/>
                <a:gd name="T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5"/>
                  </a:moveTo>
                  <a:cubicBezTo>
                    <a:pt x="8" y="19"/>
                    <a:pt x="8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6" name="Freeform 834"/>
            <p:cNvSpPr>
              <a:spLocks noChangeArrowheads="1"/>
            </p:cNvSpPr>
            <p:nvPr/>
          </p:nvSpPr>
          <p:spPr bwMode="auto">
            <a:xfrm>
              <a:off x="4151313" y="2836863"/>
              <a:ext cx="4762" cy="4762"/>
            </a:xfrm>
            <a:custGeom>
              <a:avLst/>
              <a:gdLst>
                <a:gd name="T0" fmla="*/ 0 w 12"/>
                <a:gd name="T1" fmla="*/ 9 h 15"/>
                <a:gd name="T2" fmla="*/ 11 w 12"/>
                <a:gd name="T3" fmla="*/ 11 h 15"/>
                <a:gd name="T4" fmla="*/ 8 w 12"/>
                <a:gd name="T5" fmla="*/ 0 h 15"/>
                <a:gd name="T6" fmla="*/ 0 w 12"/>
                <a:gd name="T7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5">
                  <a:moveTo>
                    <a:pt x="0" y="9"/>
                  </a:moveTo>
                  <a:cubicBezTo>
                    <a:pt x="3" y="11"/>
                    <a:pt x="8" y="14"/>
                    <a:pt x="11" y="11"/>
                  </a:cubicBezTo>
                  <a:cubicBezTo>
                    <a:pt x="6" y="9"/>
                    <a:pt x="8" y="3"/>
                    <a:pt x="8" y="0"/>
                  </a:cubicBezTo>
                  <a:lnTo>
                    <a:pt x="0" y="9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7" name="Freeform 835"/>
            <p:cNvSpPr>
              <a:spLocks noChangeArrowheads="1"/>
            </p:cNvSpPr>
            <p:nvPr/>
          </p:nvSpPr>
          <p:spPr bwMode="auto">
            <a:xfrm>
              <a:off x="4102100" y="2795588"/>
              <a:ext cx="3175" cy="7937"/>
            </a:xfrm>
            <a:custGeom>
              <a:avLst/>
              <a:gdLst>
                <a:gd name="T0" fmla="*/ 0 w 9"/>
                <a:gd name="T1" fmla="*/ 9 h 21"/>
                <a:gd name="T2" fmla="*/ 0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9"/>
                  </a:moveTo>
                  <a:cubicBezTo>
                    <a:pt x="8" y="20"/>
                    <a:pt x="5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8" name="Freeform 836"/>
            <p:cNvSpPr>
              <a:spLocks noChangeArrowheads="1"/>
            </p:cNvSpPr>
            <p:nvPr/>
          </p:nvSpPr>
          <p:spPr bwMode="auto">
            <a:xfrm>
              <a:off x="4110038" y="2809875"/>
              <a:ext cx="3175" cy="7938"/>
            </a:xfrm>
            <a:custGeom>
              <a:avLst/>
              <a:gdLst>
                <a:gd name="T0" fmla="*/ 0 w 10"/>
                <a:gd name="T1" fmla="*/ 6 h 21"/>
                <a:gd name="T2" fmla="*/ 0 w 10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6"/>
                  </a:moveTo>
                  <a:cubicBezTo>
                    <a:pt x="9" y="20"/>
                    <a:pt x="9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79" name="Freeform 837"/>
            <p:cNvSpPr>
              <a:spLocks noChangeArrowheads="1"/>
            </p:cNvSpPr>
            <p:nvPr/>
          </p:nvSpPr>
          <p:spPr bwMode="auto">
            <a:xfrm>
              <a:off x="4108450" y="2816225"/>
              <a:ext cx="6350" cy="7938"/>
            </a:xfrm>
            <a:custGeom>
              <a:avLst/>
              <a:gdLst>
                <a:gd name="T0" fmla="*/ 0 w 16"/>
                <a:gd name="T1" fmla="*/ 5 h 20"/>
                <a:gd name="T2" fmla="*/ 0 w 16"/>
                <a:gd name="T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20">
                  <a:moveTo>
                    <a:pt x="0" y="5"/>
                  </a:moveTo>
                  <a:cubicBezTo>
                    <a:pt x="3" y="19"/>
                    <a:pt x="15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0" name="Freeform 838"/>
            <p:cNvSpPr>
              <a:spLocks noChangeArrowheads="1"/>
            </p:cNvSpPr>
            <p:nvPr/>
          </p:nvSpPr>
          <p:spPr bwMode="auto">
            <a:xfrm>
              <a:off x="4137025" y="2840038"/>
              <a:ext cx="3175" cy="7937"/>
            </a:xfrm>
            <a:custGeom>
              <a:avLst/>
              <a:gdLst>
                <a:gd name="T0" fmla="*/ 0 w 10"/>
                <a:gd name="T1" fmla="*/ 8 h 23"/>
                <a:gd name="T2" fmla="*/ 0 w 10"/>
                <a:gd name="T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3">
                  <a:moveTo>
                    <a:pt x="0" y="8"/>
                  </a:moveTo>
                  <a:cubicBezTo>
                    <a:pt x="9" y="22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1" name="Freeform 839"/>
            <p:cNvSpPr>
              <a:spLocks noChangeArrowheads="1"/>
            </p:cNvSpPr>
            <p:nvPr/>
          </p:nvSpPr>
          <p:spPr bwMode="auto">
            <a:xfrm>
              <a:off x="4122738" y="2832100"/>
              <a:ext cx="4762" cy="7938"/>
            </a:xfrm>
            <a:custGeom>
              <a:avLst/>
              <a:gdLst>
                <a:gd name="T0" fmla="*/ 0 w 14"/>
                <a:gd name="T1" fmla="*/ 6 h 21"/>
                <a:gd name="T2" fmla="*/ 0 w 14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1">
                  <a:moveTo>
                    <a:pt x="0" y="6"/>
                  </a:moveTo>
                  <a:cubicBezTo>
                    <a:pt x="3" y="20"/>
                    <a:pt x="13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2" name="Freeform 840"/>
            <p:cNvSpPr>
              <a:spLocks noChangeArrowheads="1"/>
            </p:cNvSpPr>
            <p:nvPr/>
          </p:nvSpPr>
          <p:spPr bwMode="auto">
            <a:xfrm>
              <a:off x="4102100" y="2816225"/>
              <a:ext cx="3175" cy="7938"/>
            </a:xfrm>
            <a:custGeom>
              <a:avLst/>
              <a:gdLst>
                <a:gd name="T0" fmla="*/ 0 w 9"/>
                <a:gd name="T1" fmla="*/ 8 h 20"/>
                <a:gd name="T2" fmla="*/ 0 w 9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8"/>
                  </a:moveTo>
                  <a:cubicBezTo>
                    <a:pt x="8" y="19"/>
                    <a:pt x="5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3" name="Freeform 841"/>
            <p:cNvSpPr>
              <a:spLocks noChangeArrowheads="1"/>
            </p:cNvSpPr>
            <p:nvPr/>
          </p:nvSpPr>
          <p:spPr bwMode="auto">
            <a:xfrm>
              <a:off x="4095750" y="2814638"/>
              <a:ext cx="3175" cy="7937"/>
            </a:xfrm>
            <a:custGeom>
              <a:avLst/>
              <a:gdLst>
                <a:gd name="T0" fmla="*/ 0 w 9"/>
                <a:gd name="T1" fmla="*/ 8 h 21"/>
                <a:gd name="T2" fmla="*/ 0 w 9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8"/>
                  </a:moveTo>
                  <a:cubicBezTo>
                    <a:pt x="8" y="20"/>
                    <a:pt x="8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4" name="Freeform 842"/>
            <p:cNvSpPr>
              <a:spLocks noChangeArrowheads="1"/>
            </p:cNvSpPr>
            <p:nvPr/>
          </p:nvSpPr>
          <p:spPr bwMode="auto">
            <a:xfrm>
              <a:off x="4098925" y="2819400"/>
              <a:ext cx="3175" cy="7938"/>
            </a:xfrm>
            <a:custGeom>
              <a:avLst/>
              <a:gdLst>
                <a:gd name="T0" fmla="*/ 0 w 10"/>
                <a:gd name="T1" fmla="*/ 9 h 21"/>
                <a:gd name="T2" fmla="*/ 0 w 10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9"/>
                  </a:moveTo>
                  <a:cubicBezTo>
                    <a:pt x="9" y="20"/>
                    <a:pt x="9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5" name="Freeform 843"/>
            <p:cNvSpPr>
              <a:spLocks noChangeArrowheads="1"/>
            </p:cNvSpPr>
            <p:nvPr/>
          </p:nvSpPr>
          <p:spPr bwMode="auto">
            <a:xfrm>
              <a:off x="4095750" y="2822575"/>
              <a:ext cx="3175" cy="7938"/>
            </a:xfrm>
            <a:custGeom>
              <a:avLst/>
              <a:gdLst>
                <a:gd name="T0" fmla="*/ 0 w 9"/>
                <a:gd name="T1" fmla="*/ 8 h 21"/>
                <a:gd name="T2" fmla="*/ 0 w 9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8"/>
                  </a:moveTo>
                  <a:cubicBezTo>
                    <a:pt x="8" y="20"/>
                    <a:pt x="5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6" name="Freeform 844"/>
            <p:cNvSpPr>
              <a:spLocks noChangeArrowheads="1"/>
            </p:cNvSpPr>
            <p:nvPr/>
          </p:nvSpPr>
          <p:spPr bwMode="auto">
            <a:xfrm>
              <a:off x="4102100" y="2833688"/>
              <a:ext cx="4763" cy="7937"/>
            </a:xfrm>
            <a:custGeom>
              <a:avLst/>
              <a:gdLst>
                <a:gd name="T0" fmla="*/ 0 w 12"/>
                <a:gd name="T1" fmla="*/ 5 h 23"/>
                <a:gd name="T2" fmla="*/ 0 w 12"/>
                <a:gd name="T3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3">
                  <a:moveTo>
                    <a:pt x="0" y="5"/>
                  </a:moveTo>
                  <a:cubicBezTo>
                    <a:pt x="0" y="22"/>
                    <a:pt x="11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7" name="Freeform 845"/>
            <p:cNvSpPr>
              <a:spLocks noChangeArrowheads="1"/>
            </p:cNvSpPr>
            <p:nvPr/>
          </p:nvSpPr>
          <p:spPr bwMode="auto">
            <a:xfrm>
              <a:off x="4194175" y="2820988"/>
              <a:ext cx="4763" cy="6350"/>
            </a:xfrm>
            <a:custGeom>
              <a:avLst/>
              <a:gdLst>
                <a:gd name="T0" fmla="*/ 12 w 13"/>
                <a:gd name="T1" fmla="*/ 11 h 18"/>
                <a:gd name="T2" fmla="*/ 9 w 13"/>
                <a:gd name="T3" fmla="*/ 0 h 18"/>
                <a:gd name="T4" fmla="*/ 12 w 13"/>
                <a:gd name="T5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12" y="11"/>
                  </a:moveTo>
                  <a:cubicBezTo>
                    <a:pt x="6" y="8"/>
                    <a:pt x="9" y="3"/>
                    <a:pt x="9" y="0"/>
                  </a:cubicBezTo>
                  <a:cubicBezTo>
                    <a:pt x="0" y="3"/>
                    <a:pt x="6" y="17"/>
                    <a:pt x="12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8" name="Freeform 846"/>
            <p:cNvSpPr>
              <a:spLocks noChangeArrowheads="1"/>
            </p:cNvSpPr>
            <p:nvPr/>
          </p:nvSpPr>
          <p:spPr bwMode="auto">
            <a:xfrm>
              <a:off x="4159250" y="2803525"/>
              <a:ext cx="11113" cy="11113"/>
            </a:xfrm>
            <a:custGeom>
              <a:avLst/>
              <a:gdLst>
                <a:gd name="T0" fmla="*/ 22 w 29"/>
                <a:gd name="T1" fmla="*/ 6 h 29"/>
                <a:gd name="T2" fmla="*/ 8 w 29"/>
                <a:gd name="T3" fmla="*/ 3 h 29"/>
                <a:gd name="T4" fmla="*/ 14 w 29"/>
                <a:gd name="T5" fmla="*/ 25 h 29"/>
                <a:gd name="T6" fmla="*/ 22 w 29"/>
                <a:gd name="T7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29">
                  <a:moveTo>
                    <a:pt x="22" y="6"/>
                  </a:moveTo>
                  <a:cubicBezTo>
                    <a:pt x="16" y="11"/>
                    <a:pt x="11" y="0"/>
                    <a:pt x="8" y="3"/>
                  </a:cubicBezTo>
                  <a:cubicBezTo>
                    <a:pt x="2" y="8"/>
                    <a:pt x="0" y="28"/>
                    <a:pt x="14" y="25"/>
                  </a:cubicBezTo>
                  <a:cubicBezTo>
                    <a:pt x="0" y="11"/>
                    <a:pt x="28" y="11"/>
                    <a:pt x="2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89" name="Freeform 847"/>
            <p:cNvSpPr>
              <a:spLocks noChangeArrowheads="1"/>
            </p:cNvSpPr>
            <p:nvPr/>
          </p:nvSpPr>
          <p:spPr bwMode="auto">
            <a:xfrm>
              <a:off x="4103688" y="2827338"/>
              <a:ext cx="6350" cy="6350"/>
            </a:xfrm>
            <a:custGeom>
              <a:avLst/>
              <a:gdLst>
                <a:gd name="T0" fmla="*/ 12 w 18"/>
                <a:gd name="T1" fmla="*/ 6 h 18"/>
                <a:gd name="T2" fmla="*/ 12 w 18"/>
                <a:gd name="T3" fmla="*/ 11 h 18"/>
                <a:gd name="T4" fmla="*/ 0 w 18"/>
                <a:gd name="T5" fmla="*/ 11 h 18"/>
                <a:gd name="T6" fmla="*/ 9 w 18"/>
                <a:gd name="T7" fmla="*/ 17 h 18"/>
                <a:gd name="T8" fmla="*/ 12 w 18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2" y="6"/>
                  </a:moveTo>
                  <a:cubicBezTo>
                    <a:pt x="14" y="8"/>
                    <a:pt x="14" y="8"/>
                    <a:pt x="12" y="11"/>
                  </a:cubicBezTo>
                  <a:cubicBezTo>
                    <a:pt x="9" y="8"/>
                    <a:pt x="3" y="6"/>
                    <a:pt x="0" y="11"/>
                  </a:cubicBezTo>
                  <a:lnTo>
                    <a:pt x="9" y="17"/>
                  </a:lnTo>
                  <a:cubicBezTo>
                    <a:pt x="17" y="14"/>
                    <a:pt x="17" y="0"/>
                    <a:pt x="1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0" name="Freeform 848"/>
            <p:cNvSpPr>
              <a:spLocks noChangeArrowheads="1"/>
            </p:cNvSpPr>
            <p:nvPr/>
          </p:nvSpPr>
          <p:spPr bwMode="auto">
            <a:xfrm>
              <a:off x="3857625" y="2622550"/>
              <a:ext cx="577850" cy="98425"/>
            </a:xfrm>
            <a:custGeom>
              <a:avLst/>
              <a:gdLst>
                <a:gd name="T0" fmla="*/ 3 w 1603"/>
                <a:gd name="T1" fmla="*/ 265 h 272"/>
                <a:gd name="T2" fmla="*/ 801 w 1603"/>
                <a:gd name="T3" fmla="*/ 130 h 272"/>
                <a:gd name="T4" fmla="*/ 1599 w 1603"/>
                <a:gd name="T5" fmla="*/ 0 h 272"/>
                <a:gd name="T6" fmla="*/ 1602 w 1603"/>
                <a:gd name="T7" fmla="*/ 3 h 272"/>
                <a:gd name="T8" fmla="*/ 1599 w 1603"/>
                <a:gd name="T9" fmla="*/ 6 h 272"/>
                <a:gd name="T10" fmla="*/ 1599 w 1603"/>
                <a:gd name="T11" fmla="*/ 6 h 272"/>
                <a:gd name="T12" fmla="*/ 1207 w 1603"/>
                <a:gd name="T13" fmla="*/ 107 h 272"/>
                <a:gd name="T14" fmla="*/ 1010 w 1603"/>
                <a:gd name="T15" fmla="*/ 147 h 272"/>
                <a:gd name="T16" fmla="*/ 809 w 1603"/>
                <a:gd name="T17" fmla="*/ 183 h 272"/>
                <a:gd name="T18" fmla="*/ 610 w 1603"/>
                <a:gd name="T19" fmla="*/ 212 h 272"/>
                <a:gd name="T20" fmla="*/ 410 w 1603"/>
                <a:gd name="T21" fmla="*/ 237 h 272"/>
                <a:gd name="T22" fmla="*/ 209 w 1603"/>
                <a:gd name="T23" fmla="*/ 257 h 272"/>
                <a:gd name="T24" fmla="*/ 6 w 1603"/>
                <a:gd name="T25" fmla="*/ 268 h 272"/>
                <a:gd name="T26" fmla="*/ 6 w 1603"/>
                <a:gd name="T27" fmla="*/ 268 h 272"/>
                <a:gd name="T28" fmla="*/ 3 w 1603"/>
                <a:gd name="T29" fmla="*/ 265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03" h="272">
                  <a:moveTo>
                    <a:pt x="3" y="265"/>
                  </a:moveTo>
                  <a:lnTo>
                    <a:pt x="801" y="130"/>
                  </a:lnTo>
                  <a:lnTo>
                    <a:pt x="1599" y="0"/>
                  </a:lnTo>
                  <a:cubicBezTo>
                    <a:pt x="1599" y="0"/>
                    <a:pt x="1602" y="0"/>
                    <a:pt x="1602" y="3"/>
                  </a:cubicBezTo>
                  <a:cubicBezTo>
                    <a:pt x="1602" y="3"/>
                    <a:pt x="1602" y="6"/>
                    <a:pt x="1599" y="6"/>
                  </a:cubicBezTo>
                  <a:lnTo>
                    <a:pt x="1599" y="6"/>
                  </a:lnTo>
                  <a:cubicBezTo>
                    <a:pt x="1470" y="45"/>
                    <a:pt x="1337" y="79"/>
                    <a:pt x="1207" y="107"/>
                  </a:cubicBezTo>
                  <a:cubicBezTo>
                    <a:pt x="1142" y="121"/>
                    <a:pt x="1075" y="135"/>
                    <a:pt x="1010" y="147"/>
                  </a:cubicBezTo>
                  <a:lnTo>
                    <a:pt x="809" y="183"/>
                  </a:lnTo>
                  <a:lnTo>
                    <a:pt x="610" y="212"/>
                  </a:lnTo>
                  <a:cubicBezTo>
                    <a:pt x="542" y="220"/>
                    <a:pt x="477" y="231"/>
                    <a:pt x="410" y="237"/>
                  </a:cubicBezTo>
                  <a:cubicBezTo>
                    <a:pt x="342" y="245"/>
                    <a:pt x="274" y="251"/>
                    <a:pt x="209" y="257"/>
                  </a:cubicBezTo>
                  <a:cubicBezTo>
                    <a:pt x="142" y="260"/>
                    <a:pt x="74" y="268"/>
                    <a:pt x="6" y="268"/>
                  </a:cubicBezTo>
                  <a:lnTo>
                    <a:pt x="6" y="268"/>
                  </a:lnTo>
                  <a:cubicBezTo>
                    <a:pt x="3" y="271"/>
                    <a:pt x="0" y="271"/>
                    <a:pt x="3" y="265"/>
                  </a:cubicBez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1" name="Freeform 849"/>
            <p:cNvSpPr>
              <a:spLocks noChangeArrowheads="1"/>
            </p:cNvSpPr>
            <p:nvPr/>
          </p:nvSpPr>
          <p:spPr bwMode="auto">
            <a:xfrm>
              <a:off x="4284663" y="2673350"/>
              <a:ext cx="7937" cy="4763"/>
            </a:xfrm>
            <a:custGeom>
              <a:avLst/>
              <a:gdLst>
                <a:gd name="T0" fmla="*/ 0 w 20"/>
                <a:gd name="T1" fmla="*/ 9 h 15"/>
                <a:gd name="T2" fmla="*/ 14 w 20"/>
                <a:gd name="T3" fmla="*/ 0 h 15"/>
                <a:gd name="T4" fmla="*/ 0 w 20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5">
                  <a:moveTo>
                    <a:pt x="0" y="9"/>
                  </a:moveTo>
                  <a:cubicBezTo>
                    <a:pt x="8" y="14"/>
                    <a:pt x="19" y="6"/>
                    <a:pt x="14" y="0"/>
                  </a:cubicBezTo>
                  <a:cubicBezTo>
                    <a:pt x="11" y="3"/>
                    <a:pt x="2" y="3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2" name="Freeform 850"/>
            <p:cNvSpPr>
              <a:spLocks noChangeArrowheads="1"/>
            </p:cNvSpPr>
            <p:nvPr/>
          </p:nvSpPr>
          <p:spPr bwMode="auto">
            <a:xfrm>
              <a:off x="4260850" y="2668588"/>
              <a:ext cx="4763" cy="3175"/>
            </a:xfrm>
            <a:custGeom>
              <a:avLst/>
              <a:gdLst>
                <a:gd name="T0" fmla="*/ 6 w 15"/>
                <a:gd name="T1" fmla="*/ 8 h 9"/>
                <a:gd name="T2" fmla="*/ 11 w 15"/>
                <a:gd name="T3" fmla="*/ 8 h 9"/>
                <a:gd name="T4" fmla="*/ 14 w 15"/>
                <a:gd name="T5" fmla="*/ 3 h 9"/>
                <a:gd name="T6" fmla="*/ 6 w 15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9">
                  <a:moveTo>
                    <a:pt x="6" y="8"/>
                  </a:moveTo>
                  <a:lnTo>
                    <a:pt x="11" y="8"/>
                  </a:lnTo>
                  <a:cubicBezTo>
                    <a:pt x="8" y="8"/>
                    <a:pt x="11" y="5"/>
                    <a:pt x="14" y="3"/>
                  </a:cubicBezTo>
                  <a:cubicBezTo>
                    <a:pt x="6" y="0"/>
                    <a:pt x="0" y="3"/>
                    <a:pt x="6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3" name="Freeform 851"/>
            <p:cNvSpPr>
              <a:spLocks noChangeArrowheads="1"/>
            </p:cNvSpPr>
            <p:nvPr/>
          </p:nvSpPr>
          <p:spPr bwMode="auto">
            <a:xfrm>
              <a:off x="4251325" y="2670175"/>
              <a:ext cx="3175" cy="1588"/>
            </a:xfrm>
            <a:custGeom>
              <a:avLst/>
              <a:gdLst>
                <a:gd name="T0" fmla="*/ 9 w 10"/>
                <a:gd name="T1" fmla="*/ 0 h 3"/>
                <a:gd name="T2" fmla="*/ 0 w 10"/>
                <a:gd name="T3" fmla="*/ 2 h 3"/>
                <a:gd name="T4" fmla="*/ 9 w 10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">
                  <a:moveTo>
                    <a:pt x="9" y="0"/>
                  </a:moveTo>
                  <a:cubicBezTo>
                    <a:pt x="6" y="0"/>
                    <a:pt x="3" y="0"/>
                    <a:pt x="0" y="2"/>
                  </a:cubicBezTo>
                  <a:cubicBezTo>
                    <a:pt x="3" y="2"/>
                    <a:pt x="9" y="2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4" name="Freeform 852"/>
            <p:cNvSpPr>
              <a:spLocks noChangeArrowheads="1"/>
            </p:cNvSpPr>
            <p:nvPr/>
          </p:nvSpPr>
          <p:spPr bwMode="auto">
            <a:xfrm>
              <a:off x="4278313" y="2673350"/>
              <a:ext cx="1587" cy="3175"/>
            </a:xfrm>
            <a:custGeom>
              <a:avLst/>
              <a:gdLst>
                <a:gd name="T0" fmla="*/ 3 w 4"/>
                <a:gd name="T1" fmla="*/ 3 h 7"/>
                <a:gd name="T2" fmla="*/ 3 w 4"/>
                <a:gd name="T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7">
                  <a:moveTo>
                    <a:pt x="3" y="3"/>
                  </a:moveTo>
                  <a:cubicBezTo>
                    <a:pt x="3" y="6"/>
                    <a:pt x="0" y="0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5" name="Freeform 853"/>
            <p:cNvSpPr>
              <a:spLocks noChangeArrowheads="1"/>
            </p:cNvSpPr>
            <p:nvPr/>
          </p:nvSpPr>
          <p:spPr bwMode="auto">
            <a:xfrm>
              <a:off x="4278313" y="2678113"/>
              <a:ext cx="1587" cy="3175"/>
            </a:xfrm>
            <a:custGeom>
              <a:avLst/>
              <a:gdLst>
                <a:gd name="T0" fmla="*/ 5 w 6"/>
                <a:gd name="T1" fmla="*/ 6 h 7"/>
                <a:gd name="T2" fmla="*/ 5 w 6"/>
                <a:gd name="T3" fmla="*/ 0 h 7"/>
                <a:gd name="T4" fmla="*/ 0 w 6"/>
                <a:gd name="T5" fmla="*/ 0 h 7"/>
                <a:gd name="T6" fmla="*/ 0 w 6"/>
                <a:gd name="T7" fmla="*/ 6 h 7"/>
                <a:gd name="T8" fmla="*/ 5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6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6" name="Freeform 854"/>
            <p:cNvSpPr>
              <a:spLocks noChangeArrowheads="1"/>
            </p:cNvSpPr>
            <p:nvPr/>
          </p:nvSpPr>
          <p:spPr bwMode="auto">
            <a:xfrm>
              <a:off x="4284663" y="2681288"/>
              <a:ext cx="3175" cy="1587"/>
            </a:xfrm>
            <a:custGeom>
              <a:avLst/>
              <a:gdLst>
                <a:gd name="T0" fmla="*/ 9 w 10"/>
                <a:gd name="T1" fmla="*/ 0 h 6"/>
                <a:gd name="T2" fmla="*/ 0 w 10"/>
                <a:gd name="T3" fmla="*/ 3 h 6"/>
                <a:gd name="T4" fmla="*/ 9 w 10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6">
                  <a:moveTo>
                    <a:pt x="9" y="0"/>
                  </a:moveTo>
                  <a:cubicBezTo>
                    <a:pt x="6" y="0"/>
                    <a:pt x="3" y="0"/>
                    <a:pt x="0" y="3"/>
                  </a:cubicBezTo>
                  <a:cubicBezTo>
                    <a:pt x="3" y="3"/>
                    <a:pt x="9" y="5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7" name="Freeform 855"/>
            <p:cNvSpPr>
              <a:spLocks noChangeArrowheads="1"/>
            </p:cNvSpPr>
            <p:nvPr/>
          </p:nvSpPr>
          <p:spPr bwMode="auto">
            <a:xfrm>
              <a:off x="4291013" y="2681288"/>
              <a:ext cx="3175" cy="4762"/>
            </a:xfrm>
            <a:custGeom>
              <a:avLst/>
              <a:gdLst>
                <a:gd name="T0" fmla="*/ 3 w 10"/>
                <a:gd name="T1" fmla="*/ 0 h 15"/>
                <a:gd name="T2" fmla="*/ 0 w 10"/>
                <a:gd name="T3" fmla="*/ 8 h 15"/>
                <a:gd name="T4" fmla="*/ 3 w 10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3" y="0"/>
                  </a:moveTo>
                  <a:cubicBezTo>
                    <a:pt x="3" y="2"/>
                    <a:pt x="0" y="2"/>
                    <a:pt x="0" y="8"/>
                  </a:cubicBezTo>
                  <a:cubicBezTo>
                    <a:pt x="6" y="14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8" name="Freeform 856"/>
            <p:cNvSpPr>
              <a:spLocks noChangeArrowheads="1"/>
            </p:cNvSpPr>
            <p:nvPr/>
          </p:nvSpPr>
          <p:spPr bwMode="auto">
            <a:xfrm>
              <a:off x="4229100" y="2673350"/>
              <a:ext cx="4763" cy="3175"/>
            </a:xfrm>
            <a:custGeom>
              <a:avLst/>
              <a:gdLst>
                <a:gd name="T0" fmla="*/ 0 w 13"/>
                <a:gd name="T1" fmla="*/ 6 h 7"/>
                <a:gd name="T2" fmla="*/ 12 w 13"/>
                <a:gd name="T3" fmla="*/ 3 h 7"/>
                <a:gd name="T4" fmla="*/ 0 w 13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0" y="6"/>
                  </a:moveTo>
                  <a:cubicBezTo>
                    <a:pt x="3" y="6"/>
                    <a:pt x="9" y="6"/>
                    <a:pt x="12" y="3"/>
                  </a:cubicBezTo>
                  <a:cubicBezTo>
                    <a:pt x="6" y="0"/>
                    <a:pt x="3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899" name="Freeform 857"/>
            <p:cNvSpPr>
              <a:spLocks noChangeArrowheads="1"/>
            </p:cNvSpPr>
            <p:nvPr/>
          </p:nvSpPr>
          <p:spPr bwMode="auto">
            <a:xfrm>
              <a:off x="4278313" y="2681288"/>
              <a:ext cx="3175" cy="4762"/>
            </a:xfrm>
            <a:custGeom>
              <a:avLst/>
              <a:gdLst>
                <a:gd name="T0" fmla="*/ 5 w 9"/>
                <a:gd name="T1" fmla="*/ 11 h 12"/>
                <a:gd name="T2" fmla="*/ 0 w 9"/>
                <a:gd name="T3" fmla="*/ 0 h 12"/>
                <a:gd name="T4" fmla="*/ 5 w 9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5" y="11"/>
                  </a:moveTo>
                  <a:cubicBezTo>
                    <a:pt x="8" y="5"/>
                    <a:pt x="3" y="2"/>
                    <a:pt x="0" y="0"/>
                  </a:cubicBezTo>
                  <a:cubicBezTo>
                    <a:pt x="0" y="5"/>
                    <a:pt x="3" y="8"/>
                    <a:pt x="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0" name="Freeform 858"/>
            <p:cNvSpPr>
              <a:spLocks noChangeArrowheads="1"/>
            </p:cNvSpPr>
            <p:nvPr/>
          </p:nvSpPr>
          <p:spPr bwMode="auto">
            <a:xfrm>
              <a:off x="4222750" y="2673350"/>
              <a:ext cx="3175" cy="3175"/>
            </a:xfrm>
            <a:custGeom>
              <a:avLst/>
              <a:gdLst>
                <a:gd name="T0" fmla="*/ 0 w 7"/>
                <a:gd name="T1" fmla="*/ 0 h 7"/>
                <a:gd name="T2" fmla="*/ 0 w 7"/>
                <a:gd name="T3" fmla="*/ 6 h 7"/>
                <a:gd name="T4" fmla="*/ 6 w 7"/>
                <a:gd name="T5" fmla="*/ 6 h 7"/>
                <a:gd name="T6" fmla="*/ 6 w 7"/>
                <a:gd name="T7" fmla="*/ 0 h 7"/>
                <a:gd name="T8" fmla="*/ 0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1" name="Freeform 859"/>
            <p:cNvSpPr>
              <a:spLocks noChangeArrowheads="1"/>
            </p:cNvSpPr>
            <p:nvPr/>
          </p:nvSpPr>
          <p:spPr bwMode="auto">
            <a:xfrm>
              <a:off x="4298950" y="269398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2" name="Freeform 860"/>
            <p:cNvSpPr>
              <a:spLocks noChangeArrowheads="1"/>
            </p:cNvSpPr>
            <p:nvPr/>
          </p:nvSpPr>
          <p:spPr bwMode="auto">
            <a:xfrm>
              <a:off x="4300538" y="2693988"/>
              <a:ext cx="4762" cy="4762"/>
            </a:xfrm>
            <a:custGeom>
              <a:avLst/>
              <a:gdLst>
                <a:gd name="T0" fmla="*/ 14 w 15"/>
                <a:gd name="T1" fmla="*/ 6 h 15"/>
                <a:gd name="T2" fmla="*/ 14 w 15"/>
                <a:gd name="T3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14" y="6"/>
                  </a:moveTo>
                  <a:cubicBezTo>
                    <a:pt x="0" y="0"/>
                    <a:pt x="8" y="14"/>
                    <a:pt x="14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3" name="Freeform 861"/>
            <p:cNvSpPr>
              <a:spLocks noChangeArrowheads="1"/>
            </p:cNvSpPr>
            <p:nvPr/>
          </p:nvSpPr>
          <p:spPr bwMode="auto">
            <a:xfrm>
              <a:off x="4305300" y="2695575"/>
              <a:ext cx="6350" cy="4763"/>
            </a:xfrm>
            <a:custGeom>
              <a:avLst/>
              <a:gdLst>
                <a:gd name="T0" fmla="*/ 17 w 18"/>
                <a:gd name="T1" fmla="*/ 9 h 15"/>
                <a:gd name="T2" fmla="*/ 0 w 18"/>
                <a:gd name="T3" fmla="*/ 9 h 15"/>
                <a:gd name="T4" fmla="*/ 17 w 18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7" y="9"/>
                  </a:moveTo>
                  <a:cubicBezTo>
                    <a:pt x="11" y="6"/>
                    <a:pt x="6" y="0"/>
                    <a:pt x="0" y="9"/>
                  </a:cubicBezTo>
                  <a:cubicBezTo>
                    <a:pt x="8" y="9"/>
                    <a:pt x="17" y="14"/>
                    <a:pt x="17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4" name="Freeform 862"/>
            <p:cNvSpPr>
              <a:spLocks noChangeArrowheads="1"/>
            </p:cNvSpPr>
            <p:nvPr/>
          </p:nvSpPr>
          <p:spPr bwMode="auto">
            <a:xfrm>
              <a:off x="4292600" y="2692400"/>
              <a:ext cx="3175" cy="6350"/>
            </a:xfrm>
            <a:custGeom>
              <a:avLst/>
              <a:gdLst>
                <a:gd name="T0" fmla="*/ 9 w 10"/>
                <a:gd name="T1" fmla="*/ 11 h 18"/>
                <a:gd name="T2" fmla="*/ 9 w 10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11"/>
                  </a:moveTo>
                  <a:cubicBezTo>
                    <a:pt x="0" y="0"/>
                    <a:pt x="0" y="17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5" name="Freeform 863"/>
            <p:cNvSpPr>
              <a:spLocks noChangeArrowheads="1"/>
            </p:cNvSpPr>
            <p:nvPr/>
          </p:nvSpPr>
          <p:spPr bwMode="auto">
            <a:xfrm>
              <a:off x="4297363" y="2697163"/>
              <a:ext cx="4762" cy="4762"/>
            </a:xfrm>
            <a:custGeom>
              <a:avLst/>
              <a:gdLst>
                <a:gd name="T0" fmla="*/ 0 w 13"/>
                <a:gd name="T1" fmla="*/ 8 h 12"/>
                <a:gd name="T2" fmla="*/ 0 w 13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2">
                  <a:moveTo>
                    <a:pt x="0" y="8"/>
                  </a:moveTo>
                  <a:cubicBezTo>
                    <a:pt x="12" y="11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6" name="Freeform 864"/>
            <p:cNvSpPr>
              <a:spLocks noChangeArrowheads="1"/>
            </p:cNvSpPr>
            <p:nvPr/>
          </p:nvSpPr>
          <p:spPr bwMode="auto">
            <a:xfrm>
              <a:off x="4292600" y="2698750"/>
              <a:ext cx="4763" cy="4763"/>
            </a:xfrm>
            <a:custGeom>
              <a:avLst/>
              <a:gdLst>
                <a:gd name="T0" fmla="*/ 0 w 12"/>
                <a:gd name="T1" fmla="*/ 8 h 12"/>
                <a:gd name="T2" fmla="*/ 0 w 12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0" y="8"/>
                  </a:moveTo>
                  <a:cubicBezTo>
                    <a:pt x="11" y="11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7" name="Freeform 865"/>
            <p:cNvSpPr>
              <a:spLocks noChangeArrowheads="1"/>
            </p:cNvSpPr>
            <p:nvPr/>
          </p:nvSpPr>
          <p:spPr bwMode="auto">
            <a:xfrm>
              <a:off x="4210050" y="2686050"/>
              <a:ext cx="1588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3" y="3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8" name="Freeform 866"/>
            <p:cNvSpPr>
              <a:spLocks noChangeArrowheads="1"/>
            </p:cNvSpPr>
            <p:nvPr/>
          </p:nvSpPr>
          <p:spPr bwMode="auto">
            <a:xfrm>
              <a:off x="4275138" y="2697163"/>
              <a:ext cx="3175" cy="6350"/>
            </a:xfrm>
            <a:custGeom>
              <a:avLst/>
              <a:gdLst>
                <a:gd name="T0" fmla="*/ 0 w 7"/>
                <a:gd name="T1" fmla="*/ 5 h 18"/>
                <a:gd name="T2" fmla="*/ 0 w 7"/>
                <a:gd name="T3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5"/>
                  </a:moveTo>
                  <a:cubicBezTo>
                    <a:pt x="3" y="17"/>
                    <a:pt x="6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09" name="Freeform 867"/>
            <p:cNvSpPr>
              <a:spLocks noChangeArrowheads="1"/>
            </p:cNvSpPr>
            <p:nvPr/>
          </p:nvSpPr>
          <p:spPr bwMode="auto">
            <a:xfrm>
              <a:off x="4210050" y="2689225"/>
              <a:ext cx="1588" cy="6350"/>
            </a:xfrm>
            <a:custGeom>
              <a:avLst/>
              <a:gdLst>
                <a:gd name="T0" fmla="*/ 0 w 4"/>
                <a:gd name="T1" fmla="*/ 6 h 18"/>
                <a:gd name="T2" fmla="*/ 0 w 4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8">
                  <a:moveTo>
                    <a:pt x="0" y="6"/>
                  </a:moveTo>
                  <a:cubicBezTo>
                    <a:pt x="3" y="17"/>
                    <a:pt x="3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0" name="Freeform 868"/>
            <p:cNvSpPr>
              <a:spLocks noChangeArrowheads="1"/>
            </p:cNvSpPr>
            <p:nvPr/>
          </p:nvSpPr>
          <p:spPr bwMode="auto">
            <a:xfrm>
              <a:off x="4298950" y="2686050"/>
              <a:ext cx="7938" cy="3175"/>
            </a:xfrm>
            <a:custGeom>
              <a:avLst/>
              <a:gdLst>
                <a:gd name="T0" fmla="*/ 0 w 21"/>
                <a:gd name="T1" fmla="*/ 8 h 9"/>
                <a:gd name="T2" fmla="*/ 11 w 21"/>
                <a:gd name="T3" fmla="*/ 0 h 9"/>
                <a:gd name="T4" fmla="*/ 0 w 21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9">
                  <a:moveTo>
                    <a:pt x="0" y="8"/>
                  </a:moveTo>
                  <a:cubicBezTo>
                    <a:pt x="6" y="8"/>
                    <a:pt x="20" y="5"/>
                    <a:pt x="11" y="0"/>
                  </a:cubicBezTo>
                  <a:cubicBezTo>
                    <a:pt x="9" y="5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1" name="Freeform 869"/>
            <p:cNvSpPr>
              <a:spLocks noChangeArrowheads="1"/>
            </p:cNvSpPr>
            <p:nvPr/>
          </p:nvSpPr>
          <p:spPr bwMode="auto">
            <a:xfrm>
              <a:off x="4283075" y="2689225"/>
              <a:ext cx="6350" cy="4763"/>
            </a:xfrm>
            <a:custGeom>
              <a:avLst/>
              <a:gdLst>
                <a:gd name="T0" fmla="*/ 0 w 18"/>
                <a:gd name="T1" fmla="*/ 6 h 13"/>
                <a:gd name="T2" fmla="*/ 11 w 18"/>
                <a:gd name="T3" fmla="*/ 0 h 13"/>
                <a:gd name="T4" fmla="*/ 0 w 18"/>
                <a:gd name="T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0" y="6"/>
                  </a:moveTo>
                  <a:cubicBezTo>
                    <a:pt x="8" y="12"/>
                    <a:pt x="17" y="3"/>
                    <a:pt x="11" y="0"/>
                  </a:cubicBezTo>
                  <a:cubicBezTo>
                    <a:pt x="11" y="6"/>
                    <a:pt x="3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2" name="Freeform 870"/>
            <p:cNvSpPr>
              <a:spLocks noChangeArrowheads="1"/>
            </p:cNvSpPr>
            <p:nvPr/>
          </p:nvSpPr>
          <p:spPr bwMode="auto">
            <a:xfrm>
              <a:off x="4302125" y="2698750"/>
              <a:ext cx="3175" cy="3175"/>
            </a:xfrm>
            <a:custGeom>
              <a:avLst/>
              <a:gdLst>
                <a:gd name="T0" fmla="*/ 6 w 10"/>
                <a:gd name="T1" fmla="*/ 0 h 10"/>
                <a:gd name="T2" fmla="*/ 0 w 10"/>
                <a:gd name="T3" fmla="*/ 0 h 10"/>
                <a:gd name="T4" fmla="*/ 0 w 10"/>
                <a:gd name="T5" fmla="*/ 9 h 10"/>
                <a:gd name="T6" fmla="*/ 6 w 1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6" y="0"/>
                  </a:moveTo>
                  <a:lnTo>
                    <a:pt x="0" y="0"/>
                  </a:lnTo>
                  <a:lnTo>
                    <a:pt x="0" y="9"/>
                  </a:lnTo>
                  <a:cubicBezTo>
                    <a:pt x="6" y="9"/>
                    <a:pt x="9" y="6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3" name="Freeform 871"/>
            <p:cNvSpPr>
              <a:spLocks noChangeArrowheads="1"/>
            </p:cNvSpPr>
            <p:nvPr/>
          </p:nvSpPr>
          <p:spPr bwMode="auto">
            <a:xfrm>
              <a:off x="4300538" y="2684463"/>
              <a:ext cx="3175" cy="7937"/>
            </a:xfrm>
            <a:custGeom>
              <a:avLst/>
              <a:gdLst>
                <a:gd name="T0" fmla="*/ 6 w 7"/>
                <a:gd name="T1" fmla="*/ 14 h 24"/>
                <a:gd name="T2" fmla="*/ 6 w 7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4">
                  <a:moveTo>
                    <a:pt x="6" y="14"/>
                  </a:moveTo>
                  <a:cubicBezTo>
                    <a:pt x="0" y="0"/>
                    <a:pt x="3" y="23"/>
                    <a:pt x="6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4" name="Freeform 872"/>
            <p:cNvSpPr>
              <a:spLocks noChangeArrowheads="1"/>
            </p:cNvSpPr>
            <p:nvPr/>
          </p:nvSpPr>
          <p:spPr bwMode="auto">
            <a:xfrm>
              <a:off x="4297363" y="2695575"/>
              <a:ext cx="3175" cy="6350"/>
            </a:xfrm>
            <a:custGeom>
              <a:avLst/>
              <a:gdLst>
                <a:gd name="T0" fmla="*/ 0 w 7"/>
                <a:gd name="T1" fmla="*/ 3 h 18"/>
                <a:gd name="T2" fmla="*/ 0 w 7"/>
                <a:gd name="T3" fmla="*/ 11 h 18"/>
                <a:gd name="T4" fmla="*/ 0 w 7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8">
                  <a:moveTo>
                    <a:pt x="0" y="3"/>
                  </a:moveTo>
                  <a:lnTo>
                    <a:pt x="0" y="11"/>
                  </a:lnTo>
                  <a:cubicBezTo>
                    <a:pt x="6" y="17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5" name="Freeform 873"/>
            <p:cNvSpPr>
              <a:spLocks noChangeArrowheads="1"/>
            </p:cNvSpPr>
            <p:nvPr/>
          </p:nvSpPr>
          <p:spPr bwMode="auto">
            <a:xfrm>
              <a:off x="4283075" y="2690813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0" y="11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6" name="Freeform 874"/>
            <p:cNvSpPr>
              <a:spLocks noChangeArrowheads="1"/>
            </p:cNvSpPr>
            <p:nvPr/>
          </p:nvSpPr>
          <p:spPr bwMode="auto">
            <a:xfrm>
              <a:off x="4278313" y="2681288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8 w 9"/>
                <a:gd name="T3" fmla="*/ 0 h 9"/>
                <a:gd name="T4" fmla="*/ 2 w 9"/>
                <a:gd name="T5" fmla="*/ 8 h 9"/>
                <a:gd name="T6" fmla="*/ 8 w 9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lnTo>
                    <a:pt x="8" y="0"/>
                  </a:lnTo>
                  <a:cubicBezTo>
                    <a:pt x="2" y="0"/>
                    <a:pt x="0" y="3"/>
                    <a:pt x="2" y="8"/>
                  </a:cubicBezTo>
                  <a:lnTo>
                    <a:pt x="8" y="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7" name="Freeform 875"/>
            <p:cNvSpPr>
              <a:spLocks noChangeArrowheads="1"/>
            </p:cNvSpPr>
            <p:nvPr/>
          </p:nvSpPr>
          <p:spPr bwMode="auto">
            <a:xfrm>
              <a:off x="4264025" y="2670175"/>
              <a:ext cx="3175" cy="3175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0 h 7"/>
                <a:gd name="T4" fmla="*/ 0 w 7"/>
                <a:gd name="T5" fmla="*/ 6 h 7"/>
                <a:gd name="T6" fmla="*/ 6 w 7"/>
                <a:gd name="T7" fmla="*/ 6 h 7"/>
                <a:gd name="T8" fmla="*/ 6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8" name="Freeform 876"/>
            <p:cNvSpPr>
              <a:spLocks noChangeArrowheads="1"/>
            </p:cNvSpPr>
            <p:nvPr/>
          </p:nvSpPr>
          <p:spPr bwMode="auto">
            <a:xfrm>
              <a:off x="4246563" y="2667000"/>
              <a:ext cx="4762" cy="4763"/>
            </a:xfrm>
            <a:custGeom>
              <a:avLst/>
              <a:gdLst>
                <a:gd name="T0" fmla="*/ 9 w 15"/>
                <a:gd name="T1" fmla="*/ 14 h 15"/>
                <a:gd name="T2" fmla="*/ 9 w 15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9" y="14"/>
                  </a:moveTo>
                  <a:cubicBezTo>
                    <a:pt x="14" y="0"/>
                    <a:pt x="0" y="9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19" name="Freeform 877"/>
            <p:cNvSpPr>
              <a:spLocks noChangeArrowheads="1"/>
            </p:cNvSpPr>
            <p:nvPr/>
          </p:nvSpPr>
          <p:spPr bwMode="auto">
            <a:xfrm>
              <a:off x="4229100" y="2670175"/>
              <a:ext cx="4763" cy="4763"/>
            </a:xfrm>
            <a:custGeom>
              <a:avLst/>
              <a:gdLst>
                <a:gd name="T0" fmla="*/ 3 w 13"/>
                <a:gd name="T1" fmla="*/ 12 h 13"/>
                <a:gd name="T2" fmla="*/ 9 w 13"/>
                <a:gd name="T3" fmla="*/ 0 h 13"/>
                <a:gd name="T4" fmla="*/ 3 w 13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3" y="12"/>
                  </a:moveTo>
                  <a:cubicBezTo>
                    <a:pt x="9" y="12"/>
                    <a:pt x="12" y="6"/>
                    <a:pt x="9" y="0"/>
                  </a:cubicBezTo>
                  <a:cubicBezTo>
                    <a:pt x="3" y="0"/>
                    <a:pt x="0" y="3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0" name="Freeform 878"/>
            <p:cNvSpPr>
              <a:spLocks noChangeArrowheads="1"/>
            </p:cNvSpPr>
            <p:nvPr/>
          </p:nvSpPr>
          <p:spPr bwMode="auto">
            <a:xfrm>
              <a:off x="4195763" y="2689225"/>
              <a:ext cx="3175" cy="4763"/>
            </a:xfrm>
            <a:custGeom>
              <a:avLst/>
              <a:gdLst>
                <a:gd name="T0" fmla="*/ 0 w 10"/>
                <a:gd name="T1" fmla="*/ 0 h 13"/>
                <a:gd name="T2" fmla="*/ 0 w 10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3">
                  <a:moveTo>
                    <a:pt x="0" y="0"/>
                  </a:moveTo>
                  <a:cubicBezTo>
                    <a:pt x="0" y="12"/>
                    <a:pt x="9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1" name="Freeform 879"/>
            <p:cNvSpPr>
              <a:spLocks noChangeArrowheads="1"/>
            </p:cNvSpPr>
            <p:nvPr/>
          </p:nvSpPr>
          <p:spPr bwMode="auto">
            <a:xfrm>
              <a:off x="4291013" y="2695575"/>
              <a:ext cx="4762" cy="4763"/>
            </a:xfrm>
            <a:custGeom>
              <a:avLst/>
              <a:gdLst>
                <a:gd name="T0" fmla="*/ 6 w 15"/>
                <a:gd name="T1" fmla="*/ 8 h 12"/>
                <a:gd name="T2" fmla="*/ 3 w 15"/>
                <a:gd name="T3" fmla="*/ 3 h 12"/>
                <a:gd name="T4" fmla="*/ 6 w 15"/>
                <a:gd name="T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6" y="8"/>
                  </a:moveTo>
                  <a:cubicBezTo>
                    <a:pt x="6" y="6"/>
                    <a:pt x="3" y="0"/>
                    <a:pt x="3" y="3"/>
                  </a:cubicBezTo>
                  <a:cubicBezTo>
                    <a:pt x="0" y="11"/>
                    <a:pt x="14" y="11"/>
                    <a:pt x="6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2" name="Freeform 880"/>
            <p:cNvSpPr>
              <a:spLocks noChangeArrowheads="1"/>
            </p:cNvSpPr>
            <p:nvPr/>
          </p:nvSpPr>
          <p:spPr bwMode="auto">
            <a:xfrm>
              <a:off x="4203700" y="2676525"/>
              <a:ext cx="6350" cy="4763"/>
            </a:xfrm>
            <a:custGeom>
              <a:avLst/>
              <a:gdLst>
                <a:gd name="T0" fmla="*/ 0 w 18"/>
                <a:gd name="T1" fmla="*/ 9 h 13"/>
                <a:gd name="T2" fmla="*/ 0 w 18"/>
                <a:gd name="T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0" y="9"/>
                  </a:moveTo>
                  <a:cubicBezTo>
                    <a:pt x="17" y="12"/>
                    <a:pt x="5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3" name="Freeform 881"/>
            <p:cNvSpPr>
              <a:spLocks noChangeArrowheads="1"/>
            </p:cNvSpPr>
            <p:nvPr/>
          </p:nvSpPr>
          <p:spPr bwMode="auto">
            <a:xfrm>
              <a:off x="3863975" y="2722563"/>
              <a:ext cx="4763" cy="3175"/>
            </a:xfrm>
            <a:custGeom>
              <a:avLst/>
              <a:gdLst>
                <a:gd name="T0" fmla="*/ 0 w 13"/>
                <a:gd name="T1" fmla="*/ 6 h 10"/>
                <a:gd name="T2" fmla="*/ 0 w 13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6"/>
                  </a:moveTo>
                  <a:cubicBezTo>
                    <a:pt x="12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4" name="Freeform 882"/>
            <p:cNvSpPr>
              <a:spLocks noChangeArrowheads="1"/>
            </p:cNvSpPr>
            <p:nvPr/>
          </p:nvSpPr>
          <p:spPr bwMode="auto">
            <a:xfrm>
              <a:off x="3889375" y="2725738"/>
              <a:ext cx="3175" cy="3175"/>
            </a:xfrm>
            <a:custGeom>
              <a:avLst/>
              <a:gdLst>
                <a:gd name="T0" fmla="*/ 9 w 10"/>
                <a:gd name="T1" fmla="*/ 5 h 9"/>
                <a:gd name="T2" fmla="*/ 3 w 10"/>
                <a:gd name="T3" fmla="*/ 0 h 9"/>
                <a:gd name="T4" fmla="*/ 9 w 10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9" y="5"/>
                  </a:moveTo>
                  <a:cubicBezTo>
                    <a:pt x="9" y="3"/>
                    <a:pt x="6" y="0"/>
                    <a:pt x="3" y="0"/>
                  </a:cubicBezTo>
                  <a:cubicBezTo>
                    <a:pt x="0" y="3"/>
                    <a:pt x="0" y="8"/>
                    <a:pt x="9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5" name="Freeform 883"/>
            <p:cNvSpPr>
              <a:spLocks noChangeArrowheads="1"/>
            </p:cNvSpPr>
            <p:nvPr/>
          </p:nvSpPr>
          <p:spPr bwMode="auto">
            <a:xfrm>
              <a:off x="3900488" y="2722563"/>
              <a:ext cx="4762" cy="3175"/>
            </a:xfrm>
            <a:custGeom>
              <a:avLst/>
              <a:gdLst>
                <a:gd name="T0" fmla="*/ 0 w 15"/>
                <a:gd name="T1" fmla="*/ 9 h 10"/>
                <a:gd name="T2" fmla="*/ 0 w 15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0">
                  <a:moveTo>
                    <a:pt x="0" y="9"/>
                  </a:moveTo>
                  <a:cubicBezTo>
                    <a:pt x="14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6" name="Freeform 884"/>
            <p:cNvSpPr>
              <a:spLocks noChangeArrowheads="1"/>
            </p:cNvSpPr>
            <p:nvPr/>
          </p:nvSpPr>
          <p:spPr bwMode="auto">
            <a:xfrm>
              <a:off x="3951288" y="2716213"/>
              <a:ext cx="4762" cy="3175"/>
            </a:xfrm>
            <a:custGeom>
              <a:avLst/>
              <a:gdLst>
                <a:gd name="T0" fmla="*/ 0 w 13"/>
                <a:gd name="T1" fmla="*/ 9 h 10"/>
                <a:gd name="T2" fmla="*/ 0 w 13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9"/>
                  </a:moveTo>
                  <a:cubicBezTo>
                    <a:pt x="12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7" name="Freeform 885"/>
            <p:cNvSpPr>
              <a:spLocks noChangeArrowheads="1"/>
            </p:cNvSpPr>
            <p:nvPr/>
          </p:nvSpPr>
          <p:spPr bwMode="auto">
            <a:xfrm>
              <a:off x="3905250" y="2722563"/>
              <a:ext cx="3175" cy="7937"/>
            </a:xfrm>
            <a:custGeom>
              <a:avLst/>
              <a:gdLst>
                <a:gd name="T0" fmla="*/ 0 w 10"/>
                <a:gd name="T1" fmla="*/ 12 h 21"/>
                <a:gd name="T2" fmla="*/ 0 w 10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12"/>
                  </a:moveTo>
                  <a:cubicBezTo>
                    <a:pt x="9" y="20"/>
                    <a:pt x="3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8" name="Freeform 886"/>
            <p:cNvSpPr>
              <a:spLocks noChangeArrowheads="1"/>
            </p:cNvSpPr>
            <p:nvPr/>
          </p:nvSpPr>
          <p:spPr bwMode="auto">
            <a:xfrm>
              <a:off x="3922713" y="2722563"/>
              <a:ext cx="4762" cy="4762"/>
            </a:xfrm>
            <a:custGeom>
              <a:avLst/>
              <a:gdLst>
                <a:gd name="T0" fmla="*/ 9 w 15"/>
                <a:gd name="T1" fmla="*/ 14 h 15"/>
                <a:gd name="T2" fmla="*/ 0 w 15"/>
                <a:gd name="T3" fmla="*/ 3 h 15"/>
                <a:gd name="T4" fmla="*/ 9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14"/>
                  </a:moveTo>
                  <a:cubicBezTo>
                    <a:pt x="14" y="9"/>
                    <a:pt x="6" y="0"/>
                    <a:pt x="0" y="3"/>
                  </a:cubicBezTo>
                  <a:cubicBezTo>
                    <a:pt x="0" y="9"/>
                    <a:pt x="3" y="12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29" name="Freeform 887"/>
            <p:cNvSpPr>
              <a:spLocks noChangeArrowheads="1"/>
            </p:cNvSpPr>
            <p:nvPr/>
          </p:nvSpPr>
          <p:spPr bwMode="auto">
            <a:xfrm>
              <a:off x="3878263" y="2727325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0" name="Freeform 888"/>
            <p:cNvSpPr>
              <a:spLocks noChangeArrowheads="1"/>
            </p:cNvSpPr>
            <p:nvPr/>
          </p:nvSpPr>
          <p:spPr bwMode="auto">
            <a:xfrm>
              <a:off x="3946525" y="2719388"/>
              <a:ext cx="4763" cy="3175"/>
            </a:xfrm>
            <a:custGeom>
              <a:avLst/>
              <a:gdLst>
                <a:gd name="T0" fmla="*/ 0 w 12"/>
                <a:gd name="T1" fmla="*/ 6 h 9"/>
                <a:gd name="T2" fmla="*/ 0 w 12"/>
                <a:gd name="T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6"/>
                  </a:moveTo>
                  <a:cubicBezTo>
                    <a:pt x="11" y="8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1" name="Freeform 889"/>
            <p:cNvSpPr>
              <a:spLocks noChangeArrowheads="1"/>
            </p:cNvSpPr>
            <p:nvPr/>
          </p:nvSpPr>
          <p:spPr bwMode="auto">
            <a:xfrm>
              <a:off x="3863975" y="2732088"/>
              <a:ext cx="1588" cy="1587"/>
            </a:xfrm>
            <a:custGeom>
              <a:avLst/>
              <a:gdLst>
                <a:gd name="T0" fmla="*/ 0 w 3"/>
                <a:gd name="T1" fmla="*/ 2 h 3"/>
                <a:gd name="T2" fmla="*/ 0 w 3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2" y="2"/>
                    <a:pt x="0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2" name="Freeform 890"/>
            <p:cNvSpPr>
              <a:spLocks noChangeArrowheads="1"/>
            </p:cNvSpPr>
            <p:nvPr/>
          </p:nvSpPr>
          <p:spPr bwMode="auto">
            <a:xfrm>
              <a:off x="3897313" y="2727325"/>
              <a:ext cx="4762" cy="3175"/>
            </a:xfrm>
            <a:custGeom>
              <a:avLst/>
              <a:gdLst>
                <a:gd name="T0" fmla="*/ 0 w 12"/>
                <a:gd name="T1" fmla="*/ 5 h 9"/>
                <a:gd name="T2" fmla="*/ 0 w 12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11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3" name="Freeform 891"/>
            <p:cNvSpPr>
              <a:spLocks noChangeArrowheads="1"/>
            </p:cNvSpPr>
            <p:nvPr/>
          </p:nvSpPr>
          <p:spPr bwMode="auto">
            <a:xfrm>
              <a:off x="3951288" y="2720975"/>
              <a:ext cx="7937" cy="4763"/>
            </a:xfrm>
            <a:custGeom>
              <a:avLst/>
              <a:gdLst>
                <a:gd name="T0" fmla="*/ 9 w 21"/>
                <a:gd name="T1" fmla="*/ 14 h 15"/>
                <a:gd name="T2" fmla="*/ 9 w 21"/>
                <a:gd name="T3" fmla="*/ 0 h 15"/>
                <a:gd name="T4" fmla="*/ 9 w 21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5">
                  <a:moveTo>
                    <a:pt x="9" y="14"/>
                  </a:moveTo>
                  <a:cubicBezTo>
                    <a:pt x="9" y="8"/>
                    <a:pt x="20" y="3"/>
                    <a:pt x="9" y="0"/>
                  </a:cubicBezTo>
                  <a:cubicBezTo>
                    <a:pt x="14" y="8"/>
                    <a:pt x="0" y="11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4" name="Freeform 892"/>
            <p:cNvSpPr>
              <a:spLocks noChangeArrowheads="1"/>
            </p:cNvSpPr>
            <p:nvPr/>
          </p:nvSpPr>
          <p:spPr bwMode="auto">
            <a:xfrm>
              <a:off x="3881438" y="2728913"/>
              <a:ext cx="4762" cy="3175"/>
            </a:xfrm>
            <a:custGeom>
              <a:avLst/>
              <a:gdLst>
                <a:gd name="T0" fmla="*/ 0 w 13"/>
                <a:gd name="T1" fmla="*/ 6 h 10"/>
                <a:gd name="T2" fmla="*/ 0 w 13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6"/>
                  </a:moveTo>
                  <a:cubicBezTo>
                    <a:pt x="12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5" name="Freeform 893"/>
            <p:cNvSpPr>
              <a:spLocks noChangeArrowheads="1"/>
            </p:cNvSpPr>
            <p:nvPr/>
          </p:nvSpPr>
          <p:spPr bwMode="auto">
            <a:xfrm>
              <a:off x="3894138" y="2728913"/>
              <a:ext cx="4762" cy="3175"/>
            </a:xfrm>
            <a:custGeom>
              <a:avLst/>
              <a:gdLst>
                <a:gd name="T0" fmla="*/ 9 w 13"/>
                <a:gd name="T1" fmla="*/ 0 h 10"/>
                <a:gd name="T2" fmla="*/ 0 w 13"/>
                <a:gd name="T3" fmla="*/ 9 h 10"/>
                <a:gd name="T4" fmla="*/ 9 w 13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9" y="0"/>
                  </a:moveTo>
                  <a:cubicBezTo>
                    <a:pt x="0" y="0"/>
                    <a:pt x="0" y="6"/>
                    <a:pt x="0" y="9"/>
                  </a:cubicBezTo>
                  <a:cubicBezTo>
                    <a:pt x="9" y="9"/>
                    <a:pt x="12" y="6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6" name="Freeform 894"/>
            <p:cNvSpPr>
              <a:spLocks noChangeArrowheads="1"/>
            </p:cNvSpPr>
            <p:nvPr/>
          </p:nvSpPr>
          <p:spPr bwMode="auto">
            <a:xfrm>
              <a:off x="3929063" y="2722563"/>
              <a:ext cx="3175" cy="7937"/>
            </a:xfrm>
            <a:custGeom>
              <a:avLst/>
              <a:gdLst>
                <a:gd name="T0" fmla="*/ 0 w 9"/>
                <a:gd name="T1" fmla="*/ 9 h 21"/>
                <a:gd name="T2" fmla="*/ 0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0" y="9"/>
                  </a:moveTo>
                  <a:cubicBezTo>
                    <a:pt x="8" y="20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7" name="Freeform 895"/>
            <p:cNvSpPr>
              <a:spLocks noChangeArrowheads="1"/>
            </p:cNvSpPr>
            <p:nvPr/>
          </p:nvSpPr>
          <p:spPr bwMode="auto">
            <a:xfrm>
              <a:off x="3917950" y="2725738"/>
              <a:ext cx="4763" cy="6350"/>
            </a:xfrm>
            <a:custGeom>
              <a:avLst/>
              <a:gdLst>
                <a:gd name="T0" fmla="*/ 0 w 12"/>
                <a:gd name="T1" fmla="*/ 5 h 18"/>
                <a:gd name="T2" fmla="*/ 0 w 12"/>
                <a:gd name="T3" fmla="*/ 14 h 18"/>
                <a:gd name="T4" fmla="*/ 0 w 12"/>
                <a:gd name="T5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8">
                  <a:moveTo>
                    <a:pt x="0" y="5"/>
                  </a:moveTo>
                  <a:lnTo>
                    <a:pt x="0" y="14"/>
                  </a:lnTo>
                  <a:cubicBezTo>
                    <a:pt x="11" y="17"/>
                    <a:pt x="9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8" name="Freeform 896"/>
            <p:cNvSpPr>
              <a:spLocks noChangeArrowheads="1"/>
            </p:cNvSpPr>
            <p:nvPr/>
          </p:nvSpPr>
          <p:spPr bwMode="auto">
            <a:xfrm>
              <a:off x="3963988" y="2719388"/>
              <a:ext cx="3175" cy="6350"/>
            </a:xfrm>
            <a:custGeom>
              <a:avLst/>
              <a:gdLst>
                <a:gd name="T0" fmla="*/ 8 w 9"/>
                <a:gd name="T1" fmla="*/ 8 h 18"/>
                <a:gd name="T2" fmla="*/ 8 w 9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8"/>
                  </a:moveTo>
                  <a:cubicBezTo>
                    <a:pt x="0" y="0"/>
                    <a:pt x="3" y="17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39" name="Freeform 897"/>
            <p:cNvSpPr>
              <a:spLocks noChangeArrowheads="1"/>
            </p:cNvSpPr>
            <p:nvPr/>
          </p:nvSpPr>
          <p:spPr bwMode="auto">
            <a:xfrm>
              <a:off x="3868738" y="2732088"/>
              <a:ext cx="4762" cy="7937"/>
            </a:xfrm>
            <a:custGeom>
              <a:avLst/>
              <a:gdLst>
                <a:gd name="T0" fmla="*/ 14 w 15"/>
                <a:gd name="T1" fmla="*/ 8 h 20"/>
                <a:gd name="T2" fmla="*/ 14 w 15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0">
                  <a:moveTo>
                    <a:pt x="14" y="8"/>
                  </a:moveTo>
                  <a:cubicBezTo>
                    <a:pt x="0" y="0"/>
                    <a:pt x="5" y="19"/>
                    <a:pt x="1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0" name="Freeform 898"/>
            <p:cNvSpPr>
              <a:spLocks noChangeArrowheads="1"/>
            </p:cNvSpPr>
            <p:nvPr/>
          </p:nvSpPr>
          <p:spPr bwMode="auto">
            <a:xfrm>
              <a:off x="3897313" y="2732088"/>
              <a:ext cx="1587" cy="1587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2" y="3"/>
                    <a:pt x="0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1" name="Freeform 899"/>
            <p:cNvSpPr>
              <a:spLocks noChangeArrowheads="1"/>
            </p:cNvSpPr>
            <p:nvPr/>
          </p:nvSpPr>
          <p:spPr bwMode="auto">
            <a:xfrm>
              <a:off x="3905250" y="2728913"/>
              <a:ext cx="4763" cy="3175"/>
            </a:xfrm>
            <a:custGeom>
              <a:avLst/>
              <a:gdLst>
                <a:gd name="T0" fmla="*/ 0 w 13"/>
                <a:gd name="T1" fmla="*/ 0 h 7"/>
                <a:gd name="T2" fmla="*/ 12 w 13"/>
                <a:gd name="T3" fmla="*/ 6 h 7"/>
                <a:gd name="T4" fmla="*/ 0 w 13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0" y="0"/>
                  </a:moveTo>
                  <a:cubicBezTo>
                    <a:pt x="0" y="6"/>
                    <a:pt x="6" y="6"/>
                    <a:pt x="12" y="6"/>
                  </a:cubicBezTo>
                  <a:cubicBezTo>
                    <a:pt x="12" y="0"/>
                    <a:pt x="6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2" name="Freeform 900"/>
            <p:cNvSpPr>
              <a:spLocks noChangeArrowheads="1"/>
            </p:cNvSpPr>
            <p:nvPr/>
          </p:nvSpPr>
          <p:spPr bwMode="auto">
            <a:xfrm>
              <a:off x="3863975" y="2735263"/>
              <a:ext cx="3175" cy="6350"/>
            </a:xfrm>
            <a:custGeom>
              <a:avLst/>
              <a:gdLst>
                <a:gd name="T0" fmla="*/ 0 w 7"/>
                <a:gd name="T1" fmla="*/ 8 h 18"/>
                <a:gd name="T2" fmla="*/ 0 w 7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8"/>
                  </a:moveTo>
                  <a:cubicBezTo>
                    <a:pt x="6" y="17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3" name="Freeform 901"/>
            <p:cNvSpPr>
              <a:spLocks noChangeArrowheads="1"/>
            </p:cNvSpPr>
            <p:nvPr/>
          </p:nvSpPr>
          <p:spPr bwMode="auto">
            <a:xfrm>
              <a:off x="3895725" y="2732088"/>
              <a:ext cx="4763" cy="4762"/>
            </a:xfrm>
            <a:custGeom>
              <a:avLst/>
              <a:gdLst>
                <a:gd name="T0" fmla="*/ 0 w 12"/>
                <a:gd name="T1" fmla="*/ 8 h 12"/>
                <a:gd name="T2" fmla="*/ 0 w 12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0" y="8"/>
                  </a:moveTo>
                  <a:cubicBezTo>
                    <a:pt x="11" y="11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4" name="Freeform 902"/>
            <p:cNvSpPr>
              <a:spLocks noChangeArrowheads="1"/>
            </p:cNvSpPr>
            <p:nvPr/>
          </p:nvSpPr>
          <p:spPr bwMode="auto">
            <a:xfrm>
              <a:off x="3902075" y="2732088"/>
              <a:ext cx="4763" cy="4762"/>
            </a:xfrm>
            <a:custGeom>
              <a:avLst/>
              <a:gdLst>
                <a:gd name="T0" fmla="*/ 0 w 15"/>
                <a:gd name="T1" fmla="*/ 8 h 15"/>
                <a:gd name="T2" fmla="*/ 14 w 15"/>
                <a:gd name="T3" fmla="*/ 14 h 15"/>
                <a:gd name="T4" fmla="*/ 0 w 15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0" y="8"/>
                  </a:moveTo>
                  <a:cubicBezTo>
                    <a:pt x="5" y="11"/>
                    <a:pt x="8" y="14"/>
                    <a:pt x="14" y="14"/>
                  </a:cubicBezTo>
                  <a:cubicBezTo>
                    <a:pt x="11" y="8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5" name="Freeform 903"/>
            <p:cNvSpPr>
              <a:spLocks noChangeArrowheads="1"/>
            </p:cNvSpPr>
            <p:nvPr/>
          </p:nvSpPr>
          <p:spPr bwMode="auto">
            <a:xfrm>
              <a:off x="3948113" y="2728913"/>
              <a:ext cx="1587" cy="1587"/>
            </a:xfrm>
            <a:custGeom>
              <a:avLst/>
              <a:gdLst>
                <a:gd name="T0" fmla="*/ 0 w 3"/>
                <a:gd name="T1" fmla="*/ 3 h 4"/>
                <a:gd name="T2" fmla="*/ 0 w 3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0" y="3"/>
                  </a:moveTo>
                  <a:cubicBezTo>
                    <a:pt x="2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6" name="Freeform 904"/>
            <p:cNvSpPr>
              <a:spLocks noChangeArrowheads="1"/>
            </p:cNvSpPr>
            <p:nvPr/>
          </p:nvSpPr>
          <p:spPr bwMode="auto">
            <a:xfrm>
              <a:off x="3919538" y="2733675"/>
              <a:ext cx="4762" cy="4763"/>
            </a:xfrm>
            <a:custGeom>
              <a:avLst/>
              <a:gdLst>
                <a:gd name="T0" fmla="*/ 14 w 15"/>
                <a:gd name="T1" fmla="*/ 0 h 15"/>
                <a:gd name="T2" fmla="*/ 0 w 15"/>
                <a:gd name="T3" fmla="*/ 6 h 15"/>
                <a:gd name="T4" fmla="*/ 0 w 15"/>
                <a:gd name="T5" fmla="*/ 14 h 15"/>
                <a:gd name="T6" fmla="*/ 14 w 15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14" y="0"/>
                  </a:moveTo>
                  <a:cubicBezTo>
                    <a:pt x="8" y="0"/>
                    <a:pt x="3" y="0"/>
                    <a:pt x="0" y="6"/>
                  </a:cubicBezTo>
                  <a:lnTo>
                    <a:pt x="0" y="14"/>
                  </a:lnTo>
                  <a:cubicBezTo>
                    <a:pt x="5" y="14"/>
                    <a:pt x="14" y="9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7" name="Freeform 905"/>
            <p:cNvSpPr>
              <a:spLocks noChangeArrowheads="1"/>
            </p:cNvSpPr>
            <p:nvPr/>
          </p:nvSpPr>
          <p:spPr bwMode="auto">
            <a:xfrm>
              <a:off x="3956050" y="2727325"/>
              <a:ext cx="4763" cy="3175"/>
            </a:xfrm>
            <a:custGeom>
              <a:avLst/>
              <a:gdLst>
                <a:gd name="T0" fmla="*/ 0 w 12"/>
                <a:gd name="T1" fmla="*/ 6 h 10"/>
                <a:gd name="T2" fmla="*/ 3 w 12"/>
                <a:gd name="T3" fmla="*/ 9 h 10"/>
                <a:gd name="T4" fmla="*/ 9 w 12"/>
                <a:gd name="T5" fmla="*/ 9 h 10"/>
                <a:gd name="T6" fmla="*/ 0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3" y="6"/>
                    <a:pt x="3" y="6"/>
                    <a:pt x="3" y="9"/>
                  </a:cubicBezTo>
                  <a:lnTo>
                    <a:pt x="9" y="9"/>
                  </a:lnTo>
                  <a:cubicBezTo>
                    <a:pt x="11" y="0"/>
                    <a:pt x="0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8" name="Freeform 906"/>
            <p:cNvSpPr>
              <a:spLocks noChangeArrowheads="1"/>
            </p:cNvSpPr>
            <p:nvPr/>
          </p:nvSpPr>
          <p:spPr bwMode="auto">
            <a:xfrm>
              <a:off x="3871913" y="2740025"/>
              <a:ext cx="4762" cy="4763"/>
            </a:xfrm>
            <a:custGeom>
              <a:avLst/>
              <a:gdLst>
                <a:gd name="T0" fmla="*/ 14 w 15"/>
                <a:gd name="T1" fmla="*/ 9 h 15"/>
                <a:gd name="T2" fmla="*/ 0 w 15"/>
                <a:gd name="T3" fmla="*/ 0 h 15"/>
                <a:gd name="T4" fmla="*/ 14 w 15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9"/>
                  </a:moveTo>
                  <a:cubicBezTo>
                    <a:pt x="11" y="6"/>
                    <a:pt x="6" y="0"/>
                    <a:pt x="0" y="0"/>
                  </a:cubicBezTo>
                  <a:cubicBezTo>
                    <a:pt x="0" y="6"/>
                    <a:pt x="11" y="14"/>
                    <a:pt x="1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49" name="Freeform 907"/>
            <p:cNvSpPr>
              <a:spLocks noChangeArrowheads="1"/>
            </p:cNvSpPr>
            <p:nvPr/>
          </p:nvSpPr>
          <p:spPr bwMode="auto">
            <a:xfrm>
              <a:off x="3865563" y="2741613"/>
              <a:ext cx="4762" cy="3175"/>
            </a:xfrm>
            <a:custGeom>
              <a:avLst/>
              <a:gdLst>
                <a:gd name="T0" fmla="*/ 14 w 15"/>
                <a:gd name="T1" fmla="*/ 3 h 9"/>
                <a:gd name="T2" fmla="*/ 0 w 15"/>
                <a:gd name="T3" fmla="*/ 8 h 9"/>
                <a:gd name="T4" fmla="*/ 14 w 15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3"/>
                  </a:moveTo>
                  <a:cubicBezTo>
                    <a:pt x="9" y="0"/>
                    <a:pt x="3" y="3"/>
                    <a:pt x="0" y="8"/>
                  </a:cubicBezTo>
                  <a:cubicBezTo>
                    <a:pt x="3" y="6"/>
                    <a:pt x="14" y="8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0" name="Freeform 908"/>
            <p:cNvSpPr>
              <a:spLocks noChangeArrowheads="1"/>
            </p:cNvSpPr>
            <p:nvPr/>
          </p:nvSpPr>
          <p:spPr bwMode="auto">
            <a:xfrm>
              <a:off x="3879850" y="2740025"/>
              <a:ext cx="3175" cy="6350"/>
            </a:xfrm>
            <a:custGeom>
              <a:avLst/>
              <a:gdLst>
                <a:gd name="T0" fmla="*/ 3 w 9"/>
                <a:gd name="T1" fmla="*/ 0 h 18"/>
                <a:gd name="T2" fmla="*/ 0 w 9"/>
                <a:gd name="T3" fmla="*/ 17 h 18"/>
                <a:gd name="T4" fmla="*/ 3 w 9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8">
                  <a:moveTo>
                    <a:pt x="3" y="0"/>
                  </a:moveTo>
                  <a:cubicBezTo>
                    <a:pt x="0" y="3"/>
                    <a:pt x="3" y="11"/>
                    <a:pt x="0" y="17"/>
                  </a:cubicBezTo>
                  <a:cubicBezTo>
                    <a:pt x="5" y="17"/>
                    <a:pt x="8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1" name="Freeform 909"/>
            <p:cNvSpPr>
              <a:spLocks noChangeArrowheads="1"/>
            </p:cNvSpPr>
            <p:nvPr/>
          </p:nvSpPr>
          <p:spPr bwMode="auto">
            <a:xfrm>
              <a:off x="3894138" y="2738438"/>
              <a:ext cx="4762" cy="3175"/>
            </a:xfrm>
            <a:custGeom>
              <a:avLst/>
              <a:gdLst>
                <a:gd name="T0" fmla="*/ 14 w 15"/>
                <a:gd name="T1" fmla="*/ 0 h 9"/>
                <a:gd name="T2" fmla="*/ 14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4" y="0"/>
                  </a:moveTo>
                  <a:cubicBezTo>
                    <a:pt x="0" y="0"/>
                    <a:pt x="11" y="8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2" name="Freeform 910"/>
            <p:cNvSpPr>
              <a:spLocks noChangeArrowheads="1"/>
            </p:cNvSpPr>
            <p:nvPr/>
          </p:nvSpPr>
          <p:spPr bwMode="auto">
            <a:xfrm>
              <a:off x="3937000" y="2733675"/>
              <a:ext cx="3175" cy="3175"/>
            </a:xfrm>
            <a:custGeom>
              <a:avLst/>
              <a:gdLst>
                <a:gd name="T0" fmla="*/ 0 w 9"/>
                <a:gd name="T1" fmla="*/ 3 h 10"/>
                <a:gd name="T2" fmla="*/ 0 w 9"/>
                <a:gd name="T3" fmla="*/ 9 h 10"/>
                <a:gd name="T4" fmla="*/ 8 w 9"/>
                <a:gd name="T5" fmla="*/ 9 h 10"/>
                <a:gd name="T6" fmla="*/ 0 w 9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3"/>
                  </a:moveTo>
                  <a:lnTo>
                    <a:pt x="0" y="9"/>
                  </a:lnTo>
                  <a:lnTo>
                    <a:pt x="8" y="9"/>
                  </a:lnTo>
                  <a:cubicBezTo>
                    <a:pt x="8" y="3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3" name="Freeform 911"/>
            <p:cNvSpPr>
              <a:spLocks noChangeArrowheads="1"/>
            </p:cNvSpPr>
            <p:nvPr/>
          </p:nvSpPr>
          <p:spPr bwMode="auto">
            <a:xfrm>
              <a:off x="3856038" y="2743200"/>
              <a:ext cx="4762" cy="6350"/>
            </a:xfrm>
            <a:custGeom>
              <a:avLst/>
              <a:gdLst>
                <a:gd name="T0" fmla="*/ 0 w 12"/>
                <a:gd name="T1" fmla="*/ 11 h 18"/>
                <a:gd name="T2" fmla="*/ 0 w 12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0" y="11"/>
                  </a:moveTo>
                  <a:cubicBezTo>
                    <a:pt x="11" y="17"/>
                    <a:pt x="8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4" name="Freeform 912"/>
            <p:cNvSpPr>
              <a:spLocks noChangeArrowheads="1"/>
            </p:cNvSpPr>
            <p:nvPr/>
          </p:nvSpPr>
          <p:spPr bwMode="auto">
            <a:xfrm>
              <a:off x="3902075" y="2738438"/>
              <a:ext cx="4763" cy="3175"/>
            </a:xfrm>
            <a:custGeom>
              <a:avLst/>
              <a:gdLst>
                <a:gd name="T0" fmla="*/ 3 w 12"/>
                <a:gd name="T1" fmla="*/ 8 h 9"/>
                <a:gd name="T2" fmla="*/ 3 w 12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3" y="8"/>
                  </a:moveTo>
                  <a:cubicBezTo>
                    <a:pt x="11" y="8"/>
                    <a:pt x="0" y="0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5" name="Freeform 913"/>
            <p:cNvSpPr>
              <a:spLocks noChangeArrowheads="1"/>
            </p:cNvSpPr>
            <p:nvPr/>
          </p:nvSpPr>
          <p:spPr bwMode="auto">
            <a:xfrm>
              <a:off x="3913188" y="2738438"/>
              <a:ext cx="3175" cy="4762"/>
            </a:xfrm>
            <a:custGeom>
              <a:avLst/>
              <a:gdLst>
                <a:gd name="T0" fmla="*/ 0 w 9"/>
                <a:gd name="T1" fmla="*/ 2 h 12"/>
                <a:gd name="T2" fmla="*/ 8 w 9"/>
                <a:gd name="T3" fmla="*/ 8 h 12"/>
                <a:gd name="T4" fmla="*/ 0 w 9"/>
                <a:gd name="T5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0" y="2"/>
                  </a:moveTo>
                  <a:cubicBezTo>
                    <a:pt x="0" y="8"/>
                    <a:pt x="3" y="11"/>
                    <a:pt x="8" y="8"/>
                  </a:cubicBezTo>
                  <a:cubicBezTo>
                    <a:pt x="8" y="2"/>
                    <a:pt x="6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6" name="Freeform 914"/>
            <p:cNvSpPr>
              <a:spLocks noChangeArrowheads="1"/>
            </p:cNvSpPr>
            <p:nvPr/>
          </p:nvSpPr>
          <p:spPr bwMode="auto">
            <a:xfrm>
              <a:off x="3925888" y="2735263"/>
              <a:ext cx="4762" cy="3175"/>
            </a:xfrm>
            <a:custGeom>
              <a:avLst/>
              <a:gdLst>
                <a:gd name="T0" fmla="*/ 0 w 15"/>
                <a:gd name="T1" fmla="*/ 6 h 9"/>
                <a:gd name="T2" fmla="*/ 8 w 15"/>
                <a:gd name="T3" fmla="*/ 8 h 9"/>
                <a:gd name="T4" fmla="*/ 0 w 15"/>
                <a:gd name="T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6"/>
                  </a:moveTo>
                  <a:cubicBezTo>
                    <a:pt x="0" y="6"/>
                    <a:pt x="8" y="6"/>
                    <a:pt x="8" y="8"/>
                  </a:cubicBezTo>
                  <a:cubicBezTo>
                    <a:pt x="14" y="0"/>
                    <a:pt x="0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7" name="Freeform 915"/>
            <p:cNvSpPr>
              <a:spLocks noChangeArrowheads="1"/>
            </p:cNvSpPr>
            <p:nvPr/>
          </p:nvSpPr>
          <p:spPr bwMode="auto">
            <a:xfrm>
              <a:off x="3962400" y="2732088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6 w 7"/>
                <a:gd name="T3" fmla="*/ 0 h 6"/>
                <a:gd name="T4" fmla="*/ 0 w 7"/>
                <a:gd name="T5" fmla="*/ 0 h 6"/>
                <a:gd name="T6" fmla="*/ 0 w 7"/>
                <a:gd name="T7" fmla="*/ 5 h 6"/>
                <a:gd name="T8" fmla="*/ 6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8" name="Freeform 916"/>
            <p:cNvSpPr>
              <a:spLocks noChangeArrowheads="1"/>
            </p:cNvSpPr>
            <p:nvPr/>
          </p:nvSpPr>
          <p:spPr bwMode="auto">
            <a:xfrm>
              <a:off x="3892550" y="2744788"/>
              <a:ext cx="1588" cy="3175"/>
            </a:xfrm>
            <a:custGeom>
              <a:avLst/>
              <a:gdLst>
                <a:gd name="T0" fmla="*/ 5 w 6"/>
                <a:gd name="T1" fmla="*/ 6 h 7"/>
                <a:gd name="T2" fmla="*/ 5 w 6"/>
                <a:gd name="T3" fmla="*/ 0 h 7"/>
                <a:gd name="T4" fmla="*/ 0 w 6"/>
                <a:gd name="T5" fmla="*/ 0 h 7"/>
                <a:gd name="T6" fmla="*/ 0 w 6"/>
                <a:gd name="T7" fmla="*/ 6 h 7"/>
                <a:gd name="T8" fmla="*/ 5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6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59" name="Freeform 917"/>
            <p:cNvSpPr>
              <a:spLocks noChangeArrowheads="1"/>
            </p:cNvSpPr>
            <p:nvPr/>
          </p:nvSpPr>
          <p:spPr bwMode="auto">
            <a:xfrm>
              <a:off x="3933825" y="2740025"/>
              <a:ext cx="4763" cy="4763"/>
            </a:xfrm>
            <a:custGeom>
              <a:avLst/>
              <a:gdLst>
                <a:gd name="T0" fmla="*/ 0 w 13"/>
                <a:gd name="T1" fmla="*/ 0 h 15"/>
                <a:gd name="T2" fmla="*/ 0 w 13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0"/>
                  </a:moveTo>
                  <a:cubicBezTo>
                    <a:pt x="3" y="14"/>
                    <a:pt x="12" y="3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0" name="Freeform 918"/>
            <p:cNvSpPr>
              <a:spLocks noChangeArrowheads="1"/>
            </p:cNvSpPr>
            <p:nvPr/>
          </p:nvSpPr>
          <p:spPr bwMode="auto">
            <a:xfrm>
              <a:off x="3919538" y="2740025"/>
              <a:ext cx="4762" cy="6350"/>
            </a:xfrm>
            <a:custGeom>
              <a:avLst/>
              <a:gdLst>
                <a:gd name="T0" fmla="*/ 5 w 15"/>
                <a:gd name="T1" fmla="*/ 9 h 18"/>
                <a:gd name="T2" fmla="*/ 5 w 15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5" y="9"/>
                  </a:moveTo>
                  <a:cubicBezTo>
                    <a:pt x="0" y="17"/>
                    <a:pt x="14" y="0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1" name="Freeform 919"/>
            <p:cNvSpPr>
              <a:spLocks noChangeArrowheads="1"/>
            </p:cNvSpPr>
            <p:nvPr/>
          </p:nvSpPr>
          <p:spPr bwMode="auto">
            <a:xfrm>
              <a:off x="3925888" y="2740025"/>
              <a:ext cx="3175" cy="4763"/>
            </a:xfrm>
            <a:custGeom>
              <a:avLst/>
              <a:gdLst>
                <a:gd name="T0" fmla="*/ 8 w 9"/>
                <a:gd name="T1" fmla="*/ 6 h 15"/>
                <a:gd name="T2" fmla="*/ 3 w 9"/>
                <a:gd name="T3" fmla="*/ 0 h 15"/>
                <a:gd name="T4" fmla="*/ 8 w 9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8" y="6"/>
                  </a:moveTo>
                  <a:cubicBezTo>
                    <a:pt x="5" y="6"/>
                    <a:pt x="5" y="3"/>
                    <a:pt x="3" y="0"/>
                  </a:cubicBezTo>
                  <a:cubicBezTo>
                    <a:pt x="0" y="9"/>
                    <a:pt x="8" y="14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2" name="Freeform 920"/>
            <p:cNvSpPr>
              <a:spLocks noChangeArrowheads="1"/>
            </p:cNvSpPr>
            <p:nvPr/>
          </p:nvSpPr>
          <p:spPr bwMode="auto">
            <a:xfrm>
              <a:off x="3886200" y="2747963"/>
              <a:ext cx="3175" cy="1587"/>
            </a:xfrm>
            <a:custGeom>
              <a:avLst/>
              <a:gdLst>
                <a:gd name="T0" fmla="*/ 3 w 7"/>
                <a:gd name="T1" fmla="*/ 0 h 4"/>
                <a:gd name="T2" fmla="*/ 3 w 7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3" y="0"/>
                  </a:moveTo>
                  <a:cubicBezTo>
                    <a:pt x="6" y="3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3" name="Freeform 921"/>
            <p:cNvSpPr>
              <a:spLocks noChangeArrowheads="1"/>
            </p:cNvSpPr>
            <p:nvPr/>
          </p:nvSpPr>
          <p:spPr bwMode="auto">
            <a:xfrm>
              <a:off x="3956050" y="2738438"/>
              <a:ext cx="4763" cy="4762"/>
            </a:xfrm>
            <a:custGeom>
              <a:avLst/>
              <a:gdLst>
                <a:gd name="T0" fmla="*/ 0 w 15"/>
                <a:gd name="T1" fmla="*/ 5 h 12"/>
                <a:gd name="T2" fmla="*/ 14 w 15"/>
                <a:gd name="T3" fmla="*/ 2 h 12"/>
                <a:gd name="T4" fmla="*/ 0 w 15"/>
                <a:gd name="T5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0" y="5"/>
                  </a:moveTo>
                  <a:cubicBezTo>
                    <a:pt x="3" y="5"/>
                    <a:pt x="14" y="11"/>
                    <a:pt x="14" y="2"/>
                  </a:cubicBezTo>
                  <a:cubicBezTo>
                    <a:pt x="12" y="2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4" name="Freeform 922"/>
            <p:cNvSpPr>
              <a:spLocks noChangeArrowheads="1"/>
            </p:cNvSpPr>
            <p:nvPr/>
          </p:nvSpPr>
          <p:spPr bwMode="auto">
            <a:xfrm>
              <a:off x="3881438" y="2749550"/>
              <a:ext cx="6350" cy="3175"/>
            </a:xfrm>
            <a:custGeom>
              <a:avLst/>
              <a:gdLst>
                <a:gd name="T0" fmla="*/ 16 w 17"/>
                <a:gd name="T1" fmla="*/ 3 h 9"/>
                <a:gd name="T2" fmla="*/ 2 w 17"/>
                <a:gd name="T3" fmla="*/ 0 h 9"/>
                <a:gd name="T4" fmla="*/ 16 w 17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9">
                  <a:moveTo>
                    <a:pt x="16" y="3"/>
                  </a:moveTo>
                  <a:cubicBezTo>
                    <a:pt x="11" y="3"/>
                    <a:pt x="8" y="0"/>
                    <a:pt x="2" y="0"/>
                  </a:cubicBezTo>
                  <a:cubicBezTo>
                    <a:pt x="0" y="5"/>
                    <a:pt x="16" y="8"/>
                    <a:pt x="16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5" name="Freeform 923"/>
            <p:cNvSpPr>
              <a:spLocks noChangeArrowheads="1"/>
            </p:cNvSpPr>
            <p:nvPr/>
          </p:nvSpPr>
          <p:spPr bwMode="auto">
            <a:xfrm>
              <a:off x="3960813" y="2740025"/>
              <a:ext cx="1587" cy="1588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6" name="Freeform 924"/>
            <p:cNvSpPr>
              <a:spLocks noChangeArrowheads="1"/>
            </p:cNvSpPr>
            <p:nvPr/>
          </p:nvSpPr>
          <p:spPr bwMode="auto">
            <a:xfrm>
              <a:off x="3967163" y="2738438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6 h 7"/>
                <a:gd name="T4" fmla="*/ 9 w 10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6" y="6"/>
                    <a:pt x="9" y="3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7" name="Freeform 925"/>
            <p:cNvSpPr>
              <a:spLocks noChangeArrowheads="1"/>
            </p:cNvSpPr>
            <p:nvPr/>
          </p:nvSpPr>
          <p:spPr bwMode="auto">
            <a:xfrm>
              <a:off x="3897313" y="2749550"/>
              <a:ext cx="4762" cy="3175"/>
            </a:xfrm>
            <a:custGeom>
              <a:avLst/>
              <a:gdLst>
                <a:gd name="T0" fmla="*/ 8 w 12"/>
                <a:gd name="T1" fmla="*/ 0 h 9"/>
                <a:gd name="T2" fmla="*/ 0 w 12"/>
                <a:gd name="T3" fmla="*/ 0 h 9"/>
                <a:gd name="T4" fmla="*/ 0 w 12"/>
                <a:gd name="T5" fmla="*/ 8 h 9"/>
                <a:gd name="T6" fmla="*/ 8 w 12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8" y="0"/>
                  </a:moveTo>
                  <a:lnTo>
                    <a:pt x="0" y="0"/>
                  </a:lnTo>
                  <a:lnTo>
                    <a:pt x="0" y="8"/>
                  </a:lnTo>
                  <a:cubicBezTo>
                    <a:pt x="8" y="8"/>
                    <a:pt x="11" y="5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8" name="Freeform 926"/>
            <p:cNvSpPr>
              <a:spLocks noChangeArrowheads="1"/>
            </p:cNvSpPr>
            <p:nvPr/>
          </p:nvSpPr>
          <p:spPr bwMode="auto">
            <a:xfrm>
              <a:off x="3956050" y="2716213"/>
              <a:ext cx="3175" cy="3175"/>
            </a:xfrm>
            <a:custGeom>
              <a:avLst/>
              <a:gdLst>
                <a:gd name="T0" fmla="*/ 6 w 10"/>
                <a:gd name="T1" fmla="*/ 0 h 10"/>
                <a:gd name="T2" fmla="*/ 0 w 10"/>
                <a:gd name="T3" fmla="*/ 3 h 10"/>
                <a:gd name="T4" fmla="*/ 3 w 10"/>
                <a:gd name="T5" fmla="*/ 9 h 10"/>
                <a:gd name="T6" fmla="*/ 6 w 1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6" y="0"/>
                  </a:moveTo>
                  <a:lnTo>
                    <a:pt x="0" y="3"/>
                  </a:lnTo>
                  <a:lnTo>
                    <a:pt x="3" y="9"/>
                  </a:lnTo>
                  <a:cubicBezTo>
                    <a:pt x="9" y="9"/>
                    <a:pt x="9" y="6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69" name="Freeform 927"/>
            <p:cNvSpPr>
              <a:spLocks noChangeArrowheads="1"/>
            </p:cNvSpPr>
            <p:nvPr/>
          </p:nvSpPr>
          <p:spPr bwMode="auto">
            <a:xfrm>
              <a:off x="3949700" y="2727325"/>
              <a:ext cx="6350" cy="4763"/>
            </a:xfrm>
            <a:custGeom>
              <a:avLst/>
              <a:gdLst>
                <a:gd name="T0" fmla="*/ 6 w 18"/>
                <a:gd name="T1" fmla="*/ 0 h 13"/>
                <a:gd name="T2" fmla="*/ 6 w 18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6" y="0"/>
                  </a:moveTo>
                  <a:cubicBezTo>
                    <a:pt x="0" y="12"/>
                    <a:pt x="17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0" name="Freeform 928"/>
            <p:cNvSpPr>
              <a:spLocks noChangeArrowheads="1"/>
            </p:cNvSpPr>
            <p:nvPr/>
          </p:nvSpPr>
          <p:spPr bwMode="auto">
            <a:xfrm>
              <a:off x="3956050" y="2738438"/>
              <a:ext cx="3175" cy="4762"/>
            </a:xfrm>
            <a:custGeom>
              <a:avLst/>
              <a:gdLst>
                <a:gd name="T0" fmla="*/ 0 w 10"/>
                <a:gd name="T1" fmla="*/ 2 h 12"/>
                <a:gd name="T2" fmla="*/ 0 w 10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2">
                  <a:moveTo>
                    <a:pt x="0" y="2"/>
                  </a:moveTo>
                  <a:cubicBezTo>
                    <a:pt x="3" y="11"/>
                    <a:pt x="9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1" name="Freeform 929"/>
            <p:cNvSpPr>
              <a:spLocks noChangeArrowheads="1"/>
            </p:cNvSpPr>
            <p:nvPr/>
          </p:nvSpPr>
          <p:spPr bwMode="auto">
            <a:xfrm>
              <a:off x="3937000" y="2727325"/>
              <a:ext cx="7938" cy="3175"/>
            </a:xfrm>
            <a:custGeom>
              <a:avLst/>
              <a:gdLst>
                <a:gd name="T0" fmla="*/ 11 w 20"/>
                <a:gd name="T1" fmla="*/ 0 h 7"/>
                <a:gd name="T2" fmla="*/ 11 w 20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0" h="7">
                  <a:moveTo>
                    <a:pt x="11" y="0"/>
                  </a:moveTo>
                  <a:cubicBezTo>
                    <a:pt x="0" y="0"/>
                    <a:pt x="19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2" name="Freeform 930"/>
            <p:cNvSpPr>
              <a:spLocks noChangeArrowheads="1"/>
            </p:cNvSpPr>
            <p:nvPr/>
          </p:nvSpPr>
          <p:spPr bwMode="auto">
            <a:xfrm>
              <a:off x="3930650" y="2722563"/>
              <a:ext cx="4763" cy="4762"/>
            </a:xfrm>
            <a:custGeom>
              <a:avLst/>
              <a:gdLst>
                <a:gd name="T0" fmla="*/ 11 w 12"/>
                <a:gd name="T1" fmla="*/ 12 h 15"/>
                <a:gd name="T2" fmla="*/ 8 w 12"/>
                <a:gd name="T3" fmla="*/ 0 h 15"/>
                <a:gd name="T4" fmla="*/ 11 w 12"/>
                <a:gd name="T5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1" y="12"/>
                  </a:moveTo>
                  <a:cubicBezTo>
                    <a:pt x="8" y="9"/>
                    <a:pt x="11" y="6"/>
                    <a:pt x="8" y="0"/>
                  </a:cubicBezTo>
                  <a:cubicBezTo>
                    <a:pt x="0" y="0"/>
                    <a:pt x="8" y="14"/>
                    <a:pt x="11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3" name="Freeform 931"/>
            <p:cNvSpPr>
              <a:spLocks noChangeArrowheads="1"/>
            </p:cNvSpPr>
            <p:nvPr/>
          </p:nvSpPr>
          <p:spPr bwMode="auto">
            <a:xfrm>
              <a:off x="3932238" y="2730500"/>
              <a:ext cx="4762" cy="4763"/>
            </a:xfrm>
            <a:custGeom>
              <a:avLst/>
              <a:gdLst>
                <a:gd name="T0" fmla="*/ 9 w 13"/>
                <a:gd name="T1" fmla="*/ 0 h 12"/>
                <a:gd name="T2" fmla="*/ 9 w 13"/>
                <a:gd name="T3" fmla="*/ 8 h 12"/>
                <a:gd name="T4" fmla="*/ 9 w 13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9" y="0"/>
                  </a:moveTo>
                  <a:cubicBezTo>
                    <a:pt x="0" y="0"/>
                    <a:pt x="6" y="11"/>
                    <a:pt x="9" y="8"/>
                  </a:cubicBezTo>
                  <a:cubicBezTo>
                    <a:pt x="9" y="6"/>
                    <a:pt x="12" y="6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4" name="Freeform 932"/>
            <p:cNvSpPr>
              <a:spLocks noChangeArrowheads="1"/>
            </p:cNvSpPr>
            <p:nvPr/>
          </p:nvSpPr>
          <p:spPr bwMode="auto">
            <a:xfrm>
              <a:off x="3932238" y="2736850"/>
              <a:ext cx="4762" cy="3175"/>
            </a:xfrm>
            <a:custGeom>
              <a:avLst/>
              <a:gdLst>
                <a:gd name="T0" fmla="*/ 11 w 12"/>
                <a:gd name="T1" fmla="*/ 5 h 9"/>
                <a:gd name="T2" fmla="*/ 0 w 12"/>
                <a:gd name="T3" fmla="*/ 0 h 9"/>
                <a:gd name="T4" fmla="*/ 11 w 12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11" y="5"/>
                  </a:moveTo>
                  <a:cubicBezTo>
                    <a:pt x="8" y="0"/>
                    <a:pt x="2" y="0"/>
                    <a:pt x="0" y="0"/>
                  </a:cubicBezTo>
                  <a:cubicBezTo>
                    <a:pt x="2" y="5"/>
                    <a:pt x="5" y="8"/>
                    <a:pt x="11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5" name="Freeform 933"/>
            <p:cNvSpPr>
              <a:spLocks noChangeArrowheads="1"/>
            </p:cNvSpPr>
            <p:nvPr/>
          </p:nvSpPr>
          <p:spPr bwMode="auto">
            <a:xfrm>
              <a:off x="3922713" y="2733675"/>
              <a:ext cx="3175" cy="4763"/>
            </a:xfrm>
            <a:custGeom>
              <a:avLst/>
              <a:gdLst>
                <a:gd name="T0" fmla="*/ 0 w 10"/>
                <a:gd name="T1" fmla="*/ 6 h 15"/>
                <a:gd name="T2" fmla="*/ 0 w 10"/>
                <a:gd name="T3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0" y="6"/>
                  </a:moveTo>
                  <a:cubicBezTo>
                    <a:pt x="3" y="14"/>
                    <a:pt x="9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6" name="Freeform 934"/>
            <p:cNvSpPr>
              <a:spLocks noChangeArrowheads="1"/>
            </p:cNvSpPr>
            <p:nvPr/>
          </p:nvSpPr>
          <p:spPr bwMode="auto">
            <a:xfrm>
              <a:off x="3910013" y="2732088"/>
              <a:ext cx="3175" cy="3175"/>
            </a:xfrm>
            <a:custGeom>
              <a:avLst/>
              <a:gdLst>
                <a:gd name="T0" fmla="*/ 5 w 9"/>
                <a:gd name="T1" fmla="*/ 0 h 9"/>
                <a:gd name="T2" fmla="*/ 0 w 9"/>
                <a:gd name="T3" fmla="*/ 3 h 9"/>
                <a:gd name="T4" fmla="*/ 2 w 9"/>
                <a:gd name="T5" fmla="*/ 8 h 9"/>
                <a:gd name="T6" fmla="*/ 8 w 9"/>
                <a:gd name="T7" fmla="*/ 5 h 9"/>
                <a:gd name="T8" fmla="*/ 5 w 9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lnTo>
                    <a:pt x="0" y="3"/>
                  </a:lnTo>
                  <a:lnTo>
                    <a:pt x="2" y="8"/>
                  </a:lnTo>
                  <a:lnTo>
                    <a:pt x="8" y="5"/>
                  </a:lnTo>
                  <a:lnTo>
                    <a:pt x="5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7" name="Freeform 935"/>
            <p:cNvSpPr>
              <a:spLocks noChangeArrowheads="1"/>
            </p:cNvSpPr>
            <p:nvPr/>
          </p:nvSpPr>
          <p:spPr bwMode="auto">
            <a:xfrm>
              <a:off x="3905250" y="2724150"/>
              <a:ext cx="3175" cy="4763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6 h 15"/>
                <a:gd name="T4" fmla="*/ 3 w 10"/>
                <a:gd name="T5" fmla="*/ 11 h 15"/>
                <a:gd name="T6" fmla="*/ 0 w 10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0" y="6"/>
                    <a:pt x="0" y="6"/>
                    <a:pt x="0" y="6"/>
                  </a:cubicBezTo>
                  <a:lnTo>
                    <a:pt x="3" y="11"/>
                  </a:lnTo>
                  <a:cubicBezTo>
                    <a:pt x="9" y="14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8" name="Freeform 936"/>
            <p:cNvSpPr>
              <a:spLocks noChangeArrowheads="1"/>
            </p:cNvSpPr>
            <p:nvPr/>
          </p:nvSpPr>
          <p:spPr bwMode="auto">
            <a:xfrm>
              <a:off x="3898900" y="2733675"/>
              <a:ext cx="4763" cy="4763"/>
            </a:xfrm>
            <a:custGeom>
              <a:avLst/>
              <a:gdLst>
                <a:gd name="T0" fmla="*/ 12 w 15"/>
                <a:gd name="T1" fmla="*/ 0 h 13"/>
                <a:gd name="T2" fmla="*/ 12 w 15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12" y="0"/>
                  </a:moveTo>
                  <a:cubicBezTo>
                    <a:pt x="0" y="9"/>
                    <a:pt x="14" y="12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79" name="Freeform 937"/>
            <p:cNvSpPr>
              <a:spLocks noChangeArrowheads="1"/>
            </p:cNvSpPr>
            <p:nvPr/>
          </p:nvSpPr>
          <p:spPr bwMode="auto">
            <a:xfrm>
              <a:off x="3900488" y="2732088"/>
              <a:ext cx="3175" cy="4762"/>
            </a:xfrm>
            <a:custGeom>
              <a:avLst/>
              <a:gdLst>
                <a:gd name="T0" fmla="*/ 0 w 7"/>
                <a:gd name="T1" fmla="*/ 3 h 15"/>
                <a:gd name="T2" fmla="*/ 0 w 7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cubicBezTo>
                    <a:pt x="0" y="14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0" name="Freeform 938"/>
            <p:cNvSpPr>
              <a:spLocks noChangeArrowheads="1"/>
            </p:cNvSpPr>
            <p:nvPr/>
          </p:nvSpPr>
          <p:spPr bwMode="auto">
            <a:xfrm>
              <a:off x="3895725" y="2741613"/>
              <a:ext cx="4763" cy="3175"/>
            </a:xfrm>
            <a:custGeom>
              <a:avLst/>
              <a:gdLst>
                <a:gd name="T0" fmla="*/ 0 w 12"/>
                <a:gd name="T1" fmla="*/ 8 h 9"/>
                <a:gd name="T2" fmla="*/ 11 w 12"/>
                <a:gd name="T3" fmla="*/ 6 h 9"/>
                <a:gd name="T4" fmla="*/ 8 w 12"/>
                <a:gd name="T5" fmla="*/ 0 h 9"/>
                <a:gd name="T6" fmla="*/ 0 w 12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cubicBezTo>
                    <a:pt x="3" y="8"/>
                    <a:pt x="6" y="8"/>
                    <a:pt x="11" y="6"/>
                  </a:cubicBezTo>
                  <a:lnTo>
                    <a:pt x="8" y="0"/>
                  </a:lnTo>
                  <a:cubicBezTo>
                    <a:pt x="3" y="3"/>
                    <a:pt x="0" y="6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1" name="Freeform 939"/>
            <p:cNvSpPr>
              <a:spLocks noChangeArrowheads="1"/>
            </p:cNvSpPr>
            <p:nvPr/>
          </p:nvSpPr>
          <p:spPr bwMode="auto">
            <a:xfrm>
              <a:off x="3884613" y="2743200"/>
              <a:ext cx="4762" cy="4763"/>
            </a:xfrm>
            <a:custGeom>
              <a:avLst/>
              <a:gdLst>
                <a:gd name="T0" fmla="*/ 11 w 15"/>
                <a:gd name="T1" fmla="*/ 14 h 15"/>
                <a:gd name="T2" fmla="*/ 11 w 15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11" y="14"/>
                  </a:moveTo>
                  <a:cubicBezTo>
                    <a:pt x="14" y="0"/>
                    <a:pt x="0" y="11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2" name="Freeform 940"/>
            <p:cNvSpPr>
              <a:spLocks noChangeArrowheads="1"/>
            </p:cNvSpPr>
            <p:nvPr/>
          </p:nvSpPr>
          <p:spPr bwMode="auto">
            <a:xfrm>
              <a:off x="3854450" y="2730500"/>
              <a:ext cx="4763" cy="1588"/>
            </a:xfrm>
            <a:custGeom>
              <a:avLst/>
              <a:gdLst>
                <a:gd name="T0" fmla="*/ 0 w 15"/>
                <a:gd name="T1" fmla="*/ 3 h 4"/>
                <a:gd name="T2" fmla="*/ 6 w 15"/>
                <a:gd name="T3" fmla="*/ 0 h 4"/>
                <a:gd name="T4" fmla="*/ 0 w 15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4">
                  <a:moveTo>
                    <a:pt x="0" y="3"/>
                  </a:moveTo>
                  <a:cubicBezTo>
                    <a:pt x="0" y="3"/>
                    <a:pt x="3" y="3"/>
                    <a:pt x="6" y="0"/>
                  </a:cubicBezTo>
                  <a:cubicBezTo>
                    <a:pt x="14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3" name="Freeform 941"/>
            <p:cNvSpPr>
              <a:spLocks noChangeArrowheads="1"/>
            </p:cNvSpPr>
            <p:nvPr/>
          </p:nvSpPr>
          <p:spPr bwMode="auto">
            <a:xfrm>
              <a:off x="3851275" y="2740025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3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4" name="Freeform 942"/>
            <p:cNvSpPr>
              <a:spLocks noChangeArrowheads="1"/>
            </p:cNvSpPr>
            <p:nvPr/>
          </p:nvSpPr>
          <p:spPr bwMode="auto">
            <a:xfrm>
              <a:off x="3944938" y="2717800"/>
              <a:ext cx="4762" cy="4763"/>
            </a:xfrm>
            <a:custGeom>
              <a:avLst/>
              <a:gdLst>
                <a:gd name="T0" fmla="*/ 6 w 15"/>
                <a:gd name="T1" fmla="*/ 9 h 13"/>
                <a:gd name="T2" fmla="*/ 0 w 15"/>
                <a:gd name="T3" fmla="*/ 6 h 13"/>
                <a:gd name="T4" fmla="*/ 6 w 15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6" y="9"/>
                  </a:moveTo>
                  <a:cubicBezTo>
                    <a:pt x="3" y="6"/>
                    <a:pt x="0" y="0"/>
                    <a:pt x="0" y="6"/>
                  </a:cubicBezTo>
                  <a:cubicBezTo>
                    <a:pt x="3" y="12"/>
                    <a:pt x="14" y="9"/>
                    <a:pt x="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5" name="Freeform 943"/>
            <p:cNvSpPr>
              <a:spLocks noChangeArrowheads="1"/>
            </p:cNvSpPr>
            <p:nvPr/>
          </p:nvSpPr>
          <p:spPr bwMode="auto">
            <a:xfrm>
              <a:off x="3894138" y="2724150"/>
              <a:ext cx="4762" cy="6350"/>
            </a:xfrm>
            <a:custGeom>
              <a:avLst/>
              <a:gdLst>
                <a:gd name="T0" fmla="*/ 9 w 15"/>
                <a:gd name="T1" fmla="*/ 17 h 18"/>
                <a:gd name="T2" fmla="*/ 9 w 15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9" y="17"/>
                  </a:moveTo>
                  <a:cubicBezTo>
                    <a:pt x="14" y="0"/>
                    <a:pt x="0" y="14"/>
                    <a:pt x="9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6" name="Freeform 944"/>
            <p:cNvSpPr>
              <a:spLocks noChangeArrowheads="1"/>
            </p:cNvSpPr>
            <p:nvPr/>
          </p:nvSpPr>
          <p:spPr bwMode="auto">
            <a:xfrm>
              <a:off x="3889375" y="2732088"/>
              <a:ext cx="7938" cy="6350"/>
            </a:xfrm>
            <a:custGeom>
              <a:avLst/>
              <a:gdLst>
                <a:gd name="T0" fmla="*/ 20 w 21"/>
                <a:gd name="T1" fmla="*/ 16 h 17"/>
                <a:gd name="T2" fmla="*/ 0 w 21"/>
                <a:gd name="T3" fmla="*/ 2 h 17"/>
                <a:gd name="T4" fmla="*/ 20 w 21"/>
                <a:gd name="T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7">
                  <a:moveTo>
                    <a:pt x="20" y="16"/>
                  </a:moveTo>
                  <a:cubicBezTo>
                    <a:pt x="14" y="5"/>
                    <a:pt x="9" y="0"/>
                    <a:pt x="0" y="2"/>
                  </a:cubicBezTo>
                  <a:cubicBezTo>
                    <a:pt x="0" y="11"/>
                    <a:pt x="14" y="14"/>
                    <a:pt x="20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7" name="Freeform 945"/>
            <p:cNvSpPr>
              <a:spLocks noChangeArrowheads="1"/>
            </p:cNvSpPr>
            <p:nvPr/>
          </p:nvSpPr>
          <p:spPr bwMode="auto">
            <a:xfrm>
              <a:off x="3856038" y="2725738"/>
              <a:ext cx="6350" cy="3175"/>
            </a:xfrm>
            <a:custGeom>
              <a:avLst/>
              <a:gdLst>
                <a:gd name="T0" fmla="*/ 0 w 18"/>
                <a:gd name="T1" fmla="*/ 8 h 9"/>
                <a:gd name="T2" fmla="*/ 0 w 18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0" y="8"/>
                  </a:moveTo>
                  <a:cubicBezTo>
                    <a:pt x="17" y="8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8" name="Freeform 946"/>
            <p:cNvSpPr>
              <a:spLocks noChangeArrowheads="1"/>
            </p:cNvSpPr>
            <p:nvPr/>
          </p:nvSpPr>
          <p:spPr bwMode="auto">
            <a:xfrm>
              <a:off x="4371975" y="2655888"/>
              <a:ext cx="7938" cy="4762"/>
            </a:xfrm>
            <a:custGeom>
              <a:avLst/>
              <a:gdLst>
                <a:gd name="T0" fmla="*/ 0 w 21"/>
                <a:gd name="T1" fmla="*/ 11 h 15"/>
                <a:gd name="T2" fmla="*/ 12 w 21"/>
                <a:gd name="T3" fmla="*/ 0 h 15"/>
                <a:gd name="T4" fmla="*/ 0 w 21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5">
                  <a:moveTo>
                    <a:pt x="0" y="11"/>
                  </a:moveTo>
                  <a:cubicBezTo>
                    <a:pt x="9" y="14"/>
                    <a:pt x="20" y="3"/>
                    <a:pt x="12" y="0"/>
                  </a:cubicBezTo>
                  <a:cubicBezTo>
                    <a:pt x="9" y="6"/>
                    <a:pt x="3" y="6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89" name="Freeform 947"/>
            <p:cNvSpPr>
              <a:spLocks noChangeArrowheads="1"/>
            </p:cNvSpPr>
            <p:nvPr/>
          </p:nvSpPr>
          <p:spPr bwMode="auto">
            <a:xfrm>
              <a:off x="4348163" y="2662238"/>
              <a:ext cx="4762" cy="3175"/>
            </a:xfrm>
            <a:custGeom>
              <a:avLst/>
              <a:gdLst>
                <a:gd name="T0" fmla="*/ 5 w 12"/>
                <a:gd name="T1" fmla="*/ 9 h 10"/>
                <a:gd name="T2" fmla="*/ 11 w 12"/>
                <a:gd name="T3" fmla="*/ 9 h 10"/>
                <a:gd name="T4" fmla="*/ 11 w 12"/>
                <a:gd name="T5" fmla="*/ 0 h 10"/>
                <a:gd name="T6" fmla="*/ 5 w 12"/>
                <a:gd name="T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5" y="9"/>
                  </a:moveTo>
                  <a:lnTo>
                    <a:pt x="11" y="9"/>
                  </a:lnTo>
                  <a:cubicBezTo>
                    <a:pt x="8" y="6"/>
                    <a:pt x="11" y="3"/>
                    <a:pt x="11" y="0"/>
                  </a:cubicBezTo>
                  <a:cubicBezTo>
                    <a:pt x="2" y="0"/>
                    <a:pt x="0" y="6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0" name="Freeform 948"/>
            <p:cNvSpPr>
              <a:spLocks noChangeArrowheads="1"/>
            </p:cNvSpPr>
            <p:nvPr/>
          </p:nvSpPr>
          <p:spPr bwMode="auto">
            <a:xfrm>
              <a:off x="4340225" y="2663825"/>
              <a:ext cx="3175" cy="1588"/>
            </a:xfrm>
            <a:custGeom>
              <a:avLst/>
              <a:gdLst>
                <a:gd name="T0" fmla="*/ 6 w 9"/>
                <a:gd name="T1" fmla="*/ 0 h 6"/>
                <a:gd name="T2" fmla="*/ 0 w 9"/>
                <a:gd name="T3" fmla="*/ 5 h 6"/>
                <a:gd name="T4" fmla="*/ 6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6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8" y="5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1" name="Freeform 949"/>
            <p:cNvSpPr>
              <a:spLocks noChangeArrowheads="1"/>
            </p:cNvSpPr>
            <p:nvPr/>
          </p:nvSpPr>
          <p:spPr bwMode="auto">
            <a:xfrm>
              <a:off x="4365625" y="2660650"/>
              <a:ext cx="1588" cy="1588"/>
            </a:xfrm>
            <a:custGeom>
              <a:avLst/>
              <a:gdLst>
                <a:gd name="T0" fmla="*/ 2 w 6"/>
                <a:gd name="T1" fmla="*/ 3 h 4"/>
                <a:gd name="T2" fmla="*/ 2 w 6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4">
                  <a:moveTo>
                    <a:pt x="2" y="3"/>
                  </a:moveTo>
                  <a:cubicBezTo>
                    <a:pt x="5" y="3"/>
                    <a:pt x="0" y="0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2" name="Freeform 950"/>
            <p:cNvSpPr>
              <a:spLocks noChangeArrowheads="1"/>
            </p:cNvSpPr>
            <p:nvPr/>
          </p:nvSpPr>
          <p:spPr bwMode="auto">
            <a:xfrm>
              <a:off x="4359275" y="2663825"/>
              <a:ext cx="4763" cy="3175"/>
            </a:xfrm>
            <a:custGeom>
              <a:avLst/>
              <a:gdLst>
                <a:gd name="T0" fmla="*/ 0 w 12"/>
                <a:gd name="T1" fmla="*/ 5 h 9"/>
                <a:gd name="T2" fmla="*/ 0 w 12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11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3" name="Freeform 951"/>
            <p:cNvSpPr>
              <a:spLocks noChangeArrowheads="1"/>
            </p:cNvSpPr>
            <p:nvPr/>
          </p:nvSpPr>
          <p:spPr bwMode="auto">
            <a:xfrm>
              <a:off x="4367213" y="2665413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6 w 7"/>
                <a:gd name="T3" fmla="*/ 0 h 6"/>
                <a:gd name="T4" fmla="*/ 0 w 7"/>
                <a:gd name="T5" fmla="*/ 0 h 6"/>
                <a:gd name="T6" fmla="*/ 0 w 7"/>
                <a:gd name="T7" fmla="*/ 5 h 6"/>
                <a:gd name="T8" fmla="*/ 6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4" name="Freeform 952"/>
            <p:cNvSpPr>
              <a:spLocks noChangeArrowheads="1"/>
            </p:cNvSpPr>
            <p:nvPr/>
          </p:nvSpPr>
          <p:spPr bwMode="auto">
            <a:xfrm>
              <a:off x="4375150" y="2663825"/>
              <a:ext cx="3175" cy="1588"/>
            </a:xfrm>
            <a:custGeom>
              <a:avLst/>
              <a:gdLst>
                <a:gd name="T0" fmla="*/ 5 w 9"/>
                <a:gd name="T1" fmla="*/ 0 h 6"/>
                <a:gd name="T2" fmla="*/ 0 w 9"/>
                <a:gd name="T3" fmla="*/ 5 h 6"/>
                <a:gd name="T4" fmla="*/ 5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5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8" y="5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5" name="Freeform 953"/>
            <p:cNvSpPr>
              <a:spLocks noChangeArrowheads="1"/>
            </p:cNvSpPr>
            <p:nvPr/>
          </p:nvSpPr>
          <p:spPr bwMode="auto">
            <a:xfrm>
              <a:off x="4381500" y="2663825"/>
              <a:ext cx="3175" cy="4763"/>
            </a:xfrm>
            <a:custGeom>
              <a:avLst/>
              <a:gdLst>
                <a:gd name="T0" fmla="*/ 2 w 9"/>
                <a:gd name="T1" fmla="*/ 0 h 12"/>
                <a:gd name="T2" fmla="*/ 0 w 9"/>
                <a:gd name="T3" fmla="*/ 8 h 12"/>
                <a:gd name="T4" fmla="*/ 2 w 9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2" y="0"/>
                  </a:moveTo>
                  <a:cubicBezTo>
                    <a:pt x="2" y="3"/>
                    <a:pt x="0" y="3"/>
                    <a:pt x="0" y="8"/>
                  </a:cubicBezTo>
                  <a:cubicBezTo>
                    <a:pt x="8" y="11"/>
                    <a:pt x="5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6" name="Freeform 954"/>
            <p:cNvSpPr>
              <a:spLocks noChangeArrowheads="1"/>
            </p:cNvSpPr>
            <p:nvPr/>
          </p:nvSpPr>
          <p:spPr bwMode="auto">
            <a:xfrm>
              <a:off x="4319588" y="2673350"/>
              <a:ext cx="3175" cy="3175"/>
            </a:xfrm>
            <a:custGeom>
              <a:avLst/>
              <a:gdLst>
                <a:gd name="T0" fmla="*/ 0 w 10"/>
                <a:gd name="T1" fmla="*/ 8 h 9"/>
                <a:gd name="T2" fmla="*/ 9 w 10"/>
                <a:gd name="T3" fmla="*/ 3 h 9"/>
                <a:gd name="T4" fmla="*/ 0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8"/>
                  </a:moveTo>
                  <a:cubicBezTo>
                    <a:pt x="6" y="8"/>
                    <a:pt x="9" y="6"/>
                    <a:pt x="9" y="3"/>
                  </a:cubicBezTo>
                  <a:cubicBezTo>
                    <a:pt x="3" y="0"/>
                    <a:pt x="0" y="3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7" name="Freeform 955"/>
            <p:cNvSpPr>
              <a:spLocks noChangeArrowheads="1"/>
            </p:cNvSpPr>
            <p:nvPr/>
          </p:nvSpPr>
          <p:spPr bwMode="auto">
            <a:xfrm>
              <a:off x="4367213" y="2668588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0 w 9"/>
                <a:gd name="T3" fmla="*/ 0 h 9"/>
                <a:gd name="T4" fmla="*/ 8 w 9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cubicBezTo>
                    <a:pt x="8" y="3"/>
                    <a:pt x="3" y="0"/>
                    <a:pt x="0" y="0"/>
                  </a:cubicBezTo>
                  <a:cubicBezTo>
                    <a:pt x="0" y="5"/>
                    <a:pt x="3" y="8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8" name="Freeform 956"/>
            <p:cNvSpPr>
              <a:spLocks noChangeArrowheads="1"/>
            </p:cNvSpPr>
            <p:nvPr/>
          </p:nvSpPr>
          <p:spPr bwMode="auto">
            <a:xfrm>
              <a:off x="4313238" y="2676525"/>
              <a:ext cx="1587" cy="317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6 h 7"/>
                <a:gd name="T4" fmla="*/ 5 w 6"/>
                <a:gd name="T5" fmla="*/ 6 h 7"/>
                <a:gd name="T6" fmla="*/ 5 w 6"/>
                <a:gd name="T7" fmla="*/ 0 h 7"/>
                <a:gd name="T8" fmla="*/ 0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99" name="Freeform 957"/>
            <p:cNvSpPr>
              <a:spLocks noChangeArrowheads="1"/>
            </p:cNvSpPr>
            <p:nvPr/>
          </p:nvSpPr>
          <p:spPr bwMode="auto">
            <a:xfrm>
              <a:off x="4344988" y="2673350"/>
              <a:ext cx="4762" cy="3175"/>
            </a:xfrm>
            <a:custGeom>
              <a:avLst/>
              <a:gdLst>
                <a:gd name="T0" fmla="*/ 0 w 12"/>
                <a:gd name="T1" fmla="*/ 6 h 10"/>
                <a:gd name="T2" fmla="*/ 3 w 12"/>
                <a:gd name="T3" fmla="*/ 9 h 10"/>
                <a:gd name="T4" fmla="*/ 9 w 12"/>
                <a:gd name="T5" fmla="*/ 9 h 10"/>
                <a:gd name="T6" fmla="*/ 0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3" y="6"/>
                    <a:pt x="3" y="6"/>
                    <a:pt x="3" y="9"/>
                  </a:cubicBezTo>
                  <a:lnTo>
                    <a:pt x="9" y="9"/>
                  </a:lnTo>
                  <a:cubicBezTo>
                    <a:pt x="11" y="0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0" name="Freeform 958"/>
            <p:cNvSpPr>
              <a:spLocks noChangeArrowheads="1"/>
            </p:cNvSpPr>
            <p:nvPr/>
          </p:nvSpPr>
          <p:spPr bwMode="auto">
            <a:xfrm>
              <a:off x="4362450" y="2670175"/>
              <a:ext cx="4763" cy="4763"/>
            </a:xfrm>
            <a:custGeom>
              <a:avLst/>
              <a:gdLst>
                <a:gd name="T0" fmla="*/ 0 w 12"/>
                <a:gd name="T1" fmla="*/ 9 h 13"/>
                <a:gd name="T2" fmla="*/ 0 w 12"/>
                <a:gd name="T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3">
                  <a:moveTo>
                    <a:pt x="0" y="9"/>
                  </a:moveTo>
                  <a:cubicBezTo>
                    <a:pt x="11" y="12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1" name="Freeform 959"/>
            <p:cNvSpPr>
              <a:spLocks noChangeArrowheads="1"/>
            </p:cNvSpPr>
            <p:nvPr/>
          </p:nvSpPr>
          <p:spPr bwMode="auto">
            <a:xfrm>
              <a:off x="4324350" y="2676525"/>
              <a:ext cx="3175" cy="6350"/>
            </a:xfrm>
            <a:custGeom>
              <a:avLst/>
              <a:gdLst>
                <a:gd name="T0" fmla="*/ 0 w 10"/>
                <a:gd name="T1" fmla="*/ 12 h 18"/>
                <a:gd name="T2" fmla="*/ 0 w 10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0" y="12"/>
                  </a:moveTo>
                  <a:cubicBezTo>
                    <a:pt x="9" y="17"/>
                    <a:pt x="3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2" name="Freeform 960"/>
            <p:cNvSpPr>
              <a:spLocks noChangeArrowheads="1"/>
            </p:cNvSpPr>
            <p:nvPr/>
          </p:nvSpPr>
          <p:spPr bwMode="auto">
            <a:xfrm>
              <a:off x="4343400" y="2676525"/>
              <a:ext cx="4763" cy="3175"/>
            </a:xfrm>
            <a:custGeom>
              <a:avLst/>
              <a:gdLst>
                <a:gd name="T0" fmla="*/ 3 w 15"/>
                <a:gd name="T1" fmla="*/ 0 h 10"/>
                <a:gd name="T2" fmla="*/ 14 w 15"/>
                <a:gd name="T3" fmla="*/ 6 h 10"/>
                <a:gd name="T4" fmla="*/ 3 w 15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3" y="0"/>
                  </a:moveTo>
                  <a:cubicBezTo>
                    <a:pt x="0" y="9"/>
                    <a:pt x="9" y="9"/>
                    <a:pt x="14" y="6"/>
                  </a:cubicBezTo>
                  <a:cubicBezTo>
                    <a:pt x="14" y="0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3" name="Freeform 961"/>
            <p:cNvSpPr>
              <a:spLocks noChangeArrowheads="1"/>
            </p:cNvSpPr>
            <p:nvPr/>
          </p:nvSpPr>
          <p:spPr bwMode="auto">
            <a:xfrm>
              <a:off x="4356100" y="2676525"/>
              <a:ext cx="3175" cy="3175"/>
            </a:xfrm>
            <a:custGeom>
              <a:avLst/>
              <a:gdLst>
                <a:gd name="T0" fmla="*/ 0 w 10"/>
                <a:gd name="T1" fmla="*/ 0 h 9"/>
                <a:gd name="T2" fmla="*/ 6 w 10"/>
                <a:gd name="T3" fmla="*/ 8 h 9"/>
                <a:gd name="T4" fmla="*/ 0 w 10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cubicBezTo>
                    <a:pt x="0" y="5"/>
                    <a:pt x="3" y="8"/>
                    <a:pt x="6" y="8"/>
                  </a:cubicBezTo>
                  <a:cubicBezTo>
                    <a:pt x="0" y="2"/>
                    <a:pt x="9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4" name="Freeform 962"/>
            <p:cNvSpPr>
              <a:spLocks noChangeArrowheads="1"/>
            </p:cNvSpPr>
            <p:nvPr/>
          </p:nvSpPr>
          <p:spPr bwMode="auto">
            <a:xfrm>
              <a:off x="4362450" y="2674938"/>
              <a:ext cx="4763" cy="1587"/>
            </a:xfrm>
            <a:custGeom>
              <a:avLst/>
              <a:gdLst>
                <a:gd name="T0" fmla="*/ 0 w 15"/>
                <a:gd name="T1" fmla="*/ 5 h 6"/>
                <a:gd name="T2" fmla="*/ 11 w 15"/>
                <a:gd name="T3" fmla="*/ 3 h 6"/>
                <a:gd name="T4" fmla="*/ 0 w 15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6">
                  <a:moveTo>
                    <a:pt x="0" y="5"/>
                  </a:moveTo>
                  <a:cubicBezTo>
                    <a:pt x="3" y="3"/>
                    <a:pt x="14" y="5"/>
                    <a:pt x="11" y="3"/>
                  </a:cubicBezTo>
                  <a:cubicBezTo>
                    <a:pt x="9" y="3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5" name="Freeform 963"/>
            <p:cNvSpPr>
              <a:spLocks noChangeArrowheads="1"/>
            </p:cNvSpPr>
            <p:nvPr/>
          </p:nvSpPr>
          <p:spPr bwMode="auto">
            <a:xfrm>
              <a:off x="4305300" y="2681288"/>
              <a:ext cx="4763" cy="3175"/>
            </a:xfrm>
            <a:custGeom>
              <a:avLst/>
              <a:gdLst>
                <a:gd name="T0" fmla="*/ 0 w 12"/>
                <a:gd name="T1" fmla="*/ 8 h 9"/>
                <a:gd name="T2" fmla="*/ 0 w 12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cubicBezTo>
                    <a:pt x="11" y="8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6" name="Freeform 964"/>
            <p:cNvSpPr>
              <a:spLocks noChangeArrowheads="1"/>
            </p:cNvSpPr>
            <p:nvPr/>
          </p:nvSpPr>
          <p:spPr bwMode="auto">
            <a:xfrm>
              <a:off x="4327525" y="2681288"/>
              <a:ext cx="3175" cy="1587"/>
            </a:xfrm>
            <a:custGeom>
              <a:avLst/>
              <a:gdLst>
                <a:gd name="T0" fmla="*/ 3 w 9"/>
                <a:gd name="T1" fmla="*/ 5 h 6"/>
                <a:gd name="T2" fmla="*/ 8 w 9"/>
                <a:gd name="T3" fmla="*/ 0 h 6"/>
                <a:gd name="T4" fmla="*/ 3 w 9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3" y="5"/>
                  </a:moveTo>
                  <a:cubicBezTo>
                    <a:pt x="6" y="5"/>
                    <a:pt x="8" y="3"/>
                    <a:pt x="8" y="0"/>
                  </a:cubicBezTo>
                  <a:cubicBezTo>
                    <a:pt x="6" y="0"/>
                    <a:pt x="0" y="0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7" name="Freeform 965"/>
            <p:cNvSpPr>
              <a:spLocks noChangeArrowheads="1"/>
            </p:cNvSpPr>
            <p:nvPr/>
          </p:nvSpPr>
          <p:spPr bwMode="auto">
            <a:xfrm>
              <a:off x="4316413" y="2681288"/>
              <a:ext cx="3175" cy="6350"/>
            </a:xfrm>
            <a:custGeom>
              <a:avLst/>
              <a:gdLst>
                <a:gd name="T0" fmla="*/ 0 w 7"/>
                <a:gd name="T1" fmla="*/ 11 h 18"/>
                <a:gd name="T2" fmla="*/ 0 w 7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11"/>
                  </a:moveTo>
                  <a:cubicBezTo>
                    <a:pt x="6" y="17"/>
                    <a:pt x="6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8" name="Freeform 966"/>
            <p:cNvSpPr>
              <a:spLocks noChangeArrowheads="1"/>
            </p:cNvSpPr>
            <p:nvPr/>
          </p:nvSpPr>
          <p:spPr bwMode="auto">
            <a:xfrm>
              <a:off x="4341813" y="2679700"/>
              <a:ext cx="1587" cy="3175"/>
            </a:xfrm>
            <a:custGeom>
              <a:avLst/>
              <a:gdLst>
                <a:gd name="T0" fmla="*/ 5 w 6"/>
                <a:gd name="T1" fmla="*/ 6 h 7"/>
                <a:gd name="T2" fmla="*/ 5 w 6"/>
                <a:gd name="T3" fmla="*/ 0 h 7"/>
                <a:gd name="T4" fmla="*/ 0 w 6"/>
                <a:gd name="T5" fmla="*/ 0 h 7"/>
                <a:gd name="T6" fmla="*/ 0 w 6"/>
                <a:gd name="T7" fmla="*/ 6 h 7"/>
                <a:gd name="T8" fmla="*/ 5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6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09" name="Freeform 967"/>
            <p:cNvSpPr>
              <a:spLocks noChangeArrowheads="1"/>
            </p:cNvSpPr>
            <p:nvPr/>
          </p:nvSpPr>
          <p:spPr bwMode="auto">
            <a:xfrm>
              <a:off x="4351338" y="2679700"/>
              <a:ext cx="3175" cy="3175"/>
            </a:xfrm>
            <a:custGeom>
              <a:avLst/>
              <a:gdLst>
                <a:gd name="T0" fmla="*/ 8 w 9"/>
                <a:gd name="T1" fmla="*/ 8 h 9"/>
                <a:gd name="T2" fmla="*/ 0 w 9"/>
                <a:gd name="T3" fmla="*/ 0 h 9"/>
                <a:gd name="T4" fmla="*/ 8 w 9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8"/>
                  </a:moveTo>
                  <a:cubicBezTo>
                    <a:pt x="8" y="0"/>
                    <a:pt x="3" y="0"/>
                    <a:pt x="0" y="0"/>
                  </a:cubicBezTo>
                  <a:cubicBezTo>
                    <a:pt x="0" y="6"/>
                    <a:pt x="3" y="6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0" name="Freeform 968"/>
            <p:cNvSpPr>
              <a:spLocks noChangeArrowheads="1"/>
            </p:cNvSpPr>
            <p:nvPr/>
          </p:nvSpPr>
          <p:spPr bwMode="auto">
            <a:xfrm>
              <a:off x="4392613" y="2673350"/>
              <a:ext cx="6350" cy="4763"/>
            </a:xfrm>
            <a:custGeom>
              <a:avLst/>
              <a:gdLst>
                <a:gd name="T0" fmla="*/ 17 w 18"/>
                <a:gd name="T1" fmla="*/ 0 h 12"/>
                <a:gd name="T2" fmla="*/ 17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17" y="0"/>
                  </a:moveTo>
                  <a:cubicBezTo>
                    <a:pt x="0" y="3"/>
                    <a:pt x="14" y="11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1" name="Freeform 969"/>
            <p:cNvSpPr>
              <a:spLocks noChangeArrowheads="1"/>
            </p:cNvSpPr>
            <p:nvPr/>
          </p:nvSpPr>
          <p:spPr bwMode="auto">
            <a:xfrm>
              <a:off x="4384675" y="2673350"/>
              <a:ext cx="4763" cy="6350"/>
            </a:xfrm>
            <a:custGeom>
              <a:avLst/>
              <a:gdLst>
                <a:gd name="T0" fmla="*/ 11 w 12"/>
                <a:gd name="T1" fmla="*/ 6 h 18"/>
                <a:gd name="T2" fmla="*/ 11 w 12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11" y="6"/>
                  </a:moveTo>
                  <a:cubicBezTo>
                    <a:pt x="0" y="0"/>
                    <a:pt x="6" y="17"/>
                    <a:pt x="1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2" name="Freeform 970"/>
            <p:cNvSpPr>
              <a:spLocks noChangeArrowheads="1"/>
            </p:cNvSpPr>
            <p:nvPr/>
          </p:nvSpPr>
          <p:spPr bwMode="auto">
            <a:xfrm>
              <a:off x="4329113" y="2686050"/>
              <a:ext cx="3175" cy="3175"/>
            </a:xfrm>
            <a:custGeom>
              <a:avLst/>
              <a:gdLst>
                <a:gd name="T0" fmla="*/ 8 w 9"/>
                <a:gd name="T1" fmla="*/ 5 h 9"/>
                <a:gd name="T2" fmla="*/ 3 w 9"/>
                <a:gd name="T3" fmla="*/ 0 h 9"/>
                <a:gd name="T4" fmla="*/ 8 w 9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5"/>
                  </a:moveTo>
                  <a:cubicBezTo>
                    <a:pt x="8" y="3"/>
                    <a:pt x="5" y="0"/>
                    <a:pt x="3" y="0"/>
                  </a:cubicBezTo>
                  <a:cubicBezTo>
                    <a:pt x="0" y="3"/>
                    <a:pt x="3" y="8"/>
                    <a:pt x="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3" name="Freeform 971"/>
            <p:cNvSpPr>
              <a:spLocks noChangeArrowheads="1"/>
            </p:cNvSpPr>
            <p:nvPr/>
          </p:nvSpPr>
          <p:spPr bwMode="auto">
            <a:xfrm>
              <a:off x="4340225" y="2681288"/>
              <a:ext cx="4763" cy="4762"/>
            </a:xfrm>
            <a:custGeom>
              <a:avLst/>
              <a:gdLst>
                <a:gd name="T0" fmla="*/ 0 w 15"/>
                <a:gd name="T1" fmla="*/ 8 h 12"/>
                <a:gd name="T2" fmla="*/ 0 w 15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2">
                  <a:moveTo>
                    <a:pt x="0" y="8"/>
                  </a:moveTo>
                  <a:cubicBezTo>
                    <a:pt x="14" y="11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4" name="Freeform 972"/>
            <p:cNvSpPr>
              <a:spLocks noChangeArrowheads="1"/>
            </p:cNvSpPr>
            <p:nvPr/>
          </p:nvSpPr>
          <p:spPr bwMode="auto">
            <a:xfrm>
              <a:off x="4348163" y="2682875"/>
              <a:ext cx="3175" cy="6350"/>
            </a:xfrm>
            <a:custGeom>
              <a:avLst/>
              <a:gdLst>
                <a:gd name="T0" fmla="*/ 0 w 9"/>
                <a:gd name="T1" fmla="*/ 9 h 18"/>
                <a:gd name="T2" fmla="*/ 0 w 9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9"/>
                  </a:moveTo>
                  <a:cubicBezTo>
                    <a:pt x="8" y="17"/>
                    <a:pt x="2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5" name="Freeform 973"/>
            <p:cNvSpPr>
              <a:spLocks noChangeArrowheads="1"/>
            </p:cNvSpPr>
            <p:nvPr/>
          </p:nvSpPr>
          <p:spPr bwMode="auto">
            <a:xfrm>
              <a:off x="4362450" y="2681288"/>
              <a:ext cx="4763" cy="4762"/>
            </a:xfrm>
            <a:custGeom>
              <a:avLst/>
              <a:gdLst>
                <a:gd name="T0" fmla="*/ 8 w 15"/>
                <a:gd name="T1" fmla="*/ 14 h 15"/>
                <a:gd name="T2" fmla="*/ 0 w 15"/>
                <a:gd name="T3" fmla="*/ 2 h 15"/>
                <a:gd name="T4" fmla="*/ 8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8" y="14"/>
                  </a:moveTo>
                  <a:cubicBezTo>
                    <a:pt x="14" y="8"/>
                    <a:pt x="6" y="0"/>
                    <a:pt x="0" y="2"/>
                  </a:cubicBezTo>
                  <a:cubicBezTo>
                    <a:pt x="3" y="8"/>
                    <a:pt x="6" y="14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6" name="Freeform 974"/>
            <p:cNvSpPr>
              <a:spLocks noChangeArrowheads="1"/>
            </p:cNvSpPr>
            <p:nvPr/>
          </p:nvSpPr>
          <p:spPr bwMode="auto">
            <a:xfrm>
              <a:off x="4319588" y="2687638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7" name="Freeform 975"/>
            <p:cNvSpPr>
              <a:spLocks noChangeArrowheads="1"/>
            </p:cNvSpPr>
            <p:nvPr/>
          </p:nvSpPr>
          <p:spPr bwMode="auto">
            <a:xfrm>
              <a:off x="4303713" y="2692400"/>
              <a:ext cx="1587" cy="1588"/>
            </a:xfrm>
            <a:custGeom>
              <a:avLst/>
              <a:gdLst>
                <a:gd name="T0" fmla="*/ 3 w 4"/>
                <a:gd name="T1" fmla="*/ 0 h 3"/>
                <a:gd name="T2" fmla="*/ 3 w 4"/>
                <a:gd name="T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cubicBezTo>
                    <a:pt x="3" y="2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8" name="Freeform 976"/>
            <p:cNvSpPr>
              <a:spLocks noChangeArrowheads="1"/>
            </p:cNvSpPr>
            <p:nvPr/>
          </p:nvSpPr>
          <p:spPr bwMode="auto">
            <a:xfrm>
              <a:off x="4340225" y="2686050"/>
              <a:ext cx="4763" cy="3175"/>
            </a:xfrm>
            <a:custGeom>
              <a:avLst/>
              <a:gdLst>
                <a:gd name="T0" fmla="*/ 0 w 12"/>
                <a:gd name="T1" fmla="*/ 8 h 9"/>
                <a:gd name="T2" fmla="*/ 0 w 12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cubicBezTo>
                    <a:pt x="11" y="8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19" name="Freeform 977"/>
            <p:cNvSpPr>
              <a:spLocks noChangeArrowheads="1"/>
            </p:cNvSpPr>
            <p:nvPr/>
          </p:nvSpPr>
          <p:spPr bwMode="auto">
            <a:xfrm>
              <a:off x="4322763" y="2689225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0" name="Freeform 978"/>
            <p:cNvSpPr>
              <a:spLocks noChangeArrowheads="1"/>
            </p:cNvSpPr>
            <p:nvPr/>
          </p:nvSpPr>
          <p:spPr bwMode="auto">
            <a:xfrm>
              <a:off x="4335463" y="2689225"/>
              <a:ext cx="4762" cy="3175"/>
            </a:xfrm>
            <a:custGeom>
              <a:avLst/>
              <a:gdLst>
                <a:gd name="T0" fmla="*/ 8 w 12"/>
                <a:gd name="T1" fmla="*/ 0 h 10"/>
                <a:gd name="T2" fmla="*/ 0 w 12"/>
                <a:gd name="T3" fmla="*/ 9 h 10"/>
                <a:gd name="T4" fmla="*/ 8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0" y="0"/>
                    <a:pt x="0" y="6"/>
                    <a:pt x="0" y="9"/>
                  </a:cubicBezTo>
                  <a:cubicBezTo>
                    <a:pt x="5" y="9"/>
                    <a:pt x="11" y="6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1" name="Freeform 979"/>
            <p:cNvSpPr>
              <a:spLocks noChangeArrowheads="1"/>
            </p:cNvSpPr>
            <p:nvPr/>
          </p:nvSpPr>
          <p:spPr bwMode="auto">
            <a:xfrm>
              <a:off x="4370388" y="2682875"/>
              <a:ext cx="3175" cy="6350"/>
            </a:xfrm>
            <a:custGeom>
              <a:avLst/>
              <a:gdLst>
                <a:gd name="T0" fmla="*/ 0 w 7"/>
                <a:gd name="T1" fmla="*/ 9 h 18"/>
                <a:gd name="T2" fmla="*/ 0 w 7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9"/>
                  </a:moveTo>
                  <a:cubicBezTo>
                    <a:pt x="6" y="17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2" name="Freeform 980"/>
            <p:cNvSpPr>
              <a:spLocks noChangeArrowheads="1"/>
            </p:cNvSpPr>
            <p:nvPr/>
          </p:nvSpPr>
          <p:spPr bwMode="auto">
            <a:xfrm>
              <a:off x="4359275" y="2686050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11 h 15"/>
                <a:gd name="T4" fmla="*/ 0 w 9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lnTo>
                    <a:pt x="0" y="11"/>
                  </a:lnTo>
                  <a:cubicBezTo>
                    <a:pt x="8" y="14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3" name="Freeform 981"/>
            <p:cNvSpPr>
              <a:spLocks noChangeArrowheads="1"/>
            </p:cNvSpPr>
            <p:nvPr/>
          </p:nvSpPr>
          <p:spPr bwMode="auto">
            <a:xfrm>
              <a:off x="4310063" y="2692400"/>
              <a:ext cx="4762" cy="6350"/>
            </a:xfrm>
            <a:custGeom>
              <a:avLst/>
              <a:gdLst>
                <a:gd name="T0" fmla="*/ 14 w 15"/>
                <a:gd name="T1" fmla="*/ 8 h 18"/>
                <a:gd name="T2" fmla="*/ 14 w 15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14" y="8"/>
                  </a:moveTo>
                  <a:cubicBezTo>
                    <a:pt x="0" y="0"/>
                    <a:pt x="6" y="17"/>
                    <a:pt x="1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4" name="Freeform 982"/>
            <p:cNvSpPr>
              <a:spLocks noChangeArrowheads="1"/>
            </p:cNvSpPr>
            <p:nvPr/>
          </p:nvSpPr>
          <p:spPr bwMode="auto">
            <a:xfrm>
              <a:off x="4340225" y="2690813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5" name="Freeform 983"/>
            <p:cNvSpPr>
              <a:spLocks noChangeArrowheads="1"/>
            </p:cNvSpPr>
            <p:nvPr/>
          </p:nvSpPr>
          <p:spPr bwMode="auto">
            <a:xfrm>
              <a:off x="4344988" y="2689225"/>
              <a:ext cx="4762" cy="3175"/>
            </a:xfrm>
            <a:custGeom>
              <a:avLst/>
              <a:gdLst>
                <a:gd name="T0" fmla="*/ 0 w 12"/>
                <a:gd name="T1" fmla="*/ 3 h 10"/>
                <a:gd name="T2" fmla="*/ 11 w 12"/>
                <a:gd name="T3" fmla="*/ 9 h 10"/>
                <a:gd name="T4" fmla="*/ 0 w 12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0" y="3"/>
                  </a:moveTo>
                  <a:cubicBezTo>
                    <a:pt x="0" y="9"/>
                    <a:pt x="6" y="9"/>
                    <a:pt x="11" y="9"/>
                  </a:cubicBezTo>
                  <a:cubicBezTo>
                    <a:pt x="11" y="3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6" name="Freeform 984"/>
            <p:cNvSpPr>
              <a:spLocks noChangeArrowheads="1"/>
            </p:cNvSpPr>
            <p:nvPr/>
          </p:nvSpPr>
          <p:spPr bwMode="auto">
            <a:xfrm>
              <a:off x="4305300" y="2695575"/>
              <a:ext cx="3175" cy="6350"/>
            </a:xfrm>
            <a:custGeom>
              <a:avLst/>
              <a:gdLst>
                <a:gd name="T0" fmla="*/ 0 w 9"/>
                <a:gd name="T1" fmla="*/ 8 h 18"/>
                <a:gd name="T2" fmla="*/ 0 w 9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8"/>
                  </a:moveTo>
                  <a:cubicBezTo>
                    <a:pt x="8" y="17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7" name="Freeform 985"/>
            <p:cNvSpPr>
              <a:spLocks noChangeArrowheads="1"/>
            </p:cNvSpPr>
            <p:nvPr/>
          </p:nvSpPr>
          <p:spPr bwMode="auto">
            <a:xfrm>
              <a:off x="4337050" y="2692400"/>
              <a:ext cx="4763" cy="3175"/>
            </a:xfrm>
            <a:custGeom>
              <a:avLst/>
              <a:gdLst>
                <a:gd name="T0" fmla="*/ 0 w 13"/>
                <a:gd name="T1" fmla="*/ 8 h 9"/>
                <a:gd name="T2" fmla="*/ 0 w 13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9">
                  <a:moveTo>
                    <a:pt x="0" y="8"/>
                  </a:moveTo>
                  <a:cubicBezTo>
                    <a:pt x="12" y="8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8" name="Freeform 986"/>
            <p:cNvSpPr>
              <a:spLocks noChangeArrowheads="1"/>
            </p:cNvSpPr>
            <p:nvPr/>
          </p:nvSpPr>
          <p:spPr bwMode="auto">
            <a:xfrm>
              <a:off x="4341813" y="2692400"/>
              <a:ext cx="6350" cy="4763"/>
            </a:xfrm>
            <a:custGeom>
              <a:avLst/>
              <a:gdLst>
                <a:gd name="T0" fmla="*/ 0 w 16"/>
                <a:gd name="T1" fmla="*/ 5 h 12"/>
                <a:gd name="T2" fmla="*/ 15 w 16"/>
                <a:gd name="T3" fmla="*/ 11 h 12"/>
                <a:gd name="T4" fmla="*/ 0 w 16"/>
                <a:gd name="T5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0" y="5"/>
                  </a:moveTo>
                  <a:cubicBezTo>
                    <a:pt x="6" y="8"/>
                    <a:pt x="9" y="11"/>
                    <a:pt x="15" y="11"/>
                  </a:cubicBezTo>
                  <a:cubicBezTo>
                    <a:pt x="15" y="5"/>
                    <a:pt x="3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29" name="Freeform 987"/>
            <p:cNvSpPr>
              <a:spLocks noChangeArrowheads="1"/>
            </p:cNvSpPr>
            <p:nvPr/>
          </p:nvSpPr>
          <p:spPr bwMode="auto">
            <a:xfrm>
              <a:off x="4310063" y="2698750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3" y="3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0" name="Freeform 988"/>
            <p:cNvSpPr>
              <a:spLocks noChangeArrowheads="1"/>
            </p:cNvSpPr>
            <p:nvPr/>
          </p:nvSpPr>
          <p:spPr bwMode="auto">
            <a:xfrm>
              <a:off x="4305300" y="2701925"/>
              <a:ext cx="4763" cy="3175"/>
            </a:xfrm>
            <a:custGeom>
              <a:avLst/>
              <a:gdLst>
                <a:gd name="T0" fmla="*/ 14 w 15"/>
                <a:gd name="T1" fmla="*/ 3 h 9"/>
                <a:gd name="T2" fmla="*/ 0 w 15"/>
                <a:gd name="T3" fmla="*/ 8 h 9"/>
                <a:gd name="T4" fmla="*/ 14 w 15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3"/>
                  </a:moveTo>
                  <a:cubicBezTo>
                    <a:pt x="8" y="0"/>
                    <a:pt x="3" y="3"/>
                    <a:pt x="0" y="8"/>
                  </a:cubicBezTo>
                  <a:cubicBezTo>
                    <a:pt x="3" y="6"/>
                    <a:pt x="14" y="8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1" name="Freeform 989"/>
            <p:cNvSpPr>
              <a:spLocks noChangeArrowheads="1"/>
            </p:cNvSpPr>
            <p:nvPr/>
          </p:nvSpPr>
          <p:spPr bwMode="auto">
            <a:xfrm>
              <a:off x="4335463" y="2698750"/>
              <a:ext cx="6350" cy="3175"/>
            </a:xfrm>
            <a:custGeom>
              <a:avLst/>
              <a:gdLst>
                <a:gd name="T0" fmla="*/ 17 w 18"/>
                <a:gd name="T1" fmla="*/ 0 h 9"/>
                <a:gd name="T2" fmla="*/ 17 w 18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17" y="0"/>
                  </a:moveTo>
                  <a:cubicBezTo>
                    <a:pt x="0" y="0"/>
                    <a:pt x="11" y="8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2" name="Freeform 990"/>
            <p:cNvSpPr>
              <a:spLocks noChangeArrowheads="1"/>
            </p:cNvSpPr>
            <p:nvPr/>
          </p:nvSpPr>
          <p:spPr bwMode="auto">
            <a:xfrm>
              <a:off x="4389438" y="2665413"/>
              <a:ext cx="7937" cy="4762"/>
            </a:xfrm>
            <a:custGeom>
              <a:avLst/>
              <a:gdLst>
                <a:gd name="T0" fmla="*/ 3 w 21"/>
                <a:gd name="T1" fmla="*/ 11 h 12"/>
                <a:gd name="T2" fmla="*/ 12 w 21"/>
                <a:gd name="T3" fmla="*/ 0 h 12"/>
                <a:gd name="T4" fmla="*/ 3 w 21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3" y="11"/>
                  </a:moveTo>
                  <a:cubicBezTo>
                    <a:pt x="6" y="8"/>
                    <a:pt x="20" y="2"/>
                    <a:pt x="12" y="0"/>
                  </a:cubicBezTo>
                  <a:cubicBezTo>
                    <a:pt x="12" y="5"/>
                    <a:pt x="0" y="2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3" name="Freeform 991"/>
            <p:cNvSpPr>
              <a:spLocks noChangeArrowheads="1"/>
            </p:cNvSpPr>
            <p:nvPr/>
          </p:nvSpPr>
          <p:spPr bwMode="auto">
            <a:xfrm>
              <a:off x="4376738" y="2671763"/>
              <a:ext cx="4762" cy="4762"/>
            </a:xfrm>
            <a:custGeom>
              <a:avLst/>
              <a:gdLst>
                <a:gd name="T0" fmla="*/ 0 w 15"/>
                <a:gd name="T1" fmla="*/ 9 h 13"/>
                <a:gd name="T2" fmla="*/ 8 w 15"/>
                <a:gd name="T3" fmla="*/ 0 h 13"/>
                <a:gd name="T4" fmla="*/ 0 w 15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0" y="9"/>
                  </a:moveTo>
                  <a:cubicBezTo>
                    <a:pt x="8" y="12"/>
                    <a:pt x="14" y="0"/>
                    <a:pt x="8" y="0"/>
                  </a:cubicBezTo>
                  <a:cubicBezTo>
                    <a:pt x="11" y="9"/>
                    <a:pt x="0" y="3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4" name="Freeform 992"/>
            <p:cNvSpPr>
              <a:spLocks noChangeArrowheads="1"/>
            </p:cNvSpPr>
            <p:nvPr/>
          </p:nvSpPr>
          <p:spPr bwMode="auto">
            <a:xfrm>
              <a:off x="4389438" y="2665413"/>
              <a:ext cx="4762" cy="7937"/>
            </a:xfrm>
            <a:custGeom>
              <a:avLst/>
              <a:gdLst>
                <a:gd name="T0" fmla="*/ 12 w 13"/>
                <a:gd name="T1" fmla="*/ 8 h 20"/>
                <a:gd name="T2" fmla="*/ 12 w 13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0">
                  <a:moveTo>
                    <a:pt x="12" y="8"/>
                  </a:moveTo>
                  <a:cubicBezTo>
                    <a:pt x="0" y="0"/>
                    <a:pt x="9" y="19"/>
                    <a:pt x="12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5" name="Freeform 993"/>
            <p:cNvSpPr>
              <a:spLocks noChangeArrowheads="1"/>
            </p:cNvSpPr>
            <p:nvPr/>
          </p:nvSpPr>
          <p:spPr bwMode="auto">
            <a:xfrm>
              <a:off x="4376738" y="2674938"/>
              <a:ext cx="3175" cy="4762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2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6" name="Freeform 994"/>
            <p:cNvSpPr>
              <a:spLocks noChangeArrowheads="1"/>
            </p:cNvSpPr>
            <p:nvPr/>
          </p:nvSpPr>
          <p:spPr bwMode="auto">
            <a:xfrm>
              <a:off x="4368800" y="2667000"/>
              <a:ext cx="3175" cy="3175"/>
            </a:xfrm>
            <a:custGeom>
              <a:avLst/>
              <a:gdLst>
                <a:gd name="T0" fmla="*/ 8 w 9"/>
                <a:gd name="T1" fmla="*/ 6 h 10"/>
                <a:gd name="T2" fmla="*/ 5 w 9"/>
                <a:gd name="T3" fmla="*/ 0 h 10"/>
                <a:gd name="T4" fmla="*/ 0 w 9"/>
                <a:gd name="T5" fmla="*/ 6 h 10"/>
                <a:gd name="T6" fmla="*/ 3 w 9"/>
                <a:gd name="T7" fmla="*/ 9 h 10"/>
                <a:gd name="T8" fmla="*/ 8 w 9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8" y="6"/>
                  </a:moveTo>
                  <a:lnTo>
                    <a:pt x="5" y="0"/>
                  </a:lnTo>
                  <a:cubicBezTo>
                    <a:pt x="0" y="0"/>
                    <a:pt x="0" y="3"/>
                    <a:pt x="0" y="6"/>
                  </a:cubicBezTo>
                  <a:cubicBezTo>
                    <a:pt x="0" y="6"/>
                    <a:pt x="0" y="9"/>
                    <a:pt x="3" y="9"/>
                  </a:cubicBezTo>
                  <a:lnTo>
                    <a:pt x="8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7" name="Freeform 995"/>
            <p:cNvSpPr>
              <a:spLocks noChangeArrowheads="1"/>
            </p:cNvSpPr>
            <p:nvPr/>
          </p:nvSpPr>
          <p:spPr bwMode="auto">
            <a:xfrm>
              <a:off x="4351338" y="2662238"/>
              <a:ext cx="3175" cy="3175"/>
            </a:xfrm>
            <a:custGeom>
              <a:avLst/>
              <a:gdLst>
                <a:gd name="T0" fmla="*/ 5 w 9"/>
                <a:gd name="T1" fmla="*/ 0 h 10"/>
                <a:gd name="T2" fmla="*/ 0 w 9"/>
                <a:gd name="T3" fmla="*/ 3 h 10"/>
                <a:gd name="T4" fmla="*/ 3 w 9"/>
                <a:gd name="T5" fmla="*/ 9 h 10"/>
                <a:gd name="T6" fmla="*/ 8 w 9"/>
                <a:gd name="T7" fmla="*/ 6 h 10"/>
                <a:gd name="T8" fmla="*/ 5 w 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lnTo>
                    <a:pt x="0" y="3"/>
                  </a:lnTo>
                  <a:lnTo>
                    <a:pt x="3" y="9"/>
                  </a:lnTo>
                  <a:lnTo>
                    <a:pt x="8" y="6"/>
                  </a:lnTo>
                  <a:lnTo>
                    <a:pt x="5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8" name="Freeform 996"/>
            <p:cNvSpPr>
              <a:spLocks noChangeArrowheads="1"/>
            </p:cNvSpPr>
            <p:nvPr/>
          </p:nvSpPr>
          <p:spPr bwMode="auto">
            <a:xfrm>
              <a:off x="4348163" y="2667000"/>
              <a:ext cx="3175" cy="4763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3" y="14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39" name="Freeform 997"/>
            <p:cNvSpPr>
              <a:spLocks noChangeArrowheads="1"/>
            </p:cNvSpPr>
            <p:nvPr/>
          </p:nvSpPr>
          <p:spPr bwMode="auto">
            <a:xfrm>
              <a:off x="4348163" y="2670175"/>
              <a:ext cx="1587" cy="6350"/>
            </a:xfrm>
            <a:custGeom>
              <a:avLst/>
              <a:gdLst>
                <a:gd name="T0" fmla="*/ 0 w 6"/>
                <a:gd name="T1" fmla="*/ 3 h 16"/>
                <a:gd name="T2" fmla="*/ 0 w 6"/>
                <a:gd name="T3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6">
                  <a:moveTo>
                    <a:pt x="0" y="3"/>
                  </a:moveTo>
                  <a:cubicBezTo>
                    <a:pt x="2" y="15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0" name="Freeform 998"/>
            <p:cNvSpPr>
              <a:spLocks noChangeArrowheads="1"/>
            </p:cNvSpPr>
            <p:nvPr/>
          </p:nvSpPr>
          <p:spPr bwMode="auto">
            <a:xfrm>
              <a:off x="4349750" y="2690813"/>
              <a:ext cx="3175" cy="3175"/>
            </a:xfrm>
            <a:custGeom>
              <a:avLst/>
              <a:gdLst>
                <a:gd name="T0" fmla="*/ 6 w 10"/>
                <a:gd name="T1" fmla="*/ 0 h 9"/>
                <a:gd name="T2" fmla="*/ 0 w 10"/>
                <a:gd name="T3" fmla="*/ 3 h 9"/>
                <a:gd name="T4" fmla="*/ 3 w 10"/>
                <a:gd name="T5" fmla="*/ 8 h 9"/>
                <a:gd name="T6" fmla="*/ 9 w 10"/>
                <a:gd name="T7" fmla="*/ 6 h 9"/>
                <a:gd name="T8" fmla="*/ 6 w 10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6" y="0"/>
                  </a:moveTo>
                  <a:lnTo>
                    <a:pt x="0" y="3"/>
                  </a:lnTo>
                  <a:lnTo>
                    <a:pt x="3" y="8"/>
                  </a:lnTo>
                  <a:lnTo>
                    <a:pt x="9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1" name="Freeform 999"/>
            <p:cNvSpPr>
              <a:spLocks noChangeArrowheads="1"/>
            </p:cNvSpPr>
            <p:nvPr/>
          </p:nvSpPr>
          <p:spPr bwMode="auto">
            <a:xfrm>
              <a:off x="4333875" y="2662238"/>
              <a:ext cx="4763" cy="4762"/>
            </a:xfrm>
            <a:custGeom>
              <a:avLst/>
              <a:gdLst>
                <a:gd name="T0" fmla="*/ 8 w 12"/>
                <a:gd name="T1" fmla="*/ 14 h 15"/>
                <a:gd name="T2" fmla="*/ 8 w 12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8" y="14"/>
                  </a:moveTo>
                  <a:cubicBezTo>
                    <a:pt x="11" y="0"/>
                    <a:pt x="0" y="11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2" name="Freeform 1000"/>
            <p:cNvSpPr>
              <a:spLocks noChangeArrowheads="1"/>
            </p:cNvSpPr>
            <p:nvPr/>
          </p:nvSpPr>
          <p:spPr bwMode="auto">
            <a:xfrm>
              <a:off x="4344988" y="2684463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6 h 12"/>
                <a:gd name="T4" fmla="*/ 3 w 9"/>
                <a:gd name="T5" fmla="*/ 11 h 12"/>
                <a:gd name="T6" fmla="*/ 0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0" y="6"/>
                    <a:pt x="0" y="6"/>
                    <a:pt x="0" y="6"/>
                  </a:cubicBezTo>
                  <a:lnTo>
                    <a:pt x="3" y="11"/>
                  </a:lnTo>
                  <a:cubicBezTo>
                    <a:pt x="8" y="11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3" name="Freeform 1001"/>
            <p:cNvSpPr>
              <a:spLocks noChangeArrowheads="1"/>
            </p:cNvSpPr>
            <p:nvPr/>
          </p:nvSpPr>
          <p:spPr bwMode="auto">
            <a:xfrm>
              <a:off x="4333875" y="2671763"/>
              <a:ext cx="3175" cy="3175"/>
            </a:xfrm>
            <a:custGeom>
              <a:avLst/>
              <a:gdLst>
                <a:gd name="T0" fmla="*/ 0 w 9"/>
                <a:gd name="T1" fmla="*/ 0 h 7"/>
                <a:gd name="T2" fmla="*/ 8 w 9"/>
                <a:gd name="T3" fmla="*/ 6 h 7"/>
                <a:gd name="T4" fmla="*/ 0 w 9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0" y="0"/>
                  </a:moveTo>
                  <a:cubicBezTo>
                    <a:pt x="0" y="3"/>
                    <a:pt x="6" y="6"/>
                    <a:pt x="8" y="6"/>
                  </a:cubicBezTo>
                  <a:cubicBezTo>
                    <a:pt x="6" y="3"/>
                    <a:pt x="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4" name="Freeform 1002"/>
            <p:cNvSpPr>
              <a:spLocks noChangeArrowheads="1"/>
            </p:cNvSpPr>
            <p:nvPr/>
          </p:nvSpPr>
          <p:spPr bwMode="auto">
            <a:xfrm>
              <a:off x="4340225" y="2693988"/>
              <a:ext cx="6350" cy="4762"/>
            </a:xfrm>
            <a:custGeom>
              <a:avLst/>
              <a:gdLst>
                <a:gd name="T0" fmla="*/ 14 w 18"/>
                <a:gd name="T1" fmla="*/ 0 h 13"/>
                <a:gd name="T2" fmla="*/ 14 w 18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14" y="0"/>
                  </a:moveTo>
                  <a:cubicBezTo>
                    <a:pt x="0" y="6"/>
                    <a:pt x="17" y="12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5" name="Freeform 1003"/>
            <p:cNvSpPr>
              <a:spLocks noChangeArrowheads="1"/>
            </p:cNvSpPr>
            <p:nvPr/>
          </p:nvSpPr>
          <p:spPr bwMode="auto">
            <a:xfrm>
              <a:off x="4340225" y="2692400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3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6" name="Freeform 1004"/>
            <p:cNvSpPr>
              <a:spLocks noChangeArrowheads="1"/>
            </p:cNvSpPr>
            <p:nvPr/>
          </p:nvSpPr>
          <p:spPr bwMode="auto">
            <a:xfrm>
              <a:off x="4329113" y="2674938"/>
              <a:ext cx="1587" cy="4762"/>
            </a:xfrm>
            <a:custGeom>
              <a:avLst/>
              <a:gdLst>
                <a:gd name="T0" fmla="*/ 0 w 6"/>
                <a:gd name="T1" fmla="*/ 3 h 15"/>
                <a:gd name="T2" fmla="*/ 0 w 6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5">
                  <a:moveTo>
                    <a:pt x="0" y="3"/>
                  </a:moveTo>
                  <a:cubicBezTo>
                    <a:pt x="0" y="14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7" name="Freeform 1005"/>
            <p:cNvSpPr>
              <a:spLocks noChangeArrowheads="1"/>
            </p:cNvSpPr>
            <p:nvPr/>
          </p:nvSpPr>
          <p:spPr bwMode="auto">
            <a:xfrm>
              <a:off x="4325938" y="2676525"/>
              <a:ext cx="3175" cy="4763"/>
            </a:xfrm>
            <a:custGeom>
              <a:avLst/>
              <a:gdLst>
                <a:gd name="T0" fmla="*/ 0 w 7"/>
                <a:gd name="T1" fmla="*/ 2 h 12"/>
                <a:gd name="T2" fmla="*/ 0 w 7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2">
                  <a:moveTo>
                    <a:pt x="0" y="2"/>
                  </a:moveTo>
                  <a:cubicBezTo>
                    <a:pt x="3" y="11"/>
                    <a:pt x="6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8" name="Freeform 1006"/>
            <p:cNvSpPr>
              <a:spLocks noChangeArrowheads="1"/>
            </p:cNvSpPr>
            <p:nvPr/>
          </p:nvSpPr>
          <p:spPr bwMode="auto">
            <a:xfrm>
              <a:off x="4319588" y="2671763"/>
              <a:ext cx="3175" cy="4762"/>
            </a:xfrm>
            <a:custGeom>
              <a:avLst/>
              <a:gdLst>
                <a:gd name="T0" fmla="*/ 2 w 9"/>
                <a:gd name="T1" fmla="*/ 12 h 13"/>
                <a:gd name="T2" fmla="*/ 5 w 9"/>
                <a:gd name="T3" fmla="*/ 0 h 13"/>
                <a:gd name="T4" fmla="*/ 2 w 9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3">
                  <a:moveTo>
                    <a:pt x="2" y="12"/>
                  </a:moveTo>
                  <a:cubicBezTo>
                    <a:pt x="8" y="9"/>
                    <a:pt x="8" y="6"/>
                    <a:pt x="5" y="0"/>
                  </a:cubicBezTo>
                  <a:cubicBezTo>
                    <a:pt x="0" y="3"/>
                    <a:pt x="0" y="6"/>
                    <a:pt x="2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49" name="Freeform 1007"/>
            <p:cNvSpPr>
              <a:spLocks noChangeArrowheads="1"/>
            </p:cNvSpPr>
            <p:nvPr/>
          </p:nvSpPr>
          <p:spPr bwMode="auto">
            <a:xfrm>
              <a:off x="4300538" y="2679700"/>
              <a:ext cx="9525" cy="4763"/>
            </a:xfrm>
            <a:custGeom>
              <a:avLst/>
              <a:gdLst>
                <a:gd name="T0" fmla="*/ 19 w 26"/>
                <a:gd name="T1" fmla="*/ 0 h 12"/>
                <a:gd name="T2" fmla="*/ 8 w 26"/>
                <a:gd name="T3" fmla="*/ 8 h 12"/>
                <a:gd name="T4" fmla="*/ 19 w 2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12">
                  <a:moveTo>
                    <a:pt x="19" y="0"/>
                  </a:moveTo>
                  <a:cubicBezTo>
                    <a:pt x="17" y="0"/>
                    <a:pt x="0" y="3"/>
                    <a:pt x="8" y="8"/>
                  </a:cubicBezTo>
                  <a:cubicBezTo>
                    <a:pt x="8" y="11"/>
                    <a:pt x="25" y="6"/>
                    <a:pt x="1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0" name="Freeform 1008"/>
            <p:cNvSpPr>
              <a:spLocks noChangeArrowheads="1"/>
            </p:cNvSpPr>
            <p:nvPr/>
          </p:nvSpPr>
          <p:spPr bwMode="auto">
            <a:xfrm>
              <a:off x="4297363" y="2690813"/>
              <a:ext cx="3175" cy="1587"/>
            </a:xfrm>
            <a:custGeom>
              <a:avLst/>
              <a:gdLst>
                <a:gd name="T0" fmla="*/ 3 w 10"/>
                <a:gd name="T1" fmla="*/ 4 h 6"/>
                <a:gd name="T2" fmla="*/ 0 w 10"/>
                <a:gd name="T3" fmla="*/ 5 h 6"/>
                <a:gd name="T4" fmla="*/ 3 w 10"/>
                <a:gd name="T5" fmla="*/ 4 h 6"/>
                <a:gd name="T6" fmla="*/ 5 w 10"/>
                <a:gd name="T7" fmla="*/ 2 h 6"/>
                <a:gd name="T8" fmla="*/ 3 w 10"/>
                <a:gd name="T9" fmla="*/ 4 h 6"/>
                <a:gd name="T10" fmla="*/ 5 w 10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6">
                  <a:moveTo>
                    <a:pt x="3" y="4"/>
                  </a:moveTo>
                  <a:cubicBezTo>
                    <a:pt x="2" y="4"/>
                    <a:pt x="1" y="5"/>
                    <a:pt x="0" y="5"/>
                  </a:cubicBezTo>
                  <a:cubicBezTo>
                    <a:pt x="0" y="5"/>
                    <a:pt x="2" y="4"/>
                    <a:pt x="3" y="4"/>
                  </a:cubicBezTo>
                  <a:close/>
                  <a:moveTo>
                    <a:pt x="5" y="2"/>
                  </a:moveTo>
                  <a:cubicBezTo>
                    <a:pt x="9" y="0"/>
                    <a:pt x="6" y="2"/>
                    <a:pt x="3" y="4"/>
                  </a:cubicBezTo>
                  <a:cubicBezTo>
                    <a:pt x="3" y="3"/>
                    <a:pt x="4" y="3"/>
                    <a:pt x="5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1" name="Freeform 1009"/>
            <p:cNvSpPr>
              <a:spLocks noChangeArrowheads="1"/>
            </p:cNvSpPr>
            <p:nvPr/>
          </p:nvSpPr>
          <p:spPr bwMode="auto">
            <a:xfrm>
              <a:off x="4292600" y="2698750"/>
              <a:ext cx="3175" cy="6350"/>
            </a:xfrm>
            <a:custGeom>
              <a:avLst/>
              <a:gdLst>
                <a:gd name="T0" fmla="*/ 0 w 7"/>
                <a:gd name="T1" fmla="*/ 3 h 16"/>
                <a:gd name="T2" fmla="*/ 0 w 7"/>
                <a:gd name="T3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6">
                  <a:moveTo>
                    <a:pt x="0" y="3"/>
                  </a:moveTo>
                  <a:cubicBezTo>
                    <a:pt x="3" y="15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2" name="Freeform 1010"/>
            <p:cNvSpPr>
              <a:spLocks noChangeArrowheads="1"/>
            </p:cNvSpPr>
            <p:nvPr/>
          </p:nvSpPr>
          <p:spPr bwMode="auto">
            <a:xfrm>
              <a:off x="4335463" y="2684463"/>
              <a:ext cx="4762" cy="6350"/>
            </a:xfrm>
            <a:custGeom>
              <a:avLst/>
              <a:gdLst>
                <a:gd name="T0" fmla="*/ 8 w 15"/>
                <a:gd name="T1" fmla="*/ 17 h 18"/>
                <a:gd name="T2" fmla="*/ 8 w 15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8" y="17"/>
                  </a:moveTo>
                  <a:cubicBezTo>
                    <a:pt x="14" y="0"/>
                    <a:pt x="0" y="11"/>
                    <a:pt x="8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3" name="Freeform 1011"/>
            <p:cNvSpPr>
              <a:spLocks noChangeArrowheads="1"/>
            </p:cNvSpPr>
            <p:nvPr/>
          </p:nvSpPr>
          <p:spPr bwMode="auto">
            <a:xfrm>
              <a:off x="4330700" y="2692400"/>
              <a:ext cx="7938" cy="6350"/>
            </a:xfrm>
            <a:custGeom>
              <a:avLst/>
              <a:gdLst>
                <a:gd name="T0" fmla="*/ 19 w 20"/>
                <a:gd name="T1" fmla="*/ 16 h 17"/>
                <a:gd name="T2" fmla="*/ 0 w 20"/>
                <a:gd name="T3" fmla="*/ 2 h 17"/>
                <a:gd name="T4" fmla="*/ 19 w 20"/>
                <a:gd name="T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7">
                  <a:moveTo>
                    <a:pt x="19" y="16"/>
                  </a:moveTo>
                  <a:cubicBezTo>
                    <a:pt x="14" y="5"/>
                    <a:pt x="8" y="0"/>
                    <a:pt x="0" y="2"/>
                  </a:cubicBezTo>
                  <a:cubicBezTo>
                    <a:pt x="0" y="8"/>
                    <a:pt x="14" y="11"/>
                    <a:pt x="19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4" name="Freeform 1012"/>
            <p:cNvSpPr>
              <a:spLocks noChangeArrowheads="1"/>
            </p:cNvSpPr>
            <p:nvPr/>
          </p:nvSpPr>
          <p:spPr bwMode="auto">
            <a:xfrm>
              <a:off x="4297363" y="2686050"/>
              <a:ext cx="6350" cy="3175"/>
            </a:xfrm>
            <a:custGeom>
              <a:avLst/>
              <a:gdLst>
                <a:gd name="T0" fmla="*/ 0 w 18"/>
                <a:gd name="T1" fmla="*/ 8 h 9"/>
                <a:gd name="T2" fmla="*/ 0 w 18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0" y="8"/>
                  </a:moveTo>
                  <a:cubicBezTo>
                    <a:pt x="17" y="8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5" name="Freeform 1013"/>
            <p:cNvSpPr>
              <a:spLocks noChangeArrowheads="1"/>
            </p:cNvSpPr>
            <p:nvPr/>
          </p:nvSpPr>
          <p:spPr bwMode="auto">
            <a:xfrm>
              <a:off x="4035425" y="2697163"/>
              <a:ext cx="3175" cy="1587"/>
            </a:xfrm>
            <a:custGeom>
              <a:avLst/>
              <a:gdLst>
                <a:gd name="T0" fmla="*/ 6 w 10"/>
                <a:gd name="T1" fmla="*/ 0 h 6"/>
                <a:gd name="T2" fmla="*/ 0 w 10"/>
                <a:gd name="T3" fmla="*/ 5 h 6"/>
                <a:gd name="T4" fmla="*/ 6 w 10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6">
                  <a:moveTo>
                    <a:pt x="6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9" y="5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6" name="Freeform 1014"/>
            <p:cNvSpPr>
              <a:spLocks noChangeArrowheads="1"/>
            </p:cNvSpPr>
            <p:nvPr/>
          </p:nvSpPr>
          <p:spPr bwMode="auto">
            <a:xfrm>
              <a:off x="4054475" y="2697163"/>
              <a:ext cx="4763" cy="3175"/>
            </a:xfrm>
            <a:custGeom>
              <a:avLst/>
              <a:gdLst>
                <a:gd name="T0" fmla="*/ 0 w 12"/>
                <a:gd name="T1" fmla="*/ 5 h 9"/>
                <a:gd name="T2" fmla="*/ 0 w 12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11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7" name="Freeform 1015"/>
            <p:cNvSpPr>
              <a:spLocks noChangeArrowheads="1"/>
            </p:cNvSpPr>
            <p:nvPr/>
          </p:nvSpPr>
          <p:spPr bwMode="auto">
            <a:xfrm>
              <a:off x="4064000" y="2698750"/>
              <a:ext cx="3175" cy="1588"/>
            </a:xfrm>
            <a:custGeom>
              <a:avLst/>
              <a:gdLst>
                <a:gd name="T0" fmla="*/ 6 w 7"/>
                <a:gd name="T1" fmla="*/ 5 h 6"/>
                <a:gd name="T2" fmla="*/ 6 w 7"/>
                <a:gd name="T3" fmla="*/ 0 h 6"/>
                <a:gd name="T4" fmla="*/ 0 w 7"/>
                <a:gd name="T5" fmla="*/ 0 h 6"/>
                <a:gd name="T6" fmla="*/ 0 w 7"/>
                <a:gd name="T7" fmla="*/ 5 h 6"/>
                <a:gd name="T8" fmla="*/ 6 w 7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6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8" name="Freeform 1016"/>
            <p:cNvSpPr>
              <a:spLocks noChangeArrowheads="1"/>
            </p:cNvSpPr>
            <p:nvPr/>
          </p:nvSpPr>
          <p:spPr bwMode="auto">
            <a:xfrm>
              <a:off x="4070350" y="2697163"/>
              <a:ext cx="3175" cy="1587"/>
            </a:xfrm>
            <a:custGeom>
              <a:avLst/>
              <a:gdLst>
                <a:gd name="T0" fmla="*/ 6 w 10"/>
                <a:gd name="T1" fmla="*/ 0 h 6"/>
                <a:gd name="T2" fmla="*/ 0 w 10"/>
                <a:gd name="T3" fmla="*/ 5 h 6"/>
                <a:gd name="T4" fmla="*/ 6 w 10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6">
                  <a:moveTo>
                    <a:pt x="6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3" y="5"/>
                    <a:pt x="9" y="5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59" name="Freeform 1017"/>
            <p:cNvSpPr>
              <a:spLocks noChangeArrowheads="1"/>
            </p:cNvSpPr>
            <p:nvPr/>
          </p:nvSpPr>
          <p:spPr bwMode="auto">
            <a:xfrm>
              <a:off x="4076700" y="2697163"/>
              <a:ext cx="3175" cy="4762"/>
            </a:xfrm>
            <a:custGeom>
              <a:avLst/>
              <a:gdLst>
                <a:gd name="T0" fmla="*/ 3 w 10"/>
                <a:gd name="T1" fmla="*/ 0 h 12"/>
                <a:gd name="T2" fmla="*/ 0 w 10"/>
                <a:gd name="T3" fmla="*/ 8 h 12"/>
                <a:gd name="T4" fmla="*/ 3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3" y="0"/>
                  </a:moveTo>
                  <a:cubicBezTo>
                    <a:pt x="3" y="3"/>
                    <a:pt x="0" y="3"/>
                    <a:pt x="0" y="8"/>
                  </a:cubicBezTo>
                  <a:cubicBezTo>
                    <a:pt x="9" y="11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0" name="Freeform 1018"/>
            <p:cNvSpPr>
              <a:spLocks noChangeArrowheads="1"/>
            </p:cNvSpPr>
            <p:nvPr/>
          </p:nvSpPr>
          <p:spPr bwMode="auto">
            <a:xfrm>
              <a:off x="4016375" y="2708275"/>
              <a:ext cx="3175" cy="1588"/>
            </a:xfrm>
            <a:custGeom>
              <a:avLst/>
              <a:gdLst>
                <a:gd name="T0" fmla="*/ 0 w 9"/>
                <a:gd name="T1" fmla="*/ 5 h 6"/>
                <a:gd name="T2" fmla="*/ 8 w 9"/>
                <a:gd name="T3" fmla="*/ 0 h 6"/>
                <a:gd name="T4" fmla="*/ 0 w 9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0" y="5"/>
                  </a:moveTo>
                  <a:cubicBezTo>
                    <a:pt x="5" y="5"/>
                    <a:pt x="8" y="3"/>
                    <a:pt x="8" y="0"/>
                  </a:cubicBezTo>
                  <a:cubicBezTo>
                    <a:pt x="3" y="0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1" name="Freeform 1019"/>
            <p:cNvSpPr>
              <a:spLocks noChangeArrowheads="1"/>
            </p:cNvSpPr>
            <p:nvPr/>
          </p:nvSpPr>
          <p:spPr bwMode="auto">
            <a:xfrm>
              <a:off x="4064000" y="2701925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0 w 10"/>
                <a:gd name="T3" fmla="*/ 0 h 9"/>
                <a:gd name="T4" fmla="*/ 9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cubicBezTo>
                    <a:pt x="9" y="3"/>
                    <a:pt x="3" y="0"/>
                    <a:pt x="0" y="0"/>
                  </a:cubicBezTo>
                  <a:cubicBezTo>
                    <a:pt x="0" y="6"/>
                    <a:pt x="3" y="8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2" name="Freeform 1020"/>
            <p:cNvSpPr>
              <a:spLocks noChangeArrowheads="1"/>
            </p:cNvSpPr>
            <p:nvPr/>
          </p:nvSpPr>
          <p:spPr bwMode="auto">
            <a:xfrm>
              <a:off x="4008438" y="2709863"/>
              <a:ext cx="3175" cy="3175"/>
            </a:xfrm>
            <a:custGeom>
              <a:avLst/>
              <a:gdLst>
                <a:gd name="T0" fmla="*/ 0 w 7"/>
                <a:gd name="T1" fmla="*/ 0 h 7"/>
                <a:gd name="T2" fmla="*/ 0 w 7"/>
                <a:gd name="T3" fmla="*/ 6 h 7"/>
                <a:gd name="T4" fmla="*/ 6 w 7"/>
                <a:gd name="T5" fmla="*/ 6 h 7"/>
                <a:gd name="T6" fmla="*/ 6 w 7"/>
                <a:gd name="T7" fmla="*/ 0 h 7"/>
                <a:gd name="T8" fmla="*/ 0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3" name="Freeform 1021"/>
            <p:cNvSpPr>
              <a:spLocks noChangeArrowheads="1"/>
            </p:cNvSpPr>
            <p:nvPr/>
          </p:nvSpPr>
          <p:spPr bwMode="auto">
            <a:xfrm>
              <a:off x="4040188" y="2706688"/>
              <a:ext cx="4762" cy="3175"/>
            </a:xfrm>
            <a:custGeom>
              <a:avLst/>
              <a:gdLst>
                <a:gd name="T0" fmla="*/ 0 w 12"/>
                <a:gd name="T1" fmla="*/ 6 h 10"/>
                <a:gd name="T2" fmla="*/ 2 w 12"/>
                <a:gd name="T3" fmla="*/ 9 h 10"/>
                <a:gd name="T4" fmla="*/ 8 w 12"/>
                <a:gd name="T5" fmla="*/ 9 h 10"/>
                <a:gd name="T6" fmla="*/ 0 w 12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2" y="6"/>
                    <a:pt x="2" y="6"/>
                    <a:pt x="2" y="9"/>
                  </a:cubicBezTo>
                  <a:lnTo>
                    <a:pt x="8" y="9"/>
                  </a:lnTo>
                  <a:cubicBezTo>
                    <a:pt x="11" y="0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4" name="Freeform 1022"/>
            <p:cNvSpPr>
              <a:spLocks noChangeArrowheads="1"/>
            </p:cNvSpPr>
            <p:nvPr/>
          </p:nvSpPr>
          <p:spPr bwMode="auto">
            <a:xfrm>
              <a:off x="4057650" y="2705100"/>
              <a:ext cx="4763" cy="3175"/>
            </a:xfrm>
            <a:custGeom>
              <a:avLst/>
              <a:gdLst>
                <a:gd name="T0" fmla="*/ 0 w 13"/>
                <a:gd name="T1" fmla="*/ 6 h 10"/>
                <a:gd name="T2" fmla="*/ 0 w 13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6"/>
                  </a:moveTo>
                  <a:cubicBezTo>
                    <a:pt x="12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5" name="Freeform 1023"/>
            <p:cNvSpPr>
              <a:spLocks noChangeArrowheads="1"/>
            </p:cNvSpPr>
            <p:nvPr/>
          </p:nvSpPr>
          <p:spPr bwMode="auto">
            <a:xfrm>
              <a:off x="4021138" y="2709863"/>
              <a:ext cx="3175" cy="6350"/>
            </a:xfrm>
            <a:custGeom>
              <a:avLst/>
              <a:gdLst>
                <a:gd name="T0" fmla="*/ 0 w 9"/>
                <a:gd name="T1" fmla="*/ 12 h 18"/>
                <a:gd name="T2" fmla="*/ 0 w 9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12"/>
                  </a:moveTo>
                  <a:cubicBezTo>
                    <a:pt x="8" y="17"/>
                    <a:pt x="3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6" name="Freeform 1024"/>
            <p:cNvSpPr>
              <a:spLocks noChangeArrowheads="1"/>
            </p:cNvSpPr>
            <p:nvPr/>
          </p:nvSpPr>
          <p:spPr bwMode="auto">
            <a:xfrm>
              <a:off x="4038600" y="2709863"/>
              <a:ext cx="4763" cy="3175"/>
            </a:xfrm>
            <a:custGeom>
              <a:avLst/>
              <a:gdLst>
                <a:gd name="T0" fmla="*/ 3 w 15"/>
                <a:gd name="T1" fmla="*/ 0 h 10"/>
                <a:gd name="T2" fmla="*/ 14 w 15"/>
                <a:gd name="T3" fmla="*/ 6 h 10"/>
                <a:gd name="T4" fmla="*/ 3 w 15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3" y="0"/>
                  </a:moveTo>
                  <a:cubicBezTo>
                    <a:pt x="0" y="9"/>
                    <a:pt x="8" y="9"/>
                    <a:pt x="14" y="6"/>
                  </a:cubicBezTo>
                  <a:cubicBezTo>
                    <a:pt x="14" y="0"/>
                    <a:pt x="8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7" name="Freeform 1025"/>
            <p:cNvSpPr>
              <a:spLocks noChangeArrowheads="1"/>
            </p:cNvSpPr>
            <p:nvPr/>
          </p:nvSpPr>
          <p:spPr bwMode="auto">
            <a:xfrm>
              <a:off x="4051300" y="2709863"/>
              <a:ext cx="3175" cy="3175"/>
            </a:xfrm>
            <a:custGeom>
              <a:avLst/>
              <a:gdLst>
                <a:gd name="T0" fmla="*/ 0 w 9"/>
                <a:gd name="T1" fmla="*/ 0 h 9"/>
                <a:gd name="T2" fmla="*/ 5 w 9"/>
                <a:gd name="T3" fmla="*/ 8 h 9"/>
                <a:gd name="T4" fmla="*/ 0 w 9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cubicBezTo>
                    <a:pt x="0" y="5"/>
                    <a:pt x="2" y="8"/>
                    <a:pt x="5" y="8"/>
                  </a:cubicBezTo>
                  <a:cubicBezTo>
                    <a:pt x="0" y="2"/>
                    <a:pt x="8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8" name="Freeform 1026"/>
            <p:cNvSpPr>
              <a:spLocks noChangeArrowheads="1"/>
            </p:cNvSpPr>
            <p:nvPr/>
          </p:nvSpPr>
          <p:spPr bwMode="auto">
            <a:xfrm>
              <a:off x="4057650" y="2708275"/>
              <a:ext cx="4763" cy="1588"/>
            </a:xfrm>
            <a:custGeom>
              <a:avLst/>
              <a:gdLst>
                <a:gd name="T0" fmla="*/ 0 w 15"/>
                <a:gd name="T1" fmla="*/ 5 h 6"/>
                <a:gd name="T2" fmla="*/ 11 w 15"/>
                <a:gd name="T3" fmla="*/ 3 h 6"/>
                <a:gd name="T4" fmla="*/ 0 w 15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6">
                  <a:moveTo>
                    <a:pt x="0" y="5"/>
                  </a:moveTo>
                  <a:cubicBezTo>
                    <a:pt x="2" y="3"/>
                    <a:pt x="14" y="5"/>
                    <a:pt x="11" y="3"/>
                  </a:cubicBezTo>
                  <a:cubicBezTo>
                    <a:pt x="8" y="3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69" name="Freeform 1027"/>
            <p:cNvSpPr>
              <a:spLocks noChangeArrowheads="1"/>
            </p:cNvSpPr>
            <p:nvPr/>
          </p:nvSpPr>
          <p:spPr bwMode="auto">
            <a:xfrm>
              <a:off x="3962400" y="2695575"/>
              <a:ext cx="4763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0" name="Freeform 1028"/>
            <p:cNvSpPr>
              <a:spLocks noChangeArrowheads="1"/>
            </p:cNvSpPr>
            <p:nvPr/>
          </p:nvSpPr>
          <p:spPr bwMode="auto">
            <a:xfrm>
              <a:off x="4024313" y="2714625"/>
              <a:ext cx="3175" cy="1588"/>
            </a:xfrm>
            <a:custGeom>
              <a:avLst/>
              <a:gdLst>
                <a:gd name="T0" fmla="*/ 3 w 10"/>
                <a:gd name="T1" fmla="*/ 5 h 6"/>
                <a:gd name="T2" fmla="*/ 9 w 10"/>
                <a:gd name="T3" fmla="*/ 0 h 6"/>
                <a:gd name="T4" fmla="*/ 3 w 10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6">
                  <a:moveTo>
                    <a:pt x="3" y="5"/>
                  </a:moveTo>
                  <a:cubicBezTo>
                    <a:pt x="6" y="5"/>
                    <a:pt x="9" y="3"/>
                    <a:pt x="9" y="0"/>
                  </a:cubicBezTo>
                  <a:cubicBezTo>
                    <a:pt x="6" y="0"/>
                    <a:pt x="0" y="0"/>
                    <a:pt x="3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1" name="Freeform 1029"/>
            <p:cNvSpPr>
              <a:spLocks noChangeArrowheads="1"/>
            </p:cNvSpPr>
            <p:nvPr/>
          </p:nvSpPr>
          <p:spPr bwMode="auto">
            <a:xfrm>
              <a:off x="3973513" y="2693988"/>
              <a:ext cx="3175" cy="6350"/>
            </a:xfrm>
            <a:custGeom>
              <a:avLst/>
              <a:gdLst>
                <a:gd name="T0" fmla="*/ 0 w 7"/>
                <a:gd name="T1" fmla="*/ 9 h 18"/>
                <a:gd name="T2" fmla="*/ 0 w 7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9"/>
                  </a:moveTo>
                  <a:cubicBezTo>
                    <a:pt x="6" y="17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2" name="Freeform 1030"/>
            <p:cNvSpPr>
              <a:spLocks noChangeArrowheads="1"/>
            </p:cNvSpPr>
            <p:nvPr/>
          </p:nvSpPr>
          <p:spPr bwMode="auto">
            <a:xfrm>
              <a:off x="4037013" y="2713038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6 w 7"/>
                <a:gd name="T3" fmla="*/ 0 h 7"/>
                <a:gd name="T4" fmla="*/ 0 w 7"/>
                <a:gd name="T5" fmla="*/ 0 h 7"/>
                <a:gd name="T6" fmla="*/ 0 w 7"/>
                <a:gd name="T7" fmla="*/ 6 h 7"/>
                <a:gd name="T8" fmla="*/ 6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3" name="Freeform 1031"/>
            <p:cNvSpPr>
              <a:spLocks noChangeArrowheads="1"/>
            </p:cNvSpPr>
            <p:nvPr/>
          </p:nvSpPr>
          <p:spPr bwMode="auto">
            <a:xfrm>
              <a:off x="4046538" y="2713038"/>
              <a:ext cx="3175" cy="3175"/>
            </a:xfrm>
            <a:custGeom>
              <a:avLst/>
              <a:gdLst>
                <a:gd name="T0" fmla="*/ 9 w 10"/>
                <a:gd name="T1" fmla="*/ 8 h 9"/>
                <a:gd name="T2" fmla="*/ 0 w 10"/>
                <a:gd name="T3" fmla="*/ 0 h 9"/>
                <a:gd name="T4" fmla="*/ 9 w 10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cubicBezTo>
                    <a:pt x="9" y="0"/>
                    <a:pt x="3" y="0"/>
                    <a:pt x="0" y="0"/>
                  </a:cubicBezTo>
                  <a:cubicBezTo>
                    <a:pt x="0" y="6"/>
                    <a:pt x="3" y="6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4" name="Freeform 1032"/>
            <p:cNvSpPr>
              <a:spLocks noChangeArrowheads="1"/>
            </p:cNvSpPr>
            <p:nvPr/>
          </p:nvSpPr>
          <p:spPr bwMode="auto">
            <a:xfrm>
              <a:off x="4087813" y="2706688"/>
              <a:ext cx="6350" cy="4762"/>
            </a:xfrm>
            <a:custGeom>
              <a:avLst/>
              <a:gdLst>
                <a:gd name="T0" fmla="*/ 17 w 18"/>
                <a:gd name="T1" fmla="*/ 0 h 12"/>
                <a:gd name="T2" fmla="*/ 17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17" y="0"/>
                  </a:moveTo>
                  <a:cubicBezTo>
                    <a:pt x="0" y="3"/>
                    <a:pt x="14" y="11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5" name="Freeform 1033"/>
            <p:cNvSpPr>
              <a:spLocks noChangeArrowheads="1"/>
            </p:cNvSpPr>
            <p:nvPr/>
          </p:nvSpPr>
          <p:spPr bwMode="auto">
            <a:xfrm>
              <a:off x="4095750" y="2706688"/>
              <a:ext cx="4763" cy="3175"/>
            </a:xfrm>
            <a:custGeom>
              <a:avLst/>
              <a:gdLst>
                <a:gd name="T0" fmla="*/ 14 w 15"/>
                <a:gd name="T1" fmla="*/ 3 h 10"/>
                <a:gd name="T2" fmla="*/ 0 w 15"/>
                <a:gd name="T3" fmla="*/ 9 h 10"/>
                <a:gd name="T4" fmla="*/ 14 w 15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14" y="3"/>
                  </a:moveTo>
                  <a:cubicBezTo>
                    <a:pt x="8" y="3"/>
                    <a:pt x="0" y="0"/>
                    <a:pt x="0" y="9"/>
                  </a:cubicBezTo>
                  <a:cubicBezTo>
                    <a:pt x="3" y="3"/>
                    <a:pt x="14" y="9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6" name="Freeform 1034"/>
            <p:cNvSpPr>
              <a:spLocks noChangeArrowheads="1"/>
            </p:cNvSpPr>
            <p:nvPr/>
          </p:nvSpPr>
          <p:spPr bwMode="auto">
            <a:xfrm>
              <a:off x="4079875" y="2706688"/>
              <a:ext cx="4763" cy="6350"/>
            </a:xfrm>
            <a:custGeom>
              <a:avLst/>
              <a:gdLst>
                <a:gd name="T0" fmla="*/ 12 w 13"/>
                <a:gd name="T1" fmla="*/ 6 h 18"/>
                <a:gd name="T2" fmla="*/ 12 w 13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12" y="6"/>
                  </a:moveTo>
                  <a:cubicBezTo>
                    <a:pt x="0" y="0"/>
                    <a:pt x="6" y="17"/>
                    <a:pt x="1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7" name="Freeform 1035"/>
            <p:cNvSpPr>
              <a:spLocks noChangeArrowheads="1"/>
            </p:cNvSpPr>
            <p:nvPr/>
          </p:nvSpPr>
          <p:spPr bwMode="auto">
            <a:xfrm>
              <a:off x="3987800" y="2698750"/>
              <a:ext cx="3175" cy="3175"/>
            </a:xfrm>
            <a:custGeom>
              <a:avLst/>
              <a:gdLst>
                <a:gd name="T0" fmla="*/ 8 w 9"/>
                <a:gd name="T1" fmla="*/ 6 h 7"/>
                <a:gd name="T2" fmla="*/ 3 w 9"/>
                <a:gd name="T3" fmla="*/ 0 h 7"/>
                <a:gd name="T4" fmla="*/ 8 w 9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8" y="6"/>
                  </a:moveTo>
                  <a:cubicBezTo>
                    <a:pt x="8" y="3"/>
                    <a:pt x="5" y="0"/>
                    <a:pt x="3" y="0"/>
                  </a:cubicBezTo>
                  <a:cubicBezTo>
                    <a:pt x="0" y="3"/>
                    <a:pt x="3" y="6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8" name="Freeform 1036"/>
            <p:cNvSpPr>
              <a:spLocks noChangeArrowheads="1"/>
            </p:cNvSpPr>
            <p:nvPr/>
          </p:nvSpPr>
          <p:spPr bwMode="auto">
            <a:xfrm>
              <a:off x="3998913" y="2695575"/>
              <a:ext cx="4762" cy="3175"/>
            </a:xfrm>
            <a:custGeom>
              <a:avLst/>
              <a:gdLst>
                <a:gd name="T0" fmla="*/ 0 w 15"/>
                <a:gd name="T1" fmla="*/ 9 h 10"/>
                <a:gd name="T2" fmla="*/ 0 w 15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0">
                  <a:moveTo>
                    <a:pt x="0" y="9"/>
                  </a:moveTo>
                  <a:cubicBezTo>
                    <a:pt x="14" y="9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79" name="Freeform 1037"/>
            <p:cNvSpPr>
              <a:spLocks noChangeArrowheads="1"/>
            </p:cNvSpPr>
            <p:nvPr/>
          </p:nvSpPr>
          <p:spPr bwMode="auto">
            <a:xfrm>
              <a:off x="4087813" y="2709863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0" name="Freeform 1038"/>
            <p:cNvSpPr>
              <a:spLocks noChangeArrowheads="1"/>
            </p:cNvSpPr>
            <p:nvPr/>
          </p:nvSpPr>
          <p:spPr bwMode="auto">
            <a:xfrm>
              <a:off x="4005263" y="2695575"/>
              <a:ext cx="1587" cy="6350"/>
            </a:xfrm>
            <a:custGeom>
              <a:avLst/>
              <a:gdLst>
                <a:gd name="T0" fmla="*/ 0 w 6"/>
                <a:gd name="T1" fmla="*/ 8 h 18"/>
                <a:gd name="T2" fmla="*/ 0 w 6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8">
                  <a:moveTo>
                    <a:pt x="0" y="8"/>
                  </a:moveTo>
                  <a:cubicBezTo>
                    <a:pt x="5" y="17"/>
                    <a:pt x="2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1" name="Freeform 1039"/>
            <p:cNvSpPr>
              <a:spLocks noChangeArrowheads="1"/>
            </p:cNvSpPr>
            <p:nvPr/>
          </p:nvSpPr>
          <p:spPr bwMode="auto">
            <a:xfrm>
              <a:off x="4021138" y="2695575"/>
              <a:ext cx="4762" cy="4763"/>
            </a:xfrm>
            <a:custGeom>
              <a:avLst/>
              <a:gdLst>
                <a:gd name="T0" fmla="*/ 8 w 15"/>
                <a:gd name="T1" fmla="*/ 14 h 15"/>
                <a:gd name="T2" fmla="*/ 0 w 15"/>
                <a:gd name="T3" fmla="*/ 3 h 15"/>
                <a:gd name="T4" fmla="*/ 8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8" y="14"/>
                  </a:moveTo>
                  <a:cubicBezTo>
                    <a:pt x="14" y="9"/>
                    <a:pt x="6" y="0"/>
                    <a:pt x="0" y="3"/>
                  </a:cubicBezTo>
                  <a:cubicBezTo>
                    <a:pt x="3" y="9"/>
                    <a:pt x="3" y="14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2" name="Freeform 1040"/>
            <p:cNvSpPr>
              <a:spLocks noChangeArrowheads="1"/>
            </p:cNvSpPr>
            <p:nvPr/>
          </p:nvSpPr>
          <p:spPr bwMode="auto">
            <a:xfrm>
              <a:off x="3976688" y="2700338"/>
              <a:ext cx="4762" cy="3175"/>
            </a:xfrm>
            <a:custGeom>
              <a:avLst/>
              <a:gdLst>
                <a:gd name="T0" fmla="*/ 0 w 12"/>
                <a:gd name="T1" fmla="*/ 6 h 10"/>
                <a:gd name="T2" fmla="*/ 0 w 12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11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3" name="Freeform 1041"/>
            <p:cNvSpPr>
              <a:spLocks noChangeArrowheads="1"/>
            </p:cNvSpPr>
            <p:nvPr/>
          </p:nvSpPr>
          <p:spPr bwMode="auto">
            <a:xfrm>
              <a:off x="4083050" y="2711450"/>
              <a:ext cx="4763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4" name="Freeform 1042"/>
            <p:cNvSpPr>
              <a:spLocks noChangeArrowheads="1"/>
            </p:cNvSpPr>
            <p:nvPr/>
          </p:nvSpPr>
          <p:spPr bwMode="auto">
            <a:xfrm>
              <a:off x="3997325" y="2698750"/>
              <a:ext cx="4763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5" name="Freeform 1043"/>
            <p:cNvSpPr>
              <a:spLocks noChangeArrowheads="1"/>
            </p:cNvSpPr>
            <p:nvPr/>
          </p:nvSpPr>
          <p:spPr bwMode="auto">
            <a:xfrm>
              <a:off x="3979863" y="2701925"/>
              <a:ext cx="4762" cy="3175"/>
            </a:xfrm>
            <a:custGeom>
              <a:avLst/>
              <a:gdLst>
                <a:gd name="T0" fmla="*/ 3 w 12"/>
                <a:gd name="T1" fmla="*/ 8 h 9"/>
                <a:gd name="T2" fmla="*/ 3 w 12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3" y="8"/>
                  </a:moveTo>
                  <a:cubicBezTo>
                    <a:pt x="11" y="8"/>
                    <a:pt x="0" y="0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6" name="Freeform 1044"/>
            <p:cNvSpPr>
              <a:spLocks noChangeArrowheads="1"/>
            </p:cNvSpPr>
            <p:nvPr/>
          </p:nvSpPr>
          <p:spPr bwMode="auto">
            <a:xfrm>
              <a:off x="3994150" y="2701925"/>
              <a:ext cx="3175" cy="3175"/>
            </a:xfrm>
            <a:custGeom>
              <a:avLst/>
              <a:gdLst>
                <a:gd name="T0" fmla="*/ 8 w 9"/>
                <a:gd name="T1" fmla="*/ 0 h 9"/>
                <a:gd name="T2" fmla="*/ 0 w 9"/>
                <a:gd name="T3" fmla="*/ 8 h 9"/>
                <a:gd name="T4" fmla="*/ 8 w 9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0"/>
                  </a:moveTo>
                  <a:cubicBezTo>
                    <a:pt x="0" y="0"/>
                    <a:pt x="0" y="6"/>
                    <a:pt x="0" y="8"/>
                  </a:cubicBezTo>
                  <a:cubicBezTo>
                    <a:pt x="5" y="8"/>
                    <a:pt x="8" y="6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7" name="Freeform 1045"/>
            <p:cNvSpPr>
              <a:spLocks noChangeArrowheads="1"/>
            </p:cNvSpPr>
            <p:nvPr/>
          </p:nvSpPr>
          <p:spPr bwMode="auto">
            <a:xfrm>
              <a:off x="4029075" y="2695575"/>
              <a:ext cx="1588" cy="6350"/>
            </a:xfrm>
            <a:custGeom>
              <a:avLst/>
              <a:gdLst>
                <a:gd name="T0" fmla="*/ 0 w 6"/>
                <a:gd name="T1" fmla="*/ 8 h 18"/>
                <a:gd name="T2" fmla="*/ 0 w 6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8">
                  <a:moveTo>
                    <a:pt x="0" y="8"/>
                  </a:moveTo>
                  <a:cubicBezTo>
                    <a:pt x="5" y="17"/>
                    <a:pt x="2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8" name="Freeform 1046"/>
            <p:cNvSpPr>
              <a:spLocks noChangeArrowheads="1"/>
            </p:cNvSpPr>
            <p:nvPr/>
          </p:nvSpPr>
          <p:spPr bwMode="auto">
            <a:xfrm>
              <a:off x="3967163" y="2705100"/>
              <a:ext cx="4762" cy="6350"/>
            </a:xfrm>
            <a:custGeom>
              <a:avLst/>
              <a:gdLst>
                <a:gd name="T0" fmla="*/ 14 w 15"/>
                <a:gd name="T1" fmla="*/ 9 h 18"/>
                <a:gd name="T2" fmla="*/ 14 w 15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14" y="9"/>
                  </a:moveTo>
                  <a:cubicBezTo>
                    <a:pt x="0" y="0"/>
                    <a:pt x="6" y="17"/>
                    <a:pt x="1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89" name="Freeform 1047"/>
            <p:cNvSpPr>
              <a:spLocks noChangeArrowheads="1"/>
            </p:cNvSpPr>
            <p:nvPr/>
          </p:nvSpPr>
          <p:spPr bwMode="auto">
            <a:xfrm>
              <a:off x="4003675" y="2701925"/>
              <a:ext cx="4763" cy="3175"/>
            </a:xfrm>
            <a:custGeom>
              <a:avLst/>
              <a:gdLst>
                <a:gd name="T0" fmla="*/ 0 w 12"/>
                <a:gd name="T1" fmla="*/ 3 h 9"/>
                <a:gd name="T2" fmla="*/ 11 w 12"/>
                <a:gd name="T3" fmla="*/ 8 h 9"/>
                <a:gd name="T4" fmla="*/ 0 w 12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0" y="3"/>
                  </a:moveTo>
                  <a:cubicBezTo>
                    <a:pt x="0" y="8"/>
                    <a:pt x="6" y="8"/>
                    <a:pt x="11" y="8"/>
                  </a:cubicBezTo>
                  <a:cubicBezTo>
                    <a:pt x="11" y="3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0" name="Freeform 1048"/>
            <p:cNvSpPr>
              <a:spLocks noChangeArrowheads="1"/>
            </p:cNvSpPr>
            <p:nvPr/>
          </p:nvSpPr>
          <p:spPr bwMode="auto">
            <a:xfrm>
              <a:off x="3962400" y="2708275"/>
              <a:ext cx="3175" cy="7938"/>
            </a:xfrm>
            <a:custGeom>
              <a:avLst/>
              <a:gdLst>
                <a:gd name="T0" fmla="*/ 0 w 10"/>
                <a:gd name="T1" fmla="*/ 11 h 21"/>
                <a:gd name="T2" fmla="*/ 0 w 10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11"/>
                  </a:moveTo>
                  <a:cubicBezTo>
                    <a:pt x="9" y="20"/>
                    <a:pt x="3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1" name="Freeform 1049"/>
            <p:cNvSpPr>
              <a:spLocks noChangeArrowheads="1"/>
            </p:cNvSpPr>
            <p:nvPr/>
          </p:nvSpPr>
          <p:spPr bwMode="auto">
            <a:xfrm>
              <a:off x="3995738" y="2705100"/>
              <a:ext cx="4762" cy="3175"/>
            </a:xfrm>
            <a:custGeom>
              <a:avLst/>
              <a:gdLst>
                <a:gd name="T0" fmla="*/ 0 w 13"/>
                <a:gd name="T1" fmla="*/ 9 h 10"/>
                <a:gd name="T2" fmla="*/ 0 w 13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9"/>
                  </a:moveTo>
                  <a:cubicBezTo>
                    <a:pt x="12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2" name="Freeform 1050"/>
            <p:cNvSpPr>
              <a:spLocks noChangeArrowheads="1"/>
            </p:cNvSpPr>
            <p:nvPr/>
          </p:nvSpPr>
          <p:spPr bwMode="auto">
            <a:xfrm>
              <a:off x="3963988" y="2714625"/>
              <a:ext cx="4762" cy="3175"/>
            </a:xfrm>
            <a:custGeom>
              <a:avLst/>
              <a:gdLst>
                <a:gd name="T0" fmla="*/ 14 w 15"/>
                <a:gd name="T1" fmla="*/ 3 h 9"/>
                <a:gd name="T2" fmla="*/ 0 w 15"/>
                <a:gd name="T3" fmla="*/ 8 h 9"/>
                <a:gd name="T4" fmla="*/ 14 w 15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3"/>
                  </a:moveTo>
                  <a:cubicBezTo>
                    <a:pt x="8" y="0"/>
                    <a:pt x="3" y="3"/>
                    <a:pt x="0" y="8"/>
                  </a:cubicBezTo>
                  <a:cubicBezTo>
                    <a:pt x="3" y="5"/>
                    <a:pt x="14" y="8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3" name="Freeform 1051"/>
            <p:cNvSpPr>
              <a:spLocks noChangeArrowheads="1"/>
            </p:cNvSpPr>
            <p:nvPr/>
          </p:nvSpPr>
          <p:spPr bwMode="auto">
            <a:xfrm>
              <a:off x="4084638" y="2698750"/>
              <a:ext cx="7937" cy="4763"/>
            </a:xfrm>
            <a:custGeom>
              <a:avLst/>
              <a:gdLst>
                <a:gd name="T0" fmla="*/ 3 w 20"/>
                <a:gd name="T1" fmla="*/ 11 h 12"/>
                <a:gd name="T2" fmla="*/ 11 w 20"/>
                <a:gd name="T3" fmla="*/ 0 h 12"/>
                <a:gd name="T4" fmla="*/ 3 w 20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2">
                  <a:moveTo>
                    <a:pt x="3" y="11"/>
                  </a:moveTo>
                  <a:cubicBezTo>
                    <a:pt x="5" y="8"/>
                    <a:pt x="19" y="2"/>
                    <a:pt x="11" y="0"/>
                  </a:cubicBezTo>
                  <a:cubicBezTo>
                    <a:pt x="11" y="5"/>
                    <a:pt x="0" y="2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4" name="Freeform 1052"/>
            <p:cNvSpPr>
              <a:spLocks noChangeArrowheads="1"/>
            </p:cNvSpPr>
            <p:nvPr/>
          </p:nvSpPr>
          <p:spPr bwMode="auto">
            <a:xfrm>
              <a:off x="4071938" y="2705100"/>
              <a:ext cx="4762" cy="4763"/>
            </a:xfrm>
            <a:custGeom>
              <a:avLst/>
              <a:gdLst>
                <a:gd name="T0" fmla="*/ 0 w 15"/>
                <a:gd name="T1" fmla="*/ 9 h 13"/>
                <a:gd name="T2" fmla="*/ 9 w 15"/>
                <a:gd name="T3" fmla="*/ 0 h 13"/>
                <a:gd name="T4" fmla="*/ 0 w 15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0" y="9"/>
                  </a:moveTo>
                  <a:cubicBezTo>
                    <a:pt x="9" y="12"/>
                    <a:pt x="14" y="0"/>
                    <a:pt x="9" y="0"/>
                  </a:cubicBezTo>
                  <a:cubicBezTo>
                    <a:pt x="11" y="9"/>
                    <a:pt x="0" y="3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5" name="Freeform 1053"/>
            <p:cNvSpPr>
              <a:spLocks noChangeArrowheads="1"/>
            </p:cNvSpPr>
            <p:nvPr/>
          </p:nvSpPr>
          <p:spPr bwMode="auto">
            <a:xfrm>
              <a:off x="4084638" y="2698750"/>
              <a:ext cx="4762" cy="7938"/>
            </a:xfrm>
            <a:custGeom>
              <a:avLst/>
              <a:gdLst>
                <a:gd name="T0" fmla="*/ 11 w 12"/>
                <a:gd name="T1" fmla="*/ 11 h 20"/>
                <a:gd name="T2" fmla="*/ 11 w 12"/>
                <a:gd name="T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0">
                  <a:moveTo>
                    <a:pt x="11" y="11"/>
                  </a:moveTo>
                  <a:cubicBezTo>
                    <a:pt x="0" y="0"/>
                    <a:pt x="8" y="19"/>
                    <a:pt x="1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6" name="Freeform 1054"/>
            <p:cNvSpPr>
              <a:spLocks noChangeArrowheads="1"/>
            </p:cNvSpPr>
            <p:nvPr/>
          </p:nvSpPr>
          <p:spPr bwMode="auto">
            <a:xfrm>
              <a:off x="4086225" y="2708275"/>
              <a:ext cx="3175" cy="4763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11 h 15"/>
                <a:gd name="T4" fmla="*/ 0 w 10"/>
                <a:gd name="T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0" y="3"/>
                    <a:pt x="3" y="11"/>
                    <a:pt x="0" y="11"/>
                  </a:cubicBezTo>
                  <a:cubicBezTo>
                    <a:pt x="9" y="14"/>
                    <a:pt x="3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7" name="Freeform 1055"/>
            <p:cNvSpPr>
              <a:spLocks noChangeArrowheads="1"/>
            </p:cNvSpPr>
            <p:nvPr/>
          </p:nvSpPr>
          <p:spPr bwMode="auto">
            <a:xfrm>
              <a:off x="4071938" y="2708275"/>
              <a:ext cx="3175" cy="4763"/>
            </a:xfrm>
            <a:custGeom>
              <a:avLst/>
              <a:gdLst>
                <a:gd name="T0" fmla="*/ 0 w 10"/>
                <a:gd name="T1" fmla="*/ 3 h 15"/>
                <a:gd name="T2" fmla="*/ 0 w 10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0" y="3"/>
                  </a:moveTo>
                  <a:cubicBezTo>
                    <a:pt x="3" y="14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8" name="Freeform 1056"/>
            <p:cNvSpPr>
              <a:spLocks noChangeArrowheads="1"/>
            </p:cNvSpPr>
            <p:nvPr/>
          </p:nvSpPr>
          <p:spPr bwMode="auto">
            <a:xfrm>
              <a:off x="4064000" y="2700338"/>
              <a:ext cx="3175" cy="4762"/>
            </a:xfrm>
            <a:custGeom>
              <a:avLst/>
              <a:gdLst>
                <a:gd name="T0" fmla="*/ 9 w 10"/>
                <a:gd name="T1" fmla="*/ 6 h 13"/>
                <a:gd name="T2" fmla="*/ 6 w 10"/>
                <a:gd name="T3" fmla="*/ 0 h 13"/>
                <a:gd name="T4" fmla="*/ 0 w 10"/>
                <a:gd name="T5" fmla="*/ 9 h 13"/>
                <a:gd name="T6" fmla="*/ 3 w 10"/>
                <a:gd name="T7" fmla="*/ 12 h 13"/>
                <a:gd name="T8" fmla="*/ 9 w 10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3">
                  <a:moveTo>
                    <a:pt x="9" y="6"/>
                  </a:moveTo>
                  <a:lnTo>
                    <a:pt x="6" y="0"/>
                  </a:lnTo>
                  <a:cubicBezTo>
                    <a:pt x="3" y="0"/>
                    <a:pt x="0" y="3"/>
                    <a:pt x="0" y="9"/>
                  </a:cubicBezTo>
                  <a:cubicBezTo>
                    <a:pt x="0" y="9"/>
                    <a:pt x="0" y="12"/>
                    <a:pt x="3" y="12"/>
                  </a:cubicBezTo>
                  <a:lnTo>
                    <a:pt x="9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099" name="Freeform 1057"/>
            <p:cNvSpPr>
              <a:spLocks noChangeArrowheads="1"/>
            </p:cNvSpPr>
            <p:nvPr/>
          </p:nvSpPr>
          <p:spPr bwMode="auto">
            <a:xfrm>
              <a:off x="4044950" y="2700338"/>
              <a:ext cx="3175" cy="4762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3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0" name="Freeform 1058"/>
            <p:cNvSpPr>
              <a:spLocks noChangeArrowheads="1"/>
            </p:cNvSpPr>
            <p:nvPr/>
          </p:nvSpPr>
          <p:spPr bwMode="auto">
            <a:xfrm>
              <a:off x="4043363" y="2705100"/>
              <a:ext cx="3175" cy="4763"/>
            </a:xfrm>
            <a:custGeom>
              <a:avLst/>
              <a:gdLst>
                <a:gd name="T0" fmla="*/ 0 w 7"/>
                <a:gd name="T1" fmla="*/ 2 h 15"/>
                <a:gd name="T2" fmla="*/ 0 w 7"/>
                <a:gd name="T3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0" y="2"/>
                  </a:moveTo>
                  <a:cubicBezTo>
                    <a:pt x="3" y="14"/>
                    <a:pt x="6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1" name="Freeform 1059"/>
            <p:cNvSpPr>
              <a:spLocks noChangeArrowheads="1"/>
            </p:cNvSpPr>
            <p:nvPr/>
          </p:nvSpPr>
          <p:spPr bwMode="auto">
            <a:xfrm>
              <a:off x="4029075" y="2695575"/>
              <a:ext cx="4763" cy="4763"/>
            </a:xfrm>
            <a:custGeom>
              <a:avLst/>
              <a:gdLst>
                <a:gd name="T0" fmla="*/ 9 w 13"/>
                <a:gd name="T1" fmla="*/ 14 h 15"/>
                <a:gd name="T2" fmla="*/ 9 w 13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9" y="14"/>
                  </a:moveTo>
                  <a:cubicBezTo>
                    <a:pt x="12" y="0"/>
                    <a:pt x="0" y="11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2" name="Freeform 1060"/>
            <p:cNvSpPr>
              <a:spLocks noChangeArrowheads="1"/>
            </p:cNvSpPr>
            <p:nvPr/>
          </p:nvSpPr>
          <p:spPr bwMode="auto">
            <a:xfrm>
              <a:off x="4003675" y="2697163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5 h 12"/>
                <a:gd name="T4" fmla="*/ 3 w 9"/>
                <a:gd name="T5" fmla="*/ 11 h 12"/>
                <a:gd name="T6" fmla="*/ 0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0" y="5"/>
                    <a:pt x="0" y="5"/>
                    <a:pt x="0" y="5"/>
                  </a:cubicBezTo>
                  <a:lnTo>
                    <a:pt x="3" y="11"/>
                  </a:lnTo>
                  <a:cubicBezTo>
                    <a:pt x="8" y="11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3" name="Freeform 1061"/>
            <p:cNvSpPr>
              <a:spLocks noChangeArrowheads="1"/>
            </p:cNvSpPr>
            <p:nvPr/>
          </p:nvSpPr>
          <p:spPr bwMode="auto">
            <a:xfrm>
              <a:off x="4029075" y="2705100"/>
              <a:ext cx="3175" cy="3175"/>
            </a:xfrm>
            <a:custGeom>
              <a:avLst/>
              <a:gdLst>
                <a:gd name="T0" fmla="*/ 0 w 9"/>
                <a:gd name="T1" fmla="*/ 0 h 7"/>
                <a:gd name="T2" fmla="*/ 8 w 9"/>
                <a:gd name="T3" fmla="*/ 6 h 7"/>
                <a:gd name="T4" fmla="*/ 0 w 9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0" y="0"/>
                  </a:moveTo>
                  <a:cubicBezTo>
                    <a:pt x="0" y="3"/>
                    <a:pt x="5" y="6"/>
                    <a:pt x="8" y="6"/>
                  </a:cubicBezTo>
                  <a:cubicBezTo>
                    <a:pt x="5" y="3"/>
                    <a:pt x="2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4" name="Freeform 1062"/>
            <p:cNvSpPr>
              <a:spLocks noChangeArrowheads="1"/>
            </p:cNvSpPr>
            <p:nvPr/>
          </p:nvSpPr>
          <p:spPr bwMode="auto">
            <a:xfrm>
              <a:off x="3997325" y="2706688"/>
              <a:ext cx="4763" cy="4762"/>
            </a:xfrm>
            <a:custGeom>
              <a:avLst/>
              <a:gdLst>
                <a:gd name="T0" fmla="*/ 14 w 15"/>
                <a:gd name="T1" fmla="*/ 0 h 12"/>
                <a:gd name="T2" fmla="*/ 14 w 15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2">
                  <a:moveTo>
                    <a:pt x="14" y="0"/>
                  </a:moveTo>
                  <a:cubicBezTo>
                    <a:pt x="0" y="6"/>
                    <a:pt x="14" y="11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5" name="Freeform 1063"/>
            <p:cNvSpPr>
              <a:spLocks noChangeArrowheads="1"/>
            </p:cNvSpPr>
            <p:nvPr/>
          </p:nvSpPr>
          <p:spPr bwMode="auto">
            <a:xfrm>
              <a:off x="3998913" y="2705100"/>
              <a:ext cx="3175" cy="4763"/>
            </a:xfrm>
            <a:custGeom>
              <a:avLst/>
              <a:gdLst>
                <a:gd name="T0" fmla="*/ 0 w 7"/>
                <a:gd name="T1" fmla="*/ 3 h 13"/>
                <a:gd name="T2" fmla="*/ 0 w 7"/>
                <a:gd name="T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3">
                  <a:moveTo>
                    <a:pt x="0" y="3"/>
                  </a:moveTo>
                  <a:cubicBezTo>
                    <a:pt x="3" y="12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6" name="Freeform 1064"/>
            <p:cNvSpPr>
              <a:spLocks noChangeArrowheads="1"/>
            </p:cNvSpPr>
            <p:nvPr/>
          </p:nvSpPr>
          <p:spPr bwMode="auto">
            <a:xfrm>
              <a:off x="4024313" y="2708275"/>
              <a:ext cx="3175" cy="4763"/>
            </a:xfrm>
            <a:custGeom>
              <a:avLst/>
              <a:gdLst>
                <a:gd name="T0" fmla="*/ 0 w 7"/>
                <a:gd name="T1" fmla="*/ 3 h 15"/>
                <a:gd name="T2" fmla="*/ 0 w 7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cubicBezTo>
                    <a:pt x="0" y="14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7" name="Freeform 1065"/>
            <p:cNvSpPr>
              <a:spLocks noChangeArrowheads="1"/>
            </p:cNvSpPr>
            <p:nvPr/>
          </p:nvSpPr>
          <p:spPr bwMode="auto">
            <a:xfrm>
              <a:off x="4021138" y="2709863"/>
              <a:ext cx="1587" cy="4762"/>
            </a:xfrm>
            <a:custGeom>
              <a:avLst/>
              <a:gdLst>
                <a:gd name="T0" fmla="*/ 0 w 6"/>
                <a:gd name="T1" fmla="*/ 2 h 15"/>
                <a:gd name="T2" fmla="*/ 0 w 6"/>
                <a:gd name="T3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5">
                  <a:moveTo>
                    <a:pt x="0" y="2"/>
                  </a:moveTo>
                  <a:cubicBezTo>
                    <a:pt x="3" y="14"/>
                    <a:pt x="5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8" name="Freeform 1066"/>
            <p:cNvSpPr>
              <a:spLocks noChangeArrowheads="1"/>
            </p:cNvSpPr>
            <p:nvPr/>
          </p:nvSpPr>
          <p:spPr bwMode="auto">
            <a:xfrm>
              <a:off x="4014788" y="2705100"/>
              <a:ext cx="3175" cy="4763"/>
            </a:xfrm>
            <a:custGeom>
              <a:avLst/>
              <a:gdLst>
                <a:gd name="T0" fmla="*/ 3 w 9"/>
                <a:gd name="T1" fmla="*/ 12 h 13"/>
                <a:gd name="T2" fmla="*/ 6 w 9"/>
                <a:gd name="T3" fmla="*/ 0 h 13"/>
                <a:gd name="T4" fmla="*/ 3 w 9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3">
                  <a:moveTo>
                    <a:pt x="3" y="12"/>
                  </a:moveTo>
                  <a:cubicBezTo>
                    <a:pt x="8" y="9"/>
                    <a:pt x="8" y="6"/>
                    <a:pt x="6" y="0"/>
                  </a:cubicBezTo>
                  <a:cubicBezTo>
                    <a:pt x="0" y="3"/>
                    <a:pt x="0" y="6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09" name="Freeform 1067"/>
            <p:cNvSpPr>
              <a:spLocks noChangeArrowheads="1"/>
            </p:cNvSpPr>
            <p:nvPr/>
          </p:nvSpPr>
          <p:spPr bwMode="auto">
            <a:xfrm>
              <a:off x="3995738" y="2713038"/>
              <a:ext cx="9525" cy="4762"/>
            </a:xfrm>
            <a:custGeom>
              <a:avLst/>
              <a:gdLst>
                <a:gd name="T0" fmla="*/ 20 w 27"/>
                <a:gd name="T1" fmla="*/ 0 h 12"/>
                <a:gd name="T2" fmla="*/ 9 w 27"/>
                <a:gd name="T3" fmla="*/ 8 h 12"/>
                <a:gd name="T4" fmla="*/ 20 w 2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12">
                  <a:moveTo>
                    <a:pt x="20" y="0"/>
                  </a:moveTo>
                  <a:cubicBezTo>
                    <a:pt x="17" y="0"/>
                    <a:pt x="0" y="3"/>
                    <a:pt x="9" y="8"/>
                  </a:cubicBezTo>
                  <a:cubicBezTo>
                    <a:pt x="9" y="11"/>
                    <a:pt x="26" y="6"/>
                    <a:pt x="2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0" name="Freeform 1068"/>
            <p:cNvSpPr>
              <a:spLocks noChangeArrowheads="1"/>
            </p:cNvSpPr>
            <p:nvPr/>
          </p:nvSpPr>
          <p:spPr bwMode="auto">
            <a:xfrm>
              <a:off x="3992563" y="2724150"/>
              <a:ext cx="4762" cy="1588"/>
            </a:xfrm>
            <a:custGeom>
              <a:avLst/>
              <a:gdLst>
                <a:gd name="T0" fmla="*/ 6 w 12"/>
                <a:gd name="T1" fmla="*/ 0 h 4"/>
                <a:gd name="T2" fmla="*/ 0 w 12"/>
                <a:gd name="T3" fmla="*/ 3 h 4"/>
                <a:gd name="T4" fmla="*/ 6 w 12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4">
                  <a:moveTo>
                    <a:pt x="6" y="0"/>
                  </a:moveTo>
                  <a:cubicBezTo>
                    <a:pt x="11" y="0"/>
                    <a:pt x="3" y="3"/>
                    <a:pt x="0" y="3"/>
                  </a:cubicBezTo>
                  <a:cubicBezTo>
                    <a:pt x="0" y="3"/>
                    <a:pt x="3" y="3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1" name="Freeform 1069"/>
            <p:cNvSpPr>
              <a:spLocks noChangeArrowheads="1"/>
            </p:cNvSpPr>
            <p:nvPr/>
          </p:nvSpPr>
          <p:spPr bwMode="auto">
            <a:xfrm>
              <a:off x="3987800" y="2733675"/>
              <a:ext cx="1588" cy="4763"/>
            </a:xfrm>
            <a:custGeom>
              <a:avLst/>
              <a:gdLst>
                <a:gd name="T0" fmla="*/ 0 w 6"/>
                <a:gd name="T1" fmla="*/ 3 h 13"/>
                <a:gd name="T2" fmla="*/ 0 w 6"/>
                <a:gd name="T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3">
                  <a:moveTo>
                    <a:pt x="0" y="3"/>
                  </a:moveTo>
                  <a:cubicBezTo>
                    <a:pt x="2" y="12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2" name="Freeform 1070"/>
            <p:cNvSpPr>
              <a:spLocks noChangeArrowheads="1"/>
            </p:cNvSpPr>
            <p:nvPr/>
          </p:nvSpPr>
          <p:spPr bwMode="auto">
            <a:xfrm>
              <a:off x="4081463" y="2709863"/>
              <a:ext cx="4762" cy="6350"/>
            </a:xfrm>
            <a:custGeom>
              <a:avLst/>
              <a:gdLst>
                <a:gd name="T0" fmla="*/ 6 w 15"/>
                <a:gd name="T1" fmla="*/ 9 h 16"/>
                <a:gd name="T2" fmla="*/ 0 w 15"/>
                <a:gd name="T3" fmla="*/ 6 h 16"/>
                <a:gd name="T4" fmla="*/ 6 w 15"/>
                <a:gd name="T5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6" y="9"/>
                  </a:moveTo>
                  <a:cubicBezTo>
                    <a:pt x="3" y="6"/>
                    <a:pt x="0" y="0"/>
                    <a:pt x="0" y="6"/>
                  </a:cubicBezTo>
                  <a:cubicBezTo>
                    <a:pt x="0" y="15"/>
                    <a:pt x="14" y="9"/>
                    <a:pt x="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3" name="Freeform 1071"/>
            <p:cNvSpPr>
              <a:spLocks noChangeArrowheads="1"/>
            </p:cNvSpPr>
            <p:nvPr/>
          </p:nvSpPr>
          <p:spPr bwMode="auto">
            <a:xfrm>
              <a:off x="3992563" y="2697163"/>
              <a:ext cx="4762" cy="6350"/>
            </a:xfrm>
            <a:custGeom>
              <a:avLst/>
              <a:gdLst>
                <a:gd name="T0" fmla="*/ 8 w 15"/>
                <a:gd name="T1" fmla="*/ 17 h 18"/>
                <a:gd name="T2" fmla="*/ 8 w 15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8" y="17"/>
                  </a:moveTo>
                  <a:cubicBezTo>
                    <a:pt x="14" y="0"/>
                    <a:pt x="0" y="11"/>
                    <a:pt x="8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4" name="Freeform 1072"/>
            <p:cNvSpPr>
              <a:spLocks noChangeArrowheads="1"/>
            </p:cNvSpPr>
            <p:nvPr/>
          </p:nvSpPr>
          <p:spPr bwMode="auto">
            <a:xfrm>
              <a:off x="4300538" y="2638425"/>
              <a:ext cx="4762" cy="3175"/>
            </a:xfrm>
            <a:custGeom>
              <a:avLst/>
              <a:gdLst>
                <a:gd name="T0" fmla="*/ 0 w 12"/>
                <a:gd name="T1" fmla="*/ 6 h 9"/>
                <a:gd name="T2" fmla="*/ 0 w 12"/>
                <a:gd name="T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6"/>
                  </a:moveTo>
                  <a:cubicBezTo>
                    <a:pt x="11" y="8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5" name="Freeform 1073"/>
            <p:cNvSpPr>
              <a:spLocks noChangeArrowheads="1"/>
            </p:cNvSpPr>
            <p:nvPr/>
          </p:nvSpPr>
          <p:spPr bwMode="auto">
            <a:xfrm>
              <a:off x="4311650" y="2636838"/>
              <a:ext cx="3175" cy="7937"/>
            </a:xfrm>
            <a:custGeom>
              <a:avLst/>
              <a:gdLst>
                <a:gd name="T0" fmla="*/ 0 w 7"/>
                <a:gd name="T1" fmla="*/ 12 h 21"/>
                <a:gd name="T2" fmla="*/ 0 w 7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1">
                  <a:moveTo>
                    <a:pt x="0" y="12"/>
                  </a:moveTo>
                  <a:cubicBezTo>
                    <a:pt x="6" y="20"/>
                    <a:pt x="6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6" name="Freeform 1074"/>
            <p:cNvSpPr>
              <a:spLocks noChangeArrowheads="1"/>
            </p:cNvSpPr>
            <p:nvPr/>
          </p:nvSpPr>
          <p:spPr bwMode="auto">
            <a:xfrm>
              <a:off x="4324350" y="2641600"/>
              <a:ext cx="3175" cy="3175"/>
            </a:xfrm>
            <a:custGeom>
              <a:avLst/>
              <a:gdLst>
                <a:gd name="T0" fmla="*/ 8 w 9"/>
                <a:gd name="T1" fmla="*/ 6 h 10"/>
                <a:gd name="T2" fmla="*/ 2 w 9"/>
                <a:gd name="T3" fmla="*/ 0 h 10"/>
                <a:gd name="T4" fmla="*/ 8 w 9"/>
                <a:gd name="T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8" y="6"/>
                  </a:moveTo>
                  <a:cubicBezTo>
                    <a:pt x="8" y="3"/>
                    <a:pt x="5" y="0"/>
                    <a:pt x="2" y="0"/>
                  </a:cubicBezTo>
                  <a:cubicBezTo>
                    <a:pt x="0" y="3"/>
                    <a:pt x="2" y="9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7" name="Freeform 1075"/>
            <p:cNvSpPr>
              <a:spLocks noChangeArrowheads="1"/>
            </p:cNvSpPr>
            <p:nvPr/>
          </p:nvSpPr>
          <p:spPr bwMode="auto">
            <a:xfrm>
              <a:off x="4335463" y="2638425"/>
              <a:ext cx="4762" cy="3175"/>
            </a:xfrm>
            <a:custGeom>
              <a:avLst/>
              <a:gdLst>
                <a:gd name="T0" fmla="*/ 0 w 15"/>
                <a:gd name="T1" fmla="*/ 6 h 9"/>
                <a:gd name="T2" fmla="*/ 0 w 15"/>
                <a:gd name="T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0" y="6"/>
                  </a:moveTo>
                  <a:cubicBezTo>
                    <a:pt x="14" y="8"/>
                    <a:pt x="2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8" name="Freeform 1076"/>
            <p:cNvSpPr>
              <a:spLocks noChangeArrowheads="1"/>
            </p:cNvSpPr>
            <p:nvPr/>
          </p:nvSpPr>
          <p:spPr bwMode="auto">
            <a:xfrm>
              <a:off x="4341813" y="2638425"/>
              <a:ext cx="3175" cy="7938"/>
            </a:xfrm>
            <a:custGeom>
              <a:avLst/>
              <a:gdLst>
                <a:gd name="T0" fmla="*/ 0 w 7"/>
                <a:gd name="T1" fmla="*/ 8 h 21"/>
                <a:gd name="T2" fmla="*/ 0 w 7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1">
                  <a:moveTo>
                    <a:pt x="0" y="8"/>
                  </a:moveTo>
                  <a:cubicBezTo>
                    <a:pt x="6" y="20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19" name="Freeform 1077"/>
            <p:cNvSpPr>
              <a:spLocks noChangeArrowheads="1"/>
            </p:cNvSpPr>
            <p:nvPr/>
          </p:nvSpPr>
          <p:spPr bwMode="auto">
            <a:xfrm>
              <a:off x="4357688" y="2638425"/>
              <a:ext cx="4762" cy="4763"/>
            </a:xfrm>
            <a:custGeom>
              <a:avLst/>
              <a:gdLst>
                <a:gd name="T0" fmla="*/ 8 w 15"/>
                <a:gd name="T1" fmla="*/ 14 h 15"/>
                <a:gd name="T2" fmla="*/ 0 w 15"/>
                <a:gd name="T3" fmla="*/ 3 h 15"/>
                <a:gd name="T4" fmla="*/ 8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8" y="14"/>
                  </a:moveTo>
                  <a:cubicBezTo>
                    <a:pt x="14" y="8"/>
                    <a:pt x="5" y="0"/>
                    <a:pt x="0" y="3"/>
                  </a:cubicBezTo>
                  <a:cubicBezTo>
                    <a:pt x="3" y="8"/>
                    <a:pt x="3" y="11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0" name="Freeform 1078"/>
            <p:cNvSpPr>
              <a:spLocks noChangeArrowheads="1"/>
            </p:cNvSpPr>
            <p:nvPr/>
          </p:nvSpPr>
          <p:spPr bwMode="auto">
            <a:xfrm>
              <a:off x="4313238" y="2644775"/>
              <a:ext cx="4762" cy="3175"/>
            </a:xfrm>
            <a:custGeom>
              <a:avLst/>
              <a:gdLst>
                <a:gd name="T0" fmla="*/ 0 w 13"/>
                <a:gd name="T1" fmla="*/ 9 h 10"/>
                <a:gd name="T2" fmla="*/ 0 w 13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0" y="9"/>
                  </a:moveTo>
                  <a:cubicBezTo>
                    <a:pt x="12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1" name="Freeform 1079"/>
            <p:cNvSpPr>
              <a:spLocks noChangeArrowheads="1"/>
            </p:cNvSpPr>
            <p:nvPr/>
          </p:nvSpPr>
          <p:spPr bwMode="auto">
            <a:xfrm>
              <a:off x="4298950" y="264953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2" name="Freeform 1080"/>
            <p:cNvSpPr>
              <a:spLocks noChangeArrowheads="1"/>
            </p:cNvSpPr>
            <p:nvPr/>
          </p:nvSpPr>
          <p:spPr bwMode="auto">
            <a:xfrm>
              <a:off x="4333875" y="2643188"/>
              <a:ext cx="4763" cy="3175"/>
            </a:xfrm>
            <a:custGeom>
              <a:avLst/>
              <a:gdLst>
                <a:gd name="T0" fmla="*/ 0 w 12"/>
                <a:gd name="T1" fmla="*/ 6 h 10"/>
                <a:gd name="T2" fmla="*/ 0 w 12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6"/>
                  </a:moveTo>
                  <a:cubicBezTo>
                    <a:pt x="11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3" name="Freeform 1081"/>
            <p:cNvSpPr>
              <a:spLocks noChangeArrowheads="1"/>
            </p:cNvSpPr>
            <p:nvPr/>
          </p:nvSpPr>
          <p:spPr bwMode="auto">
            <a:xfrm>
              <a:off x="4318000" y="2646363"/>
              <a:ext cx="4763" cy="3175"/>
            </a:xfrm>
            <a:custGeom>
              <a:avLst/>
              <a:gdLst>
                <a:gd name="T0" fmla="*/ 0 w 12"/>
                <a:gd name="T1" fmla="*/ 5 h 9"/>
                <a:gd name="T2" fmla="*/ 0 w 12"/>
                <a:gd name="T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cubicBezTo>
                    <a:pt x="11" y="8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4" name="Freeform 1082"/>
            <p:cNvSpPr>
              <a:spLocks noChangeArrowheads="1"/>
            </p:cNvSpPr>
            <p:nvPr/>
          </p:nvSpPr>
          <p:spPr bwMode="auto">
            <a:xfrm>
              <a:off x="4330700" y="2644775"/>
              <a:ext cx="4763" cy="4763"/>
            </a:xfrm>
            <a:custGeom>
              <a:avLst/>
              <a:gdLst>
                <a:gd name="T0" fmla="*/ 8 w 12"/>
                <a:gd name="T1" fmla="*/ 0 h 12"/>
                <a:gd name="T2" fmla="*/ 0 w 12"/>
                <a:gd name="T3" fmla="*/ 8 h 12"/>
                <a:gd name="T4" fmla="*/ 8 w 12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cubicBezTo>
                    <a:pt x="0" y="0"/>
                    <a:pt x="0" y="6"/>
                    <a:pt x="0" y="8"/>
                  </a:cubicBezTo>
                  <a:cubicBezTo>
                    <a:pt x="5" y="11"/>
                    <a:pt x="11" y="8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5" name="Freeform 1083"/>
            <p:cNvSpPr>
              <a:spLocks noChangeArrowheads="1"/>
            </p:cNvSpPr>
            <p:nvPr/>
          </p:nvSpPr>
          <p:spPr bwMode="auto">
            <a:xfrm>
              <a:off x="4365625" y="2638425"/>
              <a:ext cx="3175" cy="6350"/>
            </a:xfrm>
            <a:custGeom>
              <a:avLst/>
              <a:gdLst>
                <a:gd name="T0" fmla="*/ 0 w 7"/>
                <a:gd name="T1" fmla="*/ 8 h 18"/>
                <a:gd name="T2" fmla="*/ 0 w 7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0" y="8"/>
                  </a:moveTo>
                  <a:cubicBezTo>
                    <a:pt x="6" y="17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6" name="Freeform 1084"/>
            <p:cNvSpPr>
              <a:spLocks noChangeArrowheads="1"/>
            </p:cNvSpPr>
            <p:nvPr/>
          </p:nvSpPr>
          <p:spPr bwMode="auto">
            <a:xfrm>
              <a:off x="4297363" y="2652713"/>
              <a:ext cx="1587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7" name="Freeform 1085"/>
            <p:cNvSpPr>
              <a:spLocks noChangeArrowheads="1"/>
            </p:cNvSpPr>
            <p:nvPr/>
          </p:nvSpPr>
          <p:spPr bwMode="auto">
            <a:xfrm>
              <a:off x="4305300" y="2647950"/>
              <a:ext cx="4763" cy="7938"/>
            </a:xfrm>
            <a:custGeom>
              <a:avLst/>
              <a:gdLst>
                <a:gd name="T0" fmla="*/ 14 w 15"/>
                <a:gd name="T1" fmla="*/ 9 h 21"/>
                <a:gd name="T2" fmla="*/ 14 w 15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14" y="9"/>
                  </a:moveTo>
                  <a:cubicBezTo>
                    <a:pt x="0" y="0"/>
                    <a:pt x="6" y="20"/>
                    <a:pt x="14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8" name="Freeform 1086"/>
            <p:cNvSpPr>
              <a:spLocks noChangeArrowheads="1"/>
            </p:cNvSpPr>
            <p:nvPr/>
          </p:nvSpPr>
          <p:spPr bwMode="auto">
            <a:xfrm>
              <a:off x="4340225" y="2646363"/>
              <a:ext cx="4763" cy="1587"/>
            </a:xfrm>
            <a:custGeom>
              <a:avLst/>
              <a:gdLst>
                <a:gd name="T0" fmla="*/ 0 w 12"/>
                <a:gd name="T1" fmla="*/ 0 h 6"/>
                <a:gd name="T2" fmla="*/ 11 w 12"/>
                <a:gd name="T3" fmla="*/ 5 h 6"/>
                <a:gd name="T4" fmla="*/ 0 w 12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6">
                  <a:moveTo>
                    <a:pt x="0" y="0"/>
                  </a:moveTo>
                  <a:cubicBezTo>
                    <a:pt x="0" y="5"/>
                    <a:pt x="5" y="5"/>
                    <a:pt x="11" y="5"/>
                  </a:cubicBezTo>
                  <a:cubicBezTo>
                    <a:pt x="11" y="0"/>
                    <a:pt x="8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29" name="Freeform 1087"/>
            <p:cNvSpPr>
              <a:spLocks noChangeArrowheads="1"/>
            </p:cNvSpPr>
            <p:nvPr/>
          </p:nvSpPr>
          <p:spPr bwMode="auto">
            <a:xfrm>
              <a:off x="4300538" y="2652713"/>
              <a:ext cx="3175" cy="6350"/>
            </a:xfrm>
            <a:custGeom>
              <a:avLst/>
              <a:gdLst>
                <a:gd name="T0" fmla="*/ 0 w 9"/>
                <a:gd name="T1" fmla="*/ 8 h 18"/>
                <a:gd name="T2" fmla="*/ 0 w 9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8"/>
                  </a:moveTo>
                  <a:cubicBezTo>
                    <a:pt x="8" y="17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0" name="Freeform 1088"/>
            <p:cNvSpPr>
              <a:spLocks noChangeArrowheads="1"/>
            </p:cNvSpPr>
            <p:nvPr/>
          </p:nvSpPr>
          <p:spPr bwMode="auto">
            <a:xfrm>
              <a:off x="4332288" y="2647950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0 w 12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11" y="9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1" name="Freeform 1089"/>
            <p:cNvSpPr>
              <a:spLocks noChangeArrowheads="1"/>
            </p:cNvSpPr>
            <p:nvPr/>
          </p:nvSpPr>
          <p:spPr bwMode="auto">
            <a:xfrm>
              <a:off x="4305300" y="2655888"/>
              <a:ext cx="1588" cy="1587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3" y="3"/>
                    <a:pt x="0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2" name="Freeform 1090"/>
            <p:cNvSpPr>
              <a:spLocks noChangeArrowheads="1"/>
            </p:cNvSpPr>
            <p:nvPr/>
          </p:nvSpPr>
          <p:spPr bwMode="auto">
            <a:xfrm>
              <a:off x="4300538" y="2659063"/>
              <a:ext cx="4762" cy="3175"/>
            </a:xfrm>
            <a:custGeom>
              <a:avLst/>
              <a:gdLst>
                <a:gd name="T0" fmla="*/ 14 w 15"/>
                <a:gd name="T1" fmla="*/ 2 h 9"/>
                <a:gd name="T2" fmla="*/ 0 w 15"/>
                <a:gd name="T3" fmla="*/ 8 h 9"/>
                <a:gd name="T4" fmla="*/ 14 w 15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2"/>
                  </a:moveTo>
                  <a:cubicBezTo>
                    <a:pt x="8" y="0"/>
                    <a:pt x="3" y="2"/>
                    <a:pt x="0" y="8"/>
                  </a:cubicBezTo>
                  <a:cubicBezTo>
                    <a:pt x="3" y="5"/>
                    <a:pt x="14" y="8"/>
                    <a:pt x="14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3" name="Freeform 1091"/>
            <p:cNvSpPr>
              <a:spLocks noChangeArrowheads="1"/>
            </p:cNvSpPr>
            <p:nvPr/>
          </p:nvSpPr>
          <p:spPr bwMode="auto">
            <a:xfrm>
              <a:off x="4340225" y="2640013"/>
              <a:ext cx="3175" cy="4762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5 h 12"/>
                <a:gd name="T4" fmla="*/ 3 w 9"/>
                <a:gd name="T5" fmla="*/ 11 h 12"/>
                <a:gd name="T6" fmla="*/ 0 w 9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0" y="5"/>
                    <a:pt x="0" y="5"/>
                    <a:pt x="0" y="5"/>
                  </a:cubicBezTo>
                  <a:lnTo>
                    <a:pt x="3" y="11"/>
                  </a:lnTo>
                  <a:cubicBezTo>
                    <a:pt x="8" y="11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4" name="Freeform 1092"/>
            <p:cNvSpPr>
              <a:spLocks noChangeArrowheads="1"/>
            </p:cNvSpPr>
            <p:nvPr/>
          </p:nvSpPr>
          <p:spPr bwMode="auto">
            <a:xfrm>
              <a:off x="4333875" y="2649538"/>
              <a:ext cx="6350" cy="4762"/>
            </a:xfrm>
            <a:custGeom>
              <a:avLst/>
              <a:gdLst>
                <a:gd name="T0" fmla="*/ 14 w 18"/>
                <a:gd name="T1" fmla="*/ 0 h 12"/>
                <a:gd name="T2" fmla="*/ 14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14" y="0"/>
                  </a:moveTo>
                  <a:cubicBezTo>
                    <a:pt x="0" y="6"/>
                    <a:pt x="17" y="11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5" name="Freeform 1093"/>
            <p:cNvSpPr>
              <a:spLocks noChangeArrowheads="1"/>
            </p:cNvSpPr>
            <p:nvPr/>
          </p:nvSpPr>
          <p:spPr bwMode="auto">
            <a:xfrm>
              <a:off x="4335463" y="2647950"/>
              <a:ext cx="1587" cy="6350"/>
            </a:xfrm>
            <a:custGeom>
              <a:avLst/>
              <a:gdLst>
                <a:gd name="T0" fmla="*/ 0 w 6"/>
                <a:gd name="T1" fmla="*/ 3 h 16"/>
                <a:gd name="T2" fmla="*/ 0 w 6"/>
                <a:gd name="T3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6">
                  <a:moveTo>
                    <a:pt x="0" y="3"/>
                  </a:moveTo>
                  <a:cubicBezTo>
                    <a:pt x="2" y="15"/>
                    <a:pt x="5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6" name="Freeform 1094"/>
            <p:cNvSpPr>
              <a:spLocks noChangeArrowheads="1"/>
            </p:cNvSpPr>
            <p:nvPr/>
          </p:nvSpPr>
          <p:spPr bwMode="auto">
            <a:xfrm>
              <a:off x="4329113" y="2640013"/>
              <a:ext cx="6350" cy="6350"/>
            </a:xfrm>
            <a:custGeom>
              <a:avLst/>
              <a:gdLst>
                <a:gd name="T0" fmla="*/ 8 w 18"/>
                <a:gd name="T1" fmla="*/ 17 h 18"/>
                <a:gd name="T2" fmla="*/ 8 w 18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8">
                  <a:moveTo>
                    <a:pt x="8" y="17"/>
                  </a:moveTo>
                  <a:cubicBezTo>
                    <a:pt x="17" y="0"/>
                    <a:pt x="0" y="11"/>
                    <a:pt x="8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7" name="Freeform 1095"/>
            <p:cNvSpPr>
              <a:spLocks noChangeArrowheads="1"/>
            </p:cNvSpPr>
            <p:nvPr/>
          </p:nvSpPr>
          <p:spPr bwMode="auto">
            <a:xfrm>
              <a:off x="4098925" y="2684463"/>
              <a:ext cx="4763" cy="3175"/>
            </a:xfrm>
            <a:custGeom>
              <a:avLst/>
              <a:gdLst>
                <a:gd name="T0" fmla="*/ 12 w 15"/>
                <a:gd name="T1" fmla="*/ 0 h 10"/>
                <a:gd name="T2" fmla="*/ 12 w 15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0">
                  <a:moveTo>
                    <a:pt x="12" y="0"/>
                  </a:moveTo>
                  <a:cubicBezTo>
                    <a:pt x="0" y="0"/>
                    <a:pt x="14" y="9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8" name="Freeform 1096"/>
            <p:cNvSpPr>
              <a:spLocks noChangeArrowheads="1"/>
            </p:cNvSpPr>
            <p:nvPr/>
          </p:nvSpPr>
          <p:spPr bwMode="auto">
            <a:xfrm>
              <a:off x="4089400" y="2684463"/>
              <a:ext cx="1588" cy="7937"/>
            </a:xfrm>
            <a:custGeom>
              <a:avLst/>
              <a:gdLst>
                <a:gd name="T0" fmla="*/ 5 w 6"/>
                <a:gd name="T1" fmla="*/ 6 h 21"/>
                <a:gd name="T2" fmla="*/ 5 w 6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21">
                  <a:moveTo>
                    <a:pt x="5" y="6"/>
                  </a:moveTo>
                  <a:cubicBezTo>
                    <a:pt x="0" y="0"/>
                    <a:pt x="3" y="20"/>
                    <a:pt x="5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39" name="Freeform 1097"/>
            <p:cNvSpPr>
              <a:spLocks noChangeArrowheads="1"/>
            </p:cNvSpPr>
            <p:nvPr/>
          </p:nvSpPr>
          <p:spPr bwMode="auto">
            <a:xfrm>
              <a:off x="4075113" y="2684463"/>
              <a:ext cx="3175" cy="3175"/>
            </a:xfrm>
            <a:custGeom>
              <a:avLst/>
              <a:gdLst>
                <a:gd name="T0" fmla="*/ 0 w 10"/>
                <a:gd name="T1" fmla="*/ 3 h 9"/>
                <a:gd name="T2" fmla="*/ 9 w 10"/>
                <a:gd name="T3" fmla="*/ 8 h 9"/>
                <a:gd name="T4" fmla="*/ 0 w 10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3"/>
                  </a:moveTo>
                  <a:cubicBezTo>
                    <a:pt x="0" y="6"/>
                    <a:pt x="3" y="8"/>
                    <a:pt x="9" y="8"/>
                  </a:cubicBezTo>
                  <a:cubicBezTo>
                    <a:pt x="9" y="3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0" name="Freeform 1098"/>
            <p:cNvSpPr>
              <a:spLocks noChangeArrowheads="1"/>
            </p:cNvSpPr>
            <p:nvPr/>
          </p:nvSpPr>
          <p:spPr bwMode="auto">
            <a:xfrm>
              <a:off x="4064000" y="2689225"/>
              <a:ext cx="4763" cy="3175"/>
            </a:xfrm>
            <a:custGeom>
              <a:avLst/>
              <a:gdLst>
                <a:gd name="T0" fmla="*/ 12 w 13"/>
                <a:gd name="T1" fmla="*/ 0 h 10"/>
                <a:gd name="T2" fmla="*/ 12 w 13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0">
                  <a:moveTo>
                    <a:pt x="12" y="0"/>
                  </a:moveTo>
                  <a:cubicBezTo>
                    <a:pt x="0" y="3"/>
                    <a:pt x="12" y="9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1" name="Freeform 1099"/>
            <p:cNvSpPr>
              <a:spLocks noChangeArrowheads="1"/>
            </p:cNvSpPr>
            <p:nvPr/>
          </p:nvSpPr>
          <p:spPr bwMode="auto">
            <a:xfrm>
              <a:off x="4057650" y="2687638"/>
              <a:ext cx="3175" cy="6350"/>
            </a:xfrm>
            <a:custGeom>
              <a:avLst/>
              <a:gdLst>
                <a:gd name="T0" fmla="*/ 9 w 10"/>
                <a:gd name="T1" fmla="*/ 6 h 18"/>
                <a:gd name="T2" fmla="*/ 9 w 10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6"/>
                  </a:moveTo>
                  <a:cubicBezTo>
                    <a:pt x="0" y="0"/>
                    <a:pt x="6" y="17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2" name="Freeform 1100"/>
            <p:cNvSpPr>
              <a:spLocks noChangeArrowheads="1"/>
            </p:cNvSpPr>
            <p:nvPr/>
          </p:nvSpPr>
          <p:spPr bwMode="auto">
            <a:xfrm>
              <a:off x="4041775" y="2692400"/>
              <a:ext cx="4763" cy="4763"/>
            </a:xfrm>
            <a:custGeom>
              <a:avLst/>
              <a:gdLst>
                <a:gd name="T0" fmla="*/ 3 w 15"/>
                <a:gd name="T1" fmla="*/ 0 h 12"/>
                <a:gd name="T2" fmla="*/ 14 w 15"/>
                <a:gd name="T3" fmla="*/ 11 h 12"/>
                <a:gd name="T4" fmla="*/ 3 w 15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3" y="0"/>
                  </a:moveTo>
                  <a:cubicBezTo>
                    <a:pt x="0" y="5"/>
                    <a:pt x="6" y="11"/>
                    <a:pt x="14" y="11"/>
                  </a:cubicBezTo>
                  <a:cubicBezTo>
                    <a:pt x="12" y="5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3" name="Freeform 1101"/>
            <p:cNvSpPr>
              <a:spLocks noChangeArrowheads="1"/>
            </p:cNvSpPr>
            <p:nvPr/>
          </p:nvSpPr>
          <p:spPr bwMode="auto">
            <a:xfrm>
              <a:off x="4084638" y="2681288"/>
              <a:ext cx="4762" cy="3175"/>
            </a:xfrm>
            <a:custGeom>
              <a:avLst/>
              <a:gdLst>
                <a:gd name="T0" fmla="*/ 8 w 12"/>
                <a:gd name="T1" fmla="*/ 0 h 9"/>
                <a:gd name="T2" fmla="*/ 8 w 12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8" y="0"/>
                  </a:moveTo>
                  <a:cubicBezTo>
                    <a:pt x="0" y="0"/>
                    <a:pt x="11" y="8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4" name="Freeform 1102"/>
            <p:cNvSpPr>
              <a:spLocks noChangeArrowheads="1"/>
            </p:cNvSpPr>
            <p:nvPr/>
          </p:nvSpPr>
          <p:spPr bwMode="auto">
            <a:xfrm>
              <a:off x="4100513" y="2674938"/>
              <a:ext cx="3175" cy="1587"/>
            </a:xfrm>
            <a:custGeom>
              <a:avLst/>
              <a:gdLst>
                <a:gd name="T0" fmla="*/ 3 w 7"/>
                <a:gd name="T1" fmla="*/ 3 h 4"/>
                <a:gd name="T2" fmla="*/ 3 w 7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">
                  <a:moveTo>
                    <a:pt x="3" y="3"/>
                  </a:moveTo>
                  <a:cubicBezTo>
                    <a:pt x="0" y="0"/>
                    <a:pt x="6" y="3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5" name="Freeform 1103"/>
            <p:cNvSpPr>
              <a:spLocks noChangeArrowheads="1"/>
            </p:cNvSpPr>
            <p:nvPr/>
          </p:nvSpPr>
          <p:spPr bwMode="auto">
            <a:xfrm>
              <a:off x="4064000" y="2686050"/>
              <a:ext cx="4763" cy="3175"/>
            </a:xfrm>
            <a:custGeom>
              <a:avLst/>
              <a:gdLst>
                <a:gd name="T0" fmla="*/ 12 w 15"/>
                <a:gd name="T1" fmla="*/ 0 h 9"/>
                <a:gd name="T2" fmla="*/ 12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2" y="0"/>
                  </a:moveTo>
                  <a:cubicBezTo>
                    <a:pt x="0" y="0"/>
                    <a:pt x="14" y="8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6" name="Freeform 1104"/>
            <p:cNvSpPr>
              <a:spLocks noChangeArrowheads="1"/>
            </p:cNvSpPr>
            <p:nvPr/>
          </p:nvSpPr>
          <p:spPr bwMode="auto">
            <a:xfrm>
              <a:off x="4079875" y="2679700"/>
              <a:ext cx="4763" cy="3175"/>
            </a:xfrm>
            <a:custGeom>
              <a:avLst/>
              <a:gdLst>
                <a:gd name="T0" fmla="*/ 9 w 13"/>
                <a:gd name="T1" fmla="*/ 0 h 9"/>
                <a:gd name="T2" fmla="*/ 9 w 13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9">
                  <a:moveTo>
                    <a:pt x="9" y="0"/>
                  </a:moveTo>
                  <a:cubicBezTo>
                    <a:pt x="0" y="3"/>
                    <a:pt x="12" y="8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7" name="Freeform 1105"/>
            <p:cNvSpPr>
              <a:spLocks noChangeArrowheads="1"/>
            </p:cNvSpPr>
            <p:nvPr/>
          </p:nvSpPr>
          <p:spPr bwMode="auto">
            <a:xfrm>
              <a:off x="4068763" y="2681288"/>
              <a:ext cx="4762" cy="4762"/>
            </a:xfrm>
            <a:custGeom>
              <a:avLst/>
              <a:gdLst>
                <a:gd name="T0" fmla="*/ 2 w 12"/>
                <a:gd name="T1" fmla="*/ 11 h 12"/>
                <a:gd name="T2" fmla="*/ 11 w 12"/>
                <a:gd name="T3" fmla="*/ 0 h 12"/>
                <a:gd name="T4" fmla="*/ 2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2" y="11"/>
                  </a:moveTo>
                  <a:cubicBezTo>
                    <a:pt x="11" y="11"/>
                    <a:pt x="8" y="5"/>
                    <a:pt x="11" y="0"/>
                  </a:cubicBezTo>
                  <a:cubicBezTo>
                    <a:pt x="2" y="2"/>
                    <a:pt x="0" y="5"/>
                    <a:pt x="2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8" name="Freeform 1106"/>
            <p:cNvSpPr>
              <a:spLocks noChangeArrowheads="1"/>
            </p:cNvSpPr>
            <p:nvPr/>
          </p:nvSpPr>
          <p:spPr bwMode="auto">
            <a:xfrm>
              <a:off x="4035425" y="2692400"/>
              <a:ext cx="3175" cy="6350"/>
            </a:xfrm>
            <a:custGeom>
              <a:avLst/>
              <a:gdLst>
                <a:gd name="T0" fmla="*/ 9 w 10"/>
                <a:gd name="T1" fmla="*/ 8 h 18"/>
                <a:gd name="T2" fmla="*/ 9 w 10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8"/>
                  </a:moveTo>
                  <a:cubicBezTo>
                    <a:pt x="0" y="0"/>
                    <a:pt x="9" y="17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49" name="Freeform 1107"/>
            <p:cNvSpPr>
              <a:spLocks noChangeArrowheads="1"/>
            </p:cNvSpPr>
            <p:nvPr/>
          </p:nvSpPr>
          <p:spPr bwMode="auto">
            <a:xfrm>
              <a:off x="4102100" y="2671763"/>
              <a:ext cx="1588" cy="1587"/>
            </a:xfrm>
            <a:custGeom>
              <a:avLst/>
              <a:gdLst>
                <a:gd name="T0" fmla="*/ 3 w 6"/>
                <a:gd name="T1" fmla="*/ 3 h 4"/>
                <a:gd name="T2" fmla="*/ 3 w 6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0"/>
                    <a:pt x="5" y="3"/>
                    <a:pt x="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0" name="Freeform 1108"/>
            <p:cNvSpPr>
              <a:spLocks noChangeArrowheads="1"/>
            </p:cNvSpPr>
            <p:nvPr/>
          </p:nvSpPr>
          <p:spPr bwMode="auto">
            <a:xfrm>
              <a:off x="4090988" y="2671763"/>
              <a:ext cx="6350" cy="6350"/>
            </a:xfrm>
            <a:custGeom>
              <a:avLst/>
              <a:gdLst>
                <a:gd name="T0" fmla="*/ 0 w 16"/>
                <a:gd name="T1" fmla="*/ 12 h 18"/>
                <a:gd name="T2" fmla="*/ 0 w 16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8">
                  <a:moveTo>
                    <a:pt x="0" y="12"/>
                  </a:moveTo>
                  <a:cubicBezTo>
                    <a:pt x="15" y="17"/>
                    <a:pt x="6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1" name="Freeform 1109"/>
            <p:cNvSpPr>
              <a:spLocks noChangeArrowheads="1"/>
            </p:cNvSpPr>
            <p:nvPr/>
          </p:nvSpPr>
          <p:spPr bwMode="auto">
            <a:xfrm>
              <a:off x="4067175" y="2682875"/>
              <a:ext cx="1588" cy="1588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2" name="Freeform 1110"/>
            <p:cNvSpPr>
              <a:spLocks noChangeArrowheads="1"/>
            </p:cNvSpPr>
            <p:nvPr/>
          </p:nvSpPr>
          <p:spPr bwMode="auto">
            <a:xfrm>
              <a:off x="4057650" y="2684463"/>
              <a:ext cx="4763" cy="3175"/>
            </a:xfrm>
            <a:custGeom>
              <a:avLst/>
              <a:gdLst>
                <a:gd name="T0" fmla="*/ 11 w 12"/>
                <a:gd name="T1" fmla="*/ 6 h 10"/>
                <a:gd name="T2" fmla="*/ 0 w 12"/>
                <a:gd name="T3" fmla="*/ 0 h 10"/>
                <a:gd name="T4" fmla="*/ 11 w 12"/>
                <a:gd name="T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6"/>
                  </a:moveTo>
                  <a:cubicBezTo>
                    <a:pt x="11" y="0"/>
                    <a:pt x="2" y="0"/>
                    <a:pt x="0" y="0"/>
                  </a:cubicBezTo>
                  <a:cubicBezTo>
                    <a:pt x="2" y="9"/>
                    <a:pt x="5" y="9"/>
                    <a:pt x="1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3" name="Freeform 1111"/>
            <p:cNvSpPr>
              <a:spLocks noChangeArrowheads="1"/>
            </p:cNvSpPr>
            <p:nvPr/>
          </p:nvSpPr>
          <p:spPr bwMode="auto">
            <a:xfrm>
              <a:off x="4097338" y="2667000"/>
              <a:ext cx="3175" cy="6350"/>
            </a:xfrm>
            <a:custGeom>
              <a:avLst/>
              <a:gdLst>
                <a:gd name="T0" fmla="*/ 8 w 9"/>
                <a:gd name="T1" fmla="*/ 6 h 18"/>
                <a:gd name="T2" fmla="*/ 8 w 9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6"/>
                  </a:moveTo>
                  <a:cubicBezTo>
                    <a:pt x="0" y="0"/>
                    <a:pt x="8" y="17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4" name="Freeform 1112"/>
            <p:cNvSpPr>
              <a:spLocks noChangeArrowheads="1"/>
            </p:cNvSpPr>
            <p:nvPr/>
          </p:nvSpPr>
          <p:spPr bwMode="auto">
            <a:xfrm>
              <a:off x="4065588" y="2679700"/>
              <a:ext cx="4762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5" name="Freeform 1113"/>
            <p:cNvSpPr>
              <a:spLocks noChangeArrowheads="1"/>
            </p:cNvSpPr>
            <p:nvPr/>
          </p:nvSpPr>
          <p:spPr bwMode="auto">
            <a:xfrm>
              <a:off x="4094163" y="2670175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6" name="Freeform 1114"/>
            <p:cNvSpPr>
              <a:spLocks noChangeArrowheads="1"/>
            </p:cNvSpPr>
            <p:nvPr/>
          </p:nvSpPr>
          <p:spPr bwMode="auto">
            <a:xfrm>
              <a:off x="4087813" y="2671763"/>
              <a:ext cx="1587" cy="1587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7" name="Freeform 1115"/>
            <p:cNvSpPr>
              <a:spLocks noChangeArrowheads="1"/>
            </p:cNvSpPr>
            <p:nvPr/>
          </p:nvSpPr>
          <p:spPr bwMode="auto">
            <a:xfrm>
              <a:off x="4092575" y="2665413"/>
              <a:ext cx="6350" cy="4762"/>
            </a:xfrm>
            <a:custGeom>
              <a:avLst/>
              <a:gdLst>
                <a:gd name="T0" fmla="*/ 3 w 18"/>
                <a:gd name="T1" fmla="*/ 8 h 12"/>
                <a:gd name="T2" fmla="*/ 17 w 18"/>
                <a:gd name="T3" fmla="*/ 0 h 12"/>
                <a:gd name="T4" fmla="*/ 3 w 18"/>
                <a:gd name="T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3" y="8"/>
                  </a:moveTo>
                  <a:cubicBezTo>
                    <a:pt x="9" y="11"/>
                    <a:pt x="14" y="5"/>
                    <a:pt x="17" y="0"/>
                  </a:cubicBezTo>
                  <a:cubicBezTo>
                    <a:pt x="12" y="2"/>
                    <a:pt x="0" y="2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8" name="Freeform 1116"/>
            <p:cNvSpPr>
              <a:spLocks noChangeArrowheads="1"/>
            </p:cNvSpPr>
            <p:nvPr/>
          </p:nvSpPr>
          <p:spPr bwMode="auto">
            <a:xfrm>
              <a:off x="4059238" y="2687638"/>
              <a:ext cx="4762" cy="6350"/>
            </a:xfrm>
            <a:custGeom>
              <a:avLst/>
              <a:gdLst>
                <a:gd name="T0" fmla="*/ 11 w 12"/>
                <a:gd name="T1" fmla="*/ 9 h 16"/>
                <a:gd name="T2" fmla="*/ 11 w 12"/>
                <a:gd name="T3" fmla="*/ 6 h 16"/>
                <a:gd name="T4" fmla="*/ 9 w 12"/>
                <a:gd name="T5" fmla="*/ 0 h 16"/>
                <a:gd name="T6" fmla="*/ 11 w 12"/>
                <a:gd name="T7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6">
                  <a:moveTo>
                    <a:pt x="11" y="9"/>
                  </a:moveTo>
                  <a:cubicBezTo>
                    <a:pt x="11" y="9"/>
                    <a:pt x="9" y="6"/>
                    <a:pt x="11" y="6"/>
                  </a:cubicBezTo>
                  <a:lnTo>
                    <a:pt x="9" y="0"/>
                  </a:lnTo>
                  <a:cubicBezTo>
                    <a:pt x="0" y="3"/>
                    <a:pt x="6" y="15"/>
                    <a:pt x="11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59" name="Freeform 1117"/>
            <p:cNvSpPr>
              <a:spLocks noChangeArrowheads="1"/>
            </p:cNvSpPr>
            <p:nvPr/>
          </p:nvSpPr>
          <p:spPr bwMode="auto">
            <a:xfrm>
              <a:off x="4060825" y="2678113"/>
              <a:ext cx="4763" cy="4762"/>
            </a:xfrm>
            <a:custGeom>
              <a:avLst/>
              <a:gdLst>
                <a:gd name="T0" fmla="*/ 3 w 15"/>
                <a:gd name="T1" fmla="*/ 12 h 13"/>
                <a:gd name="T2" fmla="*/ 3 w 15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3" y="12"/>
                  </a:moveTo>
                  <a:cubicBezTo>
                    <a:pt x="14" y="3"/>
                    <a:pt x="0" y="0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0" name="Freeform 1118"/>
            <p:cNvSpPr>
              <a:spLocks noChangeArrowheads="1"/>
            </p:cNvSpPr>
            <p:nvPr/>
          </p:nvSpPr>
          <p:spPr bwMode="auto">
            <a:xfrm>
              <a:off x="4064000" y="2678113"/>
              <a:ext cx="3175" cy="4762"/>
            </a:xfrm>
            <a:custGeom>
              <a:avLst/>
              <a:gdLst>
                <a:gd name="T0" fmla="*/ 6 w 7"/>
                <a:gd name="T1" fmla="*/ 11 h 15"/>
                <a:gd name="T2" fmla="*/ 6 w 7"/>
                <a:gd name="T3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6" y="11"/>
                  </a:moveTo>
                  <a:cubicBezTo>
                    <a:pt x="3" y="0"/>
                    <a:pt x="0" y="14"/>
                    <a:pt x="6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1" name="Freeform 1119"/>
            <p:cNvSpPr>
              <a:spLocks noChangeArrowheads="1"/>
            </p:cNvSpPr>
            <p:nvPr/>
          </p:nvSpPr>
          <p:spPr bwMode="auto">
            <a:xfrm>
              <a:off x="4068763" y="2684463"/>
              <a:ext cx="4762" cy="6350"/>
            </a:xfrm>
            <a:custGeom>
              <a:avLst/>
              <a:gdLst>
                <a:gd name="T0" fmla="*/ 2 w 15"/>
                <a:gd name="T1" fmla="*/ 0 h 18"/>
                <a:gd name="T2" fmla="*/ 2 w 15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2" y="0"/>
                  </a:moveTo>
                  <a:cubicBezTo>
                    <a:pt x="0" y="17"/>
                    <a:pt x="14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2" name="Freeform 1120"/>
            <p:cNvSpPr>
              <a:spLocks noChangeArrowheads="1"/>
            </p:cNvSpPr>
            <p:nvPr/>
          </p:nvSpPr>
          <p:spPr bwMode="auto">
            <a:xfrm>
              <a:off x="4210050" y="2689225"/>
              <a:ext cx="4763" cy="3175"/>
            </a:xfrm>
            <a:custGeom>
              <a:avLst/>
              <a:gdLst>
                <a:gd name="T0" fmla="*/ 11 w 12"/>
                <a:gd name="T1" fmla="*/ 0 h 7"/>
                <a:gd name="T2" fmla="*/ 11 w 12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0" y="0"/>
                    <a:pt x="11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3" name="Freeform 1121"/>
            <p:cNvSpPr>
              <a:spLocks noChangeArrowheads="1"/>
            </p:cNvSpPr>
            <p:nvPr/>
          </p:nvSpPr>
          <p:spPr bwMode="auto">
            <a:xfrm>
              <a:off x="4200525" y="2689225"/>
              <a:ext cx="3175" cy="6350"/>
            </a:xfrm>
            <a:custGeom>
              <a:avLst/>
              <a:gdLst>
                <a:gd name="T0" fmla="*/ 6 w 7"/>
                <a:gd name="T1" fmla="*/ 6 h 18"/>
                <a:gd name="T2" fmla="*/ 6 w 7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6" y="6"/>
                  </a:moveTo>
                  <a:cubicBezTo>
                    <a:pt x="0" y="0"/>
                    <a:pt x="3" y="17"/>
                    <a:pt x="6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4" name="Freeform 1122"/>
            <p:cNvSpPr>
              <a:spLocks noChangeArrowheads="1"/>
            </p:cNvSpPr>
            <p:nvPr/>
          </p:nvSpPr>
          <p:spPr bwMode="auto">
            <a:xfrm>
              <a:off x="4184650" y="2689225"/>
              <a:ext cx="4763" cy="3175"/>
            </a:xfrm>
            <a:custGeom>
              <a:avLst/>
              <a:gdLst>
                <a:gd name="T0" fmla="*/ 0 w 12"/>
                <a:gd name="T1" fmla="*/ 3 h 10"/>
                <a:gd name="T2" fmla="*/ 9 w 12"/>
                <a:gd name="T3" fmla="*/ 9 h 10"/>
                <a:gd name="T4" fmla="*/ 0 w 12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0" y="3"/>
                  </a:moveTo>
                  <a:cubicBezTo>
                    <a:pt x="0" y="6"/>
                    <a:pt x="3" y="9"/>
                    <a:pt x="9" y="9"/>
                  </a:cubicBezTo>
                  <a:cubicBezTo>
                    <a:pt x="11" y="3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5" name="Freeform 1123"/>
            <p:cNvSpPr>
              <a:spLocks noChangeArrowheads="1"/>
            </p:cNvSpPr>
            <p:nvPr/>
          </p:nvSpPr>
          <p:spPr bwMode="auto">
            <a:xfrm>
              <a:off x="4173538" y="2695575"/>
              <a:ext cx="4762" cy="3175"/>
            </a:xfrm>
            <a:custGeom>
              <a:avLst/>
              <a:gdLst>
                <a:gd name="T0" fmla="*/ 14 w 15"/>
                <a:gd name="T1" fmla="*/ 0 h 10"/>
                <a:gd name="T2" fmla="*/ 14 w 15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0">
                  <a:moveTo>
                    <a:pt x="14" y="0"/>
                  </a:moveTo>
                  <a:cubicBezTo>
                    <a:pt x="0" y="0"/>
                    <a:pt x="14" y="9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6" name="Freeform 1124"/>
            <p:cNvSpPr>
              <a:spLocks noChangeArrowheads="1"/>
            </p:cNvSpPr>
            <p:nvPr/>
          </p:nvSpPr>
          <p:spPr bwMode="auto">
            <a:xfrm>
              <a:off x="4167188" y="2692400"/>
              <a:ext cx="3175" cy="6350"/>
            </a:xfrm>
            <a:custGeom>
              <a:avLst/>
              <a:gdLst>
                <a:gd name="T0" fmla="*/ 9 w 10"/>
                <a:gd name="T1" fmla="*/ 8 h 18"/>
                <a:gd name="T2" fmla="*/ 9 w 10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8"/>
                  </a:moveTo>
                  <a:cubicBezTo>
                    <a:pt x="0" y="0"/>
                    <a:pt x="9" y="17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7" name="Freeform 1125"/>
            <p:cNvSpPr>
              <a:spLocks noChangeArrowheads="1"/>
            </p:cNvSpPr>
            <p:nvPr/>
          </p:nvSpPr>
          <p:spPr bwMode="auto">
            <a:xfrm>
              <a:off x="4151313" y="2697163"/>
              <a:ext cx="4762" cy="4762"/>
            </a:xfrm>
            <a:custGeom>
              <a:avLst/>
              <a:gdLst>
                <a:gd name="T0" fmla="*/ 3 w 15"/>
                <a:gd name="T1" fmla="*/ 0 h 12"/>
                <a:gd name="T2" fmla="*/ 14 w 15"/>
                <a:gd name="T3" fmla="*/ 11 h 12"/>
                <a:gd name="T4" fmla="*/ 3 w 15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3" y="0"/>
                  </a:moveTo>
                  <a:cubicBezTo>
                    <a:pt x="0" y="5"/>
                    <a:pt x="6" y="11"/>
                    <a:pt x="14" y="11"/>
                  </a:cubicBezTo>
                  <a:cubicBezTo>
                    <a:pt x="11" y="5"/>
                    <a:pt x="8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8" name="Freeform 1126"/>
            <p:cNvSpPr>
              <a:spLocks noChangeArrowheads="1"/>
            </p:cNvSpPr>
            <p:nvPr/>
          </p:nvSpPr>
          <p:spPr bwMode="auto">
            <a:xfrm>
              <a:off x="4194175" y="2686050"/>
              <a:ext cx="6350" cy="1588"/>
            </a:xfrm>
            <a:custGeom>
              <a:avLst/>
              <a:gdLst>
                <a:gd name="T0" fmla="*/ 12 w 16"/>
                <a:gd name="T1" fmla="*/ 0 h 6"/>
                <a:gd name="T2" fmla="*/ 12 w 16"/>
                <a:gd name="T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6">
                  <a:moveTo>
                    <a:pt x="12" y="0"/>
                  </a:moveTo>
                  <a:cubicBezTo>
                    <a:pt x="0" y="0"/>
                    <a:pt x="15" y="5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69" name="Freeform 1127"/>
            <p:cNvSpPr>
              <a:spLocks noChangeArrowheads="1"/>
            </p:cNvSpPr>
            <p:nvPr/>
          </p:nvSpPr>
          <p:spPr bwMode="auto">
            <a:xfrm>
              <a:off x="4211638" y="2679700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0" name="Freeform 1128"/>
            <p:cNvSpPr>
              <a:spLocks noChangeArrowheads="1"/>
            </p:cNvSpPr>
            <p:nvPr/>
          </p:nvSpPr>
          <p:spPr bwMode="auto">
            <a:xfrm>
              <a:off x="4175125" y="2690813"/>
              <a:ext cx="4763" cy="3175"/>
            </a:xfrm>
            <a:custGeom>
              <a:avLst/>
              <a:gdLst>
                <a:gd name="T0" fmla="*/ 11 w 12"/>
                <a:gd name="T1" fmla="*/ 0 h 9"/>
                <a:gd name="T2" fmla="*/ 11 w 12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11" y="0"/>
                  </a:moveTo>
                  <a:cubicBezTo>
                    <a:pt x="0" y="0"/>
                    <a:pt x="11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1" name="Freeform 1129"/>
            <p:cNvSpPr>
              <a:spLocks noChangeArrowheads="1"/>
            </p:cNvSpPr>
            <p:nvPr/>
          </p:nvSpPr>
          <p:spPr bwMode="auto">
            <a:xfrm>
              <a:off x="4189413" y="2684463"/>
              <a:ext cx="4762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2" name="Freeform 1130"/>
            <p:cNvSpPr>
              <a:spLocks noChangeArrowheads="1"/>
            </p:cNvSpPr>
            <p:nvPr/>
          </p:nvSpPr>
          <p:spPr bwMode="auto">
            <a:xfrm>
              <a:off x="4178300" y="2687638"/>
              <a:ext cx="4763" cy="4762"/>
            </a:xfrm>
            <a:custGeom>
              <a:avLst/>
              <a:gdLst>
                <a:gd name="T0" fmla="*/ 3 w 12"/>
                <a:gd name="T1" fmla="*/ 11 h 12"/>
                <a:gd name="T2" fmla="*/ 11 w 12"/>
                <a:gd name="T3" fmla="*/ 0 h 12"/>
                <a:gd name="T4" fmla="*/ 3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3" y="11"/>
                  </a:moveTo>
                  <a:cubicBezTo>
                    <a:pt x="11" y="11"/>
                    <a:pt x="9" y="5"/>
                    <a:pt x="11" y="0"/>
                  </a:cubicBezTo>
                  <a:cubicBezTo>
                    <a:pt x="3" y="0"/>
                    <a:pt x="0" y="2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3" name="Freeform 1131"/>
            <p:cNvSpPr>
              <a:spLocks noChangeArrowheads="1"/>
            </p:cNvSpPr>
            <p:nvPr/>
          </p:nvSpPr>
          <p:spPr bwMode="auto">
            <a:xfrm>
              <a:off x="4144963" y="2697163"/>
              <a:ext cx="3175" cy="6350"/>
            </a:xfrm>
            <a:custGeom>
              <a:avLst/>
              <a:gdLst>
                <a:gd name="T0" fmla="*/ 8 w 9"/>
                <a:gd name="T1" fmla="*/ 5 h 18"/>
                <a:gd name="T2" fmla="*/ 8 w 9"/>
                <a:gd name="T3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5"/>
                  </a:moveTo>
                  <a:cubicBezTo>
                    <a:pt x="0" y="0"/>
                    <a:pt x="8" y="17"/>
                    <a:pt x="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4" name="Freeform 1132"/>
            <p:cNvSpPr>
              <a:spLocks noChangeArrowheads="1"/>
            </p:cNvSpPr>
            <p:nvPr/>
          </p:nvSpPr>
          <p:spPr bwMode="auto">
            <a:xfrm>
              <a:off x="4211638" y="2676525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5" name="Freeform 1133"/>
            <p:cNvSpPr>
              <a:spLocks noChangeArrowheads="1"/>
            </p:cNvSpPr>
            <p:nvPr/>
          </p:nvSpPr>
          <p:spPr bwMode="auto">
            <a:xfrm>
              <a:off x="4200525" y="2676525"/>
              <a:ext cx="6350" cy="6350"/>
            </a:xfrm>
            <a:custGeom>
              <a:avLst/>
              <a:gdLst>
                <a:gd name="T0" fmla="*/ 0 w 18"/>
                <a:gd name="T1" fmla="*/ 12 h 18"/>
                <a:gd name="T2" fmla="*/ 0 w 18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8">
                  <a:moveTo>
                    <a:pt x="0" y="12"/>
                  </a:moveTo>
                  <a:cubicBezTo>
                    <a:pt x="17" y="17"/>
                    <a:pt x="9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6" name="Freeform 1134"/>
            <p:cNvSpPr>
              <a:spLocks noChangeArrowheads="1"/>
            </p:cNvSpPr>
            <p:nvPr/>
          </p:nvSpPr>
          <p:spPr bwMode="auto">
            <a:xfrm>
              <a:off x="4176713" y="2687638"/>
              <a:ext cx="1587" cy="1587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7" name="Freeform 1135"/>
            <p:cNvSpPr>
              <a:spLocks noChangeArrowheads="1"/>
            </p:cNvSpPr>
            <p:nvPr/>
          </p:nvSpPr>
          <p:spPr bwMode="auto">
            <a:xfrm>
              <a:off x="4167188" y="2689225"/>
              <a:ext cx="4762" cy="3175"/>
            </a:xfrm>
            <a:custGeom>
              <a:avLst/>
              <a:gdLst>
                <a:gd name="T0" fmla="*/ 11 w 12"/>
                <a:gd name="T1" fmla="*/ 6 h 10"/>
                <a:gd name="T2" fmla="*/ 0 w 12"/>
                <a:gd name="T3" fmla="*/ 0 h 10"/>
                <a:gd name="T4" fmla="*/ 11 w 12"/>
                <a:gd name="T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6"/>
                  </a:moveTo>
                  <a:cubicBezTo>
                    <a:pt x="11" y="0"/>
                    <a:pt x="3" y="0"/>
                    <a:pt x="0" y="0"/>
                  </a:cubicBezTo>
                  <a:cubicBezTo>
                    <a:pt x="0" y="9"/>
                    <a:pt x="6" y="9"/>
                    <a:pt x="1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8" name="Freeform 1136"/>
            <p:cNvSpPr>
              <a:spLocks noChangeArrowheads="1"/>
            </p:cNvSpPr>
            <p:nvPr/>
          </p:nvSpPr>
          <p:spPr bwMode="auto">
            <a:xfrm>
              <a:off x="4206875" y="2673350"/>
              <a:ext cx="3175" cy="6350"/>
            </a:xfrm>
            <a:custGeom>
              <a:avLst/>
              <a:gdLst>
                <a:gd name="T0" fmla="*/ 9 w 10"/>
                <a:gd name="T1" fmla="*/ 6 h 18"/>
                <a:gd name="T2" fmla="*/ 9 w 10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6"/>
                  </a:moveTo>
                  <a:cubicBezTo>
                    <a:pt x="0" y="0"/>
                    <a:pt x="9" y="17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79" name="Freeform 1137"/>
            <p:cNvSpPr>
              <a:spLocks noChangeArrowheads="1"/>
            </p:cNvSpPr>
            <p:nvPr/>
          </p:nvSpPr>
          <p:spPr bwMode="auto">
            <a:xfrm>
              <a:off x="4176713" y="2684463"/>
              <a:ext cx="4762" cy="3175"/>
            </a:xfrm>
            <a:custGeom>
              <a:avLst/>
              <a:gdLst>
                <a:gd name="T0" fmla="*/ 11 w 12"/>
                <a:gd name="T1" fmla="*/ 0 h 9"/>
                <a:gd name="T2" fmla="*/ 11 w 12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9">
                  <a:moveTo>
                    <a:pt x="11" y="0"/>
                  </a:moveTo>
                  <a:cubicBezTo>
                    <a:pt x="0" y="0"/>
                    <a:pt x="11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0" name="Freeform 1138"/>
            <p:cNvSpPr>
              <a:spLocks noChangeArrowheads="1"/>
            </p:cNvSpPr>
            <p:nvPr/>
          </p:nvSpPr>
          <p:spPr bwMode="auto">
            <a:xfrm>
              <a:off x="4203700" y="2670175"/>
              <a:ext cx="6350" cy="4763"/>
            </a:xfrm>
            <a:custGeom>
              <a:avLst/>
              <a:gdLst>
                <a:gd name="T0" fmla="*/ 3 w 18"/>
                <a:gd name="T1" fmla="*/ 8 h 12"/>
                <a:gd name="T2" fmla="*/ 17 w 18"/>
                <a:gd name="T3" fmla="*/ 0 h 12"/>
                <a:gd name="T4" fmla="*/ 3 w 18"/>
                <a:gd name="T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3" y="8"/>
                  </a:moveTo>
                  <a:cubicBezTo>
                    <a:pt x="8" y="11"/>
                    <a:pt x="14" y="5"/>
                    <a:pt x="17" y="0"/>
                  </a:cubicBezTo>
                  <a:cubicBezTo>
                    <a:pt x="11" y="2"/>
                    <a:pt x="0" y="2"/>
                    <a:pt x="3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1" name="Freeform 1139"/>
            <p:cNvSpPr>
              <a:spLocks noChangeArrowheads="1"/>
            </p:cNvSpPr>
            <p:nvPr/>
          </p:nvSpPr>
          <p:spPr bwMode="auto">
            <a:xfrm>
              <a:off x="4170363" y="2692400"/>
              <a:ext cx="3175" cy="4763"/>
            </a:xfrm>
            <a:custGeom>
              <a:avLst/>
              <a:gdLst>
                <a:gd name="T0" fmla="*/ 8 w 9"/>
                <a:gd name="T1" fmla="*/ 8 h 12"/>
                <a:gd name="T2" fmla="*/ 8 w 9"/>
                <a:gd name="T3" fmla="*/ 5 h 12"/>
                <a:gd name="T4" fmla="*/ 5 w 9"/>
                <a:gd name="T5" fmla="*/ 2 h 12"/>
                <a:gd name="T6" fmla="*/ 8 w 9"/>
                <a:gd name="T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8"/>
                  </a:moveTo>
                  <a:cubicBezTo>
                    <a:pt x="8" y="8"/>
                    <a:pt x="5" y="5"/>
                    <a:pt x="8" y="5"/>
                  </a:cubicBezTo>
                  <a:lnTo>
                    <a:pt x="5" y="2"/>
                  </a:lnTo>
                  <a:cubicBezTo>
                    <a:pt x="0" y="0"/>
                    <a:pt x="5" y="11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2" name="Freeform 1140"/>
            <p:cNvSpPr>
              <a:spLocks noChangeArrowheads="1"/>
            </p:cNvSpPr>
            <p:nvPr/>
          </p:nvSpPr>
          <p:spPr bwMode="auto">
            <a:xfrm>
              <a:off x="4171950" y="2682875"/>
              <a:ext cx="4763" cy="4763"/>
            </a:xfrm>
            <a:custGeom>
              <a:avLst/>
              <a:gdLst>
                <a:gd name="T0" fmla="*/ 3 w 15"/>
                <a:gd name="T1" fmla="*/ 12 h 13"/>
                <a:gd name="T2" fmla="*/ 3 w 15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3" y="12"/>
                  </a:moveTo>
                  <a:cubicBezTo>
                    <a:pt x="14" y="3"/>
                    <a:pt x="0" y="0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3" name="Freeform 1141"/>
            <p:cNvSpPr>
              <a:spLocks noChangeArrowheads="1"/>
            </p:cNvSpPr>
            <p:nvPr/>
          </p:nvSpPr>
          <p:spPr bwMode="auto">
            <a:xfrm>
              <a:off x="4175125" y="2684463"/>
              <a:ext cx="1588" cy="4762"/>
            </a:xfrm>
            <a:custGeom>
              <a:avLst/>
              <a:gdLst>
                <a:gd name="T0" fmla="*/ 5 w 6"/>
                <a:gd name="T1" fmla="*/ 9 h 15"/>
                <a:gd name="T2" fmla="*/ 5 w 6"/>
                <a:gd name="T3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5">
                  <a:moveTo>
                    <a:pt x="5" y="9"/>
                  </a:moveTo>
                  <a:cubicBezTo>
                    <a:pt x="0" y="0"/>
                    <a:pt x="0" y="14"/>
                    <a:pt x="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4" name="Freeform 1142"/>
            <p:cNvSpPr>
              <a:spLocks noChangeArrowheads="1"/>
            </p:cNvSpPr>
            <p:nvPr/>
          </p:nvSpPr>
          <p:spPr bwMode="auto">
            <a:xfrm>
              <a:off x="4178300" y="2689225"/>
              <a:ext cx="4763" cy="6350"/>
            </a:xfrm>
            <a:custGeom>
              <a:avLst/>
              <a:gdLst>
                <a:gd name="T0" fmla="*/ 3 w 12"/>
                <a:gd name="T1" fmla="*/ 0 h 18"/>
                <a:gd name="T2" fmla="*/ 3 w 12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3" y="0"/>
                  </a:moveTo>
                  <a:cubicBezTo>
                    <a:pt x="0" y="17"/>
                    <a:pt x="11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5" name="Freeform 1143"/>
            <p:cNvSpPr>
              <a:spLocks noChangeArrowheads="1"/>
            </p:cNvSpPr>
            <p:nvPr/>
          </p:nvSpPr>
          <p:spPr bwMode="auto">
            <a:xfrm>
              <a:off x="4276725" y="2654300"/>
              <a:ext cx="4763" cy="1588"/>
            </a:xfrm>
            <a:custGeom>
              <a:avLst/>
              <a:gdLst>
                <a:gd name="T0" fmla="*/ 8 w 12"/>
                <a:gd name="T1" fmla="*/ 0 h 6"/>
                <a:gd name="T2" fmla="*/ 8 w 12"/>
                <a:gd name="T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6">
                  <a:moveTo>
                    <a:pt x="8" y="0"/>
                  </a:moveTo>
                  <a:cubicBezTo>
                    <a:pt x="0" y="0"/>
                    <a:pt x="11" y="5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6" name="Freeform 1144"/>
            <p:cNvSpPr>
              <a:spLocks noChangeArrowheads="1"/>
            </p:cNvSpPr>
            <p:nvPr/>
          </p:nvSpPr>
          <p:spPr bwMode="auto">
            <a:xfrm>
              <a:off x="4267200" y="2654300"/>
              <a:ext cx="1588" cy="6350"/>
            </a:xfrm>
            <a:custGeom>
              <a:avLst/>
              <a:gdLst>
                <a:gd name="T0" fmla="*/ 5 w 6"/>
                <a:gd name="T1" fmla="*/ 5 h 17"/>
                <a:gd name="T2" fmla="*/ 5 w 6"/>
                <a:gd name="T3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7">
                  <a:moveTo>
                    <a:pt x="5" y="5"/>
                  </a:moveTo>
                  <a:cubicBezTo>
                    <a:pt x="0" y="0"/>
                    <a:pt x="2" y="16"/>
                    <a:pt x="5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7" name="Freeform 1145"/>
            <p:cNvSpPr>
              <a:spLocks noChangeArrowheads="1"/>
            </p:cNvSpPr>
            <p:nvPr/>
          </p:nvSpPr>
          <p:spPr bwMode="auto">
            <a:xfrm>
              <a:off x="4251325" y="2654300"/>
              <a:ext cx="4763" cy="3175"/>
            </a:xfrm>
            <a:custGeom>
              <a:avLst/>
              <a:gdLst>
                <a:gd name="T0" fmla="*/ 0 w 13"/>
                <a:gd name="T1" fmla="*/ 3 h 10"/>
                <a:gd name="T2" fmla="*/ 9 w 13"/>
                <a:gd name="T3" fmla="*/ 9 h 10"/>
                <a:gd name="T4" fmla="*/ 0 w 13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0" y="3"/>
                  </a:moveTo>
                  <a:cubicBezTo>
                    <a:pt x="0" y="6"/>
                    <a:pt x="3" y="9"/>
                    <a:pt x="9" y="9"/>
                  </a:cubicBezTo>
                  <a:cubicBezTo>
                    <a:pt x="12" y="3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8" name="Freeform 1146"/>
            <p:cNvSpPr>
              <a:spLocks noChangeArrowheads="1"/>
            </p:cNvSpPr>
            <p:nvPr/>
          </p:nvSpPr>
          <p:spPr bwMode="auto">
            <a:xfrm>
              <a:off x="4240213" y="2659063"/>
              <a:ext cx="6350" cy="3175"/>
            </a:xfrm>
            <a:custGeom>
              <a:avLst/>
              <a:gdLst>
                <a:gd name="T0" fmla="*/ 15 w 16"/>
                <a:gd name="T1" fmla="*/ 0 h 10"/>
                <a:gd name="T2" fmla="*/ 15 w 16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0">
                  <a:moveTo>
                    <a:pt x="15" y="0"/>
                  </a:moveTo>
                  <a:cubicBezTo>
                    <a:pt x="0" y="0"/>
                    <a:pt x="15" y="9"/>
                    <a:pt x="1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89" name="Freeform 1147"/>
            <p:cNvSpPr>
              <a:spLocks noChangeArrowheads="1"/>
            </p:cNvSpPr>
            <p:nvPr/>
          </p:nvSpPr>
          <p:spPr bwMode="auto">
            <a:xfrm>
              <a:off x="4235450" y="2655888"/>
              <a:ext cx="3175" cy="6350"/>
            </a:xfrm>
            <a:custGeom>
              <a:avLst/>
              <a:gdLst>
                <a:gd name="T0" fmla="*/ 9 w 10"/>
                <a:gd name="T1" fmla="*/ 8 h 18"/>
                <a:gd name="T2" fmla="*/ 9 w 10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8"/>
                  </a:moveTo>
                  <a:cubicBezTo>
                    <a:pt x="0" y="0"/>
                    <a:pt x="9" y="17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0" name="Freeform 1148"/>
            <p:cNvSpPr>
              <a:spLocks noChangeArrowheads="1"/>
            </p:cNvSpPr>
            <p:nvPr/>
          </p:nvSpPr>
          <p:spPr bwMode="auto">
            <a:xfrm>
              <a:off x="4217988" y="2662238"/>
              <a:ext cx="4762" cy="4762"/>
            </a:xfrm>
            <a:custGeom>
              <a:avLst/>
              <a:gdLst>
                <a:gd name="T0" fmla="*/ 3 w 15"/>
                <a:gd name="T1" fmla="*/ 0 h 12"/>
                <a:gd name="T2" fmla="*/ 14 w 15"/>
                <a:gd name="T3" fmla="*/ 11 h 12"/>
                <a:gd name="T4" fmla="*/ 3 w 15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3" y="0"/>
                  </a:moveTo>
                  <a:cubicBezTo>
                    <a:pt x="0" y="6"/>
                    <a:pt x="6" y="11"/>
                    <a:pt x="14" y="11"/>
                  </a:cubicBezTo>
                  <a:cubicBezTo>
                    <a:pt x="11" y="6"/>
                    <a:pt x="9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1" name="Freeform 1149"/>
            <p:cNvSpPr>
              <a:spLocks noChangeArrowheads="1"/>
            </p:cNvSpPr>
            <p:nvPr/>
          </p:nvSpPr>
          <p:spPr bwMode="auto">
            <a:xfrm>
              <a:off x="4260850" y="2649538"/>
              <a:ext cx="4763" cy="3175"/>
            </a:xfrm>
            <a:custGeom>
              <a:avLst/>
              <a:gdLst>
                <a:gd name="T0" fmla="*/ 11 w 15"/>
                <a:gd name="T1" fmla="*/ 0 h 7"/>
                <a:gd name="T2" fmla="*/ 11 w 15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7">
                  <a:moveTo>
                    <a:pt x="11" y="0"/>
                  </a:moveTo>
                  <a:cubicBezTo>
                    <a:pt x="0" y="0"/>
                    <a:pt x="14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2" name="Freeform 1150"/>
            <p:cNvSpPr>
              <a:spLocks noChangeArrowheads="1"/>
            </p:cNvSpPr>
            <p:nvPr/>
          </p:nvSpPr>
          <p:spPr bwMode="auto">
            <a:xfrm>
              <a:off x="4278313" y="2644775"/>
              <a:ext cx="1587" cy="1588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0" y="0"/>
                    <a:pt x="2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3" name="Freeform 1151"/>
            <p:cNvSpPr>
              <a:spLocks noChangeArrowheads="1"/>
            </p:cNvSpPr>
            <p:nvPr/>
          </p:nvSpPr>
          <p:spPr bwMode="auto">
            <a:xfrm>
              <a:off x="4241800" y="2655888"/>
              <a:ext cx="4763" cy="3175"/>
            </a:xfrm>
            <a:custGeom>
              <a:avLst/>
              <a:gdLst>
                <a:gd name="T0" fmla="*/ 11 w 12"/>
                <a:gd name="T1" fmla="*/ 0 h 7"/>
                <a:gd name="T2" fmla="*/ 11 w 12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0" y="0"/>
                    <a:pt x="11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4" name="Freeform 1152"/>
            <p:cNvSpPr>
              <a:spLocks noChangeArrowheads="1"/>
            </p:cNvSpPr>
            <p:nvPr/>
          </p:nvSpPr>
          <p:spPr bwMode="auto">
            <a:xfrm>
              <a:off x="4257675" y="2649538"/>
              <a:ext cx="6350" cy="3175"/>
            </a:xfrm>
            <a:custGeom>
              <a:avLst/>
              <a:gdLst>
                <a:gd name="T0" fmla="*/ 12 w 16"/>
                <a:gd name="T1" fmla="*/ 0 h 10"/>
                <a:gd name="T2" fmla="*/ 12 w 16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0">
                  <a:moveTo>
                    <a:pt x="12" y="0"/>
                  </a:moveTo>
                  <a:cubicBezTo>
                    <a:pt x="0" y="0"/>
                    <a:pt x="15" y="9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5" name="Freeform 1153"/>
            <p:cNvSpPr>
              <a:spLocks noChangeArrowheads="1"/>
            </p:cNvSpPr>
            <p:nvPr/>
          </p:nvSpPr>
          <p:spPr bwMode="auto">
            <a:xfrm>
              <a:off x="4246563" y="2649538"/>
              <a:ext cx="4762" cy="4762"/>
            </a:xfrm>
            <a:custGeom>
              <a:avLst/>
              <a:gdLst>
                <a:gd name="T0" fmla="*/ 3 w 13"/>
                <a:gd name="T1" fmla="*/ 11 h 12"/>
                <a:gd name="T2" fmla="*/ 12 w 13"/>
                <a:gd name="T3" fmla="*/ 0 h 12"/>
                <a:gd name="T4" fmla="*/ 3 w 13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3" y="11"/>
                  </a:moveTo>
                  <a:cubicBezTo>
                    <a:pt x="12" y="11"/>
                    <a:pt x="9" y="6"/>
                    <a:pt x="12" y="0"/>
                  </a:cubicBezTo>
                  <a:cubicBezTo>
                    <a:pt x="3" y="3"/>
                    <a:pt x="0" y="6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6" name="Freeform 1154"/>
            <p:cNvSpPr>
              <a:spLocks noChangeArrowheads="1"/>
            </p:cNvSpPr>
            <p:nvPr/>
          </p:nvSpPr>
          <p:spPr bwMode="auto">
            <a:xfrm>
              <a:off x="4211638" y="2662238"/>
              <a:ext cx="3175" cy="6350"/>
            </a:xfrm>
            <a:custGeom>
              <a:avLst/>
              <a:gdLst>
                <a:gd name="T0" fmla="*/ 9 w 10"/>
                <a:gd name="T1" fmla="*/ 6 h 18"/>
                <a:gd name="T2" fmla="*/ 9 w 10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6"/>
                  </a:moveTo>
                  <a:cubicBezTo>
                    <a:pt x="0" y="0"/>
                    <a:pt x="6" y="17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7" name="Freeform 1155"/>
            <p:cNvSpPr>
              <a:spLocks noChangeArrowheads="1"/>
            </p:cNvSpPr>
            <p:nvPr/>
          </p:nvSpPr>
          <p:spPr bwMode="auto">
            <a:xfrm>
              <a:off x="4268788" y="2641600"/>
              <a:ext cx="6350" cy="6350"/>
            </a:xfrm>
            <a:custGeom>
              <a:avLst/>
              <a:gdLst>
                <a:gd name="T0" fmla="*/ 0 w 18"/>
                <a:gd name="T1" fmla="*/ 11 h 18"/>
                <a:gd name="T2" fmla="*/ 0 w 18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8">
                  <a:moveTo>
                    <a:pt x="0" y="11"/>
                  </a:moveTo>
                  <a:cubicBezTo>
                    <a:pt x="17" y="17"/>
                    <a:pt x="9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8" name="Freeform 1156"/>
            <p:cNvSpPr>
              <a:spLocks noChangeArrowheads="1"/>
            </p:cNvSpPr>
            <p:nvPr/>
          </p:nvSpPr>
          <p:spPr bwMode="auto">
            <a:xfrm>
              <a:off x="4235450" y="2654300"/>
              <a:ext cx="4763" cy="3175"/>
            </a:xfrm>
            <a:custGeom>
              <a:avLst/>
              <a:gdLst>
                <a:gd name="T0" fmla="*/ 12 w 13"/>
                <a:gd name="T1" fmla="*/ 5 h 9"/>
                <a:gd name="T2" fmla="*/ 0 w 13"/>
                <a:gd name="T3" fmla="*/ 0 h 9"/>
                <a:gd name="T4" fmla="*/ 12 w 13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9">
                  <a:moveTo>
                    <a:pt x="12" y="5"/>
                  </a:moveTo>
                  <a:cubicBezTo>
                    <a:pt x="12" y="0"/>
                    <a:pt x="3" y="0"/>
                    <a:pt x="0" y="0"/>
                  </a:cubicBezTo>
                  <a:cubicBezTo>
                    <a:pt x="0" y="8"/>
                    <a:pt x="6" y="8"/>
                    <a:pt x="12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199" name="Freeform 1157"/>
            <p:cNvSpPr>
              <a:spLocks noChangeArrowheads="1"/>
            </p:cNvSpPr>
            <p:nvPr/>
          </p:nvSpPr>
          <p:spPr bwMode="auto">
            <a:xfrm>
              <a:off x="4273550" y="2636838"/>
              <a:ext cx="3175" cy="6350"/>
            </a:xfrm>
            <a:custGeom>
              <a:avLst/>
              <a:gdLst>
                <a:gd name="T0" fmla="*/ 9 w 10"/>
                <a:gd name="T1" fmla="*/ 8 h 17"/>
                <a:gd name="T2" fmla="*/ 9 w 10"/>
                <a:gd name="T3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7">
                  <a:moveTo>
                    <a:pt x="9" y="8"/>
                  </a:moveTo>
                  <a:cubicBezTo>
                    <a:pt x="0" y="0"/>
                    <a:pt x="9" y="16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0" name="Freeform 1158"/>
            <p:cNvSpPr>
              <a:spLocks noChangeArrowheads="1"/>
            </p:cNvSpPr>
            <p:nvPr/>
          </p:nvSpPr>
          <p:spPr bwMode="auto">
            <a:xfrm>
              <a:off x="4243388" y="2649538"/>
              <a:ext cx="4762" cy="3175"/>
            </a:xfrm>
            <a:custGeom>
              <a:avLst/>
              <a:gdLst>
                <a:gd name="T0" fmla="*/ 11 w 12"/>
                <a:gd name="T1" fmla="*/ 0 h 7"/>
                <a:gd name="T2" fmla="*/ 11 w 12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0" y="0"/>
                    <a:pt x="11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1" name="Freeform 1159"/>
            <p:cNvSpPr>
              <a:spLocks noChangeArrowheads="1"/>
            </p:cNvSpPr>
            <p:nvPr/>
          </p:nvSpPr>
          <p:spPr bwMode="auto">
            <a:xfrm>
              <a:off x="4270375" y="2633663"/>
              <a:ext cx="4763" cy="4762"/>
            </a:xfrm>
            <a:custGeom>
              <a:avLst/>
              <a:gdLst>
                <a:gd name="T0" fmla="*/ 0 w 15"/>
                <a:gd name="T1" fmla="*/ 9 h 12"/>
                <a:gd name="T2" fmla="*/ 14 w 15"/>
                <a:gd name="T3" fmla="*/ 0 h 12"/>
                <a:gd name="T4" fmla="*/ 0 w 15"/>
                <a:gd name="T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0" y="9"/>
                  </a:moveTo>
                  <a:cubicBezTo>
                    <a:pt x="6" y="11"/>
                    <a:pt x="11" y="6"/>
                    <a:pt x="14" y="0"/>
                  </a:cubicBezTo>
                  <a:cubicBezTo>
                    <a:pt x="11" y="6"/>
                    <a:pt x="0" y="3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2" name="Freeform 1160"/>
            <p:cNvSpPr>
              <a:spLocks noChangeArrowheads="1"/>
            </p:cNvSpPr>
            <p:nvPr/>
          </p:nvSpPr>
          <p:spPr bwMode="auto">
            <a:xfrm>
              <a:off x="4237038" y="2657475"/>
              <a:ext cx="3175" cy="4763"/>
            </a:xfrm>
            <a:custGeom>
              <a:avLst/>
              <a:gdLst>
                <a:gd name="T0" fmla="*/ 8 w 9"/>
                <a:gd name="T1" fmla="*/ 8 h 12"/>
                <a:gd name="T2" fmla="*/ 8 w 9"/>
                <a:gd name="T3" fmla="*/ 5 h 12"/>
                <a:gd name="T4" fmla="*/ 6 w 9"/>
                <a:gd name="T5" fmla="*/ 0 h 12"/>
                <a:gd name="T6" fmla="*/ 8 w 9"/>
                <a:gd name="T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8"/>
                  </a:moveTo>
                  <a:cubicBezTo>
                    <a:pt x="8" y="8"/>
                    <a:pt x="6" y="5"/>
                    <a:pt x="8" y="5"/>
                  </a:cubicBezTo>
                  <a:lnTo>
                    <a:pt x="6" y="0"/>
                  </a:lnTo>
                  <a:cubicBezTo>
                    <a:pt x="0" y="0"/>
                    <a:pt x="6" y="11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3" name="Freeform 1161"/>
            <p:cNvSpPr>
              <a:spLocks noChangeArrowheads="1"/>
            </p:cNvSpPr>
            <p:nvPr/>
          </p:nvSpPr>
          <p:spPr bwMode="auto">
            <a:xfrm>
              <a:off x="4238625" y="2647950"/>
              <a:ext cx="6350" cy="4763"/>
            </a:xfrm>
            <a:custGeom>
              <a:avLst/>
              <a:gdLst>
                <a:gd name="T0" fmla="*/ 5 w 18"/>
                <a:gd name="T1" fmla="*/ 11 h 12"/>
                <a:gd name="T2" fmla="*/ 5 w 18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5" y="11"/>
                  </a:moveTo>
                  <a:cubicBezTo>
                    <a:pt x="17" y="2"/>
                    <a:pt x="0" y="0"/>
                    <a:pt x="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4" name="Freeform 1162"/>
            <p:cNvSpPr>
              <a:spLocks noChangeArrowheads="1"/>
            </p:cNvSpPr>
            <p:nvPr/>
          </p:nvSpPr>
          <p:spPr bwMode="auto">
            <a:xfrm>
              <a:off x="4241800" y="2647950"/>
              <a:ext cx="3175" cy="6350"/>
            </a:xfrm>
            <a:custGeom>
              <a:avLst/>
              <a:gdLst>
                <a:gd name="T0" fmla="*/ 6 w 7"/>
                <a:gd name="T1" fmla="*/ 9 h 16"/>
                <a:gd name="T2" fmla="*/ 6 w 7"/>
                <a:gd name="T3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6">
                  <a:moveTo>
                    <a:pt x="6" y="9"/>
                  </a:moveTo>
                  <a:cubicBezTo>
                    <a:pt x="0" y="0"/>
                    <a:pt x="0" y="15"/>
                    <a:pt x="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5" name="Freeform 1163"/>
            <p:cNvSpPr>
              <a:spLocks noChangeArrowheads="1"/>
            </p:cNvSpPr>
            <p:nvPr/>
          </p:nvSpPr>
          <p:spPr bwMode="auto">
            <a:xfrm>
              <a:off x="4246563" y="2654300"/>
              <a:ext cx="4762" cy="6350"/>
            </a:xfrm>
            <a:custGeom>
              <a:avLst/>
              <a:gdLst>
                <a:gd name="T0" fmla="*/ 3 w 13"/>
                <a:gd name="T1" fmla="*/ 0 h 18"/>
                <a:gd name="T2" fmla="*/ 3 w 13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3" y="0"/>
                  </a:moveTo>
                  <a:cubicBezTo>
                    <a:pt x="0" y="17"/>
                    <a:pt x="12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6" name="Freeform 1164"/>
            <p:cNvSpPr>
              <a:spLocks noChangeArrowheads="1"/>
            </p:cNvSpPr>
            <p:nvPr/>
          </p:nvSpPr>
          <p:spPr bwMode="auto">
            <a:xfrm>
              <a:off x="4294188" y="2679700"/>
              <a:ext cx="4762" cy="3175"/>
            </a:xfrm>
            <a:custGeom>
              <a:avLst/>
              <a:gdLst>
                <a:gd name="T0" fmla="*/ 11 w 12"/>
                <a:gd name="T1" fmla="*/ 0 h 7"/>
                <a:gd name="T2" fmla="*/ 11 w 12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7">
                  <a:moveTo>
                    <a:pt x="11" y="0"/>
                  </a:moveTo>
                  <a:cubicBezTo>
                    <a:pt x="0" y="0"/>
                    <a:pt x="11" y="6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7" name="Freeform 1165"/>
            <p:cNvSpPr>
              <a:spLocks noChangeArrowheads="1"/>
            </p:cNvSpPr>
            <p:nvPr/>
          </p:nvSpPr>
          <p:spPr bwMode="auto">
            <a:xfrm>
              <a:off x="4284663" y="2679700"/>
              <a:ext cx="3175" cy="6350"/>
            </a:xfrm>
            <a:custGeom>
              <a:avLst/>
              <a:gdLst>
                <a:gd name="T0" fmla="*/ 6 w 7"/>
                <a:gd name="T1" fmla="*/ 6 h 18"/>
                <a:gd name="T2" fmla="*/ 6 w 7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8">
                  <a:moveTo>
                    <a:pt x="6" y="6"/>
                  </a:moveTo>
                  <a:cubicBezTo>
                    <a:pt x="0" y="0"/>
                    <a:pt x="3" y="17"/>
                    <a:pt x="6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8" name="Freeform 1166"/>
            <p:cNvSpPr>
              <a:spLocks noChangeArrowheads="1"/>
            </p:cNvSpPr>
            <p:nvPr/>
          </p:nvSpPr>
          <p:spPr bwMode="auto">
            <a:xfrm>
              <a:off x="4271963" y="2681288"/>
              <a:ext cx="3175" cy="3175"/>
            </a:xfrm>
            <a:custGeom>
              <a:avLst/>
              <a:gdLst>
                <a:gd name="T0" fmla="*/ 0 w 9"/>
                <a:gd name="T1" fmla="*/ 3 h 9"/>
                <a:gd name="T2" fmla="*/ 8 w 9"/>
                <a:gd name="T3" fmla="*/ 8 h 9"/>
                <a:gd name="T4" fmla="*/ 0 w 9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0" y="3"/>
                  </a:moveTo>
                  <a:cubicBezTo>
                    <a:pt x="0" y="5"/>
                    <a:pt x="3" y="8"/>
                    <a:pt x="8" y="8"/>
                  </a:cubicBezTo>
                  <a:cubicBezTo>
                    <a:pt x="8" y="3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09" name="Freeform 1167"/>
            <p:cNvSpPr>
              <a:spLocks noChangeArrowheads="1"/>
            </p:cNvSpPr>
            <p:nvPr/>
          </p:nvSpPr>
          <p:spPr bwMode="auto">
            <a:xfrm>
              <a:off x="4257675" y="2686050"/>
              <a:ext cx="4763" cy="3175"/>
            </a:xfrm>
            <a:custGeom>
              <a:avLst/>
              <a:gdLst>
                <a:gd name="T0" fmla="*/ 14 w 15"/>
                <a:gd name="T1" fmla="*/ 0 h 9"/>
                <a:gd name="T2" fmla="*/ 14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4" y="0"/>
                  </a:moveTo>
                  <a:cubicBezTo>
                    <a:pt x="0" y="0"/>
                    <a:pt x="14" y="8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0" name="Freeform 1168"/>
            <p:cNvSpPr>
              <a:spLocks noChangeArrowheads="1"/>
            </p:cNvSpPr>
            <p:nvPr/>
          </p:nvSpPr>
          <p:spPr bwMode="auto">
            <a:xfrm>
              <a:off x="4252913" y="2682875"/>
              <a:ext cx="4762" cy="6350"/>
            </a:xfrm>
            <a:custGeom>
              <a:avLst/>
              <a:gdLst>
                <a:gd name="T0" fmla="*/ 11 w 12"/>
                <a:gd name="T1" fmla="*/ 9 h 18"/>
                <a:gd name="T2" fmla="*/ 11 w 12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11" y="9"/>
                  </a:moveTo>
                  <a:cubicBezTo>
                    <a:pt x="0" y="0"/>
                    <a:pt x="9" y="17"/>
                    <a:pt x="11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1" name="Freeform 1169"/>
            <p:cNvSpPr>
              <a:spLocks noChangeArrowheads="1"/>
            </p:cNvSpPr>
            <p:nvPr/>
          </p:nvSpPr>
          <p:spPr bwMode="auto">
            <a:xfrm>
              <a:off x="4237038" y="2687638"/>
              <a:ext cx="4762" cy="4762"/>
            </a:xfrm>
            <a:custGeom>
              <a:avLst/>
              <a:gdLst>
                <a:gd name="T0" fmla="*/ 3 w 15"/>
                <a:gd name="T1" fmla="*/ 0 h 13"/>
                <a:gd name="T2" fmla="*/ 14 w 15"/>
                <a:gd name="T3" fmla="*/ 12 h 13"/>
                <a:gd name="T4" fmla="*/ 3 w 15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3" y="0"/>
                  </a:moveTo>
                  <a:cubicBezTo>
                    <a:pt x="0" y="6"/>
                    <a:pt x="6" y="12"/>
                    <a:pt x="14" y="12"/>
                  </a:cubicBezTo>
                  <a:cubicBezTo>
                    <a:pt x="11" y="6"/>
                    <a:pt x="8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2" name="Freeform 1170"/>
            <p:cNvSpPr>
              <a:spLocks noChangeArrowheads="1"/>
            </p:cNvSpPr>
            <p:nvPr/>
          </p:nvSpPr>
          <p:spPr bwMode="auto">
            <a:xfrm>
              <a:off x="4279900" y="2676525"/>
              <a:ext cx="6350" cy="3175"/>
            </a:xfrm>
            <a:custGeom>
              <a:avLst/>
              <a:gdLst>
                <a:gd name="T0" fmla="*/ 12 w 16"/>
                <a:gd name="T1" fmla="*/ 0 h 7"/>
                <a:gd name="T2" fmla="*/ 12 w 16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7">
                  <a:moveTo>
                    <a:pt x="12" y="0"/>
                  </a:moveTo>
                  <a:cubicBezTo>
                    <a:pt x="0" y="0"/>
                    <a:pt x="15" y="6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3" name="Freeform 1171"/>
            <p:cNvSpPr>
              <a:spLocks noChangeArrowheads="1"/>
            </p:cNvSpPr>
            <p:nvPr/>
          </p:nvSpPr>
          <p:spPr bwMode="auto">
            <a:xfrm>
              <a:off x="4297363" y="2670175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4" name="Freeform 1172"/>
            <p:cNvSpPr>
              <a:spLocks noChangeArrowheads="1"/>
            </p:cNvSpPr>
            <p:nvPr/>
          </p:nvSpPr>
          <p:spPr bwMode="auto">
            <a:xfrm>
              <a:off x="4260850" y="2681288"/>
              <a:ext cx="4763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5" name="Freeform 1173"/>
            <p:cNvSpPr>
              <a:spLocks noChangeArrowheads="1"/>
            </p:cNvSpPr>
            <p:nvPr/>
          </p:nvSpPr>
          <p:spPr bwMode="auto">
            <a:xfrm>
              <a:off x="4275138" y="2676525"/>
              <a:ext cx="4762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6" name="Freeform 1174"/>
            <p:cNvSpPr>
              <a:spLocks noChangeArrowheads="1"/>
            </p:cNvSpPr>
            <p:nvPr/>
          </p:nvSpPr>
          <p:spPr bwMode="auto">
            <a:xfrm>
              <a:off x="4264025" y="2678113"/>
              <a:ext cx="4763" cy="4762"/>
            </a:xfrm>
            <a:custGeom>
              <a:avLst/>
              <a:gdLst>
                <a:gd name="T0" fmla="*/ 3 w 12"/>
                <a:gd name="T1" fmla="*/ 12 h 13"/>
                <a:gd name="T2" fmla="*/ 11 w 12"/>
                <a:gd name="T3" fmla="*/ 0 h 13"/>
                <a:gd name="T4" fmla="*/ 3 w 12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3">
                  <a:moveTo>
                    <a:pt x="3" y="12"/>
                  </a:moveTo>
                  <a:cubicBezTo>
                    <a:pt x="11" y="12"/>
                    <a:pt x="9" y="6"/>
                    <a:pt x="11" y="0"/>
                  </a:cubicBezTo>
                  <a:cubicBezTo>
                    <a:pt x="3" y="0"/>
                    <a:pt x="0" y="3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7" name="Freeform 1175"/>
            <p:cNvSpPr>
              <a:spLocks noChangeArrowheads="1"/>
            </p:cNvSpPr>
            <p:nvPr/>
          </p:nvSpPr>
          <p:spPr bwMode="auto">
            <a:xfrm>
              <a:off x="4230688" y="2687638"/>
              <a:ext cx="3175" cy="6350"/>
            </a:xfrm>
            <a:custGeom>
              <a:avLst/>
              <a:gdLst>
                <a:gd name="T0" fmla="*/ 9 w 10"/>
                <a:gd name="T1" fmla="*/ 6 h 18"/>
                <a:gd name="T2" fmla="*/ 9 w 10"/>
                <a:gd name="T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6"/>
                  </a:moveTo>
                  <a:cubicBezTo>
                    <a:pt x="0" y="0"/>
                    <a:pt x="9" y="17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8" name="Freeform 1176"/>
            <p:cNvSpPr>
              <a:spLocks noChangeArrowheads="1"/>
            </p:cNvSpPr>
            <p:nvPr/>
          </p:nvSpPr>
          <p:spPr bwMode="auto">
            <a:xfrm>
              <a:off x="4297363" y="2667000"/>
              <a:ext cx="1587" cy="1588"/>
            </a:xfrm>
            <a:custGeom>
              <a:avLst/>
              <a:gdLst>
                <a:gd name="T0" fmla="*/ 3 w 4"/>
                <a:gd name="T1" fmla="*/ 0 h 4"/>
                <a:gd name="T2" fmla="*/ 3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0" y="0"/>
                    <a:pt x="3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19" name="Freeform 1177"/>
            <p:cNvSpPr>
              <a:spLocks noChangeArrowheads="1"/>
            </p:cNvSpPr>
            <p:nvPr/>
          </p:nvSpPr>
          <p:spPr bwMode="auto">
            <a:xfrm>
              <a:off x="4287838" y="2667000"/>
              <a:ext cx="4762" cy="6350"/>
            </a:xfrm>
            <a:custGeom>
              <a:avLst/>
              <a:gdLst>
                <a:gd name="T0" fmla="*/ 0 w 15"/>
                <a:gd name="T1" fmla="*/ 11 h 18"/>
                <a:gd name="T2" fmla="*/ 0 w 15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8">
                  <a:moveTo>
                    <a:pt x="0" y="11"/>
                  </a:moveTo>
                  <a:cubicBezTo>
                    <a:pt x="14" y="17"/>
                    <a:pt x="6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0" name="Freeform 1178"/>
            <p:cNvSpPr>
              <a:spLocks noChangeArrowheads="1"/>
            </p:cNvSpPr>
            <p:nvPr/>
          </p:nvSpPr>
          <p:spPr bwMode="auto">
            <a:xfrm>
              <a:off x="4262438" y="2678113"/>
              <a:ext cx="1587" cy="1587"/>
            </a:xfrm>
            <a:custGeom>
              <a:avLst/>
              <a:gdLst>
                <a:gd name="T0" fmla="*/ 2 w 6"/>
                <a:gd name="T1" fmla="*/ 0 h 4"/>
                <a:gd name="T2" fmla="*/ 2 w 6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4">
                  <a:moveTo>
                    <a:pt x="2" y="0"/>
                  </a:moveTo>
                  <a:cubicBezTo>
                    <a:pt x="0" y="0"/>
                    <a:pt x="5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1" name="Freeform 1179"/>
            <p:cNvSpPr>
              <a:spLocks noChangeArrowheads="1"/>
            </p:cNvSpPr>
            <p:nvPr/>
          </p:nvSpPr>
          <p:spPr bwMode="auto">
            <a:xfrm>
              <a:off x="4252913" y="2679700"/>
              <a:ext cx="4762" cy="3175"/>
            </a:xfrm>
            <a:custGeom>
              <a:avLst/>
              <a:gdLst>
                <a:gd name="T0" fmla="*/ 11 w 12"/>
                <a:gd name="T1" fmla="*/ 6 h 9"/>
                <a:gd name="T2" fmla="*/ 0 w 12"/>
                <a:gd name="T3" fmla="*/ 0 h 9"/>
                <a:gd name="T4" fmla="*/ 11 w 12"/>
                <a:gd name="T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11" y="6"/>
                  </a:moveTo>
                  <a:cubicBezTo>
                    <a:pt x="11" y="0"/>
                    <a:pt x="3" y="0"/>
                    <a:pt x="0" y="0"/>
                  </a:cubicBezTo>
                  <a:cubicBezTo>
                    <a:pt x="0" y="8"/>
                    <a:pt x="6" y="8"/>
                    <a:pt x="1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2" name="Freeform 1180"/>
            <p:cNvSpPr>
              <a:spLocks noChangeArrowheads="1"/>
            </p:cNvSpPr>
            <p:nvPr/>
          </p:nvSpPr>
          <p:spPr bwMode="auto">
            <a:xfrm>
              <a:off x="4292600" y="2663825"/>
              <a:ext cx="3175" cy="4763"/>
            </a:xfrm>
            <a:custGeom>
              <a:avLst/>
              <a:gdLst>
                <a:gd name="T0" fmla="*/ 9 w 10"/>
                <a:gd name="T1" fmla="*/ 5 h 15"/>
                <a:gd name="T2" fmla="*/ 9 w 10"/>
                <a:gd name="T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9" y="5"/>
                  </a:moveTo>
                  <a:cubicBezTo>
                    <a:pt x="0" y="0"/>
                    <a:pt x="9" y="14"/>
                    <a:pt x="9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3" name="Freeform 1181"/>
            <p:cNvSpPr>
              <a:spLocks noChangeArrowheads="1"/>
            </p:cNvSpPr>
            <p:nvPr/>
          </p:nvSpPr>
          <p:spPr bwMode="auto">
            <a:xfrm>
              <a:off x="4260850" y="2676525"/>
              <a:ext cx="4763" cy="3175"/>
            </a:xfrm>
            <a:custGeom>
              <a:avLst/>
              <a:gdLst>
                <a:gd name="T0" fmla="*/ 11 w 15"/>
                <a:gd name="T1" fmla="*/ 0 h 9"/>
                <a:gd name="T2" fmla="*/ 11 w 15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9">
                  <a:moveTo>
                    <a:pt x="11" y="0"/>
                  </a:moveTo>
                  <a:cubicBezTo>
                    <a:pt x="0" y="0"/>
                    <a:pt x="14" y="8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4" name="Freeform 1182"/>
            <p:cNvSpPr>
              <a:spLocks noChangeArrowheads="1"/>
            </p:cNvSpPr>
            <p:nvPr/>
          </p:nvSpPr>
          <p:spPr bwMode="auto">
            <a:xfrm>
              <a:off x="4289425" y="2660650"/>
              <a:ext cx="6350" cy="4763"/>
            </a:xfrm>
            <a:custGeom>
              <a:avLst/>
              <a:gdLst>
                <a:gd name="T0" fmla="*/ 3 w 18"/>
                <a:gd name="T1" fmla="*/ 9 h 13"/>
                <a:gd name="T2" fmla="*/ 17 w 18"/>
                <a:gd name="T3" fmla="*/ 0 h 13"/>
                <a:gd name="T4" fmla="*/ 3 w 18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3" y="9"/>
                  </a:moveTo>
                  <a:cubicBezTo>
                    <a:pt x="8" y="12"/>
                    <a:pt x="14" y="6"/>
                    <a:pt x="17" y="0"/>
                  </a:cubicBezTo>
                  <a:cubicBezTo>
                    <a:pt x="11" y="3"/>
                    <a:pt x="0" y="3"/>
                    <a:pt x="3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5" name="Freeform 1183"/>
            <p:cNvSpPr>
              <a:spLocks noChangeArrowheads="1"/>
            </p:cNvSpPr>
            <p:nvPr/>
          </p:nvSpPr>
          <p:spPr bwMode="auto">
            <a:xfrm>
              <a:off x="4254500" y="2684463"/>
              <a:ext cx="3175" cy="4762"/>
            </a:xfrm>
            <a:custGeom>
              <a:avLst/>
              <a:gdLst>
                <a:gd name="T0" fmla="*/ 8 w 9"/>
                <a:gd name="T1" fmla="*/ 9 h 12"/>
                <a:gd name="T2" fmla="*/ 8 w 9"/>
                <a:gd name="T3" fmla="*/ 6 h 12"/>
                <a:gd name="T4" fmla="*/ 5 w 9"/>
                <a:gd name="T5" fmla="*/ 0 h 12"/>
                <a:gd name="T6" fmla="*/ 8 w 9"/>
                <a:gd name="T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9"/>
                  </a:moveTo>
                  <a:cubicBezTo>
                    <a:pt x="8" y="9"/>
                    <a:pt x="5" y="6"/>
                    <a:pt x="8" y="6"/>
                  </a:cubicBezTo>
                  <a:lnTo>
                    <a:pt x="5" y="0"/>
                  </a:lnTo>
                  <a:cubicBezTo>
                    <a:pt x="0" y="0"/>
                    <a:pt x="5" y="11"/>
                    <a:pt x="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6" name="Freeform 1184"/>
            <p:cNvSpPr>
              <a:spLocks noChangeArrowheads="1"/>
            </p:cNvSpPr>
            <p:nvPr/>
          </p:nvSpPr>
          <p:spPr bwMode="auto">
            <a:xfrm>
              <a:off x="4257675" y="2673350"/>
              <a:ext cx="6350" cy="4763"/>
            </a:xfrm>
            <a:custGeom>
              <a:avLst/>
              <a:gdLst>
                <a:gd name="T0" fmla="*/ 3 w 16"/>
                <a:gd name="T1" fmla="*/ 11 h 12"/>
                <a:gd name="T2" fmla="*/ 3 w 16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2">
                  <a:moveTo>
                    <a:pt x="3" y="11"/>
                  </a:moveTo>
                  <a:cubicBezTo>
                    <a:pt x="15" y="3"/>
                    <a:pt x="0" y="0"/>
                    <a:pt x="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7" name="Freeform 1185"/>
            <p:cNvSpPr>
              <a:spLocks noChangeArrowheads="1"/>
            </p:cNvSpPr>
            <p:nvPr/>
          </p:nvSpPr>
          <p:spPr bwMode="auto">
            <a:xfrm>
              <a:off x="4260850" y="2674938"/>
              <a:ext cx="3175" cy="4762"/>
            </a:xfrm>
            <a:custGeom>
              <a:avLst/>
              <a:gdLst>
                <a:gd name="T0" fmla="*/ 6 w 7"/>
                <a:gd name="T1" fmla="*/ 8 h 15"/>
                <a:gd name="T2" fmla="*/ 6 w 7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6" y="8"/>
                  </a:moveTo>
                  <a:cubicBezTo>
                    <a:pt x="3" y="0"/>
                    <a:pt x="0" y="14"/>
                    <a:pt x="6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8" name="Freeform 1186"/>
            <p:cNvSpPr>
              <a:spLocks noChangeArrowheads="1"/>
            </p:cNvSpPr>
            <p:nvPr/>
          </p:nvSpPr>
          <p:spPr bwMode="auto">
            <a:xfrm>
              <a:off x="4264025" y="2681288"/>
              <a:ext cx="4763" cy="6350"/>
            </a:xfrm>
            <a:custGeom>
              <a:avLst/>
              <a:gdLst>
                <a:gd name="T0" fmla="*/ 3 w 12"/>
                <a:gd name="T1" fmla="*/ 0 h 18"/>
                <a:gd name="T2" fmla="*/ 3 w 12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3" y="0"/>
                  </a:moveTo>
                  <a:cubicBezTo>
                    <a:pt x="0" y="17"/>
                    <a:pt x="11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29" name="Freeform 1187"/>
            <p:cNvSpPr>
              <a:spLocks noChangeArrowheads="1"/>
            </p:cNvSpPr>
            <p:nvPr/>
          </p:nvSpPr>
          <p:spPr bwMode="auto">
            <a:xfrm>
              <a:off x="3992563" y="2719388"/>
              <a:ext cx="6350" cy="3175"/>
            </a:xfrm>
            <a:custGeom>
              <a:avLst/>
              <a:gdLst>
                <a:gd name="T0" fmla="*/ 0 w 18"/>
                <a:gd name="T1" fmla="*/ 8 h 9"/>
                <a:gd name="T2" fmla="*/ 0 w 18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0" y="8"/>
                  </a:moveTo>
                  <a:cubicBezTo>
                    <a:pt x="17" y="8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0" name="Freeform 1188"/>
            <p:cNvSpPr>
              <a:spLocks noChangeArrowheads="1"/>
            </p:cNvSpPr>
            <p:nvPr/>
          </p:nvSpPr>
          <p:spPr bwMode="auto">
            <a:xfrm>
              <a:off x="4187825" y="2687638"/>
              <a:ext cx="4763" cy="6350"/>
            </a:xfrm>
            <a:custGeom>
              <a:avLst/>
              <a:gdLst>
                <a:gd name="T0" fmla="*/ 0 w 12"/>
                <a:gd name="T1" fmla="*/ 9 h 16"/>
                <a:gd name="T2" fmla="*/ 11 w 12"/>
                <a:gd name="T3" fmla="*/ 12 h 16"/>
                <a:gd name="T4" fmla="*/ 0 w 12"/>
                <a:gd name="T5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6">
                  <a:moveTo>
                    <a:pt x="0" y="9"/>
                  </a:moveTo>
                  <a:cubicBezTo>
                    <a:pt x="2" y="12"/>
                    <a:pt x="8" y="15"/>
                    <a:pt x="11" y="12"/>
                  </a:cubicBezTo>
                  <a:cubicBezTo>
                    <a:pt x="8" y="6"/>
                    <a:pt x="2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1" name="Freeform 1189"/>
            <p:cNvSpPr>
              <a:spLocks noChangeArrowheads="1"/>
            </p:cNvSpPr>
            <p:nvPr/>
          </p:nvSpPr>
          <p:spPr bwMode="auto">
            <a:xfrm>
              <a:off x="4181475" y="2679700"/>
              <a:ext cx="4763" cy="6350"/>
            </a:xfrm>
            <a:custGeom>
              <a:avLst/>
              <a:gdLst>
                <a:gd name="T0" fmla="*/ 5 w 15"/>
                <a:gd name="T1" fmla="*/ 17 h 18"/>
                <a:gd name="T2" fmla="*/ 14 w 15"/>
                <a:gd name="T3" fmla="*/ 11 h 18"/>
                <a:gd name="T4" fmla="*/ 5 w 15"/>
                <a:gd name="T5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8">
                  <a:moveTo>
                    <a:pt x="5" y="17"/>
                  </a:moveTo>
                  <a:cubicBezTo>
                    <a:pt x="8" y="14"/>
                    <a:pt x="11" y="17"/>
                    <a:pt x="14" y="11"/>
                  </a:cubicBezTo>
                  <a:cubicBezTo>
                    <a:pt x="11" y="0"/>
                    <a:pt x="0" y="11"/>
                    <a:pt x="5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2" name="Freeform 1190"/>
            <p:cNvSpPr>
              <a:spLocks noChangeArrowheads="1"/>
            </p:cNvSpPr>
            <p:nvPr/>
          </p:nvSpPr>
          <p:spPr bwMode="auto">
            <a:xfrm>
              <a:off x="4189413" y="2667000"/>
              <a:ext cx="4762" cy="7938"/>
            </a:xfrm>
            <a:custGeom>
              <a:avLst/>
              <a:gdLst>
                <a:gd name="T0" fmla="*/ 0 w 15"/>
                <a:gd name="T1" fmla="*/ 3 h 24"/>
                <a:gd name="T2" fmla="*/ 0 w 15"/>
                <a:gd name="T3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0" y="3"/>
                  </a:moveTo>
                  <a:cubicBezTo>
                    <a:pt x="3" y="23"/>
                    <a:pt x="14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3" name="Freeform 1191"/>
            <p:cNvSpPr>
              <a:spLocks noChangeArrowheads="1"/>
            </p:cNvSpPr>
            <p:nvPr/>
          </p:nvSpPr>
          <p:spPr bwMode="auto">
            <a:xfrm>
              <a:off x="4194175" y="2659063"/>
              <a:ext cx="3175" cy="7937"/>
            </a:xfrm>
            <a:custGeom>
              <a:avLst/>
              <a:gdLst>
                <a:gd name="T0" fmla="*/ 9 w 10"/>
                <a:gd name="T1" fmla="*/ 12 h 21"/>
                <a:gd name="T2" fmla="*/ 9 w 10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9" y="12"/>
                  </a:moveTo>
                  <a:cubicBezTo>
                    <a:pt x="0" y="0"/>
                    <a:pt x="0" y="20"/>
                    <a:pt x="9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4" name="Freeform 1192"/>
            <p:cNvSpPr>
              <a:spLocks noChangeArrowheads="1"/>
            </p:cNvSpPr>
            <p:nvPr/>
          </p:nvSpPr>
          <p:spPr bwMode="auto">
            <a:xfrm>
              <a:off x="4225925" y="2668588"/>
              <a:ext cx="6350" cy="4762"/>
            </a:xfrm>
            <a:custGeom>
              <a:avLst/>
              <a:gdLst>
                <a:gd name="T0" fmla="*/ 17 w 18"/>
                <a:gd name="T1" fmla="*/ 8 h 15"/>
                <a:gd name="T2" fmla="*/ 11 w 18"/>
                <a:gd name="T3" fmla="*/ 0 h 15"/>
                <a:gd name="T4" fmla="*/ 17 w 18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7" y="8"/>
                  </a:moveTo>
                  <a:cubicBezTo>
                    <a:pt x="17" y="8"/>
                    <a:pt x="8" y="0"/>
                    <a:pt x="11" y="0"/>
                  </a:cubicBezTo>
                  <a:cubicBezTo>
                    <a:pt x="0" y="0"/>
                    <a:pt x="14" y="14"/>
                    <a:pt x="17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5" name="Freeform 1193"/>
            <p:cNvSpPr>
              <a:spLocks noChangeArrowheads="1"/>
            </p:cNvSpPr>
            <p:nvPr/>
          </p:nvSpPr>
          <p:spPr bwMode="auto">
            <a:xfrm>
              <a:off x="4235450" y="2670175"/>
              <a:ext cx="11113" cy="1588"/>
            </a:xfrm>
            <a:custGeom>
              <a:avLst/>
              <a:gdLst>
                <a:gd name="T0" fmla="*/ 14 w 30"/>
                <a:gd name="T1" fmla="*/ 3 h 4"/>
                <a:gd name="T2" fmla="*/ 14 w 30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0" h="4">
                  <a:moveTo>
                    <a:pt x="14" y="3"/>
                  </a:moveTo>
                  <a:cubicBezTo>
                    <a:pt x="29" y="0"/>
                    <a:pt x="0" y="0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6" name="Freeform 1194"/>
            <p:cNvSpPr>
              <a:spLocks noChangeArrowheads="1"/>
            </p:cNvSpPr>
            <p:nvPr/>
          </p:nvSpPr>
          <p:spPr bwMode="auto">
            <a:xfrm>
              <a:off x="4233863" y="2662238"/>
              <a:ext cx="4762" cy="4762"/>
            </a:xfrm>
            <a:custGeom>
              <a:avLst/>
              <a:gdLst>
                <a:gd name="T0" fmla="*/ 2 w 12"/>
                <a:gd name="T1" fmla="*/ 6 h 15"/>
                <a:gd name="T2" fmla="*/ 2 w 12"/>
                <a:gd name="T3" fmla="*/ 14 h 15"/>
                <a:gd name="T4" fmla="*/ 2 w 12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2" y="6"/>
                  </a:moveTo>
                  <a:cubicBezTo>
                    <a:pt x="5" y="8"/>
                    <a:pt x="0" y="11"/>
                    <a:pt x="2" y="14"/>
                  </a:cubicBezTo>
                  <a:cubicBezTo>
                    <a:pt x="11" y="14"/>
                    <a:pt x="8" y="0"/>
                    <a:pt x="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7" name="Freeform 1195"/>
            <p:cNvSpPr>
              <a:spLocks noChangeArrowheads="1"/>
            </p:cNvSpPr>
            <p:nvPr/>
          </p:nvSpPr>
          <p:spPr bwMode="auto">
            <a:xfrm>
              <a:off x="4238625" y="2663825"/>
              <a:ext cx="11113" cy="7938"/>
            </a:xfrm>
            <a:custGeom>
              <a:avLst/>
              <a:gdLst>
                <a:gd name="T0" fmla="*/ 19 w 32"/>
                <a:gd name="T1" fmla="*/ 17 h 20"/>
                <a:gd name="T2" fmla="*/ 25 w 32"/>
                <a:gd name="T3" fmla="*/ 0 h 20"/>
                <a:gd name="T4" fmla="*/ 0 w 32"/>
                <a:gd name="T5" fmla="*/ 8 h 20"/>
                <a:gd name="T6" fmla="*/ 19 w 32"/>
                <a:gd name="T7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0">
                  <a:moveTo>
                    <a:pt x="19" y="17"/>
                  </a:moveTo>
                  <a:cubicBezTo>
                    <a:pt x="8" y="5"/>
                    <a:pt x="31" y="11"/>
                    <a:pt x="25" y="0"/>
                  </a:cubicBezTo>
                  <a:cubicBezTo>
                    <a:pt x="17" y="11"/>
                    <a:pt x="8" y="0"/>
                    <a:pt x="0" y="8"/>
                  </a:cubicBezTo>
                  <a:cubicBezTo>
                    <a:pt x="5" y="11"/>
                    <a:pt x="14" y="19"/>
                    <a:pt x="19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8" name="Freeform 1196"/>
            <p:cNvSpPr>
              <a:spLocks noChangeArrowheads="1"/>
            </p:cNvSpPr>
            <p:nvPr/>
          </p:nvSpPr>
          <p:spPr bwMode="auto">
            <a:xfrm>
              <a:off x="4278313" y="2692400"/>
              <a:ext cx="3175" cy="7938"/>
            </a:xfrm>
            <a:custGeom>
              <a:avLst/>
              <a:gdLst>
                <a:gd name="T0" fmla="*/ 8 w 9"/>
                <a:gd name="T1" fmla="*/ 11 h 20"/>
                <a:gd name="T2" fmla="*/ 8 w 9"/>
                <a:gd name="T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8" y="11"/>
                  </a:moveTo>
                  <a:cubicBezTo>
                    <a:pt x="0" y="0"/>
                    <a:pt x="0" y="19"/>
                    <a:pt x="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39" name="Freeform 1197"/>
            <p:cNvSpPr>
              <a:spLocks noChangeArrowheads="1"/>
            </p:cNvSpPr>
            <p:nvPr/>
          </p:nvSpPr>
          <p:spPr bwMode="auto">
            <a:xfrm>
              <a:off x="4256088" y="2665413"/>
              <a:ext cx="3175" cy="7937"/>
            </a:xfrm>
            <a:custGeom>
              <a:avLst/>
              <a:gdLst>
                <a:gd name="T0" fmla="*/ 8 w 9"/>
                <a:gd name="T1" fmla="*/ 14 h 21"/>
                <a:gd name="T2" fmla="*/ 8 w 9"/>
                <a:gd name="T3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8" y="14"/>
                  </a:moveTo>
                  <a:cubicBezTo>
                    <a:pt x="0" y="0"/>
                    <a:pt x="0" y="20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0" name="Freeform 1198"/>
            <p:cNvSpPr>
              <a:spLocks noChangeArrowheads="1"/>
            </p:cNvSpPr>
            <p:nvPr/>
          </p:nvSpPr>
          <p:spPr bwMode="auto">
            <a:xfrm>
              <a:off x="4289425" y="2692400"/>
              <a:ext cx="4763" cy="4763"/>
            </a:xfrm>
            <a:custGeom>
              <a:avLst/>
              <a:gdLst>
                <a:gd name="T0" fmla="*/ 6 w 12"/>
                <a:gd name="T1" fmla="*/ 11 h 12"/>
                <a:gd name="T2" fmla="*/ 11 w 12"/>
                <a:gd name="T3" fmla="*/ 5 h 12"/>
                <a:gd name="T4" fmla="*/ 6 w 12"/>
                <a:gd name="T5" fmla="*/ 0 h 12"/>
                <a:gd name="T6" fmla="*/ 0 w 12"/>
                <a:gd name="T7" fmla="*/ 5 h 12"/>
                <a:gd name="T8" fmla="*/ 6 w 12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11"/>
                  </a:moveTo>
                  <a:lnTo>
                    <a:pt x="11" y="5"/>
                  </a:lnTo>
                  <a:lnTo>
                    <a:pt x="6" y="0"/>
                  </a:lnTo>
                  <a:lnTo>
                    <a:pt x="0" y="5"/>
                  </a:lnTo>
                  <a:lnTo>
                    <a:pt x="6" y="11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1" name="Freeform 1199"/>
            <p:cNvSpPr>
              <a:spLocks noChangeArrowheads="1"/>
            </p:cNvSpPr>
            <p:nvPr/>
          </p:nvSpPr>
          <p:spPr bwMode="auto">
            <a:xfrm>
              <a:off x="4265613" y="2667000"/>
              <a:ext cx="4762" cy="4763"/>
            </a:xfrm>
            <a:custGeom>
              <a:avLst/>
              <a:gdLst>
                <a:gd name="T0" fmla="*/ 0 w 15"/>
                <a:gd name="T1" fmla="*/ 6 h 15"/>
                <a:gd name="T2" fmla="*/ 6 w 15"/>
                <a:gd name="T3" fmla="*/ 14 h 15"/>
                <a:gd name="T4" fmla="*/ 0 w 15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0" y="6"/>
                  </a:moveTo>
                  <a:cubicBezTo>
                    <a:pt x="3" y="9"/>
                    <a:pt x="0" y="11"/>
                    <a:pt x="6" y="14"/>
                  </a:cubicBezTo>
                  <a:cubicBezTo>
                    <a:pt x="14" y="14"/>
                    <a:pt x="3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2" name="Freeform 1200"/>
            <p:cNvSpPr>
              <a:spLocks noChangeArrowheads="1"/>
            </p:cNvSpPr>
            <p:nvPr/>
          </p:nvSpPr>
          <p:spPr bwMode="auto">
            <a:xfrm>
              <a:off x="4284663" y="2684463"/>
              <a:ext cx="1587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3" name="Freeform 1201"/>
            <p:cNvSpPr>
              <a:spLocks noChangeArrowheads="1"/>
            </p:cNvSpPr>
            <p:nvPr/>
          </p:nvSpPr>
          <p:spPr bwMode="auto">
            <a:xfrm>
              <a:off x="4265613" y="2659063"/>
              <a:ext cx="3175" cy="7937"/>
            </a:xfrm>
            <a:custGeom>
              <a:avLst/>
              <a:gdLst>
                <a:gd name="T0" fmla="*/ 8 w 9"/>
                <a:gd name="T1" fmla="*/ 12 h 21"/>
                <a:gd name="T2" fmla="*/ 8 w 9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8" y="12"/>
                  </a:moveTo>
                  <a:cubicBezTo>
                    <a:pt x="0" y="0"/>
                    <a:pt x="0" y="20"/>
                    <a:pt x="8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4" name="Freeform 1202"/>
            <p:cNvSpPr>
              <a:spLocks noChangeArrowheads="1"/>
            </p:cNvSpPr>
            <p:nvPr/>
          </p:nvSpPr>
          <p:spPr bwMode="auto">
            <a:xfrm>
              <a:off x="4279900" y="2673350"/>
              <a:ext cx="7938" cy="4763"/>
            </a:xfrm>
            <a:custGeom>
              <a:avLst/>
              <a:gdLst>
                <a:gd name="T0" fmla="*/ 20 w 21"/>
                <a:gd name="T1" fmla="*/ 9 h 15"/>
                <a:gd name="T2" fmla="*/ 6 w 21"/>
                <a:gd name="T3" fmla="*/ 9 h 15"/>
                <a:gd name="T4" fmla="*/ 20 w 21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5">
                  <a:moveTo>
                    <a:pt x="20" y="9"/>
                  </a:moveTo>
                  <a:cubicBezTo>
                    <a:pt x="17" y="0"/>
                    <a:pt x="0" y="0"/>
                    <a:pt x="6" y="9"/>
                  </a:cubicBezTo>
                  <a:cubicBezTo>
                    <a:pt x="9" y="3"/>
                    <a:pt x="14" y="14"/>
                    <a:pt x="2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5" name="Freeform 1203"/>
            <p:cNvSpPr>
              <a:spLocks noChangeArrowheads="1"/>
            </p:cNvSpPr>
            <p:nvPr/>
          </p:nvSpPr>
          <p:spPr bwMode="auto">
            <a:xfrm>
              <a:off x="4314825" y="2698750"/>
              <a:ext cx="7938" cy="3175"/>
            </a:xfrm>
            <a:custGeom>
              <a:avLst/>
              <a:gdLst>
                <a:gd name="T0" fmla="*/ 0 w 21"/>
                <a:gd name="T1" fmla="*/ 3 h 10"/>
                <a:gd name="T2" fmla="*/ 20 w 21"/>
                <a:gd name="T3" fmla="*/ 6 h 10"/>
                <a:gd name="T4" fmla="*/ 0 w 21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0">
                  <a:moveTo>
                    <a:pt x="0" y="3"/>
                  </a:moveTo>
                  <a:cubicBezTo>
                    <a:pt x="6" y="9"/>
                    <a:pt x="14" y="9"/>
                    <a:pt x="20" y="6"/>
                  </a:cubicBezTo>
                  <a:cubicBezTo>
                    <a:pt x="14" y="3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6" name="Freeform 1204"/>
            <p:cNvSpPr>
              <a:spLocks noChangeArrowheads="1"/>
            </p:cNvSpPr>
            <p:nvPr/>
          </p:nvSpPr>
          <p:spPr bwMode="auto">
            <a:xfrm>
              <a:off x="4294188" y="2678113"/>
              <a:ext cx="4762" cy="7937"/>
            </a:xfrm>
            <a:custGeom>
              <a:avLst/>
              <a:gdLst>
                <a:gd name="T0" fmla="*/ 11 w 15"/>
                <a:gd name="T1" fmla="*/ 14 h 21"/>
                <a:gd name="T2" fmla="*/ 11 w 15"/>
                <a:gd name="T3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11" y="14"/>
                  </a:moveTo>
                  <a:cubicBezTo>
                    <a:pt x="14" y="0"/>
                    <a:pt x="0" y="20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7" name="Freeform 1205"/>
            <p:cNvSpPr>
              <a:spLocks noChangeArrowheads="1"/>
            </p:cNvSpPr>
            <p:nvPr/>
          </p:nvSpPr>
          <p:spPr bwMode="auto">
            <a:xfrm>
              <a:off x="4268788" y="2655888"/>
              <a:ext cx="7937" cy="4762"/>
            </a:xfrm>
            <a:custGeom>
              <a:avLst/>
              <a:gdLst>
                <a:gd name="T0" fmla="*/ 9 w 24"/>
                <a:gd name="T1" fmla="*/ 14 h 15"/>
                <a:gd name="T2" fmla="*/ 9 w 24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15">
                  <a:moveTo>
                    <a:pt x="9" y="14"/>
                  </a:moveTo>
                  <a:cubicBezTo>
                    <a:pt x="23" y="0"/>
                    <a:pt x="0" y="3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8" name="Freeform 1206"/>
            <p:cNvSpPr>
              <a:spLocks noChangeArrowheads="1"/>
            </p:cNvSpPr>
            <p:nvPr/>
          </p:nvSpPr>
          <p:spPr bwMode="auto">
            <a:xfrm>
              <a:off x="4284663" y="2667000"/>
              <a:ext cx="3175" cy="7938"/>
            </a:xfrm>
            <a:custGeom>
              <a:avLst/>
              <a:gdLst>
                <a:gd name="T0" fmla="*/ 9 w 10"/>
                <a:gd name="T1" fmla="*/ 11 h 21"/>
                <a:gd name="T2" fmla="*/ 9 w 10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9" y="11"/>
                  </a:moveTo>
                  <a:cubicBezTo>
                    <a:pt x="0" y="0"/>
                    <a:pt x="3" y="20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49" name="Freeform 1207"/>
            <p:cNvSpPr>
              <a:spLocks noChangeArrowheads="1"/>
            </p:cNvSpPr>
            <p:nvPr/>
          </p:nvSpPr>
          <p:spPr bwMode="auto">
            <a:xfrm>
              <a:off x="4291013" y="2667000"/>
              <a:ext cx="3175" cy="7938"/>
            </a:xfrm>
            <a:custGeom>
              <a:avLst/>
              <a:gdLst>
                <a:gd name="T0" fmla="*/ 9 w 10"/>
                <a:gd name="T1" fmla="*/ 11 h 21"/>
                <a:gd name="T2" fmla="*/ 9 w 10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9" y="11"/>
                  </a:moveTo>
                  <a:cubicBezTo>
                    <a:pt x="0" y="0"/>
                    <a:pt x="3" y="20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0" name="Freeform 1208"/>
            <p:cNvSpPr>
              <a:spLocks noChangeArrowheads="1"/>
            </p:cNvSpPr>
            <p:nvPr/>
          </p:nvSpPr>
          <p:spPr bwMode="auto">
            <a:xfrm>
              <a:off x="4310063" y="2673350"/>
              <a:ext cx="3175" cy="7938"/>
            </a:xfrm>
            <a:custGeom>
              <a:avLst/>
              <a:gdLst>
                <a:gd name="T0" fmla="*/ 9 w 10"/>
                <a:gd name="T1" fmla="*/ 11 h 21"/>
                <a:gd name="T2" fmla="*/ 9 w 10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9" y="11"/>
                  </a:moveTo>
                  <a:cubicBezTo>
                    <a:pt x="0" y="0"/>
                    <a:pt x="0" y="20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1" name="Freeform 1209"/>
            <p:cNvSpPr>
              <a:spLocks noChangeArrowheads="1"/>
            </p:cNvSpPr>
            <p:nvPr/>
          </p:nvSpPr>
          <p:spPr bwMode="auto">
            <a:xfrm>
              <a:off x="4321175" y="2679700"/>
              <a:ext cx="4763" cy="7938"/>
            </a:xfrm>
            <a:custGeom>
              <a:avLst/>
              <a:gdLst>
                <a:gd name="T0" fmla="*/ 11 w 12"/>
                <a:gd name="T1" fmla="*/ 14 h 21"/>
                <a:gd name="T2" fmla="*/ 0 w 12"/>
                <a:gd name="T3" fmla="*/ 6 h 21"/>
                <a:gd name="T4" fmla="*/ 11 w 12"/>
                <a:gd name="T5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1">
                  <a:moveTo>
                    <a:pt x="11" y="14"/>
                  </a:moveTo>
                  <a:cubicBezTo>
                    <a:pt x="6" y="11"/>
                    <a:pt x="9" y="0"/>
                    <a:pt x="0" y="6"/>
                  </a:cubicBezTo>
                  <a:cubicBezTo>
                    <a:pt x="3" y="8"/>
                    <a:pt x="6" y="20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2" name="Freeform 1210"/>
            <p:cNvSpPr>
              <a:spLocks noChangeArrowheads="1"/>
            </p:cNvSpPr>
            <p:nvPr/>
          </p:nvSpPr>
          <p:spPr bwMode="auto">
            <a:xfrm>
              <a:off x="4305300" y="2665413"/>
              <a:ext cx="4763" cy="4762"/>
            </a:xfrm>
            <a:custGeom>
              <a:avLst/>
              <a:gdLst>
                <a:gd name="T0" fmla="*/ 14 w 15"/>
                <a:gd name="T1" fmla="*/ 8 h 15"/>
                <a:gd name="T2" fmla="*/ 11 w 15"/>
                <a:gd name="T3" fmla="*/ 0 h 15"/>
                <a:gd name="T4" fmla="*/ 14 w 15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4" y="8"/>
                  </a:moveTo>
                  <a:cubicBezTo>
                    <a:pt x="11" y="5"/>
                    <a:pt x="14" y="2"/>
                    <a:pt x="11" y="0"/>
                  </a:cubicBezTo>
                  <a:cubicBezTo>
                    <a:pt x="0" y="0"/>
                    <a:pt x="6" y="14"/>
                    <a:pt x="1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3" name="Freeform 1211"/>
            <p:cNvSpPr>
              <a:spLocks noChangeArrowheads="1"/>
            </p:cNvSpPr>
            <p:nvPr/>
          </p:nvSpPr>
          <p:spPr bwMode="auto">
            <a:xfrm>
              <a:off x="4173538" y="2670175"/>
              <a:ext cx="7937" cy="6350"/>
            </a:xfrm>
            <a:custGeom>
              <a:avLst/>
              <a:gdLst>
                <a:gd name="T0" fmla="*/ 23 w 24"/>
                <a:gd name="T1" fmla="*/ 9 h 18"/>
                <a:gd name="T2" fmla="*/ 3 w 24"/>
                <a:gd name="T3" fmla="*/ 9 h 18"/>
                <a:gd name="T4" fmla="*/ 23 w 24"/>
                <a:gd name="T5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8">
                  <a:moveTo>
                    <a:pt x="23" y="9"/>
                  </a:moveTo>
                  <a:cubicBezTo>
                    <a:pt x="17" y="6"/>
                    <a:pt x="0" y="0"/>
                    <a:pt x="3" y="9"/>
                  </a:cubicBezTo>
                  <a:cubicBezTo>
                    <a:pt x="8" y="3"/>
                    <a:pt x="17" y="17"/>
                    <a:pt x="23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4" name="Freeform 1212"/>
            <p:cNvSpPr>
              <a:spLocks noChangeArrowheads="1"/>
            </p:cNvSpPr>
            <p:nvPr/>
          </p:nvSpPr>
          <p:spPr bwMode="auto">
            <a:xfrm>
              <a:off x="4192588" y="2678113"/>
              <a:ext cx="7937" cy="6350"/>
            </a:xfrm>
            <a:custGeom>
              <a:avLst/>
              <a:gdLst>
                <a:gd name="T0" fmla="*/ 19 w 20"/>
                <a:gd name="T1" fmla="*/ 12 h 18"/>
                <a:gd name="T2" fmla="*/ 2 w 20"/>
                <a:gd name="T3" fmla="*/ 9 h 18"/>
                <a:gd name="T4" fmla="*/ 19 w 20"/>
                <a:gd name="T5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8">
                  <a:moveTo>
                    <a:pt x="19" y="12"/>
                  </a:moveTo>
                  <a:cubicBezTo>
                    <a:pt x="14" y="0"/>
                    <a:pt x="0" y="3"/>
                    <a:pt x="2" y="9"/>
                  </a:cubicBezTo>
                  <a:cubicBezTo>
                    <a:pt x="8" y="3"/>
                    <a:pt x="14" y="17"/>
                    <a:pt x="19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5" name="Freeform 1213"/>
            <p:cNvSpPr>
              <a:spLocks noChangeArrowheads="1"/>
            </p:cNvSpPr>
            <p:nvPr/>
          </p:nvSpPr>
          <p:spPr bwMode="auto">
            <a:xfrm>
              <a:off x="4273550" y="2679700"/>
              <a:ext cx="11113" cy="9525"/>
            </a:xfrm>
            <a:custGeom>
              <a:avLst/>
              <a:gdLst>
                <a:gd name="T0" fmla="*/ 0 w 29"/>
                <a:gd name="T1" fmla="*/ 6 h 26"/>
                <a:gd name="T2" fmla="*/ 5 w 29"/>
                <a:gd name="T3" fmla="*/ 14 h 26"/>
                <a:gd name="T4" fmla="*/ 25 w 29"/>
                <a:gd name="T5" fmla="*/ 17 h 26"/>
                <a:gd name="T6" fmla="*/ 28 w 29"/>
                <a:gd name="T7" fmla="*/ 8 h 26"/>
                <a:gd name="T8" fmla="*/ 0 w 29"/>
                <a:gd name="T9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6">
                  <a:moveTo>
                    <a:pt x="0" y="6"/>
                  </a:moveTo>
                  <a:cubicBezTo>
                    <a:pt x="2" y="8"/>
                    <a:pt x="5" y="11"/>
                    <a:pt x="5" y="14"/>
                  </a:cubicBezTo>
                  <a:cubicBezTo>
                    <a:pt x="11" y="0"/>
                    <a:pt x="19" y="25"/>
                    <a:pt x="25" y="17"/>
                  </a:cubicBezTo>
                  <a:cubicBezTo>
                    <a:pt x="22" y="14"/>
                    <a:pt x="25" y="11"/>
                    <a:pt x="28" y="8"/>
                  </a:cubicBezTo>
                  <a:cubicBezTo>
                    <a:pt x="19" y="3"/>
                    <a:pt x="11" y="11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6" name="Freeform 1214"/>
            <p:cNvSpPr>
              <a:spLocks noChangeArrowheads="1"/>
            </p:cNvSpPr>
            <p:nvPr/>
          </p:nvSpPr>
          <p:spPr bwMode="auto">
            <a:xfrm>
              <a:off x="4297363" y="2698750"/>
              <a:ext cx="11112" cy="7938"/>
            </a:xfrm>
            <a:custGeom>
              <a:avLst/>
              <a:gdLst>
                <a:gd name="T0" fmla="*/ 0 w 32"/>
                <a:gd name="T1" fmla="*/ 6 h 24"/>
                <a:gd name="T2" fmla="*/ 31 w 32"/>
                <a:gd name="T3" fmla="*/ 17 h 24"/>
                <a:gd name="T4" fmla="*/ 0 w 32"/>
                <a:gd name="T5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" h="24">
                  <a:moveTo>
                    <a:pt x="0" y="6"/>
                  </a:moveTo>
                  <a:cubicBezTo>
                    <a:pt x="9" y="15"/>
                    <a:pt x="31" y="23"/>
                    <a:pt x="31" y="17"/>
                  </a:cubicBezTo>
                  <a:cubicBezTo>
                    <a:pt x="20" y="17"/>
                    <a:pt x="9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7" name="Freeform 1215"/>
            <p:cNvSpPr>
              <a:spLocks noChangeArrowheads="1"/>
            </p:cNvSpPr>
            <p:nvPr/>
          </p:nvSpPr>
          <p:spPr bwMode="auto">
            <a:xfrm>
              <a:off x="4303713" y="2687638"/>
              <a:ext cx="7937" cy="7937"/>
            </a:xfrm>
            <a:custGeom>
              <a:avLst/>
              <a:gdLst>
                <a:gd name="T0" fmla="*/ 0 w 24"/>
                <a:gd name="T1" fmla="*/ 11 h 20"/>
                <a:gd name="T2" fmla="*/ 17 w 24"/>
                <a:gd name="T3" fmla="*/ 17 h 20"/>
                <a:gd name="T4" fmla="*/ 23 w 24"/>
                <a:gd name="T5" fmla="*/ 8 h 20"/>
                <a:gd name="T6" fmla="*/ 0 w 24"/>
                <a:gd name="T7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0">
                  <a:moveTo>
                    <a:pt x="0" y="11"/>
                  </a:moveTo>
                  <a:cubicBezTo>
                    <a:pt x="6" y="19"/>
                    <a:pt x="11" y="8"/>
                    <a:pt x="17" y="17"/>
                  </a:cubicBezTo>
                  <a:lnTo>
                    <a:pt x="23" y="8"/>
                  </a:lnTo>
                  <a:cubicBezTo>
                    <a:pt x="11" y="0"/>
                    <a:pt x="14" y="14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8" name="Freeform 1216"/>
            <p:cNvSpPr>
              <a:spLocks noChangeArrowheads="1"/>
            </p:cNvSpPr>
            <p:nvPr/>
          </p:nvSpPr>
          <p:spPr bwMode="auto">
            <a:xfrm>
              <a:off x="4178300" y="2667000"/>
              <a:ext cx="4763" cy="11113"/>
            </a:xfrm>
            <a:custGeom>
              <a:avLst/>
              <a:gdLst>
                <a:gd name="T0" fmla="*/ 0 w 15"/>
                <a:gd name="T1" fmla="*/ 8 h 29"/>
                <a:gd name="T2" fmla="*/ 0 w 15"/>
                <a:gd name="T3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9">
                  <a:moveTo>
                    <a:pt x="0" y="8"/>
                  </a:moveTo>
                  <a:cubicBezTo>
                    <a:pt x="3" y="28"/>
                    <a:pt x="14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59" name="Freeform 1217"/>
            <p:cNvSpPr>
              <a:spLocks noChangeArrowheads="1"/>
            </p:cNvSpPr>
            <p:nvPr/>
          </p:nvSpPr>
          <p:spPr bwMode="auto">
            <a:xfrm>
              <a:off x="4197350" y="2676525"/>
              <a:ext cx="6350" cy="4763"/>
            </a:xfrm>
            <a:custGeom>
              <a:avLst/>
              <a:gdLst>
                <a:gd name="T0" fmla="*/ 8 w 18"/>
                <a:gd name="T1" fmla="*/ 12 h 13"/>
                <a:gd name="T2" fmla="*/ 8 w 18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8" y="12"/>
                  </a:moveTo>
                  <a:cubicBezTo>
                    <a:pt x="17" y="0"/>
                    <a:pt x="0" y="9"/>
                    <a:pt x="8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0" name="Freeform 1218"/>
            <p:cNvSpPr>
              <a:spLocks noChangeArrowheads="1"/>
            </p:cNvSpPr>
            <p:nvPr/>
          </p:nvSpPr>
          <p:spPr bwMode="auto">
            <a:xfrm>
              <a:off x="4241800" y="2667000"/>
              <a:ext cx="6350" cy="4763"/>
            </a:xfrm>
            <a:custGeom>
              <a:avLst/>
              <a:gdLst>
                <a:gd name="T0" fmla="*/ 6 w 18"/>
                <a:gd name="T1" fmla="*/ 14 h 15"/>
                <a:gd name="T2" fmla="*/ 17 w 18"/>
                <a:gd name="T3" fmla="*/ 3 h 15"/>
                <a:gd name="T4" fmla="*/ 0 w 18"/>
                <a:gd name="T5" fmla="*/ 8 h 15"/>
                <a:gd name="T6" fmla="*/ 6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6" y="14"/>
                  </a:moveTo>
                  <a:cubicBezTo>
                    <a:pt x="9" y="8"/>
                    <a:pt x="17" y="14"/>
                    <a:pt x="17" y="3"/>
                  </a:cubicBezTo>
                  <a:cubicBezTo>
                    <a:pt x="9" y="0"/>
                    <a:pt x="6" y="3"/>
                    <a:pt x="0" y="8"/>
                  </a:cubicBezTo>
                  <a:cubicBezTo>
                    <a:pt x="6" y="8"/>
                    <a:pt x="3" y="11"/>
                    <a:pt x="6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1" name="Freeform 1219"/>
            <p:cNvSpPr>
              <a:spLocks noChangeArrowheads="1"/>
            </p:cNvSpPr>
            <p:nvPr/>
          </p:nvSpPr>
          <p:spPr bwMode="auto">
            <a:xfrm>
              <a:off x="4351338" y="2647950"/>
              <a:ext cx="6350" cy="4763"/>
            </a:xfrm>
            <a:custGeom>
              <a:avLst/>
              <a:gdLst>
                <a:gd name="T0" fmla="*/ 6 w 18"/>
                <a:gd name="T1" fmla="*/ 14 h 15"/>
                <a:gd name="T2" fmla="*/ 17 w 18"/>
                <a:gd name="T3" fmla="*/ 2 h 15"/>
                <a:gd name="T4" fmla="*/ 0 w 18"/>
                <a:gd name="T5" fmla="*/ 8 h 15"/>
                <a:gd name="T6" fmla="*/ 6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6" y="14"/>
                  </a:moveTo>
                  <a:cubicBezTo>
                    <a:pt x="8" y="8"/>
                    <a:pt x="17" y="14"/>
                    <a:pt x="17" y="2"/>
                  </a:cubicBezTo>
                  <a:cubicBezTo>
                    <a:pt x="8" y="0"/>
                    <a:pt x="6" y="2"/>
                    <a:pt x="0" y="8"/>
                  </a:cubicBezTo>
                  <a:cubicBezTo>
                    <a:pt x="6" y="11"/>
                    <a:pt x="3" y="14"/>
                    <a:pt x="6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2" name="Freeform 1220"/>
            <p:cNvSpPr>
              <a:spLocks noChangeArrowheads="1"/>
            </p:cNvSpPr>
            <p:nvPr/>
          </p:nvSpPr>
          <p:spPr bwMode="auto">
            <a:xfrm>
              <a:off x="4251325" y="2665413"/>
              <a:ext cx="6350" cy="4762"/>
            </a:xfrm>
            <a:custGeom>
              <a:avLst/>
              <a:gdLst>
                <a:gd name="T0" fmla="*/ 9 w 18"/>
                <a:gd name="T1" fmla="*/ 11 h 12"/>
                <a:gd name="T2" fmla="*/ 9 w 18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9" y="11"/>
                  </a:moveTo>
                  <a:cubicBezTo>
                    <a:pt x="17" y="0"/>
                    <a:pt x="0" y="5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3" name="Freeform 1221"/>
            <p:cNvSpPr>
              <a:spLocks noChangeArrowheads="1"/>
            </p:cNvSpPr>
            <p:nvPr/>
          </p:nvSpPr>
          <p:spPr bwMode="auto">
            <a:xfrm>
              <a:off x="4265613" y="2665413"/>
              <a:ext cx="7937" cy="4762"/>
            </a:xfrm>
            <a:custGeom>
              <a:avLst/>
              <a:gdLst>
                <a:gd name="T0" fmla="*/ 8 w 21"/>
                <a:gd name="T1" fmla="*/ 11 h 12"/>
                <a:gd name="T2" fmla="*/ 8 w 21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2">
                  <a:moveTo>
                    <a:pt x="8" y="11"/>
                  </a:moveTo>
                  <a:cubicBezTo>
                    <a:pt x="20" y="11"/>
                    <a:pt x="0" y="0"/>
                    <a:pt x="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4" name="Freeform 1222"/>
            <p:cNvSpPr>
              <a:spLocks noChangeArrowheads="1"/>
            </p:cNvSpPr>
            <p:nvPr/>
          </p:nvSpPr>
          <p:spPr bwMode="auto">
            <a:xfrm>
              <a:off x="4165600" y="2674938"/>
              <a:ext cx="4763" cy="4762"/>
            </a:xfrm>
            <a:custGeom>
              <a:avLst/>
              <a:gdLst>
                <a:gd name="T0" fmla="*/ 0 w 13"/>
                <a:gd name="T1" fmla="*/ 8 h 15"/>
                <a:gd name="T2" fmla="*/ 0 w 13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8"/>
                  </a:moveTo>
                  <a:cubicBezTo>
                    <a:pt x="12" y="14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5" name="Freeform 1223"/>
            <p:cNvSpPr>
              <a:spLocks noChangeArrowheads="1"/>
            </p:cNvSpPr>
            <p:nvPr/>
          </p:nvSpPr>
          <p:spPr bwMode="auto">
            <a:xfrm>
              <a:off x="4146550" y="2679700"/>
              <a:ext cx="4763" cy="4763"/>
            </a:xfrm>
            <a:custGeom>
              <a:avLst/>
              <a:gdLst>
                <a:gd name="T0" fmla="*/ 0 w 15"/>
                <a:gd name="T1" fmla="*/ 8 h 12"/>
                <a:gd name="T2" fmla="*/ 3 w 15"/>
                <a:gd name="T3" fmla="*/ 11 h 12"/>
                <a:gd name="T4" fmla="*/ 8 w 15"/>
                <a:gd name="T5" fmla="*/ 11 h 12"/>
                <a:gd name="T6" fmla="*/ 0 w 15"/>
                <a:gd name="T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2">
                  <a:moveTo>
                    <a:pt x="0" y="8"/>
                  </a:moveTo>
                  <a:cubicBezTo>
                    <a:pt x="3" y="8"/>
                    <a:pt x="3" y="8"/>
                    <a:pt x="3" y="11"/>
                  </a:cubicBezTo>
                  <a:lnTo>
                    <a:pt x="8" y="11"/>
                  </a:lnTo>
                  <a:cubicBezTo>
                    <a:pt x="14" y="6"/>
                    <a:pt x="0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6" name="Freeform 1224"/>
            <p:cNvSpPr>
              <a:spLocks noChangeArrowheads="1"/>
            </p:cNvSpPr>
            <p:nvPr/>
          </p:nvSpPr>
          <p:spPr bwMode="auto">
            <a:xfrm>
              <a:off x="4167188" y="2686050"/>
              <a:ext cx="4762" cy="4763"/>
            </a:xfrm>
            <a:custGeom>
              <a:avLst/>
              <a:gdLst>
                <a:gd name="T0" fmla="*/ 0 w 13"/>
                <a:gd name="T1" fmla="*/ 8 h 15"/>
                <a:gd name="T2" fmla="*/ 0 w 13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8"/>
                  </a:moveTo>
                  <a:cubicBezTo>
                    <a:pt x="12" y="14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7" name="Freeform 1225"/>
            <p:cNvSpPr>
              <a:spLocks noChangeArrowheads="1"/>
            </p:cNvSpPr>
            <p:nvPr/>
          </p:nvSpPr>
          <p:spPr bwMode="auto">
            <a:xfrm>
              <a:off x="4121150" y="2678113"/>
              <a:ext cx="3175" cy="7937"/>
            </a:xfrm>
            <a:custGeom>
              <a:avLst/>
              <a:gdLst>
                <a:gd name="T0" fmla="*/ 0 w 7"/>
                <a:gd name="T1" fmla="*/ 9 h 24"/>
                <a:gd name="T2" fmla="*/ 0 w 7"/>
                <a:gd name="T3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4">
                  <a:moveTo>
                    <a:pt x="0" y="9"/>
                  </a:moveTo>
                  <a:cubicBezTo>
                    <a:pt x="6" y="23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8" name="Freeform 1226"/>
            <p:cNvSpPr>
              <a:spLocks noChangeArrowheads="1"/>
            </p:cNvSpPr>
            <p:nvPr/>
          </p:nvSpPr>
          <p:spPr bwMode="auto">
            <a:xfrm>
              <a:off x="4141788" y="2686050"/>
              <a:ext cx="6350" cy="4763"/>
            </a:xfrm>
            <a:custGeom>
              <a:avLst/>
              <a:gdLst>
                <a:gd name="T0" fmla="*/ 5 w 17"/>
                <a:gd name="T1" fmla="*/ 0 h 12"/>
                <a:gd name="T2" fmla="*/ 16 w 17"/>
                <a:gd name="T3" fmla="*/ 11 h 12"/>
                <a:gd name="T4" fmla="*/ 5 w 1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2">
                  <a:moveTo>
                    <a:pt x="5" y="0"/>
                  </a:moveTo>
                  <a:cubicBezTo>
                    <a:pt x="0" y="8"/>
                    <a:pt x="8" y="11"/>
                    <a:pt x="16" y="11"/>
                  </a:cubicBezTo>
                  <a:cubicBezTo>
                    <a:pt x="16" y="3"/>
                    <a:pt x="14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69" name="Freeform 1227"/>
            <p:cNvSpPr>
              <a:spLocks noChangeArrowheads="1"/>
            </p:cNvSpPr>
            <p:nvPr/>
          </p:nvSpPr>
          <p:spPr bwMode="auto">
            <a:xfrm>
              <a:off x="4156075" y="2687638"/>
              <a:ext cx="4763" cy="6350"/>
            </a:xfrm>
            <a:custGeom>
              <a:avLst/>
              <a:gdLst>
                <a:gd name="T0" fmla="*/ 3 w 15"/>
                <a:gd name="T1" fmla="*/ 0 h 16"/>
                <a:gd name="T2" fmla="*/ 6 w 15"/>
                <a:gd name="T3" fmla="*/ 15 h 16"/>
                <a:gd name="T4" fmla="*/ 3 w 15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3" y="0"/>
                  </a:moveTo>
                  <a:cubicBezTo>
                    <a:pt x="0" y="6"/>
                    <a:pt x="0" y="12"/>
                    <a:pt x="6" y="15"/>
                  </a:cubicBezTo>
                  <a:cubicBezTo>
                    <a:pt x="3" y="6"/>
                    <a:pt x="14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0" name="Freeform 1228"/>
            <p:cNvSpPr>
              <a:spLocks noChangeArrowheads="1"/>
            </p:cNvSpPr>
            <p:nvPr/>
          </p:nvSpPr>
          <p:spPr bwMode="auto">
            <a:xfrm>
              <a:off x="4162425" y="2690813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3" y="3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1" name="Freeform 1229"/>
            <p:cNvSpPr>
              <a:spLocks noChangeArrowheads="1"/>
            </p:cNvSpPr>
            <p:nvPr/>
          </p:nvSpPr>
          <p:spPr bwMode="auto">
            <a:xfrm>
              <a:off x="4165600" y="2689225"/>
              <a:ext cx="6350" cy="4763"/>
            </a:xfrm>
            <a:custGeom>
              <a:avLst/>
              <a:gdLst>
                <a:gd name="T0" fmla="*/ 0 w 18"/>
                <a:gd name="T1" fmla="*/ 6 h 12"/>
                <a:gd name="T2" fmla="*/ 17 w 18"/>
                <a:gd name="T3" fmla="*/ 6 h 12"/>
                <a:gd name="T4" fmla="*/ 0 w 18"/>
                <a:gd name="T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0" y="6"/>
                  </a:moveTo>
                  <a:cubicBezTo>
                    <a:pt x="5" y="6"/>
                    <a:pt x="14" y="11"/>
                    <a:pt x="17" y="6"/>
                  </a:cubicBezTo>
                  <a:cubicBezTo>
                    <a:pt x="11" y="6"/>
                    <a:pt x="2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2" name="Freeform 1230"/>
            <p:cNvSpPr>
              <a:spLocks noChangeArrowheads="1"/>
            </p:cNvSpPr>
            <p:nvPr/>
          </p:nvSpPr>
          <p:spPr bwMode="auto">
            <a:xfrm>
              <a:off x="4095750" y="2676525"/>
              <a:ext cx="4763" cy="6350"/>
            </a:xfrm>
            <a:custGeom>
              <a:avLst/>
              <a:gdLst>
                <a:gd name="T0" fmla="*/ 0 w 12"/>
                <a:gd name="T1" fmla="*/ 9 h 16"/>
                <a:gd name="T2" fmla="*/ 0 w 12"/>
                <a:gd name="T3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6">
                  <a:moveTo>
                    <a:pt x="0" y="9"/>
                  </a:moveTo>
                  <a:cubicBezTo>
                    <a:pt x="11" y="15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3" name="Freeform 1231"/>
            <p:cNvSpPr>
              <a:spLocks noChangeArrowheads="1"/>
            </p:cNvSpPr>
            <p:nvPr/>
          </p:nvSpPr>
          <p:spPr bwMode="auto">
            <a:xfrm>
              <a:off x="4124325" y="2684463"/>
              <a:ext cx="3175" cy="3175"/>
            </a:xfrm>
            <a:custGeom>
              <a:avLst/>
              <a:gdLst>
                <a:gd name="T0" fmla="*/ 0 w 11"/>
                <a:gd name="T1" fmla="*/ 9 h 10"/>
                <a:gd name="T2" fmla="*/ 10 w 11"/>
                <a:gd name="T3" fmla="*/ 3 h 10"/>
                <a:gd name="T4" fmla="*/ 0 w 11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0">
                  <a:moveTo>
                    <a:pt x="0" y="9"/>
                  </a:moveTo>
                  <a:cubicBezTo>
                    <a:pt x="3" y="9"/>
                    <a:pt x="7" y="9"/>
                    <a:pt x="10" y="3"/>
                  </a:cubicBezTo>
                  <a:cubicBezTo>
                    <a:pt x="4" y="3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4" name="Freeform 1232"/>
            <p:cNvSpPr>
              <a:spLocks noChangeArrowheads="1"/>
            </p:cNvSpPr>
            <p:nvPr/>
          </p:nvSpPr>
          <p:spPr bwMode="auto">
            <a:xfrm>
              <a:off x="4137025" y="2687638"/>
              <a:ext cx="1588" cy="1587"/>
            </a:xfrm>
            <a:custGeom>
              <a:avLst/>
              <a:gdLst>
                <a:gd name="T0" fmla="*/ 2 w 3"/>
                <a:gd name="T1" fmla="*/ 2 h 6"/>
                <a:gd name="T2" fmla="*/ 2 w 3"/>
                <a:gd name="T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6">
                  <a:moveTo>
                    <a:pt x="2" y="2"/>
                  </a:moveTo>
                  <a:cubicBezTo>
                    <a:pt x="2" y="5"/>
                    <a:pt x="0" y="0"/>
                    <a:pt x="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5" name="Freeform 1233"/>
            <p:cNvSpPr>
              <a:spLocks noChangeArrowheads="1"/>
            </p:cNvSpPr>
            <p:nvPr/>
          </p:nvSpPr>
          <p:spPr bwMode="auto">
            <a:xfrm>
              <a:off x="4108450" y="2679700"/>
              <a:ext cx="4763" cy="7938"/>
            </a:xfrm>
            <a:custGeom>
              <a:avLst/>
              <a:gdLst>
                <a:gd name="T0" fmla="*/ 0 w 13"/>
                <a:gd name="T1" fmla="*/ 11 h 23"/>
                <a:gd name="T2" fmla="*/ 0 w 13"/>
                <a:gd name="T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3">
                  <a:moveTo>
                    <a:pt x="0" y="11"/>
                  </a:moveTo>
                  <a:cubicBezTo>
                    <a:pt x="3" y="22"/>
                    <a:pt x="12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6" name="Freeform 1234"/>
            <p:cNvSpPr>
              <a:spLocks noChangeArrowheads="1"/>
            </p:cNvSpPr>
            <p:nvPr/>
          </p:nvSpPr>
          <p:spPr bwMode="auto">
            <a:xfrm>
              <a:off x="4138613" y="2689225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6 w 7"/>
                <a:gd name="T3" fmla="*/ 0 h 7"/>
                <a:gd name="T4" fmla="*/ 0 w 7"/>
                <a:gd name="T5" fmla="*/ 0 h 7"/>
                <a:gd name="T6" fmla="*/ 0 w 7"/>
                <a:gd name="T7" fmla="*/ 6 h 7"/>
                <a:gd name="T8" fmla="*/ 6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7" name="Freeform 1235"/>
            <p:cNvSpPr>
              <a:spLocks noChangeArrowheads="1"/>
            </p:cNvSpPr>
            <p:nvPr/>
          </p:nvSpPr>
          <p:spPr bwMode="auto">
            <a:xfrm>
              <a:off x="4149725" y="2690813"/>
              <a:ext cx="4763" cy="4762"/>
            </a:xfrm>
            <a:custGeom>
              <a:avLst/>
              <a:gdLst>
                <a:gd name="T0" fmla="*/ 9 w 15"/>
                <a:gd name="T1" fmla="*/ 14 h 15"/>
                <a:gd name="T2" fmla="*/ 3 w 15"/>
                <a:gd name="T3" fmla="*/ 0 h 15"/>
                <a:gd name="T4" fmla="*/ 9 w 15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14"/>
                  </a:moveTo>
                  <a:cubicBezTo>
                    <a:pt x="14" y="6"/>
                    <a:pt x="6" y="3"/>
                    <a:pt x="3" y="0"/>
                  </a:cubicBezTo>
                  <a:cubicBezTo>
                    <a:pt x="0" y="6"/>
                    <a:pt x="6" y="8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8" name="Freeform 1236"/>
            <p:cNvSpPr>
              <a:spLocks noChangeArrowheads="1"/>
            </p:cNvSpPr>
            <p:nvPr/>
          </p:nvSpPr>
          <p:spPr bwMode="auto">
            <a:xfrm>
              <a:off x="4122738" y="2689225"/>
              <a:ext cx="3175" cy="4763"/>
            </a:xfrm>
            <a:custGeom>
              <a:avLst/>
              <a:gdLst>
                <a:gd name="T0" fmla="*/ 7 w 8"/>
                <a:gd name="T1" fmla="*/ 11 h 12"/>
                <a:gd name="T2" fmla="*/ 3 w 8"/>
                <a:gd name="T3" fmla="*/ 0 h 12"/>
                <a:gd name="T4" fmla="*/ 7 w 8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2">
                  <a:moveTo>
                    <a:pt x="7" y="11"/>
                  </a:moveTo>
                  <a:cubicBezTo>
                    <a:pt x="7" y="9"/>
                    <a:pt x="7" y="3"/>
                    <a:pt x="3" y="0"/>
                  </a:cubicBezTo>
                  <a:cubicBezTo>
                    <a:pt x="0" y="3"/>
                    <a:pt x="0" y="9"/>
                    <a:pt x="7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79" name="Freeform 1237"/>
            <p:cNvSpPr>
              <a:spLocks noChangeArrowheads="1"/>
            </p:cNvSpPr>
            <p:nvPr/>
          </p:nvSpPr>
          <p:spPr bwMode="auto">
            <a:xfrm>
              <a:off x="4137025" y="2689225"/>
              <a:ext cx="6350" cy="6350"/>
            </a:xfrm>
            <a:custGeom>
              <a:avLst/>
              <a:gdLst>
                <a:gd name="T0" fmla="*/ 0 w 16"/>
                <a:gd name="T1" fmla="*/ 9 h 18"/>
                <a:gd name="T2" fmla="*/ 0 w 16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8">
                  <a:moveTo>
                    <a:pt x="0" y="9"/>
                  </a:moveTo>
                  <a:cubicBezTo>
                    <a:pt x="15" y="17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0" name="Freeform 1238"/>
            <p:cNvSpPr>
              <a:spLocks noChangeArrowheads="1"/>
            </p:cNvSpPr>
            <p:nvPr/>
          </p:nvSpPr>
          <p:spPr bwMode="auto">
            <a:xfrm>
              <a:off x="4144963" y="2693988"/>
              <a:ext cx="3175" cy="7937"/>
            </a:xfrm>
            <a:custGeom>
              <a:avLst/>
              <a:gdLst>
                <a:gd name="T0" fmla="*/ 0 w 7"/>
                <a:gd name="T1" fmla="*/ 9 h 24"/>
                <a:gd name="T2" fmla="*/ 0 w 7"/>
                <a:gd name="T3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4">
                  <a:moveTo>
                    <a:pt x="0" y="9"/>
                  </a:moveTo>
                  <a:cubicBezTo>
                    <a:pt x="6" y="23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1" name="Freeform 1239"/>
            <p:cNvSpPr>
              <a:spLocks noChangeArrowheads="1"/>
            </p:cNvSpPr>
            <p:nvPr/>
          </p:nvSpPr>
          <p:spPr bwMode="auto">
            <a:xfrm>
              <a:off x="4110038" y="2687638"/>
              <a:ext cx="4762" cy="6350"/>
            </a:xfrm>
            <a:custGeom>
              <a:avLst/>
              <a:gdLst>
                <a:gd name="T0" fmla="*/ 0 w 13"/>
                <a:gd name="T1" fmla="*/ 12 h 18"/>
                <a:gd name="T2" fmla="*/ 0 w 13"/>
                <a:gd name="T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0" y="12"/>
                  </a:moveTo>
                  <a:cubicBezTo>
                    <a:pt x="12" y="17"/>
                    <a:pt x="3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2" name="Freeform 1240"/>
            <p:cNvSpPr>
              <a:spLocks noChangeArrowheads="1"/>
            </p:cNvSpPr>
            <p:nvPr/>
          </p:nvSpPr>
          <p:spPr bwMode="auto">
            <a:xfrm>
              <a:off x="4098925" y="2689225"/>
              <a:ext cx="4763" cy="7938"/>
            </a:xfrm>
            <a:custGeom>
              <a:avLst/>
              <a:gdLst>
                <a:gd name="T0" fmla="*/ 12 w 13"/>
                <a:gd name="T1" fmla="*/ 14 h 24"/>
                <a:gd name="T2" fmla="*/ 12 w 13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4">
                  <a:moveTo>
                    <a:pt x="12" y="14"/>
                  </a:moveTo>
                  <a:cubicBezTo>
                    <a:pt x="0" y="0"/>
                    <a:pt x="0" y="23"/>
                    <a:pt x="1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3" name="Freeform 1241"/>
            <p:cNvSpPr>
              <a:spLocks noChangeArrowheads="1"/>
            </p:cNvSpPr>
            <p:nvPr/>
          </p:nvSpPr>
          <p:spPr bwMode="auto">
            <a:xfrm>
              <a:off x="4152900" y="2678113"/>
              <a:ext cx="4763" cy="4762"/>
            </a:xfrm>
            <a:custGeom>
              <a:avLst/>
              <a:gdLst>
                <a:gd name="T0" fmla="*/ 0 w 12"/>
                <a:gd name="T1" fmla="*/ 0 h 15"/>
                <a:gd name="T2" fmla="*/ 0 w 12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0" y="0"/>
                  </a:moveTo>
                  <a:cubicBezTo>
                    <a:pt x="0" y="14"/>
                    <a:pt x="11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4" name="Freeform 1242"/>
            <p:cNvSpPr>
              <a:spLocks noChangeArrowheads="1"/>
            </p:cNvSpPr>
            <p:nvPr/>
          </p:nvSpPr>
          <p:spPr bwMode="auto">
            <a:xfrm>
              <a:off x="4149725" y="2679700"/>
              <a:ext cx="4763" cy="4763"/>
            </a:xfrm>
            <a:custGeom>
              <a:avLst/>
              <a:gdLst>
                <a:gd name="T0" fmla="*/ 0 w 13"/>
                <a:gd name="T1" fmla="*/ 3 h 15"/>
                <a:gd name="T2" fmla="*/ 0 w 13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3"/>
                  </a:moveTo>
                  <a:cubicBezTo>
                    <a:pt x="0" y="14"/>
                    <a:pt x="12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5" name="Freeform 1243"/>
            <p:cNvSpPr>
              <a:spLocks noChangeArrowheads="1"/>
            </p:cNvSpPr>
            <p:nvPr/>
          </p:nvSpPr>
          <p:spPr bwMode="auto">
            <a:xfrm>
              <a:off x="4133850" y="2674938"/>
              <a:ext cx="3175" cy="3175"/>
            </a:xfrm>
            <a:custGeom>
              <a:avLst/>
              <a:gdLst>
                <a:gd name="T0" fmla="*/ 0 w 10"/>
                <a:gd name="T1" fmla="*/ 0 h 9"/>
                <a:gd name="T2" fmla="*/ 9 w 10"/>
                <a:gd name="T3" fmla="*/ 8 h 9"/>
                <a:gd name="T4" fmla="*/ 0 w 10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cubicBezTo>
                    <a:pt x="0" y="5"/>
                    <a:pt x="3" y="8"/>
                    <a:pt x="9" y="8"/>
                  </a:cubicBezTo>
                  <a:cubicBezTo>
                    <a:pt x="6" y="5"/>
                    <a:pt x="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6" name="Freeform 1244"/>
            <p:cNvSpPr>
              <a:spLocks noChangeArrowheads="1"/>
            </p:cNvSpPr>
            <p:nvPr/>
          </p:nvSpPr>
          <p:spPr bwMode="auto">
            <a:xfrm>
              <a:off x="4125913" y="2678113"/>
              <a:ext cx="4762" cy="4762"/>
            </a:xfrm>
            <a:custGeom>
              <a:avLst/>
              <a:gdLst>
                <a:gd name="T0" fmla="*/ 0 w 13"/>
                <a:gd name="T1" fmla="*/ 3 h 15"/>
                <a:gd name="T2" fmla="*/ 0 w 13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0" y="3"/>
                  </a:moveTo>
                  <a:cubicBezTo>
                    <a:pt x="0" y="14"/>
                    <a:pt x="12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7" name="Freeform 1245"/>
            <p:cNvSpPr>
              <a:spLocks noChangeArrowheads="1"/>
            </p:cNvSpPr>
            <p:nvPr/>
          </p:nvSpPr>
          <p:spPr bwMode="auto">
            <a:xfrm>
              <a:off x="4122738" y="2678113"/>
              <a:ext cx="3175" cy="4762"/>
            </a:xfrm>
            <a:custGeom>
              <a:avLst/>
              <a:gdLst>
                <a:gd name="T0" fmla="*/ 0 w 8"/>
                <a:gd name="T1" fmla="*/ 0 h 15"/>
                <a:gd name="T2" fmla="*/ 0 w 8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" h="15">
                  <a:moveTo>
                    <a:pt x="0" y="0"/>
                  </a:moveTo>
                  <a:cubicBezTo>
                    <a:pt x="0" y="14"/>
                    <a:pt x="7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8" name="Freeform 1246"/>
            <p:cNvSpPr>
              <a:spLocks noChangeArrowheads="1"/>
            </p:cNvSpPr>
            <p:nvPr/>
          </p:nvSpPr>
          <p:spPr bwMode="auto">
            <a:xfrm>
              <a:off x="4092575" y="2673350"/>
              <a:ext cx="11113" cy="4763"/>
            </a:xfrm>
            <a:custGeom>
              <a:avLst/>
              <a:gdLst>
                <a:gd name="T0" fmla="*/ 23 w 30"/>
                <a:gd name="T1" fmla="*/ 6 h 15"/>
                <a:gd name="T2" fmla="*/ 6 w 30"/>
                <a:gd name="T3" fmla="*/ 11 h 15"/>
                <a:gd name="T4" fmla="*/ 23 w 30"/>
                <a:gd name="T5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15">
                  <a:moveTo>
                    <a:pt x="23" y="6"/>
                  </a:moveTo>
                  <a:cubicBezTo>
                    <a:pt x="20" y="3"/>
                    <a:pt x="0" y="0"/>
                    <a:pt x="6" y="11"/>
                  </a:cubicBezTo>
                  <a:cubicBezTo>
                    <a:pt x="6" y="14"/>
                    <a:pt x="29" y="14"/>
                    <a:pt x="2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89" name="Freeform 1247"/>
            <p:cNvSpPr>
              <a:spLocks noChangeArrowheads="1"/>
            </p:cNvSpPr>
            <p:nvPr/>
          </p:nvSpPr>
          <p:spPr bwMode="auto">
            <a:xfrm>
              <a:off x="4100513" y="2682875"/>
              <a:ext cx="6350" cy="9525"/>
            </a:xfrm>
            <a:custGeom>
              <a:avLst/>
              <a:gdLst>
                <a:gd name="T0" fmla="*/ 14 w 18"/>
                <a:gd name="T1" fmla="*/ 0 h 27"/>
                <a:gd name="T2" fmla="*/ 8 w 18"/>
                <a:gd name="T3" fmla="*/ 26 h 27"/>
                <a:gd name="T4" fmla="*/ 14 w 1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7">
                  <a:moveTo>
                    <a:pt x="14" y="0"/>
                  </a:moveTo>
                  <a:cubicBezTo>
                    <a:pt x="3" y="0"/>
                    <a:pt x="0" y="17"/>
                    <a:pt x="8" y="26"/>
                  </a:cubicBezTo>
                  <a:cubicBezTo>
                    <a:pt x="14" y="20"/>
                    <a:pt x="17" y="9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0" name="Freeform 1248"/>
            <p:cNvSpPr>
              <a:spLocks noChangeArrowheads="1"/>
            </p:cNvSpPr>
            <p:nvPr/>
          </p:nvSpPr>
          <p:spPr bwMode="auto">
            <a:xfrm>
              <a:off x="4094163" y="2673350"/>
              <a:ext cx="6350" cy="9525"/>
            </a:xfrm>
            <a:custGeom>
              <a:avLst/>
              <a:gdLst>
                <a:gd name="T0" fmla="*/ 14 w 18"/>
                <a:gd name="T1" fmla="*/ 20 h 27"/>
                <a:gd name="T2" fmla="*/ 14 w 18"/>
                <a:gd name="T3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27">
                  <a:moveTo>
                    <a:pt x="14" y="20"/>
                  </a:moveTo>
                  <a:cubicBezTo>
                    <a:pt x="17" y="0"/>
                    <a:pt x="0" y="26"/>
                    <a:pt x="14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1" name="Freeform 1249"/>
            <p:cNvSpPr>
              <a:spLocks noChangeArrowheads="1"/>
            </p:cNvSpPr>
            <p:nvPr/>
          </p:nvSpPr>
          <p:spPr bwMode="auto">
            <a:xfrm>
              <a:off x="4108450" y="2684463"/>
              <a:ext cx="7938" cy="7937"/>
            </a:xfrm>
            <a:custGeom>
              <a:avLst/>
              <a:gdLst>
                <a:gd name="T0" fmla="*/ 12 w 21"/>
                <a:gd name="T1" fmla="*/ 20 h 21"/>
                <a:gd name="T2" fmla="*/ 20 w 21"/>
                <a:gd name="T3" fmla="*/ 11 h 21"/>
                <a:gd name="T4" fmla="*/ 12 w 21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21">
                  <a:moveTo>
                    <a:pt x="12" y="20"/>
                  </a:moveTo>
                  <a:lnTo>
                    <a:pt x="20" y="11"/>
                  </a:lnTo>
                  <a:cubicBezTo>
                    <a:pt x="17" y="0"/>
                    <a:pt x="0" y="17"/>
                    <a:pt x="12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2" name="Freeform 1250"/>
            <p:cNvSpPr>
              <a:spLocks noChangeArrowheads="1"/>
            </p:cNvSpPr>
            <p:nvPr/>
          </p:nvSpPr>
          <p:spPr bwMode="auto">
            <a:xfrm>
              <a:off x="4114800" y="2676525"/>
              <a:ext cx="11113" cy="7938"/>
            </a:xfrm>
            <a:custGeom>
              <a:avLst/>
              <a:gdLst>
                <a:gd name="T0" fmla="*/ 0 w 32"/>
                <a:gd name="T1" fmla="*/ 8 h 23"/>
                <a:gd name="T2" fmla="*/ 22 w 32"/>
                <a:gd name="T3" fmla="*/ 22 h 23"/>
                <a:gd name="T4" fmla="*/ 31 w 32"/>
                <a:gd name="T5" fmla="*/ 14 h 23"/>
                <a:gd name="T6" fmla="*/ 8 w 32"/>
                <a:gd name="T7" fmla="*/ 2 h 23"/>
                <a:gd name="T8" fmla="*/ 0 w 32"/>
                <a:gd name="T9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3">
                  <a:moveTo>
                    <a:pt x="0" y="8"/>
                  </a:moveTo>
                  <a:cubicBezTo>
                    <a:pt x="8" y="17"/>
                    <a:pt x="14" y="22"/>
                    <a:pt x="22" y="22"/>
                  </a:cubicBezTo>
                  <a:lnTo>
                    <a:pt x="31" y="14"/>
                  </a:lnTo>
                  <a:cubicBezTo>
                    <a:pt x="28" y="5"/>
                    <a:pt x="16" y="0"/>
                    <a:pt x="8" y="2"/>
                  </a:cubicBezTo>
                  <a:cubicBezTo>
                    <a:pt x="2" y="2"/>
                    <a:pt x="2" y="5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3" name="Freeform 1251"/>
            <p:cNvSpPr>
              <a:spLocks noChangeArrowheads="1"/>
            </p:cNvSpPr>
            <p:nvPr/>
          </p:nvSpPr>
          <p:spPr bwMode="auto">
            <a:xfrm>
              <a:off x="4141788" y="2692400"/>
              <a:ext cx="3175" cy="7938"/>
            </a:xfrm>
            <a:custGeom>
              <a:avLst/>
              <a:gdLst>
                <a:gd name="T0" fmla="*/ 8 w 9"/>
                <a:gd name="T1" fmla="*/ 14 h 23"/>
                <a:gd name="T2" fmla="*/ 8 w 9"/>
                <a:gd name="T3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3">
                  <a:moveTo>
                    <a:pt x="8" y="14"/>
                  </a:moveTo>
                  <a:cubicBezTo>
                    <a:pt x="0" y="0"/>
                    <a:pt x="0" y="22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4" name="Freeform 1252"/>
            <p:cNvSpPr>
              <a:spLocks noChangeArrowheads="1"/>
            </p:cNvSpPr>
            <p:nvPr/>
          </p:nvSpPr>
          <p:spPr bwMode="auto">
            <a:xfrm>
              <a:off x="4129088" y="2679700"/>
              <a:ext cx="4762" cy="6350"/>
            </a:xfrm>
            <a:custGeom>
              <a:avLst/>
              <a:gdLst>
                <a:gd name="T0" fmla="*/ 6 w 12"/>
                <a:gd name="T1" fmla="*/ 17 h 18"/>
                <a:gd name="T2" fmla="*/ 8 w 12"/>
                <a:gd name="T3" fmla="*/ 3 h 18"/>
                <a:gd name="T4" fmla="*/ 6 w 12"/>
                <a:gd name="T5" fmla="*/ 0 h 18"/>
                <a:gd name="T6" fmla="*/ 3 w 12"/>
                <a:gd name="T7" fmla="*/ 14 h 18"/>
                <a:gd name="T8" fmla="*/ 6 w 12"/>
                <a:gd name="T9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8">
                  <a:moveTo>
                    <a:pt x="6" y="17"/>
                  </a:moveTo>
                  <a:cubicBezTo>
                    <a:pt x="11" y="14"/>
                    <a:pt x="11" y="8"/>
                    <a:pt x="8" y="3"/>
                  </a:cubicBezTo>
                  <a:cubicBezTo>
                    <a:pt x="8" y="0"/>
                    <a:pt x="6" y="0"/>
                    <a:pt x="6" y="0"/>
                  </a:cubicBezTo>
                  <a:cubicBezTo>
                    <a:pt x="0" y="3"/>
                    <a:pt x="0" y="8"/>
                    <a:pt x="3" y="14"/>
                  </a:cubicBezTo>
                  <a:cubicBezTo>
                    <a:pt x="3" y="14"/>
                    <a:pt x="3" y="17"/>
                    <a:pt x="6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5" name="Freeform 1253"/>
            <p:cNvSpPr>
              <a:spLocks noChangeArrowheads="1"/>
            </p:cNvSpPr>
            <p:nvPr/>
          </p:nvSpPr>
          <p:spPr bwMode="auto">
            <a:xfrm>
              <a:off x="4146550" y="2689225"/>
              <a:ext cx="3175" cy="7938"/>
            </a:xfrm>
            <a:custGeom>
              <a:avLst/>
              <a:gdLst>
                <a:gd name="T0" fmla="*/ 8 w 9"/>
                <a:gd name="T1" fmla="*/ 14 h 24"/>
                <a:gd name="T2" fmla="*/ 8 w 9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4">
                  <a:moveTo>
                    <a:pt x="8" y="14"/>
                  </a:moveTo>
                  <a:cubicBezTo>
                    <a:pt x="0" y="0"/>
                    <a:pt x="0" y="23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6" name="Freeform 1254"/>
            <p:cNvSpPr>
              <a:spLocks noChangeArrowheads="1"/>
            </p:cNvSpPr>
            <p:nvPr/>
          </p:nvSpPr>
          <p:spPr bwMode="auto">
            <a:xfrm>
              <a:off x="4159250" y="2700338"/>
              <a:ext cx="4763" cy="4762"/>
            </a:xfrm>
            <a:custGeom>
              <a:avLst/>
              <a:gdLst>
                <a:gd name="T0" fmla="*/ 5 w 12"/>
                <a:gd name="T1" fmla="*/ 0 h 12"/>
                <a:gd name="T2" fmla="*/ 0 w 12"/>
                <a:gd name="T3" fmla="*/ 6 h 12"/>
                <a:gd name="T4" fmla="*/ 5 w 12"/>
                <a:gd name="T5" fmla="*/ 11 h 12"/>
                <a:gd name="T6" fmla="*/ 11 w 12"/>
                <a:gd name="T7" fmla="*/ 6 h 12"/>
                <a:gd name="T8" fmla="*/ 5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0" y="6"/>
                  </a:lnTo>
                  <a:lnTo>
                    <a:pt x="5" y="11"/>
                  </a:lnTo>
                  <a:lnTo>
                    <a:pt x="11" y="6"/>
                  </a:lnTo>
                  <a:lnTo>
                    <a:pt x="5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7" name="Freeform 1255"/>
            <p:cNvSpPr>
              <a:spLocks noChangeArrowheads="1"/>
            </p:cNvSpPr>
            <p:nvPr/>
          </p:nvSpPr>
          <p:spPr bwMode="auto">
            <a:xfrm>
              <a:off x="4141788" y="2684463"/>
              <a:ext cx="1587" cy="3175"/>
            </a:xfrm>
            <a:custGeom>
              <a:avLst/>
              <a:gdLst>
                <a:gd name="T0" fmla="*/ 3 w 4"/>
                <a:gd name="T1" fmla="*/ 6 h 10"/>
                <a:gd name="T2" fmla="*/ 3 w 4"/>
                <a:gd name="T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0">
                  <a:moveTo>
                    <a:pt x="3" y="6"/>
                  </a:moveTo>
                  <a:cubicBezTo>
                    <a:pt x="0" y="0"/>
                    <a:pt x="3" y="9"/>
                    <a:pt x="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8" name="Freeform 1256"/>
            <p:cNvSpPr>
              <a:spLocks noChangeArrowheads="1"/>
            </p:cNvSpPr>
            <p:nvPr/>
          </p:nvSpPr>
          <p:spPr bwMode="auto">
            <a:xfrm>
              <a:off x="4149725" y="2687638"/>
              <a:ext cx="4763" cy="4762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2 h 13"/>
                <a:gd name="T6" fmla="*/ 12 w 13"/>
                <a:gd name="T7" fmla="*/ 6 h 13"/>
                <a:gd name="T8" fmla="*/ 6 w 13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lnTo>
                    <a:pt x="0" y="6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299" name="Freeform 1257"/>
            <p:cNvSpPr>
              <a:spLocks noChangeArrowheads="1"/>
            </p:cNvSpPr>
            <p:nvPr/>
          </p:nvSpPr>
          <p:spPr bwMode="auto">
            <a:xfrm>
              <a:off x="4144963" y="2681288"/>
              <a:ext cx="7937" cy="4762"/>
            </a:xfrm>
            <a:custGeom>
              <a:avLst/>
              <a:gdLst>
                <a:gd name="T0" fmla="*/ 11 w 21"/>
                <a:gd name="T1" fmla="*/ 0 h 15"/>
                <a:gd name="T2" fmla="*/ 3 w 21"/>
                <a:gd name="T3" fmla="*/ 14 h 15"/>
                <a:gd name="T4" fmla="*/ 20 w 21"/>
                <a:gd name="T5" fmla="*/ 8 h 15"/>
                <a:gd name="T6" fmla="*/ 11 w 21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5">
                  <a:moveTo>
                    <a:pt x="11" y="0"/>
                  </a:moveTo>
                  <a:cubicBezTo>
                    <a:pt x="8" y="5"/>
                    <a:pt x="0" y="11"/>
                    <a:pt x="3" y="14"/>
                  </a:cubicBezTo>
                  <a:cubicBezTo>
                    <a:pt x="8" y="0"/>
                    <a:pt x="14" y="11"/>
                    <a:pt x="20" y="8"/>
                  </a:cubicBezTo>
                  <a:lnTo>
                    <a:pt x="11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0" name="Freeform 1258"/>
            <p:cNvSpPr>
              <a:spLocks noChangeArrowheads="1"/>
            </p:cNvSpPr>
            <p:nvPr/>
          </p:nvSpPr>
          <p:spPr bwMode="auto">
            <a:xfrm>
              <a:off x="4141788" y="2671763"/>
              <a:ext cx="6350" cy="9525"/>
            </a:xfrm>
            <a:custGeom>
              <a:avLst/>
              <a:gdLst>
                <a:gd name="T0" fmla="*/ 16 w 17"/>
                <a:gd name="T1" fmla="*/ 20 h 27"/>
                <a:gd name="T2" fmla="*/ 16 w 17"/>
                <a:gd name="T3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27">
                  <a:moveTo>
                    <a:pt x="16" y="20"/>
                  </a:moveTo>
                  <a:cubicBezTo>
                    <a:pt x="14" y="0"/>
                    <a:pt x="0" y="26"/>
                    <a:pt x="16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1" name="Freeform 1259"/>
            <p:cNvSpPr>
              <a:spLocks noChangeArrowheads="1"/>
            </p:cNvSpPr>
            <p:nvPr/>
          </p:nvSpPr>
          <p:spPr bwMode="auto">
            <a:xfrm>
              <a:off x="4160838" y="2687638"/>
              <a:ext cx="6350" cy="6350"/>
            </a:xfrm>
            <a:custGeom>
              <a:avLst/>
              <a:gdLst>
                <a:gd name="T0" fmla="*/ 0 w 18"/>
                <a:gd name="T1" fmla="*/ 8 h 18"/>
                <a:gd name="T2" fmla="*/ 9 w 18"/>
                <a:gd name="T3" fmla="*/ 17 h 18"/>
                <a:gd name="T4" fmla="*/ 17 w 18"/>
                <a:gd name="T5" fmla="*/ 8 h 18"/>
                <a:gd name="T6" fmla="*/ 3 w 18"/>
                <a:gd name="T7" fmla="*/ 2 h 18"/>
                <a:gd name="T8" fmla="*/ 0 w 18"/>
                <a:gd name="T9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0" y="8"/>
                  </a:moveTo>
                  <a:lnTo>
                    <a:pt x="9" y="17"/>
                  </a:lnTo>
                  <a:lnTo>
                    <a:pt x="17" y="8"/>
                  </a:lnTo>
                  <a:cubicBezTo>
                    <a:pt x="14" y="2"/>
                    <a:pt x="9" y="0"/>
                    <a:pt x="3" y="2"/>
                  </a:cubicBezTo>
                  <a:cubicBezTo>
                    <a:pt x="0" y="5"/>
                    <a:pt x="0" y="5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2" name="Freeform 1260"/>
            <p:cNvSpPr>
              <a:spLocks noChangeArrowheads="1"/>
            </p:cNvSpPr>
            <p:nvPr/>
          </p:nvSpPr>
          <p:spPr bwMode="auto">
            <a:xfrm>
              <a:off x="4154488" y="2673350"/>
              <a:ext cx="4762" cy="9525"/>
            </a:xfrm>
            <a:custGeom>
              <a:avLst/>
              <a:gdLst>
                <a:gd name="T0" fmla="*/ 12 w 13"/>
                <a:gd name="T1" fmla="*/ 14 h 27"/>
                <a:gd name="T2" fmla="*/ 12 w 13"/>
                <a:gd name="T3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7">
                  <a:moveTo>
                    <a:pt x="12" y="14"/>
                  </a:moveTo>
                  <a:cubicBezTo>
                    <a:pt x="0" y="0"/>
                    <a:pt x="3" y="26"/>
                    <a:pt x="1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3" name="Freeform 1261"/>
            <p:cNvSpPr>
              <a:spLocks noChangeArrowheads="1"/>
            </p:cNvSpPr>
            <p:nvPr/>
          </p:nvSpPr>
          <p:spPr bwMode="auto">
            <a:xfrm>
              <a:off x="4160838" y="2673350"/>
              <a:ext cx="7937" cy="6350"/>
            </a:xfrm>
            <a:custGeom>
              <a:avLst/>
              <a:gdLst>
                <a:gd name="T0" fmla="*/ 20 w 21"/>
                <a:gd name="T1" fmla="*/ 8 h 18"/>
                <a:gd name="T2" fmla="*/ 0 w 21"/>
                <a:gd name="T3" fmla="*/ 6 h 18"/>
                <a:gd name="T4" fmla="*/ 20 w 21"/>
                <a:gd name="T5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20" y="8"/>
                  </a:moveTo>
                  <a:cubicBezTo>
                    <a:pt x="12" y="0"/>
                    <a:pt x="6" y="6"/>
                    <a:pt x="0" y="6"/>
                  </a:cubicBezTo>
                  <a:cubicBezTo>
                    <a:pt x="9" y="11"/>
                    <a:pt x="14" y="17"/>
                    <a:pt x="2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4" name="Freeform 1262"/>
            <p:cNvSpPr>
              <a:spLocks noChangeArrowheads="1"/>
            </p:cNvSpPr>
            <p:nvPr/>
          </p:nvSpPr>
          <p:spPr bwMode="auto">
            <a:xfrm>
              <a:off x="4117975" y="2686050"/>
              <a:ext cx="1588" cy="4763"/>
            </a:xfrm>
            <a:custGeom>
              <a:avLst/>
              <a:gdLst>
                <a:gd name="T0" fmla="*/ 0 w 4"/>
                <a:gd name="T1" fmla="*/ 11 h 12"/>
                <a:gd name="T2" fmla="*/ 1 w 4"/>
                <a:gd name="T3" fmla="*/ 6 h 12"/>
                <a:gd name="T4" fmla="*/ 0 w 4"/>
                <a:gd name="T5" fmla="*/ 8 h 12"/>
                <a:gd name="T6" fmla="*/ 0 w 4"/>
                <a:gd name="T7" fmla="*/ 11 h 12"/>
                <a:gd name="T8" fmla="*/ 3 w 4"/>
                <a:gd name="T9" fmla="*/ 0 h 12"/>
                <a:gd name="T10" fmla="*/ 1 w 4"/>
                <a:gd name="T11" fmla="*/ 6 h 12"/>
                <a:gd name="T12" fmla="*/ 3 w 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2">
                  <a:moveTo>
                    <a:pt x="0" y="11"/>
                  </a:moveTo>
                  <a:cubicBezTo>
                    <a:pt x="0" y="10"/>
                    <a:pt x="0" y="8"/>
                    <a:pt x="1" y="6"/>
                  </a:cubicBezTo>
                  <a:cubicBezTo>
                    <a:pt x="0" y="7"/>
                    <a:pt x="0" y="8"/>
                    <a:pt x="0" y="8"/>
                  </a:cubicBezTo>
                  <a:lnTo>
                    <a:pt x="0" y="11"/>
                  </a:lnTo>
                  <a:close/>
                  <a:moveTo>
                    <a:pt x="3" y="0"/>
                  </a:moveTo>
                  <a:cubicBezTo>
                    <a:pt x="3" y="0"/>
                    <a:pt x="3" y="2"/>
                    <a:pt x="1" y="6"/>
                  </a:cubicBezTo>
                  <a:cubicBezTo>
                    <a:pt x="2" y="3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5" name="Freeform 1263"/>
            <p:cNvSpPr>
              <a:spLocks noChangeArrowheads="1"/>
            </p:cNvSpPr>
            <p:nvPr/>
          </p:nvSpPr>
          <p:spPr bwMode="auto">
            <a:xfrm>
              <a:off x="4090988" y="2673350"/>
              <a:ext cx="6350" cy="9525"/>
            </a:xfrm>
            <a:custGeom>
              <a:avLst/>
              <a:gdLst>
                <a:gd name="T0" fmla="*/ 11 w 18"/>
                <a:gd name="T1" fmla="*/ 0 h 27"/>
                <a:gd name="T2" fmla="*/ 0 w 18"/>
                <a:gd name="T3" fmla="*/ 14 h 27"/>
                <a:gd name="T4" fmla="*/ 11 w 1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7">
                  <a:moveTo>
                    <a:pt x="11" y="0"/>
                  </a:moveTo>
                  <a:cubicBezTo>
                    <a:pt x="8" y="9"/>
                    <a:pt x="2" y="6"/>
                    <a:pt x="0" y="14"/>
                  </a:cubicBezTo>
                  <a:cubicBezTo>
                    <a:pt x="8" y="26"/>
                    <a:pt x="17" y="3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6" name="Freeform 1264"/>
            <p:cNvSpPr>
              <a:spLocks noChangeArrowheads="1"/>
            </p:cNvSpPr>
            <p:nvPr/>
          </p:nvSpPr>
          <p:spPr bwMode="auto">
            <a:xfrm>
              <a:off x="4113213" y="2671763"/>
              <a:ext cx="7937" cy="4762"/>
            </a:xfrm>
            <a:custGeom>
              <a:avLst/>
              <a:gdLst>
                <a:gd name="T0" fmla="*/ 11 w 23"/>
                <a:gd name="T1" fmla="*/ 14 h 15"/>
                <a:gd name="T2" fmla="*/ 11 w 23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5">
                  <a:moveTo>
                    <a:pt x="11" y="14"/>
                  </a:moveTo>
                  <a:cubicBezTo>
                    <a:pt x="22" y="0"/>
                    <a:pt x="0" y="9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7" name="Freeform 1265"/>
            <p:cNvSpPr>
              <a:spLocks noChangeArrowheads="1"/>
            </p:cNvSpPr>
            <p:nvPr/>
          </p:nvSpPr>
          <p:spPr bwMode="auto">
            <a:xfrm>
              <a:off x="4117975" y="2671763"/>
              <a:ext cx="7938" cy="6350"/>
            </a:xfrm>
            <a:custGeom>
              <a:avLst/>
              <a:gdLst>
                <a:gd name="T0" fmla="*/ 11 w 21"/>
                <a:gd name="T1" fmla="*/ 17 h 18"/>
                <a:gd name="T2" fmla="*/ 11 w 21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8">
                  <a:moveTo>
                    <a:pt x="11" y="17"/>
                  </a:moveTo>
                  <a:cubicBezTo>
                    <a:pt x="20" y="0"/>
                    <a:pt x="0" y="12"/>
                    <a:pt x="11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8" name="Freeform 1266"/>
            <p:cNvSpPr>
              <a:spLocks noChangeArrowheads="1"/>
            </p:cNvSpPr>
            <p:nvPr/>
          </p:nvSpPr>
          <p:spPr bwMode="auto">
            <a:xfrm>
              <a:off x="4137025" y="2689225"/>
              <a:ext cx="7938" cy="4763"/>
            </a:xfrm>
            <a:custGeom>
              <a:avLst/>
              <a:gdLst>
                <a:gd name="T0" fmla="*/ 11 w 23"/>
                <a:gd name="T1" fmla="*/ 14 h 15"/>
                <a:gd name="T2" fmla="*/ 11 w 23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5">
                  <a:moveTo>
                    <a:pt x="11" y="14"/>
                  </a:moveTo>
                  <a:cubicBezTo>
                    <a:pt x="22" y="0"/>
                    <a:pt x="0" y="9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09" name="Freeform 1267"/>
            <p:cNvSpPr>
              <a:spLocks noChangeArrowheads="1"/>
            </p:cNvSpPr>
            <p:nvPr/>
          </p:nvSpPr>
          <p:spPr bwMode="auto">
            <a:xfrm>
              <a:off x="4144963" y="2681288"/>
              <a:ext cx="7937" cy="4762"/>
            </a:xfrm>
            <a:custGeom>
              <a:avLst/>
              <a:gdLst>
                <a:gd name="T0" fmla="*/ 11 w 24"/>
                <a:gd name="T1" fmla="*/ 14 h 15"/>
                <a:gd name="T2" fmla="*/ 11 w 24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15">
                  <a:moveTo>
                    <a:pt x="11" y="14"/>
                  </a:moveTo>
                  <a:cubicBezTo>
                    <a:pt x="23" y="0"/>
                    <a:pt x="0" y="8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0" name="Freeform 1268"/>
            <p:cNvSpPr>
              <a:spLocks noChangeArrowheads="1"/>
            </p:cNvSpPr>
            <p:nvPr/>
          </p:nvSpPr>
          <p:spPr bwMode="auto">
            <a:xfrm>
              <a:off x="4165600" y="2678113"/>
              <a:ext cx="4763" cy="6350"/>
            </a:xfrm>
            <a:custGeom>
              <a:avLst/>
              <a:gdLst>
                <a:gd name="T0" fmla="*/ 2 w 15"/>
                <a:gd name="T1" fmla="*/ 0 h 18"/>
                <a:gd name="T2" fmla="*/ 5 w 15"/>
                <a:gd name="T3" fmla="*/ 14 h 18"/>
                <a:gd name="T4" fmla="*/ 11 w 15"/>
                <a:gd name="T5" fmla="*/ 17 h 18"/>
                <a:gd name="T6" fmla="*/ 8 w 15"/>
                <a:gd name="T7" fmla="*/ 3 h 18"/>
                <a:gd name="T8" fmla="*/ 2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2" y="0"/>
                  </a:moveTo>
                  <a:cubicBezTo>
                    <a:pt x="0" y="6"/>
                    <a:pt x="0" y="12"/>
                    <a:pt x="5" y="14"/>
                  </a:cubicBezTo>
                  <a:cubicBezTo>
                    <a:pt x="8" y="14"/>
                    <a:pt x="8" y="17"/>
                    <a:pt x="11" y="17"/>
                  </a:cubicBezTo>
                  <a:cubicBezTo>
                    <a:pt x="14" y="12"/>
                    <a:pt x="14" y="6"/>
                    <a:pt x="8" y="3"/>
                  </a:cubicBezTo>
                  <a:cubicBezTo>
                    <a:pt x="5" y="0"/>
                    <a:pt x="5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1" name="Freeform 1269"/>
            <p:cNvSpPr>
              <a:spLocks noChangeArrowheads="1"/>
            </p:cNvSpPr>
            <p:nvPr/>
          </p:nvSpPr>
          <p:spPr bwMode="auto">
            <a:xfrm>
              <a:off x="4462463" y="2640013"/>
              <a:ext cx="4762" cy="6350"/>
            </a:xfrm>
            <a:custGeom>
              <a:avLst/>
              <a:gdLst>
                <a:gd name="T0" fmla="*/ 0 w 13"/>
                <a:gd name="T1" fmla="*/ 11 h 18"/>
                <a:gd name="T2" fmla="*/ 0 w 13"/>
                <a:gd name="T3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0" y="11"/>
                  </a:moveTo>
                  <a:cubicBezTo>
                    <a:pt x="12" y="17"/>
                    <a:pt x="3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2" name="Freeform 1270"/>
            <p:cNvSpPr>
              <a:spLocks noChangeArrowheads="1"/>
            </p:cNvSpPr>
            <p:nvPr/>
          </p:nvSpPr>
          <p:spPr bwMode="auto">
            <a:xfrm>
              <a:off x="4443413" y="2646363"/>
              <a:ext cx="4762" cy="3175"/>
            </a:xfrm>
            <a:custGeom>
              <a:avLst/>
              <a:gdLst>
                <a:gd name="T0" fmla="*/ 0 w 15"/>
                <a:gd name="T1" fmla="*/ 5 h 9"/>
                <a:gd name="T2" fmla="*/ 3 w 15"/>
                <a:gd name="T3" fmla="*/ 8 h 9"/>
                <a:gd name="T4" fmla="*/ 8 w 15"/>
                <a:gd name="T5" fmla="*/ 8 h 9"/>
                <a:gd name="T6" fmla="*/ 0 w 15"/>
                <a:gd name="T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9">
                  <a:moveTo>
                    <a:pt x="0" y="5"/>
                  </a:moveTo>
                  <a:cubicBezTo>
                    <a:pt x="3" y="5"/>
                    <a:pt x="3" y="5"/>
                    <a:pt x="3" y="8"/>
                  </a:cubicBezTo>
                  <a:lnTo>
                    <a:pt x="8" y="8"/>
                  </a:lnTo>
                  <a:cubicBezTo>
                    <a:pt x="14" y="3"/>
                    <a:pt x="0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3" name="Freeform 1271"/>
            <p:cNvSpPr>
              <a:spLocks noChangeArrowheads="1"/>
            </p:cNvSpPr>
            <p:nvPr/>
          </p:nvSpPr>
          <p:spPr bwMode="auto">
            <a:xfrm>
              <a:off x="4464050" y="2651125"/>
              <a:ext cx="4763" cy="4763"/>
            </a:xfrm>
            <a:custGeom>
              <a:avLst/>
              <a:gdLst>
                <a:gd name="T0" fmla="*/ 0 w 15"/>
                <a:gd name="T1" fmla="*/ 8 h 15"/>
                <a:gd name="T2" fmla="*/ 0 w 15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5">
                  <a:moveTo>
                    <a:pt x="0" y="8"/>
                  </a:moveTo>
                  <a:cubicBezTo>
                    <a:pt x="14" y="14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4" name="Freeform 1272"/>
            <p:cNvSpPr>
              <a:spLocks noChangeArrowheads="1"/>
            </p:cNvSpPr>
            <p:nvPr/>
          </p:nvSpPr>
          <p:spPr bwMode="auto">
            <a:xfrm>
              <a:off x="4418013" y="2644775"/>
              <a:ext cx="3175" cy="7938"/>
            </a:xfrm>
            <a:custGeom>
              <a:avLst/>
              <a:gdLst>
                <a:gd name="T0" fmla="*/ 0 w 10"/>
                <a:gd name="T1" fmla="*/ 11 h 24"/>
                <a:gd name="T2" fmla="*/ 0 w 10"/>
                <a:gd name="T3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4">
                  <a:moveTo>
                    <a:pt x="0" y="11"/>
                  </a:moveTo>
                  <a:cubicBezTo>
                    <a:pt x="9" y="23"/>
                    <a:pt x="6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5" name="Freeform 1273"/>
            <p:cNvSpPr>
              <a:spLocks noChangeArrowheads="1"/>
            </p:cNvSpPr>
            <p:nvPr/>
          </p:nvSpPr>
          <p:spPr bwMode="auto">
            <a:xfrm>
              <a:off x="4438650" y="2651125"/>
              <a:ext cx="7938" cy="4763"/>
            </a:xfrm>
            <a:custGeom>
              <a:avLst/>
              <a:gdLst>
                <a:gd name="T0" fmla="*/ 6 w 21"/>
                <a:gd name="T1" fmla="*/ 0 h 12"/>
                <a:gd name="T2" fmla="*/ 17 w 21"/>
                <a:gd name="T3" fmla="*/ 11 h 12"/>
                <a:gd name="T4" fmla="*/ 6 w 21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6" y="0"/>
                  </a:moveTo>
                  <a:cubicBezTo>
                    <a:pt x="0" y="8"/>
                    <a:pt x="9" y="11"/>
                    <a:pt x="17" y="11"/>
                  </a:cubicBezTo>
                  <a:cubicBezTo>
                    <a:pt x="20" y="3"/>
                    <a:pt x="15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6" name="Freeform 1274"/>
            <p:cNvSpPr>
              <a:spLocks noChangeArrowheads="1"/>
            </p:cNvSpPr>
            <p:nvPr/>
          </p:nvSpPr>
          <p:spPr bwMode="auto">
            <a:xfrm>
              <a:off x="4452938" y="2654300"/>
              <a:ext cx="4762" cy="4763"/>
            </a:xfrm>
            <a:custGeom>
              <a:avLst/>
              <a:gdLst>
                <a:gd name="T0" fmla="*/ 3 w 15"/>
                <a:gd name="T1" fmla="*/ 0 h 15"/>
                <a:gd name="T2" fmla="*/ 6 w 15"/>
                <a:gd name="T3" fmla="*/ 14 h 15"/>
                <a:gd name="T4" fmla="*/ 3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3" y="0"/>
                  </a:moveTo>
                  <a:cubicBezTo>
                    <a:pt x="0" y="6"/>
                    <a:pt x="0" y="12"/>
                    <a:pt x="6" y="14"/>
                  </a:cubicBezTo>
                  <a:cubicBezTo>
                    <a:pt x="3" y="3"/>
                    <a:pt x="14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7" name="Freeform 1275"/>
            <p:cNvSpPr>
              <a:spLocks noChangeArrowheads="1"/>
            </p:cNvSpPr>
            <p:nvPr/>
          </p:nvSpPr>
          <p:spPr bwMode="auto">
            <a:xfrm>
              <a:off x="4459288" y="2655888"/>
              <a:ext cx="1587" cy="3175"/>
            </a:xfrm>
            <a:custGeom>
              <a:avLst/>
              <a:gdLst>
                <a:gd name="T0" fmla="*/ 0 w 4"/>
                <a:gd name="T1" fmla="*/ 3 h 7"/>
                <a:gd name="T2" fmla="*/ 0 w 4"/>
                <a:gd name="T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7">
                  <a:moveTo>
                    <a:pt x="0" y="3"/>
                  </a:moveTo>
                  <a:cubicBezTo>
                    <a:pt x="3" y="6"/>
                    <a:pt x="0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8" name="Freeform 1276"/>
            <p:cNvSpPr>
              <a:spLocks noChangeArrowheads="1"/>
            </p:cNvSpPr>
            <p:nvPr/>
          </p:nvSpPr>
          <p:spPr bwMode="auto">
            <a:xfrm>
              <a:off x="4462463" y="2655888"/>
              <a:ext cx="6350" cy="4762"/>
            </a:xfrm>
            <a:custGeom>
              <a:avLst/>
              <a:gdLst>
                <a:gd name="T0" fmla="*/ 0 w 18"/>
                <a:gd name="T1" fmla="*/ 6 h 12"/>
                <a:gd name="T2" fmla="*/ 17 w 18"/>
                <a:gd name="T3" fmla="*/ 6 h 12"/>
                <a:gd name="T4" fmla="*/ 0 w 18"/>
                <a:gd name="T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0" y="6"/>
                  </a:moveTo>
                  <a:cubicBezTo>
                    <a:pt x="6" y="6"/>
                    <a:pt x="14" y="11"/>
                    <a:pt x="17" y="6"/>
                  </a:cubicBezTo>
                  <a:cubicBezTo>
                    <a:pt x="9" y="9"/>
                    <a:pt x="0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19" name="Freeform 1277"/>
            <p:cNvSpPr>
              <a:spLocks noChangeArrowheads="1"/>
            </p:cNvSpPr>
            <p:nvPr/>
          </p:nvSpPr>
          <p:spPr bwMode="auto">
            <a:xfrm>
              <a:off x="4392613" y="2641600"/>
              <a:ext cx="4762" cy="6350"/>
            </a:xfrm>
            <a:custGeom>
              <a:avLst/>
              <a:gdLst>
                <a:gd name="T0" fmla="*/ 0 w 15"/>
                <a:gd name="T1" fmla="*/ 9 h 16"/>
                <a:gd name="T2" fmla="*/ 0 w 15"/>
                <a:gd name="T3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6">
                  <a:moveTo>
                    <a:pt x="0" y="9"/>
                  </a:moveTo>
                  <a:cubicBezTo>
                    <a:pt x="14" y="15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0" name="Freeform 1278"/>
            <p:cNvSpPr>
              <a:spLocks noChangeArrowheads="1"/>
            </p:cNvSpPr>
            <p:nvPr/>
          </p:nvSpPr>
          <p:spPr bwMode="auto">
            <a:xfrm>
              <a:off x="4421188" y="2649538"/>
              <a:ext cx="4762" cy="3175"/>
            </a:xfrm>
            <a:custGeom>
              <a:avLst/>
              <a:gdLst>
                <a:gd name="T0" fmla="*/ 0 w 12"/>
                <a:gd name="T1" fmla="*/ 9 h 10"/>
                <a:gd name="T2" fmla="*/ 11 w 12"/>
                <a:gd name="T3" fmla="*/ 3 h 10"/>
                <a:gd name="T4" fmla="*/ 0 w 12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cubicBezTo>
                    <a:pt x="2" y="9"/>
                    <a:pt x="8" y="9"/>
                    <a:pt x="11" y="3"/>
                  </a:cubicBezTo>
                  <a:cubicBezTo>
                    <a:pt x="5" y="3"/>
                    <a:pt x="0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1" name="Freeform 1279"/>
            <p:cNvSpPr>
              <a:spLocks noChangeArrowheads="1"/>
            </p:cNvSpPr>
            <p:nvPr/>
          </p:nvSpPr>
          <p:spPr bwMode="auto">
            <a:xfrm>
              <a:off x="4432300" y="2654300"/>
              <a:ext cx="1588" cy="1588"/>
            </a:xfrm>
            <a:custGeom>
              <a:avLst/>
              <a:gdLst>
                <a:gd name="T0" fmla="*/ 2 w 3"/>
                <a:gd name="T1" fmla="*/ 0 h 3"/>
                <a:gd name="T2" fmla="*/ 2 w 3"/>
                <a:gd name="T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2"/>
                    <a:pt x="0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2" name="Freeform 1280"/>
            <p:cNvSpPr>
              <a:spLocks noChangeArrowheads="1"/>
            </p:cNvSpPr>
            <p:nvPr/>
          </p:nvSpPr>
          <p:spPr bwMode="auto">
            <a:xfrm>
              <a:off x="4405313" y="2644775"/>
              <a:ext cx="4762" cy="7938"/>
            </a:xfrm>
            <a:custGeom>
              <a:avLst/>
              <a:gdLst>
                <a:gd name="T0" fmla="*/ 0 w 13"/>
                <a:gd name="T1" fmla="*/ 11 h 24"/>
                <a:gd name="T2" fmla="*/ 0 w 13"/>
                <a:gd name="T3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4">
                  <a:moveTo>
                    <a:pt x="0" y="11"/>
                  </a:moveTo>
                  <a:cubicBezTo>
                    <a:pt x="3" y="23"/>
                    <a:pt x="12" y="0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3" name="Freeform 1281"/>
            <p:cNvSpPr>
              <a:spLocks noChangeArrowheads="1"/>
            </p:cNvSpPr>
            <p:nvPr/>
          </p:nvSpPr>
          <p:spPr bwMode="auto">
            <a:xfrm>
              <a:off x="4435475" y="2654300"/>
              <a:ext cx="3175" cy="3175"/>
            </a:xfrm>
            <a:custGeom>
              <a:avLst/>
              <a:gdLst>
                <a:gd name="T0" fmla="*/ 6 w 7"/>
                <a:gd name="T1" fmla="*/ 6 h 7"/>
                <a:gd name="T2" fmla="*/ 6 w 7"/>
                <a:gd name="T3" fmla="*/ 0 h 7"/>
                <a:gd name="T4" fmla="*/ 0 w 7"/>
                <a:gd name="T5" fmla="*/ 0 h 7"/>
                <a:gd name="T6" fmla="*/ 0 w 7"/>
                <a:gd name="T7" fmla="*/ 6 h 7"/>
                <a:gd name="T8" fmla="*/ 6 w 7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4" name="Freeform 1282"/>
            <p:cNvSpPr>
              <a:spLocks noChangeArrowheads="1"/>
            </p:cNvSpPr>
            <p:nvPr/>
          </p:nvSpPr>
          <p:spPr bwMode="auto">
            <a:xfrm>
              <a:off x="4446588" y="2655888"/>
              <a:ext cx="6350" cy="4762"/>
            </a:xfrm>
            <a:custGeom>
              <a:avLst/>
              <a:gdLst>
                <a:gd name="T0" fmla="*/ 11 w 18"/>
                <a:gd name="T1" fmla="*/ 14 h 15"/>
                <a:gd name="T2" fmla="*/ 6 w 18"/>
                <a:gd name="T3" fmla="*/ 0 h 15"/>
                <a:gd name="T4" fmla="*/ 11 w 18"/>
                <a:gd name="T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11" y="14"/>
                  </a:moveTo>
                  <a:cubicBezTo>
                    <a:pt x="17" y="6"/>
                    <a:pt x="9" y="3"/>
                    <a:pt x="6" y="0"/>
                  </a:cubicBezTo>
                  <a:cubicBezTo>
                    <a:pt x="0" y="8"/>
                    <a:pt x="6" y="11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5" name="Freeform 1283"/>
            <p:cNvSpPr>
              <a:spLocks noChangeArrowheads="1"/>
            </p:cNvSpPr>
            <p:nvPr/>
          </p:nvSpPr>
          <p:spPr bwMode="auto">
            <a:xfrm>
              <a:off x="4445000" y="2659063"/>
              <a:ext cx="1588" cy="1587"/>
            </a:xfrm>
            <a:custGeom>
              <a:avLst/>
              <a:gdLst>
                <a:gd name="T0" fmla="*/ 0 w 4"/>
                <a:gd name="T1" fmla="*/ 2 h 6"/>
                <a:gd name="T2" fmla="*/ 0 w 4"/>
                <a:gd name="T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6">
                  <a:moveTo>
                    <a:pt x="0" y="2"/>
                  </a:moveTo>
                  <a:cubicBezTo>
                    <a:pt x="3" y="5"/>
                    <a:pt x="0" y="0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6" name="Freeform 1284"/>
            <p:cNvSpPr>
              <a:spLocks noChangeArrowheads="1"/>
            </p:cNvSpPr>
            <p:nvPr/>
          </p:nvSpPr>
          <p:spPr bwMode="auto">
            <a:xfrm>
              <a:off x="4419600" y="2655888"/>
              <a:ext cx="4763" cy="4762"/>
            </a:xfrm>
            <a:custGeom>
              <a:avLst/>
              <a:gdLst>
                <a:gd name="T0" fmla="*/ 11 w 12"/>
                <a:gd name="T1" fmla="*/ 11 h 12"/>
                <a:gd name="T2" fmla="*/ 6 w 12"/>
                <a:gd name="T3" fmla="*/ 0 h 12"/>
                <a:gd name="T4" fmla="*/ 11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11" y="11"/>
                  </a:moveTo>
                  <a:cubicBezTo>
                    <a:pt x="11" y="9"/>
                    <a:pt x="11" y="3"/>
                    <a:pt x="6" y="0"/>
                  </a:cubicBezTo>
                  <a:cubicBezTo>
                    <a:pt x="0" y="6"/>
                    <a:pt x="3" y="11"/>
                    <a:pt x="1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7" name="Freeform 1285"/>
            <p:cNvSpPr>
              <a:spLocks noChangeArrowheads="1"/>
            </p:cNvSpPr>
            <p:nvPr/>
          </p:nvSpPr>
          <p:spPr bwMode="auto">
            <a:xfrm>
              <a:off x="4433888" y="2655888"/>
              <a:ext cx="6350" cy="4762"/>
            </a:xfrm>
            <a:custGeom>
              <a:avLst/>
              <a:gdLst>
                <a:gd name="T0" fmla="*/ 0 w 18"/>
                <a:gd name="T1" fmla="*/ 8 h 15"/>
                <a:gd name="T2" fmla="*/ 0 w 18"/>
                <a:gd name="T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5">
                  <a:moveTo>
                    <a:pt x="0" y="8"/>
                  </a:moveTo>
                  <a:cubicBezTo>
                    <a:pt x="17" y="14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8" name="Freeform 1286"/>
            <p:cNvSpPr>
              <a:spLocks noChangeArrowheads="1"/>
            </p:cNvSpPr>
            <p:nvPr/>
          </p:nvSpPr>
          <p:spPr bwMode="auto">
            <a:xfrm>
              <a:off x="4440238" y="2659063"/>
              <a:ext cx="3175" cy="7937"/>
            </a:xfrm>
            <a:custGeom>
              <a:avLst/>
              <a:gdLst>
                <a:gd name="T0" fmla="*/ 0 w 7"/>
                <a:gd name="T1" fmla="*/ 12 h 24"/>
                <a:gd name="T2" fmla="*/ 0 w 7"/>
                <a:gd name="T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4">
                  <a:moveTo>
                    <a:pt x="0" y="12"/>
                  </a:moveTo>
                  <a:cubicBezTo>
                    <a:pt x="6" y="23"/>
                    <a:pt x="6" y="0"/>
                    <a:pt x="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29" name="Freeform 1287"/>
            <p:cNvSpPr>
              <a:spLocks noChangeArrowheads="1"/>
            </p:cNvSpPr>
            <p:nvPr/>
          </p:nvSpPr>
          <p:spPr bwMode="auto">
            <a:xfrm>
              <a:off x="4406900" y="2654300"/>
              <a:ext cx="4763" cy="4763"/>
            </a:xfrm>
            <a:custGeom>
              <a:avLst/>
              <a:gdLst>
                <a:gd name="T0" fmla="*/ 0 w 12"/>
                <a:gd name="T1" fmla="*/ 9 h 15"/>
                <a:gd name="T2" fmla="*/ 0 w 12"/>
                <a:gd name="T3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0" y="9"/>
                  </a:moveTo>
                  <a:cubicBezTo>
                    <a:pt x="11" y="14"/>
                    <a:pt x="3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0" name="Freeform 1288"/>
            <p:cNvSpPr>
              <a:spLocks noChangeArrowheads="1"/>
            </p:cNvSpPr>
            <p:nvPr/>
          </p:nvSpPr>
          <p:spPr bwMode="auto">
            <a:xfrm>
              <a:off x="4395788" y="2655888"/>
              <a:ext cx="4762" cy="7937"/>
            </a:xfrm>
            <a:custGeom>
              <a:avLst/>
              <a:gdLst>
                <a:gd name="T0" fmla="*/ 14 w 15"/>
                <a:gd name="T1" fmla="*/ 14 h 24"/>
                <a:gd name="T2" fmla="*/ 14 w 15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14" y="14"/>
                  </a:moveTo>
                  <a:cubicBezTo>
                    <a:pt x="0" y="0"/>
                    <a:pt x="0" y="23"/>
                    <a:pt x="14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1" name="Freeform 1289"/>
            <p:cNvSpPr>
              <a:spLocks noChangeArrowheads="1"/>
            </p:cNvSpPr>
            <p:nvPr/>
          </p:nvSpPr>
          <p:spPr bwMode="auto">
            <a:xfrm>
              <a:off x="4449763" y="2643188"/>
              <a:ext cx="4762" cy="4762"/>
            </a:xfrm>
            <a:custGeom>
              <a:avLst/>
              <a:gdLst>
                <a:gd name="T0" fmla="*/ 3 w 12"/>
                <a:gd name="T1" fmla="*/ 0 h 15"/>
                <a:gd name="T2" fmla="*/ 3 w 12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3" y="0"/>
                  </a:moveTo>
                  <a:cubicBezTo>
                    <a:pt x="0" y="14"/>
                    <a:pt x="11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2" name="Freeform 1290"/>
            <p:cNvSpPr>
              <a:spLocks noChangeArrowheads="1"/>
            </p:cNvSpPr>
            <p:nvPr/>
          </p:nvSpPr>
          <p:spPr bwMode="auto">
            <a:xfrm>
              <a:off x="4446588" y="2646363"/>
              <a:ext cx="4762" cy="4762"/>
            </a:xfrm>
            <a:custGeom>
              <a:avLst/>
              <a:gdLst>
                <a:gd name="T0" fmla="*/ 3 w 13"/>
                <a:gd name="T1" fmla="*/ 0 h 15"/>
                <a:gd name="T2" fmla="*/ 3 w 13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3" y="0"/>
                  </a:moveTo>
                  <a:cubicBezTo>
                    <a:pt x="0" y="14"/>
                    <a:pt x="12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3" name="Freeform 1291"/>
            <p:cNvSpPr>
              <a:spLocks noChangeArrowheads="1"/>
            </p:cNvSpPr>
            <p:nvPr/>
          </p:nvSpPr>
          <p:spPr bwMode="auto">
            <a:xfrm>
              <a:off x="4429125" y="2641600"/>
              <a:ext cx="3175" cy="3175"/>
            </a:xfrm>
            <a:custGeom>
              <a:avLst/>
              <a:gdLst>
                <a:gd name="T0" fmla="*/ 0 w 10"/>
                <a:gd name="T1" fmla="*/ 0 h 9"/>
                <a:gd name="T2" fmla="*/ 9 w 10"/>
                <a:gd name="T3" fmla="*/ 8 h 9"/>
                <a:gd name="T4" fmla="*/ 0 w 10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cubicBezTo>
                    <a:pt x="0" y="5"/>
                    <a:pt x="3" y="8"/>
                    <a:pt x="9" y="8"/>
                  </a:cubicBezTo>
                  <a:cubicBezTo>
                    <a:pt x="9" y="2"/>
                    <a:pt x="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4" name="Freeform 1292"/>
            <p:cNvSpPr>
              <a:spLocks noChangeArrowheads="1"/>
            </p:cNvSpPr>
            <p:nvPr/>
          </p:nvSpPr>
          <p:spPr bwMode="auto">
            <a:xfrm>
              <a:off x="4422775" y="2644775"/>
              <a:ext cx="4763" cy="4763"/>
            </a:xfrm>
            <a:custGeom>
              <a:avLst/>
              <a:gdLst>
                <a:gd name="T0" fmla="*/ 3 w 13"/>
                <a:gd name="T1" fmla="*/ 0 h 15"/>
                <a:gd name="T2" fmla="*/ 3 w 13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5">
                  <a:moveTo>
                    <a:pt x="3" y="0"/>
                  </a:moveTo>
                  <a:cubicBezTo>
                    <a:pt x="0" y="14"/>
                    <a:pt x="12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5" name="Freeform 1293"/>
            <p:cNvSpPr>
              <a:spLocks noChangeArrowheads="1"/>
            </p:cNvSpPr>
            <p:nvPr/>
          </p:nvSpPr>
          <p:spPr bwMode="auto">
            <a:xfrm>
              <a:off x="4419600" y="2643188"/>
              <a:ext cx="4763" cy="4762"/>
            </a:xfrm>
            <a:custGeom>
              <a:avLst/>
              <a:gdLst>
                <a:gd name="T0" fmla="*/ 0 w 12"/>
                <a:gd name="T1" fmla="*/ 0 h 15"/>
                <a:gd name="T2" fmla="*/ 0 w 12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5">
                  <a:moveTo>
                    <a:pt x="0" y="0"/>
                  </a:moveTo>
                  <a:cubicBezTo>
                    <a:pt x="0" y="14"/>
                    <a:pt x="11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6" name="Freeform 1294"/>
            <p:cNvSpPr>
              <a:spLocks noChangeArrowheads="1"/>
            </p:cNvSpPr>
            <p:nvPr/>
          </p:nvSpPr>
          <p:spPr bwMode="auto">
            <a:xfrm>
              <a:off x="4389438" y="2638425"/>
              <a:ext cx="11112" cy="6350"/>
            </a:xfrm>
            <a:custGeom>
              <a:avLst/>
              <a:gdLst>
                <a:gd name="T0" fmla="*/ 23 w 29"/>
                <a:gd name="T1" fmla="*/ 6 h 18"/>
                <a:gd name="T2" fmla="*/ 6 w 29"/>
                <a:gd name="T3" fmla="*/ 11 h 18"/>
                <a:gd name="T4" fmla="*/ 23 w 29"/>
                <a:gd name="T5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18">
                  <a:moveTo>
                    <a:pt x="23" y="6"/>
                  </a:moveTo>
                  <a:cubicBezTo>
                    <a:pt x="20" y="3"/>
                    <a:pt x="0" y="0"/>
                    <a:pt x="6" y="11"/>
                  </a:cubicBezTo>
                  <a:cubicBezTo>
                    <a:pt x="6" y="17"/>
                    <a:pt x="28" y="14"/>
                    <a:pt x="23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7" name="Freeform 1295"/>
            <p:cNvSpPr>
              <a:spLocks noChangeArrowheads="1"/>
            </p:cNvSpPr>
            <p:nvPr/>
          </p:nvSpPr>
          <p:spPr bwMode="auto">
            <a:xfrm>
              <a:off x="4397375" y="2649538"/>
              <a:ext cx="6350" cy="9525"/>
            </a:xfrm>
            <a:custGeom>
              <a:avLst/>
              <a:gdLst>
                <a:gd name="T0" fmla="*/ 14 w 18"/>
                <a:gd name="T1" fmla="*/ 0 h 27"/>
                <a:gd name="T2" fmla="*/ 8 w 18"/>
                <a:gd name="T3" fmla="*/ 26 h 27"/>
                <a:gd name="T4" fmla="*/ 14 w 1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7">
                  <a:moveTo>
                    <a:pt x="14" y="0"/>
                  </a:moveTo>
                  <a:cubicBezTo>
                    <a:pt x="3" y="0"/>
                    <a:pt x="0" y="17"/>
                    <a:pt x="8" y="26"/>
                  </a:cubicBezTo>
                  <a:cubicBezTo>
                    <a:pt x="14" y="17"/>
                    <a:pt x="17" y="9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8" name="Freeform 1296"/>
            <p:cNvSpPr>
              <a:spLocks noChangeArrowheads="1"/>
            </p:cNvSpPr>
            <p:nvPr/>
          </p:nvSpPr>
          <p:spPr bwMode="auto">
            <a:xfrm>
              <a:off x="4389438" y="2638425"/>
              <a:ext cx="6350" cy="9525"/>
            </a:xfrm>
            <a:custGeom>
              <a:avLst/>
              <a:gdLst>
                <a:gd name="T0" fmla="*/ 14 w 18"/>
                <a:gd name="T1" fmla="*/ 20 h 27"/>
                <a:gd name="T2" fmla="*/ 14 w 18"/>
                <a:gd name="T3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27">
                  <a:moveTo>
                    <a:pt x="14" y="20"/>
                  </a:moveTo>
                  <a:cubicBezTo>
                    <a:pt x="17" y="0"/>
                    <a:pt x="0" y="26"/>
                    <a:pt x="14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39" name="Freeform 1297"/>
            <p:cNvSpPr>
              <a:spLocks noChangeArrowheads="1"/>
            </p:cNvSpPr>
            <p:nvPr/>
          </p:nvSpPr>
          <p:spPr bwMode="auto">
            <a:xfrm>
              <a:off x="4405313" y="2649538"/>
              <a:ext cx="7937" cy="7937"/>
            </a:xfrm>
            <a:custGeom>
              <a:avLst/>
              <a:gdLst>
                <a:gd name="T0" fmla="*/ 14 w 24"/>
                <a:gd name="T1" fmla="*/ 23 h 24"/>
                <a:gd name="T2" fmla="*/ 23 w 24"/>
                <a:gd name="T3" fmla="*/ 14 h 24"/>
                <a:gd name="T4" fmla="*/ 14 w 24"/>
                <a:gd name="T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24">
                  <a:moveTo>
                    <a:pt x="14" y="23"/>
                  </a:moveTo>
                  <a:lnTo>
                    <a:pt x="23" y="14"/>
                  </a:lnTo>
                  <a:cubicBezTo>
                    <a:pt x="17" y="0"/>
                    <a:pt x="0" y="20"/>
                    <a:pt x="14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0" name="Freeform 1298"/>
            <p:cNvSpPr>
              <a:spLocks noChangeArrowheads="1"/>
            </p:cNvSpPr>
            <p:nvPr/>
          </p:nvSpPr>
          <p:spPr bwMode="auto">
            <a:xfrm>
              <a:off x="4410075" y="2641600"/>
              <a:ext cx="11113" cy="7938"/>
            </a:xfrm>
            <a:custGeom>
              <a:avLst/>
              <a:gdLst>
                <a:gd name="T0" fmla="*/ 0 w 33"/>
                <a:gd name="T1" fmla="*/ 8 h 23"/>
                <a:gd name="T2" fmla="*/ 23 w 33"/>
                <a:gd name="T3" fmla="*/ 22 h 23"/>
                <a:gd name="T4" fmla="*/ 32 w 33"/>
                <a:gd name="T5" fmla="*/ 14 h 23"/>
                <a:gd name="T6" fmla="*/ 9 w 33"/>
                <a:gd name="T7" fmla="*/ 2 h 23"/>
                <a:gd name="T8" fmla="*/ 0 w 33"/>
                <a:gd name="T9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0" y="8"/>
                  </a:moveTo>
                  <a:cubicBezTo>
                    <a:pt x="9" y="17"/>
                    <a:pt x="15" y="22"/>
                    <a:pt x="23" y="22"/>
                  </a:cubicBezTo>
                  <a:lnTo>
                    <a:pt x="32" y="14"/>
                  </a:lnTo>
                  <a:cubicBezTo>
                    <a:pt x="29" y="5"/>
                    <a:pt x="17" y="0"/>
                    <a:pt x="9" y="2"/>
                  </a:cubicBezTo>
                  <a:cubicBezTo>
                    <a:pt x="6" y="2"/>
                    <a:pt x="3" y="5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1" name="Freeform 1299"/>
            <p:cNvSpPr>
              <a:spLocks noChangeArrowheads="1"/>
            </p:cNvSpPr>
            <p:nvPr/>
          </p:nvSpPr>
          <p:spPr bwMode="auto">
            <a:xfrm>
              <a:off x="4438650" y="2657475"/>
              <a:ext cx="4763" cy="9525"/>
            </a:xfrm>
            <a:custGeom>
              <a:avLst/>
              <a:gdLst>
                <a:gd name="T0" fmla="*/ 12 w 13"/>
                <a:gd name="T1" fmla="*/ 14 h 26"/>
                <a:gd name="T2" fmla="*/ 12 w 13"/>
                <a:gd name="T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6">
                  <a:moveTo>
                    <a:pt x="12" y="14"/>
                  </a:moveTo>
                  <a:cubicBezTo>
                    <a:pt x="0" y="0"/>
                    <a:pt x="0" y="25"/>
                    <a:pt x="1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2" name="Freeform 1300"/>
            <p:cNvSpPr>
              <a:spLocks noChangeArrowheads="1"/>
            </p:cNvSpPr>
            <p:nvPr/>
          </p:nvSpPr>
          <p:spPr bwMode="auto">
            <a:xfrm>
              <a:off x="4425950" y="2646363"/>
              <a:ext cx="4763" cy="6350"/>
            </a:xfrm>
            <a:custGeom>
              <a:avLst/>
              <a:gdLst>
                <a:gd name="T0" fmla="*/ 5 w 12"/>
                <a:gd name="T1" fmla="*/ 17 h 18"/>
                <a:gd name="T2" fmla="*/ 8 w 12"/>
                <a:gd name="T3" fmla="*/ 3 h 18"/>
                <a:gd name="T4" fmla="*/ 5 w 12"/>
                <a:gd name="T5" fmla="*/ 0 h 18"/>
                <a:gd name="T6" fmla="*/ 3 w 12"/>
                <a:gd name="T7" fmla="*/ 14 h 18"/>
                <a:gd name="T8" fmla="*/ 5 w 12"/>
                <a:gd name="T9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8">
                  <a:moveTo>
                    <a:pt x="5" y="17"/>
                  </a:moveTo>
                  <a:cubicBezTo>
                    <a:pt x="11" y="14"/>
                    <a:pt x="11" y="8"/>
                    <a:pt x="8" y="3"/>
                  </a:cubicBezTo>
                  <a:cubicBezTo>
                    <a:pt x="8" y="0"/>
                    <a:pt x="5" y="0"/>
                    <a:pt x="5" y="0"/>
                  </a:cubicBezTo>
                  <a:cubicBezTo>
                    <a:pt x="0" y="3"/>
                    <a:pt x="0" y="8"/>
                    <a:pt x="3" y="14"/>
                  </a:cubicBezTo>
                  <a:cubicBezTo>
                    <a:pt x="3" y="14"/>
                    <a:pt x="5" y="14"/>
                    <a:pt x="5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3" name="Freeform 1301"/>
            <p:cNvSpPr>
              <a:spLocks noChangeArrowheads="1"/>
            </p:cNvSpPr>
            <p:nvPr/>
          </p:nvSpPr>
          <p:spPr bwMode="auto">
            <a:xfrm>
              <a:off x="4443413" y="2655888"/>
              <a:ext cx="4762" cy="7937"/>
            </a:xfrm>
            <a:custGeom>
              <a:avLst/>
              <a:gdLst>
                <a:gd name="T0" fmla="*/ 11 w 12"/>
                <a:gd name="T1" fmla="*/ 14 h 24"/>
                <a:gd name="T2" fmla="*/ 11 w 12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4">
                  <a:moveTo>
                    <a:pt x="11" y="14"/>
                  </a:moveTo>
                  <a:cubicBezTo>
                    <a:pt x="0" y="0"/>
                    <a:pt x="0" y="23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4" name="Freeform 1302"/>
            <p:cNvSpPr>
              <a:spLocks noChangeArrowheads="1"/>
            </p:cNvSpPr>
            <p:nvPr/>
          </p:nvSpPr>
          <p:spPr bwMode="auto">
            <a:xfrm>
              <a:off x="4457700" y="2667000"/>
              <a:ext cx="4763" cy="4763"/>
            </a:xfrm>
            <a:custGeom>
              <a:avLst/>
              <a:gdLst>
                <a:gd name="T0" fmla="*/ 6 w 13"/>
                <a:gd name="T1" fmla="*/ 0 h 12"/>
                <a:gd name="T2" fmla="*/ 0 w 13"/>
                <a:gd name="T3" fmla="*/ 6 h 12"/>
                <a:gd name="T4" fmla="*/ 6 w 13"/>
                <a:gd name="T5" fmla="*/ 11 h 12"/>
                <a:gd name="T6" fmla="*/ 12 w 13"/>
                <a:gd name="T7" fmla="*/ 6 h 12"/>
                <a:gd name="T8" fmla="*/ 6 w 13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6" y="0"/>
                  </a:moveTo>
                  <a:lnTo>
                    <a:pt x="0" y="6"/>
                  </a:lnTo>
                  <a:lnTo>
                    <a:pt x="6" y="11"/>
                  </a:lnTo>
                  <a:lnTo>
                    <a:pt x="12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5" name="Freeform 1303"/>
            <p:cNvSpPr>
              <a:spLocks noChangeArrowheads="1"/>
            </p:cNvSpPr>
            <p:nvPr/>
          </p:nvSpPr>
          <p:spPr bwMode="auto">
            <a:xfrm>
              <a:off x="4446588" y="2654300"/>
              <a:ext cx="4762" cy="4763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2 h 13"/>
                <a:gd name="T6" fmla="*/ 12 w 13"/>
                <a:gd name="T7" fmla="*/ 6 h 13"/>
                <a:gd name="T8" fmla="*/ 6 w 13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lnTo>
                    <a:pt x="0" y="6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6" name="Freeform 1304"/>
            <p:cNvSpPr>
              <a:spLocks noChangeArrowheads="1"/>
            </p:cNvSpPr>
            <p:nvPr/>
          </p:nvSpPr>
          <p:spPr bwMode="auto">
            <a:xfrm>
              <a:off x="4441825" y="2647950"/>
              <a:ext cx="7938" cy="4763"/>
            </a:xfrm>
            <a:custGeom>
              <a:avLst/>
              <a:gdLst>
                <a:gd name="T0" fmla="*/ 11 w 21"/>
                <a:gd name="T1" fmla="*/ 0 h 15"/>
                <a:gd name="T2" fmla="*/ 3 w 21"/>
                <a:gd name="T3" fmla="*/ 14 h 15"/>
                <a:gd name="T4" fmla="*/ 20 w 21"/>
                <a:gd name="T5" fmla="*/ 8 h 15"/>
                <a:gd name="T6" fmla="*/ 11 w 21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5">
                  <a:moveTo>
                    <a:pt x="11" y="0"/>
                  </a:moveTo>
                  <a:cubicBezTo>
                    <a:pt x="8" y="5"/>
                    <a:pt x="0" y="11"/>
                    <a:pt x="3" y="14"/>
                  </a:cubicBezTo>
                  <a:cubicBezTo>
                    <a:pt x="8" y="0"/>
                    <a:pt x="14" y="11"/>
                    <a:pt x="20" y="8"/>
                  </a:cubicBezTo>
                  <a:lnTo>
                    <a:pt x="11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7" name="Freeform 1305"/>
            <p:cNvSpPr>
              <a:spLocks noChangeArrowheads="1"/>
            </p:cNvSpPr>
            <p:nvPr/>
          </p:nvSpPr>
          <p:spPr bwMode="auto">
            <a:xfrm>
              <a:off x="4438650" y="2638425"/>
              <a:ext cx="6350" cy="9525"/>
            </a:xfrm>
            <a:custGeom>
              <a:avLst/>
              <a:gdLst>
                <a:gd name="T0" fmla="*/ 17 w 18"/>
                <a:gd name="T1" fmla="*/ 17 h 27"/>
                <a:gd name="T2" fmla="*/ 17 w 18"/>
                <a:gd name="T3" fmla="*/ 1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27">
                  <a:moveTo>
                    <a:pt x="17" y="17"/>
                  </a:moveTo>
                  <a:cubicBezTo>
                    <a:pt x="17" y="0"/>
                    <a:pt x="0" y="26"/>
                    <a:pt x="17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8" name="Freeform 1306"/>
            <p:cNvSpPr>
              <a:spLocks noChangeArrowheads="1"/>
            </p:cNvSpPr>
            <p:nvPr/>
          </p:nvSpPr>
          <p:spPr bwMode="auto">
            <a:xfrm>
              <a:off x="4457700" y="2654300"/>
              <a:ext cx="6350" cy="4763"/>
            </a:xfrm>
            <a:custGeom>
              <a:avLst/>
              <a:gdLst>
                <a:gd name="T0" fmla="*/ 0 w 18"/>
                <a:gd name="T1" fmla="*/ 5 h 15"/>
                <a:gd name="T2" fmla="*/ 9 w 18"/>
                <a:gd name="T3" fmla="*/ 14 h 15"/>
                <a:gd name="T4" fmla="*/ 17 w 18"/>
                <a:gd name="T5" fmla="*/ 5 h 15"/>
                <a:gd name="T6" fmla="*/ 3 w 18"/>
                <a:gd name="T7" fmla="*/ 2 h 15"/>
                <a:gd name="T8" fmla="*/ 0 w 18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0" y="5"/>
                  </a:moveTo>
                  <a:lnTo>
                    <a:pt x="9" y="14"/>
                  </a:lnTo>
                  <a:lnTo>
                    <a:pt x="17" y="5"/>
                  </a:lnTo>
                  <a:cubicBezTo>
                    <a:pt x="14" y="0"/>
                    <a:pt x="9" y="0"/>
                    <a:pt x="3" y="2"/>
                  </a:cubicBezTo>
                  <a:lnTo>
                    <a:pt x="0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49" name="Freeform 1307"/>
            <p:cNvSpPr>
              <a:spLocks noChangeArrowheads="1"/>
            </p:cNvSpPr>
            <p:nvPr/>
          </p:nvSpPr>
          <p:spPr bwMode="auto">
            <a:xfrm>
              <a:off x="4451350" y="2638425"/>
              <a:ext cx="3175" cy="7938"/>
            </a:xfrm>
            <a:custGeom>
              <a:avLst/>
              <a:gdLst>
                <a:gd name="T0" fmla="*/ 9 w 10"/>
                <a:gd name="T1" fmla="*/ 14 h 24"/>
                <a:gd name="T2" fmla="*/ 9 w 10"/>
                <a:gd name="T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4">
                  <a:moveTo>
                    <a:pt x="9" y="14"/>
                  </a:moveTo>
                  <a:cubicBezTo>
                    <a:pt x="0" y="0"/>
                    <a:pt x="0" y="23"/>
                    <a:pt x="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0" name="Freeform 1308"/>
            <p:cNvSpPr>
              <a:spLocks noChangeArrowheads="1"/>
            </p:cNvSpPr>
            <p:nvPr/>
          </p:nvSpPr>
          <p:spPr bwMode="auto">
            <a:xfrm>
              <a:off x="4457700" y="2638425"/>
              <a:ext cx="7938" cy="7938"/>
            </a:xfrm>
            <a:custGeom>
              <a:avLst/>
              <a:gdLst>
                <a:gd name="T0" fmla="*/ 20 w 21"/>
                <a:gd name="T1" fmla="*/ 8 h 21"/>
                <a:gd name="T2" fmla="*/ 0 w 21"/>
                <a:gd name="T3" fmla="*/ 6 h 21"/>
                <a:gd name="T4" fmla="*/ 20 w 21"/>
                <a:gd name="T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21">
                  <a:moveTo>
                    <a:pt x="20" y="8"/>
                  </a:moveTo>
                  <a:cubicBezTo>
                    <a:pt x="11" y="0"/>
                    <a:pt x="6" y="6"/>
                    <a:pt x="0" y="6"/>
                  </a:cubicBezTo>
                  <a:cubicBezTo>
                    <a:pt x="6" y="11"/>
                    <a:pt x="11" y="20"/>
                    <a:pt x="2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1" name="Freeform 1309"/>
            <p:cNvSpPr>
              <a:spLocks noChangeArrowheads="1"/>
            </p:cNvSpPr>
            <p:nvPr/>
          </p:nvSpPr>
          <p:spPr bwMode="auto">
            <a:xfrm>
              <a:off x="4414838" y="2652713"/>
              <a:ext cx="1587" cy="4762"/>
            </a:xfrm>
            <a:custGeom>
              <a:avLst/>
              <a:gdLst>
                <a:gd name="T0" fmla="*/ 0 w 4"/>
                <a:gd name="T1" fmla="*/ 11 h 12"/>
                <a:gd name="T2" fmla="*/ 0 w 4"/>
                <a:gd name="T3" fmla="*/ 8 h 12"/>
                <a:gd name="T4" fmla="*/ 0 w 4"/>
                <a:gd name="T5" fmla="*/ 11 h 12"/>
                <a:gd name="T6" fmla="*/ 1 w 4"/>
                <a:gd name="T7" fmla="*/ 6 h 12"/>
                <a:gd name="T8" fmla="*/ 0 w 4"/>
                <a:gd name="T9" fmla="*/ 8 h 12"/>
                <a:gd name="T10" fmla="*/ 0 w 4"/>
                <a:gd name="T11" fmla="*/ 8 h 12"/>
                <a:gd name="T12" fmla="*/ 1 w 4"/>
                <a:gd name="T13" fmla="*/ 6 h 12"/>
                <a:gd name="T14" fmla="*/ 3 w 4"/>
                <a:gd name="T15" fmla="*/ 0 h 12"/>
                <a:gd name="T16" fmla="*/ 1 w 4"/>
                <a:gd name="T17" fmla="*/ 6 h 12"/>
                <a:gd name="T18" fmla="*/ 3 w 4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2">
                  <a:moveTo>
                    <a:pt x="0" y="11"/>
                  </a:moveTo>
                  <a:cubicBezTo>
                    <a:pt x="0" y="10"/>
                    <a:pt x="0" y="9"/>
                    <a:pt x="0" y="8"/>
                  </a:cubicBezTo>
                  <a:cubicBezTo>
                    <a:pt x="2" y="8"/>
                    <a:pt x="0" y="11"/>
                    <a:pt x="0" y="11"/>
                  </a:cubicBezTo>
                  <a:close/>
                  <a:moveTo>
                    <a:pt x="1" y="6"/>
                  </a:moveTo>
                  <a:cubicBezTo>
                    <a:pt x="0" y="7"/>
                    <a:pt x="0" y="8"/>
                    <a:pt x="0" y="8"/>
                  </a:cubicBezTo>
                  <a:lnTo>
                    <a:pt x="0" y="8"/>
                  </a:lnTo>
                  <a:cubicBezTo>
                    <a:pt x="0" y="8"/>
                    <a:pt x="0" y="7"/>
                    <a:pt x="1" y="6"/>
                  </a:cubicBezTo>
                  <a:close/>
                  <a:moveTo>
                    <a:pt x="3" y="0"/>
                  </a:moveTo>
                  <a:cubicBezTo>
                    <a:pt x="3" y="0"/>
                    <a:pt x="3" y="2"/>
                    <a:pt x="1" y="6"/>
                  </a:cubicBezTo>
                  <a:cubicBezTo>
                    <a:pt x="1" y="3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2" name="Freeform 1310"/>
            <p:cNvSpPr>
              <a:spLocks noChangeArrowheads="1"/>
            </p:cNvSpPr>
            <p:nvPr/>
          </p:nvSpPr>
          <p:spPr bwMode="auto">
            <a:xfrm>
              <a:off x="4387850" y="2638425"/>
              <a:ext cx="6350" cy="9525"/>
            </a:xfrm>
            <a:custGeom>
              <a:avLst/>
              <a:gdLst>
                <a:gd name="T0" fmla="*/ 11 w 18"/>
                <a:gd name="T1" fmla="*/ 0 h 27"/>
                <a:gd name="T2" fmla="*/ 0 w 18"/>
                <a:gd name="T3" fmla="*/ 14 h 27"/>
                <a:gd name="T4" fmla="*/ 11 w 1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7">
                  <a:moveTo>
                    <a:pt x="11" y="0"/>
                  </a:moveTo>
                  <a:cubicBezTo>
                    <a:pt x="8" y="9"/>
                    <a:pt x="2" y="6"/>
                    <a:pt x="0" y="14"/>
                  </a:cubicBezTo>
                  <a:cubicBezTo>
                    <a:pt x="8" y="26"/>
                    <a:pt x="17" y="3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3" name="Freeform 1311"/>
            <p:cNvSpPr>
              <a:spLocks noChangeArrowheads="1"/>
            </p:cNvSpPr>
            <p:nvPr/>
          </p:nvSpPr>
          <p:spPr bwMode="auto">
            <a:xfrm>
              <a:off x="4410075" y="2636838"/>
              <a:ext cx="7938" cy="6350"/>
            </a:xfrm>
            <a:custGeom>
              <a:avLst/>
              <a:gdLst>
                <a:gd name="T0" fmla="*/ 11 w 23"/>
                <a:gd name="T1" fmla="*/ 17 h 18"/>
                <a:gd name="T2" fmla="*/ 11 w 23"/>
                <a:gd name="T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8">
                  <a:moveTo>
                    <a:pt x="11" y="17"/>
                  </a:moveTo>
                  <a:cubicBezTo>
                    <a:pt x="22" y="0"/>
                    <a:pt x="0" y="12"/>
                    <a:pt x="11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4" name="Freeform 1312"/>
            <p:cNvSpPr>
              <a:spLocks noChangeArrowheads="1"/>
            </p:cNvSpPr>
            <p:nvPr/>
          </p:nvSpPr>
          <p:spPr bwMode="auto">
            <a:xfrm>
              <a:off x="4414838" y="2638425"/>
              <a:ext cx="7937" cy="4763"/>
            </a:xfrm>
            <a:custGeom>
              <a:avLst/>
              <a:gdLst>
                <a:gd name="T0" fmla="*/ 11 w 21"/>
                <a:gd name="T1" fmla="*/ 14 h 15"/>
                <a:gd name="T2" fmla="*/ 11 w 21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5">
                  <a:moveTo>
                    <a:pt x="11" y="14"/>
                  </a:moveTo>
                  <a:cubicBezTo>
                    <a:pt x="20" y="0"/>
                    <a:pt x="0" y="9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5" name="Freeform 1313"/>
            <p:cNvSpPr>
              <a:spLocks noChangeArrowheads="1"/>
            </p:cNvSpPr>
            <p:nvPr/>
          </p:nvSpPr>
          <p:spPr bwMode="auto">
            <a:xfrm>
              <a:off x="4432300" y="2655888"/>
              <a:ext cx="7938" cy="4762"/>
            </a:xfrm>
            <a:custGeom>
              <a:avLst/>
              <a:gdLst>
                <a:gd name="T0" fmla="*/ 11 w 23"/>
                <a:gd name="T1" fmla="*/ 14 h 15"/>
                <a:gd name="T2" fmla="*/ 11 w 23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5">
                  <a:moveTo>
                    <a:pt x="11" y="14"/>
                  </a:moveTo>
                  <a:cubicBezTo>
                    <a:pt x="22" y="0"/>
                    <a:pt x="0" y="9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6" name="Freeform 1314"/>
            <p:cNvSpPr>
              <a:spLocks noChangeArrowheads="1"/>
            </p:cNvSpPr>
            <p:nvPr/>
          </p:nvSpPr>
          <p:spPr bwMode="auto">
            <a:xfrm>
              <a:off x="4441825" y="2647950"/>
              <a:ext cx="7938" cy="4763"/>
            </a:xfrm>
            <a:custGeom>
              <a:avLst/>
              <a:gdLst>
                <a:gd name="T0" fmla="*/ 11 w 21"/>
                <a:gd name="T1" fmla="*/ 14 h 15"/>
                <a:gd name="T2" fmla="*/ 11 w 21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5">
                  <a:moveTo>
                    <a:pt x="11" y="14"/>
                  </a:moveTo>
                  <a:cubicBezTo>
                    <a:pt x="20" y="0"/>
                    <a:pt x="0" y="8"/>
                    <a:pt x="11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7" name="Freeform 1315"/>
            <p:cNvSpPr>
              <a:spLocks noChangeArrowheads="1"/>
            </p:cNvSpPr>
            <p:nvPr/>
          </p:nvSpPr>
          <p:spPr bwMode="auto">
            <a:xfrm>
              <a:off x="4460875" y="2643188"/>
              <a:ext cx="4763" cy="6350"/>
            </a:xfrm>
            <a:custGeom>
              <a:avLst/>
              <a:gdLst>
                <a:gd name="T0" fmla="*/ 2 w 15"/>
                <a:gd name="T1" fmla="*/ 0 h 18"/>
                <a:gd name="T2" fmla="*/ 5 w 15"/>
                <a:gd name="T3" fmla="*/ 14 h 18"/>
                <a:gd name="T4" fmla="*/ 11 w 15"/>
                <a:gd name="T5" fmla="*/ 17 h 18"/>
                <a:gd name="T6" fmla="*/ 8 w 15"/>
                <a:gd name="T7" fmla="*/ 3 h 18"/>
                <a:gd name="T8" fmla="*/ 2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2" y="0"/>
                  </a:moveTo>
                  <a:cubicBezTo>
                    <a:pt x="0" y="6"/>
                    <a:pt x="0" y="12"/>
                    <a:pt x="5" y="14"/>
                  </a:cubicBezTo>
                  <a:cubicBezTo>
                    <a:pt x="8" y="14"/>
                    <a:pt x="8" y="17"/>
                    <a:pt x="11" y="17"/>
                  </a:cubicBezTo>
                  <a:cubicBezTo>
                    <a:pt x="14" y="12"/>
                    <a:pt x="14" y="6"/>
                    <a:pt x="8" y="3"/>
                  </a:cubicBezTo>
                  <a:cubicBezTo>
                    <a:pt x="5" y="0"/>
                    <a:pt x="5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8" name="Freeform 1316"/>
            <p:cNvSpPr>
              <a:spLocks noChangeArrowheads="1"/>
            </p:cNvSpPr>
            <p:nvPr/>
          </p:nvSpPr>
          <p:spPr bwMode="auto">
            <a:xfrm>
              <a:off x="3863975" y="2724150"/>
              <a:ext cx="3175" cy="3175"/>
            </a:xfrm>
            <a:custGeom>
              <a:avLst/>
              <a:gdLst>
                <a:gd name="T0" fmla="*/ 8 w 9"/>
                <a:gd name="T1" fmla="*/ 3 h 9"/>
                <a:gd name="T2" fmla="*/ 8 w 9"/>
                <a:gd name="T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9">
                  <a:moveTo>
                    <a:pt x="8" y="3"/>
                  </a:moveTo>
                  <a:cubicBezTo>
                    <a:pt x="0" y="0"/>
                    <a:pt x="8" y="8"/>
                    <a:pt x="8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59" name="Freeform 1317"/>
            <p:cNvSpPr>
              <a:spLocks noChangeArrowheads="1"/>
            </p:cNvSpPr>
            <p:nvPr/>
          </p:nvSpPr>
          <p:spPr bwMode="auto">
            <a:xfrm>
              <a:off x="3878263" y="2717800"/>
              <a:ext cx="4762" cy="3175"/>
            </a:xfrm>
            <a:custGeom>
              <a:avLst/>
              <a:gdLst>
                <a:gd name="T0" fmla="*/ 11 w 15"/>
                <a:gd name="T1" fmla="*/ 3 h 10"/>
                <a:gd name="T2" fmla="*/ 6 w 15"/>
                <a:gd name="T3" fmla="*/ 0 h 10"/>
                <a:gd name="T4" fmla="*/ 11 w 15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11" y="3"/>
                  </a:moveTo>
                  <a:lnTo>
                    <a:pt x="6" y="0"/>
                  </a:lnTo>
                  <a:cubicBezTo>
                    <a:pt x="0" y="6"/>
                    <a:pt x="14" y="9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0" name="Freeform 1318"/>
            <p:cNvSpPr>
              <a:spLocks noChangeArrowheads="1"/>
            </p:cNvSpPr>
            <p:nvPr/>
          </p:nvSpPr>
          <p:spPr bwMode="auto">
            <a:xfrm>
              <a:off x="3860800" y="2716213"/>
              <a:ext cx="3175" cy="4762"/>
            </a:xfrm>
            <a:custGeom>
              <a:avLst/>
              <a:gdLst>
                <a:gd name="T0" fmla="*/ 8 w 9"/>
                <a:gd name="T1" fmla="*/ 2 h 12"/>
                <a:gd name="T2" fmla="*/ 8 w 9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8" y="2"/>
                  </a:moveTo>
                  <a:cubicBezTo>
                    <a:pt x="0" y="0"/>
                    <a:pt x="8" y="11"/>
                    <a:pt x="8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1" name="Freeform 1319"/>
            <p:cNvSpPr>
              <a:spLocks noChangeArrowheads="1"/>
            </p:cNvSpPr>
            <p:nvPr/>
          </p:nvSpPr>
          <p:spPr bwMode="auto">
            <a:xfrm>
              <a:off x="3900488" y="2714625"/>
              <a:ext cx="3175" cy="6350"/>
            </a:xfrm>
            <a:custGeom>
              <a:avLst/>
              <a:gdLst>
                <a:gd name="T0" fmla="*/ 9 w 10"/>
                <a:gd name="T1" fmla="*/ 8 h 18"/>
                <a:gd name="T2" fmla="*/ 9 w 10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9" y="8"/>
                  </a:moveTo>
                  <a:cubicBezTo>
                    <a:pt x="0" y="0"/>
                    <a:pt x="3" y="17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2" name="Freeform 1320"/>
            <p:cNvSpPr>
              <a:spLocks noChangeArrowheads="1"/>
            </p:cNvSpPr>
            <p:nvPr/>
          </p:nvSpPr>
          <p:spPr bwMode="auto">
            <a:xfrm>
              <a:off x="3879850" y="2714625"/>
              <a:ext cx="4763" cy="3175"/>
            </a:xfrm>
            <a:custGeom>
              <a:avLst/>
              <a:gdLst>
                <a:gd name="T0" fmla="*/ 11 w 15"/>
                <a:gd name="T1" fmla="*/ 8 h 9"/>
                <a:gd name="T2" fmla="*/ 3 w 15"/>
                <a:gd name="T3" fmla="*/ 0 h 9"/>
                <a:gd name="T4" fmla="*/ 11 w 15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1" y="8"/>
                  </a:moveTo>
                  <a:cubicBezTo>
                    <a:pt x="14" y="0"/>
                    <a:pt x="8" y="0"/>
                    <a:pt x="3" y="0"/>
                  </a:cubicBezTo>
                  <a:cubicBezTo>
                    <a:pt x="0" y="5"/>
                    <a:pt x="3" y="8"/>
                    <a:pt x="11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3" name="Freeform 1321"/>
            <p:cNvSpPr>
              <a:spLocks noChangeArrowheads="1"/>
            </p:cNvSpPr>
            <p:nvPr/>
          </p:nvSpPr>
          <p:spPr bwMode="auto">
            <a:xfrm>
              <a:off x="3868738" y="2711450"/>
              <a:ext cx="4762" cy="4763"/>
            </a:xfrm>
            <a:custGeom>
              <a:avLst/>
              <a:gdLst>
                <a:gd name="T0" fmla="*/ 11 w 12"/>
                <a:gd name="T1" fmla="*/ 11 h 12"/>
                <a:gd name="T2" fmla="*/ 5 w 12"/>
                <a:gd name="T3" fmla="*/ 0 h 12"/>
                <a:gd name="T4" fmla="*/ 11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11" y="11"/>
                  </a:moveTo>
                  <a:cubicBezTo>
                    <a:pt x="11" y="6"/>
                    <a:pt x="11" y="3"/>
                    <a:pt x="5" y="0"/>
                  </a:cubicBezTo>
                  <a:cubicBezTo>
                    <a:pt x="8" y="9"/>
                    <a:pt x="0" y="11"/>
                    <a:pt x="1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4" name="Freeform 1322"/>
            <p:cNvSpPr>
              <a:spLocks noChangeArrowheads="1"/>
            </p:cNvSpPr>
            <p:nvPr/>
          </p:nvSpPr>
          <p:spPr bwMode="auto">
            <a:xfrm>
              <a:off x="3867150" y="2713038"/>
              <a:ext cx="1588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5" name="Freeform 1323"/>
            <p:cNvSpPr>
              <a:spLocks noChangeArrowheads="1"/>
            </p:cNvSpPr>
            <p:nvPr/>
          </p:nvSpPr>
          <p:spPr bwMode="auto">
            <a:xfrm>
              <a:off x="3860800" y="2713038"/>
              <a:ext cx="4763" cy="3175"/>
            </a:xfrm>
            <a:custGeom>
              <a:avLst/>
              <a:gdLst>
                <a:gd name="T0" fmla="*/ 14 w 15"/>
                <a:gd name="T1" fmla="*/ 3 h 9"/>
                <a:gd name="T2" fmla="*/ 0 w 15"/>
                <a:gd name="T3" fmla="*/ 6 h 9"/>
                <a:gd name="T4" fmla="*/ 14 w 15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3"/>
                  </a:moveTo>
                  <a:cubicBezTo>
                    <a:pt x="11" y="3"/>
                    <a:pt x="0" y="0"/>
                    <a:pt x="0" y="6"/>
                  </a:cubicBezTo>
                  <a:cubicBezTo>
                    <a:pt x="6" y="3"/>
                    <a:pt x="14" y="8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6" name="Freeform 1324"/>
            <p:cNvSpPr>
              <a:spLocks noChangeArrowheads="1"/>
            </p:cNvSpPr>
            <p:nvPr/>
          </p:nvSpPr>
          <p:spPr bwMode="auto">
            <a:xfrm>
              <a:off x="3919538" y="2716213"/>
              <a:ext cx="4762" cy="4762"/>
            </a:xfrm>
            <a:custGeom>
              <a:avLst/>
              <a:gdLst>
                <a:gd name="T0" fmla="*/ 11 w 12"/>
                <a:gd name="T1" fmla="*/ 2 h 12"/>
                <a:gd name="T2" fmla="*/ 11 w 12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11" y="2"/>
                  </a:moveTo>
                  <a:cubicBezTo>
                    <a:pt x="0" y="0"/>
                    <a:pt x="8" y="11"/>
                    <a:pt x="11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7" name="Freeform 1325"/>
            <p:cNvSpPr>
              <a:spLocks noChangeArrowheads="1"/>
            </p:cNvSpPr>
            <p:nvPr/>
          </p:nvSpPr>
          <p:spPr bwMode="auto">
            <a:xfrm>
              <a:off x="3895725" y="2714625"/>
              <a:ext cx="4763" cy="1588"/>
            </a:xfrm>
            <a:custGeom>
              <a:avLst/>
              <a:gdLst>
                <a:gd name="T0" fmla="*/ 8 w 12"/>
                <a:gd name="T1" fmla="*/ 0 h 6"/>
                <a:gd name="T2" fmla="*/ 0 w 12"/>
                <a:gd name="T3" fmla="*/ 5 h 6"/>
                <a:gd name="T4" fmla="*/ 8 w 12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6">
                  <a:moveTo>
                    <a:pt x="8" y="0"/>
                  </a:moveTo>
                  <a:cubicBezTo>
                    <a:pt x="6" y="0"/>
                    <a:pt x="3" y="0"/>
                    <a:pt x="0" y="5"/>
                  </a:cubicBezTo>
                  <a:cubicBezTo>
                    <a:pt x="6" y="5"/>
                    <a:pt x="11" y="5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8" name="Freeform 1326"/>
            <p:cNvSpPr>
              <a:spLocks noChangeArrowheads="1"/>
            </p:cNvSpPr>
            <p:nvPr/>
          </p:nvSpPr>
          <p:spPr bwMode="auto">
            <a:xfrm>
              <a:off x="3910013" y="2711450"/>
              <a:ext cx="3175" cy="6350"/>
            </a:xfrm>
            <a:custGeom>
              <a:avLst/>
              <a:gdLst>
                <a:gd name="T0" fmla="*/ 8 w 9"/>
                <a:gd name="T1" fmla="*/ 9 h 18"/>
                <a:gd name="T2" fmla="*/ 8 w 9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9"/>
                  </a:moveTo>
                  <a:cubicBezTo>
                    <a:pt x="5" y="0"/>
                    <a:pt x="0" y="17"/>
                    <a:pt x="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69" name="Freeform 1327"/>
            <p:cNvSpPr>
              <a:spLocks noChangeArrowheads="1"/>
            </p:cNvSpPr>
            <p:nvPr/>
          </p:nvSpPr>
          <p:spPr bwMode="auto">
            <a:xfrm>
              <a:off x="3886200" y="2711450"/>
              <a:ext cx="1588" cy="3175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6 h 7"/>
                <a:gd name="T4" fmla="*/ 5 w 6"/>
                <a:gd name="T5" fmla="*/ 6 h 7"/>
                <a:gd name="T6" fmla="*/ 5 w 6"/>
                <a:gd name="T7" fmla="*/ 0 h 7"/>
                <a:gd name="T8" fmla="*/ 0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0" name="Freeform 1328"/>
            <p:cNvSpPr>
              <a:spLocks noChangeArrowheads="1"/>
            </p:cNvSpPr>
            <p:nvPr/>
          </p:nvSpPr>
          <p:spPr bwMode="auto">
            <a:xfrm>
              <a:off x="3873500" y="2709863"/>
              <a:ext cx="4763" cy="4762"/>
            </a:xfrm>
            <a:custGeom>
              <a:avLst/>
              <a:gdLst>
                <a:gd name="T0" fmla="*/ 3 w 12"/>
                <a:gd name="T1" fmla="*/ 0 h 13"/>
                <a:gd name="T2" fmla="*/ 8 w 12"/>
                <a:gd name="T3" fmla="*/ 12 h 13"/>
                <a:gd name="T4" fmla="*/ 3 w 12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3">
                  <a:moveTo>
                    <a:pt x="3" y="0"/>
                  </a:moveTo>
                  <a:cubicBezTo>
                    <a:pt x="0" y="9"/>
                    <a:pt x="5" y="9"/>
                    <a:pt x="8" y="12"/>
                  </a:cubicBezTo>
                  <a:cubicBezTo>
                    <a:pt x="11" y="3"/>
                    <a:pt x="5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1" name="Freeform 1329"/>
            <p:cNvSpPr>
              <a:spLocks noChangeArrowheads="1"/>
            </p:cNvSpPr>
            <p:nvPr/>
          </p:nvSpPr>
          <p:spPr bwMode="auto">
            <a:xfrm>
              <a:off x="3878263" y="2709863"/>
              <a:ext cx="1587" cy="1587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0"/>
                    <a:pt x="3" y="3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2" name="Freeform 1330"/>
            <p:cNvSpPr>
              <a:spLocks noChangeArrowheads="1"/>
            </p:cNvSpPr>
            <p:nvPr/>
          </p:nvSpPr>
          <p:spPr bwMode="auto">
            <a:xfrm>
              <a:off x="3897313" y="2708275"/>
              <a:ext cx="3175" cy="3175"/>
            </a:xfrm>
            <a:custGeom>
              <a:avLst/>
              <a:gdLst>
                <a:gd name="T0" fmla="*/ 0 w 9"/>
                <a:gd name="T1" fmla="*/ 0 h 9"/>
                <a:gd name="T2" fmla="*/ 5 w 9"/>
                <a:gd name="T3" fmla="*/ 8 h 9"/>
                <a:gd name="T4" fmla="*/ 0 w 9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cubicBezTo>
                    <a:pt x="0" y="3"/>
                    <a:pt x="0" y="5"/>
                    <a:pt x="5" y="8"/>
                  </a:cubicBezTo>
                  <a:cubicBezTo>
                    <a:pt x="8" y="5"/>
                    <a:pt x="5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3" name="Freeform 1331"/>
            <p:cNvSpPr>
              <a:spLocks noChangeArrowheads="1"/>
            </p:cNvSpPr>
            <p:nvPr/>
          </p:nvSpPr>
          <p:spPr bwMode="auto">
            <a:xfrm>
              <a:off x="3883025" y="2708275"/>
              <a:ext cx="4763" cy="4763"/>
            </a:xfrm>
            <a:custGeom>
              <a:avLst/>
              <a:gdLst>
                <a:gd name="T0" fmla="*/ 14 w 15"/>
                <a:gd name="T1" fmla="*/ 5 h 12"/>
                <a:gd name="T2" fmla="*/ 14 w 15"/>
                <a:gd name="T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2">
                  <a:moveTo>
                    <a:pt x="14" y="5"/>
                  </a:moveTo>
                  <a:cubicBezTo>
                    <a:pt x="0" y="0"/>
                    <a:pt x="8" y="11"/>
                    <a:pt x="14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4" name="Freeform 1332"/>
            <p:cNvSpPr>
              <a:spLocks noChangeArrowheads="1"/>
            </p:cNvSpPr>
            <p:nvPr/>
          </p:nvSpPr>
          <p:spPr bwMode="auto">
            <a:xfrm>
              <a:off x="3879850" y="2705100"/>
              <a:ext cx="1588" cy="6350"/>
            </a:xfrm>
            <a:custGeom>
              <a:avLst/>
              <a:gdLst>
                <a:gd name="T0" fmla="*/ 5 w 6"/>
                <a:gd name="T1" fmla="*/ 8 h 17"/>
                <a:gd name="T2" fmla="*/ 5 w 6"/>
                <a:gd name="T3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7">
                  <a:moveTo>
                    <a:pt x="5" y="8"/>
                  </a:moveTo>
                  <a:cubicBezTo>
                    <a:pt x="0" y="0"/>
                    <a:pt x="3" y="16"/>
                    <a:pt x="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5" name="Freeform 1333"/>
            <p:cNvSpPr>
              <a:spLocks noChangeArrowheads="1"/>
            </p:cNvSpPr>
            <p:nvPr/>
          </p:nvSpPr>
          <p:spPr bwMode="auto">
            <a:xfrm>
              <a:off x="3906838" y="2706688"/>
              <a:ext cx="4762" cy="4762"/>
            </a:xfrm>
            <a:custGeom>
              <a:avLst/>
              <a:gdLst>
                <a:gd name="T0" fmla="*/ 11 w 12"/>
                <a:gd name="T1" fmla="*/ 3 h 12"/>
                <a:gd name="T2" fmla="*/ 11 w 12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11" y="3"/>
                  </a:moveTo>
                  <a:cubicBezTo>
                    <a:pt x="0" y="0"/>
                    <a:pt x="8" y="11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6" name="Freeform 1334"/>
            <p:cNvSpPr>
              <a:spLocks noChangeArrowheads="1"/>
            </p:cNvSpPr>
            <p:nvPr/>
          </p:nvSpPr>
          <p:spPr bwMode="auto">
            <a:xfrm>
              <a:off x="3914775" y="2701925"/>
              <a:ext cx="4763" cy="7938"/>
            </a:xfrm>
            <a:custGeom>
              <a:avLst/>
              <a:gdLst>
                <a:gd name="T0" fmla="*/ 0 w 15"/>
                <a:gd name="T1" fmla="*/ 8 h 21"/>
                <a:gd name="T2" fmla="*/ 0 w 15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0" y="8"/>
                  </a:moveTo>
                  <a:cubicBezTo>
                    <a:pt x="14" y="20"/>
                    <a:pt x="11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7" name="Freeform 1335"/>
            <p:cNvSpPr>
              <a:spLocks noChangeArrowheads="1"/>
            </p:cNvSpPr>
            <p:nvPr/>
          </p:nvSpPr>
          <p:spPr bwMode="auto">
            <a:xfrm>
              <a:off x="3875088" y="2720975"/>
              <a:ext cx="1587" cy="4763"/>
            </a:xfrm>
            <a:custGeom>
              <a:avLst/>
              <a:gdLst>
                <a:gd name="T0" fmla="*/ 5 w 6"/>
                <a:gd name="T1" fmla="*/ 11 h 12"/>
                <a:gd name="T2" fmla="*/ 5 w 6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2">
                  <a:moveTo>
                    <a:pt x="5" y="11"/>
                  </a:moveTo>
                  <a:cubicBezTo>
                    <a:pt x="5" y="0"/>
                    <a:pt x="0" y="11"/>
                    <a:pt x="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8" name="Freeform 1336"/>
            <p:cNvSpPr>
              <a:spLocks noChangeArrowheads="1"/>
            </p:cNvSpPr>
            <p:nvPr/>
          </p:nvSpPr>
          <p:spPr bwMode="auto">
            <a:xfrm>
              <a:off x="3876675" y="2717800"/>
              <a:ext cx="3175" cy="4763"/>
            </a:xfrm>
            <a:custGeom>
              <a:avLst/>
              <a:gdLst>
                <a:gd name="T0" fmla="*/ 9 w 10"/>
                <a:gd name="T1" fmla="*/ 12 h 15"/>
                <a:gd name="T2" fmla="*/ 9 w 10"/>
                <a:gd name="T3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9" y="12"/>
                  </a:moveTo>
                  <a:cubicBezTo>
                    <a:pt x="6" y="0"/>
                    <a:pt x="0" y="14"/>
                    <a:pt x="9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79" name="Freeform 1337"/>
            <p:cNvSpPr>
              <a:spLocks noChangeArrowheads="1"/>
            </p:cNvSpPr>
            <p:nvPr/>
          </p:nvSpPr>
          <p:spPr bwMode="auto">
            <a:xfrm>
              <a:off x="3890963" y="2722563"/>
              <a:ext cx="3175" cy="3175"/>
            </a:xfrm>
            <a:custGeom>
              <a:avLst/>
              <a:gdLst>
                <a:gd name="T0" fmla="*/ 8 w 9"/>
                <a:gd name="T1" fmla="*/ 6 h 7"/>
                <a:gd name="T2" fmla="*/ 3 w 9"/>
                <a:gd name="T3" fmla="*/ 0 h 7"/>
                <a:gd name="T4" fmla="*/ 8 w 9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8" y="6"/>
                  </a:moveTo>
                  <a:cubicBezTo>
                    <a:pt x="8" y="3"/>
                    <a:pt x="5" y="0"/>
                    <a:pt x="3" y="0"/>
                  </a:cubicBezTo>
                  <a:cubicBezTo>
                    <a:pt x="0" y="3"/>
                    <a:pt x="3" y="6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0" name="Freeform 1338"/>
            <p:cNvSpPr>
              <a:spLocks noChangeArrowheads="1"/>
            </p:cNvSpPr>
            <p:nvPr/>
          </p:nvSpPr>
          <p:spPr bwMode="auto">
            <a:xfrm>
              <a:off x="3895725" y="2717800"/>
              <a:ext cx="3175" cy="4763"/>
            </a:xfrm>
            <a:custGeom>
              <a:avLst/>
              <a:gdLst>
                <a:gd name="T0" fmla="*/ 6 w 7"/>
                <a:gd name="T1" fmla="*/ 12 h 13"/>
                <a:gd name="T2" fmla="*/ 6 w 7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3">
                  <a:moveTo>
                    <a:pt x="6" y="12"/>
                  </a:moveTo>
                  <a:cubicBezTo>
                    <a:pt x="6" y="0"/>
                    <a:pt x="0" y="12"/>
                    <a:pt x="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1" name="Freeform 1339"/>
            <p:cNvSpPr>
              <a:spLocks noChangeArrowheads="1"/>
            </p:cNvSpPr>
            <p:nvPr/>
          </p:nvSpPr>
          <p:spPr bwMode="auto">
            <a:xfrm>
              <a:off x="3898900" y="2717800"/>
              <a:ext cx="3175" cy="4763"/>
            </a:xfrm>
            <a:custGeom>
              <a:avLst/>
              <a:gdLst>
                <a:gd name="T0" fmla="*/ 6 w 7"/>
                <a:gd name="T1" fmla="*/ 12 h 13"/>
                <a:gd name="T2" fmla="*/ 6 w 7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3">
                  <a:moveTo>
                    <a:pt x="6" y="12"/>
                  </a:moveTo>
                  <a:cubicBezTo>
                    <a:pt x="6" y="0"/>
                    <a:pt x="0" y="12"/>
                    <a:pt x="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2" name="Freeform 1340"/>
            <p:cNvSpPr>
              <a:spLocks noChangeArrowheads="1"/>
            </p:cNvSpPr>
            <p:nvPr/>
          </p:nvSpPr>
          <p:spPr bwMode="auto">
            <a:xfrm>
              <a:off x="3917950" y="2717800"/>
              <a:ext cx="9525" cy="4763"/>
            </a:xfrm>
            <a:custGeom>
              <a:avLst/>
              <a:gdLst>
                <a:gd name="T0" fmla="*/ 6 w 27"/>
                <a:gd name="T1" fmla="*/ 9 h 12"/>
                <a:gd name="T2" fmla="*/ 20 w 27"/>
                <a:gd name="T3" fmla="*/ 3 h 12"/>
                <a:gd name="T4" fmla="*/ 6 w 27"/>
                <a:gd name="T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12">
                  <a:moveTo>
                    <a:pt x="6" y="9"/>
                  </a:moveTo>
                  <a:cubicBezTo>
                    <a:pt x="9" y="11"/>
                    <a:pt x="26" y="11"/>
                    <a:pt x="20" y="3"/>
                  </a:cubicBezTo>
                  <a:cubicBezTo>
                    <a:pt x="20" y="0"/>
                    <a:pt x="0" y="3"/>
                    <a:pt x="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3" name="Freeform 1341"/>
            <p:cNvSpPr>
              <a:spLocks noChangeArrowheads="1"/>
            </p:cNvSpPr>
            <p:nvPr/>
          </p:nvSpPr>
          <p:spPr bwMode="auto">
            <a:xfrm>
              <a:off x="3914775" y="2708275"/>
              <a:ext cx="4763" cy="7938"/>
            </a:xfrm>
            <a:custGeom>
              <a:avLst/>
              <a:gdLst>
                <a:gd name="T0" fmla="*/ 3 w 15"/>
                <a:gd name="T1" fmla="*/ 20 h 21"/>
                <a:gd name="T2" fmla="*/ 3 w 15"/>
                <a:gd name="T3" fmla="*/ 0 h 21"/>
                <a:gd name="T4" fmla="*/ 3 w 15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1">
                  <a:moveTo>
                    <a:pt x="3" y="20"/>
                  </a:moveTo>
                  <a:cubicBezTo>
                    <a:pt x="11" y="17"/>
                    <a:pt x="14" y="5"/>
                    <a:pt x="3" y="0"/>
                  </a:cubicBezTo>
                  <a:cubicBezTo>
                    <a:pt x="0" y="5"/>
                    <a:pt x="0" y="11"/>
                    <a:pt x="3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4" name="Freeform 1342"/>
            <p:cNvSpPr>
              <a:spLocks noChangeArrowheads="1"/>
            </p:cNvSpPr>
            <p:nvPr/>
          </p:nvSpPr>
          <p:spPr bwMode="auto">
            <a:xfrm>
              <a:off x="3921125" y="2716213"/>
              <a:ext cx="4763" cy="7937"/>
            </a:xfrm>
            <a:custGeom>
              <a:avLst/>
              <a:gdLst>
                <a:gd name="T0" fmla="*/ 0 w 12"/>
                <a:gd name="T1" fmla="*/ 5 h 23"/>
                <a:gd name="T2" fmla="*/ 0 w 12"/>
                <a:gd name="T3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3">
                  <a:moveTo>
                    <a:pt x="0" y="5"/>
                  </a:moveTo>
                  <a:cubicBezTo>
                    <a:pt x="0" y="22"/>
                    <a:pt x="11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5" name="Freeform 1343"/>
            <p:cNvSpPr>
              <a:spLocks noChangeArrowheads="1"/>
            </p:cNvSpPr>
            <p:nvPr/>
          </p:nvSpPr>
          <p:spPr bwMode="auto">
            <a:xfrm>
              <a:off x="3905250" y="2708275"/>
              <a:ext cx="6350" cy="7938"/>
            </a:xfrm>
            <a:custGeom>
              <a:avLst/>
              <a:gdLst>
                <a:gd name="T0" fmla="*/ 6 w 18"/>
                <a:gd name="T1" fmla="*/ 0 h 21"/>
                <a:gd name="T2" fmla="*/ 0 w 18"/>
                <a:gd name="T3" fmla="*/ 8 h 21"/>
                <a:gd name="T4" fmla="*/ 6 w 18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6" y="0"/>
                  </a:moveTo>
                  <a:lnTo>
                    <a:pt x="0" y="8"/>
                  </a:lnTo>
                  <a:cubicBezTo>
                    <a:pt x="6" y="20"/>
                    <a:pt x="17" y="3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6" name="Freeform 1344"/>
            <p:cNvSpPr>
              <a:spLocks noChangeArrowheads="1"/>
            </p:cNvSpPr>
            <p:nvPr/>
          </p:nvSpPr>
          <p:spPr bwMode="auto">
            <a:xfrm>
              <a:off x="3900488" y="2716213"/>
              <a:ext cx="9525" cy="6350"/>
            </a:xfrm>
            <a:custGeom>
              <a:avLst/>
              <a:gdLst>
                <a:gd name="T0" fmla="*/ 26 w 27"/>
                <a:gd name="T1" fmla="*/ 9 h 18"/>
                <a:gd name="T2" fmla="*/ 6 w 27"/>
                <a:gd name="T3" fmla="*/ 0 h 18"/>
                <a:gd name="T4" fmla="*/ 0 w 27"/>
                <a:gd name="T5" fmla="*/ 9 h 18"/>
                <a:gd name="T6" fmla="*/ 20 w 27"/>
                <a:gd name="T7" fmla="*/ 15 h 18"/>
                <a:gd name="T8" fmla="*/ 26 w 27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8">
                  <a:moveTo>
                    <a:pt x="26" y="9"/>
                  </a:moveTo>
                  <a:cubicBezTo>
                    <a:pt x="20" y="3"/>
                    <a:pt x="11" y="0"/>
                    <a:pt x="6" y="0"/>
                  </a:cubicBezTo>
                  <a:lnTo>
                    <a:pt x="0" y="9"/>
                  </a:lnTo>
                  <a:cubicBezTo>
                    <a:pt x="3" y="15"/>
                    <a:pt x="11" y="17"/>
                    <a:pt x="20" y="15"/>
                  </a:cubicBezTo>
                  <a:cubicBezTo>
                    <a:pt x="20" y="15"/>
                    <a:pt x="23" y="12"/>
                    <a:pt x="2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7" name="Freeform 1345"/>
            <p:cNvSpPr>
              <a:spLocks noChangeArrowheads="1"/>
            </p:cNvSpPr>
            <p:nvPr/>
          </p:nvSpPr>
          <p:spPr bwMode="auto">
            <a:xfrm>
              <a:off x="3881438" y="2705100"/>
              <a:ext cx="4762" cy="6350"/>
            </a:xfrm>
            <a:custGeom>
              <a:avLst/>
              <a:gdLst>
                <a:gd name="T0" fmla="*/ 0 w 12"/>
                <a:gd name="T1" fmla="*/ 9 h 18"/>
                <a:gd name="T2" fmla="*/ 0 w 12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0" y="9"/>
                  </a:moveTo>
                  <a:cubicBezTo>
                    <a:pt x="11" y="17"/>
                    <a:pt x="5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8" name="Freeform 1346"/>
            <p:cNvSpPr>
              <a:spLocks noChangeArrowheads="1"/>
            </p:cNvSpPr>
            <p:nvPr/>
          </p:nvSpPr>
          <p:spPr bwMode="auto">
            <a:xfrm>
              <a:off x="3892550" y="2716213"/>
              <a:ext cx="3175" cy="4762"/>
            </a:xfrm>
            <a:custGeom>
              <a:avLst/>
              <a:gdLst>
                <a:gd name="T0" fmla="*/ 3 w 10"/>
                <a:gd name="T1" fmla="*/ 0 h 15"/>
                <a:gd name="T2" fmla="*/ 3 w 10"/>
                <a:gd name="T3" fmla="*/ 11 h 15"/>
                <a:gd name="T4" fmla="*/ 6 w 10"/>
                <a:gd name="T5" fmla="*/ 14 h 15"/>
                <a:gd name="T6" fmla="*/ 6 w 10"/>
                <a:gd name="T7" fmla="*/ 2 h 15"/>
                <a:gd name="T8" fmla="*/ 3 w 1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3" y="0"/>
                  </a:moveTo>
                  <a:cubicBezTo>
                    <a:pt x="0" y="2"/>
                    <a:pt x="0" y="8"/>
                    <a:pt x="3" y="11"/>
                  </a:cubicBezTo>
                  <a:lnTo>
                    <a:pt x="6" y="14"/>
                  </a:lnTo>
                  <a:cubicBezTo>
                    <a:pt x="9" y="11"/>
                    <a:pt x="9" y="5"/>
                    <a:pt x="6" y="2"/>
                  </a:cubicBezTo>
                  <a:cubicBezTo>
                    <a:pt x="6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89" name="Freeform 1347"/>
            <p:cNvSpPr>
              <a:spLocks noChangeArrowheads="1"/>
            </p:cNvSpPr>
            <p:nvPr/>
          </p:nvSpPr>
          <p:spPr bwMode="auto">
            <a:xfrm>
              <a:off x="3878263" y="2706688"/>
              <a:ext cx="4762" cy="7937"/>
            </a:xfrm>
            <a:custGeom>
              <a:avLst/>
              <a:gdLst>
                <a:gd name="T0" fmla="*/ 0 w 12"/>
                <a:gd name="T1" fmla="*/ 8 h 21"/>
                <a:gd name="T2" fmla="*/ 0 w 12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1">
                  <a:moveTo>
                    <a:pt x="0" y="8"/>
                  </a:moveTo>
                  <a:cubicBezTo>
                    <a:pt x="11" y="20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0" name="Freeform 1348"/>
            <p:cNvSpPr>
              <a:spLocks noChangeArrowheads="1"/>
            </p:cNvSpPr>
            <p:nvPr/>
          </p:nvSpPr>
          <p:spPr bwMode="auto">
            <a:xfrm>
              <a:off x="3865563" y="2703513"/>
              <a:ext cx="3175" cy="3175"/>
            </a:xfrm>
            <a:custGeom>
              <a:avLst/>
              <a:gdLst>
                <a:gd name="T0" fmla="*/ 6 w 10"/>
                <a:gd name="T1" fmla="*/ 8 h 9"/>
                <a:gd name="T2" fmla="*/ 9 w 10"/>
                <a:gd name="T3" fmla="*/ 3 h 9"/>
                <a:gd name="T4" fmla="*/ 3 w 10"/>
                <a:gd name="T5" fmla="*/ 0 h 9"/>
                <a:gd name="T6" fmla="*/ 0 w 10"/>
                <a:gd name="T7" fmla="*/ 5 h 9"/>
                <a:gd name="T8" fmla="*/ 6 w 10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6" y="8"/>
                  </a:moveTo>
                  <a:lnTo>
                    <a:pt x="9" y="3"/>
                  </a:lnTo>
                  <a:lnTo>
                    <a:pt x="3" y="0"/>
                  </a:lnTo>
                  <a:lnTo>
                    <a:pt x="0" y="5"/>
                  </a:lnTo>
                  <a:lnTo>
                    <a:pt x="6" y="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1" name="Freeform 1349"/>
            <p:cNvSpPr>
              <a:spLocks noChangeArrowheads="1"/>
            </p:cNvSpPr>
            <p:nvPr/>
          </p:nvSpPr>
          <p:spPr bwMode="auto">
            <a:xfrm>
              <a:off x="3875088" y="2711450"/>
              <a:ext cx="3175" cy="3175"/>
            </a:xfrm>
            <a:custGeom>
              <a:avLst/>
              <a:gdLst>
                <a:gd name="T0" fmla="*/ 5 w 9"/>
                <a:gd name="T1" fmla="*/ 9 h 10"/>
                <a:gd name="T2" fmla="*/ 8 w 9"/>
                <a:gd name="T3" fmla="*/ 3 h 10"/>
                <a:gd name="T4" fmla="*/ 2 w 9"/>
                <a:gd name="T5" fmla="*/ 0 h 10"/>
                <a:gd name="T6" fmla="*/ 0 w 9"/>
                <a:gd name="T7" fmla="*/ 6 h 10"/>
                <a:gd name="T8" fmla="*/ 5 w 9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5" y="9"/>
                  </a:moveTo>
                  <a:lnTo>
                    <a:pt x="8" y="3"/>
                  </a:lnTo>
                  <a:lnTo>
                    <a:pt x="2" y="0"/>
                  </a:lnTo>
                  <a:lnTo>
                    <a:pt x="0" y="6"/>
                  </a:lnTo>
                  <a:lnTo>
                    <a:pt x="5" y="9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2" name="Freeform 1350"/>
            <p:cNvSpPr>
              <a:spLocks noChangeArrowheads="1"/>
            </p:cNvSpPr>
            <p:nvPr/>
          </p:nvSpPr>
          <p:spPr bwMode="auto">
            <a:xfrm>
              <a:off x="3876675" y="2716213"/>
              <a:ext cx="6350" cy="4762"/>
            </a:xfrm>
            <a:custGeom>
              <a:avLst/>
              <a:gdLst>
                <a:gd name="T0" fmla="*/ 9 w 18"/>
                <a:gd name="T1" fmla="*/ 14 h 15"/>
                <a:gd name="T2" fmla="*/ 14 w 18"/>
                <a:gd name="T3" fmla="*/ 0 h 15"/>
                <a:gd name="T4" fmla="*/ 0 w 18"/>
                <a:gd name="T5" fmla="*/ 8 h 15"/>
                <a:gd name="T6" fmla="*/ 9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9" y="14"/>
                  </a:moveTo>
                  <a:cubicBezTo>
                    <a:pt x="12" y="8"/>
                    <a:pt x="17" y="5"/>
                    <a:pt x="14" y="0"/>
                  </a:cubicBezTo>
                  <a:cubicBezTo>
                    <a:pt x="12" y="11"/>
                    <a:pt x="6" y="2"/>
                    <a:pt x="0" y="8"/>
                  </a:cubicBezTo>
                  <a:lnTo>
                    <a:pt x="9" y="14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3" name="Freeform 1351"/>
            <p:cNvSpPr>
              <a:spLocks noChangeArrowheads="1"/>
            </p:cNvSpPr>
            <p:nvPr/>
          </p:nvSpPr>
          <p:spPr bwMode="auto">
            <a:xfrm>
              <a:off x="3881438" y="2720975"/>
              <a:ext cx="4762" cy="7938"/>
            </a:xfrm>
            <a:custGeom>
              <a:avLst/>
              <a:gdLst>
                <a:gd name="T0" fmla="*/ 0 w 12"/>
                <a:gd name="T1" fmla="*/ 5 h 23"/>
                <a:gd name="T2" fmla="*/ 0 w 12"/>
                <a:gd name="T3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3">
                  <a:moveTo>
                    <a:pt x="0" y="5"/>
                  </a:moveTo>
                  <a:cubicBezTo>
                    <a:pt x="2" y="22"/>
                    <a:pt x="11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4" name="Freeform 1352"/>
            <p:cNvSpPr>
              <a:spLocks noChangeArrowheads="1"/>
            </p:cNvSpPr>
            <p:nvPr/>
          </p:nvSpPr>
          <p:spPr bwMode="auto">
            <a:xfrm>
              <a:off x="3863975" y="2713038"/>
              <a:ext cx="6350" cy="4762"/>
            </a:xfrm>
            <a:custGeom>
              <a:avLst/>
              <a:gdLst>
                <a:gd name="T0" fmla="*/ 15 w 16"/>
                <a:gd name="T1" fmla="*/ 6 h 12"/>
                <a:gd name="T2" fmla="*/ 6 w 16"/>
                <a:gd name="T3" fmla="*/ 0 h 12"/>
                <a:gd name="T4" fmla="*/ 0 w 16"/>
                <a:gd name="T5" fmla="*/ 8 h 12"/>
                <a:gd name="T6" fmla="*/ 12 w 16"/>
                <a:gd name="T7" fmla="*/ 8 h 12"/>
                <a:gd name="T8" fmla="*/ 15 w 1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15" y="6"/>
                  </a:moveTo>
                  <a:lnTo>
                    <a:pt x="6" y="0"/>
                  </a:lnTo>
                  <a:lnTo>
                    <a:pt x="0" y="8"/>
                  </a:lnTo>
                  <a:cubicBezTo>
                    <a:pt x="3" y="11"/>
                    <a:pt x="9" y="11"/>
                    <a:pt x="12" y="8"/>
                  </a:cubicBezTo>
                  <a:cubicBezTo>
                    <a:pt x="15" y="8"/>
                    <a:pt x="15" y="6"/>
                    <a:pt x="15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5" name="Freeform 1353"/>
            <p:cNvSpPr>
              <a:spLocks noChangeArrowheads="1"/>
            </p:cNvSpPr>
            <p:nvPr/>
          </p:nvSpPr>
          <p:spPr bwMode="auto">
            <a:xfrm>
              <a:off x="3871913" y="2720975"/>
              <a:ext cx="3175" cy="7938"/>
            </a:xfrm>
            <a:custGeom>
              <a:avLst/>
              <a:gdLst>
                <a:gd name="T0" fmla="*/ 0 w 9"/>
                <a:gd name="T1" fmla="*/ 8 h 20"/>
                <a:gd name="T2" fmla="*/ 0 w 9"/>
                <a:gd name="T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0">
                  <a:moveTo>
                    <a:pt x="0" y="8"/>
                  </a:moveTo>
                  <a:cubicBezTo>
                    <a:pt x="8" y="19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6" name="Freeform 1354"/>
            <p:cNvSpPr>
              <a:spLocks noChangeArrowheads="1"/>
            </p:cNvSpPr>
            <p:nvPr/>
          </p:nvSpPr>
          <p:spPr bwMode="auto">
            <a:xfrm>
              <a:off x="3863975" y="2724150"/>
              <a:ext cx="6350" cy="4763"/>
            </a:xfrm>
            <a:custGeom>
              <a:avLst/>
              <a:gdLst>
                <a:gd name="T0" fmla="*/ 0 w 18"/>
                <a:gd name="T1" fmla="*/ 9 h 15"/>
                <a:gd name="T2" fmla="*/ 17 w 18"/>
                <a:gd name="T3" fmla="*/ 9 h 15"/>
                <a:gd name="T4" fmla="*/ 0 w 18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0" y="9"/>
                  </a:moveTo>
                  <a:cubicBezTo>
                    <a:pt x="6" y="14"/>
                    <a:pt x="12" y="11"/>
                    <a:pt x="17" y="9"/>
                  </a:cubicBezTo>
                  <a:cubicBezTo>
                    <a:pt x="12" y="6"/>
                    <a:pt x="6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7" name="Freeform 1355"/>
            <p:cNvSpPr>
              <a:spLocks noChangeArrowheads="1"/>
            </p:cNvSpPr>
            <p:nvPr/>
          </p:nvSpPr>
          <p:spPr bwMode="auto">
            <a:xfrm>
              <a:off x="3903663" y="2709863"/>
              <a:ext cx="1587" cy="3175"/>
            </a:xfrm>
            <a:custGeom>
              <a:avLst/>
              <a:gdLst>
                <a:gd name="T0" fmla="*/ 2 w 3"/>
                <a:gd name="T1" fmla="*/ 0 h 10"/>
                <a:gd name="T2" fmla="*/ 0 w 3"/>
                <a:gd name="T3" fmla="*/ 9 h 10"/>
                <a:gd name="T4" fmla="*/ 0 w 3"/>
                <a:gd name="T5" fmla="*/ 3 h 10"/>
                <a:gd name="T6" fmla="*/ 2 w 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0">
                  <a:moveTo>
                    <a:pt x="2" y="0"/>
                  </a:moveTo>
                  <a:cubicBezTo>
                    <a:pt x="2" y="0"/>
                    <a:pt x="2" y="9"/>
                    <a:pt x="0" y="9"/>
                  </a:cubicBezTo>
                  <a:cubicBezTo>
                    <a:pt x="0" y="9"/>
                    <a:pt x="0" y="6"/>
                    <a:pt x="0" y="3"/>
                  </a:cubicBezTo>
                  <a:cubicBezTo>
                    <a:pt x="2" y="3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8" name="Freeform 1356"/>
            <p:cNvSpPr>
              <a:spLocks noChangeArrowheads="1"/>
            </p:cNvSpPr>
            <p:nvPr/>
          </p:nvSpPr>
          <p:spPr bwMode="auto">
            <a:xfrm>
              <a:off x="3922713" y="2716213"/>
              <a:ext cx="4762" cy="7937"/>
            </a:xfrm>
            <a:custGeom>
              <a:avLst/>
              <a:gdLst>
                <a:gd name="T0" fmla="*/ 6 w 12"/>
                <a:gd name="T1" fmla="*/ 19 h 20"/>
                <a:gd name="T2" fmla="*/ 11 w 12"/>
                <a:gd name="T3" fmla="*/ 8 h 20"/>
                <a:gd name="T4" fmla="*/ 6 w 12"/>
                <a:gd name="T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0">
                  <a:moveTo>
                    <a:pt x="6" y="19"/>
                  </a:moveTo>
                  <a:cubicBezTo>
                    <a:pt x="6" y="14"/>
                    <a:pt x="11" y="14"/>
                    <a:pt x="11" y="8"/>
                  </a:cubicBezTo>
                  <a:cubicBezTo>
                    <a:pt x="3" y="0"/>
                    <a:pt x="0" y="19"/>
                    <a:pt x="6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399" name="Freeform 1357"/>
            <p:cNvSpPr>
              <a:spLocks noChangeArrowheads="1"/>
            </p:cNvSpPr>
            <p:nvPr/>
          </p:nvSpPr>
          <p:spPr bwMode="auto">
            <a:xfrm>
              <a:off x="3903663" y="2720975"/>
              <a:ext cx="6350" cy="4763"/>
            </a:xfrm>
            <a:custGeom>
              <a:avLst/>
              <a:gdLst>
                <a:gd name="T0" fmla="*/ 6 w 18"/>
                <a:gd name="T1" fmla="*/ 0 h 12"/>
                <a:gd name="T2" fmla="*/ 6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6" y="0"/>
                  </a:moveTo>
                  <a:cubicBezTo>
                    <a:pt x="0" y="11"/>
                    <a:pt x="17" y="2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0" name="Freeform 1358"/>
            <p:cNvSpPr>
              <a:spLocks noChangeArrowheads="1"/>
            </p:cNvSpPr>
            <p:nvPr/>
          </p:nvSpPr>
          <p:spPr bwMode="auto">
            <a:xfrm>
              <a:off x="3900488" y="2720975"/>
              <a:ext cx="6350" cy="4763"/>
            </a:xfrm>
            <a:custGeom>
              <a:avLst/>
              <a:gdLst>
                <a:gd name="T0" fmla="*/ 6 w 18"/>
                <a:gd name="T1" fmla="*/ 0 h 15"/>
                <a:gd name="T2" fmla="*/ 6 w 18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5">
                  <a:moveTo>
                    <a:pt x="6" y="0"/>
                  </a:moveTo>
                  <a:cubicBezTo>
                    <a:pt x="0" y="14"/>
                    <a:pt x="17" y="2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1" name="Freeform 1359"/>
            <p:cNvSpPr>
              <a:spLocks noChangeArrowheads="1"/>
            </p:cNvSpPr>
            <p:nvPr/>
          </p:nvSpPr>
          <p:spPr bwMode="auto">
            <a:xfrm>
              <a:off x="3883025" y="2709863"/>
              <a:ext cx="6350" cy="4762"/>
            </a:xfrm>
            <a:custGeom>
              <a:avLst/>
              <a:gdLst>
                <a:gd name="T0" fmla="*/ 9 w 18"/>
                <a:gd name="T1" fmla="*/ 0 h 12"/>
                <a:gd name="T2" fmla="*/ 9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9" y="0"/>
                  </a:moveTo>
                  <a:cubicBezTo>
                    <a:pt x="0" y="11"/>
                    <a:pt x="17" y="2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2" name="Freeform 1360"/>
            <p:cNvSpPr>
              <a:spLocks noChangeArrowheads="1"/>
            </p:cNvSpPr>
            <p:nvPr/>
          </p:nvSpPr>
          <p:spPr bwMode="auto">
            <a:xfrm>
              <a:off x="3876675" y="2716213"/>
              <a:ext cx="6350" cy="6350"/>
            </a:xfrm>
            <a:custGeom>
              <a:avLst/>
              <a:gdLst>
                <a:gd name="T0" fmla="*/ 9 w 18"/>
                <a:gd name="T1" fmla="*/ 0 h 16"/>
                <a:gd name="T2" fmla="*/ 9 w 18"/>
                <a:gd name="T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6">
                  <a:moveTo>
                    <a:pt x="9" y="0"/>
                  </a:moveTo>
                  <a:cubicBezTo>
                    <a:pt x="0" y="15"/>
                    <a:pt x="17" y="3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3" name="Freeform 1361"/>
            <p:cNvSpPr>
              <a:spLocks noChangeArrowheads="1"/>
            </p:cNvSpPr>
            <p:nvPr/>
          </p:nvSpPr>
          <p:spPr bwMode="auto">
            <a:xfrm>
              <a:off x="3863975" y="2720975"/>
              <a:ext cx="4763" cy="4763"/>
            </a:xfrm>
            <a:custGeom>
              <a:avLst/>
              <a:gdLst>
                <a:gd name="T0" fmla="*/ 8 w 12"/>
                <a:gd name="T1" fmla="*/ 11 h 12"/>
                <a:gd name="T2" fmla="*/ 0 w 12"/>
                <a:gd name="T3" fmla="*/ 0 h 12"/>
                <a:gd name="T4" fmla="*/ 8 w 12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8" y="11"/>
                  </a:moveTo>
                  <a:cubicBezTo>
                    <a:pt x="11" y="5"/>
                    <a:pt x="8" y="0"/>
                    <a:pt x="0" y="0"/>
                  </a:cubicBezTo>
                  <a:cubicBezTo>
                    <a:pt x="0" y="5"/>
                    <a:pt x="2" y="11"/>
                    <a:pt x="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4" name="Freeform 1362"/>
            <p:cNvSpPr>
              <a:spLocks noChangeArrowheads="1"/>
            </p:cNvSpPr>
            <p:nvPr/>
          </p:nvSpPr>
          <p:spPr bwMode="auto">
            <a:xfrm>
              <a:off x="4422775" y="2647950"/>
              <a:ext cx="4763" cy="4763"/>
            </a:xfrm>
            <a:custGeom>
              <a:avLst/>
              <a:gdLst>
                <a:gd name="T0" fmla="*/ 12 w 13"/>
                <a:gd name="T1" fmla="*/ 2 h 12"/>
                <a:gd name="T2" fmla="*/ 12 w 13"/>
                <a:gd name="T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2">
                  <a:moveTo>
                    <a:pt x="12" y="2"/>
                  </a:moveTo>
                  <a:cubicBezTo>
                    <a:pt x="0" y="0"/>
                    <a:pt x="12" y="11"/>
                    <a:pt x="1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5" name="Freeform 1363"/>
            <p:cNvSpPr>
              <a:spLocks noChangeArrowheads="1"/>
            </p:cNvSpPr>
            <p:nvPr/>
          </p:nvSpPr>
          <p:spPr bwMode="auto">
            <a:xfrm>
              <a:off x="4438650" y="2641600"/>
              <a:ext cx="4763" cy="3175"/>
            </a:xfrm>
            <a:custGeom>
              <a:avLst/>
              <a:gdLst>
                <a:gd name="T0" fmla="*/ 11 w 12"/>
                <a:gd name="T1" fmla="*/ 3 h 10"/>
                <a:gd name="T2" fmla="*/ 2 w 12"/>
                <a:gd name="T3" fmla="*/ 0 h 10"/>
                <a:gd name="T4" fmla="*/ 11 w 12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11" y="3"/>
                  </a:moveTo>
                  <a:lnTo>
                    <a:pt x="2" y="0"/>
                  </a:lnTo>
                  <a:cubicBezTo>
                    <a:pt x="0" y="6"/>
                    <a:pt x="11" y="9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6" name="Freeform 1364"/>
            <p:cNvSpPr>
              <a:spLocks noChangeArrowheads="1"/>
            </p:cNvSpPr>
            <p:nvPr/>
          </p:nvSpPr>
          <p:spPr bwMode="auto">
            <a:xfrm>
              <a:off x="4421188" y="2638425"/>
              <a:ext cx="4762" cy="4763"/>
            </a:xfrm>
            <a:custGeom>
              <a:avLst/>
              <a:gdLst>
                <a:gd name="T0" fmla="*/ 11 w 12"/>
                <a:gd name="T1" fmla="*/ 3 h 12"/>
                <a:gd name="T2" fmla="*/ 11 w 12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11" y="3"/>
                  </a:moveTo>
                  <a:cubicBezTo>
                    <a:pt x="0" y="0"/>
                    <a:pt x="8" y="11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7" name="Freeform 1365"/>
            <p:cNvSpPr>
              <a:spLocks noChangeArrowheads="1"/>
            </p:cNvSpPr>
            <p:nvPr/>
          </p:nvSpPr>
          <p:spPr bwMode="auto">
            <a:xfrm>
              <a:off x="4459288" y="2638425"/>
              <a:ext cx="3175" cy="6350"/>
            </a:xfrm>
            <a:custGeom>
              <a:avLst/>
              <a:gdLst>
                <a:gd name="T0" fmla="*/ 8 w 9"/>
                <a:gd name="T1" fmla="*/ 9 h 18"/>
                <a:gd name="T2" fmla="*/ 8 w 9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8" y="9"/>
                  </a:moveTo>
                  <a:cubicBezTo>
                    <a:pt x="0" y="0"/>
                    <a:pt x="3" y="17"/>
                    <a:pt x="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8" name="Freeform 1366"/>
            <p:cNvSpPr>
              <a:spLocks noChangeArrowheads="1"/>
            </p:cNvSpPr>
            <p:nvPr/>
          </p:nvSpPr>
          <p:spPr bwMode="auto">
            <a:xfrm>
              <a:off x="4438650" y="2636838"/>
              <a:ext cx="6350" cy="3175"/>
            </a:xfrm>
            <a:custGeom>
              <a:avLst/>
              <a:gdLst>
                <a:gd name="T0" fmla="*/ 12 w 16"/>
                <a:gd name="T1" fmla="*/ 9 h 10"/>
                <a:gd name="T2" fmla="*/ 3 w 16"/>
                <a:gd name="T3" fmla="*/ 0 h 10"/>
                <a:gd name="T4" fmla="*/ 12 w 16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0">
                  <a:moveTo>
                    <a:pt x="12" y="9"/>
                  </a:moveTo>
                  <a:cubicBezTo>
                    <a:pt x="15" y="0"/>
                    <a:pt x="9" y="0"/>
                    <a:pt x="3" y="0"/>
                  </a:cubicBezTo>
                  <a:cubicBezTo>
                    <a:pt x="0" y="9"/>
                    <a:pt x="6" y="9"/>
                    <a:pt x="12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09" name="Freeform 1367"/>
            <p:cNvSpPr>
              <a:spLocks noChangeArrowheads="1"/>
            </p:cNvSpPr>
            <p:nvPr/>
          </p:nvSpPr>
          <p:spPr bwMode="auto">
            <a:xfrm>
              <a:off x="4429125" y="2636838"/>
              <a:ext cx="3175" cy="4762"/>
            </a:xfrm>
            <a:custGeom>
              <a:avLst/>
              <a:gdLst>
                <a:gd name="T0" fmla="*/ 9 w 10"/>
                <a:gd name="T1" fmla="*/ 11 h 12"/>
                <a:gd name="T2" fmla="*/ 3 w 10"/>
                <a:gd name="T3" fmla="*/ 0 h 12"/>
                <a:gd name="T4" fmla="*/ 9 w 10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9" y="11"/>
                  </a:moveTo>
                  <a:cubicBezTo>
                    <a:pt x="9" y="5"/>
                    <a:pt x="9" y="2"/>
                    <a:pt x="3" y="0"/>
                  </a:cubicBezTo>
                  <a:cubicBezTo>
                    <a:pt x="9" y="5"/>
                    <a:pt x="0" y="8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0" name="Freeform 1368"/>
            <p:cNvSpPr>
              <a:spLocks noChangeArrowheads="1"/>
            </p:cNvSpPr>
            <p:nvPr/>
          </p:nvSpPr>
          <p:spPr bwMode="auto">
            <a:xfrm>
              <a:off x="4427538" y="2636838"/>
              <a:ext cx="1587" cy="1587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0" y="0"/>
                    <a:pt x="2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1" name="Freeform 1369"/>
            <p:cNvSpPr>
              <a:spLocks noChangeArrowheads="1"/>
            </p:cNvSpPr>
            <p:nvPr/>
          </p:nvSpPr>
          <p:spPr bwMode="auto">
            <a:xfrm>
              <a:off x="4421188" y="2636838"/>
              <a:ext cx="4762" cy="3175"/>
            </a:xfrm>
            <a:custGeom>
              <a:avLst/>
              <a:gdLst>
                <a:gd name="T0" fmla="*/ 14 w 15"/>
                <a:gd name="T1" fmla="*/ 2 h 9"/>
                <a:gd name="T2" fmla="*/ 0 w 15"/>
                <a:gd name="T3" fmla="*/ 5 h 9"/>
                <a:gd name="T4" fmla="*/ 14 w 15"/>
                <a:gd name="T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4" y="2"/>
                  </a:moveTo>
                  <a:cubicBezTo>
                    <a:pt x="11" y="2"/>
                    <a:pt x="0" y="0"/>
                    <a:pt x="0" y="5"/>
                  </a:cubicBezTo>
                  <a:cubicBezTo>
                    <a:pt x="5" y="5"/>
                    <a:pt x="14" y="8"/>
                    <a:pt x="14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2" name="Freeform 1370"/>
            <p:cNvSpPr>
              <a:spLocks noChangeArrowheads="1"/>
            </p:cNvSpPr>
            <p:nvPr/>
          </p:nvSpPr>
          <p:spPr bwMode="auto">
            <a:xfrm>
              <a:off x="4479925" y="2638425"/>
              <a:ext cx="3175" cy="4763"/>
            </a:xfrm>
            <a:custGeom>
              <a:avLst/>
              <a:gdLst>
                <a:gd name="T0" fmla="*/ 9 w 10"/>
                <a:gd name="T1" fmla="*/ 3 h 12"/>
                <a:gd name="T2" fmla="*/ 9 w 10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2">
                  <a:moveTo>
                    <a:pt x="9" y="3"/>
                  </a:moveTo>
                  <a:cubicBezTo>
                    <a:pt x="0" y="0"/>
                    <a:pt x="9" y="11"/>
                    <a:pt x="9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3" name="Freeform 1371"/>
            <p:cNvSpPr>
              <a:spLocks noChangeArrowheads="1"/>
            </p:cNvSpPr>
            <p:nvPr/>
          </p:nvSpPr>
          <p:spPr bwMode="auto">
            <a:xfrm>
              <a:off x="4456113" y="2638425"/>
              <a:ext cx="3175" cy="3175"/>
            </a:xfrm>
            <a:custGeom>
              <a:avLst/>
              <a:gdLst>
                <a:gd name="T0" fmla="*/ 9 w 10"/>
                <a:gd name="T1" fmla="*/ 0 h 7"/>
                <a:gd name="T2" fmla="*/ 0 w 10"/>
                <a:gd name="T3" fmla="*/ 6 h 7"/>
                <a:gd name="T4" fmla="*/ 9 w 10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7">
                  <a:moveTo>
                    <a:pt x="9" y="0"/>
                  </a:moveTo>
                  <a:cubicBezTo>
                    <a:pt x="6" y="0"/>
                    <a:pt x="3" y="0"/>
                    <a:pt x="0" y="6"/>
                  </a:cubicBezTo>
                  <a:cubicBezTo>
                    <a:pt x="3" y="3"/>
                    <a:pt x="9" y="6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4" name="Freeform 1372"/>
            <p:cNvSpPr>
              <a:spLocks noChangeArrowheads="1"/>
            </p:cNvSpPr>
            <p:nvPr/>
          </p:nvSpPr>
          <p:spPr bwMode="auto">
            <a:xfrm>
              <a:off x="4468813" y="2635250"/>
              <a:ext cx="3175" cy="7938"/>
            </a:xfrm>
            <a:custGeom>
              <a:avLst/>
              <a:gdLst>
                <a:gd name="T0" fmla="*/ 6 w 7"/>
                <a:gd name="T1" fmla="*/ 11 h 20"/>
                <a:gd name="T2" fmla="*/ 6 w 7"/>
                <a:gd name="T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0">
                  <a:moveTo>
                    <a:pt x="6" y="11"/>
                  </a:moveTo>
                  <a:cubicBezTo>
                    <a:pt x="3" y="0"/>
                    <a:pt x="0" y="19"/>
                    <a:pt x="6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5" name="Freeform 1373"/>
            <p:cNvSpPr>
              <a:spLocks noChangeArrowheads="1"/>
            </p:cNvSpPr>
            <p:nvPr/>
          </p:nvSpPr>
          <p:spPr bwMode="auto">
            <a:xfrm>
              <a:off x="4445000" y="2636838"/>
              <a:ext cx="3175" cy="1587"/>
            </a:xfrm>
            <a:custGeom>
              <a:avLst/>
              <a:gdLst>
                <a:gd name="T0" fmla="*/ 0 w 7"/>
                <a:gd name="T1" fmla="*/ 0 h 6"/>
                <a:gd name="T2" fmla="*/ 0 w 7"/>
                <a:gd name="T3" fmla="*/ 5 h 6"/>
                <a:gd name="T4" fmla="*/ 6 w 7"/>
                <a:gd name="T5" fmla="*/ 5 h 6"/>
                <a:gd name="T6" fmla="*/ 6 w 7"/>
                <a:gd name="T7" fmla="*/ 0 h 6"/>
                <a:gd name="T8" fmla="*/ 0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lnTo>
                    <a:pt x="0" y="5"/>
                  </a:lnTo>
                  <a:lnTo>
                    <a:pt x="6" y="5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6" name="Freeform 1374"/>
            <p:cNvSpPr>
              <a:spLocks noChangeArrowheads="1"/>
            </p:cNvSpPr>
            <p:nvPr/>
          </p:nvSpPr>
          <p:spPr bwMode="auto">
            <a:xfrm>
              <a:off x="4432300" y="2633663"/>
              <a:ext cx="4763" cy="4762"/>
            </a:xfrm>
            <a:custGeom>
              <a:avLst/>
              <a:gdLst>
                <a:gd name="T0" fmla="*/ 2 w 12"/>
                <a:gd name="T1" fmla="*/ 0 h 12"/>
                <a:gd name="T2" fmla="*/ 8 w 12"/>
                <a:gd name="T3" fmla="*/ 11 h 12"/>
                <a:gd name="T4" fmla="*/ 2 w 12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2" y="0"/>
                  </a:moveTo>
                  <a:cubicBezTo>
                    <a:pt x="0" y="9"/>
                    <a:pt x="5" y="9"/>
                    <a:pt x="8" y="11"/>
                  </a:cubicBezTo>
                  <a:cubicBezTo>
                    <a:pt x="11" y="6"/>
                    <a:pt x="8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7" name="Freeform 1375"/>
            <p:cNvSpPr>
              <a:spLocks noChangeArrowheads="1"/>
            </p:cNvSpPr>
            <p:nvPr/>
          </p:nvSpPr>
          <p:spPr bwMode="auto">
            <a:xfrm>
              <a:off x="4456113" y="2632075"/>
              <a:ext cx="3175" cy="3175"/>
            </a:xfrm>
            <a:custGeom>
              <a:avLst/>
              <a:gdLst>
                <a:gd name="T0" fmla="*/ 0 w 10"/>
                <a:gd name="T1" fmla="*/ 0 h 10"/>
                <a:gd name="T2" fmla="*/ 6 w 10"/>
                <a:gd name="T3" fmla="*/ 9 h 10"/>
                <a:gd name="T4" fmla="*/ 0 w 10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0">
                  <a:moveTo>
                    <a:pt x="0" y="0"/>
                  </a:moveTo>
                  <a:cubicBezTo>
                    <a:pt x="0" y="3"/>
                    <a:pt x="0" y="6"/>
                    <a:pt x="6" y="9"/>
                  </a:cubicBezTo>
                  <a:cubicBezTo>
                    <a:pt x="9" y="6"/>
                    <a:pt x="9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8" name="Freeform 1376"/>
            <p:cNvSpPr>
              <a:spLocks noChangeArrowheads="1"/>
            </p:cNvSpPr>
            <p:nvPr/>
          </p:nvSpPr>
          <p:spPr bwMode="auto">
            <a:xfrm>
              <a:off x="4443413" y="2632075"/>
              <a:ext cx="4762" cy="4763"/>
            </a:xfrm>
            <a:custGeom>
              <a:avLst/>
              <a:gdLst>
                <a:gd name="T0" fmla="*/ 14 w 15"/>
                <a:gd name="T1" fmla="*/ 3 h 13"/>
                <a:gd name="T2" fmla="*/ 14 w 15"/>
                <a:gd name="T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3">
                  <a:moveTo>
                    <a:pt x="14" y="3"/>
                  </a:moveTo>
                  <a:cubicBezTo>
                    <a:pt x="0" y="0"/>
                    <a:pt x="11" y="12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19" name="Freeform 1377"/>
            <p:cNvSpPr>
              <a:spLocks noChangeArrowheads="1"/>
            </p:cNvSpPr>
            <p:nvPr/>
          </p:nvSpPr>
          <p:spPr bwMode="auto">
            <a:xfrm>
              <a:off x="4440238" y="2627313"/>
              <a:ext cx="3175" cy="7937"/>
            </a:xfrm>
            <a:custGeom>
              <a:avLst/>
              <a:gdLst>
                <a:gd name="T0" fmla="*/ 6 w 7"/>
                <a:gd name="T1" fmla="*/ 11 h 21"/>
                <a:gd name="T2" fmla="*/ 6 w 7"/>
                <a:gd name="T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1">
                  <a:moveTo>
                    <a:pt x="6" y="11"/>
                  </a:moveTo>
                  <a:cubicBezTo>
                    <a:pt x="0" y="0"/>
                    <a:pt x="0" y="20"/>
                    <a:pt x="6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0" name="Freeform 1378"/>
            <p:cNvSpPr>
              <a:spLocks noChangeArrowheads="1"/>
            </p:cNvSpPr>
            <p:nvPr/>
          </p:nvSpPr>
          <p:spPr bwMode="auto">
            <a:xfrm>
              <a:off x="4467225" y="2630488"/>
              <a:ext cx="4763" cy="4762"/>
            </a:xfrm>
            <a:custGeom>
              <a:avLst/>
              <a:gdLst>
                <a:gd name="T0" fmla="*/ 11 w 12"/>
                <a:gd name="T1" fmla="*/ 3 h 13"/>
                <a:gd name="T2" fmla="*/ 11 w 12"/>
                <a:gd name="T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3">
                  <a:moveTo>
                    <a:pt x="11" y="3"/>
                  </a:moveTo>
                  <a:cubicBezTo>
                    <a:pt x="0" y="0"/>
                    <a:pt x="11" y="12"/>
                    <a:pt x="1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1" name="Freeform 1379"/>
            <p:cNvSpPr>
              <a:spLocks noChangeArrowheads="1"/>
            </p:cNvSpPr>
            <p:nvPr/>
          </p:nvSpPr>
          <p:spPr bwMode="auto">
            <a:xfrm>
              <a:off x="4475163" y="2625725"/>
              <a:ext cx="4762" cy="6350"/>
            </a:xfrm>
            <a:custGeom>
              <a:avLst/>
              <a:gdLst>
                <a:gd name="T0" fmla="*/ 0 w 12"/>
                <a:gd name="T1" fmla="*/ 9 h 18"/>
                <a:gd name="T2" fmla="*/ 0 w 12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0" y="9"/>
                  </a:moveTo>
                  <a:cubicBezTo>
                    <a:pt x="11" y="17"/>
                    <a:pt x="9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2" name="Freeform 1380"/>
            <p:cNvSpPr>
              <a:spLocks noChangeArrowheads="1"/>
            </p:cNvSpPr>
            <p:nvPr/>
          </p:nvSpPr>
          <p:spPr bwMode="auto">
            <a:xfrm>
              <a:off x="4433888" y="2644775"/>
              <a:ext cx="3175" cy="4763"/>
            </a:xfrm>
            <a:custGeom>
              <a:avLst/>
              <a:gdLst>
                <a:gd name="T0" fmla="*/ 9 w 10"/>
                <a:gd name="T1" fmla="*/ 11 h 12"/>
                <a:gd name="T2" fmla="*/ 9 w 10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2">
                  <a:moveTo>
                    <a:pt x="9" y="11"/>
                  </a:moveTo>
                  <a:cubicBezTo>
                    <a:pt x="9" y="0"/>
                    <a:pt x="0" y="11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3" name="Freeform 1381"/>
            <p:cNvSpPr>
              <a:spLocks noChangeArrowheads="1"/>
            </p:cNvSpPr>
            <p:nvPr/>
          </p:nvSpPr>
          <p:spPr bwMode="auto">
            <a:xfrm>
              <a:off x="4435475" y="2641600"/>
              <a:ext cx="3175" cy="4763"/>
            </a:xfrm>
            <a:custGeom>
              <a:avLst/>
              <a:gdLst>
                <a:gd name="T0" fmla="*/ 8 w 9"/>
                <a:gd name="T1" fmla="*/ 11 h 15"/>
                <a:gd name="T2" fmla="*/ 8 w 9"/>
                <a:gd name="T3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8" y="11"/>
                  </a:moveTo>
                  <a:cubicBezTo>
                    <a:pt x="8" y="0"/>
                    <a:pt x="0" y="14"/>
                    <a:pt x="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4" name="Freeform 1382"/>
            <p:cNvSpPr>
              <a:spLocks noChangeArrowheads="1"/>
            </p:cNvSpPr>
            <p:nvPr/>
          </p:nvSpPr>
          <p:spPr bwMode="auto">
            <a:xfrm>
              <a:off x="4451350" y="2646363"/>
              <a:ext cx="3175" cy="1587"/>
            </a:xfrm>
            <a:custGeom>
              <a:avLst/>
              <a:gdLst>
                <a:gd name="T0" fmla="*/ 6 w 7"/>
                <a:gd name="T1" fmla="*/ 5 h 6"/>
                <a:gd name="T2" fmla="*/ 0 w 7"/>
                <a:gd name="T3" fmla="*/ 0 h 6"/>
                <a:gd name="T4" fmla="*/ 6 w 7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6" y="5"/>
                  </a:moveTo>
                  <a:cubicBezTo>
                    <a:pt x="6" y="3"/>
                    <a:pt x="3" y="0"/>
                    <a:pt x="0" y="0"/>
                  </a:cubicBezTo>
                  <a:cubicBezTo>
                    <a:pt x="0" y="3"/>
                    <a:pt x="3" y="5"/>
                    <a:pt x="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5" name="Freeform 1383"/>
            <p:cNvSpPr>
              <a:spLocks noChangeArrowheads="1"/>
            </p:cNvSpPr>
            <p:nvPr/>
          </p:nvSpPr>
          <p:spPr bwMode="auto">
            <a:xfrm>
              <a:off x="4456113" y="2641600"/>
              <a:ext cx="3175" cy="4763"/>
            </a:xfrm>
            <a:custGeom>
              <a:avLst/>
              <a:gdLst>
                <a:gd name="T0" fmla="*/ 8 w 9"/>
                <a:gd name="T1" fmla="*/ 8 h 12"/>
                <a:gd name="T2" fmla="*/ 8 w 9"/>
                <a:gd name="T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8" y="8"/>
                  </a:moveTo>
                  <a:cubicBezTo>
                    <a:pt x="8" y="0"/>
                    <a:pt x="0" y="11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6" name="Freeform 1384"/>
            <p:cNvSpPr>
              <a:spLocks noChangeArrowheads="1"/>
            </p:cNvSpPr>
            <p:nvPr/>
          </p:nvSpPr>
          <p:spPr bwMode="auto">
            <a:xfrm>
              <a:off x="4457700" y="2641600"/>
              <a:ext cx="3175" cy="4763"/>
            </a:xfrm>
            <a:custGeom>
              <a:avLst/>
              <a:gdLst>
                <a:gd name="T0" fmla="*/ 9 w 10"/>
                <a:gd name="T1" fmla="*/ 11 h 12"/>
                <a:gd name="T2" fmla="*/ 9 w 10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2">
                  <a:moveTo>
                    <a:pt x="9" y="11"/>
                  </a:moveTo>
                  <a:cubicBezTo>
                    <a:pt x="6" y="0"/>
                    <a:pt x="0" y="11"/>
                    <a:pt x="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7" name="Freeform 1385"/>
            <p:cNvSpPr>
              <a:spLocks noChangeArrowheads="1"/>
            </p:cNvSpPr>
            <p:nvPr/>
          </p:nvSpPr>
          <p:spPr bwMode="auto">
            <a:xfrm>
              <a:off x="4478338" y="2641600"/>
              <a:ext cx="9525" cy="4763"/>
            </a:xfrm>
            <a:custGeom>
              <a:avLst/>
              <a:gdLst>
                <a:gd name="T0" fmla="*/ 5 w 26"/>
                <a:gd name="T1" fmla="*/ 11 h 15"/>
                <a:gd name="T2" fmla="*/ 19 w 26"/>
                <a:gd name="T3" fmla="*/ 5 h 15"/>
                <a:gd name="T4" fmla="*/ 5 w 26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15">
                  <a:moveTo>
                    <a:pt x="5" y="11"/>
                  </a:moveTo>
                  <a:cubicBezTo>
                    <a:pt x="8" y="14"/>
                    <a:pt x="25" y="14"/>
                    <a:pt x="19" y="5"/>
                  </a:cubicBezTo>
                  <a:cubicBezTo>
                    <a:pt x="17" y="0"/>
                    <a:pt x="0" y="5"/>
                    <a:pt x="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8" name="Freeform 1386"/>
            <p:cNvSpPr>
              <a:spLocks noChangeArrowheads="1"/>
            </p:cNvSpPr>
            <p:nvPr/>
          </p:nvSpPr>
          <p:spPr bwMode="auto">
            <a:xfrm>
              <a:off x="4473575" y="2630488"/>
              <a:ext cx="6350" cy="7937"/>
            </a:xfrm>
            <a:custGeom>
              <a:avLst/>
              <a:gdLst>
                <a:gd name="T0" fmla="*/ 3 w 16"/>
                <a:gd name="T1" fmla="*/ 20 h 21"/>
                <a:gd name="T2" fmla="*/ 3 w 16"/>
                <a:gd name="T3" fmla="*/ 0 h 21"/>
                <a:gd name="T4" fmla="*/ 3 w 16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21">
                  <a:moveTo>
                    <a:pt x="3" y="20"/>
                  </a:moveTo>
                  <a:cubicBezTo>
                    <a:pt x="12" y="17"/>
                    <a:pt x="15" y="6"/>
                    <a:pt x="3" y="0"/>
                  </a:cubicBezTo>
                  <a:cubicBezTo>
                    <a:pt x="0" y="6"/>
                    <a:pt x="0" y="15"/>
                    <a:pt x="3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29" name="Freeform 1387"/>
            <p:cNvSpPr>
              <a:spLocks noChangeArrowheads="1"/>
            </p:cNvSpPr>
            <p:nvPr/>
          </p:nvSpPr>
          <p:spPr bwMode="auto">
            <a:xfrm>
              <a:off x="4479925" y="2638425"/>
              <a:ext cx="4763" cy="7938"/>
            </a:xfrm>
            <a:custGeom>
              <a:avLst/>
              <a:gdLst>
                <a:gd name="T0" fmla="*/ 0 w 12"/>
                <a:gd name="T1" fmla="*/ 6 h 21"/>
                <a:gd name="T2" fmla="*/ 0 w 12"/>
                <a:gd name="T3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1">
                  <a:moveTo>
                    <a:pt x="0" y="6"/>
                  </a:moveTo>
                  <a:cubicBezTo>
                    <a:pt x="0" y="20"/>
                    <a:pt x="11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0" name="Freeform 1388"/>
            <p:cNvSpPr>
              <a:spLocks noChangeArrowheads="1"/>
            </p:cNvSpPr>
            <p:nvPr/>
          </p:nvSpPr>
          <p:spPr bwMode="auto">
            <a:xfrm>
              <a:off x="4465638" y="2632075"/>
              <a:ext cx="6350" cy="6350"/>
            </a:xfrm>
            <a:custGeom>
              <a:avLst/>
              <a:gdLst>
                <a:gd name="T0" fmla="*/ 5 w 18"/>
                <a:gd name="T1" fmla="*/ 0 h 18"/>
                <a:gd name="T2" fmla="*/ 0 w 18"/>
                <a:gd name="T3" fmla="*/ 9 h 18"/>
                <a:gd name="T4" fmla="*/ 5 w 18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8">
                  <a:moveTo>
                    <a:pt x="5" y="0"/>
                  </a:moveTo>
                  <a:lnTo>
                    <a:pt x="0" y="9"/>
                  </a:lnTo>
                  <a:cubicBezTo>
                    <a:pt x="5" y="17"/>
                    <a:pt x="17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1" name="Freeform 1389"/>
            <p:cNvSpPr>
              <a:spLocks noChangeArrowheads="1"/>
            </p:cNvSpPr>
            <p:nvPr/>
          </p:nvSpPr>
          <p:spPr bwMode="auto">
            <a:xfrm>
              <a:off x="4459288" y="2640013"/>
              <a:ext cx="9525" cy="6350"/>
            </a:xfrm>
            <a:custGeom>
              <a:avLst/>
              <a:gdLst>
                <a:gd name="T0" fmla="*/ 25 w 26"/>
                <a:gd name="T1" fmla="*/ 8 h 18"/>
                <a:gd name="T2" fmla="*/ 6 w 26"/>
                <a:gd name="T3" fmla="*/ 0 h 18"/>
                <a:gd name="T4" fmla="*/ 0 w 26"/>
                <a:gd name="T5" fmla="*/ 8 h 18"/>
                <a:gd name="T6" fmla="*/ 20 w 26"/>
                <a:gd name="T7" fmla="*/ 14 h 18"/>
                <a:gd name="T8" fmla="*/ 25 w 26"/>
                <a:gd name="T9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25" y="8"/>
                  </a:moveTo>
                  <a:cubicBezTo>
                    <a:pt x="20" y="3"/>
                    <a:pt x="11" y="0"/>
                    <a:pt x="6" y="0"/>
                  </a:cubicBezTo>
                  <a:lnTo>
                    <a:pt x="0" y="8"/>
                  </a:lnTo>
                  <a:cubicBezTo>
                    <a:pt x="3" y="14"/>
                    <a:pt x="11" y="17"/>
                    <a:pt x="20" y="14"/>
                  </a:cubicBezTo>
                  <a:cubicBezTo>
                    <a:pt x="22" y="14"/>
                    <a:pt x="22" y="11"/>
                    <a:pt x="25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2" name="Freeform 1390"/>
            <p:cNvSpPr>
              <a:spLocks noChangeArrowheads="1"/>
            </p:cNvSpPr>
            <p:nvPr/>
          </p:nvSpPr>
          <p:spPr bwMode="auto">
            <a:xfrm>
              <a:off x="4440238" y="2627313"/>
              <a:ext cx="3175" cy="7937"/>
            </a:xfrm>
            <a:custGeom>
              <a:avLst/>
              <a:gdLst>
                <a:gd name="T0" fmla="*/ 0 w 10"/>
                <a:gd name="T1" fmla="*/ 8 h 21"/>
                <a:gd name="T2" fmla="*/ 0 w 10"/>
                <a:gd name="T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1">
                  <a:moveTo>
                    <a:pt x="0" y="8"/>
                  </a:moveTo>
                  <a:cubicBezTo>
                    <a:pt x="9" y="20"/>
                    <a:pt x="6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3" name="Freeform 1391"/>
            <p:cNvSpPr>
              <a:spLocks noChangeArrowheads="1"/>
            </p:cNvSpPr>
            <p:nvPr/>
          </p:nvSpPr>
          <p:spPr bwMode="auto">
            <a:xfrm>
              <a:off x="4451350" y="2638425"/>
              <a:ext cx="3175" cy="4763"/>
            </a:xfrm>
            <a:custGeom>
              <a:avLst/>
              <a:gdLst>
                <a:gd name="T0" fmla="*/ 3 w 10"/>
                <a:gd name="T1" fmla="*/ 0 h 15"/>
                <a:gd name="T2" fmla="*/ 3 w 10"/>
                <a:gd name="T3" fmla="*/ 11 h 15"/>
                <a:gd name="T4" fmla="*/ 6 w 10"/>
                <a:gd name="T5" fmla="*/ 14 h 15"/>
                <a:gd name="T6" fmla="*/ 6 w 10"/>
                <a:gd name="T7" fmla="*/ 3 h 15"/>
                <a:gd name="T8" fmla="*/ 3 w 1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3" y="0"/>
                  </a:moveTo>
                  <a:cubicBezTo>
                    <a:pt x="0" y="3"/>
                    <a:pt x="0" y="8"/>
                    <a:pt x="3" y="11"/>
                  </a:cubicBezTo>
                  <a:lnTo>
                    <a:pt x="6" y="14"/>
                  </a:lnTo>
                  <a:cubicBezTo>
                    <a:pt x="9" y="11"/>
                    <a:pt x="9" y="6"/>
                    <a:pt x="6" y="3"/>
                  </a:cubicBezTo>
                  <a:cubicBezTo>
                    <a:pt x="6" y="0"/>
                    <a:pt x="6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4" name="Freeform 1392"/>
            <p:cNvSpPr>
              <a:spLocks noChangeArrowheads="1"/>
            </p:cNvSpPr>
            <p:nvPr/>
          </p:nvSpPr>
          <p:spPr bwMode="auto">
            <a:xfrm>
              <a:off x="4438650" y="2630488"/>
              <a:ext cx="3175" cy="6350"/>
            </a:xfrm>
            <a:custGeom>
              <a:avLst/>
              <a:gdLst>
                <a:gd name="T0" fmla="*/ 0 w 9"/>
                <a:gd name="T1" fmla="*/ 9 h 18"/>
                <a:gd name="T2" fmla="*/ 0 w 9"/>
                <a:gd name="T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8">
                  <a:moveTo>
                    <a:pt x="0" y="9"/>
                  </a:moveTo>
                  <a:cubicBezTo>
                    <a:pt x="8" y="17"/>
                    <a:pt x="5" y="0"/>
                    <a:pt x="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5" name="Freeform 1393"/>
            <p:cNvSpPr>
              <a:spLocks noChangeArrowheads="1"/>
            </p:cNvSpPr>
            <p:nvPr/>
          </p:nvSpPr>
          <p:spPr bwMode="auto">
            <a:xfrm>
              <a:off x="4424363" y="2625725"/>
              <a:ext cx="3175" cy="3175"/>
            </a:xfrm>
            <a:custGeom>
              <a:avLst/>
              <a:gdLst>
                <a:gd name="T0" fmla="*/ 6 w 9"/>
                <a:gd name="T1" fmla="*/ 9 h 10"/>
                <a:gd name="T2" fmla="*/ 8 w 9"/>
                <a:gd name="T3" fmla="*/ 3 h 10"/>
                <a:gd name="T4" fmla="*/ 3 w 9"/>
                <a:gd name="T5" fmla="*/ 0 h 10"/>
                <a:gd name="T6" fmla="*/ 0 w 9"/>
                <a:gd name="T7" fmla="*/ 6 h 10"/>
                <a:gd name="T8" fmla="*/ 6 w 9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6" y="9"/>
                  </a:moveTo>
                  <a:lnTo>
                    <a:pt x="8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6" y="9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6" name="Freeform 1394"/>
            <p:cNvSpPr>
              <a:spLocks noChangeArrowheads="1"/>
            </p:cNvSpPr>
            <p:nvPr/>
          </p:nvSpPr>
          <p:spPr bwMode="auto">
            <a:xfrm>
              <a:off x="4435475" y="2636838"/>
              <a:ext cx="3175" cy="3175"/>
            </a:xfrm>
            <a:custGeom>
              <a:avLst/>
              <a:gdLst>
                <a:gd name="T0" fmla="*/ 6 w 10"/>
                <a:gd name="T1" fmla="*/ 8 h 9"/>
                <a:gd name="T2" fmla="*/ 9 w 10"/>
                <a:gd name="T3" fmla="*/ 2 h 9"/>
                <a:gd name="T4" fmla="*/ 3 w 10"/>
                <a:gd name="T5" fmla="*/ 0 h 9"/>
                <a:gd name="T6" fmla="*/ 0 w 10"/>
                <a:gd name="T7" fmla="*/ 5 h 9"/>
                <a:gd name="T8" fmla="*/ 6 w 10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6" y="8"/>
                  </a:moveTo>
                  <a:lnTo>
                    <a:pt x="9" y="2"/>
                  </a:lnTo>
                  <a:lnTo>
                    <a:pt x="3" y="0"/>
                  </a:lnTo>
                  <a:lnTo>
                    <a:pt x="0" y="5"/>
                  </a:lnTo>
                  <a:lnTo>
                    <a:pt x="6" y="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7" name="Freeform 1395"/>
            <p:cNvSpPr>
              <a:spLocks noChangeArrowheads="1"/>
            </p:cNvSpPr>
            <p:nvPr/>
          </p:nvSpPr>
          <p:spPr bwMode="auto">
            <a:xfrm>
              <a:off x="4435475" y="2638425"/>
              <a:ext cx="6350" cy="4763"/>
            </a:xfrm>
            <a:custGeom>
              <a:avLst/>
              <a:gdLst>
                <a:gd name="T0" fmla="*/ 8 w 18"/>
                <a:gd name="T1" fmla="*/ 14 h 15"/>
                <a:gd name="T2" fmla="*/ 14 w 18"/>
                <a:gd name="T3" fmla="*/ 0 h 15"/>
                <a:gd name="T4" fmla="*/ 0 w 18"/>
                <a:gd name="T5" fmla="*/ 8 h 15"/>
                <a:gd name="T6" fmla="*/ 8 w 18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8" y="14"/>
                  </a:moveTo>
                  <a:cubicBezTo>
                    <a:pt x="11" y="8"/>
                    <a:pt x="17" y="6"/>
                    <a:pt x="14" y="0"/>
                  </a:cubicBezTo>
                  <a:cubicBezTo>
                    <a:pt x="11" y="11"/>
                    <a:pt x="6" y="3"/>
                    <a:pt x="0" y="8"/>
                  </a:cubicBezTo>
                  <a:lnTo>
                    <a:pt x="8" y="14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8" name="Freeform 1396"/>
            <p:cNvSpPr>
              <a:spLocks noChangeArrowheads="1"/>
            </p:cNvSpPr>
            <p:nvPr/>
          </p:nvSpPr>
          <p:spPr bwMode="auto">
            <a:xfrm>
              <a:off x="4440238" y="2644775"/>
              <a:ext cx="4762" cy="7938"/>
            </a:xfrm>
            <a:custGeom>
              <a:avLst/>
              <a:gdLst>
                <a:gd name="T0" fmla="*/ 0 w 12"/>
                <a:gd name="T1" fmla="*/ 6 h 24"/>
                <a:gd name="T2" fmla="*/ 0 w 12"/>
                <a:gd name="T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24">
                  <a:moveTo>
                    <a:pt x="0" y="6"/>
                  </a:moveTo>
                  <a:cubicBezTo>
                    <a:pt x="0" y="23"/>
                    <a:pt x="11" y="0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39" name="Freeform 1397"/>
            <p:cNvSpPr>
              <a:spLocks noChangeArrowheads="1"/>
            </p:cNvSpPr>
            <p:nvPr/>
          </p:nvSpPr>
          <p:spPr bwMode="auto">
            <a:xfrm>
              <a:off x="4424363" y="2636838"/>
              <a:ext cx="4762" cy="4762"/>
            </a:xfrm>
            <a:custGeom>
              <a:avLst/>
              <a:gdLst>
                <a:gd name="T0" fmla="*/ 14 w 15"/>
                <a:gd name="T1" fmla="*/ 6 h 13"/>
                <a:gd name="T2" fmla="*/ 6 w 15"/>
                <a:gd name="T3" fmla="*/ 0 h 13"/>
                <a:gd name="T4" fmla="*/ 0 w 15"/>
                <a:gd name="T5" fmla="*/ 9 h 13"/>
                <a:gd name="T6" fmla="*/ 11 w 15"/>
                <a:gd name="T7" fmla="*/ 9 h 13"/>
                <a:gd name="T8" fmla="*/ 14 w 15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3">
                  <a:moveTo>
                    <a:pt x="14" y="6"/>
                  </a:moveTo>
                  <a:lnTo>
                    <a:pt x="6" y="0"/>
                  </a:lnTo>
                  <a:lnTo>
                    <a:pt x="0" y="9"/>
                  </a:lnTo>
                  <a:cubicBezTo>
                    <a:pt x="3" y="12"/>
                    <a:pt x="8" y="12"/>
                    <a:pt x="11" y="9"/>
                  </a:cubicBezTo>
                  <a:cubicBezTo>
                    <a:pt x="11" y="6"/>
                    <a:pt x="14" y="6"/>
                    <a:pt x="14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0" name="Freeform 1398"/>
            <p:cNvSpPr>
              <a:spLocks noChangeArrowheads="1"/>
            </p:cNvSpPr>
            <p:nvPr/>
          </p:nvSpPr>
          <p:spPr bwMode="auto">
            <a:xfrm>
              <a:off x="4432300" y="2644775"/>
              <a:ext cx="4763" cy="6350"/>
            </a:xfrm>
            <a:custGeom>
              <a:avLst/>
              <a:gdLst>
                <a:gd name="T0" fmla="*/ 0 w 12"/>
                <a:gd name="T1" fmla="*/ 8 h 18"/>
                <a:gd name="T2" fmla="*/ 0 w 12"/>
                <a:gd name="T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8">
                  <a:moveTo>
                    <a:pt x="0" y="8"/>
                  </a:moveTo>
                  <a:cubicBezTo>
                    <a:pt x="11" y="17"/>
                    <a:pt x="5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1" name="Freeform 1399"/>
            <p:cNvSpPr>
              <a:spLocks noChangeArrowheads="1"/>
            </p:cNvSpPr>
            <p:nvPr/>
          </p:nvSpPr>
          <p:spPr bwMode="auto">
            <a:xfrm>
              <a:off x="4424363" y="2647950"/>
              <a:ext cx="6350" cy="4763"/>
            </a:xfrm>
            <a:custGeom>
              <a:avLst/>
              <a:gdLst>
                <a:gd name="T0" fmla="*/ 0 w 18"/>
                <a:gd name="T1" fmla="*/ 8 h 15"/>
                <a:gd name="T2" fmla="*/ 17 w 18"/>
                <a:gd name="T3" fmla="*/ 8 h 15"/>
                <a:gd name="T4" fmla="*/ 0 w 18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0" y="8"/>
                  </a:moveTo>
                  <a:cubicBezTo>
                    <a:pt x="6" y="14"/>
                    <a:pt x="11" y="11"/>
                    <a:pt x="17" y="8"/>
                  </a:cubicBezTo>
                  <a:cubicBezTo>
                    <a:pt x="11" y="5"/>
                    <a:pt x="3" y="0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2" name="Freeform 1400"/>
            <p:cNvSpPr>
              <a:spLocks noChangeArrowheads="1"/>
            </p:cNvSpPr>
            <p:nvPr/>
          </p:nvSpPr>
          <p:spPr bwMode="auto">
            <a:xfrm>
              <a:off x="4462463" y="2633663"/>
              <a:ext cx="1587" cy="3175"/>
            </a:xfrm>
            <a:custGeom>
              <a:avLst/>
              <a:gdLst>
                <a:gd name="T0" fmla="*/ 3 w 4"/>
                <a:gd name="T1" fmla="*/ 0 h 9"/>
                <a:gd name="T2" fmla="*/ 0 w 4"/>
                <a:gd name="T3" fmla="*/ 8 h 9"/>
                <a:gd name="T4" fmla="*/ 0 w 4"/>
                <a:gd name="T5" fmla="*/ 3 h 9"/>
                <a:gd name="T6" fmla="*/ 3 w 4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3" y="0"/>
                  </a:moveTo>
                  <a:cubicBezTo>
                    <a:pt x="3" y="0"/>
                    <a:pt x="3" y="8"/>
                    <a:pt x="0" y="8"/>
                  </a:cubicBezTo>
                  <a:cubicBezTo>
                    <a:pt x="0" y="8"/>
                    <a:pt x="0" y="6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3" name="Freeform 1401"/>
            <p:cNvSpPr>
              <a:spLocks noChangeArrowheads="1"/>
            </p:cNvSpPr>
            <p:nvPr/>
          </p:nvSpPr>
          <p:spPr bwMode="auto">
            <a:xfrm>
              <a:off x="4483100" y="2638425"/>
              <a:ext cx="4763" cy="7938"/>
            </a:xfrm>
            <a:custGeom>
              <a:avLst/>
              <a:gdLst>
                <a:gd name="T0" fmla="*/ 5 w 12"/>
                <a:gd name="T1" fmla="*/ 20 h 21"/>
                <a:gd name="T2" fmla="*/ 11 w 12"/>
                <a:gd name="T3" fmla="*/ 8 h 21"/>
                <a:gd name="T4" fmla="*/ 5 w 12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1">
                  <a:moveTo>
                    <a:pt x="5" y="20"/>
                  </a:moveTo>
                  <a:cubicBezTo>
                    <a:pt x="5" y="14"/>
                    <a:pt x="11" y="14"/>
                    <a:pt x="11" y="8"/>
                  </a:cubicBezTo>
                  <a:cubicBezTo>
                    <a:pt x="5" y="0"/>
                    <a:pt x="0" y="20"/>
                    <a:pt x="5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4" name="Freeform 1402"/>
            <p:cNvSpPr>
              <a:spLocks noChangeArrowheads="1"/>
            </p:cNvSpPr>
            <p:nvPr/>
          </p:nvSpPr>
          <p:spPr bwMode="auto">
            <a:xfrm>
              <a:off x="4464050" y="2644775"/>
              <a:ext cx="6350" cy="4763"/>
            </a:xfrm>
            <a:custGeom>
              <a:avLst/>
              <a:gdLst>
                <a:gd name="T0" fmla="*/ 9 w 18"/>
                <a:gd name="T1" fmla="*/ 0 h 15"/>
                <a:gd name="T2" fmla="*/ 9 w 18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5">
                  <a:moveTo>
                    <a:pt x="9" y="0"/>
                  </a:moveTo>
                  <a:cubicBezTo>
                    <a:pt x="0" y="14"/>
                    <a:pt x="17" y="6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5" name="Freeform 1403"/>
            <p:cNvSpPr>
              <a:spLocks noChangeArrowheads="1"/>
            </p:cNvSpPr>
            <p:nvPr/>
          </p:nvSpPr>
          <p:spPr bwMode="auto">
            <a:xfrm>
              <a:off x="4459288" y="2644775"/>
              <a:ext cx="6350" cy="4763"/>
            </a:xfrm>
            <a:custGeom>
              <a:avLst/>
              <a:gdLst>
                <a:gd name="T0" fmla="*/ 8 w 18"/>
                <a:gd name="T1" fmla="*/ 0 h 12"/>
                <a:gd name="T2" fmla="*/ 8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cubicBezTo>
                    <a:pt x="0" y="11"/>
                    <a:pt x="17" y="3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6" name="Freeform 1404"/>
            <p:cNvSpPr>
              <a:spLocks noChangeArrowheads="1"/>
            </p:cNvSpPr>
            <p:nvPr/>
          </p:nvSpPr>
          <p:spPr bwMode="auto">
            <a:xfrm>
              <a:off x="4443413" y="2633663"/>
              <a:ext cx="4762" cy="4762"/>
            </a:xfrm>
            <a:custGeom>
              <a:avLst/>
              <a:gdLst>
                <a:gd name="T0" fmla="*/ 5 w 15"/>
                <a:gd name="T1" fmla="*/ 0 h 12"/>
                <a:gd name="T2" fmla="*/ 5 w 15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12">
                  <a:moveTo>
                    <a:pt x="5" y="0"/>
                  </a:moveTo>
                  <a:cubicBezTo>
                    <a:pt x="0" y="11"/>
                    <a:pt x="14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7" name="Freeform 1405"/>
            <p:cNvSpPr>
              <a:spLocks noChangeArrowheads="1"/>
            </p:cNvSpPr>
            <p:nvPr/>
          </p:nvSpPr>
          <p:spPr bwMode="auto">
            <a:xfrm>
              <a:off x="4437063" y="2640013"/>
              <a:ext cx="6350" cy="4762"/>
            </a:xfrm>
            <a:custGeom>
              <a:avLst/>
              <a:gdLst>
                <a:gd name="T0" fmla="*/ 5 w 18"/>
                <a:gd name="T1" fmla="*/ 0 h 12"/>
                <a:gd name="T2" fmla="*/ 5 w 18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2">
                  <a:moveTo>
                    <a:pt x="5" y="0"/>
                  </a:moveTo>
                  <a:cubicBezTo>
                    <a:pt x="0" y="11"/>
                    <a:pt x="17" y="3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8" name="Freeform 1406"/>
            <p:cNvSpPr>
              <a:spLocks noChangeArrowheads="1"/>
            </p:cNvSpPr>
            <p:nvPr/>
          </p:nvSpPr>
          <p:spPr bwMode="auto">
            <a:xfrm>
              <a:off x="4422775" y="2644775"/>
              <a:ext cx="4763" cy="4763"/>
            </a:xfrm>
            <a:custGeom>
              <a:avLst/>
              <a:gdLst>
                <a:gd name="T0" fmla="*/ 12 w 15"/>
                <a:gd name="T1" fmla="*/ 11 h 12"/>
                <a:gd name="T2" fmla="*/ 3 w 15"/>
                <a:gd name="T3" fmla="*/ 0 h 12"/>
                <a:gd name="T4" fmla="*/ 12 w 15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12" y="11"/>
                  </a:moveTo>
                  <a:cubicBezTo>
                    <a:pt x="14" y="6"/>
                    <a:pt x="12" y="0"/>
                    <a:pt x="3" y="0"/>
                  </a:cubicBezTo>
                  <a:cubicBezTo>
                    <a:pt x="0" y="6"/>
                    <a:pt x="3" y="8"/>
                    <a:pt x="12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49" name="Freeform 1407"/>
            <p:cNvSpPr>
              <a:spLocks noChangeArrowheads="1"/>
            </p:cNvSpPr>
            <p:nvPr/>
          </p:nvSpPr>
          <p:spPr bwMode="auto">
            <a:xfrm>
              <a:off x="4273550" y="2689225"/>
              <a:ext cx="7938" cy="6350"/>
            </a:xfrm>
            <a:custGeom>
              <a:avLst/>
              <a:gdLst>
                <a:gd name="T0" fmla="*/ 20 w 21"/>
                <a:gd name="T1" fmla="*/ 9 h 18"/>
                <a:gd name="T2" fmla="*/ 0 w 21"/>
                <a:gd name="T3" fmla="*/ 12 h 18"/>
                <a:gd name="T4" fmla="*/ 20 w 21"/>
                <a:gd name="T5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20" y="9"/>
                  </a:moveTo>
                  <a:cubicBezTo>
                    <a:pt x="14" y="9"/>
                    <a:pt x="3" y="0"/>
                    <a:pt x="0" y="12"/>
                  </a:cubicBezTo>
                  <a:cubicBezTo>
                    <a:pt x="9" y="14"/>
                    <a:pt x="17" y="17"/>
                    <a:pt x="2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0" name="Freeform 1408"/>
            <p:cNvSpPr>
              <a:spLocks noChangeArrowheads="1"/>
            </p:cNvSpPr>
            <p:nvPr/>
          </p:nvSpPr>
          <p:spPr bwMode="auto">
            <a:xfrm>
              <a:off x="4284663" y="2676525"/>
              <a:ext cx="3175" cy="3175"/>
            </a:xfrm>
            <a:custGeom>
              <a:avLst/>
              <a:gdLst>
                <a:gd name="T0" fmla="*/ 0 w 9"/>
                <a:gd name="T1" fmla="*/ 5 h 9"/>
                <a:gd name="T2" fmla="*/ 5 w 9"/>
                <a:gd name="T3" fmla="*/ 8 h 9"/>
                <a:gd name="T4" fmla="*/ 8 w 9"/>
                <a:gd name="T5" fmla="*/ 2 h 9"/>
                <a:gd name="T6" fmla="*/ 2 w 9"/>
                <a:gd name="T7" fmla="*/ 0 h 9"/>
                <a:gd name="T8" fmla="*/ 0 w 9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0" y="5"/>
                  </a:moveTo>
                  <a:lnTo>
                    <a:pt x="5" y="8"/>
                  </a:lnTo>
                  <a:lnTo>
                    <a:pt x="8" y="2"/>
                  </a:lnTo>
                  <a:lnTo>
                    <a:pt x="2" y="0"/>
                  </a:lnTo>
                  <a:lnTo>
                    <a:pt x="0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1" name="Freeform 1409"/>
            <p:cNvSpPr>
              <a:spLocks noChangeArrowheads="1"/>
            </p:cNvSpPr>
            <p:nvPr/>
          </p:nvSpPr>
          <p:spPr bwMode="auto">
            <a:xfrm>
              <a:off x="4284663" y="2686050"/>
              <a:ext cx="7937" cy="9525"/>
            </a:xfrm>
            <a:custGeom>
              <a:avLst/>
              <a:gdLst>
                <a:gd name="T0" fmla="*/ 3 w 24"/>
                <a:gd name="T1" fmla="*/ 25 h 26"/>
                <a:gd name="T2" fmla="*/ 23 w 24"/>
                <a:gd name="T3" fmla="*/ 8 h 26"/>
                <a:gd name="T4" fmla="*/ 3 w 24"/>
                <a:gd name="T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26">
                  <a:moveTo>
                    <a:pt x="3" y="25"/>
                  </a:moveTo>
                  <a:cubicBezTo>
                    <a:pt x="9" y="20"/>
                    <a:pt x="17" y="17"/>
                    <a:pt x="23" y="8"/>
                  </a:cubicBezTo>
                  <a:cubicBezTo>
                    <a:pt x="12" y="0"/>
                    <a:pt x="0" y="20"/>
                    <a:pt x="3" y="2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2" name="Freeform 1410"/>
            <p:cNvSpPr>
              <a:spLocks noChangeArrowheads="1"/>
            </p:cNvSpPr>
            <p:nvPr/>
          </p:nvSpPr>
          <p:spPr bwMode="auto">
            <a:xfrm>
              <a:off x="4297363" y="2673350"/>
              <a:ext cx="7937" cy="4763"/>
            </a:xfrm>
            <a:custGeom>
              <a:avLst/>
              <a:gdLst>
                <a:gd name="T0" fmla="*/ 12 w 21"/>
                <a:gd name="T1" fmla="*/ 14 h 15"/>
                <a:gd name="T2" fmla="*/ 12 w 21"/>
                <a:gd name="T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5">
                  <a:moveTo>
                    <a:pt x="12" y="14"/>
                  </a:moveTo>
                  <a:cubicBezTo>
                    <a:pt x="20" y="0"/>
                    <a:pt x="0" y="8"/>
                    <a:pt x="1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3" name="Freeform 1411"/>
            <p:cNvSpPr>
              <a:spLocks noChangeArrowheads="1"/>
            </p:cNvSpPr>
            <p:nvPr/>
          </p:nvSpPr>
          <p:spPr bwMode="auto">
            <a:xfrm>
              <a:off x="4297363" y="2687638"/>
              <a:ext cx="6350" cy="9525"/>
            </a:xfrm>
            <a:custGeom>
              <a:avLst/>
              <a:gdLst>
                <a:gd name="T0" fmla="*/ 6 w 18"/>
                <a:gd name="T1" fmla="*/ 25 h 26"/>
                <a:gd name="T2" fmla="*/ 9 w 18"/>
                <a:gd name="T3" fmla="*/ 0 h 26"/>
                <a:gd name="T4" fmla="*/ 6 w 18"/>
                <a:gd name="T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6">
                  <a:moveTo>
                    <a:pt x="6" y="25"/>
                  </a:moveTo>
                  <a:cubicBezTo>
                    <a:pt x="12" y="22"/>
                    <a:pt x="17" y="5"/>
                    <a:pt x="9" y="0"/>
                  </a:cubicBezTo>
                  <a:cubicBezTo>
                    <a:pt x="3" y="8"/>
                    <a:pt x="0" y="19"/>
                    <a:pt x="6" y="2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4" name="Freeform 1412"/>
            <p:cNvSpPr>
              <a:spLocks noChangeArrowheads="1"/>
            </p:cNvSpPr>
            <p:nvPr/>
          </p:nvSpPr>
          <p:spPr bwMode="auto">
            <a:xfrm>
              <a:off x="4306888" y="2665413"/>
              <a:ext cx="7937" cy="3175"/>
            </a:xfrm>
            <a:custGeom>
              <a:avLst/>
              <a:gdLst>
                <a:gd name="T0" fmla="*/ 8 w 23"/>
                <a:gd name="T1" fmla="*/ 9 h 10"/>
                <a:gd name="T2" fmla="*/ 8 w 23"/>
                <a:gd name="T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0">
                  <a:moveTo>
                    <a:pt x="8" y="9"/>
                  </a:moveTo>
                  <a:cubicBezTo>
                    <a:pt x="22" y="6"/>
                    <a:pt x="0" y="0"/>
                    <a:pt x="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5" name="Freeform 1413"/>
            <p:cNvSpPr>
              <a:spLocks noChangeArrowheads="1"/>
            </p:cNvSpPr>
            <p:nvPr/>
          </p:nvSpPr>
          <p:spPr bwMode="auto">
            <a:xfrm>
              <a:off x="4300538" y="2697163"/>
              <a:ext cx="3175" cy="3175"/>
            </a:xfrm>
            <a:custGeom>
              <a:avLst/>
              <a:gdLst>
                <a:gd name="T0" fmla="*/ 0 w 9"/>
                <a:gd name="T1" fmla="*/ 5 h 9"/>
                <a:gd name="T2" fmla="*/ 5 w 9"/>
                <a:gd name="T3" fmla="*/ 8 h 9"/>
                <a:gd name="T4" fmla="*/ 8 w 9"/>
                <a:gd name="T5" fmla="*/ 3 h 9"/>
                <a:gd name="T6" fmla="*/ 3 w 9"/>
                <a:gd name="T7" fmla="*/ 0 h 9"/>
                <a:gd name="T8" fmla="*/ 0 w 9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0" y="5"/>
                  </a:moveTo>
                  <a:lnTo>
                    <a:pt x="5" y="8"/>
                  </a:lnTo>
                  <a:lnTo>
                    <a:pt x="8" y="3"/>
                  </a:lnTo>
                  <a:lnTo>
                    <a:pt x="3" y="0"/>
                  </a:lnTo>
                  <a:lnTo>
                    <a:pt x="0" y="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6" name="Freeform 1414"/>
            <p:cNvSpPr>
              <a:spLocks noChangeArrowheads="1"/>
            </p:cNvSpPr>
            <p:nvPr/>
          </p:nvSpPr>
          <p:spPr bwMode="auto">
            <a:xfrm>
              <a:off x="4329113" y="2649538"/>
              <a:ext cx="6350" cy="4762"/>
            </a:xfrm>
            <a:custGeom>
              <a:avLst/>
              <a:gdLst>
                <a:gd name="T0" fmla="*/ 5 w 18"/>
                <a:gd name="T1" fmla="*/ 12 h 13"/>
                <a:gd name="T2" fmla="*/ 17 w 18"/>
                <a:gd name="T3" fmla="*/ 6 h 13"/>
                <a:gd name="T4" fmla="*/ 5 w 18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5" y="12"/>
                  </a:moveTo>
                  <a:cubicBezTo>
                    <a:pt x="8" y="9"/>
                    <a:pt x="14" y="9"/>
                    <a:pt x="17" y="6"/>
                  </a:cubicBezTo>
                  <a:cubicBezTo>
                    <a:pt x="11" y="0"/>
                    <a:pt x="0" y="9"/>
                    <a:pt x="5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7" name="Freeform 1415"/>
            <p:cNvSpPr>
              <a:spLocks noChangeArrowheads="1"/>
            </p:cNvSpPr>
            <p:nvPr/>
          </p:nvSpPr>
          <p:spPr bwMode="auto">
            <a:xfrm>
              <a:off x="4311650" y="2693988"/>
              <a:ext cx="7938" cy="4762"/>
            </a:xfrm>
            <a:custGeom>
              <a:avLst/>
              <a:gdLst>
                <a:gd name="T0" fmla="*/ 11 w 21"/>
                <a:gd name="T1" fmla="*/ 12 h 13"/>
                <a:gd name="T2" fmla="*/ 11 w 21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3">
                  <a:moveTo>
                    <a:pt x="11" y="12"/>
                  </a:moveTo>
                  <a:cubicBezTo>
                    <a:pt x="20" y="0"/>
                    <a:pt x="0" y="9"/>
                    <a:pt x="11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8" name="Freeform 1416"/>
            <p:cNvSpPr>
              <a:spLocks noChangeArrowheads="1"/>
            </p:cNvSpPr>
            <p:nvPr/>
          </p:nvSpPr>
          <p:spPr bwMode="auto">
            <a:xfrm>
              <a:off x="4324350" y="2665413"/>
              <a:ext cx="9525" cy="3175"/>
            </a:xfrm>
            <a:custGeom>
              <a:avLst/>
              <a:gdLst>
                <a:gd name="T0" fmla="*/ 8 w 26"/>
                <a:gd name="T1" fmla="*/ 8 h 9"/>
                <a:gd name="T2" fmla="*/ 8 w 26"/>
                <a:gd name="T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9">
                  <a:moveTo>
                    <a:pt x="8" y="8"/>
                  </a:moveTo>
                  <a:cubicBezTo>
                    <a:pt x="25" y="5"/>
                    <a:pt x="0" y="0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59" name="Freeform 1417"/>
            <p:cNvSpPr>
              <a:spLocks noChangeArrowheads="1"/>
            </p:cNvSpPr>
            <p:nvPr/>
          </p:nvSpPr>
          <p:spPr bwMode="auto">
            <a:xfrm>
              <a:off x="4319588" y="2679700"/>
              <a:ext cx="4762" cy="4763"/>
            </a:xfrm>
            <a:custGeom>
              <a:avLst/>
              <a:gdLst>
                <a:gd name="T0" fmla="*/ 5 w 15"/>
                <a:gd name="T1" fmla="*/ 14 h 15"/>
                <a:gd name="T2" fmla="*/ 11 w 15"/>
                <a:gd name="T3" fmla="*/ 11 h 15"/>
                <a:gd name="T4" fmla="*/ 14 w 15"/>
                <a:gd name="T5" fmla="*/ 6 h 15"/>
                <a:gd name="T6" fmla="*/ 5 w 15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5" y="14"/>
                  </a:moveTo>
                  <a:cubicBezTo>
                    <a:pt x="5" y="11"/>
                    <a:pt x="8" y="11"/>
                    <a:pt x="11" y="11"/>
                  </a:cubicBezTo>
                  <a:lnTo>
                    <a:pt x="14" y="6"/>
                  </a:lnTo>
                  <a:cubicBezTo>
                    <a:pt x="8" y="0"/>
                    <a:pt x="0" y="14"/>
                    <a:pt x="5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0" name="Freeform 1418"/>
            <p:cNvSpPr>
              <a:spLocks noChangeArrowheads="1"/>
            </p:cNvSpPr>
            <p:nvPr/>
          </p:nvSpPr>
          <p:spPr bwMode="auto">
            <a:xfrm>
              <a:off x="4341813" y="2636838"/>
              <a:ext cx="7937" cy="6350"/>
            </a:xfrm>
            <a:custGeom>
              <a:avLst/>
              <a:gdLst>
                <a:gd name="T0" fmla="*/ 9 w 21"/>
                <a:gd name="T1" fmla="*/ 16 h 17"/>
                <a:gd name="T2" fmla="*/ 9 w 21"/>
                <a:gd name="T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7">
                  <a:moveTo>
                    <a:pt x="9" y="16"/>
                  </a:moveTo>
                  <a:cubicBezTo>
                    <a:pt x="20" y="0"/>
                    <a:pt x="0" y="8"/>
                    <a:pt x="9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1" name="Freeform 1419"/>
            <p:cNvSpPr>
              <a:spLocks noChangeArrowheads="1"/>
            </p:cNvSpPr>
            <p:nvPr/>
          </p:nvSpPr>
          <p:spPr bwMode="auto">
            <a:xfrm>
              <a:off x="4340225" y="2660650"/>
              <a:ext cx="4763" cy="6350"/>
            </a:xfrm>
            <a:custGeom>
              <a:avLst/>
              <a:gdLst>
                <a:gd name="T0" fmla="*/ 6 w 12"/>
                <a:gd name="T1" fmla="*/ 0 h 18"/>
                <a:gd name="T2" fmla="*/ 11 w 12"/>
                <a:gd name="T3" fmla="*/ 12 h 18"/>
                <a:gd name="T4" fmla="*/ 6 w 12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cubicBezTo>
                    <a:pt x="0" y="6"/>
                    <a:pt x="8" y="17"/>
                    <a:pt x="11" y="12"/>
                  </a:cubicBezTo>
                  <a:cubicBezTo>
                    <a:pt x="6" y="6"/>
                    <a:pt x="11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2" name="Freeform 1420"/>
            <p:cNvSpPr>
              <a:spLocks noChangeArrowheads="1"/>
            </p:cNvSpPr>
            <p:nvPr/>
          </p:nvSpPr>
          <p:spPr bwMode="auto">
            <a:xfrm>
              <a:off x="4348163" y="2670175"/>
              <a:ext cx="4762" cy="9525"/>
            </a:xfrm>
            <a:custGeom>
              <a:avLst/>
              <a:gdLst>
                <a:gd name="T0" fmla="*/ 3 w 13"/>
                <a:gd name="T1" fmla="*/ 14 h 26"/>
                <a:gd name="T2" fmla="*/ 3 w 13"/>
                <a:gd name="T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6">
                  <a:moveTo>
                    <a:pt x="3" y="14"/>
                  </a:moveTo>
                  <a:cubicBezTo>
                    <a:pt x="12" y="25"/>
                    <a:pt x="0" y="0"/>
                    <a:pt x="3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3" name="Freeform 1421"/>
            <p:cNvSpPr>
              <a:spLocks noChangeArrowheads="1"/>
            </p:cNvSpPr>
            <p:nvPr/>
          </p:nvSpPr>
          <p:spPr bwMode="auto">
            <a:xfrm>
              <a:off x="4351338" y="2659063"/>
              <a:ext cx="6350" cy="6350"/>
            </a:xfrm>
            <a:custGeom>
              <a:avLst/>
              <a:gdLst>
                <a:gd name="T0" fmla="*/ 8 w 18"/>
                <a:gd name="T1" fmla="*/ 15 h 16"/>
                <a:gd name="T2" fmla="*/ 8 w 18"/>
                <a:gd name="T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6">
                  <a:moveTo>
                    <a:pt x="8" y="15"/>
                  </a:moveTo>
                  <a:cubicBezTo>
                    <a:pt x="17" y="0"/>
                    <a:pt x="0" y="9"/>
                    <a:pt x="8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4" name="Freeform 1422"/>
            <p:cNvSpPr>
              <a:spLocks noChangeArrowheads="1"/>
            </p:cNvSpPr>
            <p:nvPr/>
          </p:nvSpPr>
          <p:spPr bwMode="auto">
            <a:xfrm>
              <a:off x="4365625" y="2630488"/>
              <a:ext cx="7938" cy="4762"/>
            </a:xfrm>
            <a:custGeom>
              <a:avLst/>
              <a:gdLst>
                <a:gd name="T0" fmla="*/ 11 w 23"/>
                <a:gd name="T1" fmla="*/ 12 h 13"/>
                <a:gd name="T2" fmla="*/ 11 w 23"/>
                <a:gd name="T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3">
                  <a:moveTo>
                    <a:pt x="11" y="12"/>
                  </a:moveTo>
                  <a:cubicBezTo>
                    <a:pt x="22" y="12"/>
                    <a:pt x="0" y="0"/>
                    <a:pt x="11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5" name="Freeform 1423"/>
            <p:cNvSpPr>
              <a:spLocks noChangeArrowheads="1"/>
            </p:cNvSpPr>
            <p:nvPr/>
          </p:nvSpPr>
          <p:spPr bwMode="auto">
            <a:xfrm>
              <a:off x="4359275" y="2665413"/>
              <a:ext cx="3175" cy="9525"/>
            </a:xfrm>
            <a:custGeom>
              <a:avLst/>
              <a:gdLst>
                <a:gd name="T0" fmla="*/ 2 w 9"/>
                <a:gd name="T1" fmla="*/ 14 h 27"/>
                <a:gd name="T2" fmla="*/ 2 w 9"/>
                <a:gd name="T3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7">
                  <a:moveTo>
                    <a:pt x="2" y="14"/>
                  </a:moveTo>
                  <a:cubicBezTo>
                    <a:pt x="8" y="26"/>
                    <a:pt x="0" y="0"/>
                    <a:pt x="2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6" name="Freeform 1424"/>
            <p:cNvSpPr>
              <a:spLocks noChangeArrowheads="1"/>
            </p:cNvSpPr>
            <p:nvPr/>
          </p:nvSpPr>
          <p:spPr bwMode="auto">
            <a:xfrm>
              <a:off x="4359275" y="2670175"/>
              <a:ext cx="7938" cy="4763"/>
            </a:xfrm>
            <a:custGeom>
              <a:avLst/>
              <a:gdLst>
                <a:gd name="T0" fmla="*/ 17 w 23"/>
                <a:gd name="T1" fmla="*/ 0 h 13"/>
                <a:gd name="T2" fmla="*/ 17 w 23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" h="13">
                  <a:moveTo>
                    <a:pt x="17" y="0"/>
                  </a:moveTo>
                  <a:cubicBezTo>
                    <a:pt x="0" y="9"/>
                    <a:pt x="22" y="12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7" name="Freeform 1425"/>
            <p:cNvSpPr>
              <a:spLocks noChangeArrowheads="1"/>
            </p:cNvSpPr>
            <p:nvPr/>
          </p:nvSpPr>
          <p:spPr bwMode="auto">
            <a:xfrm>
              <a:off x="4373563" y="2667000"/>
              <a:ext cx="7937" cy="4763"/>
            </a:xfrm>
            <a:custGeom>
              <a:avLst/>
              <a:gdLst>
                <a:gd name="T0" fmla="*/ 11 w 21"/>
                <a:gd name="T1" fmla="*/ 11 h 12"/>
                <a:gd name="T2" fmla="*/ 11 w 21"/>
                <a:gd name="T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2">
                  <a:moveTo>
                    <a:pt x="11" y="11"/>
                  </a:moveTo>
                  <a:cubicBezTo>
                    <a:pt x="20" y="0"/>
                    <a:pt x="0" y="6"/>
                    <a:pt x="1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8" name="Freeform 1426"/>
            <p:cNvSpPr>
              <a:spLocks noChangeArrowheads="1"/>
            </p:cNvSpPr>
            <p:nvPr/>
          </p:nvSpPr>
          <p:spPr bwMode="auto">
            <a:xfrm>
              <a:off x="4192588" y="2662238"/>
              <a:ext cx="6350" cy="7937"/>
            </a:xfrm>
            <a:custGeom>
              <a:avLst/>
              <a:gdLst>
                <a:gd name="T0" fmla="*/ 8 w 18"/>
                <a:gd name="T1" fmla="*/ 8 h 21"/>
                <a:gd name="T2" fmla="*/ 8 w 18"/>
                <a:gd name="T3" fmla="*/ 17 h 21"/>
                <a:gd name="T4" fmla="*/ 8 w 18"/>
                <a:gd name="T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8" y="8"/>
                  </a:moveTo>
                  <a:cubicBezTo>
                    <a:pt x="5" y="14"/>
                    <a:pt x="3" y="20"/>
                    <a:pt x="8" y="17"/>
                  </a:cubicBezTo>
                  <a:cubicBezTo>
                    <a:pt x="17" y="8"/>
                    <a:pt x="0" y="0"/>
                    <a:pt x="8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69" name="Freeform 1427"/>
            <p:cNvSpPr>
              <a:spLocks noChangeArrowheads="1"/>
            </p:cNvSpPr>
            <p:nvPr/>
          </p:nvSpPr>
          <p:spPr bwMode="auto">
            <a:xfrm>
              <a:off x="4284663" y="2682875"/>
              <a:ext cx="6350" cy="4763"/>
            </a:xfrm>
            <a:custGeom>
              <a:avLst/>
              <a:gdLst>
                <a:gd name="T0" fmla="*/ 0 w 18"/>
                <a:gd name="T1" fmla="*/ 6 h 13"/>
                <a:gd name="T2" fmla="*/ 12 w 18"/>
                <a:gd name="T3" fmla="*/ 0 h 13"/>
                <a:gd name="T4" fmla="*/ 0 w 18"/>
                <a:gd name="T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0" y="6"/>
                  </a:moveTo>
                  <a:cubicBezTo>
                    <a:pt x="6" y="12"/>
                    <a:pt x="17" y="3"/>
                    <a:pt x="12" y="0"/>
                  </a:cubicBezTo>
                  <a:cubicBezTo>
                    <a:pt x="9" y="6"/>
                    <a:pt x="3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0" name="Freeform 1428"/>
            <p:cNvSpPr>
              <a:spLocks noChangeArrowheads="1"/>
            </p:cNvSpPr>
            <p:nvPr/>
          </p:nvSpPr>
          <p:spPr bwMode="auto">
            <a:xfrm>
              <a:off x="4297363" y="2655888"/>
              <a:ext cx="3175" cy="9525"/>
            </a:xfrm>
            <a:custGeom>
              <a:avLst/>
              <a:gdLst>
                <a:gd name="T0" fmla="*/ 3 w 10"/>
                <a:gd name="T1" fmla="*/ 14 h 26"/>
                <a:gd name="T2" fmla="*/ 3 w 10"/>
                <a:gd name="T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6">
                  <a:moveTo>
                    <a:pt x="3" y="14"/>
                  </a:moveTo>
                  <a:cubicBezTo>
                    <a:pt x="9" y="25"/>
                    <a:pt x="0" y="0"/>
                    <a:pt x="3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1" name="Freeform 1429"/>
            <p:cNvSpPr>
              <a:spLocks noChangeArrowheads="1"/>
            </p:cNvSpPr>
            <p:nvPr/>
          </p:nvSpPr>
          <p:spPr bwMode="auto">
            <a:xfrm>
              <a:off x="4297363" y="2670175"/>
              <a:ext cx="6350" cy="4763"/>
            </a:xfrm>
            <a:custGeom>
              <a:avLst/>
              <a:gdLst>
                <a:gd name="T0" fmla="*/ 0 w 18"/>
                <a:gd name="T1" fmla="*/ 6 h 13"/>
                <a:gd name="T2" fmla="*/ 12 w 18"/>
                <a:gd name="T3" fmla="*/ 0 h 13"/>
                <a:gd name="T4" fmla="*/ 0 w 18"/>
                <a:gd name="T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0" y="6"/>
                  </a:moveTo>
                  <a:cubicBezTo>
                    <a:pt x="6" y="12"/>
                    <a:pt x="17" y="3"/>
                    <a:pt x="12" y="0"/>
                  </a:cubicBezTo>
                  <a:cubicBezTo>
                    <a:pt x="9" y="6"/>
                    <a:pt x="3" y="3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2" name="Freeform 1430"/>
            <p:cNvSpPr>
              <a:spLocks noChangeArrowheads="1"/>
            </p:cNvSpPr>
            <p:nvPr/>
          </p:nvSpPr>
          <p:spPr bwMode="auto">
            <a:xfrm>
              <a:off x="4302125" y="2681288"/>
              <a:ext cx="7938" cy="9525"/>
            </a:xfrm>
            <a:custGeom>
              <a:avLst/>
              <a:gdLst>
                <a:gd name="T0" fmla="*/ 20 w 21"/>
                <a:gd name="T1" fmla="*/ 8 h 26"/>
                <a:gd name="T2" fmla="*/ 9 w 21"/>
                <a:gd name="T3" fmla="*/ 19 h 26"/>
                <a:gd name="T4" fmla="*/ 17 w 21"/>
                <a:gd name="T5" fmla="*/ 19 h 26"/>
                <a:gd name="T6" fmla="*/ 20 w 21"/>
                <a:gd name="T7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6">
                  <a:moveTo>
                    <a:pt x="20" y="8"/>
                  </a:moveTo>
                  <a:cubicBezTo>
                    <a:pt x="12" y="0"/>
                    <a:pt x="0" y="25"/>
                    <a:pt x="9" y="19"/>
                  </a:cubicBezTo>
                  <a:cubicBezTo>
                    <a:pt x="12" y="16"/>
                    <a:pt x="12" y="16"/>
                    <a:pt x="17" y="19"/>
                  </a:cubicBezTo>
                  <a:lnTo>
                    <a:pt x="20" y="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3" name="Freeform 1431"/>
            <p:cNvSpPr>
              <a:spLocks noChangeArrowheads="1"/>
            </p:cNvSpPr>
            <p:nvPr/>
          </p:nvSpPr>
          <p:spPr bwMode="auto">
            <a:xfrm>
              <a:off x="4356100" y="2684463"/>
              <a:ext cx="7938" cy="6350"/>
            </a:xfrm>
            <a:custGeom>
              <a:avLst/>
              <a:gdLst>
                <a:gd name="T0" fmla="*/ 20 w 21"/>
                <a:gd name="T1" fmla="*/ 6 h 18"/>
                <a:gd name="T2" fmla="*/ 6 w 21"/>
                <a:gd name="T3" fmla="*/ 14 h 18"/>
                <a:gd name="T4" fmla="*/ 20 w 21"/>
                <a:gd name="T5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20" y="6"/>
                  </a:moveTo>
                  <a:cubicBezTo>
                    <a:pt x="14" y="0"/>
                    <a:pt x="0" y="11"/>
                    <a:pt x="6" y="14"/>
                  </a:cubicBezTo>
                  <a:cubicBezTo>
                    <a:pt x="9" y="9"/>
                    <a:pt x="17" y="17"/>
                    <a:pt x="2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4" name="Freeform 1432"/>
            <p:cNvSpPr>
              <a:spLocks noChangeArrowheads="1"/>
            </p:cNvSpPr>
            <p:nvPr/>
          </p:nvSpPr>
          <p:spPr bwMode="auto">
            <a:xfrm>
              <a:off x="4433888" y="2622550"/>
              <a:ext cx="3175" cy="4763"/>
            </a:xfrm>
            <a:custGeom>
              <a:avLst/>
              <a:gdLst>
                <a:gd name="T0" fmla="*/ 0 w 10"/>
                <a:gd name="T1" fmla="*/ 0 h 15"/>
                <a:gd name="T2" fmla="*/ 0 w 10"/>
                <a:gd name="T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5">
                  <a:moveTo>
                    <a:pt x="0" y="0"/>
                  </a:moveTo>
                  <a:cubicBezTo>
                    <a:pt x="3" y="14"/>
                    <a:pt x="9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5" name="Freeform 1433"/>
            <p:cNvSpPr>
              <a:spLocks noChangeArrowheads="1"/>
            </p:cNvSpPr>
            <p:nvPr/>
          </p:nvSpPr>
          <p:spPr bwMode="auto">
            <a:xfrm>
              <a:off x="4419600" y="2606675"/>
              <a:ext cx="3175" cy="4763"/>
            </a:xfrm>
            <a:custGeom>
              <a:avLst/>
              <a:gdLst>
                <a:gd name="T0" fmla="*/ 0 w 9"/>
                <a:gd name="T1" fmla="*/ 3 h 12"/>
                <a:gd name="T2" fmla="*/ 0 w 9"/>
                <a:gd name="T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2">
                  <a:moveTo>
                    <a:pt x="0" y="3"/>
                  </a:moveTo>
                  <a:cubicBezTo>
                    <a:pt x="3" y="11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6" name="Freeform 1434"/>
            <p:cNvSpPr>
              <a:spLocks noChangeArrowheads="1"/>
            </p:cNvSpPr>
            <p:nvPr/>
          </p:nvSpPr>
          <p:spPr bwMode="auto">
            <a:xfrm>
              <a:off x="4416425" y="2611438"/>
              <a:ext cx="6350" cy="3175"/>
            </a:xfrm>
            <a:custGeom>
              <a:avLst/>
              <a:gdLst>
                <a:gd name="T0" fmla="*/ 5 w 18"/>
                <a:gd name="T1" fmla="*/ 0 h 9"/>
                <a:gd name="T2" fmla="*/ 5 w 18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9">
                  <a:moveTo>
                    <a:pt x="5" y="0"/>
                  </a:moveTo>
                  <a:cubicBezTo>
                    <a:pt x="0" y="8"/>
                    <a:pt x="17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7" name="Freeform 1435"/>
            <p:cNvSpPr>
              <a:spLocks noChangeArrowheads="1"/>
            </p:cNvSpPr>
            <p:nvPr/>
          </p:nvSpPr>
          <p:spPr bwMode="auto">
            <a:xfrm>
              <a:off x="4416425" y="2628900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2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8" name="Freeform 1436"/>
            <p:cNvSpPr>
              <a:spLocks noChangeArrowheads="1"/>
            </p:cNvSpPr>
            <p:nvPr/>
          </p:nvSpPr>
          <p:spPr bwMode="auto">
            <a:xfrm>
              <a:off x="4406900" y="2628900"/>
              <a:ext cx="3175" cy="4763"/>
            </a:xfrm>
            <a:custGeom>
              <a:avLst/>
              <a:gdLst>
                <a:gd name="T0" fmla="*/ 0 w 9"/>
                <a:gd name="T1" fmla="*/ 3 h 15"/>
                <a:gd name="T2" fmla="*/ 0 w 9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3"/>
                  </a:moveTo>
                  <a:cubicBezTo>
                    <a:pt x="3" y="14"/>
                    <a:pt x="8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79" name="Freeform 1437"/>
            <p:cNvSpPr>
              <a:spLocks noChangeArrowheads="1"/>
            </p:cNvSpPr>
            <p:nvPr/>
          </p:nvSpPr>
          <p:spPr bwMode="auto">
            <a:xfrm>
              <a:off x="4410075" y="2640013"/>
              <a:ext cx="3175" cy="6350"/>
            </a:xfrm>
            <a:custGeom>
              <a:avLst/>
              <a:gdLst>
                <a:gd name="T0" fmla="*/ 0 w 10"/>
                <a:gd name="T1" fmla="*/ 3 h 18"/>
                <a:gd name="T2" fmla="*/ 0 w 10"/>
                <a:gd name="T3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8">
                  <a:moveTo>
                    <a:pt x="0" y="3"/>
                  </a:moveTo>
                  <a:cubicBezTo>
                    <a:pt x="6" y="17"/>
                    <a:pt x="9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0" name="Freeform 1438"/>
            <p:cNvSpPr>
              <a:spLocks noChangeArrowheads="1"/>
            </p:cNvSpPr>
            <p:nvPr/>
          </p:nvSpPr>
          <p:spPr bwMode="auto">
            <a:xfrm>
              <a:off x="4398963" y="2630488"/>
              <a:ext cx="7937" cy="6350"/>
            </a:xfrm>
            <a:custGeom>
              <a:avLst/>
              <a:gdLst>
                <a:gd name="T0" fmla="*/ 17 w 20"/>
                <a:gd name="T1" fmla="*/ 17 h 18"/>
                <a:gd name="T2" fmla="*/ 2 w 20"/>
                <a:gd name="T3" fmla="*/ 0 h 18"/>
                <a:gd name="T4" fmla="*/ 17 w 20"/>
                <a:gd name="T5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8">
                  <a:moveTo>
                    <a:pt x="17" y="17"/>
                  </a:moveTo>
                  <a:cubicBezTo>
                    <a:pt x="19" y="8"/>
                    <a:pt x="8" y="0"/>
                    <a:pt x="2" y="0"/>
                  </a:cubicBezTo>
                  <a:cubicBezTo>
                    <a:pt x="14" y="5"/>
                    <a:pt x="0" y="17"/>
                    <a:pt x="17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1" name="Freeform 1439"/>
            <p:cNvSpPr>
              <a:spLocks noChangeArrowheads="1"/>
            </p:cNvSpPr>
            <p:nvPr/>
          </p:nvSpPr>
          <p:spPr bwMode="auto">
            <a:xfrm>
              <a:off x="4402138" y="2638425"/>
              <a:ext cx="3175" cy="3175"/>
            </a:xfrm>
            <a:custGeom>
              <a:avLst/>
              <a:gdLst>
                <a:gd name="T0" fmla="*/ 6 w 10"/>
                <a:gd name="T1" fmla="*/ 0 h 10"/>
                <a:gd name="T2" fmla="*/ 0 w 10"/>
                <a:gd name="T3" fmla="*/ 3 h 10"/>
                <a:gd name="T4" fmla="*/ 3 w 10"/>
                <a:gd name="T5" fmla="*/ 9 h 10"/>
                <a:gd name="T6" fmla="*/ 9 w 10"/>
                <a:gd name="T7" fmla="*/ 6 h 10"/>
                <a:gd name="T8" fmla="*/ 6 w 1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6" y="0"/>
                  </a:moveTo>
                  <a:lnTo>
                    <a:pt x="0" y="3"/>
                  </a:lnTo>
                  <a:lnTo>
                    <a:pt x="3" y="9"/>
                  </a:lnTo>
                  <a:lnTo>
                    <a:pt x="9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2" name="Freeform 1440"/>
            <p:cNvSpPr>
              <a:spLocks noChangeArrowheads="1"/>
            </p:cNvSpPr>
            <p:nvPr/>
          </p:nvSpPr>
          <p:spPr bwMode="auto">
            <a:xfrm>
              <a:off x="4406900" y="2644775"/>
              <a:ext cx="3175" cy="4763"/>
            </a:xfrm>
            <a:custGeom>
              <a:avLst/>
              <a:gdLst>
                <a:gd name="T0" fmla="*/ 0 w 7"/>
                <a:gd name="T1" fmla="*/ 3 h 15"/>
                <a:gd name="T2" fmla="*/ 0 w 7"/>
                <a:gd name="T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5">
                  <a:moveTo>
                    <a:pt x="0" y="3"/>
                  </a:moveTo>
                  <a:cubicBezTo>
                    <a:pt x="3" y="14"/>
                    <a:pt x="6" y="0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3" name="Freeform 1441"/>
            <p:cNvSpPr>
              <a:spLocks noChangeArrowheads="1"/>
            </p:cNvSpPr>
            <p:nvPr/>
          </p:nvSpPr>
          <p:spPr bwMode="auto">
            <a:xfrm>
              <a:off x="4389438" y="2616200"/>
              <a:ext cx="3175" cy="4763"/>
            </a:xfrm>
            <a:custGeom>
              <a:avLst/>
              <a:gdLst>
                <a:gd name="T0" fmla="*/ 6 w 10"/>
                <a:gd name="T1" fmla="*/ 0 h 12"/>
                <a:gd name="T2" fmla="*/ 3 w 10"/>
                <a:gd name="T3" fmla="*/ 11 h 12"/>
                <a:gd name="T4" fmla="*/ 9 w 10"/>
                <a:gd name="T5" fmla="*/ 3 h 12"/>
                <a:gd name="T6" fmla="*/ 6 w 10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cubicBezTo>
                    <a:pt x="0" y="3"/>
                    <a:pt x="3" y="6"/>
                    <a:pt x="3" y="11"/>
                  </a:cubicBezTo>
                  <a:cubicBezTo>
                    <a:pt x="6" y="11"/>
                    <a:pt x="9" y="9"/>
                    <a:pt x="9" y="3"/>
                  </a:cubicBezTo>
                  <a:cubicBezTo>
                    <a:pt x="6" y="3"/>
                    <a:pt x="6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4" name="Freeform 1442"/>
            <p:cNvSpPr>
              <a:spLocks noChangeArrowheads="1"/>
            </p:cNvSpPr>
            <p:nvPr/>
          </p:nvSpPr>
          <p:spPr bwMode="auto">
            <a:xfrm>
              <a:off x="4392613" y="2630488"/>
              <a:ext cx="3175" cy="4762"/>
            </a:xfrm>
            <a:custGeom>
              <a:avLst/>
              <a:gdLst>
                <a:gd name="T0" fmla="*/ 0 w 9"/>
                <a:gd name="T1" fmla="*/ 5 h 15"/>
                <a:gd name="T2" fmla="*/ 0 w 9"/>
                <a:gd name="T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5">
                  <a:moveTo>
                    <a:pt x="0" y="5"/>
                  </a:moveTo>
                  <a:cubicBezTo>
                    <a:pt x="3" y="14"/>
                    <a:pt x="8" y="0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5" name="Freeform 1443"/>
            <p:cNvSpPr>
              <a:spLocks noChangeArrowheads="1"/>
            </p:cNvSpPr>
            <p:nvPr/>
          </p:nvSpPr>
          <p:spPr bwMode="auto">
            <a:xfrm>
              <a:off x="4389438" y="2630488"/>
              <a:ext cx="3175" cy="3175"/>
            </a:xfrm>
            <a:custGeom>
              <a:avLst/>
              <a:gdLst>
                <a:gd name="T0" fmla="*/ 6 w 10"/>
                <a:gd name="T1" fmla="*/ 0 h 10"/>
                <a:gd name="T2" fmla="*/ 0 w 10"/>
                <a:gd name="T3" fmla="*/ 3 h 10"/>
                <a:gd name="T4" fmla="*/ 3 w 10"/>
                <a:gd name="T5" fmla="*/ 9 h 10"/>
                <a:gd name="T6" fmla="*/ 9 w 10"/>
                <a:gd name="T7" fmla="*/ 6 h 10"/>
                <a:gd name="T8" fmla="*/ 6 w 1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6" y="0"/>
                  </a:moveTo>
                  <a:lnTo>
                    <a:pt x="0" y="3"/>
                  </a:lnTo>
                  <a:lnTo>
                    <a:pt x="3" y="9"/>
                  </a:lnTo>
                  <a:lnTo>
                    <a:pt x="9" y="6"/>
                  </a:lnTo>
                  <a:lnTo>
                    <a:pt x="6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6" name="Freeform 1444"/>
            <p:cNvSpPr>
              <a:spLocks noChangeArrowheads="1"/>
            </p:cNvSpPr>
            <p:nvPr/>
          </p:nvSpPr>
          <p:spPr bwMode="auto">
            <a:xfrm>
              <a:off x="4376738" y="2622550"/>
              <a:ext cx="3175" cy="3175"/>
            </a:xfrm>
            <a:custGeom>
              <a:avLst/>
              <a:gdLst>
                <a:gd name="T0" fmla="*/ 8 w 9"/>
                <a:gd name="T1" fmla="*/ 6 h 9"/>
                <a:gd name="T2" fmla="*/ 0 w 9"/>
                <a:gd name="T3" fmla="*/ 0 h 9"/>
                <a:gd name="T4" fmla="*/ 8 w 9"/>
                <a:gd name="T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8" y="6"/>
                  </a:moveTo>
                  <a:cubicBezTo>
                    <a:pt x="8" y="3"/>
                    <a:pt x="2" y="0"/>
                    <a:pt x="0" y="0"/>
                  </a:cubicBezTo>
                  <a:cubicBezTo>
                    <a:pt x="2" y="6"/>
                    <a:pt x="2" y="8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7" name="Freeform 1445"/>
            <p:cNvSpPr>
              <a:spLocks noChangeArrowheads="1"/>
            </p:cNvSpPr>
            <p:nvPr/>
          </p:nvSpPr>
          <p:spPr bwMode="auto">
            <a:xfrm>
              <a:off x="4375150" y="2644775"/>
              <a:ext cx="6350" cy="4763"/>
            </a:xfrm>
            <a:custGeom>
              <a:avLst/>
              <a:gdLst>
                <a:gd name="T0" fmla="*/ 14 w 18"/>
                <a:gd name="T1" fmla="*/ 11 h 12"/>
                <a:gd name="T2" fmla="*/ 11 w 18"/>
                <a:gd name="T3" fmla="*/ 6 h 12"/>
                <a:gd name="T4" fmla="*/ 17 w 18"/>
                <a:gd name="T5" fmla="*/ 0 h 12"/>
                <a:gd name="T6" fmla="*/ 0 w 18"/>
                <a:gd name="T7" fmla="*/ 9 h 12"/>
                <a:gd name="T8" fmla="*/ 14 w 18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14" y="11"/>
                  </a:moveTo>
                  <a:cubicBezTo>
                    <a:pt x="14" y="9"/>
                    <a:pt x="14" y="6"/>
                    <a:pt x="11" y="6"/>
                  </a:cubicBezTo>
                  <a:cubicBezTo>
                    <a:pt x="14" y="3"/>
                    <a:pt x="17" y="3"/>
                    <a:pt x="17" y="0"/>
                  </a:cubicBezTo>
                  <a:cubicBezTo>
                    <a:pt x="11" y="0"/>
                    <a:pt x="5" y="3"/>
                    <a:pt x="0" y="9"/>
                  </a:cubicBezTo>
                  <a:lnTo>
                    <a:pt x="14" y="11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8" name="Freeform 1446"/>
            <p:cNvSpPr>
              <a:spLocks noChangeArrowheads="1"/>
            </p:cNvSpPr>
            <p:nvPr/>
          </p:nvSpPr>
          <p:spPr bwMode="auto">
            <a:xfrm>
              <a:off x="4368800" y="2632075"/>
              <a:ext cx="6350" cy="4763"/>
            </a:xfrm>
            <a:custGeom>
              <a:avLst/>
              <a:gdLst>
                <a:gd name="T0" fmla="*/ 5 w 18"/>
                <a:gd name="T1" fmla="*/ 0 h 13"/>
                <a:gd name="T2" fmla="*/ 5 w 18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13">
                  <a:moveTo>
                    <a:pt x="5" y="0"/>
                  </a:moveTo>
                  <a:cubicBezTo>
                    <a:pt x="0" y="12"/>
                    <a:pt x="17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89" name="Freeform 1447"/>
            <p:cNvSpPr>
              <a:spLocks noChangeArrowheads="1"/>
            </p:cNvSpPr>
            <p:nvPr/>
          </p:nvSpPr>
          <p:spPr bwMode="auto">
            <a:xfrm>
              <a:off x="4370388" y="2641600"/>
              <a:ext cx="3175" cy="3175"/>
            </a:xfrm>
            <a:custGeom>
              <a:avLst/>
              <a:gdLst>
                <a:gd name="T0" fmla="*/ 0 w 10"/>
                <a:gd name="T1" fmla="*/ 2 h 9"/>
                <a:gd name="T2" fmla="*/ 3 w 10"/>
                <a:gd name="T3" fmla="*/ 8 h 9"/>
                <a:gd name="T4" fmla="*/ 9 w 10"/>
                <a:gd name="T5" fmla="*/ 5 h 9"/>
                <a:gd name="T6" fmla="*/ 0 w 10"/>
                <a:gd name="T7" fmla="*/ 0 h 9"/>
                <a:gd name="T8" fmla="*/ 0 w 10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0" y="2"/>
                  </a:moveTo>
                  <a:lnTo>
                    <a:pt x="3" y="8"/>
                  </a:lnTo>
                  <a:lnTo>
                    <a:pt x="9" y="5"/>
                  </a:lnTo>
                  <a:cubicBezTo>
                    <a:pt x="9" y="2"/>
                    <a:pt x="6" y="0"/>
                    <a:pt x="0" y="0"/>
                  </a:cubicBezTo>
                  <a:cubicBezTo>
                    <a:pt x="3" y="2"/>
                    <a:pt x="3" y="2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0" name="Freeform 1448"/>
            <p:cNvSpPr>
              <a:spLocks noChangeArrowheads="1"/>
            </p:cNvSpPr>
            <p:nvPr/>
          </p:nvSpPr>
          <p:spPr bwMode="auto">
            <a:xfrm>
              <a:off x="4352925" y="2635250"/>
              <a:ext cx="6350" cy="1588"/>
            </a:xfrm>
            <a:custGeom>
              <a:avLst/>
              <a:gdLst>
                <a:gd name="T0" fmla="*/ 6 w 18"/>
                <a:gd name="T1" fmla="*/ 0 h 6"/>
                <a:gd name="T2" fmla="*/ 6 w 18"/>
                <a:gd name="T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6">
                  <a:moveTo>
                    <a:pt x="6" y="0"/>
                  </a:moveTo>
                  <a:cubicBezTo>
                    <a:pt x="0" y="5"/>
                    <a:pt x="17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1" name="Freeform 1449"/>
            <p:cNvSpPr>
              <a:spLocks noChangeArrowheads="1"/>
            </p:cNvSpPr>
            <p:nvPr/>
          </p:nvSpPr>
          <p:spPr bwMode="auto">
            <a:xfrm>
              <a:off x="4435475" y="2609850"/>
              <a:ext cx="3175" cy="7938"/>
            </a:xfrm>
            <a:custGeom>
              <a:avLst/>
              <a:gdLst>
                <a:gd name="T0" fmla="*/ 3 w 9"/>
                <a:gd name="T1" fmla="*/ 9 h 21"/>
                <a:gd name="T2" fmla="*/ 3 w 9"/>
                <a:gd name="T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21">
                  <a:moveTo>
                    <a:pt x="3" y="9"/>
                  </a:moveTo>
                  <a:cubicBezTo>
                    <a:pt x="0" y="20"/>
                    <a:pt x="8" y="0"/>
                    <a:pt x="3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2" name="Freeform 1450"/>
            <p:cNvSpPr>
              <a:spLocks noChangeArrowheads="1"/>
            </p:cNvSpPr>
            <p:nvPr/>
          </p:nvSpPr>
          <p:spPr bwMode="auto">
            <a:xfrm>
              <a:off x="4400550" y="2616200"/>
              <a:ext cx="4763" cy="7938"/>
            </a:xfrm>
            <a:custGeom>
              <a:avLst/>
              <a:gdLst>
                <a:gd name="T0" fmla="*/ 6 w 13"/>
                <a:gd name="T1" fmla="*/ 0 h 21"/>
                <a:gd name="T2" fmla="*/ 6 w 13"/>
                <a:gd name="T3" fmla="*/ 20 h 21"/>
                <a:gd name="T4" fmla="*/ 6 w 13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1">
                  <a:moveTo>
                    <a:pt x="6" y="0"/>
                  </a:moveTo>
                  <a:cubicBezTo>
                    <a:pt x="0" y="3"/>
                    <a:pt x="3" y="20"/>
                    <a:pt x="6" y="20"/>
                  </a:cubicBezTo>
                  <a:cubicBezTo>
                    <a:pt x="3" y="14"/>
                    <a:pt x="12" y="9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3" name="Freeform 1451"/>
            <p:cNvSpPr>
              <a:spLocks noChangeArrowheads="1"/>
            </p:cNvSpPr>
            <p:nvPr/>
          </p:nvSpPr>
          <p:spPr bwMode="auto">
            <a:xfrm>
              <a:off x="4391025" y="2636838"/>
              <a:ext cx="3175" cy="7937"/>
            </a:xfrm>
            <a:custGeom>
              <a:avLst/>
              <a:gdLst>
                <a:gd name="T0" fmla="*/ 3 w 7"/>
                <a:gd name="T1" fmla="*/ 12 h 21"/>
                <a:gd name="T2" fmla="*/ 3 w 7"/>
                <a:gd name="T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1">
                  <a:moveTo>
                    <a:pt x="3" y="12"/>
                  </a:moveTo>
                  <a:cubicBezTo>
                    <a:pt x="0" y="20"/>
                    <a:pt x="6" y="0"/>
                    <a:pt x="3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4" name="Freeform 1452"/>
            <p:cNvSpPr>
              <a:spLocks noChangeArrowheads="1"/>
            </p:cNvSpPr>
            <p:nvPr/>
          </p:nvSpPr>
          <p:spPr bwMode="auto">
            <a:xfrm>
              <a:off x="4389438" y="2647950"/>
              <a:ext cx="11112" cy="4763"/>
            </a:xfrm>
            <a:custGeom>
              <a:avLst/>
              <a:gdLst>
                <a:gd name="T0" fmla="*/ 14 w 32"/>
                <a:gd name="T1" fmla="*/ 0 h 15"/>
                <a:gd name="T2" fmla="*/ 17 w 32"/>
                <a:gd name="T3" fmla="*/ 5 h 15"/>
                <a:gd name="T4" fmla="*/ 14 w 3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" h="15">
                  <a:moveTo>
                    <a:pt x="14" y="0"/>
                  </a:moveTo>
                  <a:cubicBezTo>
                    <a:pt x="0" y="11"/>
                    <a:pt x="31" y="14"/>
                    <a:pt x="17" y="5"/>
                  </a:cubicBezTo>
                  <a:cubicBezTo>
                    <a:pt x="17" y="14"/>
                    <a:pt x="11" y="2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5" name="Freeform 1453"/>
            <p:cNvSpPr>
              <a:spLocks noChangeArrowheads="1"/>
            </p:cNvSpPr>
            <p:nvPr/>
          </p:nvSpPr>
          <p:spPr bwMode="auto">
            <a:xfrm>
              <a:off x="4381500" y="2622550"/>
              <a:ext cx="4763" cy="6350"/>
            </a:xfrm>
            <a:custGeom>
              <a:avLst/>
              <a:gdLst>
                <a:gd name="T0" fmla="*/ 11 w 15"/>
                <a:gd name="T1" fmla="*/ 17 h 18"/>
                <a:gd name="T2" fmla="*/ 0 w 15"/>
                <a:gd name="T3" fmla="*/ 6 h 18"/>
                <a:gd name="T4" fmla="*/ 11 w 15"/>
                <a:gd name="T5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8">
                  <a:moveTo>
                    <a:pt x="11" y="17"/>
                  </a:moveTo>
                  <a:cubicBezTo>
                    <a:pt x="14" y="14"/>
                    <a:pt x="8" y="0"/>
                    <a:pt x="0" y="6"/>
                  </a:cubicBezTo>
                  <a:cubicBezTo>
                    <a:pt x="2" y="17"/>
                    <a:pt x="8" y="8"/>
                    <a:pt x="11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6" name="Freeform 1454"/>
            <p:cNvSpPr>
              <a:spLocks noChangeArrowheads="1"/>
            </p:cNvSpPr>
            <p:nvPr/>
          </p:nvSpPr>
          <p:spPr bwMode="auto">
            <a:xfrm>
              <a:off x="3824288" y="2508250"/>
              <a:ext cx="69850" cy="171450"/>
            </a:xfrm>
            <a:custGeom>
              <a:avLst/>
              <a:gdLst>
                <a:gd name="T0" fmla="*/ 186 w 192"/>
                <a:gd name="T1" fmla="*/ 436 h 477"/>
                <a:gd name="T2" fmla="*/ 127 w 192"/>
                <a:gd name="T3" fmla="*/ 473 h 477"/>
                <a:gd name="T4" fmla="*/ 48 w 192"/>
                <a:gd name="T5" fmla="*/ 371 h 477"/>
                <a:gd name="T6" fmla="*/ 25 w 192"/>
                <a:gd name="T7" fmla="*/ 236 h 477"/>
                <a:gd name="T8" fmla="*/ 14 w 192"/>
                <a:gd name="T9" fmla="*/ 178 h 477"/>
                <a:gd name="T10" fmla="*/ 2 w 192"/>
                <a:gd name="T11" fmla="*/ 116 h 477"/>
                <a:gd name="T12" fmla="*/ 81 w 192"/>
                <a:gd name="T13" fmla="*/ 0 h 477"/>
                <a:gd name="T14" fmla="*/ 141 w 192"/>
                <a:gd name="T15" fmla="*/ 93 h 477"/>
                <a:gd name="T16" fmla="*/ 141 w 192"/>
                <a:gd name="T17" fmla="*/ 167 h 477"/>
                <a:gd name="T18" fmla="*/ 98 w 192"/>
                <a:gd name="T19" fmla="*/ 133 h 477"/>
                <a:gd name="T20" fmla="*/ 53 w 192"/>
                <a:gd name="T21" fmla="*/ 68 h 477"/>
                <a:gd name="T22" fmla="*/ 59 w 192"/>
                <a:gd name="T23" fmla="*/ 136 h 477"/>
                <a:gd name="T24" fmla="*/ 79 w 192"/>
                <a:gd name="T25" fmla="*/ 228 h 477"/>
                <a:gd name="T26" fmla="*/ 90 w 192"/>
                <a:gd name="T27" fmla="*/ 290 h 477"/>
                <a:gd name="T28" fmla="*/ 118 w 192"/>
                <a:gd name="T29" fmla="*/ 408 h 477"/>
                <a:gd name="T30" fmla="*/ 132 w 192"/>
                <a:gd name="T31" fmla="*/ 318 h 477"/>
                <a:gd name="T32" fmla="*/ 166 w 192"/>
                <a:gd name="T33" fmla="*/ 287 h 477"/>
                <a:gd name="T34" fmla="*/ 25 w 192"/>
                <a:gd name="T35" fmla="*/ 71 h 477"/>
                <a:gd name="T36" fmla="*/ 25 w 192"/>
                <a:gd name="T37" fmla="*/ 57 h 477"/>
                <a:gd name="T38" fmla="*/ 28 w 192"/>
                <a:gd name="T39" fmla="*/ 62 h 477"/>
                <a:gd name="T40" fmla="*/ 31 w 192"/>
                <a:gd name="T41" fmla="*/ 124 h 477"/>
                <a:gd name="T42" fmla="*/ 36 w 192"/>
                <a:gd name="T43" fmla="*/ 169 h 477"/>
                <a:gd name="T44" fmla="*/ 39 w 192"/>
                <a:gd name="T45" fmla="*/ 161 h 477"/>
                <a:gd name="T46" fmla="*/ 31 w 192"/>
                <a:gd name="T47" fmla="*/ 144 h 477"/>
                <a:gd name="T48" fmla="*/ 42 w 192"/>
                <a:gd name="T49" fmla="*/ 34 h 477"/>
                <a:gd name="T50" fmla="*/ 67 w 192"/>
                <a:gd name="T51" fmla="*/ 28 h 477"/>
                <a:gd name="T52" fmla="*/ 56 w 192"/>
                <a:gd name="T53" fmla="*/ 23 h 477"/>
                <a:gd name="T54" fmla="*/ 39 w 192"/>
                <a:gd name="T55" fmla="*/ 28 h 477"/>
                <a:gd name="T56" fmla="*/ 36 w 192"/>
                <a:gd name="T57" fmla="*/ 197 h 477"/>
                <a:gd name="T58" fmla="*/ 50 w 192"/>
                <a:gd name="T59" fmla="*/ 197 h 477"/>
                <a:gd name="T60" fmla="*/ 48 w 192"/>
                <a:gd name="T61" fmla="*/ 194 h 477"/>
                <a:gd name="T62" fmla="*/ 42 w 192"/>
                <a:gd name="T63" fmla="*/ 239 h 477"/>
                <a:gd name="T64" fmla="*/ 53 w 192"/>
                <a:gd name="T65" fmla="*/ 301 h 477"/>
                <a:gd name="T66" fmla="*/ 53 w 192"/>
                <a:gd name="T67" fmla="*/ 281 h 477"/>
                <a:gd name="T68" fmla="*/ 56 w 192"/>
                <a:gd name="T69" fmla="*/ 290 h 477"/>
                <a:gd name="T70" fmla="*/ 56 w 192"/>
                <a:gd name="T71" fmla="*/ 312 h 477"/>
                <a:gd name="T72" fmla="*/ 64 w 192"/>
                <a:gd name="T73" fmla="*/ 273 h 477"/>
                <a:gd name="T74" fmla="*/ 64 w 192"/>
                <a:gd name="T75" fmla="*/ 326 h 477"/>
                <a:gd name="T76" fmla="*/ 67 w 192"/>
                <a:gd name="T77" fmla="*/ 357 h 477"/>
                <a:gd name="T78" fmla="*/ 73 w 192"/>
                <a:gd name="T79" fmla="*/ 338 h 477"/>
                <a:gd name="T80" fmla="*/ 70 w 192"/>
                <a:gd name="T81" fmla="*/ 307 h 477"/>
                <a:gd name="T82" fmla="*/ 76 w 192"/>
                <a:gd name="T83" fmla="*/ 388 h 477"/>
                <a:gd name="T84" fmla="*/ 81 w 192"/>
                <a:gd name="T85" fmla="*/ 383 h 477"/>
                <a:gd name="T86" fmla="*/ 87 w 192"/>
                <a:gd name="T87" fmla="*/ 400 h 477"/>
                <a:gd name="T88" fmla="*/ 87 w 192"/>
                <a:gd name="T89" fmla="*/ 439 h 477"/>
                <a:gd name="T90" fmla="*/ 90 w 192"/>
                <a:gd name="T91" fmla="*/ 40 h 477"/>
                <a:gd name="T92" fmla="*/ 104 w 192"/>
                <a:gd name="T93" fmla="*/ 434 h 477"/>
                <a:gd name="T94" fmla="*/ 101 w 192"/>
                <a:gd name="T95" fmla="*/ 445 h 477"/>
                <a:gd name="T96" fmla="*/ 107 w 192"/>
                <a:gd name="T97" fmla="*/ 51 h 477"/>
                <a:gd name="T98" fmla="*/ 107 w 192"/>
                <a:gd name="T99" fmla="*/ 450 h 477"/>
                <a:gd name="T100" fmla="*/ 115 w 192"/>
                <a:gd name="T101" fmla="*/ 439 h 477"/>
                <a:gd name="T102" fmla="*/ 115 w 192"/>
                <a:gd name="T103" fmla="*/ 450 h 477"/>
                <a:gd name="T104" fmla="*/ 132 w 192"/>
                <a:gd name="T105" fmla="*/ 450 h 477"/>
                <a:gd name="T106" fmla="*/ 149 w 192"/>
                <a:gd name="T107" fmla="*/ 428 h 477"/>
                <a:gd name="T108" fmla="*/ 155 w 192"/>
                <a:gd name="T109" fmla="*/ 355 h 477"/>
                <a:gd name="T110" fmla="*/ 160 w 192"/>
                <a:gd name="T111" fmla="*/ 391 h 477"/>
                <a:gd name="T112" fmla="*/ 160 w 192"/>
                <a:gd name="T113" fmla="*/ 434 h 477"/>
                <a:gd name="T114" fmla="*/ 158 w 192"/>
                <a:gd name="T115" fmla="*/ 366 h 477"/>
                <a:gd name="T116" fmla="*/ 172 w 192"/>
                <a:gd name="T117" fmla="*/ 411 h 477"/>
                <a:gd name="T118" fmla="*/ 163 w 192"/>
                <a:gd name="T119" fmla="*/ 394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2" h="477">
                  <a:moveTo>
                    <a:pt x="177" y="321"/>
                  </a:moveTo>
                  <a:cubicBezTo>
                    <a:pt x="180" y="321"/>
                    <a:pt x="180" y="324"/>
                    <a:pt x="180" y="326"/>
                  </a:cubicBezTo>
                  <a:cubicBezTo>
                    <a:pt x="177" y="329"/>
                    <a:pt x="177" y="332"/>
                    <a:pt x="180" y="338"/>
                  </a:cubicBezTo>
                  <a:cubicBezTo>
                    <a:pt x="180" y="340"/>
                    <a:pt x="183" y="343"/>
                    <a:pt x="183" y="349"/>
                  </a:cubicBezTo>
                  <a:cubicBezTo>
                    <a:pt x="183" y="355"/>
                    <a:pt x="183" y="357"/>
                    <a:pt x="186" y="363"/>
                  </a:cubicBezTo>
                  <a:lnTo>
                    <a:pt x="186" y="377"/>
                  </a:lnTo>
                  <a:cubicBezTo>
                    <a:pt x="186" y="383"/>
                    <a:pt x="186" y="386"/>
                    <a:pt x="189" y="391"/>
                  </a:cubicBezTo>
                  <a:cubicBezTo>
                    <a:pt x="191" y="400"/>
                    <a:pt x="191" y="411"/>
                    <a:pt x="191" y="422"/>
                  </a:cubicBezTo>
                  <a:cubicBezTo>
                    <a:pt x="191" y="428"/>
                    <a:pt x="189" y="434"/>
                    <a:pt x="186" y="436"/>
                  </a:cubicBezTo>
                  <a:cubicBezTo>
                    <a:pt x="186" y="439"/>
                    <a:pt x="183" y="439"/>
                    <a:pt x="183" y="442"/>
                  </a:cubicBezTo>
                  <a:cubicBezTo>
                    <a:pt x="183" y="445"/>
                    <a:pt x="180" y="448"/>
                    <a:pt x="180" y="448"/>
                  </a:cubicBezTo>
                  <a:cubicBezTo>
                    <a:pt x="177" y="453"/>
                    <a:pt x="174" y="456"/>
                    <a:pt x="169" y="462"/>
                  </a:cubicBezTo>
                  <a:cubicBezTo>
                    <a:pt x="163" y="465"/>
                    <a:pt x="160" y="467"/>
                    <a:pt x="155" y="473"/>
                  </a:cubicBezTo>
                  <a:lnTo>
                    <a:pt x="149" y="470"/>
                  </a:lnTo>
                  <a:cubicBezTo>
                    <a:pt x="146" y="470"/>
                    <a:pt x="146" y="473"/>
                    <a:pt x="143" y="473"/>
                  </a:cubicBezTo>
                  <a:lnTo>
                    <a:pt x="141" y="473"/>
                  </a:lnTo>
                  <a:lnTo>
                    <a:pt x="138" y="473"/>
                  </a:lnTo>
                  <a:cubicBezTo>
                    <a:pt x="135" y="476"/>
                    <a:pt x="129" y="476"/>
                    <a:pt x="127" y="473"/>
                  </a:cubicBezTo>
                  <a:lnTo>
                    <a:pt x="115" y="473"/>
                  </a:lnTo>
                  <a:cubicBezTo>
                    <a:pt x="107" y="473"/>
                    <a:pt x="98" y="473"/>
                    <a:pt x="90" y="470"/>
                  </a:cubicBezTo>
                  <a:cubicBezTo>
                    <a:pt x="81" y="467"/>
                    <a:pt x="76" y="462"/>
                    <a:pt x="70" y="456"/>
                  </a:cubicBezTo>
                  <a:cubicBezTo>
                    <a:pt x="62" y="448"/>
                    <a:pt x="56" y="436"/>
                    <a:pt x="56" y="422"/>
                  </a:cubicBezTo>
                  <a:cubicBezTo>
                    <a:pt x="56" y="417"/>
                    <a:pt x="56" y="411"/>
                    <a:pt x="53" y="405"/>
                  </a:cubicBezTo>
                  <a:cubicBezTo>
                    <a:pt x="50" y="403"/>
                    <a:pt x="50" y="400"/>
                    <a:pt x="50" y="397"/>
                  </a:cubicBezTo>
                  <a:cubicBezTo>
                    <a:pt x="50" y="394"/>
                    <a:pt x="48" y="391"/>
                    <a:pt x="48" y="388"/>
                  </a:cubicBezTo>
                  <a:lnTo>
                    <a:pt x="48" y="380"/>
                  </a:lnTo>
                  <a:lnTo>
                    <a:pt x="48" y="371"/>
                  </a:lnTo>
                  <a:lnTo>
                    <a:pt x="48" y="360"/>
                  </a:lnTo>
                  <a:cubicBezTo>
                    <a:pt x="45" y="355"/>
                    <a:pt x="42" y="349"/>
                    <a:pt x="42" y="343"/>
                  </a:cubicBezTo>
                  <a:cubicBezTo>
                    <a:pt x="42" y="338"/>
                    <a:pt x="42" y="332"/>
                    <a:pt x="39" y="326"/>
                  </a:cubicBezTo>
                  <a:cubicBezTo>
                    <a:pt x="39" y="324"/>
                    <a:pt x="42" y="318"/>
                    <a:pt x="39" y="315"/>
                  </a:cubicBezTo>
                  <a:cubicBezTo>
                    <a:pt x="36" y="307"/>
                    <a:pt x="33" y="298"/>
                    <a:pt x="31" y="287"/>
                  </a:cubicBezTo>
                  <a:cubicBezTo>
                    <a:pt x="28" y="281"/>
                    <a:pt x="28" y="276"/>
                    <a:pt x="31" y="270"/>
                  </a:cubicBezTo>
                  <a:cubicBezTo>
                    <a:pt x="31" y="264"/>
                    <a:pt x="31" y="259"/>
                    <a:pt x="28" y="253"/>
                  </a:cubicBezTo>
                  <a:lnTo>
                    <a:pt x="28" y="245"/>
                  </a:lnTo>
                  <a:cubicBezTo>
                    <a:pt x="28" y="242"/>
                    <a:pt x="25" y="239"/>
                    <a:pt x="25" y="236"/>
                  </a:cubicBezTo>
                  <a:cubicBezTo>
                    <a:pt x="25" y="236"/>
                    <a:pt x="22" y="233"/>
                    <a:pt x="25" y="233"/>
                  </a:cubicBezTo>
                  <a:lnTo>
                    <a:pt x="25" y="230"/>
                  </a:lnTo>
                  <a:cubicBezTo>
                    <a:pt x="25" y="228"/>
                    <a:pt x="22" y="222"/>
                    <a:pt x="22" y="219"/>
                  </a:cubicBezTo>
                  <a:cubicBezTo>
                    <a:pt x="22" y="216"/>
                    <a:pt x="22" y="211"/>
                    <a:pt x="19" y="208"/>
                  </a:cubicBezTo>
                  <a:lnTo>
                    <a:pt x="16" y="205"/>
                  </a:lnTo>
                  <a:lnTo>
                    <a:pt x="16" y="202"/>
                  </a:lnTo>
                  <a:cubicBezTo>
                    <a:pt x="19" y="199"/>
                    <a:pt x="19" y="197"/>
                    <a:pt x="16" y="191"/>
                  </a:cubicBezTo>
                  <a:lnTo>
                    <a:pt x="16" y="184"/>
                  </a:lnTo>
                  <a:cubicBezTo>
                    <a:pt x="16" y="181"/>
                    <a:pt x="16" y="181"/>
                    <a:pt x="14" y="178"/>
                  </a:cubicBezTo>
                  <a:cubicBezTo>
                    <a:pt x="11" y="174"/>
                    <a:pt x="8" y="169"/>
                    <a:pt x="11" y="164"/>
                  </a:cubicBezTo>
                  <a:lnTo>
                    <a:pt x="11" y="155"/>
                  </a:lnTo>
                  <a:lnTo>
                    <a:pt x="11" y="150"/>
                  </a:lnTo>
                  <a:cubicBezTo>
                    <a:pt x="11" y="147"/>
                    <a:pt x="11" y="147"/>
                    <a:pt x="8" y="144"/>
                  </a:cubicBezTo>
                  <a:cubicBezTo>
                    <a:pt x="8" y="141"/>
                    <a:pt x="5" y="138"/>
                    <a:pt x="5" y="136"/>
                  </a:cubicBezTo>
                  <a:lnTo>
                    <a:pt x="5" y="130"/>
                  </a:lnTo>
                  <a:lnTo>
                    <a:pt x="5" y="127"/>
                  </a:lnTo>
                  <a:lnTo>
                    <a:pt x="5" y="121"/>
                  </a:lnTo>
                  <a:cubicBezTo>
                    <a:pt x="5" y="119"/>
                    <a:pt x="5" y="119"/>
                    <a:pt x="2" y="116"/>
                  </a:cubicBezTo>
                  <a:cubicBezTo>
                    <a:pt x="2" y="116"/>
                    <a:pt x="0" y="113"/>
                    <a:pt x="2" y="113"/>
                  </a:cubicBezTo>
                  <a:lnTo>
                    <a:pt x="2" y="99"/>
                  </a:lnTo>
                  <a:cubicBezTo>
                    <a:pt x="0" y="88"/>
                    <a:pt x="0" y="76"/>
                    <a:pt x="0" y="65"/>
                  </a:cubicBezTo>
                  <a:cubicBezTo>
                    <a:pt x="0" y="59"/>
                    <a:pt x="0" y="54"/>
                    <a:pt x="2" y="48"/>
                  </a:cubicBezTo>
                  <a:cubicBezTo>
                    <a:pt x="5" y="31"/>
                    <a:pt x="16" y="17"/>
                    <a:pt x="33" y="9"/>
                  </a:cubicBezTo>
                  <a:cubicBezTo>
                    <a:pt x="36" y="6"/>
                    <a:pt x="42" y="6"/>
                    <a:pt x="45" y="3"/>
                  </a:cubicBezTo>
                  <a:cubicBezTo>
                    <a:pt x="48" y="0"/>
                    <a:pt x="50" y="0"/>
                    <a:pt x="56" y="0"/>
                  </a:cubicBezTo>
                  <a:lnTo>
                    <a:pt x="70" y="0"/>
                  </a:lnTo>
                  <a:lnTo>
                    <a:pt x="81" y="0"/>
                  </a:lnTo>
                  <a:cubicBezTo>
                    <a:pt x="90" y="3"/>
                    <a:pt x="98" y="6"/>
                    <a:pt x="104" y="11"/>
                  </a:cubicBezTo>
                  <a:cubicBezTo>
                    <a:pt x="104" y="11"/>
                    <a:pt x="107" y="11"/>
                    <a:pt x="107" y="14"/>
                  </a:cubicBezTo>
                  <a:lnTo>
                    <a:pt x="110" y="17"/>
                  </a:lnTo>
                  <a:cubicBezTo>
                    <a:pt x="112" y="23"/>
                    <a:pt x="115" y="25"/>
                    <a:pt x="118" y="28"/>
                  </a:cubicBezTo>
                  <a:cubicBezTo>
                    <a:pt x="121" y="30"/>
                    <a:pt x="127" y="37"/>
                    <a:pt x="127" y="40"/>
                  </a:cubicBezTo>
                  <a:cubicBezTo>
                    <a:pt x="129" y="45"/>
                    <a:pt x="129" y="51"/>
                    <a:pt x="129" y="57"/>
                  </a:cubicBezTo>
                  <a:cubicBezTo>
                    <a:pt x="129" y="59"/>
                    <a:pt x="132" y="62"/>
                    <a:pt x="135" y="65"/>
                  </a:cubicBezTo>
                  <a:cubicBezTo>
                    <a:pt x="135" y="71"/>
                    <a:pt x="135" y="73"/>
                    <a:pt x="138" y="79"/>
                  </a:cubicBezTo>
                  <a:cubicBezTo>
                    <a:pt x="141" y="82"/>
                    <a:pt x="141" y="88"/>
                    <a:pt x="141" y="93"/>
                  </a:cubicBezTo>
                  <a:lnTo>
                    <a:pt x="141" y="99"/>
                  </a:lnTo>
                  <a:lnTo>
                    <a:pt x="141" y="107"/>
                  </a:lnTo>
                  <a:cubicBezTo>
                    <a:pt x="141" y="113"/>
                    <a:pt x="143" y="119"/>
                    <a:pt x="146" y="121"/>
                  </a:cubicBezTo>
                  <a:cubicBezTo>
                    <a:pt x="146" y="124"/>
                    <a:pt x="149" y="127"/>
                    <a:pt x="149" y="127"/>
                  </a:cubicBezTo>
                  <a:cubicBezTo>
                    <a:pt x="149" y="130"/>
                    <a:pt x="149" y="133"/>
                    <a:pt x="152" y="133"/>
                  </a:cubicBezTo>
                  <a:cubicBezTo>
                    <a:pt x="155" y="136"/>
                    <a:pt x="155" y="138"/>
                    <a:pt x="155" y="141"/>
                  </a:cubicBezTo>
                  <a:cubicBezTo>
                    <a:pt x="152" y="144"/>
                    <a:pt x="152" y="147"/>
                    <a:pt x="155" y="150"/>
                  </a:cubicBezTo>
                  <a:cubicBezTo>
                    <a:pt x="158" y="155"/>
                    <a:pt x="155" y="161"/>
                    <a:pt x="149" y="164"/>
                  </a:cubicBezTo>
                  <a:cubicBezTo>
                    <a:pt x="146" y="167"/>
                    <a:pt x="143" y="167"/>
                    <a:pt x="141" y="167"/>
                  </a:cubicBezTo>
                  <a:lnTo>
                    <a:pt x="138" y="167"/>
                  </a:lnTo>
                  <a:cubicBezTo>
                    <a:pt x="135" y="169"/>
                    <a:pt x="132" y="172"/>
                    <a:pt x="127" y="169"/>
                  </a:cubicBezTo>
                  <a:lnTo>
                    <a:pt x="104" y="164"/>
                  </a:lnTo>
                  <a:cubicBezTo>
                    <a:pt x="101" y="164"/>
                    <a:pt x="101" y="161"/>
                    <a:pt x="101" y="161"/>
                  </a:cubicBezTo>
                  <a:lnTo>
                    <a:pt x="98" y="158"/>
                  </a:lnTo>
                  <a:lnTo>
                    <a:pt x="98" y="152"/>
                  </a:lnTo>
                  <a:lnTo>
                    <a:pt x="98" y="144"/>
                  </a:lnTo>
                  <a:lnTo>
                    <a:pt x="98" y="136"/>
                  </a:lnTo>
                  <a:lnTo>
                    <a:pt x="98" y="133"/>
                  </a:lnTo>
                  <a:cubicBezTo>
                    <a:pt x="95" y="127"/>
                    <a:pt x="93" y="124"/>
                    <a:pt x="93" y="119"/>
                  </a:cubicBezTo>
                  <a:cubicBezTo>
                    <a:pt x="93" y="113"/>
                    <a:pt x="93" y="110"/>
                    <a:pt x="90" y="105"/>
                  </a:cubicBezTo>
                  <a:lnTo>
                    <a:pt x="90" y="99"/>
                  </a:lnTo>
                  <a:lnTo>
                    <a:pt x="90" y="93"/>
                  </a:lnTo>
                  <a:cubicBezTo>
                    <a:pt x="87" y="90"/>
                    <a:pt x="87" y="88"/>
                    <a:pt x="87" y="82"/>
                  </a:cubicBezTo>
                  <a:cubicBezTo>
                    <a:pt x="87" y="79"/>
                    <a:pt x="87" y="73"/>
                    <a:pt x="84" y="71"/>
                  </a:cubicBezTo>
                  <a:cubicBezTo>
                    <a:pt x="81" y="68"/>
                    <a:pt x="79" y="65"/>
                    <a:pt x="79" y="62"/>
                  </a:cubicBezTo>
                  <a:cubicBezTo>
                    <a:pt x="76" y="59"/>
                    <a:pt x="73" y="57"/>
                    <a:pt x="70" y="57"/>
                  </a:cubicBezTo>
                  <a:cubicBezTo>
                    <a:pt x="62" y="57"/>
                    <a:pt x="56" y="59"/>
                    <a:pt x="53" y="68"/>
                  </a:cubicBezTo>
                  <a:lnTo>
                    <a:pt x="53" y="79"/>
                  </a:lnTo>
                  <a:lnTo>
                    <a:pt x="53" y="88"/>
                  </a:lnTo>
                  <a:lnTo>
                    <a:pt x="53" y="99"/>
                  </a:lnTo>
                  <a:lnTo>
                    <a:pt x="53" y="105"/>
                  </a:lnTo>
                  <a:cubicBezTo>
                    <a:pt x="50" y="107"/>
                    <a:pt x="53" y="110"/>
                    <a:pt x="56" y="110"/>
                  </a:cubicBezTo>
                  <a:cubicBezTo>
                    <a:pt x="56" y="113"/>
                    <a:pt x="59" y="116"/>
                    <a:pt x="59" y="119"/>
                  </a:cubicBezTo>
                  <a:lnTo>
                    <a:pt x="59" y="127"/>
                  </a:lnTo>
                  <a:lnTo>
                    <a:pt x="59" y="133"/>
                  </a:lnTo>
                  <a:lnTo>
                    <a:pt x="59" y="136"/>
                  </a:lnTo>
                  <a:cubicBezTo>
                    <a:pt x="62" y="138"/>
                    <a:pt x="64" y="144"/>
                    <a:pt x="64" y="150"/>
                  </a:cubicBezTo>
                  <a:cubicBezTo>
                    <a:pt x="64" y="155"/>
                    <a:pt x="64" y="161"/>
                    <a:pt x="67" y="164"/>
                  </a:cubicBezTo>
                  <a:lnTo>
                    <a:pt x="67" y="169"/>
                  </a:lnTo>
                  <a:lnTo>
                    <a:pt x="67" y="181"/>
                  </a:lnTo>
                  <a:lnTo>
                    <a:pt x="70" y="183"/>
                  </a:lnTo>
                  <a:lnTo>
                    <a:pt x="70" y="188"/>
                  </a:lnTo>
                  <a:cubicBezTo>
                    <a:pt x="70" y="194"/>
                    <a:pt x="70" y="199"/>
                    <a:pt x="73" y="202"/>
                  </a:cubicBezTo>
                  <a:cubicBezTo>
                    <a:pt x="76" y="208"/>
                    <a:pt x="76" y="214"/>
                    <a:pt x="76" y="219"/>
                  </a:cubicBezTo>
                  <a:cubicBezTo>
                    <a:pt x="76" y="222"/>
                    <a:pt x="76" y="225"/>
                    <a:pt x="79" y="228"/>
                  </a:cubicBezTo>
                  <a:cubicBezTo>
                    <a:pt x="79" y="230"/>
                    <a:pt x="81" y="233"/>
                    <a:pt x="81" y="239"/>
                  </a:cubicBezTo>
                  <a:cubicBezTo>
                    <a:pt x="81" y="242"/>
                    <a:pt x="81" y="245"/>
                    <a:pt x="84" y="245"/>
                  </a:cubicBezTo>
                  <a:cubicBezTo>
                    <a:pt x="84" y="245"/>
                    <a:pt x="84" y="247"/>
                    <a:pt x="87" y="250"/>
                  </a:cubicBezTo>
                  <a:lnTo>
                    <a:pt x="87" y="261"/>
                  </a:lnTo>
                  <a:lnTo>
                    <a:pt x="87" y="267"/>
                  </a:lnTo>
                  <a:lnTo>
                    <a:pt x="87" y="273"/>
                  </a:lnTo>
                  <a:cubicBezTo>
                    <a:pt x="84" y="276"/>
                    <a:pt x="87" y="278"/>
                    <a:pt x="87" y="278"/>
                  </a:cubicBezTo>
                  <a:cubicBezTo>
                    <a:pt x="90" y="281"/>
                    <a:pt x="90" y="281"/>
                    <a:pt x="90" y="284"/>
                  </a:cubicBezTo>
                  <a:lnTo>
                    <a:pt x="90" y="290"/>
                  </a:lnTo>
                  <a:lnTo>
                    <a:pt x="98" y="326"/>
                  </a:lnTo>
                  <a:cubicBezTo>
                    <a:pt x="98" y="329"/>
                    <a:pt x="98" y="329"/>
                    <a:pt x="101" y="332"/>
                  </a:cubicBezTo>
                  <a:cubicBezTo>
                    <a:pt x="101" y="335"/>
                    <a:pt x="101" y="338"/>
                    <a:pt x="98" y="338"/>
                  </a:cubicBezTo>
                  <a:lnTo>
                    <a:pt x="98" y="343"/>
                  </a:lnTo>
                  <a:cubicBezTo>
                    <a:pt x="104" y="352"/>
                    <a:pt x="107" y="363"/>
                    <a:pt x="104" y="371"/>
                  </a:cubicBezTo>
                  <a:cubicBezTo>
                    <a:pt x="104" y="374"/>
                    <a:pt x="107" y="377"/>
                    <a:pt x="107" y="380"/>
                  </a:cubicBezTo>
                  <a:cubicBezTo>
                    <a:pt x="107" y="383"/>
                    <a:pt x="107" y="388"/>
                    <a:pt x="110" y="391"/>
                  </a:cubicBezTo>
                  <a:cubicBezTo>
                    <a:pt x="110" y="391"/>
                    <a:pt x="112" y="394"/>
                    <a:pt x="112" y="397"/>
                  </a:cubicBezTo>
                  <a:cubicBezTo>
                    <a:pt x="112" y="403"/>
                    <a:pt x="115" y="405"/>
                    <a:pt x="118" y="408"/>
                  </a:cubicBezTo>
                  <a:cubicBezTo>
                    <a:pt x="121" y="408"/>
                    <a:pt x="121" y="411"/>
                    <a:pt x="124" y="411"/>
                  </a:cubicBezTo>
                  <a:lnTo>
                    <a:pt x="127" y="411"/>
                  </a:lnTo>
                  <a:lnTo>
                    <a:pt x="129" y="411"/>
                  </a:lnTo>
                  <a:lnTo>
                    <a:pt x="138" y="408"/>
                  </a:lnTo>
                  <a:cubicBezTo>
                    <a:pt x="141" y="403"/>
                    <a:pt x="143" y="394"/>
                    <a:pt x="141" y="388"/>
                  </a:cubicBezTo>
                  <a:lnTo>
                    <a:pt x="132" y="332"/>
                  </a:lnTo>
                  <a:lnTo>
                    <a:pt x="132" y="326"/>
                  </a:lnTo>
                  <a:lnTo>
                    <a:pt x="132" y="321"/>
                  </a:lnTo>
                  <a:lnTo>
                    <a:pt x="132" y="318"/>
                  </a:lnTo>
                  <a:cubicBezTo>
                    <a:pt x="132" y="315"/>
                    <a:pt x="132" y="315"/>
                    <a:pt x="129" y="312"/>
                  </a:cubicBezTo>
                  <a:cubicBezTo>
                    <a:pt x="127" y="312"/>
                    <a:pt x="127" y="309"/>
                    <a:pt x="127" y="307"/>
                  </a:cubicBezTo>
                  <a:lnTo>
                    <a:pt x="127" y="301"/>
                  </a:lnTo>
                  <a:lnTo>
                    <a:pt x="127" y="295"/>
                  </a:lnTo>
                  <a:lnTo>
                    <a:pt x="129" y="293"/>
                  </a:lnTo>
                  <a:lnTo>
                    <a:pt x="132" y="290"/>
                  </a:lnTo>
                  <a:cubicBezTo>
                    <a:pt x="135" y="290"/>
                    <a:pt x="135" y="290"/>
                    <a:pt x="138" y="287"/>
                  </a:cubicBezTo>
                  <a:cubicBezTo>
                    <a:pt x="141" y="287"/>
                    <a:pt x="143" y="284"/>
                    <a:pt x="143" y="284"/>
                  </a:cubicBezTo>
                  <a:cubicBezTo>
                    <a:pt x="152" y="281"/>
                    <a:pt x="160" y="281"/>
                    <a:pt x="166" y="287"/>
                  </a:cubicBezTo>
                  <a:lnTo>
                    <a:pt x="172" y="293"/>
                  </a:lnTo>
                  <a:cubicBezTo>
                    <a:pt x="172" y="295"/>
                    <a:pt x="174" y="298"/>
                    <a:pt x="174" y="301"/>
                  </a:cubicBezTo>
                  <a:cubicBezTo>
                    <a:pt x="174" y="315"/>
                    <a:pt x="177" y="318"/>
                    <a:pt x="177" y="321"/>
                  </a:cubicBezTo>
                  <a:close/>
                  <a:moveTo>
                    <a:pt x="14" y="79"/>
                  </a:moveTo>
                  <a:lnTo>
                    <a:pt x="19" y="79"/>
                  </a:lnTo>
                  <a:cubicBezTo>
                    <a:pt x="22" y="79"/>
                    <a:pt x="25" y="76"/>
                    <a:pt x="25" y="76"/>
                  </a:cubicBezTo>
                  <a:cubicBezTo>
                    <a:pt x="28" y="76"/>
                    <a:pt x="31" y="73"/>
                    <a:pt x="33" y="73"/>
                  </a:cubicBezTo>
                  <a:lnTo>
                    <a:pt x="28" y="73"/>
                  </a:lnTo>
                  <a:cubicBezTo>
                    <a:pt x="28" y="73"/>
                    <a:pt x="25" y="73"/>
                    <a:pt x="25" y="71"/>
                  </a:cubicBezTo>
                  <a:lnTo>
                    <a:pt x="22" y="73"/>
                  </a:lnTo>
                  <a:cubicBezTo>
                    <a:pt x="22" y="76"/>
                    <a:pt x="19" y="76"/>
                    <a:pt x="19" y="76"/>
                  </a:cubicBezTo>
                  <a:cubicBezTo>
                    <a:pt x="19" y="76"/>
                    <a:pt x="14" y="76"/>
                    <a:pt x="14" y="79"/>
                  </a:cubicBezTo>
                  <a:close/>
                  <a:moveTo>
                    <a:pt x="19" y="71"/>
                  </a:moveTo>
                  <a:lnTo>
                    <a:pt x="25" y="68"/>
                  </a:lnTo>
                  <a:cubicBezTo>
                    <a:pt x="22" y="68"/>
                    <a:pt x="22" y="65"/>
                    <a:pt x="19" y="65"/>
                  </a:cubicBezTo>
                  <a:lnTo>
                    <a:pt x="19" y="71"/>
                  </a:lnTo>
                  <a:close/>
                  <a:moveTo>
                    <a:pt x="16" y="54"/>
                  </a:moveTo>
                  <a:cubicBezTo>
                    <a:pt x="19" y="54"/>
                    <a:pt x="22" y="57"/>
                    <a:pt x="25" y="57"/>
                  </a:cubicBezTo>
                  <a:cubicBezTo>
                    <a:pt x="25" y="54"/>
                    <a:pt x="25" y="54"/>
                    <a:pt x="28" y="51"/>
                  </a:cubicBezTo>
                  <a:cubicBezTo>
                    <a:pt x="28" y="48"/>
                    <a:pt x="31" y="48"/>
                    <a:pt x="31" y="45"/>
                  </a:cubicBezTo>
                  <a:lnTo>
                    <a:pt x="25" y="48"/>
                  </a:lnTo>
                  <a:lnTo>
                    <a:pt x="16" y="54"/>
                  </a:lnTo>
                  <a:close/>
                  <a:moveTo>
                    <a:pt x="33" y="59"/>
                  </a:moveTo>
                  <a:cubicBezTo>
                    <a:pt x="33" y="57"/>
                    <a:pt x="36" y="57"/>
                    <a:pt x="36" y="54"/>
                  </a:cubicBezTo>
                  <a:lnTo>
                    <a:pt x="25" y="62"/>
                  </a:lnTo>
                  <a:lnTo>
                    <a:pt x="28" y="65"/>
                  </a:lnTo>
                  <a:lnTo>
                    <a:pt x="28" y="62"/>
                  </a:lnTo>
                  <a:cubicBezTo>
                    <a:pt x="31" y="65"/>
                    <a:pt x="31" y="68"/>
                    <a:pt x="33" y="68"/>
                  </a:cubicBezTo>
                  <a:lnTo>
                    <a:pt x="36" y="68"/>
                  </a:lnTo>
                  <a:lnTo>
                    <a:pt x="33" y="59"/>
                  </a:lnTo>
                  <a:close/>
                  <a:moveTo>
                    <a:pt x="31" y="124"/>
                  </a:moveTo>
                  <a:lnTo>
                    <a:pt x="31" y="121"/>
                  </a:lnTo>
                  <a:lnTo>
                    <a:pt x="28" y="121"/>
                  </a:lnTo>
                  <a:lnTo>
                    <a:pt x="28" y="127"/>
                  </a:lnTo>
                  <a:lnTo>
                    <a:pt x="28" y="133"/>
                  </a:lnTo>
                  <a:cubicBezTo>
                    <a:pt x="28" y="130"/>
                    <a:pt x="31" y="127"/>
                    <a:pt x="31" y="124"/>
                  </a:cubicBezTo>
                  <a:close/>
                  <a:moveTo>
                    <a:pt x="31" y="107"/>
                  </a:moveTo>
                  <a:cubicBezTo>
                    <a:pt x="31" y="107"/>
                    <a:pt x="33" y="107"/>
                    <a:pt x="33" y="105"/>
                  </a:cubicBezTo>
                  <a:lnTo>
                    <a:pt x="31" y="102"/>
                  </a:lnTo>
                  <a:lnTo>
                    <a:pt x="25" y="107"/>
                  </a:lnTo>
                  <a:lnTo>
                    <a:pt x="28" y="107"/>
                  </a:lnTo>
                  <a:lnTo>
                    <a:pt x="31" y="107"/>
                  </a:lnTo>
                  <a:close/>
                  <a:moveTo>
                    <a:pt x="36" y="169"/>
                  </a:moveTo>
                  <a:lnTo>
                    <a:pt x="39" y="175"/>
                  </a:lnTo>
                  <a:cubicBezTo>
                    <a:pt x="39" y="172"/>
                    <a:pt x="39" y="169"/>
                    <a:pt x="36" y="169"/>
                  </a:cubicBezTo>
                  <a:cubicBezTo>
                    <a:pt x="36" y="169"/>
                    <a:pt x="38" y="168"/>
                    <a:pt x="37" y="165"/>
                  </a:cubicBezTo>
                  <a:lnTo>
                    <a:pt x="36" y="167"/>
                  </a:lnTo>
                  <a:lnTo>
                    <a:pt x="33" y="167"/>
                  </a:lnTo>
                  <a:lnTo>
                    <a:pt x="31" y="167"/>
                  </a:lnTo>
                  <a:cubicBezTo>
                    <a:pt x="31" y="169"/>
                    <a:pt x="33" y="169"/>
                    <a:pt x="36" y="169"/>
                  </a:cubicBezTo>
                  <a:close/>
                  <a:moveTo>
                    <a:pt x="42" y="155"/>
                  </a:moveTo>
                  <a:lnTo>
                    <a:pt x="36" y="157"/>
                  </a:lnTo>
                  <a:cubicBezTo>
                    <a:pt x="37" y="158"/>
                    <a:pt x="38" y="158"/>
                    <a:pt x="39" y="158"/>
                  </a:cubicBezTo>
                  <a:lnTo>
                    <a:pt x="39" y="161"/>
                  </a:lnTo>
                  <a:lnTo>
                    <a:pt x="42" y="155"/>
                  </a:lnTo>
                  <a:close/>
                  <a:moveTo>
                    <a:pt x="36" y="155"/>
                  </a:moveTo>
                  <a:cubicBezTo>
                    <a:pt x="39" y="155"/>
                    <a:pt x="41" y="153"/>
                    <a:pt x="42" y="150"/>
                  </a:cubicBezTo>
                  <a:cubicBezTo>
                    <a:pt x="40" y="151"/>
                    <a:pt x="39" y="152"/>
                    <a:pt x="39" y="152"/>
                  </a:cubicBezTo>
                  <a:lnTo>
                    <a:pt x="36" y="152"/>
                  </a:lnTo>
                  <a:lnTo>
                    <a:pt x="33" y="152"/>
                  </a:lnTo>
                  <a:cubicBezTo>
                    <a:pt x="33" y="154"/>
                    <a:pt x="34" y="155"/>
                    <a:pt x="35" y="156"/>
                  </a:cubicBezTo>
                  <a:cubicBezTo>
                    <a:pt x="35" y="155"/>
                    <a:pt x="36" y="155"/>
                    <a:pt x="36" y="155"/>
                  </a:cubicBezTo>
                  <a:close/>
                  <a:moveTo>
                    <a:pt x="31" y="144"/>
                  </a:moveTo>
                  <a:lnTo>
                    <a:pt x="28" y="144"/>
                  </a:lnTo>
                  <a:lnTo>
                    <a:pt x="33" y="150"/>
                  </a:lnTo>
                  <a:cubicBezTo>
                    <a:pt x="33" y="147"/>
                    <a:pt x="33" y="144"/>
                    <a:pt x="31" y="144"/>
                  </a:cubicBezTo>
                  <a:close/>
                  <a:moveTo>
                    <a:pt x="28" y="40"/>
                  </a:moveTo>
                  <a:cubicBezTo>
                    <a:pt x="31" y="40"/>
                    <a:pt x="31" y="40"/>
                    <a:pt x="33" y="37"/>
                  </a:cubicBezTo>
                  <a:cubicBezTo>
                    <a:pt x="39" y="42"/>
                    <a:pt x="39" y="42"/>
                    <a:pt x="45" y="40"/>
                  </a:cubicBezTo>
                  <a:lnTo>
                    <a:pt x="42" y="37"/>
                  </a:lnTo>
                  <a:cubicBezTo>
                    <a:pt x="42" y="37"/>
                    <a:pt x="39" y="37"/>
                    <a:pt x="39" y="34"/>
                  </a:cubicBezTo>
                  <a:lnTo>
                    <a:pt x="42" y="34"/>
                  </a:lnTo>
                  <a:lnTo>
                    <a:pt x="45" y="34"/>
                  </a:lnTo>
                  <a:lnTo>
                    <a:pt x="42" y="31"/>
                  </a:lnTo>
                  <a:lnTo>
                    <a:pt x="45" y="31"/>
                  </a:lnTo>
                  <a:lnTo>
                    <a:pt x="45" y="28"/>
                  </a:lnTo>
                  <a:lnTo>
                    <a:pt x="50" y="28"/>
                  </a:lnTo>
                  <a:cubicBezTo>
                    <a:pt x="48" y="37"/>
                    <a:pt x="50" y="40"/>
                    <a:pt x="53" y="40"/>
                  </a:cubicBezTo>
                  <a:lnTo>
                    <a:pt x="56" y="34"/>
                  </a:lnTo>
                  <a:lnTo>
                    <a:pt x="67" y="31"/>
                  </a:lnTo>
                  <a:lnTo>
                    <a:pt x="67" y="28"/>
                  </a:lnTo>
                  <a:lnTo>
                    <a:pt x="67" y="26"/>
                  </a:lnTo>
                  <a:cubicBezTo>
                    <a:pt x="67" y="31"/>
                    <a:pt x="73" y="37"/>
                    <a:pt x="76" y="40"/>
                  </a:cubicBezTo>
                  <a:lnTo>
                    <a:pt x="81" y="40"/>
                  </a:lnTo>
                  <a:cubicBezTo>
                    <a:pt x="79" y="37"/>
                    <a:pt x="76" y="37"/>
                    <a:pt x="73" y="34"/>
                  </a:cubicBezTo>
                  <a:cubicBezTo>
                    <a:pt x="76" y="31"/>
                    <a:pt x="73" y="28"/>
                    <a:pt x="70" y="26"/>
                  </a:cubicBezTo>
                  <a:cubicBezTo>
                    <a:pt x="70" y="23"/>
                    <a:pt x="67" y="23"/>
                    <a:pt x="67" y="20"/>
                  </a:cubicBezTo>
                  <a:cubicBezTo>
                    <a:pt x="64" y="23"/>
                    <a:pt x="62" y="23"/>
                    <a:pt x="59" y="23"/>
                  </a:cubicBezTo>
                  <a:lnTo>
                    <a:pt x="56" y="20"/>
                  </a:lnTo>
                  <a:lnTo>
                    <a:pt x="56" y="23"/>
                  </a:lnTo>
                  <a:lnTo>
                    <a:pt x="56" y="26"/>
                  </a:lnTo>
                  <a:cubicBezTo>
                    <a:pt x="56" y="23"/>
                    <a:pt x="53" y="23"/>
                    <a:pt x="53" y="23"/>
                  </a:cubicBezTo>
                  <a:cubicBezTo>
                    <a:pt x="50" y="23"/>
                    <a:pt x="50" y="20"/>
                    <a:pt x="48" y="20"/>
                  </a:cubicBezTo>
                  <a:lnTo>
                    <a:pt x="42" y="20"/>
                  </a:lnTo>
                  <a:cubicBezTo>
                    <a:pt x="42" y="24"/>
                    <a:pt x="40" y="27"/>
                    <a:pt x="40" y="29"/>
                  </a:cubicBezTo>
                  <a:cubicBezTo>
                    <a:pt x="39" y="30"/>
                    <a:pt x="39" y="30"/>
                    <a:pt x="39" y="31"/>
                  </a:cubicBezTo>
                  <a:lnTo>
                    <a:pt x="42" y="31"/>
                  </a:lnTo>
                  <a:lnTo>
                    <a:pt x="40" y="29"/>
                  </a:lnTo>
                  <a:cubicBezTo>
                    <a:pt x="40" y="29"/>
                    <a:pt x="40" y="29"/>
                    <a:pt x="39" y="28"/>
                  </a:cubicBezTo>
                  <a:lnTo>
                    <a:pt x="39" y="31"/>
                  </a:lnTo>
                  <a:lnTo>
                    <a:pt x="39" y="34"/>
                  </a:lnTo>
                  <a:cubicBezTo>
                    <a:pt x="36" y="34"/>
                    <a:pt x="36" y="34"/>
                    <a:pt x="33" y="31"/>
                  </a:cubicBezTo>
                  <a:cubicBezTo>
                    <a:pt x="31" y="31"/>
                    <a:pt x="31" y="31"/>
                    <a:pt x="28" y="34"/>
                  </a:cubicBezTo>
                  <a:lnTo>
                    <a:pt x="28" y="40"/>
                  </a:lnTo>
                  <a:close/>
                  <a:moveTo>
                    <a:pt x="36" y="45"/>
                  </a:moveTo>
                  <a:lnTo>
                    <a:pt x="33" y="40"/>
                  </a:lnTo>
                  <a:cubicBezTo>
                    <a:pt x="33" y="45"/>
                    <a:pt x="33" y="45"/>
                    <a:pt x="36" y="45"/>
                  </a:cubicBezTo>
                  <a:close/>
                  <a:moveTo>
                    <a:pt x="36" y="197"/>
                  </a:moveTo>
                  <a:lnTo>
                    <a:pt x="36" y="199"/>
                  </a:lnTo>
                  <a:lnTo>
                    <a:pt x="39" y="199"/>
                  </a:lnTo>
                  <a:lnTo>
                    <a:pt x="39" y="202"/>
                  </a:lnTo>
                  <a:lnTo>
                    <a:pt x="39" y="205"/>
                  </a:lnTo>
                  <a:cubicBezTo>
                    <a:pt x="39" y="205"/>
                    <a:pt x="39" y="208"/>
                    <a:pt x="42" y="208"/>
                  </a:cubicBezTo>
                  <a:lnTo>
                    <a:pt x="45" y="208"/>
                  </a:lnTo>
                  <a:lnTo>
                    <a:pt x="45" y="202"/>
                  </a:lnTo>
                  <a:lnTo>
                    <a:pt x="48" y="199"/>
                  </a:lnTo>
                  <a:lnTo>
                    <a:pt x="50" y="197"/>
                  </a:lnTo>
                  <a:cubicBezTo>
                    <a:pt x="48" y="197"/>
                    <a:pt x="48" y="194"/>
                    <a:pt x="45" y="194"/>
                  </a:cubicBezTo>
                  <a:lnTo>
                    <a:pt x="45" y="197"/>
                  </a:lnTo>
                  <a:lnTo>
                    <a:pt x="39" y="197"/>
                  </a:lnTo>
                  <a:lnTo>
                    <a:pt x="39" y="194"/>
                  </a:lnTo>
                  <a:lnTo>
                    <a:pt x="36" y="197"/>
                  </a:lnTo>
                  <a:close/>
                  <a:moveTo>
                    <a:pt x="48" y="194"/>
                  </a:moveTo>
                  <a:cubicBezTo>
                    <a:pt x="48" y="191"/>
                    <a:pt x="48" y="191"/>
                    <a:pt x="45" y="188"/>
                  </a:cubicBezTo>
                  <a:lnTo>
                    <a:pt x="42" y="188"/>
                  </a:lnTo>
                  <a:cubicBezTo>
                    <a:pt x="42" y="194"/>
                    <a:pt x="45" y="194"/>
                    <a:pt x="48" y="194"/>
                  </a:cubicBezTo>
                  <a:close/>
                  <a:moveTo>
                    <a:pt x="42" y="228"/>
                  </a:moveTo>
                  <a:cubicBezTo>
                    <a:pt x="48" y="228"/>
                    <a:pt x="50" y="225"/>
                    <a:pt x="53" y="222"/>
                  </a:cubicBezTo>
                  <a:lnTo>
                    <a:pt x="48" y="222"/>
                  </a:lnTo>
                  <a:lnTo>
                    <a:pt x="45" y="225"/>
                  </a:lnTo>
                  <a:cubicBezTo>
                    <a:pt x="45" y="225"/>
                    <a:pt x="42" y="225"/>
                    <a:pt x="42" y="228"/>
                  </a:cubicBezTo>
                  <a:close/>
                  <a:moveTo>
                    <a:pt x="45" y="211"/>
                  </a:moveTo>
                  <a:cubicBezTo>
                    <a:pt x="42" y="211"/>
                    <a:pt x="42" y="214"/>
                    <a:pt x="42" y="214"/>
                  </a:cubicBezTo>
                  <a:cubicBezTo>
                    <a:pt x="45" y="214"/>
                    <a:pt x="45" y="211"/>
                    <a:pt x="45" y="211"/>
                  </a:cubicBezTo>
                  <a:close/>
                  <a:moveTo>
                    <a:pt x="42" y="239"/>
                  </a:moveTo>
                  <a:lnTo>
                    <a:pt x="50" y="236"/>
                  </a:lnTo>
                  <a:lnTo>
                    <a:pt x="50" y="233"/>
                  </a:lnTo>
                  <a:lnTo>
                    <a:pt x="48" y="230"/>
                  </a:lnTo>
                  <a:lnTo>
                    <a:pt x="42" y="239"/>
                  </a:lnTo>
                  <a:close/>
                  <a:moveTo>
                    <a:pt x="50" y="245"/>
                  </a:moveTo>
                  <a:lnTo>
                    <a:pt x="50" y="239"/>
                  </a:lnTo>
                  <a:lnTo>
                    <a:pt x="45" y="239"/>
                  </a:lnTo>
                  <a:cubicBezTo>
                    <a:pt x="45" y="242"/>
                    <a:pt x="48" y="245"/>
                    <a:pt x="50" y="245"/>
                  </a:cubicBezTo>
                  <a:close/>
                  <a:moveTo>
                    <a:pt x="53" y="301"/>
                  </a:moveTo>
                  <a:lnTo>
                    <a:pt x="62" y="301"/>
                  </a:lnTo>
                  <a:cubicBezTo>
                    <a:pt x="59" y="298"/>
                    <a:pt x="56" y="298"/>
                    <a:pt x="56" y="298"/>
                  </a:cubicBezTo>
                  <a:lnTo>
                    <a:pt x="53" y="301"/>
                  </a:lnTo>
                  <a:close/>
                  <a:moveTo>
                    <a:pt x="53" y="281"/>
                  </a:moveTo>
                  <a:lnTo>
                    <a:pt x="56" y="281"/>
                  </a:lnTo>
                  <a:lnTo>
                    <a:pt x="59" y="281"/>
                  </a:lnTo>
                  <a:cubicBezTo>
                    <a:pt x="59" y="278"/>
                    <a:pt x="56" y="273"/>
                    <a:pt x="56" y="270"/>
                  </a:cubicBezTo>
                  <a:cubicBezTo>
                    <a:pt x="56" y="273"/>
                    <a:pt x="56" y="273"/>
                    <a:pt x="53" y="276"/>
                  </a:cubicBezTo>
                  <a:lnTo>
                    <a:pt x="53" y="281"/>
                  </a:lnTo>
                  <a:close/>
                  <a:moveTo>
                    <a:pt x="59" y="267"/>
                  </a:moveTo>
                  <a:lnTo>
                    <a:pt x="59" y="264"/>
                  </a:lnTo>
                  <a:lnTo>
                    <a:pt x="56" y="264"/>
                  </a:lnTo>
                  <a:lnTo>
                    <a:pt x="56" y="267"/>
                  </a:lnTo>
                  <a:cubicBezTo>
                    <a:pt x="56" y="270"/>
                    <a:pt x="59" y="270"/>
                    <a:pt x="59" y="267"/>
                  </a:cubicBezTo>
                  <a:close/>
                  <a:moveTo>
                    <a:pt x="62" y="293"/>
                  </a:moveTo>
                  <a:lnTo>
                    <a:pt x="62" y="290"/>
                  </a:lnTo>
                  <a:lnTo>
                    <a:pt x="59" y="290"/>
                  </a:lnTo>
                  <a:lnTo>
                    <a:pt x="56" y="290"/>
                  </a:lnTo>
                  <a:lnTo>
                    <a:pt x="62" y="293"/>
                  </a:lnTo>
                  <a:close/>
                  <a:moveTo>
                    <a:pt x="62" y="284"/>
                  </a:moveTo>
                  <a:lnTo>
                    <a:pt x="59" y="284"/>
                  </a:lnTo>
                  <a:lnTo>
                    <a:pt x="59" y="287"/>
                  </a:lnTo>
                  <a:lnTo>
                    <a:pt x="59" y="290"/>
                  </a:lnTo>
                  <a:cubicBezTo>
                    <a:pt x="59" y="290"/>
                    <a:pt x="59" y="287"/>
                    <a:pt x="62" y="287"/>
                  </a:cubicBezTo>
                  <a:lnTo>
                    <a:pt x="62" y="284"/>
                  </a:lnTo>
                  <a:close/>
                  <a:moveTo>
                    <a:pt x="62" y="304"/>
                  </a:moveTo>
                  <a:cubicBezTo>
                    <a:pt x="56" y="307"/>
                    <a:pt x="56" y="309"/>
                    <a:pt x="56" y="312"/>
                  </a:cubicBezTo>
                  <a:cubicBezTo>
                    <a:pt x="59" y="312"/>
                    <a:pt x="59" y="309"/>
                    <a:pt x="62" y="309"/>
                  </a:cubicBezTo>
                  <a:lnTo>
                    <a:pt x="62" y="304"/>
                  </a:lnTo>
                  <a:close/>
                  <a:moveTo>
                    <a:pt x="62" y="37"/>
                  </a:moveTo>
                  <a:lnTo>
                    <a:pt x="59" y="37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62" y="42"/>
                  </a:lnTo>
                  <a:lnTo>
                    <a:pt x="62" y="37"/>
                  </a:lnTo>
                  <a:close/>
                  <a:moveTo>
                    <a:pt x="64" y="273"/>
                  </a:moveTo>
                  <a:cubicBezTo>
                    <a:pt x="64" y="270"/>
                    <a:pt x="62" y="270"/>
                    <a:pt x="59" y="270"/>
                  </a:cubicBezTo>
                  <a:lnTo>
                    <a:pt x="59" y="276"/>
                  </a:lnTo>
                  <a:cubicBezTo>
                    <a:pt x="62" y="273"/>
                    <a:pt x="62" y="273"/>
                    <a:pt x="64" y="273"/>
                  </a:cubicBezTo>
                  <a:close/>
                  <a:moveTo>
                    <a:pt x="64" y="324"/>
                  </a:moveTo>
                  <a:cubicBezTo>
                    <a:pt x="64" y="321"/>
                    <a:pt x="67" y="321"/>
                    <a:pt x="67" y="321"/>
                  </a:cubicBezTo>
                  <a:lnTo>
                    <a:pt x="62" y="321"/>
                  </a:lnTo>
                  <a:lnTo>
                    <a:pt x="62" y="326"/>
                  </a:lnTo>
                  <a:cubicBezTo>
                    <a:pt x="62" y="329"/>
                    <a:pt x="64" y="329"/>
                    <a:pt x="67" y="329"/>
                  </a:cubicBezTo>
                  <a:lnTo>
                    <a:pt x="64" y="326"/>
                  </a:lnTo>
                  <a:lnTo>
                    <a:pt x="64" y="324"/>
                  </a:lnTo>
                  <a:close/>
                  <a:moveTo>
                    <a:pt x="62" y="363"/>
                  </a:moveTo>
                  <a:cubicBezTo>
                    <a:pt x="64" y="363"/>
                    <a:pt x="64" y="366"/>
                    <a:pt x="67" y="366"/>
                  </a:cubicBezTo>
                  <a:cubicBezTo>
                    <a:pt x="67" y="360"/>
                    <a:pt x="67" y="360"/>
                    <a:pt x="62" y="363"/>
                  </a:cubicBezTo>
                  <a:close/>
                  <a:moveTo>
                    <a:pt x="64" y="335"/>
                  </a:moveTo>
                  <a:cubicBezTo>
                    <a:pt x="64" y="338"/>
                    <a:pt x="67" y="338"/>
                    <a:pt x="67" y="340"/>
                  </a:cubicBezTo>
                  <a:lnTo>
                    <a:pt x="67" y="335"/>
                  </a:lnTo>
                  <a:lnTo>
                    <a:pt x="64" y="335"/>
                  </a:lnTo>
                  <a:close/>
                  <a:moveTo>
                    <a:pt x="67" y="357"/>
                  </a:moveTo>
                  <a:cubicBezTo>
                    <a:pt x="70" y="355"/>
                    <a:pt x="73" y="355"/>
                    <a:pt x="73" y="352"/>
                  </a:cubicBezTo>
                  <a:cubicBezTo>
                    <a:pt x="73" y="352"/>
                    <a:pt x="73" y="355"/>
                    <a:pt x="76" y="355"/>
                  </a:cubicBezTo>
                  <a:lnTo>
                    <a:pt x="79" y="355"/>
                  </a:lnTo>
                  <a:lnTo>
                    <a:pt x="76" y="349"/>
                  </a:lnTo>
                  <a:lnTo>
                    <a:pt x="76" y="346"/>
                  </a:lnTo>
                  <a:lnTo>
                    <a:pt x="76" y="343"/>
                  </a:lnTo>
                  <a:lnTo>
                    <a:pt x="73" y="346"/>
                  </a:lnTo>
                  <a:lnTo>
                    <a:pt x="70" y="346"/>
                  </a:lnTo>
                  <a:cubicBezTo>
                    <a:pt x="73" y="343"/>
                    <a:pt x="73" y="340"/>
                    <a:pt x="73" y="338"/>
                  </a:cubicBezTo>
                  <a:cubicBezTo>
                    <a:pt x="67" y="340"/>
                    <a:pt x="64" y="343"/>
                    <a:pt x="64" y="346"/>
                  </a:cubicBezTo>
                  <a:cubicBezTo>
                    <a:pt x="67" y="349"/>
                    <a:pt x="67" y="355"/>
                    <a:pt x="67" y="357"/>
                  </a:cubicBezTo>
                  <a:close/>
                  <a:moveTo>
                    <a:pt x="73" y="377"/>
                  </a:moveTo>
                  <a:cubicBezTo>
                    <a:pt x="70" y="377"/>
                    <a:pt x="70" y="377"/>
                    <a:pt x="67" y="380"/>
                  </a:cubicBezTo>
                  <a:cubicBezTo>
                    <a:pt x="70" y="380"/>
                    <a:pt x="73" y="380"/>
                    <a:pt x="73" y="377"/>
                  </a:cubicBezTo>
                  <a:close/>
                  <a:moveTo>
                    <a:pt x="70" y="307"/>
                  </a:moveTo>
                  <a:lnTo>
                    <a:pt x="67" y="309"/>
                  </a:lnTo>
                  <a:cubicBezTo>
                    <a:pt x="70" y="309"/>
                    <a:pt x="70" y="309"/>
                    <a:pt x="70" y="307"/>
                  </a:cubicBezTo>
                  <a:close/>
                  <a:moveTo>
                    <a:pt x="70" y="307"/>
                  </a:moveTo>
                  <a:cubicBezTo>
                    <a:pt x="70" y="309"/>
                    <a:pt x="67" y="309"/>
                    <a:pt x="70" y="307"/>
                  </a:cubicBezTo>
                  <a:close/>
                  <a:moveTo>
                    <a:pt x="76" y="374"/>
                  </a:moveTo>
                  <a:lnTo>
                    <a:pt x="73" y="366"/>
                  </a:lnTo>
                  <a:lnTo>
                    <a:pt x="73" y="363"/>
                  </a:lnTo>
                  <a:lnTo>
                    <a:pt x="70" y="363"/>
                  </a:lnTo>
                  <a:lnTo>
                    <a:pt x="70" y="371"/>
                  </a:lnTo>
                  <a:cubicBezTo>
                    <a:pt x="70" y="371"/>
                    <a:pt x="73" y="371"/>
                    <a:pt x="76" y="374"/>
                  </a:cubicBezTo>
                  <a:close/>
                  <a:moveTo>
                    <a:pt x="81" y="397"/>
                  </a:moveTo>
                  <a:lnTo>
                    <a:pt x="76" y="388"/>
                  </a:lnTo>
                  <a:lnTo>
                    <a:pt x="76" y="383"/>
                  </a:lnTo>
                  <a:cubicBezTo>
                    <a:pt x="67" y="388"/>
                    <a:pt x="73" y="394"/>
                    <a:pt x="76" y="397"/>
                  </a:cubicBezTo>
                  <a:cubicBezTo>
                    <a:pt x="76" y="400"/>
                    <a:pt x="76" y="400"/>
                    <a:pt x="73" y="403"/>
                  </a:cubicBezTo>
                  <a:cubicBezTo>
                    <a:pt x="76" y="400"/>
                    <a:pt x="79" y="400"/>
                    <a:pt x="81" y="397"/>
                  </a:cubicBezTo>
                  <a:close/>
                  <a:moveTo>
                    <a:pt x="76" y="371"/>
                  </a:moveTo>
                  <a:lnTo>
                    <a:pt x="81" y="377"/>
                  </a:lnTo>
                  <a:lnTo>
                    <a:pt x="81" y="371"/>
                  </a:lnTo>
                  <a:lnTo>
                    <a:pt x="76" y="371"/>
                  </a:lnTo>
                  <a:close/>
                  <a:moveTo>
                    <a:pt x="81" y="383"/>
                  </a:moveTo>
                  <a:cubicBezTo>
                    <a:pt x="87" y="386"/>
                    <a:pt x="87" y="383"/>
                    <a:pt x="87" y="380"/>
                  </a:cubicBezTo>
                  <a:cubicBezTo>
                    <a:pt x="84" y="380"/>
                    <a:pt x="81" y="380"/>
                    <a:pt x="81" y="383"/>
                  </a:cubicBezTo>
                  <a:close/>
                  <a:moveTo>
                    <a:pt x="81" y="34"/>
                  </a:moveTo>
                  <a:cubicBezTo>
                    <a:pt x="81" y="34"/>
                    <a:pt x="84" y="34"/>
                    <a:pt x="81" y="34"/>
                  </a:cubicBezTo>
                  <a:lnTo>
                    <a:pt x="87" y="31"/>
                  </a:lnTo>
                  <a:lnTo>
                    <a:pt x="84" y="28"/>
                  </a:lnTo>
                  <a:lnTo>
                    <a:pt x="81" y="26"/>
                  </a:lnTo>
                  <a:lnTo>
                    <a:pt x="81" y="34"/>
                  </a:lnTo>
                  <a:close/>
                  <a:moveTo>
                    <a:pt x="87" y="400"/>
                  </a:moveTo>
                  <a:cubicBezTo>
                    <a:pt x="84" y="400"/>
                    <a:pt x="84" y="397"/>
                    <a:pt x="84" y="397"/>
                  </a:cubicBezTo>
                  <a:lnTo>
                    <a:pt x="84" y="403"/>
                  </a:lnTo>
                  <a:cubicBezTo>
                    <a:pt x="84" y="400"/>
                    <a:pt x="84" y="400"/>
                    <a:pt x="87" y="400"/>
                  </a:cubicBezTo>
                  <a:close/>
                  <a:moveTo>
                    <a:pt x="87" y="411"/>
                  </a:moveTo>
                  <a:cubicBezTo>
                    <a:pt x="90" y="411"/>
                    <a:pt x="90" y="408"/>
                    <a:pt x="90" y="405"/>
                  </a:cubicBezTo>
                  <a:lnTo>
                    <a:pt x="84" y="405"/>
                  </a:lnTo>
                  <a:lnTo>
                    <a:pt x="87" y="411"/>
                  </a:lnTo>
                  <a:close/>
                  <a:moveTo>
                    <a:pt x="95" y="445"/>
                  </a:moveTo>
                  <a:cubicBezTo>
                    <a:pt x="93" y="442"/>
                    <a:pt x="93" y="439"/>
                    <a:pt x="87" y="439"/>
                  </a:cubicBezTo>
                  <a:cubicBezTo>
                    <a:pt x="87" y="442"/>
                    <a:pt x="90" y="445"/>
                    <a:pt x="93" y="445"/>
                  </a:cubicBezTo>
                  <a:lnTo>
                    <a:pt x="95" y="445"/>
                  </a:lnTo>
                  <a:close/>
                  <a:moveTo>
                    <a:pt x="90" y="417"/>
                  </a:moveTo>
                  <a:lnTo>
                    <a:pt x="87" y="419"/>
                  </a:lnTo>
                  <a:cubicBezTo>
                    <a:pt x="90" y="419"/>
                    <a:pt x="90" y="419"/>
                    <a:pt x="90" y="417"/>
                  </a:cubicBezTo>
                  <a:close/>
                  <a:moveTo>
                    <a:pt x="90" y="40"/>
                  </a:moveTo>
                  <a:lnTo>
                    <a:pt x="95" y="37"/>
                  </a:lnTo>
                  <a:lnTo>
                    <a:pt x="90" y="31"/>
                  </a:lnTo>
                  <a:lnTo>
                    <a:pt x="90" y="40"/>
                  </a:lnTo>
                  <a:close/>
                  <a:moveTo>
                    <a:pt x="95" y="428"/>
                  </a:moveTo>
                  <a:cubicBezTo>
                    <a:pt x="98" y="428"/>
                    <a:pt x="98" y="425"/>
                    <a:pt x="98" y="425"/>
                  </a:cubicBezTo>
                  <a:lnTo>
                    <a:pt x="93" y="419"/>
                  </a:lnTo>
                  <a:cubicBezTo>
                    <a:pt x="93" y="425"/>
                    <a:pt x="93" y="428"/>
                    <a:pt x="95" y="428"/>
                  </a:cubicBezTo>
                  <a:close/>
                  <a:moveTo>
                    <a:pt x="95" y="45"/>
                  </a:moveTo>
                  <a:lnTo>
                    <a:pt x="101" y="42"/>
                  </a:lnTo>
                  <a:lnTo>
                    <a:pt x="98" y="42"/>
                  </a:lnTo>
                  <a:lnTo>
                    <a:pt x="95" y="45"/>
                  </a:lnTo>
                  <a:close/>
                  <a:moveTo>
                    <a:pt x="104" y="434"/>
                  </a:moveTo>
                  <a:cubicBezTo>
                    <a:pt x="104" y="434"/>
                    <a:pt x="107" y="431"/>
                    <a:pt x="104" y="428"/>
                  </a:cubicBezTo>
                  <a:lnTo>
                    <a:pt x="101" y="428"/>
                  </a:lnTo>
                  <a:cubicBezTo>
                    <a:pt x="98" y="428"/>
                    <a:pt x="98" y="428"/>
                    <a:pt x="95" y="431"/>
                  </a:cubicBezTo>
                  <a:lnTo>
                    <a:pt x="95" y="434"/>
                  </a:lnTo>
                  <a:cubicBezTo>
                    <a:pt x="95" y="436"/>
                    <a:pt x="95" y="436"/>
                    <a:pt x="98" y="439"/>
                  </a:cubicBezTo>
                  <a:lnTo>
                    <a:pt x="104" y="434"/>
                  </a:lnTo>
                  <a:close/>
                  <a:moveTo>
                    <a:pt x="101" y="445"/>
                  </a:moveTo>
                  <a:lnTo>
                    <a:pt x="101" y="442"/>
                  </a:lnTo>
                  <a:cubicBezTo>
                    <a:pt x="98" y="442"/>
                    <a:pt x="98" y="442"/>
                    <a:pt x="101" y="445"/>
                  </a:cubicBezTo>
                  <a:close/>
                  <a:moveTo>
                    <a:pt x="101" y="62"/>
                  </a:moveTo>
                  <a:lnTo>
                    <a:pt x="104" y="59"/>
                  </a:lnTo>
                  <a:cubicBezTo>
                    <a:pt x="104" y="59"/>
                    <a:pt x="101" y="59"/>
                    <a:pt x="101" y="62"/>
                  </a:cubicBezTo>
                  <a:close/>
                  <a:moveTo>
                    <a:pt x="101" y="48"/>
                  </a:moveTo>
                  <a:cubicBezTo>
                    <a:pt x="101" y="51"/>
                    <a:pt x="104" y="48"/>
                    <a:pt x="101" y="48"/>
                  </a:cubicBezTo>
                  <a:close/>
                  <a:moveTo>
                    <a:pt x="107" y="51"/>
                  </a:moveTo>
                  <a:cubicBezTo>
                    <a:pt x="107" y="54"/>
                    <a:pt x="104" y="54"/>
                    <a:pt x="104" y="57"/>
                  </a:cubicBezTo>
                  <a:lnTo>
                    <a:pt x="112" y="57"/>
                  </a:lnTo>
                  <a:cubicBezTo>
                    <a:pt x="110" y="54"/>
                    <a:pt x="107" y="54"/>
                    <a:pt x="107" y="51"/>
                  </a:cubicBezTo>
                  <a:close/>
                  <a:moveTo>
                    <a:pt x="107" y="442"/>
                  </a:moveTo>
                  <a:cubicBezTo>
                    <a:pt x="107" y="439"/>
                    <a:pt x="110" y="439"/>
                    <a:pt x="110" y="436"/>
                  </a:cubicBezTo>
                  <a:cubicBezTo>
                    <a:pt x="104" y="436"/>
                    <a:pt x="104" y="436"/>
                    <a:pt x="107" y="442"/>
                  </a:cubicBezTo>
                  <a:close/>
                  <a:moveTo>
                    <a:pt x="110" y="82"/>
                  </a:moveTo>
                  <a:lnTo>
                    <a:pt x="104" y="82"/>
                  </a:lnTo>
                  <a:lnTo>
                    <a:pt x="104" y="85"/>
                  </a:lnTo>
                  <a:lnTo>
                    <a:pt x="110" y="82"/>
                  </a:lnTo>
                  <a:close/>
                  <a:moveTo>
                    <a:pt x="110" y="450"/>
                  </a:moveTo>
                  <a:lnTo>
                    <a:pt x="107" y="450"/>
                  </a:lnTo>
                  <a:lnTo>
                    <a:pt x="110" y="456"/>
                  </a:lnTo>
                  <a:lnTo>
                    <a:pt x="110" y="453"/>
                  </a:lnTo>
                  <a:lnTo>
                    <a:pt x="110" y="450"/>
                  </a:lnTo>
                  <a:close/>
                  <a:moveTo>
                    <a:pt x="115" y="439"/>
                  </a:moveTo>
                  <a:cubicBezTo>
                    <a:pt x="118" y="439"/>
                    <a:pt x="118" y="439"/>
                    <a:pt x="118" y="442"/>
                  </a:cubicBezTo>
                  <a:lnTo>
                    <a:pt x="118" y="439"/>
                  </a:lnTo>
                  <a:lnTo>
                    <a:pt x="118" y="436"/>
                  </a:lnTo>
                  <a:cubicBezTo>
                    <a:pt x="115" y="436"/>
                    <a:pt x="112" y="436"/>
                    <a:pt x="112" y="434"/>
                  </a:cubicBezTo>
                  <a:cubicBezTo>
                    <a:pt x="112" y="439"/>
                    <a:pt x="115" y="439"/>
                    <a:pt x="115" y="439"/>
                  </a:cubicBezTo>
                  <a:close/>
                  <a:moveTo>
                    <a:pt x="146" y="445"/>
                  </a:moveTo>
                  <a:lnTo>
                    <a:pt x="143" y="442"/>
                  </a:lnTo>
                  <a:lnTo>
                    <a:pt x="141" y="439"/>
                  </a:lnTo>
                  <a:cubicBezTo>
                    <a:pt x="138" y="439"/>
                    <a:pt x="138" y="442"/>
                    <a:pt x="138" y="442"/>
                  </a:cubicBezTo>
                  <a:lnTo>
                    <a:pt x="132" y="439"/>
                  </a:lnTo>
                  <a:cubicBezTo>
                    <a:pt x="129" y="442"/>
                    <a:pt x="127" y="445"/>
                    <a:pt x="124" y="445"/>
                  </a:cubicBezTo>
                  <a:lnTo>
                    <a:pt x="121" y="445"/>
                  </a:lnTo>
                  <a:cubicBezTo>
                    <a:pt x="121" y="445"/>
                    <a:pt x="118" y="445"/>
                    <a:pt x="118" y="448"/>
                  </a:cubicBezTo>
                  <a:cubicBezTo>
                    <a:pt x="118" y="448"/>
                    <a:pt x="115" y="448"/>
                    <a:pt x="115" y="450"/>
                  </a:cubicBezTo>
                  <a:lnTo>
                    <a:pt x="115" y="453"/>
                  </a:lnTo>
                  <a:lnTo>
                    <a:pt x="118" y="450"/>
                  </a:lnTo>
                  <a:cubicBezTo>
                    <a:pt x="121" y="450"/>
                    <a:pt x="121" y="450"/>
                    <a:pt x="124" y="448"/>
                  </a:cubicBezTo>
                  <a:lnTo>
                    <a:pt x="127" y="448"/>
                  </a:lnTo>
                  <a:lnTo>
                    <a:pt x="127" y="456"/>
                  </a:lnTo>
                  <a:lnTo>
                    <a:pt x="129" y="450"/>
                  </a:lnTo>
                  <a:cubicBezTo>
                    <a:pt x="129" y="448"/>
                    <a:pt x="132" y="448"/>
                    <a:pt x="132" y="445"/>
                  </a:cubicBezTo>
                  <a:lnTo>
                    <a:pt x="132" y="448"/>
                  </a:lnTo>
                  <a:lnTo>
                    <a:pt x="132" y="450"/>
                  </a:lnTo>
                  <a:lnTo>
                    <a:pt x="135" y="448"/>
                  </a:lnTo>
                  <a:cubicBezTo>
                    <a:pt x="143" y="448"/>
                    <a:pt x="143" y="445"/>
                    <a:pt x="146" y="445"/>
                  </a:cubicBezTo>
                  <a:close/>
                  <a:moveTo>
                    <a:pt x="135" y="434"/>
                  </a:moveTo>
                  <a:cubicBezTo>
                    <a:pt x="135" y="431"/>
                    <a:pt x="132" y="431"/>
                    <a:pt x="132" y="428"/>
                  </a:cubicBezTo>
                  <a:cubicBezTo>
                    <a:pt x="129" y="436"/>
                    <a:pt x="132" y="434"/>
                    <a:pt x="135" y="434"/>
                  </a:cubicBezTo>
                  <a:close/>
                  <a:moveTo>
                    <a:pt x="152" y="425"/>
                  </a:moveTo>
                  <a:cubicBezTo>
                    <a:pt x="149" y="425"/>
                    <a:pt x="146" y="425"/>
                    <a:pt x="146" y="428"/>
                  </a:cubicBezTo>
                  <a:lnTo>
                    <a:pt x="143" y="434"/>
                  </a:lnTo>
                  <a:cubicBezTo>
                    <a:pt x="146" y="434"/>
                    <a:pt x="146" y="431"/>
                    <a:pt x="149" y="428"/>
                  </a:cubicBezTo>
                  <a:cubicBezTo>
                    <a:pt x="149" y="428"/>
                    <a:pt x="149" y="425"/>
                    <a:pt x="152" y="425"/>
                  </a:cubicBezTo>
                  <a:close/>
                  <a:moveTo>
                    <a:pt x="152" y="439"/>
                  </a:moveTo>
                  <a:lnTo>
                    <a:pt x="149" y="439"/>
                  </a:lnTo>
                  <a:lnTo>
                    <a:pt x="149" y="442"/>
                  </a:lnTo>
                  <a:lnTo>
                    <a:pt x="149" y="445"/>
                  </a:lnTo>
                  <a:lnTo>
                    <a:pt x="152" y="445"/>
                  </a:lnTo>
                  <a:lnTo>
                    <a:pt x="152" y="439"/>
                  </a:lnTo>
                  <a:close/>
                  <a:moveTo>
                    <a:pt x="152" y="355"/>
                  </a:moveTo>
                  <a:lnTo>
                    <a:pt x="155" y="355"/>
                  </a:lnTo>
                  <a:lnTo>
                    <a:pt x="155" y="352"/>
                  </a:lnTo>
                  <a:cubicBezTo>
                    <a:pt x="152" y="352"/>
                    <a:pt x="152" y="352"/>
                    <a:pt x="152" y="355"/>
                  </a:cubicBezTo>
                  <a:close/>
                  <a:moveTo>
                    <a:pt x="155" y="343"/>
                  </a:moveTo>
                  <a:lnTo>
                    <a:pt x="155" y="340"/>
                  </a:lnTo>
                  <a:cubicBezTo>
                    <a:pt x="152" y="340"/>
                    <a:pt x="152" y="343"/>
                    <a:pt x="155" y="343"/>
                  </a:cubicBezTo>
                  <a:close/>
                  <a:moveTo>
                    <a:pt x="152" y="391"/>
                  </a:moveTo>
                  <a:lnTo>
                    <a:pt x="158" y="391"/>
                  </a:lnTo>
                  <a:lnTo>
                    <a:pt x="160" y="394"/>
                  </a:lnTo>
                  <a:lnTo>
                    <a:pt x="160" y="391"/>
                  </a:lnTo>
                  <a:lnTo>
                    <a:pt x="160" y="388"/>
                  </a:lnTo>
                  <a:lnTo>
                    <a:pt x="158" y="388"/>
                  </a:lnTo>
                  <a:cubicBezTo>
                    <a:pt x="155" y="388"/>
                    <a:pt x="155" y="391"/>
                    <a:pt x="152" y="391"/>
                  </a:cubicBezTo>
                  <a:close/>
                  <a:moveTo>
                    <a:pt x="160" y="434"/>
                  </a:moveTo>
                  <a:cubicBezTo>
                    <a:pt x="158" y="434"/>
                    <a:pt x="158" y="431"/>
                    <a:pt x="158" y="431"/>
                  </a:cubicBezTo>
                  <a:lnTo>
                    <a:pt x="158" y="425"/>
                  </a:lnTo>
                  <a:lnTo>
                    <a:pt x="155" y="425"/>
                  </a:lnTo>
                  <a:lnTo>
                    <a:pt x="158" y="434"/>
                  </a:lnTo>
                  <a:cubicBezTo>
                    <a:pt x="155" y="434"/>
                    <a:pt x="158" y="434"/>
                    <a:pt x="160" y="434"/>
                  </a:cubicBezTo>
                  <a:close/>
                  <a:moveTo>
                    <a:pt x="160" y="408"/>
                  </a:moveTo>
                  <a:cubicBezTo>
                    <a:pt x="158" y="408"/>
                    <a:pt x="158" y="408"/>
                    <a:pt x="155" y="405"/>
                  </a:cubicBezTo>
                  <a:lnTo>
                    <a:pt x="152" y="408"/>
                  </a:lnTo>
                  <a:lnTo>
                    <a:pt x="152" y="411"/>
                  </a:lnTo>
                  <a:lnTo>
                    <a:pt x="155" y="411"/>
                  </a:lnTo>
                  <a:cubicBezTo>
                    <a:pt x="160" y="411"/>
                    <a:pt x="160" y="411"/>
                    <a:pt x="160" y="408"/>
                  </a:cubicBezTo>
                  <a:close/>
                  <a:moveTo>
                    <a:pt x="163" y="366"/>
                  </a:moveTo>
                  <a:cubicBezTo>
                    <a:pt x="160" y="366"/>
                    <a:pt x="160" y="366"/>
                    <a:pt x="158" y="363"/>
                  </a:cubicBezTo>
                  <a:lnTo>
                    <a:pt x="158" y="366"/>
                  </a:lnTo>
                  <a:lnTo>
                    <a:pt x="163" y="366"/>
                  </a:lnTo>
                  <a:close/>
                  <a:moveTo>
                    <a:pt x="160" y="377"/>
                  </a:moveTo>
                  <a:cubicBezTo>
                    <a:pt x="162" y="377"/>
                    <a:pt x="163" y="377"/>
                    <a:pt x="163" y="374"/>
                  </a:cubicBezTo>
                  <a:cubicBezTo>
                    <a:pt x="163" y="374"/>
                    <a:pt x="157" y="377"/>
                    <a:pt x="160" y="377"/>
                  </a:cubicBezTo>
                  <a:close/>
                  <a:moveTo>
                    <a:pt x="163" y="360"/>
                  </a:moveTo>
                  <a:lnTo>
                    <a:pt x="160" y="355"/>
                  </a:lnTo>
                  <a:lnTo>
                    <a:pt x="160" y="357"/>
                  </a:lnTo>
                  <a:lnTo>
                    <a:pt x="163" y="360"/>
                  </a:lnTo>
                  <a:close/>
                  <a:moveTo>
                    <a:pt x="172" y="411"/>
                  </a:moveTo>
                  <a:lnTo>
                    <a:pt x="172" y="408"/>
                  </a:lnTo>
                  <a:lnTo>
                    <a:pt x="169" y="408"/>
                  </a:lnTo>
                  <a:cubicBezTo>
                    <a:pt x="172" y="405"/>
                    <a:pt x="169" y="405"/>
                    <a:pt x="166" y="405"/>
                  </a:cubicBezTo>
                  <a:lnTo>
                    <a:pt x="163" y="405"/>
                  </a:lnTo>
                  <a:lnTo>
                    <a:pt x="163" y="411"/>
                  </a:lnTo>
                  <a:lnTo>
                    <a:pt x="169" y="411"/>
                  </a:lnTo>
                  <a:lnTo>
                    <a:pt x="169" y="417"/>
                  </a:lnTo>
                  <a:cubicBezTo>
                    <a:pt x="169" y="411"/>
                    <a:pt x="172" y="411"/>
                    <a:pt x="172" y="411"/>
                  </a:cubicBezTo>
                  <a:close/>
                  <a:moveTo>
                    <a:pt x="163" y="394"/>
                  </a:moveTo>
                  <a:cubicBezTo>
                    <a:pt x="166" y="394"/>
                    <a:pt x="166" y="394"/>
                    <a:pt x="169" y="397"/>
                  </a:cubicBezTo>
                  <a:cubicBezTo>
                    <a:pt x="169" y="394"/>
                    <a:pt x="169" y="394"/>
                    <a:pt x="163" y="39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7" name="Freeform 1455"/>
            <p:cNvSpPr>
              <a:spLocks noChangeArrowheads="1"/>
            </p:cNvSpPr>
            <p:nvPr/>
          </p:nvSpPr>
          <p:spPr bwMode="auto">
            <a:xfrm>
              <a:off x="3886200" y="2493963"/>
              <a:ext cx="74613" cy="174625"/>
            </a:xfrm>
            <a:custGeom>
              <a:avLst/>
              <a:gdLst>
                <a:gd name="T0" fmla="*/ 189 w 207"/>
                <a:gd name="T1" fmla="*/ 453 h 485"/>
                <a:gd name="T2" fmla="*/ 62 w 207"/>
                <a:gd name="T3" fmla="*/ 427 h 485"/>
                <a:gd name="T4" fmla="*/ 45 w 207"/>
                <a:gd name="T5" fmla="*/ 332 h 485"/>
                <a:gd name="T6" fmla="*/ 17 w 207"/>
                <a:gd name="T7" fmla="*/ 197 h 485"/>
                <a:gd name="T8" fmla="*/ 25 w 207"/>
                <a:gd name="T9" fmla="*/ 14 h 485"/>
                <a:gd name="T10" fmla="*/ 129 w 207"/>
                <a:gd name="T11" fmla="*/ 56 h 485"/>
                <a:gd name="T12" fmla="*/ 135 w 207"/>
                <a:gd name="T13" fmla="*/ 112 h 485"/>
                <a:gd name="T14" fmla="*/ 158 w 207"/>
                <a:gd name="T15" fmla="*/ 194 h 485"/>
                <a:gd name="T16" fmla="*/ 180 w 207"/>
                <a:gd name="T17" fmla="*/ 315 h 485"/>
                <a:gd name="T18" fmla="*/ 36 w 207"/>
                <a:gd name="T19" fmla="*/ 67 h 485"/>
                <a:gd name="T20" fmla="*/ 39 w 207"/>
                <a:gd name="T21" fmla="*/ 56 h 485"/>
                <a:gd name="T22" fmla="*/ 42 w 207"/>
                <a:gd name="T23" fmla="*/ 132 h 485"/>
                <a:gd name="T24" fmla="*/ 42 w 207"/>
                <a:gd name="T25" fmla="*/ 39 h 485"/>
                <a:gd name="T26" fmla="*/ 48 w 207"/>
                <a:gd name="T27" fmla="*/ 214 h 485"/>
                <a:gd name="T28" fmla="*/ 135 w 207"/>
                <a:gd name="T29" fmla="*/ 348 h 485"/>
                <a:gd name="T30" fmla="*/ 121 w 207"/>
                <a:gd name="T31" fmla="*/ 250 h 485"/>
                <a:gd name="T32" fmla="*/ 98 w 207"/>
                <a:gd name="T33" fmla="*/ 155 h 485"/>
                <a:gd name="T34" fmla="*/ 65 w 207"/>
                <a:gd name="T35" fmla="*/ 70 h 485"/>
                <a:gd name="T36" fmla="*/ 79 w 207"/>
                <a:gd name="T37" fmla="*/ 222 h 485"/>
                <a:gd name="T38" fmla="*/ 98 w 207"/>
                <a:gd name="T39" fmla="*/ 309 h 485"/>
                <a:gd name="T40" fmla="*/ 56 w 207"/>
                <a:gd name="T41" fmla="*/ 258 h 485"/>
                <a:gd name="T42" fmla="*/ 62 w 207"/>
                <a:gd name="T43" fmla="*/ 255 h 485"/>
                <a:gd name="T44" fmla="*/ 65 w 207"/>
                <a:gd name="T45" fmla="*/ 28 h 485"/>
                <a:gd name="T46" fmla="*/ 67 w 207"/>
                <a:gd name="T47" fmla="*/ 309 h 485"/>
                <a:gd name="T48" fmla="*/ 70 w 207"/>
                <a:gd name="T49" fmla="*/ 365 h 485"/>
                <a:gd name="T50" fmla="*/ 76 w 207"/>
                <a:gd name="T51" fmla="*/ 42 h 485"/>
                <a:gd name="T52" fmla="*/ 73 w 207"/>
                <a:gd name="T53" fmla="*/ 396 h 485"/>
                <a:gd name="T54" fmla="*/ 84 w 207"/>
                <a:gd name="T55" fmla="*/ 357 h 485"/>
                <a:gd name="T56" fmla="*/ 88 w 207"/>
                <a:gd name="T57" fmla="*/ 51 h 485"/>
                <a:gd name="T58" fmla="*/ 104 w 207"/>
                <a:gd name="T59" fmla="*/ 42 h 485"/>
                <a:gd name="T60" fmla="*/ 90 w 207"/>
                <a:gd name="T61" fmla="*/ 410 h 485"/>
                <a:gd name="T62" fmla="*/ 104 w 207"/>
                <a:gd name="T63" fmla="*/ 442 h 485"/>
                <a:gd name="T64" fmla="*/ 113 w 207"/>
                <a:gd name="T65" fmla="*/ 76 h 485"/>
                <a:gd name="T66" fmla="*/ 121 w 207"/>
                <a:gd name="T67" fmla="*/ 79 h 485"/>
                <a:gd name="T68" fmla="*/ 118 w 207"/>
                <a:gd name="T69" fmla="*/ 107 h 485"/>
                <a:gd name="T70" fmla="*/ 124 w 207"/>
                <a:gd name="T71" fmla="*/ 141 h 485"/>
                <a:gd name="T72" fmla="*/ 132 w 207"/>
                <a:gd name="T73" fmla="*/ 160 h 485"/>
                <a:gd name="T74" fmla="*/ 121 w 207"/>
                <a:gd name="T75" fmla="*/ 456 h 485"/>
                <a:gd name="T76" fmla="*/ 124 w 207"/>
                <a:gd name="T77" fmla="*/ 144 h 485"/>
                <a:gd name="T78" fmla="*/ 129 w 207"/>
                <a:gd name="T79" fmla="*/ 107 h 485"/>
                <a:gd name="T80" fmla="*/ 135 w 207"/>
                <a:gd name="T81" fmla="*/ 169 h 485"/>
                <a:gd name="T82" fmla="*/ 135 w 207"/>
                <a:gd name="T83" fmla="*/ 152 h 485"/>
                <a:gd name="T84" fmla="*/ 149 w 207"/>
                <a:gd name="T85" fmla="*/ 224 h 485"/>
                <a:gd name="T86" fmla="*/ 138 w 207"/>
                <a:gd name="T87" fmla="*/ 191 h 485"/>
                <a:gd name="T88" fmla="*/ 141 w 207"/>
                <a:gd name="T89" fmla="*/ 450 h 485"/>
                <a:gd name="T90" fmla="*/ 155 w 207"/>
                <a:gd name="T91" fmla="*/ 272 h 485"/>
                <a:gd name="T92" fmla="*/ 146 w 207"/>
                <a:gd name="T93" fmla="*/ 250 h 485"/>
                <a:gd name="T94" fmla="*/ 163 w 207"/>
                <a:gd name="T95" fmla="*/ 298 h 485"/>
                <a:gd name="T96" fmla="*/ 161 w 207"/>
                <a:gd name="T97" fmla="*/ 433 h 485"/>
                <a:gd name="T98" fmla="*/ 166 w 207"/>
                <a:gd name="T99" fmla="*/ 295 h 485"/>
                <a:gd name="T100" fmla="*/ 158 w 207"/>
                <a:gd name="T101" fmla="*/ 332 h 485"/>
                <a:gd name="T102" fmla="*/ 161 w 207"/>
                <a:gd name="T103" fmla="*/ 326 h 485"/>
                <a:gd name="T104" fmla="*/ 161 w 207"/>
                <a:gd name="T105" fmla="*/ 334 h 485"/>
                <a:gd name="T106" fmla="*/ 161 w 207"/>
                <a:gd name="T107" fmla="*/ 368 h 485"/>
                <a:gd name="T108" fmla="*/ 177 w 207"/>
                <a:gd name="T109" fmla="*/ 379 h 485"/>
                <a:gd name="T110" fmla="*/ 166 w 207"/>
                <a:gd name="T111" fmla="*/ 413 h 485"/>
                <a:gd name="T112" fmla="*/ 169 w 207"/>
                <a:gd name="T113" fmla="*/ 315 h 485"/>
                <a:gd name="T114" fmla="*/ 175 w 207"/>
                <a:gd name="T115" fmla="*/ 399 h 485"/>
                <a:gd name="T116" fmla="*/ 175 w 207"/>
                <a:gd name="T117" fmla="*/ 3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7" h="485">
                  <a:moveTo>
                    <a:pt x="197" y="343"/>
                  </a:moveTo>
                  <a:cubicBezTo>
                    <a:pt x="197" y="351"/>
                    <a:pt x="200" y="357"/>
                    <a:pt x="200" y="365"/>
                  </a:cubicBezTo>
                  <a:lnTo>
                    <a:pt x="200" y="371"/>
                  </a:lnTo>
                  <a:lnTo>
                    <a:pt x="200" y="382"/>
                  </a:lnTo>
                  <a:lnTo>
                    <a:pt x="200" y="388"/>
                  </a:lnTo>
                  <a:cubicBezTo>
                    <a:pt x="206" y="394"/>
                    <a:pt x="203" y="396"/>
                    <a:pt x="200" y="402"/>
                  </a:cubicBezTo>
                  <a:lnTo>
                    <a:pt x="200" y="416"/>
                  </a:lnTo>
                  <a:lnTo>
                    <a:pt x="200" y="430"/>
                  </a:lnTo>
                  <a:lnTo>
                    <a:pt x="200" y="436"/>
                  </a:lnTo>
                  <a:cubicBezTo>
                    <a:pt x="200" y="439"/>
                    <a:pt x="197" y="439"/>
                    <a:pt x="197" y="442"/>
                  </a:cubicBezTo>
                  <a:cubicBezTo>
                    <a:pt x="194" y="444"/>
                    <a:pt x="192" y="450"/>
                    <a:pt x="189" y="453"/>
                  </a:cubicBezTo>
                  <a:lnTo>
                    <a:pt x="180" y="464"/>
                  </a:lnTo>
                  <a:cubicBezTo>
                    <a:pt x="175" y="470"/>
                    <a:pt x="166" y="475"/>
                    <a:pt x="158" y="481"/>
                  </a:cubicBezTo>
                  <a:cubicBezTo>
                    <a:pt x="158" y="478"/>
                    <a:pt x="155" y="481"/>
                    <a:pt x="152" y="481"/>
                  </a:cubicBezTo>
                  <a:cubicBezTo>
                    <a:pt x="149" y="481"/>
                    <a:pt x="146" y="481"/>
                    <a:pt x="141" y="484"/>
                  </a:cubicBezTo>
                  <a:cubicBezTo>
                    <a:pt x="138" y="481"/>
                    <a:pt x="138" y="481"/>
                    <a:pt x="135" y="481"/>
                  </a:cubicBezTo>
                  <a:lnTo>
                    <a:pt x="129" y="481"/>
                  </a:lnTo>
                  <a:cubicBezTo>
                    <a:pt x="115" y="484"/>
                    <a:pt x="104" y="478"/>
                    <a:pt x="93" y="470"/>
                  </a:cubicBezTo>
                  <a:cubicBezTo>
                    <a:pt x="87" y="467"/>
                    <a:pt x="84" y="464"/>
                    <a:pt x="82" y="458"/>
                  </a:cubicBezTo>
                  <a:cubicBezTo>
                    <a:pt x="82" y="456"/>
                    <a:pt x="79" y="453"/>
                    <a:pt x="76" y="453"/>
                  </a:cubicBezTo>
                  <a:cubicBezTo>
                    <a:pt x="76" y="453"/>
                    <a:pt x="73" y="453"/>
                    <a:pt x="70" y="450"/>
                  </a:cubicBezTo>
                  <a:cubicBezTo>
                    <a:pt x="70" y="442"/>
                    <a:pt x="67" y="433"/>
                    <a:pt x="62" y="427"/>
                  </a:cubicBezTo>
                  <a:lnTo>
                    <a:pt x="62" y="422"/>
                  </a:lnTo>
                  <a:lnTo>
                    <a:pt x="62" y="419"/>
                  </a:lnTo>
                  <a:cubicBezTo>
                    <a:pt x="62" y="416"/>
                    <a:pt x="59" y="413"/>
                    <a:pt x="59" y="410"/>
                  </a:cubicBezTo>
                  <a:cubicBezTo>
                    <a:pt x="56" y="405"/>
                    <a:pt x="53" y="399"/>
                    <a:pt x="56" y="394"/>
                  </a:cubicBezTo>
                  <a:lnTo>
                    <a:pt x="56" y="385"/>
                  </a:lnTo>
                  <a:cubicBezTo>
                    <a:pt x="56" y="382"/>
                    <a:pt x="53" y="377"/>
                    <a:pt x="53" y="374"/>
                  </a:cubicBezTo>
                  <a:lnTo>
                    <a:pt x="48" y="368"/>
                  </a:lnTo>
                  <a:cubicBezTo>
                    <a:pt x="45" y="365"/>
                    <a:pt x="48" y="365"/>
                    <a:pt x="48" y="360"/>
                  </a:cubicBezTo>
                  <a:lnTo>
                    <a:pt x="48" y="354"/>
                  </a:lnTo>
                  <a:lnTo>
                    <a:pt x="48" y="346"/>
                  </a:lnTo>
                  <a:cubicBezTo>
                    <a:pt x="45" y="340"/>
                    <a:pt x="45" y="338"/>
                    <a:pt x="45" y="332"/>
                  </a:cubicBezTo>
                  <a:cubicBezTo>
                    <a:pt x="45" y="327"/>
                    <a:pt x="42" y="323"/>
                    <a:pt x="42" y="317"/>
                  </a:cubicBezTo>
                  <a:cubicBezTo>
                    <a:pt x="39" y="315"/>
                    <a:pt x="39" y="312"/>
                    <a:pt x="39" y="309"/>
                  </a:cubicBezTo>
                  <a:cubicBezTo>
                    <a:pt x="39" y="306"/>
                    <a:pt x="39" y="306"/>
                    <a:pt x="36" y="303"/>
                  </a:cubicBezTo>
                  <a:cubicBezTo>
                    <a:pt x="36" y="300"/>
                    <a:pt x="34" y="300"/>
                    <a:pt x="34" y="298"/>
                  </a:cubicBezTo>
                  <a:lnTo>
                    <a:pt x="34" y="292"/>
                  </a:lnTo>
                  <a:lnTo>
                    <a:pt x="31" y="269"/>
                  </a:lnTo>
                  <a:cubicBezTo>
                    <a:pt x="31" y="264"/>
                    <a:pt x="28" y="255"/>
                    <a:pt x="28" y="250"/>
                  </a:cubicBezTo>
                  <a:lnTo>
                    <a:pt x="28" y="241"/>
                  </a:lnTo>
                  <a:lnTo>
                    <a:pt x="25" y="224"/>
                  </a:lnTo>
                  <a:cubicBezTo>
                    <a:pt x="22" y="220"/>
                    <a:pt x="22" y="214"/>
                    <a:pt x="19" y="206"/>
                  </a:cubicBezTo>
                  <a:cubicBezTo>
                    <a:pt x="19" y="203"/>
                    <a:pt x="17" y="200"/>
                    <a:pt x="17" y="197"/>
                  </a:cubicBezTo>
                  <a:cubicBezTo>
                    <a:pt x="17" y="194"/>
                    <a:pt x="17" y="191"/>
                    <a:pt x="14" y="189"/>
                  </a:cubicBezTo>
                  <a:cubicBezTo>
                    <a:pt x="11" y="186"/>
                    <a:pt x="8" y="180"/>
                    <a:pt x="11" y="175"/>
                  </a:cubicBezTo>
                  <a:lnTo>
                    <a:pt x="11" y="160"/>
                  </a:lnTo>
                  <a:cubicBezTo>
                    <a:pt x="11" y="158"/>
                    <a:pt x="8" y="152"/>
                    <a:pt x="8" y="149"/>
                  </a:cubicBezTo>
                  <a:cubicBezTo>
                    <a:pt x="8" y="141"/>
                    <a:pt x="8" y="135"/>
                    <a:pt x="5" y="127"/>
                  </a:cubicBezTo>
                  <a:cubicBezTo>
                    <a:pt x="2" y="115"/>
                    <a:pt x="0" y="101"/>
                    <a:pt x="0" y="90"/>
                  </a:cubicBezTo>
                  <a:lnTo>
                    <a:pt x="0" y="65"/>
                  </a:lnTo>
                  <a:lnTo>
                    <a:pt x="0" y="56"/>
                  </a:lnTo>
                  <a:cubicBezTo>
                    <a:pt x="0" y="45"/>
                    <a:pt x="5" y="31"/>
                    <a:pt x="14" y="22"/>
                  </a:cubicBezTo>
                  <a:lnTo>
                    <a:pt x="22" y="14"/>
                  </a:lnTo>
                  <a:lnTo>
                    <a:pt x="25" y="14"/>
                  </a:lnTo>
                  <a:cubicBezTo>
                    <a:pt x="28" y="14"/>
                    <a:pt x="31" y="11"/>
                    <a:pt x="34" y="11"/>
                  </a:cubicBezTo>
                  <a:lnTo>
                    <a:pt x="42" y="8"/>
                  </a:lnTo>
                  <a:cubicBezTo>
                    <a:pt x="45" y="8"/>
                    <a:pt x="47" y="5"/>
                    <a:pt x="50" y="5"/>
                  </a:cubicBezTo>
                  <a:cubicBezTo>
                    <a:pt x="52" y="5"/>
                    <a:pt x="56" y="2"/>
                    <a:pt x="59" y="2"/>
                  </a:cubicBezTo>
                  <a:cubicBezTo>
                    <a:pt x="62" y="2"/>
                    <a:pt x="65" y="0"/>
                    <a:pt x="65" y="2"/>
                  </a:cubicBezTo>
                  <a:lnTo>
                    <a:pt x="82" y="5"/>
                  </a:lnTo>
                  <a:cubicBezTo>
                    <a:pt x="93" y="8"/>
                    <a:pt x="104" y="11"/>
                    <a:pt x="110" y="19"/>
                  </a:cubicBezTo>
                  <a:cubicBezTo>
                    <a:pt x="113" y="25"/>
                    <a:pt x="118" y="31"/>
                    <a:pt x="121" y="34"/>
                  </a:cubicBezTo>
                  <a:cubicBezTo>
                    <a:pt x="124" y="36"/>
                    <a:pt x="124" y="36"/>
                    <a:pt x="124" y="39"/>
                  </a:cubicBezTo>
                  <a:cubicBezTo>
                    <a:pt x="124" y="42"/>
                    <a:pt x="124" y="45"/>
                    <a:pt x="127" y="48"/>
                  </a:cubicBezTo>
                  <a:lnTo>
                    <a:pt x="129" y="56"/>
                  </a:lnTo>
                  <a:cubicBezTo>
                    <a:pt x="129" y="59"/>
                    <a:pt x="132" y="62"/>
                    <a:pt x="132" y="65"/>
                  </a:cubicBezTo>
                  <a:lnTo>
                    <a:pt x="132" y="70"/>
                  </a:lnTo>
                  <a:cubicBezTo>
                    <a:pt x="129" y="76"/>
                    <a:pt x="132" y="81"/>
                    <a:pt x="132" y="84"/>
                  </a:cubicBezTo>
                  <a:cubicBezTo>
                    <a:pt x="132" y="84"/>
                    <a:pt x="132" y="87"/>
                    <a:pt x="135" y="87"/>
                  </a:cubicBezTo>
                  <a:lnTo>
                    <a:pt x="135" y="93"/>
                  </a:lnTo>
                  <a:lnTo>
                    <a:pt x="135" y="96"/>
                  </a:lnTo>
                  <a:cubicBezTo>
                    <a:pt x="135" y="96"/>
                    <a:pt x="138" y="98"/>
                    <a:pt x="135" y="98"/>
                  </a:cubicBezTo>
                  <a:lnTo>
                    <a:pt x="135" y="101"/>
                  </a:lnTo>
                  <a:lnTo>
                    <a:pt x="135" y="107"/>
                  </a:lnTo>
                  <a:lnTo>
                    <a:pt x="135" y="110"/>
                  </a:lnTo>
                  <a:lnTo>
                    <a:pt x="135" y="112"/>
                  </a:lnTo>
                  <a:cubicBezTo>
                    <a:pt x="138" y="115"/>
                    <a:pt x="138" y="115"/>
                    <a:pt x="138" y="118"/>
                  </a:cubicBezTo>
                  <a:cubicBezTo>
                    <a:pt x="138" y="121"/>
                    <a:pt x="141" y="124"/>
                    <a:pt x="141" y="129"/>
                  </a:cubicBezTo>
                  <a:cubicBezTo>
                    <a:pt x="141" y="132"/>
                    <a:pt x="141" y="138"/>
                    <a:pt x="144" y="141"/>
                  </a:cubicBezTo>
                  <a:lnTo>
                    <a:pt x="144" y="144"/>
                  </a:lnTo>
                  <a:lnTo>
                    <a:pt x="144" y="146"/>
                  </a:lnTo>
                  <a:lnTo>
                    <a:pt x="146" y="149"/>
                  </a:lnTo>
                  <a:cubicBezTo>
                    <a:pt x="146" y="152"/>
                    <a:pt x="146" y="155"/>
                    <a:pt x="149" y="158"/>
                  </a:cubicBezTo>
                  <a:lnTo>
                    <a:pt x="149" y="169"/>
                  </a:lnTo>
                  <a:cubicBezTo>
                    <a:pt x="149" y="169"/>
                    <a:pt x="149" y="172"/>
                    <a:pt x="152" y="175"/>
                  </a:cubicBezTo>
                  <a:cubicBezTo>
                    <a:pt x="155" y="180"/>
                    <a:pt x="155" y="186"/>
                    <a:pt x="155" y="191"/>
                  </a:cubicBezTo>
                  <a:lnTo>
                    <a:pt x="158" y="194"/>
                  </a:lnTo>
                  <a:lnTo>
                    <a:pt x="158" y="200"/>
                  </a:lnTo>
                  <a:lnTo>
                    <a:pt x="161" y="220"/>
                  </a:lnTo>
                  <a:lnTo>
                    <a:pt x="161" y="224"/>
                  </a:lnTo>
                  <a:lnTo>
                    <a:pt x="161" y="236"/>
                  </a:lnTo>
                  <a:lnTo>
                    <a:pt x="161" y="241"/>
                  </a:lnTo>
                  <a:cubicBezTo>
                    <a:pt x="161" y="244"/>
                    <a:pt x="161" y="250"/>
                    <a:pt x="163" y="253"/>
                  </a:cubicBezTo>
                  <a:cubicBezTo>
                    <a:pt x="166" y="258"/>
                    <a:pt x="169" y="267"/>
                    <a:pt x="169" y="272"/>
                  </a:cubicBezTo>
                  <a:cubicBezTo>
                    <a:pt x="169" y="275"/>
                    <a:pt x="169" y="278"/>
                    <a:pt x="172" y="284"/>
                  </a:cubicBezTo>
                  <a:cubicBezTo>
                    <a:pt x="175" y="286"/>
                    <a:pt x="175" y="292"/>
                    <a:pt x="177" y="298"/>
                  </a:cubicBezTo>
                  <a:cubicBezTo>
                    <a:pt x="177" y="303"/>
                    <a:pt x="177" y="306"/>
                    <a:pt x="180" y="312"/>
                  </a:cubicBezTo>
                  <a:lnTo>
                    <a:pt x="180" y="315"/>
                  </a:lnTo>
                  <a:lnTo>
                    <a:pt x="180" y="320"/>
                  </a:lnTo>
                  <a:lnTo>
                    <a:pt x="180" y="323"/>
                  </a:lnTo>
                  <a:cubicBezTo>
                    <a:pt x="194" y="329"/>
                    <a:pt x="197" y="337"/>
                    <a:pt x="197" y="343"/>
                  </a:cubicBezTo>
                  <a:close/>
                  <a:moveTo>
                    <a:pt x="25" y="101"/>
                  </a:moveTo>
                  <a:cubicBezTo>
                    <a:pt x="28" y="104"/>
                    <a:pt x="28" y="104"/>
                    <a:pt x="31" y="104"/>
                  </a:cubicBezTo>
                  <a:lnTo>
                    <a:pt x="31" y="98"/>
                  </a:lnTo>
                  <a:lnTo>
                    <a:pt x="25" y="101"/>
                  </a:lnTo>
                  <a:close/>
                  <a:moveTo>
                    <a:pt x="36" y="70"/>
                  </a:moveTo>
                  <a:cubicBezTo>
                    <a:pt x="39" y="70"/>
                    <a:pt x="39" y="70"/>
                    <a:pt x="42" y="67"/>
                  </a:cubicBezTo>
                  <a:lnTo>
                    <a:pt x="39" y="67"/>
                  </a:lnTo>
                  <a:lnTo>
                    <a:pt x="36" y="67"/>
                  </a:lnTo>
                  <a:cubicBezTo>
                    <a:pt x="34" y="67"/>
                    <a:pt x="31" y="70"/>
                    <a:pt x="28" y="70"/>
                  </a:cubicBezTo>
                  <a:lnTo>
                    <a:pt x="28" y="73"/>
                  </a:lnTo>
                  <a:lnTo>
                    <a:pt x="36" y="70"/>
                  </a:lnTo>
                  <a:close/>
                  <a:moveTo>
                    <a:pt x="31" y="132"/>
                  </a:moveTo>
                  <a:lnTo>
                    <a:pt x="34" y="132"/>
                  </a:lnTo>
                  <a:cubicBezTo>
                    <a:pt x="34" y="132"/>
                    <a:pt x="34" y="129"/>
                    <a:pt x="31" y="127"/>
                  </a:cubicBezTo>
                  <a:lnTo>
                    <a:pt x="31" y="132"/>
                  </a:lnTo>
                  <a:close/>
                  <a:moveTo>
                    <a:pt x="34" y="59"/>
                  </a:moveTo>
                  <a:lnTo>
                    <a:pt x="39" y="59"/>
                  </a:lnTo>
                  <a:cubicBezTo>
                    <a:pt x="39" y="62"/>
                    <a:pt x="42" y="62"/>
                    <a:pt x="45" y="59"/>
                  </a:cubicBezTo>
                  <a:cubicBezTo>
                    <a:pt x="42" y="59"/>
                    <a:pt x="42" y="56"/>
                    <a:pt x="39" y="56"/>
                  </a:cubicBezTo>
                  <a:cubicBezTo>
                    <a:pt x="36" y="56"/>
                    <a:pt x="36" y="53"/>
                    <a:pt x="34" y="53"/>
                  </a:cubicBezTo>
                  <a:lnTo>
                    <a:pt x="34" y="59"/>
                  </a:lnTo>
                  <a:close/>
                  <a:moveTo>
                    <a:pt x="39" y="175"/>
                  </a:moveTo>
                  <a:lnTo>
                    <a:pt x="36" y="172"/>
                  </a:lnTo>
                  <a:cubicBezTo>
                    <a:pt x="34" y="175"/>
                    <a:pt x="36" y="177"/>
                    <a:pt x="39" y="175"/>
                  </a:cubicBezTo>
                  <a:close/>
                  <a:moveTo>
                    <a:pt x="36" y="48"/>
                  </a:moveTo>
                  <a:cubicBezTo>
                    <a:pt x="39" y="48"/>
                    <a:pt x="39" y="45"/>
                    <a:pt x="42" y="45"/>
                  </a:cubicBezTo>
                  <a:cubicBezTo>
                    <a:pt x="39" y="45"/>
                    <a:pt x="39" y="42"/>
                    <a:pt x="36" y="39"/>
                  </a:cubicBezTo>
                  <a:lnTo>
                    <a:pt x="36" y="48"/>
                  </a:lnTo>
                  <a:close/>
                  <a:moveTo>
                    <a:pt x="45" y="138"/>
                  </a:moveTo>
                  <a:cubicBezTo>
                    <a:pt x="45" y="138"/>
                    <a:pt x="45" y="135"/>
                    <a:pt x="42" y="132"/>
                  </a:cubicBezTo>
                  <a:lnTo>
                    <a:pt x="39" y="138"/>
                  </a:lnTo>
                  <a:lnTo>
                    <a:pt x="45" y="138"/>
                  </a:lnTo>
                  <a:close/>
                  <a:moveTo>
                    <a:pt x="42" y="186"/>
                  </a:moveTo>
                  <a:lnTo>
                    <a:pt x="45" y="186"/>
                  </a:lnTo>
                  <a:lnTo>
                    <a:pt x="45" y="183"/>
                  </a:lnTo>
                  <a:cubicBezTo>
                    <a:pt x="45" y="186"/>
                    <a:pt x="45" y="186"/>
                    <a:pt x="42" y="186"/>
                  </a:cubicBezTo>
                  <a:close/>
                  <a:moveTo>
                    <a:pt x="42" y="175"/>
                  </a:moveTo>
                  <a:lnTo>
                    <a:pt x="45" y="175"/>
                  </a:lnTo>
                  <a:lnTo>
                    <a:pt x="45" y="172"/>
                  </a:lnTo>
                  <a:lnTo>
                    <a:pt x="42" y="175"/>
                  </a:lnTo>
                  <a:close/>
                  <a:moveTo>
                    <a:pt x="42" y="39"/>
                  </a:moveTo>
                  <a:lnTo>
                    <a:pt x="45" y="42"/>
                  </a:lnTo>
                  <a:lnTo>
                    <a:pt x="48" y="42"/>
                  </a:lnTo>
                  <a:lnTo>
                    <a:pt x="45" y="39"/>
                  </a:lnTo>
                  <a:cubicBezTo>
                    <a:pt x="48" y="36"/>
                    <a:pt x="45" y="36"/>
                    <a:pt x="42" y="39"/>
                  </a:cubicBezTo>
                  <a:close/>
                  <a:moveTo>
                    <a:pt x="45" y="45"/>
                  </a:moveTo>
                  <a:cubicBezTo>
                    <a:pt x="48" y="48"/>
                    <a:pt x="48" y="50"/>
                    <a:pt x="50" y="53"/>
                  </a:cubicBezTo>
                  <a:cubicBezTo>
                    <a:pt x="53" y="50"/>
                    <a:pt x="53" y="48"/>
                    <a:pt x="56" y="42"/>
                  </a:cubicBezTo>
                  <a:lnTo>
                    <a:pt x="45" y="45"/>
                  </a:lnTo>
                  <a:close/>
                  <a:moveTo>
                    <a:pt x="53" y="211"/>
                  </a:moveTo>
                  <a:lnTo>
                    <a:pt x="48" y="211"/>
                  </a:lnTo>
                  <a:lnTo>
                    <a:pt x="48" y="214"/>
                  </a:lnTo>
                  <a:lnTo>
                    <a:pt x="50" y="214"/>
                  </a:lnTo>
                  <a:lnTo>
                    <a:pt x="53" y="211"/>
                  </a:lnTo>
                  <a:close/>
                  <a:moveTo>
                    <a:pt x="113" y="413"/>
                  </a:moveTo>
                  <a:lnTo>
                    <a:pt x="118" y="419"/>
                  </a:lnTo>
                  <a:cubicBezTo>
                    <a:pt x="121" y="422"/>
                    <a:pt x="124" y="422"/>
                    <a:pt x="124" y="425"/>
                  </a:cubicBezTo>
                  <a:lnTo>
                    <a:pt x="135" y="422"/>
                  </a:lnTo>
                  <a:cubicBezTo>
                    <a:pt x="141" y="413"/>
                    <a:pt x="144" y="402"/>
                    <a:pt x="141" y="391"/>
                  </a:cubicBezTo>
                  <a:lnTo>
                    <a:pt x="141" y="385"/>
                  </a:lnTo>
                  <a:lnTo>
                    <a:pt x="141" y="379"/>
                  </a:lnTo>
                  <a:cubicBezTo>
                    <a:pt x="141" y="368"/>
                    <a:pt x="141" y="369"/>
                    <a:pt x="138" y="363"/>
                  </a:cubicBezTo>
                  <a:cubicBezTo>
                    <a:pt x="135" y="358"/>
                    <a:pt x="135" y="351"/>
                    <a:pt x="135" y="348"/>
                  </a:cubicBezTo>
                  <a:lnTo>
                    <a:pt x="135" y="334"/>
                  </a:lnTo>
                  <a:cubicBezTo>
                    <a:pt x="132" y="332"/>
                    <a:pt x="132" y="326"/>
                    <a:pt x="132" y="323"/>
                  </a:cubicBezTo>
                  <a:cubicBezTo>
                    <a:pt x="132" y="320"/>
                    <a:pt x="132" y="315"/>
                    <a:pt x="129" y="312"/>
                  </a:cubicBezTo>
                  <a:lnTo>
                    <a:pt x="127" y="289"/>
                  </a:lnTo>
                  <a:lnTo>
                    <a:pt x="127" y="284"/>
                  </a:lnTo>
                  <a:lnTo>
                    <a:pt x="127" y="278"/>
                  </a:lnTo>
                  <a:lnTo>
                    <a:pt x="127" y="272"/>
                  </a:lnTo>
                  <a:cubicBezTo>
                    <a:pt x="127" y="269"/>
                    <a:pt x="124" y="269"/>
                    <a:pt x="124" y="267"/>
                  </a:cubicBezTo>
                  <a:lnTo>
                    <a:pt x="121" y="255"/>
                  </a:lnTo>
                  <a:lnTo>
                    <a:pt x="121" y="253"/>
                  </a:lnTo>
                  <a:lnTo>
                    <a:pt x="121" y="250"/>
                  </a:lnTo>
                  <a:lnTo>
                    <a:pt x="115" y="244"/>
                  </a:lnTo>
                  <a:lnTo>
                    <a:pt x="115" y="238"/>
                  </a:lnTo>
                  <a:lnTo>
                    <a:pt x="115" y="227"/>
                  </a:lnTo>
                  <a:lnTo>
                    <a:pt x="115" y="217"/>
                  </a:lnTo>
                  <a:cubicBezTo>
                    <a:pt x="115" y="214"/>
                    <a:pt x="115" y="208"/>
                    <a:pt x="113" y="206"/>
                  </a:cubicBezTo>
                  <a:cubicBezTo>
                    <a:pt x="110" y="203"/>
                    <a:pt x="107" y="197"/>
                    <a:pt x="107" y="194"/>
                  </a:cubicBezTo>
                  <a:lnTo>
                    <a:pt x="107" y="189"/>
                  </a:lnTo>
                  <a:lnTo>
                    <a:pt x="107" y="175"/>
                  </a:lnTo>
                  <a:lnTo>
                    <a:pt x="107" y="169"/>
                  </a:lnTo>
                  <a:cubicBezTo>
                    <a:pt x="107" y="166"/>
                    <a:pt x="107" y="166"/>
                    <a:pt x="104" y="163"/>
                  </a:cubicBezTo>
                  <a:cubicBezTo>
                    <a:pt x="104" y="160"/>
                    <a:pt x="101" y="158"/>
                    <a:pt x="98" y="155"/>
                  </a:cubicBezTo>
                  <a:cubicBezTo>
                    <a:pt x="96" y="152"/>
                    <a:pt x="96" y="149"/>
                    <a:pt x="98" y="146"/>
                  </a:cubicBezTo>
                  <a:lnTo>
                    <a:pt x="98" y="138"/>
                  </a:lnTo>
                  <a:lnTo>
                    <a:pt x="98" y="129"/>
                  </a:lnTo>
                  <a:cubicBezTo>
                    <a:pt x="101" y="127"/>
                    <a:pt x="98" y="124"/>
                    <a:pt x="98" y="121"/>
                  </a:cubicBezTo>
                  <a:cubicBezTo>
                    <a:pt x="96" y="121"/>
                    <a:pt x="96" y="118"/>
                    <a:pt x="96" y="115"/>
                  </a:cubicBezTo>
                  <a:lnTo>
                    <a:pt x="96" y="110"/>
                  </a:lnTo>
                  <a:lnTo>
                    <a:pt x="93" y="96"/>
                  </a:lnTo>
                  <a:cubicBezTo>
                    <a:pt x="93" y="90"/>
                    <a:pt x="90" y="84"/>
                    <a:pt x="87" y="79"/>
                  </a:cubicBezTo>
                  <a:cubicBezTo>
                    <a:pt x="87" y="76"/>
                    <a:pt x="84" y="76"/>
                    <a:pt x="82" y="73"/>
                  </a:cubicBezTo>
                  <a:cubicBezTo>
                    <a:pt x="79" y="73"/>
                    <a:pt x="79" y="70"/>
                    <a:pt x="76" y="67"/>
                  </a:cubicBezTo>
                  <a:lnTo>
                    <a:pt x="65" y="70"/>
                  </a:lnTo>
                  <a:lnTo>
                    <a:pt x="62" y="73"/>
                  </a:lnTo>
                  <a:lnTo>
                    <a:pt x="59" y="76"/>
                  </a:lnTo>
                  <a:cubicBezTo>
                    <a:pt x="59" y="79"/>
                    <a:pt x="59" y="84"/>
                    <a:pt x="56" y="87"/>
                  </a:cubicBezTo>
                  <a:cubicBezTo>
                    <a:pt x="53" y="93"/>
                    <a:pt x="56" y="96"/>
                    <a:pt x="59" y="101"/>
                  </a:cubicBezTo>
                  <a:lnTo>
                    <a:pt x="67" y="146"/>
                  </a:lnTo>
                  <a:lnTo>
                    <a:pt x="67" y="163"/>
                  </a:lnTo>
                  <a:cubicBezTo>
                    <a:pt x="67" y="166"/>
                    <a:pt x="67" y="169"/>
                    <a:pt x="70" y="169"/>
                  </a:cubicBezTo>
                  <a:cubicBezTo>
                    <a:pt x="73" y="175"/>
                    <a:pt x="76" y="180"/>
                    <a:pt x="73" y="183"/>
                  </a:cubicBezTo>
                  <a:cubicBezTo>
                    <a:pt x="73" y="186"/>
                    <a:pt x="73" y="191"/>
                    <a:pt x="76" y="194"/>
                  </a:cubicBezTo>
                  <a:lnTo>
                    <a:pt x="76" y="200"/>
                  </a:lnTo>
                  <a:cubicBezTo>
                    <a:pt x="79" y="206"/>
                    <a:pt x="82" y="214"/>
                    <a:pt x="79" y="222"/>
                  </a:cubicBezTo>
                  <a:cubicBezTo>
                    <a:pt x="79" y="227"/>
                    <a:pt x="79" y="233"/>
                    <a:pt x="82" y="236"/>
                  </a:cubicBezTo>
                  <a:lnTo>
                    <a:pt x="82" y="238"/>
                  </a:lnTo>
                  <a:lnTo>
                    <a:pt x="82" y="241"/>
                  </a:lnTo>
                  <a:cubicBezTo>
                    <a:pt x="82" y="244"/>
                    <a:pt x="82" y="244"/>
                    <a:pt x="84" y="247"/>
                  </a:cubicBezTo>
                  <a:cubicBezTo>
                    <a:pt x="84" y="250"/>
                    <a:pt x="87" y="255"/>
                    <a:pt x="87" y="258"/>
                  </a:cubicBezTo>
                  <a:cubicBezTo>
                    <a:pt x="87" y="261"/>
                    <a:pt x="87" y="264"/>
                    <a:pt x="90" y="264"/>
                  </a:cubicBezTo>
                  <a:cubicBezTo>
                    <a:pt x="93" y="269"/>
                    <a:pt x="93" y="275"/>
                    <a:pt x="90" y="281"/>
                  </a:cubicBezTo>
                  <a:cubicBezTo>
                    <a:pt x="93" y="284"/>
                    <a:pt x="93" y="289"/>
                    <a:pt x="96" y="292"/>
                  </a:cubicBezTo>
                  <a:lnTo>
                    <a:pt x="96" y="298"/>
                  </a:lnTo>
                  <a:lnTo>
                    <a:pt x="96" y="303"/>
                  </a:lnTo>
                  <a:cubicBezTo>
                    <a:pt x="96" y="306"/>
                    <a:pt x="98" y="306"/>
                    <a:pt x="98" y="309"/>
                  </a:cubicBezTo>
                  <a:cubicBezTo>
                    <a:pt x="98" y="315"/>
                    <a:pt x="101" y="317"/>
                    <a:pt x="101" y="320"/>
                  </a:cubicBezTo>
                  <a:lnTo>
                    <a:pt x="101" y="323"/>
                  </a:lnTo>
                  <a:lnTo>
                    <a:pt x="101" y="326"/>
                  </a:lnTo>
                  <a:cubicBezTo>
                    <a:pt x="101" y="337"/>
                    <a:pt x="101" y="348"/>
                    <a:pt x="107" y="360"/>
                  </a:cubicBezTo>
                  <a:cubicBezTo>
                    <a:pt x="107" y="363"/>
                    <a:pt x="110" y="368"/>
                    <a:pt x="110" y="371"/>
                  </a:cubicBezTo>
                  <a:lnTo>
                    <a:pt x="110" y="382"/>
                  </a:lnTo>
                  <a:cubicBezTo>
                    <a:pt x="107" y="388"/>
                    <a:pt x="110" y="394"/>
                    <a:pt x="110" y="399"/>
                  </a:cubicBezTo>
                  <a:cubicBezTo>
                    <a:pt x="113" y="402"/>
                    <a:pt x="113" y="408"/>
                    <a:pt x="113" y="410"/>
                  </a:cubicBezTo>
                  <a:cubicBezTo>
                    <a:pt x="110" y="405"/>
                    <a:pt x="113" y="410"/>
                    <a:pt x="113" y="413"/>
                  </a:cubicBezTo>
                  <a:close/>
                  <a:moveTo>
                    <a:pt x="53" y="261"/>
                  </a:moveTo>
                  <a:lnTo>
                    <a:pt x="56" y="258"/>
                  </a:lnTo>
                  <a:lnTo>
                    <a:pt x="56" y="255"/>
                  </a:lnTo>
                  <a:lnTo>
                    <a:pt x="56" y="253"/>
                  </a:lnTo>
                  <a:cubicBezTo>
                    <a:pt x="53" y="255"/>
                    <a:pt x="53" y="255"/>
                    <a:pt x="53" y="261"/>
                  </a:cubicBezTo>
                  <a:close/>
                  <a:moveTo>
                    <a:pt x="53" y="42"/>
                  </a:moveTo>
                  <a:lnTo>
                    <a:pt x="59" y="36"/>
                  </a:lnTo>
                  <a:cubicBezTo>
                    <a:pt x="53" y="36"/>
                    <a:pt x="53" y="39"/>
                    <a:pt x="53" y="42"/>
                  </a:cubicBezTo>
                  <a:close/>
                  <a:moveTo>
                    <a:pt x="59" y="267"/>
                  </a:moveTo>
                  <a:cubicBezTo>
                    <a:pt x="59" y="269"/>
                    <a:pt x="62" y="272"/>
                    <a:pt x="65" y="272"/>
                  </a:cubicBezTo>
                  <a:cubicBezTo>
                    <a:pt x="65" y="269"/>
                    <a:pt x="62" y="269"/>
                    <a:pt x="59" y="267"/>
                  </a:cubicBezTo>
                  <a:cubicBezTo>
                    <a:pt x="62" y="264"/>
                    <a:pt x="62" y="264"/>
                    <a:pt x="62" y="261"/>
                  </a:cubicBezTo>
                  <a:lnTo>
                    <a:pt x="62" y="255"/>
                  </a:lnTo>
                  <a:cubicBezTo>
                    <a:pt x="59" y="258"/>
                    <a:pt x="56" y="258"/>
                    <a:pt x="56" y="261"/>
                  </a:cubicBezTo>
                  <a:cubicBezTo>
                    <a:pt x="59" y="264"/>
                    <a:pt x="59" y="267"/>
                    <a:pt x="59" y="267"/>
                  </a:cubicBezTo>
                  <a:close/>
                  <a:moveTo>
                    <a:pt x="65" y="298"/>
                  </a:moveTo>
                  <a:cubicBezTo>
                    <a:pt x="62" y="295"/>
                    <a:pt x="62" y="298"/>
                    <a:pt x="59" y="298"/>
                  </a:cubicBezTo>
                  <a:cubicBezTo>
                    <a:pt x="65" y="300"/>
                    <a:pt x="65" y="300"/>
                    <a:pt x="65" y="298"/>
                  </a:cubicBezTo>
                  <a:close/>
                  <a:moveTo>
                    <a:pt x="62" y="31"/>
                  </a:moveTo>
                  <a:cubicBezTo>
                    <a:pt x="62" y="34"/>
                    <a:pt x="65" y="34"/>
                    <a:pt x="62" y="31"/>
                  </a:cubicBezTo>
                  <a:lnTo>
                    <a:pt x="67" y="31"/>
                  </a:lnTo>
                  <a:lnTo>
                    <a:pt x="67" y="28"/>
                  </a:lnTo>
                  <a:lnTo>
                    <a:pt x="67" y="25"/>
                  </a:lnTo>
                  <a:cubicBezTo>
                    <a:pt x="65" y="25"/>
                    <a:pt x="65" y="28"/>
                    <a:pt x="65" y="28"/>
                  </a:cubicBezTo>
                  <a:cubicBezTo>
                    <a:pt x="65" y="31"/>
                    <a:pt x="62" y="31"/>
                    <a:pt x="62" y="31"/>
                  </a:cubicBezTo>
                  <a:close/>
                  <a:moveTo>
                    <a:pt x="62" y="278"/>
                  </a:moveTo>
                  <a:cubicBezTo>
                    <a:pt x="65" y="281"/>
                    <a:pt x="65" y="281"/>
                    <a:pt x="65" y="284"/>
                  </a:cubicBezTo>
                  <a:cubicBezTo>
                    <a:pt x="67" y="286"/>
                    <a:pt x="67" y="289"/>
                    <a:pt x="67" y="292"/>
                  </a:cubicBezTo>
                  <a:cubicBezTo>
                    <a:pt x="70" y="284"/>
                    <a:pt x="70" y="281"/>
                    <a:pt x="62" y="278"/>
                  </a:cubicBezTo>
                  <a:close/>
                  <a:moveTo>
                    <a:pt x="70" y="317"/>
                  </a:moveTo>
                  <a:cubicBezTo>
                    <a:pt x="70" y="317"/>
                    <a:pt x="72" y="317"/>
                    <a:pt x="73" y="319"/>
                  </a:cubicBezTo>
                  <a:lnTo>
                    <a:pt x="70" y="306"/>
                  </a:lnTo>
                  <a:lnTo>
                    <a:pt x="67" y="306"/>
                  </a:lnTo>
                  <a:lnTo>
                    <a:pt x="65" y="306"/>
                  </a:lnTo>
                  <a:lnTo>
                    <a:pt x="67" y="309"/>
                  </a:lnTo>
                  <a:cubicBezTo>
                    <a:pt x="67" y="309"/>
                    <a:pt x="67" y="312"/>
                    <a:pt x="70" y="312"/>
                  </a:cubicBezTo>
                  <a:cubicBezTo>
                    <a:pt x="67" y="315"/>
                    <a:pt x="67" y="315"/>
                    <a:pt x="65" y="315"/>
                  </a:cubicBezTo>
                  <a:lnTo>
                    <a:pt x="70" y="317"/>
                  </a:lnTo>
                  <a:close/>
                  <a:moveTo>
                    <a:pt x="65" y="34"/>
                  </a:moveTo>
                  <a:lnTo>
                    <a:pt x="65" y="39"/>
                  </a:lnTo>
                  <a:cubicBezTo>
                    <a:pt x="67" y="39"/>
                    <a:pt x="70" y="39"/>
                    <a:pt x="73" y="42"/>
                  </a:cubicBezTo>
                  <a:lnTo>
                    <a:pt x="73" y="39"/>
                  </a:lnTo>
                  <a:cubicBezTo>
                    <a:pt x="73" y="39"/>
                    <a:pt x="70" y="36"/>
                    <a:pt x="65" y="34"/>
                  </a:cubicBezTo>
                  <a:close/>
                  <a:moveTo>
                    <a:pt x="67" y="363"/>
                  </a:moveTo>
                  <a:cubicBezTo>
                    <a:pt x="70" y="365"/>
                    <a:pt x="70" y="365"/>
                    <a:pt x="70" y="368"/>
                  </a:cubicBezTo>
                  <a:lnTo>
                    <a:pt x="70" y="365"/>
                  </a:lnTo>
                  <a:lnTo>
                    <a:pt x="67" y="363"/>
                  </a:lnTo>
                  <a:close/>
                  <a:moveTo>
                    <a:pt x="70" y="382"/>
                  </a:moveTo>
                  <a:lnTo>
                    <a:pt x="73" y="382"/>
                  </a:lnTo>
                  <a:cubicBezTo>
                    <a:pt x="73" y="379"/>
                    <a:pt x="70" y="379"/>
                    <a:pt x="70" y="382"/>
                  </a:cubicBezTo>
                  <a:close/>
                  <a:moveTo>
                    <a:pt x="70" y="34"/>
                  </a:moveTo>
                  <a:cubicBezTo>
                    <a:pt x="73" y="34"/>
                    <a:pt x="76" y="36"/>
                    <a:pt x="82" y="36"/>
                  </a:cubicBezTo>
                  <a:lnTo>
                    <a:pt x="82" y="34"/>
                  </a:lnTo>
                  <a:lnTo>
                    <a:pt x="73" y="31"/>
                  </a:lnTo>
                  <a:lnTo>
                    <a:pt x="70" y="34"/>
                  </a:lnTo>
                  <a:close/>
                  <a:moveTo>
                    <a:pt x="82" y="39"/>
                  </a:moveTo>
                  <a:lnTo>
                    <a:pt x="76" y="42"/>
                  </a:lnTo>
                  <a:cubicBezTo>
                    <a:pt x="73" y="42"/>
                    <a:pt x="73" y="45"/>
                    <a:pt x="70" y="45"/>
                  </a:cubicBezTo>
                  <a:lnTo>
                    <a:pt x="76" y="50"/>
                  </a:lnTo>
                  <a:cubicBezTo>
                    <a:pt x="76" y="48"/>
                    <a:pt x="79" y="48"/>
                    <a:pt x="79" y="45"/>
                  </a:cubicBezTo>
                  <a:cubicBezTo>
                    <a:pt x="82" y="45"/>
                    <a:pt x="82" y="42"/>
                    <a:pt x="82" y="39"/>
                  </a:cubicBezTo>
                  <a:close/>
                  <a:moveTo>
                    <a:pt x="79" y="337"/>
                  </a:moveTo>
                  <a:lnTo>
                    <a:pt x="73" y="337"/>
                  </a:lnTo>
                  <a:lnTo>
                    <a:pt x="73" y="340"/>
                  </a:lnTo>
                  <a:cubicBezTo>
                    <a:pt x="76" y="340"/>
                    <a:pt x="79" y="337"/>
                    <a:pt x="79" y="337"/>
                  </a:cubicBezTo>
                  <a:close/>
                  <a:moveTo>
                    <a:pt x="82" y="394"/>
                  </a:moveTo>
                  <a:lnTo>
                    <a:pt x="76" y="394"/>
                  </a:lnTo>
                  <a:lnTo>
                    <a:pt x="73" y="396"/>
                  </a:lnTo>
                  <a:cubicBezTo>
                    <a:pt x="73" y="399"/>
                    <a:pt x="76" y="399"/>
                    <a:pt x="76" y="402"/>
                  </a:cubicBezTo>
                  <a:cubicBezTo>
                    <a:pt x="79" y="399"/>
                    <a:pt x="82" y="396"/>
                    <a:pt x="82" y="394"/>
                  </a:cubicBezTo>
                  <a:close/>
                  <a:moveTo>
                    <a:pt x="82" y="394"/>
                  </a:moveTo>
                  <a:cubicBezTo>
                    <a:pt x="84" y="394"/>
                    <a:pt x="82" y="391"/>
                    <a:pt x="82" y="394"/>
                  </a:cubicBezTo>
                  <a:close/>
                  <a:moveTo>
                    <a:pt x="76" y="365"/>
                  </a:moveTo>
                  <a:lnTo>
                    <a:pt x="82" y="365"/>
                  </a:lnTo>
                  <a:lnTo>
                    <a:pt x="82" y="360"/>
                  </a:lnTo>
                  <a:cubicBezTo>
                    <a:pt x="82" y="360"/>
                    <a:pt x="82" y="363"/>
                    <a:pt x="79" y="363"/>
                  </a:cubicBezTo>
                  <a:cubicBezTo>
                    <a:pt x="79" y="363"/>
                    <a:pt x="79" y="365"/>
                    <a:pt x="76" y="365"/>
                  </a:cubicBezTo>
                  <a:close/>
                  <a:moveTo>
                    <a:pt x="79" y="357"/>
                  </a:moveTo>
                  <a:lnTo>
                    <a:pt x="84" y="357"/>
                  </a:lnTo>
                  <a:lnTo>
                    <a:pt x="84" y="354"/>
                  </a:lnTo>
                  <a:cubicBezTo>
                    <a:pt x="82" y="357"/>
                    <a:pt x="79" y="357"/>
                    <a:pt x="79" y="357"/>
                  </a:cubicBezTo>
                  <a:close/>
                  <a:moveTo>
                    <a:pt x="87" y="379"/>
                  </a:moveTo>
                  <a:cubicBezTo>
                    <a:pt x="87" y="377"/>
                    <a:pt x="84" y="377"/>
                    <a:pt x="84" y="377"/>
                  </a:cubicBezTo>
                  <a:lnTo>
                    <a:pt x="82" y="379"/>
                  </a:lnTo>
                  <a:lnTo>
                    <a:pt x="84" y="382"/>
                  </a:lnTo>
                  <a:lnTo>
                    <a:pt x="87" y="382"/>
                  </a:lnTo>
                  <a:lnTo>
                    <a:pt x="87" y="379"/>
                  </a:lnTo>
                  <a:close/>
                  <a:moveTo>
                    <a:pt x="93" y="42"/>
                  </a:moveTo>
                  <a:lnTo>
                    <a:pt x="90" y="48"/>
                  </a:lnTo>
                  <a:cubicBezTo>
                    <a:pt x="90" y="49"/>
                    <a:pt x="89" y="50"/>
                    <a:pt x="88" y="51"/>
                  </a:cubicBezTo>
                  <a:cubicBezTo>
                    <a:pt x="89" y="51"/>
                    <a:pt x="90" y="52"/>
                    <a:pt x="90" y="53"/>
                  </a:cubicBezTo>
                  <a:cubicBezTo>
                    <a:pt x="90" y="50"/>
                    <a:pt x="93" y="50"/>
                    <a:pt x="93" y="48"/>
                  </a:cubicBezTo>
                  <a:cubicBezTo>
                    <a:pt x="93" y="45"/>
                    <a:pt x="96" y="45"/>
                    <a:pt x="96" y="42"/>
                  </a:cubicBezTo>
                  <a:lnTo>
                    <a:pt x="93" y="42"/>
                  </a:lnTo>
                  <a:lnTo>
                    <a:pt x="90" y="37"/>
                  </a:lnTo>
                  <a:cubicBezTo>
                    <a:pt x="87" y="37"/>
                    <a:pt x="88" y="39"/>
                    <a:pt x="90" y="42"/>
                  </a:cubicBezTo>
                  <a:cubicBezTo>
                    <a:pt x="91" y="42"/>
                    <a:pt x="92" y="42"/>
                    <a:pt x="93" y="42"/>
                  </a:cubicBezTo>
                  <a:close/>
                  <a:moveTo>
                    <a:pt x="98" y="45"/>
                  </a:moveTo>
                  <a:lnTo>
                    <a:pt x="101" y="45"/>
                  </a:lnTo>
                  <a:lnTo>
                    <a:pt x="104" y="45"/>
                  </a:lnTo>
                  <a:lnTo>
                    <a:pt x="104" y="42"/>
                  </a:lnTo>
                  <a:lnTo>
                    <a:pt x="101" y="42"/>
                  </a:lnTo>
                  <a:lnTo>
                    <a:pt x="98" y="42"/>
                  </a:lnTo>
                  <a:lnTo>
                    <a:pt x="98" y="45"/>
                  </a:lnTo>
                  <a:close/>
                  <a:moveTo>
                    <a:pt x="87" y="394"/>
                  </a:moveTo>
                  <a:cubicBezTo>
                    <a:pt x="84" y="394"/>
                    <a:pt x="84" y="396"/>
                    <a:pt x="84" y="396"/>
                  </a:cubicBezTo>
                  <a:lnTo>
                    <a:pt x="87" y="394"/>
                  </a:lnTo>
                  <a:close/>
                  <a:moveTo>
                    <a:pt x="90" y="433"/>
                  </a:moveTo>
                  <a:cubicBezTo>
                    <a:pt x="90" y="430"/>
                    <a:pt x="93" y="430"/>
                    <a:pt x="93" y="430"/>
                  </a:cubicBezTo>
                  <a:lnTo>
                    <a:pt x="87" y="425"/>
                  </a:lnTo>
                  <a:cubicBezTo>
                    <a:pt x="90" y="430"/>
                    <a:pt x="90" y="430"/>
                    <a:pt x="90" y="433"/>
                  </a:cubicBezTo>
                  <a:close/>
                  <a:moveTo>
                    <a:pt x="90" y="410"/>
                  </a:moveTo>
                  <a:lnTo>
                    <a:pt x="90" y="413"/>
                  </a:lnTo>
                  <a:cubicBezTo>
                    <a:pt x="93" y="413"/>
                    <a:pt x="96" y="413"/>
                    <a:pt x="90" y="410"/>
                  </a:cubicBezTo>
                  <a:close/>
                  <a:moveTo>
                    <a:pt x="96" y="45"/>
                  </a:moveTo>
                  <a:cubicBezTo>
                    <a:pt x="96" y="48"/>
                    <a:pt x="98" y="50"/>
                    <a:pt x="98" y="50"/>
                  </a:cubicBezTo>
                  <a:lnTo>
                    <a:pt x="98" y="53"/>
                  </a:lnTo>
                  <a:lnTo>
                    <a:pt x="98" y="56"/>
                  </a:lnTo>
                  <a:cubicBezTo>
                    <a:pt x="101" y="59"/>
                    <a:pt x="104" y="62"/>
                    <a:pt x="110" y="56"/>
                  </a:cubicBezTo>
                  <a:cubicBezTo>
                    <a:pt x="107" y="53"/>
                    <a:pt x="101" y="48"/>
                    <a:pt x="96" y="45"/>
                  </a:cubicBezTo>
                  <a:close/>
                  <a:moveTo>
                    <a:pt x="110" y="433"/>
                  </a:moveTo>
                  <a:cubicBezTo>
                    <a:pt x="107" y="436"/>
                    <a:pt x="104" y="436"/>
                    <a:pt x="101" y="439"/>
                  </a:cubicBezTo>
                  <a:lnTo>
                    <a:pt x="104" y="442"/>
                  </a:lnTo>
                  <a:cubicBezTo>
                    <a:pt x="104" y="444"/>
                    <a:pt x="104" y="444"/>
                    <a:pt x="107" y="447"/>
                  </a:cubicBezTo>
                  <a:cubicBezTo>
                    <a:pt x="110" y="442"/>
                    <a:pt x="110" y="439"/>
                    <a:pt x="110" y="433"/>
                  </a:cubicBezTo>
                  <a:close/>
                  <a:moveTo>
                    <a:pt x="113" y="450"/>
                  </a:moveTo>
                  <a:lnTo>
                    <a:pt x="110" y="450"/>
                  </a:lnTo>
                  <a:cubicBezTo>
                    <a:pt x="107" y="450"/>
                    <a:pt x="107" y="450"/>
                    <a:pt x="104" y="453"/>
                  </a:cubicBezTo>
                  <a:cubicBezTo>
                    <a:pt x="107" y="453"/>
                    <a:pt x="107" y="456"/>
                    <a:pt x="110" y="456"/>
                  </a:cubicBezTo>
                  <a:cubicBezTo>
                    <a:pt x="110" y="456"/>
                    <a:pt x="110" y="453"/>
                    <a:pt x="113" y="450"/>
                  </a:cubicBezTo>
                  <a:close/>
                  <a:moveTo>
                    <a:pt x="113" y="76"/>
                  </a:moveTo>
                  <a:cubicBezTo>
                    <a:pt x="110" y="76"/>
                    <a:pt x="110" y="76"/>
                    <a:pt x="107" y="79"/>
                  </a:cubicBezTo>
                  <a:cubicBezTo>
                    <a:pt x="107" y="81"/>
                    <a:pt x="110" y="81"/>
                    <a:pt x="113" y="81"/>
                  </a:cubicBezTo>
                  <a:lnTo>
                    <a:pt x="113" y="76"/>
                  </a:lnTo>
                  <a:close/>
                  <a:moveTo>
                    <a:pt x="115" y="442"/>
                  </a:moveTo>
                  <a:lnTo>
                    <a:pt x="113" y="442"/>
                  </a:lnTo>
                  <a:cubicBezTo>
                    <a:pt x="113" y="447"/>
                    <a:pt x="113" y="450"/>
                    <a:pt x="118" y="450"/>
                  </a:cubicBezTo>
                  <a:lnTo>
                    <a:pt x="115" y="442"/>
                  </a:lnTo>
                  <a:close/>
                  <a:moveTo>
                    <a:pt x="113" y="62"/>
                  </a:moveTo>
                  <a:lnTo>
                    <a:pt x="113" y="65"/>
                  </a:lnTo>
                  <a:lnTo>
                    <a:pt x="113" y="70"/>
                  </a:lnTo>
                  <a:lnTo>
                    <a:pt x="118" y="65"/>
                  </a:lnTo>
                  <a:cubicBezTo>
                    <a:pt x="118" y="62"/>
                    <a:pt x="115" y="62"/>
                    <a:pt x="113" y="62"/>
                  </a:cubicBezTo>
                  <a:close/>
                  <a:moveTo>
                    <a:pt x="124" y="79"/>
                  </a:moveTo>
                  <a:cubicBezTo>
                    <a:pt x="123" y="79"/>
                    <a:pt x="122" y="79"/>
                    <a:pt x="121" y="79"/>
                  </a:cubicBezTo>
                  <a:lnTo>
                    <a:pt x="121" y="76"/>
                  </a:lnTo>
                  <a:cubicBezTo>
                    <a:pt x="121" y="73"/>
                    <a:pt x="118" y="73"/>
                    <a:pt x="115" y="73"/>
                  </a:cubicBezTo>
                  <a:cubicBezTo>
                    <a:pt x="117" y="75"/>
                    <a:pt x="119" y="77"/>
                    <a:pt x="120" y="79"/>
                  </a:cubicBezTo>
                  <a:cubicBezTo>
                    <a:pt x="119" y="79"/>
                    <a:pt x="117" y="80"/>
                    <a:pt x="115" y="81"/>
                  </a:cubicBezTo>
                  <a:cubicBezTo>
                    <a:pt x="118" y="84"/>
                    <a:pt x="121" y="84"/>
                    <a:pt x="124" y="84"/>
                  </a:cubicBezTo>
                  <a:lnTo>
                    <a:pt x="124" y="79"/>
                  </a:lnTo>
                  <a:close/>
                  <a:moveTo>
                    <a:pt x="120" y="79"/>
                  </a:moveTo>
                  <a:cubicBezTo>
                    <a:pt x="121" y="80"/>
                    <a:pt x="121" y="81"/>
                    <a:pt x="121" y="81"/>
                  </a:cubicBezTo>
                  <a:lnTo>
                    <a:pt x="121" y="79"/>
                  </a:lnTo>
                  <a:cubicBezTo>
                    <a:pt x="121" y="79"/>
                    <a:pt x="121" y="79"/>
                    <a:pt x="120" y="79"/>
                  </a:cubicBezTo>
                  <a:close/>
                  <a:moveTo>
                    <a:pt x="118" y="107"/>
                  </a:moveTo>
                  <a:cubicBezTo>
                    <a:pt x="118" y="110"/>
                    <a:pt x="118" y="112"/>
                    <a:pt x="115" y="115"/>
                  </a:cubicBezTo>
                  <a:lnTo>
                    <a:pt x="118" y="115"/>
                  </a:lnTo>
                  <a:lnTo>
                    <a:pt x="124" y="115"/>
                  </a:lnTo>
                  <a:lnTo>
                    <a:pt x="127" y="115"/>
                  </a:lnTo>
                  <a:lnTo>
                    <a:pt x="118" y="107"/>
                  </a:lnTo>
                  <a:cubicBezTo>
                    <a:pt x="121" y="107"/>
                    <a:pt x="124" y="104"/>
                    <a:pt x="124" y="101"/>
                  </a:cubicBezTo>
                  <a:cubicBezTo>
                    <a:pt x="121" y="104"/>
                    <a:pt x="118" y="104"/>
                    <a:pt x="118" y="107"/>
                  </a:cubicBezTo>
                  <a:close/>
                  <a:moveTo>
                    <a:pt x="118" y="129"/>
                  </a:moveTo>
                  <a:cubicBezTo>
                    <a:pt x="121" y="129"/>
                    <a:pt x="121" y="132"/>
                    <a:pt x="121" y="132"/>
                  </a:cubicBezTo>
                  <a:lnTo>
                    <a:pt x="124" y="135"/>
                  </a:lnTo>
                  <a:cubicBezTo>
                    <a:pt x="121" y="138"/>
                    <a:pt x="124" y="141"/>
                    <a:pt x="124" y="141"/>
                  </a:cubicBezTo>
                  <a:cubicBezTo>
                    <a:pt x="124" y="141"/>
                    <a:pt x="124" y="144"/>
                    <a:pt x="127" y="144"/>
                  </a:cubicBezTo>
                  <a:lnTo>
                    <a:pt x="129" y="141"/>
                  </a:lnTo>
                  <a:cubicBezTo>
                    <a:pt x="129" y="141"/>
                    <a:pt x="127" y="138"/>
                    <a:pt x="127" y="135"/>
                  </a:cubicBezTo>
                  <a:lnTo>
                    <a:pt x="127" y="124"/>
                  </a:lnTo>
                  <a:lnTo>
                    <a:pt x="124" y="124"/>
                  </a:lnTo>
                  <a:lnTo>
                    <a:pt x="118" y="129"/>
                  </a:lnTo>
                  <a:close/>
                  <a:moveTo>
                    <a:pt x="121" y="155"/>
                  </a:moveTo>
                  <a:lnTo>
                    <a:pt x="124" y="158"/>
                  </a:lnTo>
                  <a:cubicBezTo>
                    <a:pt x="124" y="158"/>
                    <a:pt x="127" y="158"/>
                    <a:pt x="127" y="160"/>
                  </a:cubicBezTo>
                  <a:lnTo>
                    <a:pt x="124" y="163"/>
                  </a:lnTo>
                  <a:cubicBezTo>
                    <a:pt x="127" y="166"/>
                    <a:pt x="129" y="163"/>
                    <a:pt x="132" y="160"/>
                  </a:cubicBezTo>
                  <a:cubicBezTo>
                    <a:pt x="129" y="160"/>
                    <a:pt x="129" y="158"/>
                    <a:pt x="129" y="158"/>
                  </a:cubicBezTo>
                  <a:cubicBezTo>
                    <a:pt x="127" y="158"/>
                    <a:pt x="127" y="155"/>
                    <a:pt x="124" y="158"/>
                  </a:cubicBezTo>
                  <a:cubicBezTo>
                    <a:pt x="127" y="152"/>
                    <a:pt x="124" y="152"/>
                    <a:pt x="121" y="155"/>
                  </a:cubicBezTo>
                  <a:close/>
                  <a:moveTo>
                    <a:pt x="141" y="461"/>
                  </a:moveTo>
                  <a:lnTo>
                    <a:pt x="138" y="458"/>
                  </a:lnTo>
                  <a:lnTo>
                    <a:pt x="132" y="458"/>
                  </a:lnTo>
                  <a:lnTo>
                    <a:pt x="132" y="453"/>
                  </a:lnTo>
                  <a:lnTo>
                    <a:pt x="127" y="453"/>
                  </a:lnTo>
                  <a:lnTo>
                    <a:pt x="124" y="453"/>
                  </a:lnTo>
                  <a:lnTo>
                    <a:pt x="118" y="453"/>
                  </a:lnTo>
                  <a:lnTo>
                    <a:pt x="121" y="456"/>
                  </a:lnTo>
                  <a:lnTo>
                    <a:pt x="121" y="461"/>
                  </a:lnTo>
                  <a:lnTo>
                    <a:pt x="121" y="467"/>
                  </a:lnTo>
                  <a:cubicBezTo>
                    <a:pt x="124" y="464"/>
                    <a:pt x="127" y="464"/>
                    <a:pt x="129" y="464"/>
                  </a:cubicBezTo>
                  <a:cubicBezTo>
                    <a:pt x="138" y="458"/>
                    <a:pt x="138" y="458"/>
                    <a:pt x="141" y="461"/>
                  </a:cubicBezTo>
                  <a:close/>
                  <a:moveTo>
                    <a:pt x="121" y="87"/>
                  </a:moveTo>
                  <a:lnTo>
                    <a:pt x="127" y="93"/>
                  </a:lnTo>
                  <a:cubicBezTo>
                    <a:pt x="129" y="93"/>
                    <a:pt x="129" y="90"/>
                    <a:pt x="129" y="90"/>
                  </a:cubicBezTo>
                  <a:cubicBezTo>
                    <a:pt x="127" y="87"/>
                    <a:pt x="127" y="84"/>
                    <a:pt x="121" y="87"/>
                  </a:cubicBezTo>
                  <a:close/>
                  <a:moveTo>
                    <a:pt x="124" y="144"/>
                  </a:moveTo>
                  <a:cubicBezTo>
                    <a:pt x="124" y="146"/>
                    <a:pt x="124" y="146"/>
                    <a:pt x="127" y="146"/>
                  </a:cubicBezTo>
                  <a:lnTo>
                    <a:pt x="124" y="144"/>
                  </a:lnTo>
                  <a:close/>
                  <a:moveTo>
                    <a:pt x="127" y="166"/>
                  </a:moveTo>
                  <a:lnTo>
                    <a:pt x="129" y="169"/>
                  </a:lnTo>
                  <a:cubicBezTo>
                    <a:pt x="129" y="166"/>
                    <a:pt x="127" y="163"/>
                    <a:pt x="127" y="166"/>
                  </a:cubicBezTo>
                  <a:close/>
                  <a:moveTo>
                    <a:pt x="127" y="121"/>
                  </a:moveTo>
                  <a:cubicBezTo>
                    <a:pt x="127" y="121"/>
                    <a:pt x="129" y="121"/>
                    <a:pt x="127" y="121"/>
                  </a:cubicBezTo>
                  <a:lnTo>
                    <a:pt x="132" y="118"/>
                  </a:lnTo>
                  <a:cubicBezTo>
                    <a:pt x="124" y="115"/>
                    <a:pt x="127" y="118"/>
                    <a:pt x="127" y="121"/>
                  </a:cubicBezTo>
                  <a:close/>
                  <a:moveTo>
                    <a:pt x="129" y="98"/>
                  </a:moveTo>
                  <a:cubicBezTo>
                    <a:pt x="127" y="98"/>
                    <a:pt x="127" y="98"/>
                    <a:pt x="127" y="101"/>
                  </a:cubicBezTo>
                  <a:cubicBezTo>
                    <a:pt x="127" y="101"/>
                    <a:pt x="129" y="101"/>
                    <a:pt x="129" y="104"/>
                  </a:cubicBezTo>
                  <a:lnTo>
                    <a:pt x="129" y="107"/>
                  </a:lnTo>
                  <a:lnTo>
                    <a:pt x="132" y="107"/>
                  </a:lnTo>
                  <a:lnTo>
                    <a:pt x="129" y="98"/>
                  </a:lnTo>
                  <a:close/>
                  <a:moveTo>
                    <a:pt x="132" y="183"/>
                  </a:moveTo>
                  <a:lnTo>
                    <a:pt x="132" y="189"/>
                  </a:lnTo>
                  <a:lnTo>
                    <a:pt x="135" y="189"/>
                  </a:lnTo>
                  <a:lnTo>
                    <a:pt x="138" y="186"/>
                  </a:lnTo>
                  <a:lnTo>
                    <a:pt x="138" y="183"/>
                  </a:lnTo>
                  <a:cubicBezTo>
                    <a:pt x="144" y="180"/>
                    <a:pt x="144" y="180"/>
                    <a:pt x="141" y="175"/>
                  </a:cubicBezTo>
                  <a:lnTo>
                    <a:pt x="132" y="183"/>
                  </a:lnTo>
                  <a:close/>
                  <a:moveTo>
                    <a:pt x="138" y="172"/>
                  </a:moveTo>
                  <a:cubicBezTo>
                    <a:pt x="138" y="172"/>
                    <a:pt x="135" y="172"/>
                    <a:pt x="135" y="169"/>
                  </a:cubicBezTo>
                  <a:lnTo>
                    <a:pt x="135" y="172"/>
                  </a:lnTo>
                  <a:lnTo>
                    <a:pt x="135" y="175"/>
                  </a:lnTo>
                  <a:cubicBezTo>
                    <a:pt x="135" y="177"/>
                    <a:pt x="138" y="175"/>
                    <a:pt x="138" y="172"/>
                  </a:cubicBezTo>
                  <a:close/>
                  <a:moveTo>
                    <a:pt x="138" y="442"/>
                  </a:moveTo>
                  <a:lnTo>
                    <a:pt x="135" y="442"/>
                  </a:lnTo>
                  <a:lnTo>
                    <a:pt x="135" y="444"/>
                  </a:lnTo>
                  <a:cubicBezTo>
                    <a:pt x="138" y="447"/>
                    <a:pt x="138" y="444"/>
                    <a:pt x="138" y="442"/>
                  </a:cubicBezTo>
                  <a:close/>
                  <a:moveTo>
                    <a:pt x="135" y="129"/>
                  </a:moveTo>
                  <a:cubicBezTo>
                    <a:pt x="135" y="132"/>
                    <a:pt x="138" y="132"/>
                    <a:pt x="135" y="129"/>
                  </a:cubicBezTo>
                  <a:close/>
                  <a:moveTo>
                    <a:pt x="141" y="149"/>
                  </a:moveTo>
                  <a:cubicBezTo>
                    <a:pt x="138" y="149"/>
                    <a:pt x="138" y="152"/>
                    <a:pt x="135" y="152"/>
                  </a:cubicBezTo>
                  <a:cubicBezTo>
                    <a:pt x="141" y="152"/>
                    <a:pt x="141" y="152"/>
                    <a:pt x="141" y="149"/>
                  </a:cubicBezTo>
                  <a:close/>
                  <a:moveTo>
                    <a:pt x="141" y="258"/>
                  </a:moveTo>
                  <a:lnTo>
                    <a:pt x="141" y="253"/>
                  </a:lnTo>
                  <a:lnTo>
                    <a:pt x="138" y="253"/>
                  </a:lnTo>
                  <a:lnTo>
                    <a:pt x="135" y="253"/>
                  </a:lnTo>
                  <a:lnTo>
                    <a:pt x="141" y="258"/>
                  </a:lnTo>
                  <a:close/>
                  <a:moveTo>
                    <a:pt x="138" y="220"/>
                  </a:moveTo>
                  <a:lnTo>
                    <a:pt x="138" y="224"/>
                  </a:lnTo>
                  <a:lnTo>
                    <a:pt x="135" y="224"/>
                  </a:lnTo>
                  <a:cubicBezTo>
                    <a:pt x="141" y="227"/>
                    <a:pt x="144" y="227"/>
                    <a:pt x="144" y="230"/>
                  </a:cubicBezTo>
                  <a:cubicBezTo>
                    <a:pt x="146" y="230"/>
                    <a:pt x="146" y="227"/>
                    <a:pt x="149" y="224"/>
                  </a:cubicBezTo>
                  <a:lnTo>
                    <a:pt x="149" y="222"/>
                  </a:lnTo>
                  <a:lnTo>
                    <a:pt x="146" y="222"/>
                  </a:lnTo>
                  <a:lnTo>
                    <a:pt x="144" y="227"/>
                  </a:lnTo>
                  <a:lnTo>
                    <a:pt x="141" y="224"/>
                  </a:lnTo>
                  <a:lnTo>
                    <a:pt x="138" y="220"/>
                  </a:lnTo>
                  <a:close/>
                  <a:moveTo>
                    <a:pt x="138" y="233"/>
                  </a:moveTo>
                  <a:lnTo>
                    <a:pt x="138" y="236"/>
                  </a:lnTo>
                  <a:lnTo>
                    <a:pt x="141" y="236"/>
                  </a:lnTo>
                  <a:cubicBezTo>
                    <a:pt x="138" y="236"/>
                    <a:pt x="138" y="236"/>
                    <a:pt x="138" y="233"/>
                  </a:cubicBezTo>
                  <a:close/>
                  <a:moveTo>
                    <a:pt x="144" y="191"/>
                  </a:moveTo>
                  <a:lnTo>
                    <a:pt x="138" y="191"/>
                  </a:lnTo>
                  <a:lnTo>
                    <a:pt x="138" y="197"/>
                  </a:lnTo>
                  <a:lnTo>
                    <a:pt x="138" y="203"/>
                  </a:lnTo>
                  <a:lnTo>
                    <a:pt x="141" y="203"/>
                  </a:lnTo>
                  <a:lnTo>
                    <a:pt x="141" y="197"/>
                  </a:lnTo>
                  <a:lnTo>
                    <a:pt x="144" y="191"/>
                  </a:lnTo>
                  <a:close/>
                  <a:moveTo>
                    <a:pt x="138" y="238"/>
                  </a:moveTo>
                  <a:cubicBezTo>
                    <a:pt x="138" y="241"/>
                    <a:pt x="141" y="241"/>
                    <a:pt x="138" y="238"/>
                  </a:cubicBezTo>
                  <a:close/>
                  <a:moveTo>
                    <a:pt x="146" y="450"/>
                  </a:moveTo>
                  <a:lnTo>
                    <a:pt x="144" y="439"/>
                  </a:lnTo>
                  <a:cubicBezTo>
                    <a:pt x="141" y="442"/>
                    <a:pt x="138" y="442"/>
                    <a:pt x="141" y="444"/>
                  </a:cubicBezTo>
                  <a:lnTo>
                    <a:pt x="141" y="450"/>
                  </a:lnTo>
                  <a:lnTo>
                    <a:pt x="146" y="450"/>
                  </a:lnTo>
                  <a:close/>
                  <a:moveTo>
                    <a:pt x="155" y="272"/>
                  </a:moveTo>
                  <a:lnTo>
                    <a:pt x="152" y="267"/>
                  </a:lnTo>
                  <a:cubicBezTo>
                    <a:pt x="152" y="264"/>
                    <a:pt x="155" y="264"/>
                    <a:pt x="155" y="264"/>
                  </a:cubicBezTo>
                  <a:cubicBezTo>
                    <a:pt x="155" y="258"/>
                    <a:pt x="152" y="255"/>
                    <a:pt x="149" y="255"/>
                  </a:cubicBezTo>
                  <a:lnTo>
                    <a:pt x="149" y="261"/>
                  </a:lnTo>
                  <a:cubicBezTo>
                    <a:pt x="149" y="261"/>
                    <a:pt x="146" y="261"/>
                    <a:pt x="146" y="258"/>
                  </a:cubicBezTo>
                  <a:lnTo>
                    <a:pt x="146" y="264"/>
                  </a:lnTo>
                  <a:lnTo>
                    <a:pt x="144" y="267"/>
                  </a:lnTo>
                  <a:cubicBezTo>
                    <a:pt x="146" y="267"/>
                    <a:pt x="149" y="269"/>
                    <a:pt x="149" y="269"/>
                  </a:cubicBezTo>
                  <a:cubicBezTo>
                    <a:pt x="149" y="272"/>
                    <a:pt x="152" y="272"/>
                    <a:pt x="155" y="272"/>
                  </a:cubicBezTo>
                  <a:close/>
                  <a:moveTo>
                    <a:pt x="144" y="220"/>
                  </a:moveTo>
                  <a:cubicBezTo>
                    <a:pt x="144" y="222"/>
                    <a:pt x="146" y="222"/>
                    <a:pt x="144" y="220"/>
                  </a:cubicBezTo>
                  <a:close/>
                  <a:moveTo>
                    <a:pt x="149" y="197"/>
                  </a:moveTo>
                  <a:cubicBezTo>
                    <a:pt x="146" y="194"/>
                    <a:pt x="146" y="197"/>
                    <a:pt x="146" y="197"/>
                  </a:cubicBezTo>
                  <a:lnTo>
                    <a:pt x="149" y="197"/>
                  </a:lnTo>
                  <a:close/>
                  <a:moveTo>
                    <a:pt x="155" y="447"/>
                  </a:moveTo>
                  <a:cubicBezTo>
                    <a:pt x="146" y="450"/>
                    <a:pt x="144" y="456"/>
                    <a:pt x="144" y="458"/>
                  </a:cubicBezTo>
                  <a:lnTo>
                    <a:pt x="146" y="458"/>
                  </a:lnTo>
                  <a:lnTo>
                    <a:pt x="146" y="453"/>
                  </a:lnTo>
                  <a:cubicBezTo>
                    <a:pt x="155" y="450"/>
                    <a:pt x="155" y="450"/>
                    <a:pt x="155" y="447"/>
                  </a:cubicBezTo>
                  <a:close/>
                  <a:moveTo>
                    <a:pt x="146" y="250"/>
                  </a:moveTo>
                  <a:lnTo>
                    <a:pt x="149" y="253"/>
                  </a:lnTo>
                  <a:cubicBezTo>
                    <a:pt x="149" y="250"/>
                    <a:pt x="152" y="250"/>
                    <a:pt x="152" y="247"/>
                  </a:cubicBezTo>
                  <a:lnTo>
                    <a:pt x="152" y="241"/>
                  </a:lnTo>
                  <a:cubicBezTo>
                    <a:pt x="152" y="244"/>
                    <a:pt x="149" y="244"/>
                    <a:pt x="149" y="244"/>
                  </a:cubicBezTo>
                  <a:lnTo>
                    <a:pt x="146" y="250"/>
                  </a:lnTo>
                  <a:close/>
                  <a:moveTo>
                    <a:pt x="155" y="306"/>
                  </a:moveTo>
                  <a:lnTo>
                    <a:pt x="166" y="309"/>
                  </a:lnTo>
                  <a:lnTo>
                    <a:pt x="166" y="315"/>
                  </a:lnTo>
                  <a:cubicBezTo>
                    <a:pt x="166" y="315"/>
                    <a:pt x="169" y="309"/>
                    <a:pt x="172" y="306"/>
                  </a:cubicBezTo>
                  <a:cubicBezTo>
                    <a:pt x="169" y="303"/>
                    <a:pt x="169" y="303"/>
                    <a:pt x="169" y="300"/>
                  </a:cubicBezTo>
                  <a:cubicBezTo>
                    <a:pt x="169" y="298"/>
                    <a:pt x="166" y="298"/>
                    <a:pt x="163" y="298"/>
                  </a:cubicBezTo>
                  <a:lnTo>
                    <a:pt x="160" y="296"/>
                  </a:lnTo>
                  <a:lnTo>
                    <a:pt x="158" y="298"/>
                  </a:lnTo>
                  <a:cubicBezTo>
                    <a:pt x="158" y="298"/>
                    <a:pt x="158" y="300"/>
                    <a:pt x="155" y="300"/>
                  </a:cubicBezTo>
                  <a:lnTo>
                    <a:pt x="161" y="300"/>
                  </a:lnTo>
                  <a:lnTo>
                    <a:pt x="161" y="303"/>
                  </a:lnTo>
                  <a:lnTo>
                    <a:pt x="155" y="303"/>
                  </a:lnTo>
                  <a:lnTo>
                    <a:pt x="155" y="306"/>
                  </a:lnTo>
                  <a:lnTo>
                    <a:pt x="149" y="306"/>
                  </a:lnTo>
                  <a:cubicBezTo>
                    <a:pt x="152" y="309"/>
                    <a:pt x="152" y="309"/>
                    <a:pt x="155" y="306"/>
                  </a:cubicBezTo>
                  <a:close/>
                  <a:moveTo>
                    <a:pt x="161" y="433"/>
                  </a:moveTo>
                  <a:cubicBezTo>
                    <a:pt x="161" y="430"/>
                    <a:pt x="158" y="430"/>
                    <a:pt x="161" y="433"/>
                  </a:cubicBezTo>
                  <a:cubicBezTo>
                    <a:pt x="158" y="433"/>
                    <a:pt x="158" y="433"/>
                    <a:pt x="158" y="436"/>
                  </a:cubicBezTo>
                  <a:lnTo>
                    <a:pt x="152" y="439"/>
                  </a:lnTo>
                  <a:cubicBezTo>
                    <a:pt x="152" y="442"/>
                    <a:pt x="155" y="442"/>
                    <a:pt x="155" y="442"/>
                  </a:cubicBezTo>
                  <a:cubicBezTo>
                    <a:pt x="155" y="439"/>
                    <a:pt x="158" y="436"/>
                    <a:pt x="161" y="436"/>
                  </a:cubicBezTo>
                  <a:cubicBezTo>
                    <a:pt x="161" y="436"/>
                    <a:pt x="163" y="436"/>
                    <a:pt x="161" y="433"/>
                  </a:cubicBezTo>
                  <a:close/>
                  <a:moveTo>
                    <a:pt x="152" y="337"/>
                  </a:moveTo>
                  <a:cubicBezTo>
                    <a:pt x="152" y="337"/>
                    <a:pt x="155" y="337"/>
                    <a:pt x="152" y="337"/>
                  </a:cubicBezTo>
                  <a:cubicBezTo>
                    <a:pt x="155" y="337"/>
                    <a:pt x="155" y="334"/>
                    <a:pt x="155" y="334"/>
                  </a:cubicBezTo>
                  <a:lnTo>
                    <a:pt x="152" y="337"/>
                  </a:lnTo>
                  <a:close/>
                  <a:moveTo>
                    <a:pt x="158" y="295"/>
                  </a:moveTo>
                  <a:lnTo>
                    <a:pt x="166" y="295"/>
                  </a:lnTo>
                  <a:lnTo>
                    <a:pt x="161" y="289"/>
                  </a:lnTo>
                  <a:cubicBezTo>
                    <a:pt x="161" y="292"/>
                    <a:pt x="158" y="292"/>
                    <a:pt x="158" y="289"/>
                  </a:cubicBezTo>
                  <a:cubicBezTo>
                    <a:pt x="155" y="289"/>
                    <a:pt x="155" y="289"/>
                    <a:pt x="155" y="292"/>
                  </a:cubicBezTo>
                  <a:lnTo>
                    <a:pt x="158" y="292"/>
                  </a:lnTo>
                  <a:lnTo>
                    <a:pt x="161" y="295"/>
                  </a:lnTo>
                  <a:lnTo>
                    <a:pt x="160" y="296"/>
                  </a:lnTo>
                  <a:lnTo>
                    <a:pt x="158" y="295"/>
                  </a:lnTo>
                  <a:close/>
                  <a:moveTo>
                    <a:pt x="158" y="332"/>
                  </a:moveTo>
                  <a:lnTo>
                    <a:pt x="158" y="326"/>
                  </a:lnTo>
                  <a:lnTo>
                    <a:pt x="155" y="326"/>
                  </a:lnTo>
                  <a:cubicBezTo>
                    <a:pt x="155" y="329"/>
                    <a:pt x="158" y="332"/>
                    <a:pt x="158" y="332"/>
                  </a:cubicBezTo>
                  <a:close/>
                  <a:moveTo>
                    <a:pt x="155" y="317"/>
                  </a:moveTo>
                  <a:lnTo>
                    <a:pt x="158" y="320"/>
                  </a:lnTo>
                  <a:lnTo>
                    <a:pt x="158" y="317"/>
                  </a:lnTo>
                  <a:lnTo>
                    <a:pt x="158" y="315"/>
                  </a:lnTo>
                  <a:cubicBezTo>
                    <a:pt x="158" y="312"/>
                    <a:pt x="155" y="312"/>
                    <a:pt x="155" y="312"/>
                  </a:cubicBezTo>
                  <a:lnTo>
                    <a:pt x="155" y="317"/>
                  </a:lnTo>
                  <a:close/>
                  <a:moveTo>
                    <a:pt x="175" y="332"/>
                  </a:moveTo>
                  <a:cubicBezTo>
                    <a:pt x="172" y="329"/>
                    <a:pt x="169" y="329"/>
                    <a:pt x="166" y="329"/>
                  </a:cubicBezTo>
                  <a:cubicBezTo>
                    <a:pt x="166" y="326"/>
                    <a:pt x="166" y="326"/>
                    <a:pt x="169" y="323"/>
                  </a:cubicBezTo>
                  <a:lnTo>
                    <a:pt x="161" y="323"/>
                  </a:lnTo>
                  <a:lnTo>
                    <a:pt x="161" y="326"/>
                  </a:lnTo>
                  <a:lnTo>
                    <a:pt x="166" y="326"/>
                  </a:lnTo>
                  <a:cubicBezTo>
                    <a:pt x="163" y="329"/>
                    <a:pt x="163" y="332"/>
                    <a:pt x="161" y="334"/>
                  </a:cubicBezTo>
                  <a:lnTo>
                    <a:pt x="161" y="340"/>
                  </a:lnTo>
                  <a:lnTo>
                    <a:pt x="161" y="343"/>
                  </a:lnTo>
                  <a:lnTo>
                    <a:pt x="158" y="343"/>
                  </a:lnTo>
                  <a:lnTo>
                    <a:pt x="158" y="351"/>
                  </a:lnTo>
                  <a:lnTo>
                    <a:pt x="161" y="351"/>
                  </a:lnTo>
                  <a:lnTo>
                    <a:pt x="163" y="348"/>
                  </a:lnTo>
                  <a:lnTo>
                    <a:pt x="166" y="340"/>
                  </a:lnTo>
                  <a:lnTo>
                    <a:pt x="163" y="337"/>
                  </a:lnTo>
                  <a:lnTo>
                    <a:pt x="161" y="334"/>
                  </a:lnTo>
                  <a:lnTo>
                    <a:pt x="166" y="334"/>
                  </a:lnTo>
                  <a:cubicBezTo>
                    <a:pt x="166" y="334"/>
                    <a:pt x="166" y="337"/>
                    <a:pt x="169" y="337"/>
                  </a:cubicBezTo>
                  <a:cubicBezTo>
                    <a:pt x="169" y="340"/>
                    <a:pt x="172" y="343"/>
                    <a:pt x="175" y="340"/>
                  </a:cubicBezTo>
                  <a:lnTo>
                    <a:pt x="177" y="340"/>
                  </a:lnTo>
                  <a:cubicBezTo>
                    <a:pt x="172" y="337"/>
                    <a:pt x="172" y="334"/>
                    <a:pt x="175" y="332"/>
                  </a:cubicBezTo>
                  <a:close/>
                  <a:moveTo>
                    <a:pt x="161" y="286"/>
                  </a:moveTo>
                  <a:cubicBezTo>
                    <a:pt x="163" y="286"/>
                    <a:pt x="163" y="286"/>
                    <a:pt x="166" y="284"/>
                  </a:cubicBezTo>
                  <a:cubicBezTo>
                    <a:pt x="166" y="281"/>
                    <a:pt x="163" y="281"/>
                    <a:pt x="161" y="281"/>
                  </a:cubicBezTo>
                  <a:lnTo>
                    <a:pt x="161" y="286"/>
                  </a:lnTo>
                  <a:close/>
                  <a:moveTo>
                    <a:pt x="163" y="363"/>
                  </a:moveTo>
                  <a:cubicBezTo>
                    <a:pt x="163" y="365"/>
                    <a:pt x="161" y="368"/>
                    <a:pt x="161" y="368"/>
                  </a:cubicBezTo>
                  <a:cubicBezTo>
                    <a:pt x="163" y="368"/>
                    <a:pt x="163" y="368"/>
                    <a:pt x="163" y="371"/>
                  </a:cubicBezTo>
                  <a:lnTo>
                    <a:pt x="163" y="374"/>
                  </a:lnTo>
                  <a:lnTo>
                    <a:pt x="163" y="377"/>
                  </a:lnTo>
                  <a:cubicBezTo>
                    <a:pt x="163" y="379"/>
                    <a:pt x="163" y="379"/>
                    <a:pt x="166" y="379"/>
                  </a:cubicBezTo>
                  <a:cubicBezTo>
                    <a:pt x="163" y="379"/>
                    <a:pt x="163" y="382"/>
                    <a:pt x="163" y="385"/>
                  </a:cubicBezTo>
                  <a:lnTo>
                    <a:pt x="166" y="388"/>
                  </a:lnTo>
                  <a:cubicBezTo>
                    <a:pt x="169" y="388"/>
                    <a:pt x="169" y="388"/>
                    <a:pt x="172" y="385"/>
                  </a:cubicBezTo>
                  <a:lnTo>
                    <a:pt x="175" y="385"/>
                  </a:lnTo>
                  <a:cubicBezTo>
                    <a:pt x="175" y="382"/>
                    <a:pt x="177" y="385"/>
                    <a:pt x="177" y="388"/>
                  </a:cubicBezTo>
                  <a:lnTo>
                    <a:pt x="177" y="382"/>
                  </a:lnTo>
                  <a:lnTo>
                    <a:pt x="177" y="379"/>
                  </a:lnTo>
                  <a:lnTo>
                    <a:pt x="172" y="379"/>
                  </a:lnTo>
                  <a:lnTo>
                    <a:pt x="166" y="379"/>
                  </a:lnTo>
                  <a:lnTo>
                    <a:pt x="166" y="371"/>
                  </a:lnTo>
                  <a:cubicBezTo>
                    <a:pt x="166" y="368"/>
                    <a:pt x="166" y="365"/>
                    <a:pt x="169" y="363"/>
                  </a:cubicBezTo>
                  <a:lnTo>
                    <a:pt x="166" y="363"/>
                  </a:lnTo>
                  <a:lnTo>
                    <a:pt x="166" y="354"/>
                  </a:lnTo>
                  <a:lnTo>
                    <a:pt x="163" y="354"/>
                  </a:lnTo>
                  <a:cubicBezTo>
                    <a:pt x="166" y="357"/>
                    <a:pt x="166" y="360"/>
                    <a:pt x="163" y="363"/>
                  </a:cubicBezTo>
                  <a:close/>
                  <a:moveTo>
                    <a:pt x="163" y="408"/>
                  </a:moveTo>
                  <a:lnTo>
                    <a:pt x="163" y="413"/>
                  </a:lnTo>
                  <a:lnTo>
                    <a:pt x="166" y="413"/>
                  </a:lnTo>
                  <a:lnTo>
                    <a:pt x="163" y="408"/>
                  </a:lnTo>
                  <a:close/>
                  <a:moveTo>
                    <a:pt x="172" y="436"/>
                  </a:moveTo>
                  <a:cubicBezTo>
                    <a:pt x="169" y="436"/>
                    <a:pt x="166" y="436"/>
                    <a:pt x="163" y="433"/>
                  </a:cubicBezTo>
                  <a:cubicBezTo>
                    <a:pt x="163" y="436"/>
                    <a:pt x="166" y="436"/>
                    <a:pt x="169" y="439"/>
                  </a:cubicBezTo>
                  <a:lnTo>
                    <a:pt x="172" y="439"/>
                  </a:lnTo>
                  <a:lnTo>
                    <a:pt x="175" y="442"/>
                  </a:lnTo>
                  <a:cubicBezTo>
                    <a:pt x="175" y="440"/>
                    <a:pt x="175" y="438"/>
                    <a:pt x="176" y="436"/>
                  </a:cubicBezTo>
                  <a:cubicBezTo>
                    <a:pt x="175" y="436"/>
                    <a:pt x="173" y="436"/>
                    <a:pt x="172" y="436"/>
                  </a:cubicBezTo>
                  <a:close/>
                  <a:moveTo>
                    <a:pt x="166" y="317"/>
                  </a:moveTo>
                  <a:lnTo>
                    <a:pt x="169" y="320"/>
                  </a:lnTo>
                  <a:lnTo>
                    <a:pt x="169" y="315"/>
                  </a:lnTo>
                  <a:cubicBezTo>
                    <a:pt x="166" y="315"/>
                    <a:pt x="166" y="315"/>
                    <a:pt x="166" y="317"/>
                  </a:cubicBezTo>
                  <a:close/>
                  <a:moveTo>
                    <a:pt x="175" y="399"/>
                  </a:moveTo>
                  <a:lnTo>
                    <a:pt x="169" y="399"/>
                  </a:lnTo>
                  <a:lnTo>
                    <a:pt x="163" y="399"/>
                  </a:lnTo>
                  <a:lnTo>
                    <a:pt x="169" y="405"/>
                  </a:lnTo>
                  <a:lnTo>
                    <a:pt x="169" y="408"/>
                  </a:lnTo>
                  <a:cubicBezTo>
                    <a:pt x="169" y="408"/>
                    <a:pt x="169" y="410"/>
                    <a:pt x="166" y="410"/>
                  </a:cubicBezTo>
                  <a:cubicBezTo>
                    <a:pt x="169" y="410"/>
                    <a:pt x="169" y="408"/>
                    <a:pt x="172" y="408"/>
                  </a:cubicBezTo>
                  <a:lnTo>
                    <a:pt x="175" y="408"/>
                  </a:lnTo>
                  <a:lnTo>
                    <a:pt x="177" y="408"/>
                  </a:lnTo>
                  <a:lnTo>
                    <a:pt x="175" y="399"/>
                  </a:lnTo>
                  <a:close/>
                  <a:moveTo>
                    <a:pt x="177" y="422"/>
                  </a:moveTo>
                  <a:cubicBezTo>
                    <a:pt x="175" y="422"/>
                    <a:pt x="175" y="422"/>
                    <a:pt x="175" y="425"/>
                  </a:cubicBezTo>
                  <a:lnTo>
                    <a:pt x="177" y="427"/>
                  </a:lnTo>
                  <a:lnTo>
                    <a:pt x="175" y="427"/>
                  </a:lnTo>
                  <a:lnTo>
                    <a:pt x="172" y="427"/>
                  </a:lnTo>
                  <a:lnTo>
                    <a:pt x="172" y="430"/>
                  </a:lnTo>
                  <a:lnTo>
                    <a:pt x="172" y="433"/>
                  </a:lnTo>
                  <a:cubicBezTo>
                    <a:pt x="177" y="430"/>
                    <a:pt x="180" y="427"/>
                    <a:pt x="177" y="422"/>
                  </a:cubicBezTo>
                  <a:close/>
                  <a:moveTo>
                    <a:pt x="180" y="360"/>
                  </a:moveTo>
                  <a:cubicBezTo>
                    <a:pt x="180" y="357"/>
                    <a:pt x="177" y="357"/>
                    <a:pt x="177" y="354"/>
                  </a:cubicBezTo>
                  <a:cubicBezTo>
                    <a:pt x="175" y="357"/>
                    <a:pt x="175" y="357"/>
                    <a:pt x="175" y="360"/>
                  </a:cubicBezTo>
                  <a:lnTo>
                    <a:pt x="177" y="360"/>
                  </a:lnTo>
                  <a:lnTo>
                    <a:pt x="180" y="360"/>
                  </a:lnTo>
                  <a:close/>
                  <a:moveTo>
                    <a:pt x="177" y="374"/>
                  </a:moveTo>
                  <a:lnTo>
                    <a:pt x="177" y="368"/>
                  </a:lnTo>
                  <a:lnTo>
                    <a:pt x="175" y="368"/>
                  </a:lnTo>
                  <a:cubicBezTo>
                    <a:pt x="177" y="371"/>
                    <a:pt x="177" y="374"/>
                    <a:pt x="177" y="3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8" name="Freeform 1456"/>
            <p:cNvSpPr>
              <a:spLocks noChangeArrowheads="1"/>
            </p:cNvSpPr>
            <p:nvPr/>
          </p:nvSpPr>
          <p:spPr bwMode="auto">
            <a:xfrm>
              <a:off x="3956050" y="2482850"/>
              <a:ext cx="73025" cy="176213"/>
            </a:xfrm>
            <a:custGeom>
              <a:avLst/>
              <a:gdLst>
                <a:gd name="T0" fmla="*/ 184 w 202"/>
                <a:gd name="T1" fmla="*/ 453 h 490"/>
                <a:gd name="T2" fmla="*/ 48 w 202"/>
                <a:gd name="T3" fmla="*/ 430 h 490"/>
                <a:gd name="T4" fmla="*/ 43 w 202"/>
                <a:gd name="T5" fmla="*/ 331 h 490"/>
                <a:gd name="T6" fmla="*/ 14 w 202"/>
                <a:gd name="T7" fmla="*/ 197 h 490"/>
                <a:gd name="T8" fmla="*/ 26 w 202"/>
                <a:gd name="T9" fmla="*/ 14 h 490"/>
                <a:gd name="T10" fmla="*/ 130 w 202"/>
                <a:gd name="T11" fmla="*/ 56 h 490"/>
                <a:gd name="T12" fmla="*/ 136 w 202"/>
                <a:gd name="T13" fmla="*/ 112 h 490"/>
                <a:gd name="T14" fmla="*/ 158 w 202"/>
                <a:gd name="T15" fmla="*/ 194 h 490"/>
                <a:gd name="T16" fmla="*/ 181 w 202"/>
                <a:gd name="T17" fmla="*/ 315 h 490"/>
                <a:gd name="T18" fmla="*/ 31 w 202"/>
                <a:gd name="T19" fmla="*/ 65 h 490"/>
                <a:gd name="T20" fmla="*/ 34 w 202"/>
                <a:gd name="T21" fmla="*/ 56 h 490"/>
                <a:gd name="T22" fmla="*/ 37 w 202"/>
                <a:gd name="T23" fmla="*/ 129 h 490"/>
                <a:gd name="T24" fmla="*/ 40 w 202"/>
                <a:gd name="T25" fmla="*/ 36 h 490"/>
                <a:gd name="T26" fmla="*/ 43 w 202"/>
                <a:gd name="T27" fmla="*/ 211 h 490"/>
                <a:gd name="T28" fmla="*/ 133 w 202"/>
                <a:gd name="T29" fmla="*/ 346 h 490"/>
                <a:gd name="T30" fmla="*/ 116 w 202"/>
                <a:gd name="T31" fmla="*/ 248 h 490"/>
                <a:gd name="T32" fmla="*/ 93 w 202"/>
                <a:gd name="T33" fmla="*/ 152 h 490"/>
                <a:gd name="T34" fmla="*/ 60 w 202"/>
                <a:gd name="T35" fmla="*/ 62 h 490"/>
                <a:gd name="T36" fmla="*/ 74 w 202"/>
                <a:gd name="T37" fmla="*/ 214 h 490"/>
                <a:gd name="T38" fmla="*/ 93 w 202"/>
                <a:gd name="T39" fmla="*/ 300 h 490"/>
                <a:gd name="T40" fmla="*/ 51 w 202"/>
                <a:gd name="T41" fmla="*/ 255 h 490"/>
                <a:gd name="T42" fmla="*/ 60 w 202"/>
                <a:gd name="T43" fmla="*/ 255 h 490"/>
                <a:gd name="T44" fmla="*/ 60 w 202"/>
                <a:gd name="T45" fmla="*/ 28 h 490"/>
                <a:gd name="T46" fmla="*/ 62 w 202"/>
                <a:gd name="T47" fmla="*/ 309 h 490"/>
                <a:gd name="T48" fmla="*/ 74 w 202"/>
                <a:gd name="T49" fmla="*/ 39 h 490"/>
                <a:gd name="T50" fmla="*/ 65 w 202"/>
                <a:gd name="T51" fmla="*/ 379 h 490"/>
                <a:gd name="T52" fmla="*/ 77 w 202"/>
                <a:gd name="T53" fmla="*/ 334 h 490"/>
                <a:gd name="T54" fmla="*/ 74 w 202"/>
                <a:gd name="T55" fmla="*/ 357 h 490"/>
                <a:gd name="T56" fmla="*/ 88 w 202"/>
                <a:gd name="T57" fmla="*/ 45 h 490"/>
                <a:gd name="T58" fmla="*/ 88 w 202"/>
                <a:gd name="T59" fmla="*/ 39 h 490"/>
                <a:gd name="T60" fmla="*/ 88 w 202"/>
                <a:gd name="T61" fmla="*/ 39 h 490"/>
                <a:gd name="T62" fmla="*/ 85 w 202"/>
                <a:gd name="T63" fmla="*/ 413 h 490"/>
                <a:gd name="T64" fmla="*/ 105 w 202"/>
                <a:gd name="T65" fmla="*/ 444 h 490"/>
                <a:gd name="T66" fmla="*/ 113 w 202"/>
                <a:gd name="T67" fmla="*/ 439 h 490"/>
                <a:gd name="T68" fmla="*/ 119 w 202"/>
                <a:gd name="T69" fmla="*/ 84 h 490"/>
                <a:gd name="T70" fmla="*/ 116 w 202"/>
                <a:gd name="T71" fmla="*/ 104 h 490"/>
                <a:gd name="T72" fmla="*/ 122 w 202"/>
                <a:gd name="T73" fmla="*/ 121 h 490"/>
                <a:gd name="T74" fmla="*/ 136 w 202"/>
                <a:gd name="T75" fmla="*/ 456 h 490"/>
                <a:gd name="T76" fmla="*/ 119 w 202"/>
                <a:gd name="T77" fmla="*/ 84 h 490"/>
                <a:gd name="T78" fmla="*/ 125 w 202"/>
                <a:gd name="T79" fmla="*/ 169 h 490"/>
                <a:gd name="T80" fmla="*/ 127 w 202"/>
                <a:gd name="T81" fmla="*/ 183 h 490"/>
                <a:gd name="T82" fmla="*/ 133 w 202"/>
                <a:gd name="T83" fmla="*/ 172 h 490"/>
                <a:gd name="T84" fmla="*/ 130 w 202"/>
                <a:gd name="T85" fmla="*/ 251 h 490"/>
                <a:gd name="T86" fmla="*/ 133 w 202"/>
                <a:gd name="T87" fmla="*/ 217 h 490"/>
                <a:gd name="T88" fmla="*/ 139 w 202"/>
                <a:gd name="T89" fmla="*/ 189 h 490"/>
                <a:gd name="T90" fmla="*/ 141 w 202"/>
                <a:gd name="T91" fmla="*/ 258 h 490"/>
                <a:gd name="T92" fmla="*/ 141 w 202"/>
                <a:gd name="T93" fmla="*/ 180 h 490"/>
                <a:gd name="T94" fmla="*/ 141 w 202"/>
                <a:gd name="T95" fmla="*/ 248 h 490"/>
                <a:gd name="T96" fmla="*/ 158 w 202"/>
                <a:gd name="T97" fmla="*/ 430 h 490"/>
                <a:gd name="T98" fmla="*/ 158 w 202"/>
                <a:gd name="T99" fmla="*/ 303 h 490"/>
                <a:gd name="T100" fmla="*/ 158 w 202"/>
                <a:gd name="T101" fmla="*/ 289 h 490"/>
                <a:gd name="T102" fmla="*/ 153 w 202"/>
                <a:gd name="T103" fmla="*/ 317 h 490"/>
                <a:gd name="T104" fmla="*/ 161 w 202"/>
                <a:gd name="T105" fmla="*/ 323 h 490"/>
                <a:gd name="T106" fmla="*/ 161 w 202"/>
                <a:gd name="T107" fmla="*/ 331 h 490"/>
                <a:gd name="T108" fmla="*/ 161 w 202"/>
                <a:gd name="T109" fmla="*/ 368 h 490"/>
                <a:gd name="T110" fmla="*/ 170 w 202"/>
                <a:gd name="T111" fmla="*/ 377 h 490"/>
                <a:gd name="T112" fmla="*/ 158 w 202"/>
                <a:gd name="T113" fmla="*/ 405 h 490"/>
                <a:gd name="T114" fmla="*/ 167 w 202"/>
                <a:gd name="T115" fmla="*/ 402 h 490"/>
                <a:gd name="T116" fmla="*/ 167 w 202"/>
                <a:gd name="T117" fmla="*/ 425 h 490"/>
                <a:gd name="T118" fmla="*/ 170 w 202"/>
                <a:gd name="T119" fmla="*/ 36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2" h="490">
                  <a:moveTo>
                    <a:pt x="192" y="343"/>
                  </a:moveTo>
                  <a:cubicBezTo>
                    <a:pt x="192" y="352"/>
                    <a:pt x="195" y="357"/>
                    <a:pt x="195" y="365"/>
                  </a:cubicBezTo>
                  <a:lnTo>
                    <a:pt x="195" y="371"/>
                  </a:lnTo>
                  <a:lnTo>
                    <a:pt x="195" y="382"/>
                  </a:lnTo>
                  <a:lnTo>
                    <a:pt x="195" y="388"/>
                  </a:lnTo>
                  <a:cubicBezTo>
                    <a:pt x="201" y="394"/>
                    <a:pt x="198" y="396"/>
                    <a:pt x="195" y="402"/>
                  </a:cubicBezTo>
                  <a:lnTo>
                    <a:pt x="195" y="416"/>
                  </a:lnTo>
                  <a:lnTo>
                    <a:pt x="195" y="430"/>
                  </a:lnTo>
                  <a:lnTo>
                    <a:pt x="195" y="436"/>
                  </a:lnTo>
                  <a:cubicBezTo>
                    <a:pt x="195" y="439"/>
                    <a:pt x="192" y="439"/>
                    <a:pt x="192" y="441"/>
                  </a:cubicBezTo>
                  <a:cubicBezTo>
                    <a:pt x="189" y="444"/>
                    <a:pt x="187" y="450"/>
                    <a:pt x="184" y="453"/>
                  </a:cubicBezTo>
                  <a:lnTo>
                    <a:pt x="175" y="464"/>
                  </a:lnTo>
                  <a:cubicBezTo>
                    <a:pt x="170" y="470"/>
                    <a:pt x="161" y="475"/>
                    <a:pt x="153" y="481"/>
                  </a:cubicBezTo>
                  <a:cubicBezTo>
                    <a:pt x="150" y="484"/>
                    <a:pt x="147" y="484"/>
                    <a:pt x="141" y="484"/>
                  </a:cubicBezTo>
                  <a:cubicBezTo>
                    <a:pt x="139" y="484"/>
                    <a:pt x="136" y="484"/>
                    <a:pt x="130" y="487"/>
                  </a:cubicBezTo>
                  <a:cubicBezTo>
                    <a:pt x="127" y="484"/>
                    <a:pt x="127" y="484"/>
                    <a:pt x="125" y="484"/>
                  </a:cubicBezTo>
                  <a:cubicBezTo>
                    <a:pt x="122" y="484"/>
                    <a:pt x="122" y="487"/>
                    <a:pt x="119" y="487"/>
                  </a:cubicBezTo>
                  <a:cubicBezTo>
                    <a:pt x="105" y="489"/>
                    <a:pt x="93" y="484"/>
                    <a:pt x="82" y="475"/>
                  </a:cubicBezTo>
                  <a:cubicBezTo>
                    <a:pt x="77" y="473"/>
                    <a:pt x="74" y="470"/>
                    <a:pt x="71" y="464"/>
                  </a:cubicBezTo>
                  <a:cubicBezTo>
                    <a:pt x="71" y="461"/>
                    <a:pt x="68" y="458"/>
                    <a:pt x="65" y="458"/>
                  </a:cubicBezTo>
                  <a:cubicBezTo>
                    <a:pt x="62" y="456"/>
                    <a:pt x="60" y="456"/>
                    <a:pt x="57" y="453"/>
                  </a:cubicBezTo>
                  <a:cubicBezTo>
                    <a:pt x="57" y="444"/>
                    <a:pt x="54" y="436"/>
                    <a:pt x="48" y="430"/>
                  </a:cubicBezTo>
                  <a:lnTo>
                    <a:pt x="48" y="425"/>
                  </a:lnTo>
                  <a:lnTo>
                    <a:pt x="48" y="422"/>
                  </a:lnTo>
                  <a:cubicBezTo>
                    <a:pt x="48" y="419"/>
                    <a:pt x="46" y="416"/>
                    <a:pt x="46" y="413"/>
                  </a:cubicBezTo>
                  <a:cubicBezTo>
                    <a:pt x="48" y="405"/>
                    <a:pt x="48" y="397"/>
                    <a:pt x="48" y="394"/>
                  </a:cubicBezTo>
                  <a:cubicBezTo>
                    <a:pt x="48" y="392"/>
                    <a:pt x="48" y="388"/>
                    <a:pt x="51" y="385"/>
                  </a:cubicBezTo>
                  <a:cubicBezTo>
                    <a:pt x="51" y="382"/>
                    <a:pt x="48" y="377"/>
                    <a:pt x="48" y="374"/>
                  </a:cubicBezTo>
                  <a:lnTo>
                    <a:pt x="46" y="368"/>
                  </a:lnTo>
                  <a:cubicBezTo>
                    <a:pt x="43" y="365"/>
                    <a:pt x="46" y="365"/>
                    <a:pt x="46" y="360"/>
                  </a:cubicBezTo>
                  <a:lnTo>
                    <a:pt x="46" y="354"/>
                  </a:lnTo>
                  <a:lnTo>
                    <a:pt x="46" y="346"/>
                  </a:lnTo>
                  <a:cubicBezTo>
                    <a:pt x="43" y="340"/>
                    <a:pt x="43" y="337"/>
                    <a:pt x="43" y="331"/>
                  </a:cubicBezTo>
                  <a:cubicBezTo>
                    <a:pt x="43" y="326"/>
                    <a:pt x="40" y="323"/>
                    <a:pt x="40" y="317"/>
                  </a:cubicBezTo>
                  <a:cubicBezTo>
                    <a:pt x="37" y="315"/>
                    <a:pt x="37" y="312"/>
                    <a:pt x="37" y="309"/>
                  </a:cubicBezTo>
                  <a:cubicBezTo>
                    <a:pt x="37" y="306"/>
                    <a:pt x="37" y="306"/>
                    <a:pt x="34" y="303"/>
                  </a:cubicBezTo>
                  <a:cubicBezTo>
                    <a:pt x="34" y="300"/>
                    <a:pt x="31" y="300"/>
                    <a:pt x="31" y="298"/>
                  </a:cubicBezTo>
                  <a:lnTo>
                    <a:pt x="31" y="292"/>
                  </a:lnTo>
                  <a:lnTo>
                    <a:pt x="29" y="269"/>
                  </a:lnTo>
                  <a:cubicBezTo>
                    <a:pt x="29" y="264"/>
                    <a:pt x="26" y="255"/>
                    <a:pt x="26" y="251"/>
                  </a:cubicBezTo>
                  <a:lnTo>
                    <a:pt x="26" y="242"/>
                  </a:lnTo>
                  <a:lnTo>
                    <a:pt x="23" y="225"/>
                  </a:lnTo>
                  <a:cubicBezTo>
                    <a:pt x="20" y="220"/>
                    <a:pt x="20" y="214"/>
                    <a:pt x="17" y="206"/>
                  </a:cubicBezTo>
                  <a:cubicBezTo>
                    <a:pt x="17" y="203"/>
                    <a:pt x="14" y="200"/>
                    <a:pt x="14" y="197"/>
                  </a:cubicBezTo>
                  <a:cubicBezTo>
                    <a:pt x="14" y="194"/>
                    <a:pt x="14" y="191"/>
                    <a:pt x="12" y="189"/>
                  </a:cubicBezTo>
                  <a:cubicBezTo>
                    <a:pt x="9" y="186"/>
                    <a:pt x="6" y="180"/>
                    <a:pt x="9" y="175"/>
                  </a:cubicBezTo>
                  <a:lnTo>
                    <a:pt x="9" y="160"/>
                  </a:lnTo>
                  <a:cubicBezTo>
                    <a:pt x="9" y="158"/>
                    <a:pt x="6" y="152"/>
                    <a:pt x="9" y="149"/>
                  </a:cubicBezTo>
                  <a:cubicBezTo>
                    <a:pt x="9" y="141"/>
                    <a:pt x="9" y="135"/>
                    <a:pt x="6" y="127"/>
                  </a:cubicBezTo>
                  <a:cubicBezTo>
                    <a:pt x="3" y="115"/>
                    <a:pt x="0" y="101"/>
                    <a:pt x="0" y="90"/>
                  </a:cubicBezTo>
                  <a:lnTo>
                    <a:pt x="0" y="65"/>
                  </a:lnTo>
                  <a:lnTo>
                    <a:pt x="0" y="56"/>
                  </a:lnTo>
                  <a:cubicBezTo>
                    <a:pt x="0" y="45"/>
                    <a:pt x="6" y="31"/>
                    <a:pt x="14" y="22"/>
                  </a:cubicBezTo>
                  <a:lnTo>
                    <a:pt x="23" y="14"/>
                  </a:lnTo>
                  <a:lnTo>
                    <a:pt x="26" y="14"/>
                  </a:lnTo>
                  <a:cubicBezTo>
                    <a:pt x="29" y="14"/>
                    <a:pt x="31" y="11"/>
                    <a:pt x="34" y="11"/>
                  </a:cubicBezTo>
                  <a:lnTo>
                    <a:pt x="43" y="8"/>
                  </a:lnTo>
                  <a:cubicBezTo>
                    <a:pt x="46" y="8"/>
                    <a:pt x="48" y="5"/>
                    <a:pt x="51" y="5"/>
                  </a:cubicBezTo>
                  <a:cubicBezTo>
                    <a:pt x="54" y="5"/>
                    <a:pt x="57" y="2"/>
                    <a:pt x="60" y="2"/>
                  </a:cubicBezTo>
                  <a:cubicBezTo>
                    <a:pt x="62" y="2"/>
                    <a:pt x="65" y="0"/>
                    <a:pt x="65" y="2"/>
                  </a:cubicBezTo>
                  <a:lnTo>
                    <a:pt x="82" y="5"/>
                  </a:lnTo>
                  <a:cubicBezTo>
                    <a:pt x="93" y="8"/>
                    <a:pt x="105" y="11"/>
                    <a:pt x="110" y="19"/>
                  </a:cubicBezTo>
                  <a:cubicBezTo>
                    <a:pt x="113" y="25"/>
                    <a:pt x="119" y="30"/>
                    <a:pt x="122" y="33"/>
                  </a:cubicBezTo>
                  <a:cubicBezTo>
                    <a:pt x="125" y="35"/>
                    <a:pt x="125" y="39"/>
                    <a:pt x="125" y="39"/>
                  </a:cubicBezTo>
                  <a:cubicBezTo>
                    <a:pt x="125" y="42"/>
                    <a:pt x="125" y="45"/>
                    <a:pt x="127" y="48"/>
                  </a:cubicBezTo>
                  <a:lnTo>
                    <a:pt x="130" y="56"/>
                  </a:lnTo>
                  <a:cubicBezTo>
                    <a:pt x="130" y="59"/>
                    <a:pt x="133" y="62"/>
                    <a:pt x="133" y="65"/>
                  </a:cubicBezTo>
                  <a:lnTo>
                    <a:pt x="133" y="70"/>
                  </a:lnTo>
                  <a:cubicBezTo>
                    <a:pt x="130" y="76"/>
                    <a:pt x="133" y="81"/>
                    <a:pt x="133" y="84"/>
                  </a:cubicBezTo>
                  <a:cubicBezTo>
                    <a:pt x="133" y="84"/>
                    <a:pt x="133" y="87"/>
                    <a:pt x="136" y="87"/>
                  </a:cubicBezTo>
                  <a:lnTo>
                    <a:pt x="136" y="93"/>
                  </a:lnTo>
                  <a:lnTo>
                    <a:pt x="136" y="96"/>
                  </a:lnTo>
                  <a:cubicBezTo>
                    <a:pt x="136" y="96"/>
                    <a:pt x="139" y="98"/>
                    <a:pt x="136" y="98"/>
                  </a:cubicBezTo>
                  <a:lnTo>
                    <a:pt x="136" y="101"/>
                  </a:lnTo>
                  <a:lnTo>
                    <a:pt x="136" y="107"/>
                  </a:lnTo>
                  <a:lnTo>
                    <a:pt x="136" y="110"/>
                  </a:lnTo>
                  <a:lnTo>
                    <a:pt x="136" y="112"/>
                  </a:lnTo>
                  <a:cubicBezTo>
                    <a:pt x="139" y="115"/>
                    <a:pt x="139" y="115"/>
                    <a:pt x="139" y="118"/>
                  </a:cubicBezTo>
                  <a:cubicBezTo>
                    <a:pt x="139" y="121"/>
                    <a:pt x="141" y="124"/>
                    <a:pt x="141" y="129"/>
                  </a:cubicBezTo>
                  <a:cubicBezTo>
                    <a:pt x="141" y="132"/>
                    <a:pt x="141" y="138"/>
                    <a:pt x="144" y="141"/>
                  </a:cubicBezTo>
                  <a:lnTo>
                    <a:pt x="144" y="143"/>
                  </a:lnTo>
                  <a:lnTo>
                    <a:pt x="144" y="146"/>
                  </a:lnTo>
                  <a:lnTo>
                    <a:pt x="147" y="149"/>
                  </a:lnTo>
                  <a:cubicBezTo>
                    <a:pt x="147" y="152"/>
                    <a:pt x="147" y="155"/>
                    <a:pt x="150" y="158"/>
                  </a:cubicBezTo>
                  <a:lnTo>
                    <a:pt x="150" y="169"/>
                  </a:lnTo>
                  <a:cubicBezTo>
                    <a:pt x="150" y="169"/>
                    <a:pt x="150" y="172"/>
                    <a:pt x="153" y="175"/>
                  </a:cubicBezTo>
                  <a:cubicBezTo>
                    <a:pt x="156" y="180"/>
                    <a:pt x="156" y="186"/>
                    <a:pt x="156" y="191"/>
                  </a:cubicBezTo>
                  <a:lnTo>
                    <a:pt x="158" y="194"/>
                  </a:lnTo>
                  <a:lnTo>
                    <a:pt x="158" y="200"/>
                  </a:lnTo>
                  <a:lnTo>
                    <a:pt x="161" y="220"/>
                  </a:lnTo>
                  <a:lnTo>
                    <a:pt x="161" y="225"/>
                  </a:lnTo>
                  <a:lnTo>
                    <a:pt x="161" y="237"/>
                  </a:lnTo>
                  <a:lnTo>
                    <a:pt x="161" y="242"/>
                  </a:lnTo>
                  <a:cubicBezTo>
                    <a:pt x="161" y="245"/>
                    <a:pt x="161" y="251"/>
                    <a:pt x="164" y="254"/>
                  </a:cubicBezTo>
                  <a:cubicBezTo>
                    <a:pt x="167" y="258"/>
                    <a:pt x="170" y="267"/>
                    <a:pt x="170" y="272"/>
                  </a:cubicBezTo>
                  <a:cubicBezTo>
                    <a:pt x="170" y="275"/>
                    <a:pt x="170" y="278"/>
                    <a:pt x="172" y="284"/>
                  </a:cubicBezTo>
                  <a:cubicBezTo>
                    <a:pt x="175" y="286"/>
                    <a:pt x="175" y="292"/>
                    <a:pt x="178" y="298"/>
                  </a:cubicBezTo>
                  <a:cubicBezTo>
                    <a:pt x="178" y="303"/>
                    <a:pt x="178" y="306"/>
                    <a:pt x="181" y="312"/>
                  </a:cubicBezTo>
                  <a:lnTo>
                    <a:pt x="181" y="315"/>
                  </a:lnTo>
                  <a:lnTo>
                    <a:pt x="181" y="320"/>
                  </a:lnTo>
                  <a:lnTo>
                    <a:pt x="181" y="323"/>
                  </a:lnTo>
                  <a:cubicBezTo>
                    <a:pt x="189" y="329"/>
                    <a:pt x="192" y="335"/>
                    <a:pt x="192" y="343"/>
                  </a:cubicBezTo>
                  <a:close/>
                  <a:moveTo>
                    <a:pt x="23" y="98"/>
                  </a:moveTo>
                  <a:cubicBezTo>
                    <a:pt x="26" y="101"/>
                    <a:pt x="26" y="101"/>
                    <a:pt x="29" y="101"/>
                  </a:cubicBezTo>
                  <a:lnTo>
                    <a:pt x="29" y="96"/>
                  </a:lnTo>
                  <a:lnTo>
                    <a:pt x="23" y="98"/>
                  </a:lnTo>
                  <a:close/>
                  <a:moveTo>
                    <a:pt x="31" y="67"/>
                  </a:moveTo>
                  <a:cubicBezTo>
                    <a:pt x="34" y="67"/>
                    <a:pt x="34" y="67"/>
                    <a:pt x="37" y="65"/>
                  </a:cubicBezTo>
                  <a:lnTo>
                    <a:pt x="34" y="65"/>
                  </a:lnTo>
                  <a:lnTo>
                    <a:pt x="31" y="65"/>
                  </a:lnTo>
                  <a:cubicBezTo>
                    <a:pt x="29" y="65"/>
                    <a:pt x="26" y="67"/>
                    <a:pt x="23" y="67"/>
                  </a:cubicBezTo>
                  <a:lnTo>
                    <a:pt x="23" y="70"/>
                  </a:lnTo>
                  <a:lnTo>
                    <a:pt x="31" y="67"/>
                  </a:lnTo>
                  <a:close/>
                  <a:moveTo>
                    <a:pt x="26" y="132"/>
                  </a:moveTo>
                  <a:lnTo>
                    <a:pt x="29" y="132"/>
                  </a:lnTo>
                  <a:cubicBezTo>
                    <a:pt x="29" y="132"/>
                    <a:pt x="29" y="129"/>
                    <a:pt x="26" y="127"/>
                  </a:cubicBezTo>
                  <a:lnTo>
                    <a:pt x="26" y="132"/>
                  </a:lnTo>
                  <a:close/>
                  <a:moveTo>
                    <a:pt x="29" y="59"/>
                  </a:moveTo>
                  <a:lnTo>
                    <a:pt x="34" y="59"/>
                  </a:lnTo>
                  <a:cubicBezTo>
                    <a:pt x="34" y="62"/>
                    <a:pt x="37" y="62"/>
                    <a:pt x="40" y="59"/>
                  </a:cubicBezTo>
                  <a:cubicBezTo>
                    <a:pt x="37" y="59"/>
                    <a:pt x="37" y="56"/>
                    <a:pt x="34" y="56"/>
                  </a:cubicBezTo>
                  <a:cubicBezTo>
                    <a:pt x="31" y="56"/>
                    <a:pt x="31" y="53"/>
                    <a:pt x="29" y="53"/>
                  </a:cubicBezTo>
                  <a:lnTo>
                    <a:pt x="29" y="59"/>
                  </a:lnTo>
                  <a:close/>
                  <a:moveTo>
                    <a:pt x="34" y="172"/>
                  </a:moveTo>
                  <a:lnTo>
                    <a:pt x="31" y="169"/>
                  </a:lnTo>
                  <a:cubicBezTo>
                    <a:pt x="29" y="175"/>
                    <a:pt x="31" y="175"/>
                    <a:pt x="34" y="172"/>
                  </a:cubicBezTo>
                  <a:close/>
                  <a:moveTo>
                    <a:pt x="31" y="48"/>
                  </a:moveTo>
                  <a:cubicBezTo>
                    <a:pt x="34" y="48"/>
                    <a:pt x="34" y="45"/>
                    <a:pt x="37" y="45"/>
                  </a:cubicBezTo>
                  <a:cubicBezTo>
                    <a:pt x="34" y="45"/>
                    <a:pt x="34" y="42"/>
                    <a:pt x="31" y="39"/>
                  </a:cubicBezTo>
                  <a:lnTo>
                    <a:pt x="31" y="48"/>
                  </a:lnTo>
                  <a:close/>
                  <a:moveTo>
                    <a:pt x="40" y="135"/>
                  </a:moveTo>
                  <a:cubicBezTo>
                    <a:pt x="40" y="135"/>
                    <a:pt x="40" y="132"/>
                    <a:pt x="37" y="129"/>
                  </a:cubicBezTo>
                  <a:lnTo>
                    <a:pt x="34" y="135"/>
                  </a:lnTo>
                  <a:lnTo>
                    <a:pt x="40" y="135"/>
                  </a:lnTo>
                  <a:close/>
                  <a:moveTo>
                    <a:pt x="37" y="186"/>
                  </a:moveTo>
                  <a:lnTo>
                    <a:pt x="40" y="186"/>
                  </a:lnTo>
                  <a:lnTo>
                    <a:pt x="40" y="183"/>
                  </a:lnTo>
                  <a:cubicBezTo>
                    <a:pt x="40" y="183"/>
                    <a:pt x="37" y="183"/>
                    <a:pt x="37" y="186"/>
                  </a:cubicBezTo>
                  <a:close/>
                  <a:moveTo>
                    <a:pt x="37" y="172"/>
                  </a:moveTo>
                  <a:lnTo>
                    <a:pt x="40" y="172"/>
                  </a:lnTo>
                  <a:lnTo>
                    <a:pt x="40" y="169"/>
                  </a:lnTo>
                  <a:lnTo>
                    <a:pt x="37" y="172"/>
                  </a:lnTo>
                  <a:close/>
                  <a:moveTo>
                    <a:pt x="40" y="36"/>
                  </a:moveTo>
                  <a:lnTo>
                    <a:pt x="43" y="39"/>
                  </a:lnTo>
                  <a:lnTo>
                    <a:pt x="46" y="39"/>
                  </a:lnTo>
                  <a:lnTo>
                    <a:pt x="43" y="36"/>
                  </a:lnTo>
                  <a:lnTo>
                    <a:pt x="40" y="36"/>
                  </a:lnTo>
                  <a:close/>
                  <a:moveTo>
                    <a:pt x="40" y="45"/>
                  </a:moveTo>
                  <a:cubicBezTo>
                    <a:pt x="43" y="48"/>
                    <a:pt x="43" y="50"/>
                    <a:pt x="46" y="53"/>
                  </a:cubicBezTo>
                  <a:cubicBezTo>
                    <a:pt x="48" y="50"/>
                    <a:pt x="48" y="48"/>
                    <a:pt x="51" y="42"/>
                  </a:cubicBezTo>
                  <a:lnTo>
                    <a:pt x="40" y="45"/>
                  </a:lnTo>
                  <a:close/>
                  <a:moveTo>
                    <a:pt x="48" y="208"/>
                  </a:moveTo>
                  <a:lnTo>
                    <a:pt x="43" y="208"/>
                  </a:lnTo>
                  <a:lnTo>
                    <a:pt x="43" y="211"/>
                  </a:lnTo>
                  <a:lnTo>
                    <a:pt x="46" y="211"/>
                  </a:lnTo>
                  <a:lnTo>
                    <a:pt x="48" y="208"/>
                  </a:lnTo>
                  <a:close/>
                  <a:moveTo>
                    <a:pt x="110" y="413"/>
                  </a:moveTo>
                  <a:lnTo>
                    <a:pt x="116" y="419"/>
                  </a:lnTo>
                  <a:cubicBezTo>
                    <a:pt x="119" y="422"/>
                    <a:pt x="122" y="422"/>
                    <a:pt x="122" y="425"/>
                  </a:cubicBezTo>
                  <a:lnTo>
                    <a:pt x="133" y="422"/>
                  </a:lnTo>
                  <a:cubicBezTo>
                    <a:pt x="139" y="413"/>
                    <a:pt x="141" y="402"/>
                    <a:pt x="139" y="391"/>
                  </a:cubicBezTo>
                  <a:lnTo>
                    <a:pt x="139" y="385"/>
                  </a:lnTo>
                  <a:lnTo>
                    <a:pt x="139" y="379"/>
                  </a:lnTo>
                  <a:cubicBezTo>
                    <a:pt x="139" y="368"/>
                    <a:pt x="139" y="368"/>
                    <a:pt x="136" y="363"/>
                  </a:cubicBezTo>
                  <a:cubicBezTo>
                    <a:pt x="133" y="357"/>
                    <a:pt x="133" y="351"/>
                    <a:pt x="133" y="346"/>
                  </a:cubicBezTo>
                  <a:lnTo>
                    <a:pt x="133" y="331"/>
                  </a:lnTo>
                  <a:cubicBezTo>
                    <a:pt x="130" y="329"/>
                    <a:pt x="130" y="323"/>
                    <a:pt x="130" y="320"/>
                  </a:cubicBezTo>
                  <a:cubicBezTo>
                    <a:pt x="130" y="317"/>
                    <a:pt x="130" y="312"/>
                    <a:pt x="127" y="309"/>
                  </a:cubicBezTo>
                  <a:lnTo>
                    <a:pt x="122" y="286"/>
                  </a:lnTo>
                  <a:lnTo>
                    <a:pt x="122" y="281"/>
                  </a:lnTo>
                  <a:lnTo>
                    <a:pt x="122" y="275"/>
                  </a:lnTo>
                  <a:lnTo>
                    <a:pt x="122" y="269"/>
                  </a:lnTo>
                  <a:cubicBezTo>
                    <a:pt x="122" y="267"/>
                    <a:pt x="119" y="267"/>
                    <a:pt x="119" y="264"/>
                  </a:cubicBezTo>
                  <a:lnTo>
                    <a:pt x="116" y="253"/>
                  </a:lnTo>
                  <a:lnTo>
                    <a:pt x="116" y="251"/>
                  </a:lnTo>
                  <a:lnTo>
                    <a:pt x="116" y="248"/>
                  </a:lnTo>
                  <a:lnTo>
                    <a:pt x="110" y="242"/>
                  </a:lnTo>
                  <a:lnTo>
                    <a:pt x="110" y="237"/>
                  </a:lnTo>
                  <a:lnTo>
                    <a:pt x="110" y="225"/>
                  </a:lnTo>
                  <a:lnTo>
                    <a:pt x="110" y="214"/>
                  </a:lnTo>
                  <a:cubicBezTo>
                    <a:pt x="110" y="211"/>
                    <a:pt x="110" y="206"/>
                    <a:pt x="108" y="203"/>
                  </a:cubicBezTo>
                  <a:cubicBezTo>
                    <a:pt x="105" y="200"/>
                    <a:pt x="102" y="194"/>
                    <a:pt x="102" y="191"/>
                  </a:cubicBezTo>
                  <a:lnTo>
                    <a:pt x="102" y="186"/>
                  </a:lnTo>
                  <a:lnTo>
                    <a:pt x="102" y="172"/>
                  </a:lnTo>
                  <a:lnTo>
                    <a:pt x="102" y="166"/>
                  </a:lnTo>
                  <a:cubicBezTo>
                    <a:pt x="102" y="163"/>
                    <a:pt x="102" y="163"/>
                    <a:pt x="99" y="160"/>
                  </a:cubicBezTo>
                  <a:cubicBezTo>
                    <a:pt x="99" y="158"/>
                    <a:pt x="96" y="155"/>
                    <a:pt x="93" y="152"/>
                  </a:cubicBezTo>
                  <a:cubicBezTo>
                    <a:pt x="91" y="149"/>
                    <a:pt x="91" y="146"/>
                    <a:pt x="93" y="143"/>
                  </a:cubicBezTo>
                  <a:lnTo>
                    <a:pt x="93" y="135"/>
                  </a:lnTo>
                  <a:lnTo>
                    <a:pt x="93" y="127"/>
                  </a:lnTo>
                  <a:cubicBezTo>
                    <a:pt x="96" y="124"/>
                    <a:pt x="93" y="121"/>
                    <a:pt x="93" y="118"/>
                  </a:cubicBezTo>
                  <a:cubicBezTo>
                    <a:pt x="91" y="118"/>
                    <a:pt x="91" y="115"/>
                    <a:pt x="91" y="112"/>
                  </a:cubicBezTo>
                  <a:lnTo>
                    <a:pt x="91" y="107"/>
                  </a:lnTo>
                  <a:lnTo>
                    <a:pt x="88" y="93"/>
                  </a:lnTo>
                  <a:cubicBezTo>
                    <a:pt x="88" y="87"/>
                    <a:pt x="85" y="81"/>
                    <a:pt x="82" y="76"/>
                  </a:cubicBezTo>
                  <a:cubicBezTo>
                    <a:pt x="82" y="73"/>
                    <a:pt x="79" y="73"/>
                    <a:pt x="77" y="70"/>
                  </a:cubicBezTo>
                  <a:cubicBezTo>
                    <a:pt x="74" y="70"/>
                    <a:pt x="74" y="67"/>
                    <a:pt x="71" y="65"/>
                  </a:cubicBezTo>
                  <a:lnTo>
                    <a:pt x="60" y="62"/>
                  </a:lnTo>
                  <a:lnTo>
                    <a:pt x="57" y="65"/>
                  </a:lnTo>
                  <a:lnTo>
                    <a:pt x="54" y="67"/>
                  </a:lnTo>
                  <a:cubicBezTo>
                    <a:pt x="54" y="70"/>
                    <a:pt x="54" y="76"/>
                    <a:pt x="51" y="79"/>
                  </a:cubicBezTo>
                  <a:cubicBezTo>
                    <a:pt x="48" y="84"/>
                    <a:pt x="51" y="87"/>
                    <a:pt x="54" y="93"/>
                  </a:cubicBezTo>
                  <a:lnTo>
                    <a:pt x="62" y="138"/>
                  </a:lnTo>
                  <a:lnTo>
                    <a:pt x="62" y="155"/>
                  </a:lnTo>
                  <a:cubicBezTo>
                    <a:pt x="62" y="158"/>
                    <a:pt x="62" y="160"/>
                    <a:pt x="65" y="160"/>
                  </a:cubicBezTo>
                  <a:cubicBezTo>
                    <a:pt x="68" y="166"/>
                    <a:pt x="71" y="172"/>
                    <a:pt x="68" y="175"/>
                  </a:cubicBezTo>
                  <a:cubicBezTo>
                    <a:pt x="68" y="177"/>
                    <a:pt x="68" y="183"/>
                    <a:pt x="71" y="186"/>
                  </a:cubicBezTo>
                  <a:lnTo>
                    <a:pt x="71" y="191"/>
                  </a:lnTo>
                  <a:cubicBezTo>
                    <a:pt x="74" y="197"/>
                    <a:pt x="77" y="206"/>
                    <a:pt x="74" y="214"/>
                  </a:cubicBezTo>
                  <a:cubicBezTo>
                    <a:pt x="74" y="220"/>
                    <a:pt x="74" y="225"/>
                    <a:pt x="77" y="228"/>
                  </a:cubicBezTo>
                  <a:lnTo>
                    <a:pt x="77" y="231"/>
                  </a:lnTo>
                  <a:lnTo>
                    <a:pt x="77" y="234"/>
                  </a:lnTo>
                  <a:cubicBezTo>
                    <a:pt x="77" y="237"/>
                    <a:pt x="77" y="237"/>
                    <a:pt x="79" y="239"/>
                  </a:cubicBezTo>
                  <a:cubicBezTo>
                    <a:pt x="79" y="242"/>
                    <a:pt x="82" y="248"/>
                    <a:pt x="82" y="251"/>
                  </a:cubicBezTo>
                  <a:cubicBezTo>
                    <a:pt x="82" y="254"/>
                    <a:pt x="82" y="255"/>
                    <a:pt x="85" y="255"/>
                  </a:cubicBezTo>
                  <a:cubicBezTo>
                    <a:pt x="88" y="261"/>
                    <a:pt x="88" y="267"/>
                    <a:pt x="85" y="272"/>
                  </a:cubicBezTo>
                  <a:cubicBezTo>
                    <a:pt x="88" y="275"/>
                    <a:pt x="88" y="281"/>
                    <a:pt x="91" y="284"/>
                  </a:cubicBezTo>
                  <a:lnTo>
                    <a:pt x="91" y="289"/>
                  </a:lnTo>
                  <a:lnTo>
                    <a:pt x="91" y="295"/>
                  </a:lnTo>
                  <a:cubicBezTo>
                    <a:pt x="91" y="298"/>
                    <a:pt x="93" y="298"/>
                    <a:pt x="93" y="300"/>
                  </a:cubicBezTo>
                  <a:cubicBezTo>
                    <a:pt x="93" y="306"/>
                    <a:pt x="96" y="309"/>
                    <a:pt x="96" y="312"/>
                  </a:cubicBezTo>
                  <a:lnTo>
                    <a:pt x="96" y="315"/>
                  </a:lnTo>
                  <a:lnTo>
                    <a:pt x="96" y="317"/>
                  </a:lnTo>
                  <a:cubicBezTo>
                    <a:pt x="96" y="329"/>
                    <a:pt x="96" y="340"/>
                    <a:pt x="102" y="351"/>
                  </a:cubicBezTo>
                  <a:cubicBezTo>
                    <a:pt x="102" y="354"/>
                    <a:pt x="105" y="360"/>
                    <a:pt x="105" y="363"/>
                  </a:cubicBezTo>
                  <a:lnTo>
                    <a:pt x="105" y="374"/>
                  </a:lnTo>
                  <a:cubicBezTo>
                    <a:pt x="102" y="379"/>
                    <a:pt x="105" y="385"/>
                    <a:pt x="105" y="391"/>
                  </a:cubicBezTo>
                  <a:cubicBezTo>
                    <a:pt x="108" y="394"/>
                    <a:pt x="108" y="399"/>
                    <a:pt x="108" y="402"/>
                  </a:cubicBezTo>
                  <a:cubicBezTo>
                    <a:pt x="108" y="405"/>
                    <a:pt x="108" y="408"/>
                    <a:pt x="110" y="413"/>
                  </a:cubicBezTo>
                  <a:close/>
                  <a:moveTo>
                    <a:pt x="48" y="258"/>
                  </a:moveTo>
                  <a:lnTo>
                    <a:pt x="51" y="255"/>
                  </a:lnTo>
                  <a:lnTo>
                    <a:pt x="51" y="253"/>
                  </a:lnTo>
                  <a:lnTo>
                    <a:pt x="51" y="251"/>
                  </a:lnTo>
                  <a:cubicBezTo>
                    <a:pt x="51" y="254"/>
                    <a:pt x="48" y="253"/>
                    <a:pt x="48" y="258"/>
                  </a:cubicBezTo>
                  <a:close/>
                  <a:moveTo>
                    <a:pt x="51" y="42"/>
                  </a:moveTo>
                  <a:lnTo>
                    <a:pt x="57" y="36"/>
                  </a:lnTo>
                  <a:cubicBezTo>
                    <a:pt x="51" y="36"/>
                    <a:pt x="48" y="39"/>
                    <a:pt x="51" y="42"/>
                  </a:cubicBezTo>
                  <a:close/>
                  <a:moveTo>
                    <a:pt x="57" y="267"/>
                  </a:moveTo>
                  <a:cubicBezTo>
                    <a:pt x="57" y="269"/>
                    <a:pt x="60" y="272"/>
                    <a:pt x="62" y="272"/>
                  </a:cubicBezTo>
                  <a:cubicBezTo>
                    <a:pt x="60" y="269"/>
                    <a:pt x="60" y="267"/>
                    <a:pt x="57" y="267"/>
                  </a:cubicBezTo>
                  <a:cubicBezTo>
                    <a:pt x="60" y="264"/>
                    <a:pt x="60" y="264"/>
                    <a:pt x="60" y="261"/>
                  </a:cubicBezTo>
                  <a:lnTo>
                    <a:pt x="60" y="255"/>
                  </a:lnTo>
                  <a:cubicBezTo>
                    <a:pt x="57" y="258"/>
                    <a:pt x="54" y="258"/>
                    <a:pt x="54" y="261"/>
                  </a:cubicBezTo>
                  <a:cubicBezTo>
                    <a:pt x="54" y="261"/>
                    <a:pt x="57" y="264"/>
                    <a:pt x="57" y="267"/>
                  </a:cubicBezTo>
                  <a:close/>
                  <a:moveTo>
                    <a:pt x="62" y="298"/>
                  </a:moveTo>
                  <a:cubicBezTo>
                    <a:pt x="62" y="298"/>
                    <a:pt x="60" y="295"/>
                    <a:pt x="62" y="298"/>
                  </a:cubicBezTo>
                  <a:cubicBezTo>
                    <a:pt x="60" y="295"/>
                    <a:pt x="60" y="298"/>
                    <a:pt x="57" y="298"/>
                  </a:cubicBezTo>
                  <a:lnTo>
                    <a:pt x="62" y="298"/>
                  </a:lnTo>
                  <a:close/>
                  <a:moveTo>
                    <a:pt x="57" y="31"/>
                  </a:moveTo>
                  <a:lnTo>
                    <a:pt x="62" y="31"/>
                  </a:lnTo>
                  <a:lnTo>
                    <a:pt x="62" y="28"/>
                  </a:lnTo>
                  <a:lnTo>
                    <a:pt x="62" y="25"/>
                  </a:lnTo>
                  <a:cubicBezTo>
                    <a:pt x="60" y="25"/>
                    <a:pt x="60" y="28"/>
                    <a:pt x="60" y="28"/>
                  </a:cubicBezTo>
                  <a:lnTo>
                    <a:pt x="57" y="31"/>
                  </a:lnTo>
                  <a:close/>
                  <a:moveTo>
                    <a:pt x="60" y="278"/>
                  </a:moveTo>
                  <a:cubicBezTo>
                    <a:pt x="62" y="281"/>
                    <a:pt x="62" y="281"/>
                    <a:pt x="62" y="284"/>
                  </a:cubicBezTo>
                  <a:cubicBezTo>
                    <a:pt x="65" y="286"/>
                    <a:pt x="65" y="289"/>
                    <a:pt x="65" y="292"/>
                  </a:cubicBezTo>
                  <a:cubicBezTo>
                    <a:pt x="65" y="284"/>
                    <a:pt x="65" y="281"/>
                    <a:pt x="60" y="278"/>
                  </a:cubicBezTo>
                  <a:close/>
                  <a:moveTo>
                    <a:pt x="65" y="317"/>
                  </a:moveTo>
                  <a:cubicBezTo>
                    <a:pt x="65" y="317"/>
                    <a:pt x="67" y="317"/>
                    <a:pt x="68" y="319"/>
                  </a:cubicBezTo>
                  <a:lnTo>
                    <a:pt x="65" y="306"/>
                  </a:lnTo>
                  <a:lnTo>
                    <a:pt x="62" y="306"/>
                  </a:lnTo>
                  <a:lnTo>
                    <a:pt x="60" y="306"/>
                  </a:lnTo>
                  <a:lnTo>
                    <a:pt x="62" y="309"/>
                  </a:lnTo>
                  <a:cubicBezTo>
                    <a:pt x="62" y="309"/>
                    <a:pt x="62" y="312"/>
                    <a:pt x="65" y="312"/>
                  </a:cubicBezTo>
                  <a:cubicBezTo>
                    <a:pt x="65" y="315"/>
                    <a:pt x="62" y="315"/>
                    <a:pt x="60" y="315"/>
                  </a:cubicBezTo>
                  <a:lnTo>
                    <a:pt x="65" y="317"/>
                  </a:lnTo>
                  <a:close/>
                  <a:moveTo>
                    <a:pt x="62" y="33"/>
                  </a:moveTo>
                  <a:lnTo>
                    <a:pt x="62" y="39"/>
                  </a:lnTo>
                  <a:cubicBezTo>
                    <a:pt x="65" y="39"/>
                    <a:pt x="68" y="39"/>
                    <a:pt x="70" y="41"/>
                  </a:cubicBezTo>
                  <a:cubicBezTo>
                    <a:pt x="70" y="42"/>
                    <a:pt x="69" y="42"/>
                    <a:pt x="68" y="42"/>
                  </a:cubicBezTo>
                  <a:lnTo>
                    <a:pt x="74" y="48"/>
                  </a:lnTo>
                  <a:cubicBezTo>
                    <a:pt x="74" y="45"/>
                    <a:pt x="77" y="45"/>
                    <a:pt x="77" y="42"/>
                  </a:cubicBezTo>
                  <a:cubicBezTo>
                    <a:pt x="77" y="42"/>
                    <a:pt x="77" y="39"/>
                    <a:pt x="79" y="36"/>
                  </a:cubicBezTo>
                  <a:lnTo>
                    <a:pt x="74" y="39"/>
                  </a:lnTo>
                  <a:cubicBezTo>
                    <a:pt x="72" y="39"/>
                    <a:pt x="72" y="40"/>
                    <a:pt x="71" y="41"/>
                  </a:cubicBezTo>
                  <a:lnTo>
                    <a:pt x="70" y="41"/>
                  </a:lnTo>
                  <a:lnTo>
                    <a:pt x="71" y="42"/>
                  </a:lnTo>
                  <a:cubicBezTo>
                    <a:pt x="71" y="41"/>
                    <a:pt x="71" y="40"/>
                    <a:pt x="71" y="41"/>
                  </a:cubicBezTo>
                  <a:lnTo>
                    <a:pt x="71" y="39"/>
                  </a:lnTo>
                  <a:cubicBezTo>
                    <a:pt x="71" y="39"/>
                    <a:pt x="65" y="33"/>
                    <a:pt x="62" y="33"/>
                  </a:cubicBezTo>
                  <a:close/>
                  <a:moveTo>
                    <a:pt x="65" y="363"/>
                  </a:moveTo>
                  <a:cubicBezTo>
                    <a:pt x="68" y="365"/>
                    <a:pt x="68" y="365"/>
                    <a:pt x="68" y="368"/>
                  </a:cubicBezTo>
                  <a:lnTo>
                    <a:pt x="68" y="365"/>
                  </a:lnTo>
                  <a:lnTo>
                    <a:pt x="65" y="363"/>
                  </a:lnTo>
                  <a:close/>
                  <a:moveTo>
                    <a:pt x="65" y="379"/>
                  </a:moveTo>
                  <a:lnTo>
                    <a:pt x="68" y="379"/>
                  </a:lnTo>
                  <a:cubicBezTo>
                    <a:pt x="68" y="377"/>
                    <a:pt x="65" y="377"/>
                    <a:pt x="65" y="379"/>
                  </a:cubicBezTo>
                  <a:close/>
                  <a:moveTo>
                    <a:pt x="68" y="33"/>
                  </a:moveTo>
                  <a:cubicBezTo>
                    <a:pt x="71" y="33"/>
                    <a:pt x="74" y="36"/>
                    <a:pt x="79" y="36"/>
                  </a:cubicBezTo>
                  <a:lnTo>
                    <a:pt x="79" y="33"/>
                  </a:lnTo>
                  <a:lnTo>
                    <a:pt x="71" y="31"/>
                  </a:lnTo>
                  <a:lnTo>
                    <a:pt x="68" y="33"/>
                  </a:lnTo>
                  <a:close/>
                  <a:moveTo>
                    <a:pt x="77" y="334"/>
                  </a:moveTo>
                  <a:lnTo>
                    <a:pt x="71" y="334"/>
                  </a:lnTo>
                  <a:lnTo>
                    <a:pt x="71" y="337"/>
                  </a:lnTo>
                  <a:cubicBezTo>
                    <a:pt x="71" y="337"/>
                    <a:pt x="74" y="337"/>
                    <a:pt x="77" y="334"/>
                  </a:cubicBezTo>
                  <a:close/>
                  <a:moveTo>
                    <a:pt x="79" y="391"/>
                  </a:moveTo>
                  <a:lnTo>
                    <a:pt x="74" y="391"/>
                  </a:lnTo>
                  <a:lnTo>
                    <a:pt x="71" y="394"/>
                  </a:lnTo>
                  <a:cubicBezTo>
                    <a:pt x="71" y="396"/>
                    <a:pt x="74" y="396"/>
                    <a:pt x="74" y="399"/>
                  </a:cubicBezTo>
                  <a:cubicBezTo>
                    <a:pt x="77" y="396"/>
                    <a:pt x="77" y="394"/>
                    <a:pt x="79" y="391"/>
                  </a:cubicBezTo>
                  <a:close/>
                  <a:moveTo>
                    <a:pt x="74" y="365"/>
                  </a:moveTo>
                  <a:lnTo>
                    <a:pt x="79" y="365"/>
                  </a:lnTo>
                  <a:lnTo>
                    <a:pt x="79" y="360"/>
                  </a:lnTo>
                  <a:cubicBezTo>
                    <a:pt x="79" y="360"/>
                    <a:pt x="79" y="363"/>
                    <a:pt x="77" y="363"/>
                  </a:cubicBezTo>
                  <a:cubicBezTo>
                    <a:pt x="77" y="363"/>
                    <a:pt x="74" y="363"/>
                    <a:pt x="74" y="365"/>
                  </a:cubicBezTo>
                  <a:close/>
                  <a:moveTo>
                    <a:pt x="74" y="357"/>
                  </a:moveTo>
                  <a:lnTo>
                    <a:pt x="79" y="357"/>
                  </a:lnTo>
                  <a:lnTo>
                    <a:pt x="79" y="354"/>
                  </a:lnTo>
                  <a:cubicBezTo>
                    <a:pt x="77" y="357"/>
                    <a:pt x="77" y="357"/>
                    <a:pt x="74" y="357"/>
                  </a:cubicBezTo>
                  <a:close/>
                  <a:moveTo>
                    <a:pt x="82" y="377"/>
                  </a:moveTo>
                  <a:cubicBezTo>
                    <a:pt x="82" y="374"/>
                    <a:pt x="79" y="374"/>
                    <a:pt x="79" y="374"/>
                  </a:cubicBezTo>
                  <a:lnTo>
                    <a:pt x="77" y="377"/>
                  </a:lnTo>
                  <a:lnTo>
                    <a:pt x="79" y="379"/>
                  </a:lnTo>
                  <a:lnTo>
                    <a:pt x="82" y="379"/>
                  </a:lnTo>
                  <a:lnTo>
                    <a:pt x="82" y="377"/>
                  </a:lnTo>
                  <a:close/>
                  <a:moveTo>
                    <a:pt x="91" y="39"/>
                  </a:moveTo>
                  <a:lnTo>
                    <a:pt x="88" y="45"/>
                  </a:lnTo>
                  <a:cubicBezTo>
                    <a:pt x="88" y="46"/>
                    <a:pt x="87" y="47"/>
                    <a:pt x="86" y="48"/>
                  </a:cubicBezTo>
                  <a:cubicBezTo>
                    <a:pt x="87" y="48"/>
                    <a:pt x="88" y="49"/>
                    <a:pt x="88" y="50"/>
                  </a:cubicBezTo>
                  <a:cubicBezTo>
                    <a:pt x="88" y="48"/>
                    <a:pt x="91" y="48"/>
                    <a:pt x="91" y="45"/>
                  </a:cubicBezTo>
                  <a:cubicBezTo>
                    <a:pt x="91" y="42"/>
                    <a:pt x="93" y="42"/>
                    <a:pt x="93" y="39"/>
                  </a:cubicBezTo>
                  <a:lnTo>
                    <a:pt x="91" y="39"/>
                  </a:lnTo>
                  <a:lnTo>
                    <a:pt x="88" y="34"/>
                  </a:lnTo>
                  <a:cubicBezTo>
                    <a:pt x="87" y="34"/>
                    <a:pt x="86" y="35"/>
                    <a:pt x="86" y="35"/>
                  </a:cubicBezTo>
                  <a:lnTo>
                    <a:pt x="85" y="33"/>
                  </a:lnTo>
                  <a:lnTo>
                    <a:pt x="82" y="36"/>
                  </a:lnTo>
                  <a:cubicBezTo>
                    <a:pt x="84" y="38"/>
                    <a:pt x="86" y="39"/>
                    <a:pt x="88" y="39"/>
                  </a:cubicBezTo>
                  <a:lnTo>
                    <a:pt x="88" y="39"/>
                  </a:lnTo>
                  <a:lnTo>
                    <a:pt x="88" y="39"/>
                  </a:lnTo>
                  <a:cubicBezTo>
                    <a:pt x="89" y="39"/>
                    <a:pt x="90" y="39"/>
                    <a:pt x="91" y="39"/>
                  </a:cubicBezTo>
                  <a:close/>
                  <a:moveTo>
                    <a:pt x="96" y="42"/>
                  </a:moveTo>
                  <a:lnTo>
                    <a:pt x="99" y="42"/>
                  </a:lnTo>
                  <a:lnTo>
                    <a:pt x="102" y="42"/>
                  </a:lnTo>
                  <a:lnTo>
                    <a:pt x="102" y="39"/>
                  </a:lnTo>
                  <a:lnTo>
                    <a:pt x="99" y="39"/>
                  </a:lnTo>
                  <a:lnTo>
                    <a:pt x="96" y="39"/>
                  </a:lnTo>
                  <a:lnTo>
                    <a:pt x="96" y="42"/>
                  </a:lnTo>
                  <a:close/>
                  <a:moveTo>
                    <a:pt x="88" y="39"/>
                  </a:moveTo>
                  <a:lnTo>
                    <a:pt x="88" y="39"/>
                  </a:lnTo>
                  <a:lnTo>
                    <a:pt x="86" y="35"/>
                  </a:lnTo>
                  <a:cubicBezTo>
                    <a:pt x="86" y="36"/>
                    <a:pt x="86" y="38"/>
                    <a:pt x="88" y="39"/>
                  </a:cubicBezTo>
                  <a:close/>
                  <a:moveTo>
                    <a:pt x="85" y="394"/>
                  </a:moveTo>
                  <a:cubicBezTo>
                    <a:pt x="82" y="394"/>
                    <a:pt x="82" y="396"/>
                    <a:pt x="82" y="396"/>
                  </a:cubicBezTo>
                  <a:lnTo>
                    <a:pt x="85" y="394"/>
                  </a:lnTo>
                  <a:close/>
                  <a:moveTo>
                    <a:pt x="88" y="430"/>
                  </a:moveTo>
                  <a:cubicBezTo>
                    <a:pt x="88" y="427"/>
                    <a:pt x="91" y="427"/>
                    <a:pt x="91" y="427"/>
                  </a:cubicBezTo>
                  <a:lnTo>
                    <a:pt x="85" y="422"/>
                  </a:lnTo>
                  <a:cubicBezTo>
                    <a:pt x="85" y="427"/>
                    <a:pt x="88" y="430"/>
                    <a:pt x="88" y="430"/>
                  </a:cubicBezTo>
                  <a:close/>
                  <a:moveTo>
                    <a:pt x="85" y="410"/>
                  </a:moveTo>
                  <a:lnTo>
                    <a:pt x="85" y="413"/>
                  </a:lnTo>
                  <a:cubicBezTo>
                    <a:pt x="91" y="413"/>
                    <a:pt x="91" y="410"/>
                    <a:pt x="85" y="410"/>
                  </a:cubicBezTo>
                  <a:close/>
                  <a:moveTo>
                    <a:pt x="91" y="45"/>
                  </a:moveTo>
                  <a:cubicBezTo>
                    <a:pt x="91" y="48"/>
                    <a:pt x="93" y="50"/>
                    <a:pt x="93" y="50"/>
                  </a:cubicBezTo>
                  <a:lnTo>
                    <a:pt x="93" y="53"/>
                  </a:lnTo>
                  <a:lnTo>
                    <a:pt x="93" y="56"/>
                  </a:lnTo>
                  <a:cubicBezTo>
                    <a:pt x="96" y="59"/>
                    <a:pt x="99" y="62"/>
                    <a:pt x="105" y="56"/>
                  </a:cubicBezTo>
                  <a:cubicBezTo>
                    <a:pt x="102" y="50"/>
                    <a:pt x="96" y="45"/>
                    <a:pt x="91" y="45"/>
                  </a:cubicBezTo>
                  <a:close/>
                  <a:moveTo>
                    <a:pt x="108" y="430"/>
                  </a:moveTo>
                  <a:cubicBezTo>
                    <a:pt x="105" y="433"/>
                    <a:pt x="102" y="433"/>
                    <a:pt x="99" y="436"/>
                  </a:cubicBezTo>
                  <a:lnTo>
                    <a:pt x="102" y="439"/>
                  </a:lnTo>
                  <a:cubicBezTo>
                    <a:pt x="102" y="441"/>
                    <a:pt x="102" y="441"/>
                    <a:pt x="105" y="444"/>
                  </a:cubicBezTo>
                  <a:cubicBezTo>
                    <a:pt x="105" y="441"/>
                    <a:pt x="105" y="439"/>
                    <a:pt x="108" y="430"/>
                  </a:cubicBezTo>
                  <a:close/>
                  <a:moveTo>
                    <a:pt x="110" y="450"/>
                  </a:moveTo>
                  <a:lnTo>
                    <a:pt x="108" y="450"/>
                  </a:lnTo>
                  <a:cubicBezTo>
                    <a:pt x="105" y="450"/>
                    <a:pt x="105" y="450"/>
                    <a:pt x="102" y="453"/>
                  </a:cubicBezTo>
                  <a:cubicBezTo>
                    <a:pt x="105" y="453"/>
                    <a:pt x="105" y="456"/>
                    <a:pt x="108" y="456"/>
                  </a:cubicBezTo>
                  <a:cubicBezTo>
                    <a:pt x="105" y="453"/>
                    <a:pt x="108" y="453"/>
                    <a:pt x="110" y="450"/>
                  </a:cubicBezTo>
                  <a:close/>
                  <a:moveTo>
                    <a:pt x="110" y="76"/>
                  </a:moveTo>
                  <a:cubicBezTo>
                    <a:pt x="108" y="76"/>
                    <a:pt x="108" y="76"/>
                    <a:pt x="105" y="79"/>
                  </a:cubicBezTo>
                  <a:cubicBezTo>
                    <a:pt x="105" y="81"/>
                    <a:pt x="108" y="81"/>
                    <a:pt x="110" y="81"/>
                  </a:cubicBezTo>
                  <a:lnTo>
                    <a:pt x="110" y="76"/>
                  </a:lnTo>
                  <a:close/>
                  <a:moveTo>
                    <a:pt x="113" y="439"/>
                  </a:moveTo>
                  <a:lnTo>
                    <a:pt x="110" y="439"/>
                  </a:lnTo>
                  <a:cubicBezTo>
                    <a:pt x="110" y="444"/>
                    <a:pt x="110" y="447"/>
                    <a:pt x="116" y="447"/>
                  </a:cubicBezTo>
                  <a:lnTo>
                    <a:pt x="113" y="439"/>
                  </a:lnTo>
                  <a:close/>
                  <a:moveTo>
                    <a:pt x="110" y="59"/>
                  </a:moveTo>
                  <a:lnTo>
                    <a:pt x="110" y="62"/>
                  </a:lnTo>
                  <a:lnTo>
                    <a:pt x="110" y="67"/>
                  </a:lnTo>
                  <a:lnTo>
                    <a:pt x="116" y="62"/>
                  </a:lnTo>
                  <a:cubicBezTo>
                    <a:pt x="113" y="62"/>
                    <a:pt x="110" y="59"/>
                    <a:pt x="110" y="59"/>
                  </a:cubicBezTo>
                  <a:close/>
                  <a:moveTo>
                    <a:pt x="119" y="79"/>
                  </a:moveTo>
                  <a:cubicBezTo>
                    <a:pt x="116" y="79"/>
                    <a:pt x="113" y="79"/>
                    <a:pt x="110" y="81"/>
                  </a:cubicBezTo>
                  <a:cubicBezTo>
                    <a:pt x="113" y="84"/>
                    <a:pt x="116" y="84"/>
                    <a:pt x="119" y="84"/>
                  </a:cubicBezTo>
                  <a:lnTo>
                    <a:pt x="119" y="79"/>
                  </a:lnTo>
                  <a:close/>
                  <a:moveTo>
                    <a:pt x="110" y="70"/>
                  </a:moveTo>
                  <a:cubicBezTo>
                    <a:pt x="113" y="73"/>
                    <a:pt x="116" y="76"/>
                    <a:pt x="116" y="79"/>
                  </a:cubicBezTo>
                  <a:lnTo>
                    <a:pt x="116" y="73"/>
                  </a:lnTo>
                  <a:cubicBezTo>
                    <a:pt x="116" y="73"/>
                    <a:pt x="116" y="70"/>
                    <a:pt x="110" y="70"/>
                  </a:cubicBezTo>
                  <a:close/>
                  <a:moveTo>
                    <a:pt x="116" y="104"/>
                  </a:moveTo>
                  <a:cubicBezTo>
                    <a:pt x="116" y="107"/>
                    <a:pt x="116" y="110"/>
                    <a:pt x="113" y="112"/>
                  </a:cubicBezTo>
                  <a:lnTo>
                    <a:pt x="116" y="112"/>
                  </a:lnTo>
                  <a:lnTo>
                    <a:pt x="122" y="112"/>
                  </a:lnTo>
                  <a:lnTo>
                    <a:pt x="125" y="112"/>
                  </a:lnTo>
                  <a:lnTo>
                    <a:pt x="116" y="104"/>
                  </a:lnTo>
                  <a:cubicBezTo>
                    <a:pt x="119" y="104"/>
                    <a:pt x="122" y="101"/>
                    <a:pt x="122" y="98"/>
                  </a:cubicBezTo>
                  <a:cubicBezTo>
                    <a:pt x="116" y="101"/>
                    <a:pt x="116" y="104"/>
                    <a:pt x="116" y="104"/>
                  </a:cubicBezTo>
                  <a:close/>
                  <a:moveTo>
                    <a:pt x="116" y="127"/>
                  </a:moveTo>
                  <a:cubicBezTo>
                    <a:pt x="119" y="127"/>
                    <a:pt x="119" y="129"/>
                    <a:pt x="119" y="129"/>
                  </a:cubicBezTo>
                  <a:lnTo>
                    <a:pt x="122" y="132"/>
                  </a:lnTo>
                  <a:cubicBezTo>
                    <a:pt x="119" y="135"/>
                    <a:pt x="122" y="138"/>
                    <a:pt x="122" y="138"/>
                  </a:cubicBezTo>
                  <a:cubicBezTo>
                    <a:pt x="122" y="138"/>
                    <a:pt x="122" y="141"/>
                    <a:pt x="125" y="141"/>
                  </a:cubicBezTo>
                  <a:lnTo>
                    <a:pt x="127" y="138"/>
                  </a:lnTo>
                  <a:cubicBezTo>
                    <a:pt x="127" y="138"/>
                    <a:pt x="125" y="135"/>
                    <a:pt x="125" y="132"/>
                  </a:cubicBezTo>
                  <a:lnTo>
                    <a:pt x="125" y="121"/>
                  </a:lnTo>
                  <a:lnTo>
                    <a:pt x="122" y="121"/>
                  </a:lnTo>
                  <a:lnTo>
                    <a:pt x="116" y="127"/>
                  </a:lnTo>
                  <a:close/>
                  <a:moveTo>
                    <a:pt x="119" y="152"/>
                  </a:moveTo>
                  <a:lnTo>
                    <a:pt x="122" y="155"/>
                  </a:lnTo>
                  <a:cubicBezTo>
                    <a:pt x="122" y="155"/>
                    <a:pt x="125" y="155"/>
                    <a:pt x="125" y="158"/>
                  </a:cubicBezTo>
                  <a:lnTo>
                    <a:pt x="122" y="160"/>
                  </a:lnTo>
                  <a:cubicBezTo>
                    <a:pt x="125" y="163"/>
                    <a:pt x="127" y="160"/>
                    <a:pt x="130" y="158"/>
                  </a:cubicBezTo>
                  <a:cubicBezTo>
                    <a:pt x="127" y="158"/>
                    <a:pt x="127" y="155"/>
                    <a:pt x="127" y="155"/>
                  </a:cubicBezTo>
                  <a:cubicBezTo>
                    <a:pt x="125" y="155"/>
                    <a:pt x="125" y="152"/>
                    <a:pt x="122" y="155"/>
                  </a:cubicBezTo>
                  <a:cubicBezTo>
                    <a:pt x="122" y="152"/>
                    <a:pt x="122" y="152"/>
                    <a:pt x="119" y="152"/>
                  </a:cubicBezTo>
                  <a:close/>
                  <a:moveTo>
                    <a:pt x="139" y="458"/>
                  </a:moveTo>
                  <a:lnTo>
                    <a:pt x="136" y="456"/>
                  </a:lnTo>
                  <a:lnTo>
                    <a:pt x="130" y="456"/>
                  </a:lnTo>
                  <a:lnTo>
                    <a:pt x="130" y="450"/>
                  </a:lnTo>
                  <a:lnTo>
                    <a:pt x="125" y="450"/>
                  </a:lnTo>
                  <a:lnTo>
                    <a:pt x="122" y="450"/>
                  </a:lnTo>
                  <a:lnTo>
                    <a:pt x="116" y="450"/>
                  </a:lnTo>
                  <a:lnTo>
                    <a:pt x="119" y="453"/>
                  </a:lnTo>
                  <a:lnTo>
                    <a:pt x="119" y="458"/>
                  </a:lnTo>
                  <a:lnTo>
                    <a:pt x="119" y="464"/>
                  </a:lnTo>
                  <a:cubicBezTo>
                    <a:pt x="122" y="461"/>
                    <a:pt x="125" y="461"/>
                    <a:pt x="127" y="461"/>
                  </a:cubicBezTo>
                  <a:cubicBezTo>
                    <a:pt x="133" y="456"/>
                    <a:pt x="136" y="456"/>
                    <a:pt x="139" y="458"/>
                  </a:cubicBezTo>
                  <a:close/>
                  <a:moveTo>
                    <a:pt x="119" y="84"/>
                  </a:moveTo>
                  <a:lnTo>
                    <a:pt x="125" y="90"/>
                  </a:lnTo>
                  <a:cubicBezTo>
                    <a:pt x="127" y="90"/>
                    <a:pt x="127" y="87"/>
                    <a:pt x="127" y="87"/>
                  </a:cubicBezTo>
                  <a:cubicBezTo>
                    <a:pt x="125" y="87"/>
                    <a:pt x="125" y="84"/>
                    <a:pt x="119" y="84"/>
                  </a:cubicBezTo>
                  <a:close/>
                  <a:moveTo>
                    <a:pt x="119" y="141"/>
                  </a:moveTo>
                  <a:cubicBezTo>
                    <a:pt x="119" y="143"/>
                    <a:pt x="119" y="143"/>
                    <a:pt x="122" y="143"/>
                  </a:cubicBezTo>
                  <a:lnTo>
                    <a:pt x="119" y="141"/>
                  </a:lnTo>
                  <a:close/>
                  <a:moveTo>
                    <a:pt x="125" y="436"/>
                  </a:moveTo>
                  <a:lnTo>
                    <a:pt x="122" y="436"/>
                  </a:lnTo>
                  <a:cubicBezTo>
                    <a:pt x="122" y="436"/>
                    <a:pt x="125" y="439"/>
                    <a:pt x="125" y="436"/>
                  </a:cubicBezTo>
                  <a:close/>
                  <a:moveTo>
                    <a:pt x="122" y="166"/>
                  </a:moveTo>
                  <a:lnTo>
                    <a:pt x="125" y="169"/>
                  </a:lnTo>
                  <a:cubicBezTo>
                    <a:pt x="127" y="163"/>
                    <a:pt x="125" y="163"/>
                    <a:pt x="122" y="166"/>
                  </a:cubicBezTo>
                  <a:close/>
                  <a:moveTo>
                    <a:pt x="122" y="121"/>
                  </a:moveTo>
                  <a:lnTo>
                    <a:pt x="127" y="118"/>
                  </a:lnTo>
                  <a:cubicBezTo>
                    <a:pt x="122" y="115"/>
                    <a:pt x="122" y="118"/>
                    <a:pt x="122" y="121"/>
                  </a:cubicBezTo>
                  <a:close/>
                  <a:moveTo>
                    <a:pt x="125" y="98"/>
                  </a:moveTo>
                  <a:cubicBezTo>
                    <a:pt x="122" y="98"/>
                    <a:pt x="122" y="98"/>
                    <a:pt x="122" y="101"/>
                  </a:cubicBezTo>
                  <a:cubicBezTo>
                    <a:pt x="122" y="101"/>
                    <a:pt x="125" y="101"/>
                    <a:pt x="125" y="104"/>
                  </a:cubicBezTo>
                  <a:lnTo>
                    <a:pt x="125" y="107"/>
                  </a:lnTo>
                  <a:lnTo>
                    <a:pt x="127" y="107"/>
                  </a:lnTo>
                  <a:lnTo>
                    <a:pt x="125" y="98"/>
                  </a:lnTo>
                  <a:close/>
                  <a:moveTo>
                    <a:pt x="127" y="183"/>
                  </a:moveTo>
                  <a:lnTo>
                    <a:pt x="127" y="189"/>
                  </a:lnTo>
                  <a:lnTo>
                    <a:pt x="130" y="189"/>
                  </a:lnTo>
                  <a:lnTo>
                    <a:pt x="133" y="186"/>
                  </a:lnTo>
                  <a:lnTo>
                    <a:pt x="133" y="183"/>
                  </a:lnTo>
                  <a:cubicBezTo>
                    <a:pt x="139" y="180"/>
                    <a:pt x="139" y="180"/>
                    <a:pt x="136" y="175"/>
                  </a:cubicBezTo>
                  <a:lnTo>
                    <a:pt x="127" y="183"/>
                  </a:lnTo>
                  <a:close/>
                  <a:moveTo>
                    <a:pt x="133" y="172"/>
                  </a:moveTo>
                  <a:cubicBezTo>
                    <a:pt x="133" y="172"/>
                    <a:pt x="130" y="172"/>
                    <a:pt x="130" y="169"/>
                  </a:cubicBezTo>
                  <a:lnTo>
                    <a:pt x="130" y="172"/>
                  </a:lnTo>
                  <a:lnTo>
                    <a:pt x="130" y="175"/>
                  </a:lnTo>
                  <a:cubicBezTo>
                    <a:pt x="133" y="175"/>
                    <a:pt x="133" y="175"/>
                    <a:pt x="133" y="172"/>
                  </a:cubicBezTo>
                  <a:close/>
                  <a:moveTo>
                    <a:pt x="133" y="439"/>
                  </a:moveTo>
                  <a:lnTo>
                    <a:pt x="130" y="439"/>
                  </a:lnTo>
                  <a:lnTo>
                    <a:pt x="130" y="441"/>
                  </a:lnTo>
                  <a:cubicBezTo>
                    <a:pt x="133" y="444"/>
                    <a:pt x="136" y="444"/>
                    <a:pt x="133" y="439"/>
                  </a:cubicBezTo>
                  <a:close/>
                  <a:moveTo>
                    <a:pt x="136" y="146"/>
                  </a:moveTo>
                  <a:cubicBezTo>
                    <a:pt x="133" y="146"/>
                    <a:pt x="133" y="149"/>
                    <a:pt x="130" y="149"/>
                  </a:cubicBezTo>
                  <a:cubicBezTo>
                    <a:pt x="139" y="152"/>
                    <a:pt x="136" y="149"/>
                    <a:pt x="136" y="146"/>
                  </a:cubicBezTo>
                  <a:close/>
                  <a:moveTo>
                    <a:pt x="136" y="255"/>
                  </a:moveTo>
                  <a:lnTo>
                    <a:pt x="136" y="251"/>
                  </a:lnTo>
                  <a:lnTo>
                    <a:pt x="133" y="251"/>
                  </a:lnTo>
                  <a:lnTo>
                    <a:pt x="130" y="251"/>
                  </a:lnTo>
                  <a:lnTo>
                    <a:pt x="136" y="255"/>
                  </a:lnTo>
                  <a:close/>
                  <a:moveTo>
                    <a:pt x="133" y="217"/>
                  </a:moveTo>
                  <a:lnTo>
                    <a:pt x="133" y="222"/>
                  </a:lnTo>
                  <a:lnTo>
                    <a:pt x="141" y="231"/>
                  </a:lnTo>
                  <a:cubicBezTo>
                    <a:pt x="144" y="231"/>
                    <a:pt x="144" y="228"/>
                    <a:pt x="147" y="225"/>
                  </a:cubicBezTo>
                  <a:lnTo>
                    <a:pt x="147" y="222"/>
                  </a:lnTo>
                  <a:lnTo>
                    <a:pt x="144" y="222"/>
                  </a:lnTo>
                  <a:lnTo>
                    <a:pt x="141" y="225"/>
                  </a:lnTo>
                  <a:lnTo>
                    <a:pt x="139" y="222"/>
                  </a:lnTo>
                  <a:lnTo>
                    <a:pt x="136" y="222"/>
                  </a:lnTo>
                  <a:lnTo>
                    <a:pt x="133" y="217"/>
                  </a:lnTo>
                  <a:close/>
                  <a:moveTo>
                    <a:pt x="133" y="231"/>
                  </a:moveTo>
                  <a:lnTo>
                    <a:pt x="133" y="234"/>
                  </a:lnTo>
                  <a:lnTo>
                    <a:pt x="136" y="234"/>
                  </a:lnTo>
                  <a:lnTo>
                    <a:pt x="133" y="231"/>
                  </a:lnTo>
                  <a:close/>
                  <a:moveTo>
                    <a:pt x="139" y="189"/>
                  </a:moveTo>
                  <a:lnTo>
                    <a:pt x="136" y="189"/>
                  </a:lnTo>
                  <a:lnTo>
                    <a:pt x="136" y="194"/>
                  </a:lnTo>
                  <a:lnTo>
                    <a:pt x="136" y="200"/>
                  </a:lnTo>
                  <a:lnTo>
                    <a:pt x="139" y="200"/>
                  </a:lnTo>
                  <a:lnTo>
                    <a:pt x="139" y="194"/>
                  </a:lnTo>
                  <a:cubicBezTo>
                    <a:pt x="139" y="194"/>
                    <a:pt x="139" y="191"/>
                    <a:pt x="139" y="189"/>
                  </a:cubicBezTo>
                  <a:close/>
                  <a:moveTo>
                    <a:pt x="141" y="447"/>
                  </a:moveTo>
                  <a:lnTo>
                    <a:pt x="139" y="436"/>
                  </a:lnTo>
                  <a:cubicBezTo>
                    <a:pt x="136" y="439"/>
                    <a:pt x="133" y="439"/>
                    <a:pt x="136" y="441"/>
                  </a:cubicBezTo>
                  <a:lnTo>
                    <a:pt x="136" y="447"/>
                  </a:lnTo>
                  <a:lnTo>
                    <a:pt x="141" y="447"/>
                  </a:lnTo>
                  <a:close/>
                  <a:moveTo>
                    <a:pt x="150" y="272"/>
                  </a:moveTo>
                  <a:lnTo>
                    <a:pt x="147" y="267"/>
                  </a:lnTo>
                  <a:cubicBezTo>
                    <a:pt x="147" y="264"/>
                    <a:pt x="150" y="264"/>
                    <a:pt x="150" y="264"/>
                  </a:cubicBezTo>
                  <a:cubicBezTo>
                    <a:pt x="150" y="258"/>
                    <a:pt x="147" y="255"/>
                    <a:pt x="144" y="255"/>
                  </a:cubicBezTo>
                  <a:lnTo>
                    <a:pt x="144" y="261"/>
                  </a:lnTo>
                  <a:cubicBezTo>
                    <a:pt x="144" y="261"/>
                    <a:pt x="141" y="261"/>
                    <a:pt x="141" y="258"/>
                  </a:cubicBezTo>
                  <a:lnTo>
                    <a:pt x="141" y="264"/>
                  </a:lnTo>
                  <a:lnTo>
                    <a:pt x="139" y="267"/>
                  </a:lnTo>
                  <a:cubicBezTo>
                    <a:pt x="141" y="267"/>
                    <a:pt x="144" y="269"/>
                    <a:pt x="144" y="269"/>
                  </a:cubicBezTo>
                  <a:cubicBezTo>
                    <a:pt x="144" y="269"/>
                    <a:pt x="147" y="272"/>
                    <a:pt x="150" y="272"/>
                  </a:cubicBezTo>
                  <a:close/>
                  <a:moveTo>
                    <a:pt x="141" y="208"/>
                  </a:moveTo>
                  <a:lnTo>
                    <a:pt x="141" y="206"/>
                  </a:lnTo>
                  <a:cubicBezTo>
                    <a:pt x="139" y="208"/>
                    <a:pt x="139" y="208"/>
                    <a:pt x="141" y="208"/>
                  </a:cubicBezTo>
                  <a:close/>
                  <a:moveTo>
                    <a:pt x="139" y="220"/>
                  </a:moveTo>
                  <a:cubicBezTo>
                    <a:pt x="141" y="222"/>
                    <a:pt x="141" y="220"/>
                    <a:pt x="139" y="220"/>
                  </a:cubicBezTo>
                  <a:close/>
                  <a:moveTo>
                    <a:pt x="141" y="186"/>
                  </a:moveTo>
                  <a:lnTo>
                    <a:pt x="141" y="180"/>
                  </a:lnTo>
                  <a:lnTo>
                    <a:pt x="139" y="180"/>
                  </a:lnTo>
                  <a:lnTo>
                    <a:pt x="141" y="186"/>
                  </a:lnTo>
                  <a:close/>
                  <a:moveTo>
                    <a:pt x="144" y="194"/>
                  </a:moveTo>
                  <a:cubicBezTo>
                    <a:pt x="141" y="191"/>
                    <a:pt x="141" y="194"/>
                    <a:pt x="141" y="194"/>
                  </a:cubicBezTo>
                  <a:lnTo>
                    <a:pt x="144" y="194"/>
                  </a:lnTo>
                  <a:close/>
                  <a:moveTo>
                    <a:pt x="153" y="444"/>
                  </a:moveTo>
                  <a:cubicBezTo>
                    <a:pt x="144" y="447"/>
                    <a:pt x="141" y="453"/>
                    <a:pt x="141" y="456"/>
                  </a:cubicBezTo>
                  <a:lnTo>
                    <a:pt x="144" y="456"/>
                  </a:lnTo>
                  <a:lnTo>
                    <a:pt x="144" y="450"/>
                  </a:lnTo>
                  <a:cubicBezTo>
                    <a:pt x="153" y="447"/>
                    <a:pt x="153" y="450"/>
                    <a:pt x="153" y="444"/>
                  </a:cubicBezTo>
                  <a:close/>
                  <a:moveTo>
                    <a:pt x="141" y="248"/>
                  </a:moveTo>
                  <a:lnTo>
                    <a:pt x="144" y="251"/>
                  </a:lnTo>
                  <a:cubicBezTo>
                    <a:pt x="144" y="248"/>
                    <a:pt x="147" y="248"/>
                    <a:pt x="147" y="245"/>
                  </a:cubicBezTo>
                  <a:lnTo>
                    <a:pt x="147" y="239"/>
                  </a:lnTo>
                  <a:cubicBezTo>
                    <a:pt x="147" y="242"/>
                    <a:pt x="144" y="242"/>
                    <a:pt x="144" y="242"/>
                  </a:cubicBezTo>
                  <a:lnTo>
                    <a:pt x="141" y="248"/>
                  </a:lnTo>
                  <a:close/>
                  <a:moveTo>
                    <a:pt x="158" y="430"/>
                  </a:moveTo>
                  <a:cubicBezTo>
                    <a:pt x="156" y="433"/>
                    <a:pt x="156" y="433"/>
                    <a:pt x="153" y="433"/>
                  </a:cubicBezTo>
                  <a:lnTo>
                    <a:pt x="147" y="436"/>
                  </a:lnTo>
                  <a:cubicBezTo>
                    <a:pt x="147" y="439"/>
                    <a:pt x="150" y="439"/>
                    <a:pt x="150" y="439"/>
                  </a:cubicBezTo>
                  <a:cubicBezTo>
                    <a:pt x="150" y="436"/>
                    <a:pt x="153" y="433"/>
                    <a:pt x="156" y="433"/>
                  </a:cubicBezTo>
                  <a:cubicBezTo>
                    <a:pt x="158" y="436"/>
                    <a:pt x="158" y="433"/>
                    <a:pt x="158" y="430"/>
                  </a:cubicBezTo>
                  <a:close/>
                  <a:moveTo>
                    <a:pt x="150" y="337"/>
                  </a:moveTo>
                  <a:cubicBezTo>
                    <a:pt x="153" y="337"/>
                    <a:pt x="153" y="334"/>
                    <a:pt x="153" y="334"/>
                  </a:cubicBezTo>
                  <a:lnTo>
                    <a:pt x="150" y="337"/>
                  </a:lnTo>
                  <a:close/>
                  <a:moveTo>
                    <a:pt x="167" y="306"/>
                  </a:moveTo>
                  <a:cubicBezTo>
                    <a:pt x="164" y="303"/>
                    <a:pt x="164" y="303"/>
                    <a:pt x="164" y="300"/>
                  </a:cubicBezTo>
                  <a:cubicBezTo>
                    <a:pt x="164" y="298"/>
                    <a:pt x="161" y="298"/>
                    <a:pt x="158" y="298"/>
                  </a:cubicBezTo>
                  <a:lnTo>
                    <a:pt x="157" y="296"/>
                  </a:lnTo>
                  <a:lnTo>
                    <a:pt x="156" y="298"/>
                  </a:lnTo>
                  <a:cubicBezTo>
                    <a:pt x="156" y="298"/>
                    <a:pt x="156" y="300"/>
                    <a:pt x="153" y="300"/>
                  </a:cubicBezTo>
                  <a:lnTo>
                    <a:pt x="158" y="300"/>
                  </a:lnTo>
                  <a:lnTo>
                    <a:pt x="158" y="303"/>
                  </a:lnTo>
                  <a:lnTo>
                    <a:pt x="153" y="303"/>
                  </a:lnTo>
                  <a:lnTo>
                    <a:pt x="153" y="306"/>
                  </a:lnTo>
                  <a:lnTo>
                    <a:pt x="164" y="309"/>
                  </a:lnTo>
                  <a:lnTo>
                    <a:pt x="164" y="312"/>
                  </a:lnTo>
                  <a:cubicBezTo>
                    <a:pt x="161" y="312"/>
                    <a:pt x="161" y="312"/>
                    <a:pt x="161" y="315"/>
                  </a:cubicBezTo>
                  <a:lnTo>
                    <a:pt x="164" y="317"/>
                  </a:lnTo>
                  <a:lnTo>
                    <a:pt x="164" y="315"/>
                  </a:lnTo>
                  <a:lnTo>
                    <a:pt x="167" y="306"/>
                  </a:lnTo>
                  <a:close/>
                  <a:moveTo>
                    <a:pt x="156" y="295"/>
                  </a:moveTo>
                  <a:lnTo>
                    <a:pt x="164" y="295"/>
                  </a:lnTo>
                  <a:lnTo>
                    <a:pt x="158" y="289"/>
                  </a:lnTo>
                  <a:cubicBezTo>
                    <a:pt x="158" y="292"/>
                    <a:pt x="156" y="292"/>
                    <a:pt x="156" y="289"/>
                  </a:cubicBezTo>
                  <a:cubicBezTo>
                    <a:pt x="153" y="289"/>
                    <a:pt x="153" y="289"/>
                    <a:pt x="153" y="292"/>
                  </a:cubicBezTo>
                  <a:lnTo>
                    <a:pt x="156" y="292"/>
                  </a:lnTo>
                  <a:lnTo>
                    <a:pt x="158" y="295"/>
                  </a:lnTo>
                  <a:lnTo>
                    <a:pt x="157" y="296"/>
                  </a:lnTo>
                  <a:lnTo>
                    <a:pt x="156" y="295"/>
                  </a:lnTo>
                  <a:close/>
                  <a:moveTo>
                    <a:pt x="156" y="331"/>
                  </a:moveTo>
                  <a:lnTo>
                    <a:pt x="156" y="326"/>
                  </a:lnTo>
                  <a:lnTo>
                    <a:pt x="153" y="326"/>
                  </a:lnTo>
                  <a:cubicBezTo>
                    <a:pt x="153" y="329"/>
                    <a:pt x="153" y="329"/>
                    <a:pt x="156" y="331"/>
                  </a:cubicBezTo>
                  <a:close/>
                  <a:moveTo>
                    <a:pt x="153" y="317"/>
                  </a:moveTo>
                  <a:lnTo>
                    <a:pt x="156" y="320"/>
                  </a:lnTo>
                  <a:lnTo>
                    <a:pt x="156" y="317"/>
                  </a:lnTo>
                  <a:lnTo>
                    <a:pt x="156" y="315"/>
                  </a:lnTo>
                  <a:cubicBezTo>
                    <a:pt x="156" y="312"/>
                    <a:pt x="153" y="312"/>
                    <a:pt x="153" y="312"/>
                  </a:cubicBezTo>
                  <a:lnTo>
                    <a:pt x="153" y="317"/>
                  </a:lnTo>
                  <a:close/>
                  <a:moveTo>
                    <a:pt x="170" y="329"/>
                  </a:moveTo>
                  <a:cubicBezTo>
                    <a:pt x="167" y="326"/>
                    <a:pt x="164" y="326"/>
                    <a:pt x="161" y="326"/>
                  </a:cubicBezTo>
                  <a:cubicBezTo>
                    <a:pt x="161" y="323"/>
                    <a:pt x="161" y="323"/>
                    <a:pt x="164" y="320"/>
                  </a:cubicBezTo>
                  <a:lnTo>
                    <a:pt x="156" y="320"/>
                  </a:lnTo>
                  <a:lnTo>
                    <a:pt x="156" y="323"/>
                  </a:lnTo>
                  <a:lnTo>
                    <a:pt x="161" y="323"/>
                  </a:lnTo>
                  <a:cubicBezTo>
                    <a:pt x="158" y="326"/>
                    <a:pt x="158" y="329"/>
                    <a:pt x="156" y="331"/>
                  </a:cubicBezTo>
                  <a:lnTo>
                    <a:pt x="156" y="337"/>
                  </a:lnTo>
                  <a:lnTo>
                    <a:pt x="156" y="340"/>
                  </a:lnTo>
                  <a:lnTo>
                    <a:pt x="153" y="340"/>
                  </a:lnTo>
                  <a:lnTo>
                    <a:pt x="153" y="348"/>
                  </a:lnTo>
                  <a:lnTo>
                    <a:pt x="156" y="348"/>
                  </a:lnTo>
                  <a:lnTo>
                    <a:pt x="158" y="346"/>
                  </a:lnTo>
                  <a:lnTo>
                    <a:pt x="161" y="337"/>
                  </a:lnTo>
                  <a:lnTo>
                    <a:pt x="158" y="334"/>
                  </a:lnTo>
                  <a:lnTo>
                    <a:pt x="156" y="331"/>
                  </a:lnTo>
                  <a:lnTo>
                    <a:pt x="161" y="331"/>
                  </a:lnTo>
                  <a:cubicBezTo>
                    <a:pt x="161" y="331"/>
                    <a:pt x="161" y="334"/>
                    <a:pt x="164" y="334"/>
                  </a:cubicBezTo>
                  <a:cubicBezTo>
                    <a:pt x="164" y="337"/>
                    <a:pt x="167" y="340"/>
                    <a:pt x="170" y="337"/>
                  </a:cubicBezTo>
                  <a:lnTo>
                    <a:pt x="172" y="337"/>
                  </a:lnTo>
                  <a:cubicBezTo>
                    <a:pt x="167" y="337"/>
                    <a:pt x="167" y="331"/>
                    <a:pt x="170" y="329"/>
                  </a:cubicBezTo>
                  <a:close/>
                  <a:moveTo>
                    <a:pt x="156" y="284"/>
                  </a:moveTo>
                  <a:cubicBezTo>
                    <a:pt x="158" y="284"/>
                    <a:pt x="158" y="284"/>
                    <a:pt x="161" y="281"/>
                  </a:cubicBezTo>
                  <a:cubicBezTo>
                    <a:pt x="161" y="278"/>
                    <a:pt x="158" y="278"/>
                    <a:pt x="156" y="278"/>
                  </a:cubicBezTo>
                  <a:lnTo>
                    <a:pt x="156" y="284"/>
                  </a:lnTo>
                  <a:close/>
                  <a:moveTo>
                    <a:pt x="161" y="360"/>
                  </a:moveTo>
                  <a:cubicBezTo>
                    <a:pt x="161" y="363"/>
                    <a:pt x="158" y="365"/>
                    <a:pt x="158" y="365"/>
                  </a:cubicBezTo>
                  <a:cubicBezTo>
                    <a:pt x="161" y="365"/>
                    <a:pt x="161" y="365"/>
                    <a:pt x="161" y="368"/>
                  </a:cubicBezTo>
                  <a:lnTo>
                    <a:pt x="161" y="371"/>
                  </a:lnTo>
                  <a:lnTo>
                    <a:pt x="161" y="374"/>
                  </a:lnTo>
                  <a:cubicBezTo>
                    <a:pt x="161" y="377"/>
                    <a:pt x="161" y="377"/>
                    <a:pt x="164" y="377"/>
                  </a:cubicBezTo>
                  <a:cubicBezTo>
                    <a:pt x="161" y="377"/>
                    <a:pt x="161" y="379"/>
                    <a:pt x="161" y="382"/>
                  </a:cubicBezTo>
                  <a:lnTo>
                    <a:pt x="164" y="385"/>
                  </a:lnTo>
                  <a:cubicBezTo>
                    <a:pt x="167" y="385"/>
                    <a:pt x="167" y="385"/>
                    <a:pt x="170" y="382"/>
                  </a:cubicBezTo>
                  <a:lnTo>
                    <a:pt x="172" y="382"/>
                  </a:lnTo>
                  <a:lnTo>
                    <a:pt x="175" y="385"/>
                  </a:lnTo>
                  <a:lnTo>
                    <a:pt x="175" y="379"/>
                  </a:lnTo>
                  <a:lnTo>
                    <a:pt x="175" y="377"/>
                  </a:lnTo>
                  <a:lnTo>
                    <a:pt x="170" y="377"/>
                  </a:lnTo>
                  <a:lnTo>
                    <a:pt x="164" y="377"/>
                  </a:lnTo>
                  <a:lnTo>
                    <a:pt x="164" y="368"/>
                  </a:lnTo>
                  <a:cubicBezTo>
                    <a:pt x="164" y="365"/>
                    <a:pt x="164" y="363"/>
                    <a:pt x="167" y="360"/>
                  </a:cubicBezTo>
                  <a:lnTo>
                    <a:pt x="164" y="360"/>
                  </a:lnTo>
                  <a:lnTo>
                    <a:pt x="164" y="351"/>
                  </a:lnTo>
                  <a:lnTo>
                    <a:pt x="161" y="351"/>
                  </a:lnTo>
                  <a:cubicBezTo>
                    <a:pt x="164" y="357"/>
                    <a:pt x="161" y="357"/>
                    <a:pt x="161" y="360"/>
                  </a:cubicBezTo>
                  <a:close/>
                  <a:moveTo>
                    <a:pt x="158" y="405"/>
                  </a:moveTo>
                  <a:lnTo>
                    <a:pt x="158" y="410"/>
                  </a:lnTo>
                  <a:lnTo>
                    <a:pt x="161" y="410"/>
                  </a:lnTo>
                  <a:cubicBezTo>
                    <a:pt x="161" y="410"/>
                    <a:pt x="158" y="408"/>
                    <a:pt x="158" y="405"/>
                  </a:cubicBezTo>
                  <a:close/>
                  <a:moveTo>
                    <a:pt x="172" y="430"/>
                  </a:moveTo>
                  <a:cubicBezTo>
                    <a:pt x="172" y="433"/>
                    <a:pt x="170" y="433"/>
                    <a:pt x="167" y="433"/>
                  </a:cubicBezTo>
                  <a:lnTo>
                    <a:pt x="158" y="433"/>
                  </a:lnTo>
                  <a:cubicBezTo>
                    <a:pt x="158" y="436"/>
                    <a:pt x="161" y="436"/>
                    <a:pt x="164" y="439"/>
                  </a:cubicBezTo>
                  <a:lnTo>
                    <a:pt x="167" y="439"/>
                  </a:lnTo>
                  <a:lnTo>
                    <a:pt x="170" y="441"/>
                  </a:lnTo>
                  <a:cubicBezTo>
                    <a:pt x="170" y="436"/>
                    <a:pt x="172" y="433"/>
                    <a:pt x="172" y="430"/>
                  </a:cubicBezTo>
                  <a:close/>
                  <a:moveTo>
                    <a:pt x="172" y="396"/>
                  </a:moveTo>
                  <a:lnTo>
                    <a:pt x="167" y="396"/>
                  </a:lnTo>
                  <a:lnTo>
                    <a:pt x="161" y="396"/>
                  </a:lnTo>
                  <a:lnTo>
                    <a:pt x="167" y="402"/>
                  </a:lnTo>
                  <a:lnTo>
                    <a:pt x="167" y="405"/>
                  </a:lnTo>
                  <a:cubicBezTo>
                    <a:pt x="167" y="405"/>
                    <a:pt x="167" y="408"/>
                    <a:pt x="164" y="408"/>
                  </a:cubicBezTo>
                  <a:cubicBezTo>
                    <a:pt x="167" y="408"/>
                    <a:pt x="167" y="405"/>
                    <a:pt x="170" y="405"/>
                  </a:cubicBezTo>
                  <a:lnTo>
                    <a:pt x="172" y="405"/>
                  </a:lnTo>
                  <a:lnTo>
                    <a:pt x="175" y="405"/>
                  </a:lnTo>
                  <a:lnTo>
                    <a:pt x="172" y="396"/>
                  </a:lnTo>
                  <a:close/>
                  <a:moveTo>
                    <a:pt x="172" y="419"/>
                  </a:moveTo>
                  <a:cubicBezTo>
                    <a:pt x="170" y="419"/>
                    <a:pt x="170" y="419"/>
                    <a:pt x="170" y="422"/>
                  </a:cubicBezTo>
                  <a:lnTo>
                    <a:pt x="172" y="425"/>
                  </a:lnTo>
                  <a:lnTo>
                    <a:pt x="170" y="425"/>
                  </a:lnTo>
                  <a:lnTo>
                    <a:pt x="167" y="425"/>
                  </a:lnTo>
                  <a:lnTo>
                    <a:pt x="167" y="427"/>
                  </a:lnTo>
                  <a:lnTo>
                    <a:pt x="167" y="430"/>
                  </a:lnTo>
                  <a:cubicBezTo>
                    <a:pt x="172" y="427"/>
                    <a:pt x="175" y="425"/>
                    <a:pt x="172" y="419"/>
                  </a:cubicBezTo>
                  <a:close/>
                  <a:moveTo>
                    <a:pt x="175" y="360"/>
                  </a:moveTo>
                  <a:cubicBezTo>
                    <a:pt x="175" y="357"/>
                    <a:pt x="172" y="357"/>
                    <a:pt x="172" y="354"/>
                  </a:cubicBezTo>
                  <a:cubicBezTo>
                    <a:pt x="170" y="357"/>
                    <a:pt x="170" y="357"/>
                    <a:pt x="170" y="360"/>
                  </a:cubicBezTo>
                  <a:lnTo>
                    <a:pt x="172" y="360"/>
                  </a:lnTo>
                  <a:lnTo>
                    <a:pt x="175" y="360"/>
                  </a:lnTo>
                  <a:close/>
                  <a:moveTo>
                    <a:pt x="172" y="374"/>
                  </a:moveTo>
                  <a:lnTo>
                    <a:pt x="172" y="368"/>
                  </a:lnTo>
                  <a:lnTo>
                    <a:pt x="170" y="368"/>
                  </a:lnTo>
                  <a:cubicBezTo>
                    <a:pt x="172" y="371"/>
                    <a:pt x="172" y="371"/>
                    <a:pt x="172" y="3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499" name="Freeform 1457"/>
            <p:cNvSpPr>
              <a:spLocks noChangeArrowheads="1"/>
            </p:cNvSpPr>
            <p:nvPr/>
          </p:nvSpPr>
          <p:spPr bwMode="auto">
            <a:xfrm>
              <a:off x="4022725" y="2471738"/>
              <a:ext cx="84138" cy="176212"/>
            </a:xfrm>
            <a:custGeom>
              <a:avLst/>
              <a:gdLst>
                <a:gd name="T0" fmla="*/ 175 w 232"/>
                <a:gd name="T1" fmla="*/ 459 h 491"/>
                <a:gd name="T2" fmla="*/ 124 w 232"/>
                <a:gd name="T3" fmla="*/ 323 h 491"/>
                <a:gd name="T4" fmla="*/ 121 w 232"/>
                <a:gd name="T5" fmla="*/ 433 h 491"/>
                <a:gd name="T6" fmla="*/ 70 w 232"/>
                <a:gd name="T7" fmla="*/ 436 h 491"/>
                <a:gd name="T8" fmla="*/ 62 w 232"/>
                <a:gd name="T9" fmla="*/ 363 h 491"/>
                <a:gd name="T10" fmla="*/ 33 w 232"/>
                <a:gd name="T11" fmla="*/ 203 h 491"/>
                <a:gd name="T12" fmla="*/ 22 w 232"/>
                <a:gd name="T13" fmla="*/ 141 h 491"/>
                <a:gd name="T14" fmla="*/ 45 w 232"/>
                <a:gd name="T15" fmla="*/ 14 h 491"/>
                <a:gd name="T16" fmla="*/ 67 w 232"/>
                <a:gd name="T17" fmla="*/ 101 h 491"/>
                <a:gd name="T18" fmla="*/ 84 w 232"/>
                <a:gd name="T19" fmla="*/ 172 h 491"/>
                <a:gd name="T20" fmla="*/ 141 w 232"/>
                <a:gd name="T21" fmla="*/ 0 h 491"/>
                <a:gd name="T22" fmla="*/ 135 w 232"/>
                <a:gd name="T23" fmla="*/ 115 h 491"/>
                <a:gd name="T24" fmla="*/ 149 w 232"/>
                <a:gd name="T25" fmla="*/ 242 h 491"/>
                <a:gd name="T26" fmla="*/ 191 w 232"/>
                <a:gd name="T27" fmla="*/ 377 h 491"/>
                <a:gd name="T28" fmla="*/ 22 w 232"/>
                <a:gd name="T29" fmla="*/ 42 h 491"/>
                <a:gd name="T30" fmla="*/ 39 w 232"/>
                <a:gd name="T31" fmla="*/ 84 h 491"/>
                <a:gd name="T32" fmla="*/ 33 w 232"/>
                <a:gd name="T33" fmla="*/ 90 h 491"/>
                <a:gd name="T34" fmla="*/ 36 w 232"/>
                <a:gd name="T35" fmla="*/ 144 h 491"/>
                <a:gd name="T36" fmla="*/ 50 w 232"/>
                <a:gd name="T37" fmla="*/ 149 h 491"/>
                <a:gd name="T38" fmla="*/ 56 w 232"/>
                <a:gd name="T39" fmla="*/ 152 h 491"/>
                <a:gd name="T40" fmla="*/ 146 w 232"/>
                <a:gd name="T41" fmla="*/ 315 h 491"/>
                <a:gd name="T42" fmla="*/ 135 w 232"/>
                <a:gd name="T43" fmla="*/ 289 h 491"/>
                <a:gd name="T44" fmla="*/ 115 w 232"/>
                <a:gd name="T45" fmla="*/ 285 h 491"/>
                <a:gd name="T46" fmla="*/ 127 w 232"/>
                <a:gd name="T47" fmla="*/ 276 h 491"/>
                <a:gd name="T48" fmla="*/ 112 w 232"/>
                <a:gd name="T49" fmla="*/ 256 h 491"/>
                <a:gd name="T50" fmla="*/ 118 w 232"/>
                <a:gd name="T51" fmla="*/ 251 h 491"/>
                <a:gd name="T52" fmla="*/ 101 w 232"/>
                <a:gd name="T53" fmla="*/ 228 h 491"/>
                <a:gd name="T54" fmla="*/ 79 w 232"/>
                <a:gd name="T55" fmla="*/ 200 h 491"/>
                <a:gd name="T56" fmla="*/ 101 w 232"/>
                <a:gd name="T57" fmla="*/ 225 h 491"/>
                <a:gd name="T58" fmla="*/ 74 w 232"/>
                <a:gd name="T59" fmla="*/ 217 h 491"/>
                <a:gd name="T60" fmla="*/ 64 w 232"/>
                <a:gd name="T61" fmla="*/ 251 h 491"/>
                <a:gd name="T62" fmla="*/ 81 w 232"/>
                <a:gd name="T63" fmla="*/ 262 h 491"/>
                <a:gd name="T64" fmla="*/ 93 w 232"/>
                <a:gd name="T65" fmla="*/ 282 h 491"/>
                <a:gd name="T66" fmla="*/ 129 w 232"/>
                <a:gd name="T67" fmla="*/ 288 h 491"/>
                <a:gd name="T68" fmla="*/ 91 w 232"/>
                <a:gd name="T69" fmla="*/ 288 h 491"/>
                <a:gd name="T70" fmla="*/ 70 w 232"/>
                <a:gd name="T71" fmla="*/ 279 h 491"/>
                <a:gd name="T72" fmla="*/ 90 w 232"/>
                <a:gd name="T73" fmla="*/ 298 h 491"/>
                <a:gd name="T74" fmla="*/ 118 w 232"/>
                <a:gd name="T75" fmla="*/ 312 h 491"/>
                <a:gd name="T76" fmla="*/ 89 w 232"/>
                <a:gd name="T77" fmla="*/ 227 h 491"/>
                <a:gd name="T78" fmla="*/ 79 w 232"/>
                <a:gd name="T79" fmla="*/ 206 h 491"/>
                <a:gd name="T80" fmla="*/ 62 w 232"/>
                <a:gd name="T81" fmla="*/ 206 h 491"/>
                <a:gd name="T82" fmla="*/ 45 w 232"/>
                <a:gd name="T83" fmla="*/ 194 h 491"/>
                <a:gd name="T84" fmla="*/ 53 w 232"/>
                <a:gd name="T85" fmla="*/ 217 h 491"/>
                <a:gd name="T86" fmla="*/ 59 w 232"/>
                <a:gd name="T87" fmla="*/ 231 h 491"/>
                <a:gd name="T88" fmla="*/ 62 w 232"/>
                <a:gd name="T89" fmla="*/ 172 h 491"/>
                <a:gd name="T90" fmla="*/ 81 w 232"/>
                <a:gd name="T91" fmla="*/ 306 h 491"/>
                <a:gd name="T92" fmla="*/ 87 w 232"/>
                <a:gd name="T93" fmla="*/ 332 h 491"/>
                <a:gd name="T94" fmla="*/ 79 w 232"/>
                <a:gd name="T95" fmla="*/ 349 h 491"/>
                <a:gd name="T96" fmla="*/ 87 w 232"/>
                <a:gd name="T97" fmla="*/ 391 h 491"/>
                <a:gd name="T98" fmla="*/ 98 w 232"/>
                <a:gd name="T99" fmla="*/ 428 h 491"/>
                <a:gd name="T100" fmla="*/ 98 w 232"/>
                <a:gd name="T101" fmla="*/ 169 h 491"/>
                <a:gd name="T102" fmla="*/ 112 w 232"/>
                <a:gd name="T103" fmla="*/ 200 h 491"/>
                <a:gd name="T104" fmla="*/ 132 w 232"/>
                <a:gd name="T105" fmla="*/ 279 h 491"/>
                <a:gd name="T106" fmla="*/ 135 w 232"/>
                <a:gd name="T107" fmla="*/ 256 h 491"/>
                <a:gd name="T108" fmla="*/ 146 w 232"/>
                <a:gd name="T109" fmla="*/ 321 h 491"/>
                <a:gd name="T110" fmla="*/ 158 w 232"/>
                <a:gd name="T111" fmla="*/ 334 h 491"/>
                <a:gd name="T112" fmla="*/ 149 w 232"/>
                <a:gd name="T113" fmla="*/ 326 h 491"/>
                <a:gd name="T114" fmla="*/ 175 w 232"/>
                <a:gd name="T115" fmla="*/ 363 h 491"/>
                <a:gd name="T116" fmla="*/ 186 w 232"/>
                <a:gd name="T117" fmla="*/ 411 h 491"/>
                <a:gd name="T118" fmla="*/ 197 w 232"/>
                <a:gd name="T119" fmla="*/ 428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2" h="491">
                  <a:moveTo>
                    <a:pt x="231" y="453"/>
                  </a:moveTo>
                  <a:cubicBezTo>
                    <a:pt x="228" y="456"/>
                    <a:pt x="228" y="461"/>
                    <a:pt x="225" y="467"/>
                  </a:cubicBezTo>
                  <a:lnTo>
                    <a:pt x="220" y="467"/>
                  </a:lnTo>
                  <a:cubicBezTo>
                    <a:pt x="217" y="467"/>
                    <a:pt x="214" y="467"/>
                    <a:pt x="214" y="470"/>
                  </a:cubicBezTo>
                  <a:lnTo>
                    <a:pt x="208" y="470"/>
                  </a:lnTo>
                  <a:cubicBezTo>
                    <a:pt x="206" y="470"/>
                    <a:pt x="206" y="470"/>
                    <a:pt x="203" y="473"/>
                  </a:cubicBezTo>
                  <a:lnTo>
                    <a:pt x="200" y="473"/>
                  </a:lnTo>
                  <a:lnTo>
                    <a:pt x="197" y="473"/>
                  </a:lnTo>
                  <a:lnTo>
                    <a:pt x="194" y="473"/>
                  </a:lnTo>
                  <a:lnTo>
                    <a:pt x="189" y="473"/>
                  </a:lnTo>
                  <a:cubicBezTo>
                    <a:pt x="186" y="473"/>
                    <a:pt x="183" y="470"/>
                    <a:pt x="180" y="467"/>
                  </a:cubicBezTo>
                  <a:cubicBezTo>
                    <a:pt x="177" y="464"/>
                    <a:pt x="177" y="461"/>
                    <a:pt x="175" y="459"/>
                  </a:cubicBezTo>
                  <a:cubicBezTo>
                    <a:pt x="175" y="456"/>
                    <a:pt x="175" y="456"/>
                    <a:pt x="177" y="453"/>
                  </a:cubicBezTo>
                  <a:cubicBezTo>
                    <a:pt x="175" y="450"/>
                    <a:pt x="175" y="447"/>
                    <a:pt x="175" y="444"/>
                  </a:cubicBezTo>
                  <a:cubicBezTo>
                    <a:pt x="175" y="442"/>
                    <a:pt x="175" y="439"/>
                    <a:pt x="172" y="436"/>
                  </a:cubicBezTo>
                  <a:cubicBezTo>
                    <a:pt x="166" y="430"/>
                    <a:pt x="163" y="422"/>
                    <a:pt x="163" y="413"/>
                  </a:cubicBezTo>
                  <a:cubicBezTo>
                    <a:pt x="160" y="408"/>
                    <a:pt x="158" y="402"/>
                    <a:pt x="158" y="397"/>
                  </a:cubicBezTo>
                  <a:cubicBezTo>
                    <a:pt x="155" y="391"/>
                    <a:pt x="155" y="385"/>
                    <a:pt x="152" y="382"/>
                  </a:cubicBezTo>
                  <a:lnTo>
                    <a:pt x="152" y="380"/>
                  </a:lnTo>
                  <a:cubicBezTo>
                    <a:pt x="144" y="377"/>
                    <a:pt x="144" y="371"/>
                    <a:pt x="144" y="368"/>
                  </a:cubicBezTo>
                  <a:cubicBezTo>
                    <a:pt x="144" y="365"/>
                    <a:pt x="141" y="360"/>
                    <a:pt x="141" y="357"/>
                  </a:cubicBezTo>
                  <a:cubicBezTo>
                    <a:pt x="138" y="351"/>
                    <a:pt x="135" y="346"/>
                    <a:pt x="135" y="340"/>
                  </a:cubicBezTo>
                  <a:cubicBezTo>
                    <a:pt x="132" y="334"/>
                    <a:pt x="129" y="332"/>
                    <a:pt x="127" y="326"/>
                  </a:cubicBezTo>
                  <a:cubicBezTo>
                    <a:pt x="127" y="326"/>
                    <a:pt x="127" y="323"/>
                    <a:pt x="124" y="323"/>
                  </a:cubicBezTo>
                  <a:lnTo>
                    <a:pt x="115" y="323"/>
                  </a:lnTo>
                  <a:cubicBezTo>
                    <a:pt x="112" y="326"/>
                    <a:pt x="110" y="329"/>
                    <a:pt x="110" y="334"/>
                  </a:cubicBezTo>
                  <a:lnTo>
                    <a:pt x="110" y="346"/>
                  </a:lnTo>
                  <a:lnTo>
                    <a:pt x="110" y="360"/>
                  </a:lnTo>
                  <a:lnTo>
                    <a:pt x="110" y="374"/>
                  </a:lnTo>
                  <a:lnTo>
                    <a:pt x="110" y="380"/>
                  </a:lnTo>
                  <a:cubicBezTo>
                    <a:pt x="110" y="382"/>
                    <a:pt x="110" y="385"/>
                    <a:pt x="112" y="385"/>
                  </a:cubicBezTo>
                  <a:cubicBezTo>
                    <a:pt x="115" y="388"/>
                    <a:pt x="115" y="391"/>
                    <a:pt x="112" y="394"/>
                  </a:cubicBezTo>
                  <a:lnTo>
                    <a:pt x="112" y="399"/>
                  </a:lnTo>
                  <a:lnTo>
                    <a:pt x="112" y="402"/>
                  </a:lnTo>
                  <a:lnTo>
                    <a:pt x="118" y="428"/>
                  </a:lnTo>
                  <a:cubicBezTo>
                    <a:pt x="118" y="430"/>
                    <a:pt x="118" y="430"/>
                    <a:pt x="121" y="433"/>
                  </a:cubicBezTo>
                  <a:cubicBezTo>
                    <a:pt x="121" y="436"/>
                    <a:pt x="121" y="436"/>
                    <a:pt x="118" y="439"/>
                  </a:cubicBezTo>
                  <a:lnTo>
                    <a:pt x="118" y="444"/>
                  </a:lnTo>
                  <a:cubicBezTo>
                    <a:pt x="124" y="447"/>
                    <a:pt x="121" y="453"/>
                    <a:pt x="121" y="459"/>
                  </a:cubicBezTo>
                  <a:lnTo>
                    <a:pt x="121" y="467"/>
                  </a:lnTo>
                  <a:lnTo>
                    <a:pt x="121" y="475"/>
                  </a:lnTo>
                  <a:cubicBezTo>
                    <a:pt x="118" y="475"/>
                    <a:pt x="118" y="478"/>
                    <a:pt x="115" y="478"/>
                  </a:cubicBezTo>
                  <a:lnTo>
                    <a:pt x="110" y="484"/>
                  </a:lnTo>
                  <a:lnTo>
                    <a:pt x="81" y="490"/>
                  </a:lnTo>
                  <a:lnTo>
                    <a:pt x="73" y="481"/>
                  </a:lnTo>
                  <a:cubicBezTo>
                    <a:pt x="70" y="473"/>
                    <a:pt x="70" y="461"/>
                    <a:pt x="73" y="453"/>
                  </a:cubicBezTo>
                  <a:lnTo>
                    <a:pt x="73" y="444"/>
                  </a:lnTo>
                  <a:cubicBezTo>
                    <a:pt x="70" y="442"/>
                    <a:pt x="70" y="439"/>
                    <a:pt x="70" y="436"/>
                  </a:cubicBezTo>
                  <a:lnTo>
                    <a:pt x="70" y="433"/>
                  </a:lnTo>
                  <a:cubicBezTo>
                    <a:pt x="70" y="430"/>
                    <a:pt x="67" y="428"/>
                    <a:pt x="70" y="428"/>
                  </a:cubicBezTo>
                  <a:cubicBezTo>
                    <a:pt x="70" y="425"/>
                    <a:pt x="70" y="422"/>
                    <a:pt x="67" y="422"/>
                  </a:cubicBezTo>
                  <a:lnTo>
                    <a:pt x="67" y="416"/>
                  </a:lnTo>
                  <a:lnTo>
                    <a:pt x="67" y="405"/>
                  </a:lnTo>
                  <a:cubicBezTo>
                    <a:pt x="67" y="402"/>
                    <a:pt x="64" y="402"/>
                    <a:pt x="64" y="399"/>
                  </a:cubicBezTo>
                  <a:lnTo>
                    <a:pt x="64" y="394"/>
                  </a:lnTo>
                  <a:lnTo>
                    <a:pt x="64" y="388"/>
                  </a:lnTo>
                  <a:lnTo>
                    <a:pt x="64" y="385"/>
                  </a:lnTo>
                  <a:lnTo>
                    <a:pt x="64" y="382"/>
                  </a:lnTo>
                  <a:cubicBezTo>
                    <a:pt x="62" y="380"/>
                    <a:pt x="62" y="374"/>
                    <a:pt x="62" y="371"/>
                  </a:cubicBezTo>
                  <a:lnTo>
                    <a:pt x="62" y="363"/>
                  </a:lnTo>
                  <a:lnTo>
                    <a:pt x="62" y="357"/>
                  </a:lnTo>
                  <a:cubicBezTo>
                    <a:pt x="62" y="351"/>
                    <a:pt x="59" y="346"/>
                    <a:pt x="59" y="337"/>
                  </a:cubicBezTo>
                  <a:cubicBezTo>
                    <a:pt x="59" y="332"/>
                    <a:pt x="56" y="326"/>
                    <a:pt x="56" y="318"/>
                  </a:cubicBezTo>
                  <a:cubicBezTo>
                    <a:pt x="56" y="315"/>
                    <a:pt x="56" y="312"/>
                    <a:pt x="53" y="309"/>
                  </a:cubicBezTo>
                  <a:cubicBezTo>
                    <a:pt x="50" y="303"/>
                    <a:pt x="50" y="298"/>
                    <a:pt x="48" y="292"/>
                  </a:cubicBezTo>
                  <a:lnTo>
                    <a:pt x="48" y="285"/>
                  </a:lnTo>
                  <a:cubicBezTo>
                    <a:pt x="48" y="282"/>
                    <a:pt x="48" y="282"/>
                    <a:pt x="45" y="279"/>
                  </a:cubicBezTo>
                  <a:cubicBezTo>
                    <a:pt x="45" y="279"/>
                    <a:pt x="42" y="276"/>
                    <a:pt x="45" y="276"/>
                  </a:cubicBezTo>
                  <a:cubicBezTo>
                    <a:pt x="45" y="268"/>
                    <a:pt x="45" y="259"/>
                    <a:pt x="42" y="251"/>
                  </a:cubicBezTo>
                  <a:cubicBezTo>
                    <a:pt x="39" y="242"/>
                    <a:pt x="39" y="234"/>
                    <a:pt x="36" y="225"/>
                  </a:cubicBezTo>
                  <a:lnTo>
                    <a:pt x="36" y="214"/>
                  </a:lnTo>
                  <a:cubicBezTo>
                    <a:pt x="36" y="211"/>
                    <a:pt x="36" y="209"/>
                    <a:pt x="33" y="203"/>
                  </a:cubicBezTo>
                  <a:lnTo>
                    <a:pt x="33" y="200"/>
                  </a:lnTo>
                  <a:lnTo>
                    <a:pt x="33" y="197"/>
                  </a:lnTo>
                  <a:cubicBezTo>
                    <a:pt x="33" y="194"/>
                    <a:pt x="31" y="194"/>
                    <a:pt x="31" y="192"/>
                  </a:cubicBezTo>
                  <a:cubicBezTo>
                    <a:pt x="31" y="189"/>
                    <a:pt x="31" y="186"/>
                    <a:pt x="28" y="183"/>
                  </a:cubicBezTo>
                  <a:cubicBezTo>
                    <a:pt x="28" y="180"/>
                    <a:pt x="25" y="177"/>
                    <a:pt x="22" y="175"/>
                  </a:cubicBezTo>
                  <a:lnTo>
                    <a:pt x="22" y="172"/>
                  </a:lnTo>
                  <a:lnTo>
                    <a:pt x="22" y="169"/>
                  </a:lnTo>
                  <a:lnTo>
                    <a:pt x="22" y="163"/>
                  </a:lnTo>
                  <a:lnTo>
                    <a:pt x="22" y="158"/>
                  </a:lnTo>
                  <a:lnTo>
                    <a:pt x="22" y="152"/>
                  </a:lnTo>
                  <a:lnTo>
                    <a:pt x="22" y="146"/>
                  </a:lnTo>
                  <a:lnTo>
                    <a:pt x="22" y="141"/>
                  </a:lnTo>
                  <a:lnTo>
                    <a:pt x="17" y="110"/>
                  </a:lnTo>
                  <a:lnTo>
                    <a:pt x="17" y="107"/>
                  </a:lnTo>
                  <a:cubicBezTo>
                    <a:pt x="17" y="107"/>
                    <a:pt x="17" y="104"/>
                    <a:pt x="14" y="104"/>
                  </a:cubicBezTo>
                  <a:cubicBezTo>
                    <a:pt x="8" y="96"/>
                    <a:pt x="8" y="87"/>
                    <a:pt x="8" y="79"/>
                  </a:cubicBezTo>
                  <a:lnTo>
                    <a:pt x="8" y="76"/>
                  </a:lnTo>
                  <a:lnTo>
                    <a:pt x="8" y="73"/>
                  </a:lnTo>
                  <a:lnTo>
                    <a:pt x="2" y="39"/>
                  </a:lnTo>
                  <a:lnTo>
                    <a:pt x="2" y="36"/>
                  </a:lnTo>
                  <a:cubicBezTo>
                    <a:pt x="2" y="36"/>
                    <a:pt x="2" y="34"/>
                    <a:pt x="0" y="34"/>
                  </a:cubicBezTo>
                  <a:lnTo>
                    <a:pt x="5" y="28"/>
                  </a:lnTo>
                  <a:cubicBezTo>
                    <a:pt x="8" y="25"/>
                    <a:pt x="8" y="22"/>
                    <a:pt x="11" y="20"/>
                  </a:cubicBezTo>
                  <a:lnTo>
                    <a:pt x="45" y="14"/>
                  </a:lnTo>
                  <a:lnTo>
                    <a:pt x="48" y="17"/>
                  </a:lnTo>
                  <a:lnTo>
                    <a:pt x="50" y="20"/>
                  </a:lnTo>
                  <a:cubicBezTo>
                    <a:pt x="53" y="25"/>
                    <a:pt x="53" y="28"/>
                    <a:pt x="56" y="34"/>
                  </a:cubicBezTo>
                  <a:cubicBezTo>
                    <a:pt x="59" y="39"/>
                    <a:pt x="59" y="45"/>
                    <a:pt x="59" y="51"/>
                  </a:cubicBezTo>
                  <a:cubicBezTo>
                    <a:pt x="59" y="53"/>
                    <a:pt x="62" y="53"/>
                    <a:pt x="62" y="56"/>
                  </a:cubicBezTo>
                  <a:lnTo>
                    <a:pt x="62" y="59"/>
                  </a:lnTo>
                  <a:lnTo>
                    <a:pt x="62" y="65"/>
                  </a:lnTo>
                  <a:cubicBezTo>
                    <a:pt x="62" y="67"/>
                    <a:pt x="62" y="73"/>
                    <a:pt x="64" y="76"/>
                  </a:cubicBezTo>
                  <a:lnTo>
                    <a:pt x="64" y="82"/>
                  </a:lnTo>
                  <a:cubicBezTo>
                    <a:pt x="64" y="84"/>
                    <a:pt x="64" y="87"/>
                    <a:pt x="67" y="90"/>
                  </a:cubicBezTo>
                  <a:lnTo>
                    <a:pt x="67" y="99"/>
                  </a:lnTo>
                  <a:lnTo>
                    <a:pt x="67" y="101"/>
                  </a:lnTo>
                  <a:cubicBezTo>
                    <a:pt x="67" y="104"/>
                    <a:pt x="70" y="107"/>
                    <a:pt x="70" y="107"/>
                  </a:cubicBezTo>
                  <a:cubicBezTo>
                    <a:pt x="70" y="110"/>
                    <a:pt x="73" y="113"/>
                    <a:pt x="73" y="113"/>
                  </a:cubicBezTo>
                  <a:cubicBezTo>
                    <a:pt x="73" y="118"/>
                    <a:pt x="73" y="121"/>
                    <a:pt x="76" y="127"/>
                  </a:cubicBezTo>
                  <a:lnTo>
                    <a:pt x="79" y="130"/>
                  </a:lnTo>
                  <a:lnTo>
                    <a:pt x="79" y="132"/>
                  </a:lnTo>
                  <a:lnTo>
                    <a:pt x="79" y="138"/>
                  </a:lnTo>
                  <a:lnTo>
                    <a:pt x="79" y="141"/>
                  </a:lnTo>
                  <a:cubicBezTo>
                    <a:pt x="81" y="144"/>
                    <a:pt x="81" y="149"/>
                    <a:pt x="81" y="152"/>
                  </a:cubicBezTo>
                  <a:lnTo>
                    <a:pt x="81" y="155"/>
                  </a:lnTo>
                  <a:lnTo>
                    <a:pt x="81" y="161"/>
                  </a:lnTo>
                  <a:cubicBezTo>
                    <a:pt x="81" y="161"/>
                    <a:pt x="84" y="163"/>
                    <a:pt x="84" y="166"/>
                  </a:cubicBezTo>
                  <a:lnTo>
                    <a:pt x="84" y="172"/>
                  </a:lnTo>
                  <a:lnTo>
                    <a:pt x="93" y="172"/>
                  </a:lnTo>
                  <a:cubicBezTo>
                    <a:pt x="96" y="169"/>
                    <a:pt x="96" y="163"/>
                    <a:pt x="96" y="158"/>
                  </a:cubicBezTo>
                  <a:lnTo>
                    <a:pt x="96" y="144"/>
                  </a:lnTo>
                  <a:cubicBezTo>
                    <a:pt x="98" y="135"/>
                    <a:pt x="98" y="127"/>
                    <a:pt x="98" y="118"/>
                  </a:cubicBezTo>
                  <a:lnTo>
                    <a:pt x="98" y="90"/>
                  </a:lnTo>
                  <a:lnTo>
                    <a:pt x="101" y="73"/>
                  </a:lnTo>
                  <a:cubicBezTo>
                    <a:pt x="101" y="65"/>
                    <a:pt x="101" y="59"/>
                    <a:pt x="104" y="51"/>
                  </a:cubicBezTo>
                  <a:lnTo>
                    <a:pt x="104" y="39"/>
                  </a:lnTo>
                  <a:cubicBezTo>
                    <a:pt x="104" y="31"/>
                    <a:pt x="104" y="25"/>
                    <a:pt x="107" y="17"/>
                  </a:cubicBezTo>
                  <a:cubicBezTo>
                    <a:pt x="110" y="14"/>
                    <a:pt x="110" y="11"/>
                    <a:pt x="112" y="8"/>
                  </a:cubicBezTo>
                  <a:lnTo>
                    <a:pt x="118" y="3"/>
                  </a:lnTo>
                  <a:lnTo>
                    <a:pt x="141" y="0"/>
                  </a:lnTo>
                  <a:lnTo>
                    <a:pt x="144" y="3"/>
                  </a:lnTo>
                  <a:lnTo>
                    <a:pt x="149" y="8"/>
                  </a:lnTo>
                  <a:cubicBezTo>
                    <a:pt x="149" y="14"/>
                    <a:pt x="152" y="17"/>
                    <a:pt x="149" y="22"/>
                  </a:cubicBezTo>
                  <a:lnTo>
                    <a:pt x="144" y="28"/>
                  </a:lnTo>
                  <a:cubicBezTo>
                    <a:pt x="141" y="39"/>
                    <a:pt x="141" y="53"/>
                    <a:pt x="141" y="65"/>
                  </a:cubicBezTo>
                  <a:cubicBezTo>
                    <a:pt x="141" y="67"/>
                    <a:pt x="141" y="70"/>
                    <a:pt x="138" y="73"/>
                  </a:cubicBezTo>
                  <a:cubicBezTo>
                    <a:pt x="135" y="76"/>
                    <a:pt x="135" y="79"/>
                    <a:pt x="135" y="82"/>
                  </a:cubicBezTo>
                  <a:cubicBezTo>
                    <a:pt x="138" y="84"/>
                    <a:pt x="138" y="87"/>
                    <a:pt x="138" y="90"/>
                  </a:cubicBezTo>
                  <a:cubicBezTo>
                    <a:pt x="135" y="93"/>
                    <a:pt x="135" y="96"/>
                    <a:pt x="138" y="99"/>
                  </a:cubicBezTo>
                  <a:lnTo>
                    <a:pt x="135" y="101"/>
                  </a:lnTo>
                  <a:lnTo>
                    <a:pt x="135" y="104"/>
                  </a:lnTo>
                  <a:lnTo>
                    <a:pt x="135" y="115"/>
                  </a:lnTo>
                  <a:cubicBezTo>
                    <a:pt x="135" y="118"/>
                    <a:pt x="132" y="124"/>
                    <a:pt x="132" y="127"/>
                  </a:cubicBezTo>
                  <a:cubicBezTo>
                    <a:pt x="132" y="130"/>
                    <a:pt x="131" y="135"/>
                    <a:pt x="129" y="138"/>
                  </a:cubicBezTo>
                  <a:cubicBezTo>
                    <a:pt x="126" y="141"/>
                    <a:pt x="127" y="146"/>
                    <a:pt x="127" y="149"/>
                  </a:cubicBezTo>
                  <a:cubicBezTo>
                    <a:pt x="124" y="152"/>
                    <a:pt x="124" y="152"/>
                    <a:pt x="127" y="155"/>
                  </a:cubicBezTo>
                  <a:lnTo>
                    <a:pt x="127" y="166"/>
                  </a:lnTo>
                  <a:lnTo>
                    <a:pt x="127" y="172"/>
                  </a:lnTo>
                  <a:cubicBezTo>
                    <a:pt x="129" y="175"/>
                    <a:pt x="129" y="177"/>
                    <a:pt x="129" y="180"/>
                  </a:cubicBezTo>
                  <a:lnTo>
                    <a:pt x="129" y="186"/>
                  </a:lnTo>
                  <a:cubicBezTo>
                    <a:pt x="129" y="189"/>
                    <a:pt x="129" y="189"/>
                    <a:pt x="132" y="192"/>
                  </a:cubicBezTo>
                  <a:cubicBezTo>
                    <a:pt x="132" y="197"/>
                    <a:pt x="132" y="200"/>
                    <a:pt x="135" y="206"/>
                  </a:cubicBezTo>
                  <a:cubicBezTo>
                    <a:pt x="141" y="214"/>
                    <a:pt x="144" y="223"/>
                    <a:pt x="146" y="231"/>
                  </a:cubicBezTo>
                  <a:lnTo>
                    <a:pt x="149" y="242"/>
                  </a:lnTo>
                  <a:cubicBezTo>
                    <a:pt x="149" y="245"/>
                    <a:pt x="149" y="245"/>
                    <a:pt x="152" y="248"/>
                  </a:cubicBezTo>
                  <a:cubicBezTo>
                    <a:pt x="152" y="251"/>
                    <a:pt x="155" y="256"/>
                    <a:pt x="155" y="259"/>
                  </a:cubicBezTo>
                  <a:lnTo>
                    <a:pt x="155" y="265"/>
                  </a:lnTo>
                  <a:cubicBezTo>
                    <a:pt x="155" y="271"/>
                    <a:pt x="158" y="279"/>
                    <a:pt x="163" y="285"/>
                  </a:cubicBezTo>
                  <a:cubicBezTo>
                    <a:pt x="166" y="288"/>
                    <a:pt x="166" y="289"/>
                    <a:pt x="166" y="292"/>
                  </a:cubicBezTo>
                  <a:cubicBezTo>
                    <a:pt x="166" y="298"/>
                    <a:pt x="169" y="303"/>
                    <a:pt x="169" y="309"/>
                  </a:cubicBezTo>
                  <a:cubicBezTo>
                    <a:pt x="172" y="315"/>
                    <a:pt x="175" y="320"/>
                    <a:pt x="175" y="326"/>
                  </a:cubicBezTo>
                  <a:cubicBezTo>
                    <a:pt x="175" y="329"/>
                    <a:pt x="174" y="334"/>
                    <a:pt x="177" y="337"/>
                  </a:cubicBezTo>
                  <a:cubicBezTo>
                    <a:pt x="179" y="340"/>
                    <a:pt x="180" y="343"/>
                    <a:pt x="180" y="349"/>
                  </a:cubicBezTo>
                  <a:cubicBezTo>
                    <a:pt x="183" y="351"/>
                    <a:pt x="186" y="357"/>
                    <a:pt x="186" y="360"/>
                  </a:cubicBezTo>
                  <a:lnTo>
                    <a:pt x="186" y="365"/>
                  </a:lnTo>
                  <a:cubicBezTo>
                    <a:pt x="186" y="371"/>
                    <a:pt x="189" y="374"/>
                    <a:pt x="191" y="377"/>
                  </a:cubicBezTo>
                  <a:cubicBezTo>
                    <a:pt x="191" y="380"/>
                    <a:pt x="194" y="382"/>
                    <a:pt x="191" y="382"/>
                  </a:cubicBezTo>
                  <a:cubicBezTo>
                    <a:pt x="194" y="382"/>
                    <a:pt x="194" y="385"/>
                    <a:pt x="194" y="388"/>
                  </a:cubicBezTo>
                  <a:cubicBezTo>
                    <a:pt x="194" y="391"/>
                    <a:pt x="194" y="394"/>
                    <a:pt x="197" y="394"/>
                  </a:cubicBezTo>
                  <a:cubicBezTo>
                    <a:pt x="197" y="397"/>
                    <a:pt x="197" y="399"/>
                    <a:pt x="200" y="402"/>
                  </a:cubicBezTo>
                  <a:cubicBezTo>
                    <a:pt x="203" y="405"/>
                    <a:pt x="203" y="408"/>
                    <a:pt x="203" y="411"/>
                  </a:cubicBezTo>
                  <a:cubicBezTo>
                    <a:pt x="203" y="416"/>
                    <a:pt x="206" y="422"/>
                    <a:pt x="208" y="425"/>
                  </a:cubicBezTo>
                  <a:lnTo>
                    <a:pt x="214" y="436"/>
                  </a:lnTo>
                  <a:cubicBezTo>
                    <a:pt x="214" y="439"/>
                    <a:pt x="217" y="444"/>
                    <a:pt x="217" y="447"/>
                  </a:cubicBezTo>
                  <a:lnTo>
                    <a:pt x="231" y="453"/>
                  </a:lnTo>
                  <a:close/>
                  <a:moveTo>
                    <a:pt x="19" y="45"/>
                  </a:moveTo>
                  <a:lnTo>
                    <a:pt x="22" y="45"/>
                  </a:lnTo>
                  <a:lnTo>
                    <a:pt x="22" y="42"/>
                  </a:lnTo>
                  <a:cubicBezTo>
                    <a:pt x="22" y="42"/>
                    <a:pt x="19" y="42"/>
                    <a:pt x="19" y="45"/>
                  </a:cubicBezTo>
                  <a:close/>
                  <a:moveTo>
                    <a:pt x="28" y="70"/>
                  </a:moveTo>
                  <a:lnTo>
                    <a:pt x="28" y="65"/>
                  </a:lnTo>
                  <a:lnTo>
                    <a:pt x="25" y="65"/>
                  </a:lnTo>
                  <a:cubicBezTo>
                    <a:pt x="25" y="67"/>
                    <a:pt x="28" y="70"/>
                    <a:pt x="28" y="70"/>
                  </a:cubicBezTo>
                  <a:close/>
                  <a:moveTo>
                    <a:pt x="25" y="56"/>
                  </a:moveTo>
                  <a:cubicBezTo>
                    <a:pt x="28" y="53"/>
                    <a:pt x="25" y="53"/>
                    <a:pt x="25" y="51"/>
                  </a:cubicBezTo>
                  <a:lnTo>
                    <a:pt x="25" y="56"/>
                  </a:lnTo>
                  <a:close/>
                  <a:moveTo>
                    <a:pt x="42" y="76"/>
                  </a:moveTo>
                  <a:lnTo>
                    <a:pt x="28" y="79"/>
                  </a:lnTo>
                  <a:lnTo>
                    <a:pt x="28" y="82"/>
                  </a:lnTo>
                  <a:cubicBezTo>
                    <a:pt x="31" y="82"/>
                    <a:pt x="33" y="82"/>
                    <a:pt x="39" y="84"/>
                  </a:cubicBezTo>
                  <a:lnTo>
                    <a:pt x="42" y="76"/>
                  </a:lnTo>
                  <a:close/>
                  <a:moveTo>
                    <a:pt x="33" y="62"/>
                  </a:moveTo>
                  <a:cubicBezTo>
                    <a:pt x="33" y="65"/>
                    <a:pt x="33" y="65"/>
                    <a:pt x="31" y="67"/>
                  </a:cubicBezTo>
                  <a:cubicBezTo>
                    <a:pt x="31" y="70"/>
                    <a:pt x="28" y="70"/>
                    <a:pt x="28" y="73"/>
                  </a:cubicBezTo>
                  <a:lnTo>
                    <a:pt x="31" y="76"/>
                  </a:lnTo>
                  <a:cubicBezTo>
                    <a:pt x="31" y="73"/>
                    <a:pt x="31" y="73"/>
                    <a:pt x="33" y="70"/>
                  </a:cubicBezTo>
                  <a:lnTo>
                    <a:pt x="36" y="65"/>
                  </a:lnTo>
                  <a:lnTo>
                    <a:pt x="33" y="62"/>
                  </a:lnTo>
                  <a:close/>
                  <a:moveTo>
                    <a:pt x="31" y="93"/>
                  </a:moveTo>
                  <a:lnTo>
                    <a:pt x="31" y="96"/>
                  </a:lnTo>
                  <a:lnTo>
                    <a:pt x="33" y="96"/>
                  </a:lnTo>
                  <a:lnTo>
                    <a:pt x="33" y="90"/>
                  </a:lnTo>
                  <a:cubicBezTo>
                    <a:pt x="33" y="90"/>
                    <a:pt x="33" y="93"/>
                    <a:pt x="31" y="93"/>
                  </a:cubicBezTo>
                  <a:close/>
                  <a:moveTo>
                    <a:pt x="42" y="101"/>
                  </a:moveTo>
                  <a:cubicBezTo>
                    <a:pt x="42" y="99"/>
                    <a:pt x="42" y="101"/>
                    <a:pt x="42" y="101"/>
                  </a:cubicBezTo>
                  <a:lnTo>
                    <a:pt x="36" y="101"/>
                  </a:lnTo>
                  <a:lnTo>
                    <a:pt x="36" y="107"/>
                  </a:lnTo>
                  <a:lnTo>
                    <a:pt x="42" y="101"/>
                  </a:lnTo>
                  <a:close/>
                  <a:moveTo>
                    <a:pt x="39" y="135"/>
                  </a:moveTo>
                  <a:cubicBezTo>
                    <a:pt x="39" y="135"/>
                    <a:pt x="42" y="135"/>
                    <a:pt x="39" y="135"/>
                  </a:cubicBezTo>
                  <a:cubicBezTo>
                    <a:pt x="42" y="132"/>
                    <a:pt x="45" y="132"/>
                    <a:pt x="45" y="130"/>
                  </a:cubicBezTo>
                  <a:lnTo>
                    <a:pt x="36" y="132"/>
                  </a:lnTo>
                  <a:lnTo>
                    <a:pt x="39" y="135"/>
                  </a:lnTo>
                  <a:close/>
                  <a:moveTo>
                    <a:pt x="36" y="144"/>
                  </a:moveTo>
                  <a:lnTo>
                    <a:pt x="39" y="144"/>
                  </a:lnTo>
                  <a:lnTo>
                    <a:pt x="39" y="141"/>
                  </a:lnTo>
                  <a:cubicBezTo>
                    <a:pt x="39" y="141"/>
                    <a:pt x="36" y="141"/>
                    <a:pt x="36" y="144"/>
                  </a:cubicBezTo>
                  <a:close/>
                  <a:moveTo>
                    <a:pt x="42" y="115"/>
                  </a:moveTo>
                  <a:lnTo>
                    <a:pt x="42" y="113"/>
                  </a:lnTo>
                  <a:cubicBezTo>
                    <a:pt x="42" y="113"/>
                    <a:pt x="42" y="115"/>
                    <a:pt x="39" y="115"/>
                  </a:cubicBezTo>
                  <a:lnTo>
                    <a:pt x="36" y="118"/>
                  </a:lnTo>
                  <a:lnTo>
                    <a:pt x="42" y="115"/>
                  </a:lnTo>
                  <a:close/>
                  <a:moveTo>
                    <a:pt x="39" y="152"/>
                  </a:moveTo>
                  <a:cubicBezTo>
                    <a:pt x="42" y="155"/>
                    <a:pt x="42" y="155"/>
                    <a:pt x="45" y="155"/>
                  </a:cubicBezTo>
                  <a:lnTo>
                    <a:pt x="48" y="152"/>
                  </a:lnTo>
                  <a:lnTo>
                    <a:pt x="50" y="149"/>
                  </a:lnTo>
                  <a:lnTo>
                    <a:pt x="48" y="149"/>
                  </a:lnTo>
                  <a:cubicBezTo>
                    <a:pt x="48" y="149"/>
                    <a:pt x="45" y="149"/>
                    <a:pt x="45" y="146"/>
                  </a:cubicBezTo>
                  <a:lnTo>
                    <a:pt x="42" y="146"/>
                  </a:lnTo>
                  <a:lnTo>
                    <a:pt x="39" y="149"/>
                  </a:lnTo>
                  <a:lnTo>
                    <a:pt x="39" y="152"/>
                  </a:lnTo>
                  <a:close/>
                  <a:moveTo>
                    <a:pt x="42" y="169"/>
                  </a:moveTo>
                  <a:lnTo>
                    <a:pt x="45" y="169"/>
                  </a:lnTo>
                  <a:lnTo>
                    <a:pt x="48" y="169"/>
                  </a:lnTo>
                  <a:lnTo>
                    <a:pt x="48" y="166"/>
                  </a:lnTo>
                  <a:lnTo>
                    <a:pt x="42" y="166"/>
                  </a:lnTo>
                  <a:lnTo>
                    <a:pt x="42" y="169"/>
                  </a:lnTo>
                  <a:close/>
                  <a:moveTo>
                    <a:pt x="56" y="152"/>
                  </a:moveTo>
                  <a:lnTo>
                    <a:pt x="53" y="158"/>
                  </a:lnTo>
                  <a:cubicBezTo>
                    <a:pt x="50" y="158"/>
                    <a:pt x="50" y="155"/>
                    <a:pt x="48" y="155"/>
                  </a:cubicBezTo>
                  <a:lnTo>
                    <a:pt x="48" y="158"/>
                  </a:lnTo>
                  <a:lnTo>
                    <a:pt x="50" y="158"/>
                  </a:lnTo>
                  <a:lnTo>
                    <a:pt x="53" y="158"/>
                  </a:lnTo>
                  <a:lnTo>
                    <a:pt x="56" y="158"/>
                  </a:lnTo>
                  <a:cubicBezTo>
                    <a:pt x="53" y="158"/>
                    <a:pt x="56" y="155"/>
                    <a:pt x="56" y="152"/>
                  </a:cubicBezTo>
                  <a:close/>
                  <a:moveTo>
                    <a:pt x="48" y="180"/>
                  </a:moveTo>
                  <a:cubicBezTo>
                    <a:pt x="50" y="180"/>
                    <a:pt x="50" y="177"/>
                    <a:pt x="50" y="177"/>
                  </a:cubicBezTo>
                  <a:cubicBezTo>
                    <a:pt x="50" y="177"/>
                    <a:pt x="50" y="175"/>
                    <a:pt x="48" y="175"/>
                  </a:cubicBezTo>
                  <a:lnTo>
                    <a:pt x="48" y="180"/>
                  </a:lnTo>
                  <a:close/>
                  <a:moveTo>
                    <a:pt x="146" y="315"/>
                  </a:moveTo>
                  <a:cubicBezTo>
                    <a:pt x="146" y="312"/>
                    <a:pt x="146" y="309"/>
                    <a:pt x="149" y="306"/>
                  </a:cubicBezTo>
                  <a:cubicBezTo>
                    <a:pt x="152" y="303"/>
                    <a:pt x="152" y="301"/>
                    <a:pt x="149" y="298"/>
                  </a:cubicBezTo>
                  <a:lnTo>
                    <a:pt x="144" y="298"/>
                  </a:lnTo>
                  <a:lnTo>
                    <a:pt x="139" y="298"/>
                  </a:lnTo>
                  <a:lnTo>
                    <a:pt x="138" y="301"/>
                  </a:lnTo>
                  <a:cubicBezTo>
                    <a:pt x="141" y="301"/>
                    <a:pt x="141" y="303"/>
                    <a:pt x="144" y="303"/>
                  </a:cubicBezTo>
                  <a:lnTo>
                    <a:pt x="146" y="301"/>
                  </a:lnTo>
                  <a:lnTo>
                    <a:pt x="146" y="309"/>
                  </a:lnTo>
                  <a:lnTo>
                    <a:pt x="144" y="312"/>
                  </a:lnTo>
                  <a:lnTo>
                    <a:pt x="144" y="315"/>
                  </a:lnTo>
                  <a:lnTo>
                    <a:pt x="146" y="315"/>
                  </a:lnTo>
                  <a:close/>
                  <a:moveTo>
                    <a:pt x="135" y="289"/>
                  </a:moveTo>
                  <a:cubicBezTo>
                    <a:pt x="134" y="290"/>
                    <a:pt x="134" y="290"/>
                    <a:pt x="134" y="291"/>
                  </a:cubicBezTo>
                  <a:cubicBezTo>
                    <a:pt x="134" y="291"/>
                    <a:pt x="134" y="292"/>
                    <a:pt x="135" y="292"/>
                  </a:cubicBezTo>
                  <a:lnTo>
                    <a:pt x="136" y="292"/>
                  </a:lnTo>
                  <a:lnTo>
                    <a:pt x="135" y="289"/>
                  </a:lnTo>
                  <a:close/>
                  <a:moveTo>
                    <a:pt x="129" y="288"/>
                  </a:moveTo>
                  <a:cubicBezTo>
                    <a:pt x="127" y="285"/>
                    <a:pt x="124" y="285"/>
                    <a:pt x="124" y="285"/>
                  </a:cubicBezTo>
                  <a:lnTo>
                    <a:pt x="124" y="282"/>
                  </a:lnTo>
                  <a:lnTo>
                    <a:pt x="124" y="279"/>
                  </a:lnTo>
                  <a:lnTo>
                    <a:pt x="121" y="279"/>
                  </a:lnTo>
                  <a:lnTo>
                    <a:pt x="121" y="285"/>
                  </a:lnTo>
                  <a:cubicBezTo>
                    <a:pt x="118" y="285"/>
                    <a:pt x="118" y="285"/>
                    <a:pt x="115" y="282"/>
                  </a:cubicBezTo>
                  <a:lnTo>
                    <a:pt x="115" y="285"/>
                  </a:lnTo>
                  <a:lnTo>
                    <a:pt x="112" y="288"/>
                  </a:lnTo>
                  <a:cubicBezTo>
                    <a:pt x="110" y="288"/>
                    <a:pt x="107" y="287"/>
                    <a:pt x="107" y="285"/>
                  </a:cubicBezTo>
                  <a:cubicBezTo>
                    <a:pt x="109" y="285"/>
                    <a:pt x="111" y="284"/>
                    <a:pt x="112" y="282"/>
                  </a:cubicBezTo>
                  <a:lnTo>
                    <a:pt x="107" y="282"/>
                  </a:lnTo>
                  <a:lnTo>
                    <a:pt x="101" y="279"/>
                  </a:lnTo>
                  <a:cubicBezTo>
                    <a:pt x="98" y="279"/>
                    <a:pt x="98" y="276"/>
                    <a:pt x="96" y="276"/>
                  </a:cubicBezTo>
                  <a:cubicBezTo>
                    <a:pt x="96" y="273"/>
                    <a:pt x="98" y="273"/>
                    <a:pt x="98" y="273"/>
                  </a:cubicBezTo>
                  <a:lnTo>
                    <a:pt x="101" y="276"/>
                  </a:lnTo>
                  <a:lnTo>
                    <a:pt x="101" y="273"/>
                  </a:lnTo>
                  <a:cubicBezTo>
                    <a:pt x="104" y="276"/>
                    <a:pt x="107" y="276"/>
                    <a:pt x="112" y="276"/>
                  </a:cubicBezTo>
                  <a:cubicBezTo>
                    <a:pt x="115" y="276"/>
                    <a:pt x="121" y="276"/>
                    <a:pt x="124" y="279"/>
                  </a:cubicBezTo>
                  <a:cubicBezTo>
                    <a:pt x="124" y="279"/>
                    <a:pt x="127" y="279"/>
                    <a:pt x="127" y="276"/>
                  </a:cubicBezTo>
                  <a:cubicBezTo>
                    <a:pt x="127" y="276"/>
                    <a:pt x="129" y="276"/>
                    <a:pt x="129" y="273"/>
                  </a:cubicBezTo>
                  <a:lnTo>
                    <a:pt x="127" y="271"/>
                  </a:lnTo>
                  <a:cubicBezTo>
                    <a:pt x="127" y="271"/>
                    <a:pt x="127" y="268"/>
                    <a:pt x="124" y="268"/>
                  </a:cubicBezTo>
                  <a:cubicBezTo>
                    <a:pt x="121" y="268"/>
                    <a:pt x="121" y="268"/>
                    <a:pt x="118" y="271"/>
                  </a:cubicBezTo>
                  <a:cubicBezTo>
                    <a:pt x="118" y="273"/>
                    <a:pt x="115" y="273"/>
                    <a:pt x="115" y="273"/>
                  </a:cubicBezTo>
                  <a:lnTo>
                    <a:pt x="118" y="271"/>
                  </a:lnTo>
                  <a:lnTo>
                    <a:pt x="121" y="268"/>
                  </a:lnTo>
                  <a:lnTo>
                    <a:pt x="115" y="268"/>
                  </a:lnTo>
                  <a:lnTo>
                    <a:pt x="110" y="268"/>
                  </a:lnTo>
                  <a:lnTo>
                    <a:pt x="107" y="262"/>
                  </a:lnTo>
                  <a:cubicBezTo>
                    <a:pt x="107" y="262"/>
                    <a:pt x="107" y="259"/>
                    <a:pt x="104" y="256"/>
                  </a:cubicBezTo>
                  <a:lnTo>
                    <a:pt x="112" y="256"/>
                  </a:lnTo>
                  <a:lnTo>
                    <a:pt x="112" y="251"/>
                  </a:lnTo>
                  <a:cubicBezTo>
                    <a:pt x="112" y="251"/>
                    <a:pt x="115" y="253"/>
                    <a:pt x="115" y="255"/>
                  </a:cubicBezTo>
                  <a:cubicBezTo>
                    <a:pt x="112" y="257"/>
                    <a:pt x="109" y="257"/>
                    <a:pt x="107" y="259"/>
                  </a:cubicBezTo>
                  <a:cubicBezTo>
                    <a:pt x="112" y="262"/>
                    <a:pt x="115" y="262"/>
                    <a:pt x="118" y="262"/>
                  </a:cubicBezTo>
                  <a:cubicBezTo>
                    <a:pt x="121" y="268"/>
                    <a:pt x="124" y="268"/>
                    <a:pt x="127" y="268"/>
                  </a:cubicBezTo>
                  <a:lnTo>
                    <a:pt x="127" y="265"/>
                  </a:lnTo>
                  <a:lnTo>
                    <a:pt x="124" y="265"/>
                  </a:lnTo>
                  <a:cubicBezTo>
                    <a:pt x="124" y="265"/>
                    <a:pt x="124" y="262"/>
                    <a:pt x="121" y="259"/>
                  </a:cubicBezTo>
                  <a:lnTo>
                    <a:pt x="118" y="262"/>
                  </a:lnTo>
                  <a:lnTo>
                    <a:pt x="118" y="256"/>
                  </a:lnTo>
                  <a:lnTo>
                    <a:pt x="118" y="254"/>
                  </a:lnTo>
                  <a:lnTo>
                    <a:pt x="118" y="251"/>
                  </a:lnTo>
                  <a:cubicBezTo>
                    <a:pt x="118" y="251"/>
                    <a:pt x="115" y="251"/>
                    <a:pt x="115" y="248"/>
                  </a:cubicBezTo>
                  <a:lnTo>
                    <a:pt x="112" y="245"/>
                  </a:lnTo>
                  <a:cubicBezTo>
                    <a:pt x="114" y="243"/>
                    <a:pt x="115" y="241"/>
                    <a:pt x="116" y="240"/>
                  </a:cubicBezTo>
                  <a:cubicBezTo>
                    <a:pt x="116" y="240"/>
                    <a:pt x="116" y="240"/>
                    <a:pt x="115" y="240"/>
                  </a:cubicBezTo>
                  <a:lnTo>
                    <a:pt x="118" y="237"/>
                  </a:lnTo>
                  <a:lnTo>
                    <a:pt x="118" y="234"/>
                  </a:lnTo>
                  <a:lnTo>
                    <a:pt x="115" y="225"/>
                  </a:lnTo>
                  <a:cubicBezTo>
                    <a:pt x="115" y="225"/>
                    <a:pt x="112" y="225"/>
                    <a:pt x="112" y="228"/>
                  </a:cubicBezTo>
                  <a:lnTo>
                    <a:pt x="107" y="228"/>
                  </a:lnTo>
                  <a:lnTo>
                    <a:pt x="107" y="231"/>
                  </a:lnTo>
                  <a:lnTo>
                    <a:pt x="101" y="231"/>
                  </a:lnTo>
                  <a:lnTo>
                    <a:pt x="101" y="228"/>
                  </a:lnTo>
                  <a:lnTo>
                    <a:pt x="101" y="225"/>
                  </a:lnTo>
                  <a:lnTo>
                    <a:pt x="104" y="225"/>
                  </a:lnTo>
                  <a:lnTo>
                    <a:pt x="101" y="223"/>
                  </a:lnTo>
                  <a:lnTo>
                    <a:pt x="98" y="220"/>
                  </a:lnTo>
                  <a:cubicBezTo>
                    <a:pt x="101" y="217"/>
                    <a:pt x="101" y="217"/>
                    <a:pt x="101" y="214"/>
                  </a:cubicBezTo>
                  <a:lnTo>
                    <a:pt x="104" y="211"/>
                  </a:lnTo>
                  <a:lnTo>
                    <a:pt x="101" y="209"/>
                  </a:lnTo>
                  <a:lnTo>
                    <a:pt x="98" y="209"/>
                  </a:lnTo>
                  <a:lnTo>
                    <a:pt x="93" y="209"/>
                  </a:lnTo>
                  <a:cubicBezTo>
                    <a:pt x="93" y="203"/>
                    <a:pt x="90" y="200"/>
                    <a:pt x="87" y="197"/>
                  </a:cubicBezTo>
                  <a:lnTo>
                    <a:pt x="79" y="200"/>
                  </a:lnTo>
                  <a:lnTo>
                    <a:pt x="79" y="200"/>
                  </a:lnTo>
                  <a:lnTo>
                    <a:pt x="79" y="200"/>
                  </a:lnTo>
                  <a:lnTo>
                    <a:pt x="81" y="206"/>
                  </a:lnTo>
                  <a:cubicBezTo>
                    <a:pt x="81" y="209"/>
                    <a:pt x="81" y="209"/>
                    <a:pt x="84" y="211"/>
                  </a:cubicBezTo>
                  <a:lnTo>
                    <a:pt x="84" y="214"/>
                  </a:lnTo>
                  <a:lnTo>
                    <a:pt x="87" y="214"/>
                  </a:lnTo>
                  <a:lnTo>
                    <a:pt x="90" y="214"/>
                  </a:lnTo>
                  <a:lnTo>
                    <a:pt x="93" y="211"/>
                  </a:lnTo>
                  <a:lnTo>
                    <a:pt x="96" y="211"/>
                  </a:lnTo>
                  <a:lnTo>
                    <a:pt x="98" y="211"/>
                  </a:lnTo>
                  <a:cubicBezTo>
                    <a:pt x="98" y="211"/>
                    <a:pt x="98" y="214"/>
                    <a:pt x="96" y="214"/>
                  </a:cubicBezTo>
                  <a:lnTo>
                    <a:pt x="98" y="220"/>
                  </a:lnTo>
                  <a:cubicBezTo>
                    <a:pt x="98" y="223"/>
                    <a:pt x="98" y="223"/>
                    <a:pt x="101" y="225"/>
                  </a:cubicBezTo>
                  <a:cubicBezTo>
                    <a:pt x="98" y="225"/>
                    <a:pt x="98" y="225"/>
                    <a:pt x="96" y="228"/>
                  </a:cubicBezTo>
                  <a:cubicBezTo>
                    <a:pt x="93" y="228"/>
                    <a:pt x="93" y="228"/>
                    <a:pt x="90" y="231"/>
                  </a:cubicBezTo>
                  <a:lnTo>
                    <a:pt x="90" y="228"/>
                  </a:lnTo>
                  <a:cubicBezTo>
                    <a:pt x="90" y="228"/>
                    <a:pt x="90" y="227"/>
                    <a:pt x="89" y="227"/>
                  </a:cubicBezTo>
                  <a:lnTo>
                    <a:pt x="93" y="228"/>
                  </a:lnTo>
                  <a:lnTo>
                    <a:pt x="90" y="220"/>
                  </a:lnTo>
                  <a:lnTo>
                    <a:pt x="87" y="220"/>
                  </a:lnTo>
                  <a:lnTo>
                    <a:pt x="84" y="220"/>
                  </a:lnTo>
                  <a:lnTo>
                    <a:pt x="84" y="223"/>
                  </a:lnTo>
                  <a:cubicBezTo>
                    <a:pt x="81" y="223"/>
                    <a:pt x="79" y="220"/>
                    <a:pt x="79" y="220"/>
                  </a:cubicBezTo>
                  <a:lnTo>
                    <a:pt x="73" y="223"/>
                  </a:lnTo>
                  <a:cubicBezTo>
                    <a:pt x="73" y="221"/>
                    <a:pt x="73" y="219"/>
                    <a:pt x="74" y="217"/>
                  </a:cubicBezTo>
                  <a:lnTo>
                    <a:pt x="73" y="217"/>
                  </a:lnTo>
                  <a:lnTo>
                    <a:pt x="73" y="217"/>
                  </a:lnTo>
                  <a:cubicBezTo>
                    <a:pt x="70" y="217"/>
                    <a:pt x="70" y="220"/>
                    <a:pt x="70" y="220"/>
                  </a:cubicBezTo>
                  <a:lnTo>
                    <a:pt x="67" y="223"/>
                  </a:lnTo>
                  <a:lnTo>
                    <a:pt x="70" y="225"/>
                  </a:lnTo>
                  <a:cubicBezTo>
                    <a:pt x="62" y="231"/>
                    <a:pt x="59" y="237"/>
                    <a:pt x="56" y="237"/>
                  </a:cubicBezTo>
                  <a:cubicBezTo>
                    <a:pt x="56" y="237"/>
                    <a:pt x="56" y="240"/>
                    <a:pt x="53" y="240"/>
                  </a:cubicBezTo>
                  <a:lnTo>
                    <a:pt x="53" y="245"/>
                  </a:lnTo>
                  <a:lnTo>
                    <a:pt x="59" y="245"/>
                  </a:lnTo>
                  <a:lnTo>
                    <a:pt x="64" y="245"/>
                  </a:lnTo>
                  <a:lnTo>
                    <a:pt x="64" y="248"/>
                  </a:lnTo>
                  <a:lnTo>
                    <a:pt x="64" y="251"/>
                  </a:lnTo>
                  <a:lnTo>
                    <a:pt x="67" y="251"/>
                  </a:lnTo>
                  <a:lnTo>
                    <a:pt x="70" y="251"/>
                  </a:lnTo>
                  <a:cubicBezTo>
                    <a:pt x="73" y="251"/>
                    <a:pt x="76" y="248"/>
                    <a:pt x="76" y="248"/>
                  </a:cubicBezTo>
                  <a:cubicBezTo>
                    <a:pt x="76" y="251"/>
                    <a:pt x="76" y="254"/>
                    <a:pt x="73" y="256"/>
                  </a:cubicBezTo>
                  <a:cubicBezTo>
                    <a:pt x="73" y="259"/>
                    <a:pt x="70" y="259"/>
                    <a:pt x="70" y="262"/>
                  </a:cubicBezTo>
                  <a:lnTo>
                    <a:pt x="62" y="262"/>
                  </a:lnTo>
                  <a:lnTo>
                    <a:pt x="62" y="265"/>
                  </a:lnTo>
                  <a:cubicBezTo>
                    <a:pt x="64" y="265"/>
                    <a:pt x="67" y="265"/>
                    <a:pt x="70" y="268"/>
                  </a:cubicBezTo>
                  <a:cubicBezTo>
                    <a:pt x="70" y="268"/>
                    <a:pt x="70" y="265"/>
                    <a:pt x="73" y="265"/>
                  </a:cubicBezTo>
                  <a:lnTo>
                    <a:pt x="76" y="268"/>
                  </a:lnTo>
                  <a:cubicBezTo>
                    <a:pt x="79" y="268"/>
                    <a:pt x="79" y="265"/>
                    <a:pt x="79" y="265"/>
                  </a:cubicBezTo>
                  <a:cubicBezTo>
                    <a:pt x="79" y="265"/>
                    <a:pt x="79" y="262"/>
                    <a:pt x="81" y="262"/>
                  </a:cubicBezTo>
                  <a:lnTo>
                    <a:pt x="81" y="265"/>
                  </a:lnTo>
                  <a:lnTo>
                    <a:pt x="81" y="268"/>
                  </a:lnTo>
                  <a:lnTo>
                    <a:pt x="81" y="271"/>
                  </a:lnTo>
                  <a:cubicBezTo>
                    <a:pt x="81" y="271"/>
                    <a:pt x="81" y="273"/>
                    <a:pt x="79" y="273"/>
                  </a:cubicBezTo>
                  <a:lnTo>
                    <a:pt x="81" y="276"/>
                  </a:lnTo>
                  <a:lnTo>
                    <a:pt x="81" y="273"/>
                  </a:lnTo>
                  <a:lnTo>
                    <a:pt x="81" y="271"/>
                  </a:lnTo>
                  <a:lnTo>
                    <a:pt x="87" y="271"/>
                  </a:lnTo>
                  <a:cubicBezTo>
                    <a:pt x="87" y="271"/>
                    <a:pt x="87" y="268"/>
                    <a:pt x="90" y="268"/>
                  </a:cubicBezTo>
                  <a:cubicBezTo>
                    <a:pt x="93" y="268"/>
                    <a:pt x="90" y="268"/>
                    <a:pt x="93" y="265"/>
                  </a:cubicBezTo>
                  <a:lnTo>
                    <a:pt x="93" y="273"/>
                  </a:lnTo>
                  <a:lnTo>
                    <a:pt x="93" y="282"/>
                  </a:lnTo>
                  <a:lnTo>
                    <a:pt x="96" y="282"/>
                  </a:lnTo>
                  <a:cubicBezTo>
                    <a:pt x="99" y="284"/>
                    <a:pt x="103" y="286"/>
                    <a:pt x="107" y="285"/>
                  </a:cubicBezTo>
                  <a:cubicBezTo>
                    <a:pt x="107" y="286"/>
                    <a:pt x="106" y="288"/>
                    <a:pt x="104" y="288"/>
                  </a:cubicBezTo>
                  <a:lnTo>
                    <a:pt x="104" y="292"/>
                  </a:lnTo>
                  <a:lnTo>
                    <a:pt x="110" y="295"/>
                  </a:lnTo>
                  <a:cubicBezTo>
                    <a:pt x="112" y="292"/>
                    <a:pt x="112" y="292"/>
                    <a:pt x="115" y="292"/>
                  </a:cubicBezTo>
                  <a:cubicBezTo>
                    <a:pt x="118" y="295"/>
                    <a:pt x="121" y="298"/>
                    <a:pt x="123" y="303"/>
                  </a:cubicBezTo>
                  <a:lnTo>
                    <a:pt x="127" y="298"/>
                  </a:lnTo>
                  <a:lnTo>
                    <a:pt x="127" y="289"/>
                  </a:lnTo>
                  <a:lnTo>
                    <a:pt x="124" y="289"/>
                  </a:lnTo>
                  <a:lnTo>
                    <a:pt x="121" y="289"/>
                  </a:lnTo>
                  <a:lnTo>
                    <a:pt x="129" y="288"/>
                  </a:lnTo>
                  <a:close/>
                  <a:moveTo>
                    <a:pt x="118" y="309"/>
                  </a:moveTo>
                  <a:cubicBezTo>
                    <a:pt x="115" y="309"/>
                    <a:pt x="115" y="309"/>
                    <a:pt x="112" y="306"/>
                  </a:cubicBezTo>
                  <a:lnTo>
                    <a:pt x="112" y="303"/>
                  </a:lnTo>
                  <a:lnTo>
                    <a:pt x="110" y="301"/>
                  </a:lnTo>
                  <a:cubicBezTo>
                    <a:pt x="110" y="301"/>
                    <a:pt x="110" y="298"/>
                    <a:pt x="107" y="298"/>
                  </a:cubicBezTo>
                  <a:lnTo>
                    <a:pt x="101" y="301"/>
                  </a:lnTo>
                  <a:lnTo>
                    <a:pt x="101" y="292"/>
                  </a:lnTo>
                  <a:cubicBezTo>
                    <a:pt x="98" y="292"/>
                    <a:pt x="96" y="292"/>
                    <a:pt x="96" y="289"/>
                  </a:cubicBezTo>
                  <a:lnTo>
                    <a:pt x="96" y="292"/>
                  </a:lnTo>
                  <a:lnTo>
                    <a:pt x="96" y="295"/>
                  </a:lnTo>
                  <a:lnTo>
                    <a:pt x="93" y="295"/>
                  </a:lnTo>
                  <a:lnTo>
                    <a:pt x="91" y="288"/>
                  </a:lnTo>
                  <a:lnTo>
                    <a:pt x="87" y="289"/>
                  </a:lnTo>
                  <a:lnTo>
                    <a:pt x="81" y="288"/>
                  </a:lnTo>
                  <a:lnTo>
                    <a:pt x="87" y="282"/>
                  </a:lnTo>
                  <a:cubicBezTo>
                    <a:pt x="87" y="279"/>
                    <a:pt x="90" y="279"/>
                    <a:pt x="90" y="276"/>
                  </a:cubicBezTo>
                  <a:lnTo>
                    <a:pt x="87" y="276"/>
                  </a:lnTo>
                  <a:cubicBezTo>
                    <a:pt x="84" y="279"/>
                    <a:pt x="81" y="276"/>
                    <a:pt x="79" y="276"/>
                  </a:cubicBezTo>
                  <a:lnTo>
                    <a:pt x="73" y="276"/>
                  </a:lnTo>
                  <a:lnTo>
                    <a:pt x="76" y="273"/>
                  </a:lnTo>
                  <a:cubicBezTo>
                    <a:pt x="76" y="271"/>
                    <a:pt x="76" y="271"/>
                    <a:pt x="79" y="268"/>
                  </a:cubicBezTo>
                  <a:lnTo>
                    <a:pt x="70" y="273"/>
                  </a:lnTo>
                  <a:cubicBezTo>
                    <a:pt x="67" y="276"/>
                    <a:pt x="64" y="279"/>
                    <a:pt x="62" y="279"/>
                  </a:cubicBezTo>
                  <a:lnTo>
                    <a:pt x="70" y="279"/>
                  </a:lnTo>
                  <a:lnTo>
                    <a:pt x="70" y="282"/>
                  </a:lnTo>
                  <a:lnTo>
                    <a:pt x="76" y="279"/>
                  </a:lnTo>
                  <a:lnTo>
                    <a:pt x="76" y="285"/>
                  </a:lnTo>
                  <a:cubicBezTo>
                    <a:pt x="73" y="285"/>
                    <a:pt x="73" y="288"/>
                    <a:pt x="73" y="288"/>
                  </a:cubicBezTo>
                  <a:cubicBezTo>
                    <a:pt x="81" y="288"/>
                    <a:pt x="81" y="288"/>
                    <a:pt x="84" y="295"/>
                  </a:cubicBezTo>
                  <a:cubicBezTo>
                    <a:pt x="81" y="292"/>
                    <a:pt x="76" y="292"/>
                    <a:pt x="70" y="295"/>
                  </a:cubicBezTo>
                  <a:lnTo>
                    <a:pt x="70" y="298"/>
                  </a:lnTo>
                  <a:lnTo>
                    <a:pt x="70" y="303"/>
                  </a:lnTo>
                  <a:lnTo>
                    <a:pt x="76" y="298"/>
                  </a:lnTo>
                  <a:lnTo>
                    <a:pt x="81" y="301"/>
                  </a:lnTo>
                  <a:lnTo>
                    <a:pt x="87" y="295"/>
                  </a:lnTo>
                  <a:cubicBezTo>
                    <a:pt x="90" y="295"/>
                    <a:pt x="90" y="298"/>
                    <a:pt x="90" y="298"/>
                  </a:cubicBezTo>
                  <a:lnTo>
                    <a:pt x="90" y="303"/>
                  </a:lnTo>
                  <a:cubicBezTo>
                    <a:pt x="90" y="303"/>
                    <a:pt x="93" y="301"/>
                    <a:pt x="96" y="301"/>
                  </a:cubicBezTo>
                  <a:lnTo>
                    <a:pt x="101" y="301"/>
                  </a:lnTo>
                  <a:lnTo>
                    <a:pt x="93" y="309"/>
                  </a:lnTo>
                  <a:lnTo>
                    <a:pt x="104" y="306"/>
                  </a:lnTo>
                  <a:lnTo>
                    <a:pt x="104" y="303"/>
                  </a:lnTo>
                  <a:cubicBezTo>
                    <a:pt x="104" y="303"/>
                    <a:pt x="104" y="301"/>
                    <a:pt x="107" y="301"/>
                  </a:cubicBezTo>
                  <a:lnTo>
                    <a:pt x="107" y="303"/>
                  </a:lnTo>
                  <a:lnTo>
                    <a:pt x="107" y="306"/>
                  </a:lnTo>
                  <a:cubicBezTo>
                    <a:pt x="107" y="306"/>
                    <a:pt x="107" y="309"/>
                    <a:pt x="110" y="309"/>
                  </a:cubicBezTo>
                  <a:lnTo>
                    <a:pt x="115" y="309"/>
                  </a:lnTo>
                  <a:lnTo>
                    <a:pt x="118" y="312"/>
                  </a:lnTo>
                  <a:lnTo>
                    <a:pt x="121" y="308"/>
                  </a:lnTo>
                  <a:cubicBezTo>
                    <a:pt x="120" y="309"/>
                    <a:pt x="119" y="309"/>
                    <a:pt x="118" y="309"/>
                  </a:cubicBezTo>
                  <a:close/>
                  <a:moveTo>
                    <a:pt x="115" y="256"/>
                  </a:moveTo>
                  <a:lnTo>
                    <a:pt x="118" y="254"/>
                  </a:lnTo>
                  <a:cubicBezTo>
                    <a:pt x="117" y="254"/>
                    <a:pt x="116" y="255"/>
                    <a:pt x="115" y="255"/>
                  </a:cubicBezTo>
                  <a:cubicBezTo>
                    <a:pt x="115" y="256"/>
                    <a:pt x="115" y="256"/>
                    <a:pt x="115" y="256"/>
                  </a:cubicBezTo>
                  <a:close/>
                  <a:moveTo>
                    <a:pt x="127" y="248"/>
                  </a:moveTo>
                  <a:lnTo>
                    <a:pt x="127" y="245"/>
                  </a:lnTo>
                  <a:lnTo>
                    <a:pt x="124" y="248"/>
                  </a:lnTo>
                  <a:lnTo>
                    <a:pt x="127" y="248"/>
                  </a:lnTo>
                  <a:close/>
                  <a:moveTo>
                    <a:pt x="87" y="225"/>
                  </a:moveTo>
                  <a:lnTo>
                    <a:pt x="89" y="227"/>
                  </a:lnTo>
                  <a:cubicBezTo>
                    <a:pt x="89" y="226"/>
                    <a:pt x="88" y="225"/>
                    <a:pt x="87" y="225"/>
                  </a:cubicBezTo>
                  <a:close/>
                  <a:moveTo>
                    <a:pt x="84" y="217"/>
                  </a:moveTo>
                  <a:lnTo>
                    <a:pt x="84" y="217"/>
                  </a:lnTo>
                  <a:lnTo>
                    <a:pt x="84" y="214"/>
                  </a:lnTo>
                  <a:cubicBezTo>
                    <a:pt x="81" y="211"/>
                    <a:pt x="81" y="211"/>
                    <a:pt x="79" y="211"/>
                  </a:cubicBezTo>
                  <a:lnTo>
                    <a:pt x="79" y="213"/>
                  </a:lnTo>
                  <a:cubicBezTo>
                    <a:pt x="80" y="214"/>
                    <a:pt x="82" y="215"/>
                    <a:pt x="84" y="217"/>
                  </a:cubicBezTo>
                  <a:lnTo>
                    <a:pt x="84" y="220"/>
                  </a:lnTo>
                  <a:lnTo>
                    <a:pt x="84" y="217"/>
                  </a:lnTo>
                  <a:close/>
                  <a:moveTo>
                    <a:pt x="76" y="209"/>
                  </a:moveTo>
                  <a:lnTo>
                    <a:pt x="79" y="206"/>
                  </a:lnTo>
                  <a:cubicBezTo>
                    <a:pt x="81" y="203"/>
                    <a:pt x="79" y="206"/>
                    <a:pt x="79" y="206"/>
                  </a:cubicBezTo>
                  <a:lnTo>
                    <a:pt x="76" y="203"/>
                  </a:lnTo>
                  <a:lnTo>
                    <a:pt x="73" y="200"/>
                  </a:lnTo>
                  <a:lnTo>
                    <a:pt x="70" y="204"/>
                  </a:lnTo>
                  <a:lnTo>
                    <a:pt x="70" y="206"/>
                  </a:lnTo>
                  <a:lnTo>
                    <a:pt x="70" y="211"/>
                  </a:lnTo>
                  <a:lnTo>
                    <a:pt x="76" y="211"/>
                  </a:lnTo>
                  <a:lnTo>
                    <a:pt x="76" y="209"/>
                  </a:lnTo>
                  <a:close/>
                  <a:moveTo>
                    <a:pt x="62" y="206"/>
                  </a:moveTo>
                  <a:lnTo>
                    <a:pt x="62" y="209"/>
                  </a:lnTo>
                  <a:lnTo>
                    <a:pt x="62" y="209"/>
                  </a:lnTo>
                  <a:cubicBezTo>
                    <a:pt x="64" y="209"/>
                    <a:pt x="64" y="209"/>
                    <a:pt x="64" y="207"/>
                  </a:cubicBezTo>
                  <a:cubicBezTo>
                    <a:pt x="64" y="206"/>
                    <a:pt x="63" y="206"/>
                    <a:pt x="62" y="206"/>
                  </a:cubicBezTo>
                  <a:close/>
                  <a:moveTo>
                    <a:pt x="59" y="206"/>
                  </a:moveTo>
                  <a:cubicBezTo>
                    <a:pt x="62" y="206"/>
                    <a:pt x="62" y="203"/>
                    <a:pt x="64" y="203"/>
                  </a:cubicBezTo>
                  <a:lnTo>
                    <a:pt x="64" y="200"/>
                  </a:lnTo>
                  <a:lnTo>
                    <a:pt x="67" y="200"/>
                  </a:lnTo>
                  <a:lnTo>
                    <a:pt x="62" y="200"/>
                  </a:lnTo>
                  <a:cubicBezTo>
                    <a:pt x="59" y="200"/>
                    <a:pt x="59" y="203"/>
                    <a:pt x="56" y="200"/>
                  </a:cubicBezTo>
                  <a:lnTo>
                    <a:pt x="53" y="203"/>
                  </a:lnTo>
                  <a:lnTo>
                    <a:pt x="50" y="203"/>
                  </a:lnTo>
                  <a:lnTo>
                    <a:pt x="48" y="203"/>
                  </a:lnTo>
                  <a:lnTo>
                    <a:pt x="45" y="200"/>
                  </a:lnTo>
                  <a:cubicBezTo>
                    <a:pt x="45" y="200"/>
                    <a:pt x="45" y="197"/>
                    <a:pt x="42" y="197"/>
                  </a:cubicBezTo>
                  <a:cubicBezTo>
                    <a:pt x="42" y="197"/>
                    <a:pt x="42" y="194"/>
                    <a:pt x="45" y="194"/>
                  </a:cubicBezTo>
                  <a:lnTo>
                    <a:pt x="45" y="189"/>
                  </a:lnTo>
                  <a:cubicBezTo>
                    <a:pt x="42" y="189"/>
                    <a:pt x="42" y="192"/>
                    <a:pt x="39" y="192"/>
                  </a:cubicBezTo>
                  <a:cubicBezTo>
                    <a:pt x="36" y="192"/>
                    <a:pt x="36" y="194"/>
                    <a:pt x="33" y="194"/>
                  </a:cubicBezTo>
                  <a:lnTo>
                    <a:pt x="39" y="197"/>
                  </a:lnTo>
                  <a:lnTo>
                    <a:pt x="39" y="203"/>
                  </a:lnTo>
                  <a:lnTo>
                    <a:pt x="45" y="203"/>
                  </a:lnTo>
                  <a:lnTo>
                    <a:pt x="45" y="206"/>
                  </a:lnTo>
                  <a:lnTo>
                    <a:pt x="39" y="206"/>
                  </a:lnTo>
                  <a:lnTo>
                    <a:pt x="39" y="211"/>
                  </a:lnTo>
                  <a:cubicBezTo>
                    <a:pt x="41" y="213"/>
                    <a:pt x="42" y="214"/>
                    <a:pt x="43" y="214"/>
                  </a:cubicBezTo>
                  <a:lnTo>
                    <a:pt x="51" y="210"/>
                  </a:lnTo>
                  <a:lnTo>
                    <a:pt x="53" y="217"/>
                  </a:lnTo>
                  <a:lnTo>
                    <a:pt x="59" y="214"/>
                  </a:lnTo>
                  <a:lnTo>
                    <a:pt x="59" y="206"/>
                  </a:lnTo>
                  <a:close/>
                  <a:moveTo>
                    <a:pt x="53" y="209"/>
                  </a:moveTo>
                  <a:lnTo>
                    <a:pt x="50" y="209"/>
                  </a:lnTo>
                  <a:lnTo>
                    <a:pt x="51" y="210"/>
                  </a:lnTo>
                  <a:lnTo>
                    <a:pt x="53" y="209"/>
                  </a:lnTo>
                  <a:close/>
                  <a:moveTo>
                    <a:pt x="64" y="282"/>
                  </a:moveTo>
                  <a:lnTo>
                    <a:pt x="64" y="285"/>
                  </a:lnTo>
                  <a:cubicBezTo>
                    <a:pt x="66" y="285"/>
                    <a:pt x="68" y="283"/>
                    <a:pt x="69" y="282"/>
                  </a:cubicBezTo>
                  <a:lnTo>
                    <a:pt x="64" y="282"/>
                  </a:lnTo>
                  <a:close/>
                  <a:moveTo>
                    <a:pt x="56" y="228"/>
                  </a:moveTo>
                  <a:lnTo>
                    <a:pt x="59" y="231"/>
                  </a:lnTo>
                  <a:cubicBezTo>
                    <a:pt x="59" y="225"/>
                    <a:pt x="56" y="225"/>
                    <a:pt x="50" y="225"/>
                  </a:cubicBezTo>
                  <a:cubicBezTo>
                    <a:pt x="53" y="225"/>
                    <a:pt x="53" y="225"/>
                    <a:pt x="56" y="228"/>
                  </a:cubicBezTo>
                  <a:close/>
                  <a:moveTo>
                    <a:pt x="59" y="163"/>
                  </a:moveTo>
                  <a:cubicBezTo>
                    <a:pt x="59" y="161"/>
                    <a:pt x="56" y="161"/>
                    <a:pt x="53" y="161"/>
                  </a:cubicBezTo>
                  <a:lnTo>
                    <a:pt x="53" y="166"/>
                  </a:lnTo>
                  <a:cubicBezTo>
                    <a:pt x="56" y="166"/>
                    <a:pt x="56" y="166"/>
                    <a:pt x="59" y="163"/>
                  </a:cubicBezTo>
                  <a:close/>
                  <a:moveTo>
                    <a:pt x="62" y="172"/>
                  </a:moveTo>
                  <a:lnTo>
                    <a:pt x="59" y="175"/>
                  </a:lnTo>
                  <a:lnTo>
                    <a:pt x="62" y="175"/>
                  </a:lnTo>
                  <a:lnTo>
                    <a:pt x="67" y="169"/>
                  </a:lnTo>
                  <a:cubicBezTo>
                    <a:pt x="67" y="169"/>
                    <a:pt x="64" y="169"/>
                    <a:pt x="64" y="166"/>
                  </a:cubicBezTo>
                  <a:cubicBezTo>
                    <a:pt x="64" y="172"/>
                    <a:pt x="64" y="172"/>
                    <a:pt x="62" y="172"/>
                  </a:cubicBezTo>
                  <a:close/>
                  <a:moveTo>
                    <a:pt x="67" y="180"/>
                  </a:moveTo>
                  <a:cubicBezTo>
                    <a:pt x="64" y="180"/>
                    <a:pt x="64" y="183"/>
                    <a:pt x="62" y="183"/>
                  </a:cubicBezTo>
                  <a:lnTo>
                    <a:pt x="62" y="186"/>
                  </a:lnTo>
                  <a:lnTo>
                    <a:pt x="67" y="180"/>
                  </a:lnTo>
                  <a:lnTo>
                    <a:pt x="70" y="186"/>
                  </a:lnTo>
                  <a:cubicBezTo>
                    <a:pt x="73" y="183"/>
                    <a:pt x="76" y="180"/>
                    <a:pt x="70" y="177"/>
                  </a:cubicBezTo>
                  <a:lnTo>
                    <a:pt x="67" y="180"/>
                  </a:lnTo>
                  <a:close/>
                  <a:moveTo>
                    <a:pt x="98" y="320"/>
                  </a:moveTo>
                  <a:cubicBezTo>
                    <a:pt x="96" y="318"/>
                    <a:pt x="96" y="315"/>
                    <a:pt x="93" y="312"/>
                  </a:cubicBezTo>
                  <a:cubicBezTo>
                    <a:pt x="90" y="309"/>
                    <a:pt x="90" y="306"/>
                    <a:pt x="87" y="306"/>
                  </a:cubicBezTo>
                  <a:lnTo>
                    <a:pt x="84" y="306"/>
                  </a:lnTo>
                  <a:lnTo>
                    <a:pt x="81" y="306"/>
                  </a:lnTo>
                  <a:lnTo>
                    <a:pt x="81" y="301"/>
                  </a:lnTo>
                  <a:lnTo>
                    <a:pt x="70" y="303"/>
                  </a:lnTo>
                  <a:cubicBezTo>
                    <a:pt x="73" y="306"/>
                    <a:pt x="73" y="306"/>
                    <a:pt x="76" y="306"/>
                  </a:cubicBezTo>
                  <a:lnTo>
                    <a:pt x="73" y="315"/>
                  </a:lnTo>
                  <a:lnTo>
                    <a:pt x="79" y="315"/>
                  </a:lnTo>
                  <a:cubicBezTo>
                    <a:pt x="81" y="320"/>
                    <a:pt x="87" y="320"/>
                    <a:pt x="87" y="315"/>
                  </a:cubicBezTo>
                  <a:cubicBezTo>
                    <a:pt x="90" y="315"/>
                    <a:pt x="90" y="318"/>
                    <a:pt x="90" y="320"/>
                  </a:cubicBezTo>
                  <a:lnTo>
                    <a:pt x="87" y="323"/>
                  </a:lnTo>
                  <a:cubicBezTo>
                    <a:pt x="84" y="323"/>
                    <a:pt x="81" y="323"/>
                    <a:pt x="81" y="320"/>
                  </a:cubicBezTo>
                  <a:cubicBezTo>
                    <a:pt x="81" y="318"/>
                    <a:pt x="79" y="318"/>
                    <a:pt x="76" y="320"/>
                  </a:cubicBezTo>
                  <a:cubicBezTo>
                    <a:pt x="79" y="323"/>
                    <a:pt x="81" y="323"/>
                    <a:pt x="87" y="326"/>
                  </a:cubicBezTo>
                  <a:lnTo>
                    <a:pt x="87" y="332"/>
                  </a:lnTo>
                  <a:lnTo>
                    <a:pt x="90" y="332"/>
                  </a:lnTo>
                  <a:lnTo>
                    <a:pt x="93" y="334"/>
                  </a:lnTo>
                  <a:lnTo>
                    <a:pt x="93" y="329"/>
                  </a:lnTo>
                  <a:lnTo>
                    <a:pt x="93" y="323"/>
                  </a:lnTo>
                  <a:cubicBezTo>
                    <a:pt x="93" y="320"/>
                    <a:pt x="96" y="320"/>
                    <a:pt x="98" y="320"/>
                  </a:cubicBezTo>
                  <a:close/>
                  <a:moveTo>
                    <a:pt x="73" y="332"/>
                  </a:moveTo>
                  <a:lnTo>
                    <a:pt x="79" y="332"/>
                  </a:lnTo>
                  <a:cubicBezTo>
                    <a:pt x="79" y="332"/>
                    <a:pt x="81" y="332"/>
                    <a:pt x="81" y="329"/>
                  </a:cubicBezTo>
                  <a:lnTo>
                    <a:pt x="79" y="326"/>
                  </a:lnTo>
                  <a:cubicBezTo>
                    <a:pt x="76" y="329"/>
                    <a:pt x="76" y="332"/>
                    <a:pt x="73" y="332"/>
                  </a:cubicBezTo>
                  <a:close/>
                  <a:moveTo>
                    <a:pt x="76" y="349"/>
                  </a:moveTo>
                  <a:cubicBezTo>
                    <a:pt x="79" y="351"/>
                    <a:pt x="79" y="351"/>
                    <a:pt x="79" y="349"/>
                  </a:cubicBezTo>
                  <a:lnTo>
                    <a:pt x="76" y="349"/>
                  </a:lnTo>
                  <a:close/>
                  <a:moveTo>
                    <a:pt x="79" y="368"/>
                  </a:moveTo>
                  <a:lnTo>
                    <a:pt x="84" y="368"/>
                  </a:lnTo>
                  <a:lnTo>
                    <a:pt x="84" y="363"/>
                  </a:lnTo>
                  <a:cubicBezTo>
                    <a:pt x="79" y="365"/>
                    <a:pt x="76" y="365"/>
                    <a:pt x="79" y="368"/>
                  </a:cubicBezTo>
                  <a:close/>
                  <a:moveTo>
                    <a:pt x="84" y="346"/>
                  </a:moveTo>
                  <a:lnTo>
                    <a:pt x="84" y="340"/>
                  </a:lnTo>
                  <a:lnTo>
                    <a:pt x="84" y="334"/>
                  </a:lnTo>
                  <a:cubicBezTo>
                    <a:pt x="79" y="340"/>
                    <a:pt x="79" y="340"/>
                    <a:pt x="84" y="346"/>
                  </a:cubicBezTo>
                  <a:close/>
                  <a:moveTo>
                    <a:pt x="90" y="394"/>
                  </a:moveTo>
                  <a:cubicBezTo>
                    <a:pt x="90" y="388"/>
                    <a:pt x="90" y="388"/>
                    <a:pt x="87" y="388"/>
                  </a:cubicBezTo>
                  <a:lnTo>
                    <a:pt x="87" y="391"/>
                  </a:lnTo>
                  <a:lnTo>
                    <a:pt x="87" y="392"/>
                  </a:lnTo>
                  <a:cubicBezTo>
                    <a:pt x="88" y="392"/>
                    <a:pt x="89" y="393"/>
                    <a:pt x="90" y="394"/>
                  </a:cubicBezTo>
                  <a:close/>
                  <a:moveTo>
                    <a:pt x="87" y="411"/>
                  </a:moveTo>
                  <a:cubicBezTo>
                    <a:pt x="90" y="411"/>
                    <a:pt x="90" y="413"/>
                    <a:pt x="93" y="413"/>
                  </a:cubicBezTo>
                  <a:cubicBezTo>
                    <a:pt x="90" y="405"/>
                    <a:pt x="90" y="405"/>
                    <a:pt x="84" y="405"/>
                  </a:cubicBezTo>
                  <a:cubicBezTo>
                    <a:pt x="84" y="408"/>
                    <a:pt x="84" y="411"/>
                    <a:pt x="87" y="411"/>
                  </a:cubicBezTo>
                  <a:close/>
                  <a:moveTo>
                    <a:pt x="87" y="399"/>
                  </a:moveTo>
                  <a:cubicBezTo>
                    <a:pt x="87" y="399"/>
                    <a:pt x="84" y="399"/>
                    <a:pt x="87" y="399"/>
                  </a:cubicBezTo>
                  <a:lnTo>
                    <a:pt x="87" y="405"/>
                  </a:lnTo>
                  <a:lnTo>
                    <a:pt x="90" y="405"/>
                  </a:lnTo>
                  <a:lnTo>
                    <a:pt x="87" y="399"/>
                  </a:lnTo>
                  <a:close/>
                  <a:moveTo>
                    <a:pt x="98" y="428"/>
                  </a:moveTo>
                  <a:lnTo>
                    <a:pt x="96" y="425"/>
                  </a:lnTo>
                  <a:lnTo>
                    <a:pt x="93" y="422"/>
                  </a:lnTo>
                  <a:lnTo>
                    <a:pt x="90" y="422"/>
                  </a:lnTo>
                  <a:lnTo>
                    <a:pt x="93" y="425"/>
                  </a:lnTo>
                  <a:cubicBezTo>
                    <a:pt x="93" y="425"/>
                    <a:pt x="93" y="428"/>
                    <a:pt x="96" y="428"/>
                  </a:cubicBezTo>
                  <a:cubicBezTo>
                    <a:pt x="96" y="430"/>
                    <a:pt x="96" y="430"/>
                    <a:pt x="98" y="428"/>
                  </a:cubicBezTo>
                  <a:close/>
                  <a:moveTo>
                    <a:pt x="90" y="175"/>
                  </a:moveTo>
                  <a:lnTo>
                    <a:pt x="96" y="180"/>
                  </a:lnTo>
                  <a:cubicBezTo>
                    <a:pt x="98" y="180"/>
                    <a:pt x="98" y="183"/>
                    <a:pt x="98" y="183"/>
                  </a:cubicBezTo>
                  <a:lnTo>
                    <a:pt x="101" y="180"/>
                  </a:lnTo>
                  <a:lnTo>
                    <a:pt x="104" y="177"/>
                  </a:lnTo>
                  <a:cubicBezTo>
                    <a:pt x="101" y="175"/>
                    <a:pt x="101" y="172"/>
                    <a:pt x="98" y="169"/>
                  </a:cubicBezTo>
                  <a:lnTo>
                    <a:pt x="96" y="172"/>
                  </a:lnTo>
                  <a:cubicBezTo>
                    <a:pt x="96" y="175"/>
                    <a:pt x="93" y="175"/>
                    <a:pt x="90" y="175"/>
                  </a:cubicBezTo>
                  <a:close/>
                  <a:moveTo>
                    <a:pt x="93" y="391"/>
                  </a:moveTo>
                  <a:cubicBezTo>
                    <a:pt x="93" y="392"/>
                    <a:pt x="93" y="392"/>
                    <a:pt x="94" y="393"/>
                  </a:cubicBezTo>
                  <a:cubicBezTo>
                    <a:pt x="93" y="392"/>
                    <a:pt x="93" y="391"/>
                    <a:pt x="93" y="391"/>
                  </a:cubicBezTo>
                  <a:close/>
                  <a:moveTo>
                    <a:pt x="107" y="309"/>
                  </a:moveTo>
                  <a:lnTo>
                    <a:pt x="104" y="309"/>
                  </a:lnTo>
                  <a:lnTo>
                    <a:pt x="104" y="315"/>
                  </a:lnTo>
                  <a:cubicBezTo>
                    <a:pt x="104" y="312"/>
                    <a:pt x="107" y="312"/>
                    <a:pt x="107" y="309"/>
                  </a:cubicBezTo>
                  <a:close/>
                  <a:moveTo>
                    <a:pt x="112" y="200"/>
                  </a:moveTo>
                  <a:lnTo>
                    <a:pt x="115" y="197"/>
                  </a:lnTo>
                  <a:cubicBezTo>
                    <a:pt x="115" y="197"/>
                    <a:pt x="112" y="197"/>
                    <a:pt x="112" y="200"/>
                  </a:cubicBezTo>
                  <a:close/>
                  <a:moveTo>
                    <a:pt x="121" y="217"/>
                  </a:moveTo>
                  <a:lnTo>
                    <a:pt x="118" y="214"/>
                  </a:lnTo>
                  <a:lnTo>
                    <a:pt x="118" y="217"/>
                  </a:lnTo>
                  <a:cubicBezTo>
                    <a:pt x="118" y="214"/>
                    <a:pt x="118" y="217"/>
                    <a:pt x="121" y="217"/>
                  </a:cubicBezTo>
                  <a:lnTo>
                    <a:pt x="118" y="223"/>
                  </a:lnTo>
                  <a:lnTo>
                    <a:pt x="121" y="223"/>
                  </a:lnTo>
                  <a:lnTo>
                    <a:pt x="124" y="223"/>
                  </a:lnTo>
                  <a:cubicBezTo>
                    <a:pt x="124" y="220"/>
                    <a:pt x="121" y="217"/>
                    <a:pt x="121" y="217"/>
                  </a:cubicBezTo>
                  <a:close/>
                  <a:moveTo>
                    <a:pt x="129" y="276"/>
                  </a:moveTo>
                  <a:cubicBezTo>
                    <a:pt x="129" y="276"/>
                    <a:pt x="129" y="279"/>
                    <a:pt x="127" y="279"/>
                  </a:cubicBezTo>
                  <a:lnTo>
                    <a:pt x="129" y="279"/>
                  </a:lnTo>
                  <a:lnTo>
                    <a:pt x="132" y="279"/>
                  </a:lnTo>
                  <a:cubicBezTo>
                    <a:pt x="132" y="276"/>
                    <a:pt x="132" y="276"/>
                    <a:pt x="135" y="273"/>
                  </a:cubicBezTo>
                  <a:cubicBezTo>
                    <a:pt x="138" y="276"/>
                    <a:pt x="138" y="279"/>
                    <a:pt x="141" y="279"/>
                  </a:cubicBezTo>
                  <a:cubicBezTo>
                    <a:pt x="141" y="279"/>
                    <a:pt x="141" y="276"/>
                    <a:pt x="138" y="273"/>
                  </a:cubicBezTo>
                  <a:lnTo>
                    <a:pt x="135" y="268"/>
                  </a:lnTo>
                  <a:cubicBezTo>
                    <a:pt x="132" y="268"/>
                    <a:pt x="129" y="271"/>
                    <a:pt x="129" y="276"/>
                  </a:cubicBezTo>
                  <a:close/>
                  <a:moveTo>
                    <a:pt x="138" y="268"/>
                  </a:moveTo>
                  <a:lnTo>
                    <a:pt x="141" y="268"/>
                  </a:lnTo>
                  <a:lnTo>
                    <a:pt x="141" y="265"/>
                  </a:lnTo>
                  <a:cubicBezTo>
                    <a:pt x="138" y="268"/>
                    <a:pt x="135" y="268"/>
                    <a:pt x="135" y="268"/>
                  </a:cubicBezTo>
                  <a:lnTo>
                    <a:pt x="138" y="268"/>
                  </a:lnTo>
                  <a:close/>
                  <a:moveTo>
                    <a:pt x="132" y="259"/>
                  </a:moveTo>
                  <a:cubicBezTo>
                    <a:pt x="132" y="259"/>
                    <a:pt x="135" y="259"/>
                    <a:pt x="135" y="256"/>
                  </a:cubicBezTo>
                  <a:cubicBezTo>
                    <a:pt x="132" y="256"/>
                    <a:pt x="132" y="254"/>
                    <a:pt x="129" y="254"/>
                  </a:cubicBezTo>
                  <a:cubicBezTo>
                    <a:pt x="129" y="256"/>
                    <a:pt x="129" y="259"/>
                    <a:pt x="132" y="259"/>
                  </a:cubicBezTo>
                  <a:cubicBezTo>
                    <a:pt x="129" y="262"/>
                    <a:pt x="132" y="265"/>
                    <a:pt x="132" y="265"/>
                  </a:cubicBezTo>
                  <a:lnTo>
                    <a:pt x="135" y="265"/>
                  </a:lnTo>
                  <a:cubicBezTo>
                    <a:pt x="135" y="265"/>
                    <a:pt x="135" y="262"/>
                    <a:pt x="132" y="259"/>
                  </a:cubicBezTo>
                  <a:close/>
                  <a:moveTo>
                    <a:pt x="149" y="320"/>
                  </a:moveTo>
                  <a:lnTo>
                    <a:pt x="149" y="318"/>
                  </a:lnTo>
                  <a:lnTo>
                    <a:pt x="146" y="320"/>
                  </a:lnTo>
                  <a:lnTo>
                    <a:pt x="146" y="321"/>
                  </a:lnTo>
                  <a:cubicBezTo>
                    <a:pt x="148" y="320"/>
                    <a:pt x="149" y="320"/>
                    <a:pt x="149" y="320"/>
                  </a:cubicBezTo>
                  <a:close/>
                  <a:moveTo>
                    <a:pt x="144" y="323"/>
                  </a:moveTo>
                  <a:cubicBezTo>
                    <a:pt x="144" y="322"/>
                    <a:pt x="145" y="322"/>
                    <a:pt x="146" y="321"/>
                  </a:cubicBezTo>
                  <a:lnTo>
                    <a:pt x="146" y="323"/>
                  </a:lnTo>
                  <a:lnTo>
                    <a:pt x="149" y="326"/>
                  </a:lnTo>
                  <a:lnTo>
                    <a:pt x="146" y="326"/>
                  </a:lnTo>
                  <a:cubicBezTo>
                    <a:pt x="148" y="326"/>
                    <a:pt x="149" y="326"/>
                    <a:pt x="149" y="326"/>
                  </a:cubicBezTo>
                  <a:cubicBezTo>
                    <a:pt x="146" y="332"/>
                    <a:pt x="146" y="335"/>
                    <a:pt x="146" y="340"/>
                  </a:cubicBezTo>
                  <a:cubicBezTo>
                    <a:pt x="155" y="337"/>
                    <a:pt x="158" y="337"/>
                    <a:pt x="160" y="340"/>
                  </a:cubicBezTo>
                  <a:cubicBezTo>
                    <a:pt x="160" y="343"/>
                    <a:pt x="163" y="346"/>
                    <a:pt x="163" y="349"/>
                  </a:cubicBezTo>
                  <a:cubicBezTo>
                    <a:pt x="163" y="346"/>
                    <a:pt x="166" y="343"/>
                    <a:pt x="166" y="340"/>
                  </a:cubicBezTo>
                  <a:lnTo>
                    <a:pt x="163" y="337"/>
                  </a:lnTo>
                  <a:lnTo>
                    <a:pt x="163" y="334"/>
                  </a:lnTo>
                  <a:lnTo>
                    <a:pt x="163" y="332"/>
                  </a:lnTo>
                  <a:cubicBezTo>
                    <a:pt x="163" y="332"/>
                    <a:pt x="160" y="334"/>
                    <a:pt x="158" y="334"/>
                  </a:cubicBezTo>
                  <a:lnTo>
                    <a:pt x="152" y="337"/>
                  </a:lnTo>
                  <a:lnTo>
                    <a:pt x="149" y="326"/>
                  </a:lnTo>
                  <a:lnTo>
                    <a:pt x="152" y="323"/>
                  </a:lnTo>
                  <a:lnTo>
                    <a:pt x="155" y="318"/>
                  </a:lnTo>
                  <a:lnTo>
                    <a:pt x="152" y="318"/>
                  </a:lnTo>
                  <a:lnTo>
                    <a:pt x="149" y="318"/>
                  </a:lnTo>
                  <a:lnTo>
                    <a:pt x="146" y="318"/>
                  </a:lnTo>
                  <a:lnTo>
                    <a:pt x="146" y="320"/>
                  </a:lnTo>
                  <a:lnTo>
                    <a:pt x="144" y="323"/>
                  </a:lnTo>
                  <a:close/>
                  <a:moveTo>
                    <a:pt x="149" y="329"/>
                  </a:moveTo>
                  <a:lnTo>
                    <a:pt x="149" y="326"/>
                  </a:lnTo>
                  <a:lnTo>
                    <a:pt x="149" y="326"/>
                  </a:lnTo>
                  <a:cubicBezTo>
                    <a:pt x="149" y="327"/>
                    <a:pt x="149" y="328"/>
                    <a:pt x="149" y="329"/>
                  </a:cubicBezTo>
                  <a:close/>
                  <a:moveTo>
                    <a:pt x="169" y="363"/>
                  </a:moveTo>
                  <a:lnTo>
                    <a:pt x="166" y="357"/>
                  </a:lnTo>
                  <a:cubicBezTo>
                    <a:pt x="166" y="357"/>
                    <a:pt x="166" y="360"/>
                    <a:pt x="163" y="360"/>
                  </a:cubicBezTo>
                  <a:lnTo>
                    <a:pt x="160" y="363"/>
                  </a:lnTo>
                  <a:lnTo>
                    <a:pt x="169" y="363"/>
                  </a:lnTo>
                  <a:close/>
                  <a:moveTo>
                    <a:pt x="175" y="363"/>
                  </a:moveTo>
                  <a:lnTo>
                    <a:pt x="172" y="360"/>
                  </a:lnTo>
                  <a:lnTo>
                    <a:pt x="172" y="368"/>
                  </a:lnTo>
                  <a:lnTo>
                    <a:pt x="175" y="368"/>
                  </a:lnTo>
                  <a:lnTo>
                    <a:pt x="177" y="368"/>
                  </a:lnTo>
                  <a:lnTo>
                    <a:pt x="175" y="363"/>
                  </a:lnTo>
                  <a:close/>
                  <a:moveTo>
                    <a:pt x="172" y="385"/>
                  </a:moveTo>
                  <a:lnTo>
                    <a:pt x="175" y="385"/>
                  </a:lnTo>
                  <a:lnTo>
                    <a:pt x="175" y="382"/>
                  </a:lnTo>
                  <a:lnTo>
                    <a:pt x="172" y="385"/>
                  </a:lnTo>
                  <a:close/>
                  <a:moveTo>
                    <a:pt x="180" y="394"/>
                  </a:moveTo>
                  <a:lnTo>
                    <a:pt x="177" y="394"/>
                  </a:lnTo>
                  <a:lnTo>
                    <a:pt x="177" y="399"/>
                  </a:lnTo>
                  <a:lnTo>
                    <a:pt x="180" y="394"/>
                  </a:lnTo>
                  <a:close/>
                  <a:moveTo>
                    <a:pt x="186" y="405"/>
                  </a:moveTo>
                  <a:lnTo>
                    <a:pt x="183" y="405"/>
                  </a:lnTo>
                  <a:lnTo>
                    <a:pt x="183" y="411"/>
                  </a:lnTo>
                  <a:lnTo>
                    <a:pt x="186" y="411"/>
                  </a:lnTo>
                  <a:lnTo>
                    <a:pt x="186" y="405"/>
                  </a:lnTo>
                  <a:close/>
                  <a:moveTo>
                    <a:pt x="189" y="405"/>
                  </a:moveTo>
                  <a:lnTo>
                    <a:pt x="189" y="408"/>
                  </a:lnTo>
                  <a:lnTo>
                    <a:pt x="191" y="408"/>
                  </a:lnTo>
                  <a:cubicBezTo>
                    <a:pt x="191" y="408"/>
                    <a:pt x="191" y="405"/>
                    <a:pt x="189" y="405"/>
                  </a:cubicBezTo>
                  <a:close/>
                  <a:moveTo>
                    <a:pt x="200" y="428"/>
                  </a:moveTo>
                  <a:cubicBezTo>
                    <a:pt x="200" y="428"/>
                    <a:pt x="197" y="428"/>
                    <a:pt x="197" y="425"/>
                  </a:cubicBezTo>
                  <a:cubicBezTo>
                    <a:pt x="197" y="425"/>
                    <a:pt x="194" y="425"/>
                    <a:pt x="194" y="422"/>
                  </a:cubicBezTo>
                  <a:lnTo>
                    <a:pt x="194" y="428"/>
                  </a:lnTo>
                  <a:cubicBezTo>
                    <a:pt x="194" y="428"/>
                    <a:pt x="194" y="430"/>
                    <a:pt x="191" y="430"/>
                  </a:cubicBezTo>
                  <a:lnTo>
                    <a:pt x="194" y="430"/>
                  </a:lnTo>
                  <a:lnTo>
                    <a:pt x="197" y="428"/>
                  </a:lnTo>
                  <a:lnTo>
                    <a:pt x="200" y="428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0" name="Freeform 1458"/>
            <p:cNvSpPr>
              <a:spLocks noChangeArrowheads="1"/>
            </p:cNvSpPr>
            <p:nvPr/>
          </p:nvSpPr>
          <p:spPr bwMode="auto">
            <a:xfrm>
              <a:off x="4090988" y="2455863"/>
              <a:ext cx="77787" cy="179387"/>
            </a:xfrm>
            <a:custGeom>
              <a:avLst/>
              <a:gdLst>
                <a:gd name="T0" fmla="*/ 154 w 214"/>
                <a:gd name="T1" fmla="*/ 425 h 500"/>
                <a:gd name="T2" fmla="*/ 140 w 214"/>
                <a:gd name="T3" fmla="*/ 341 h 500"/>
                <a:gd name="T4" fmla="*/ 100 w 214"/>
                <a:gd name="T5" fmla="*/ 294 h 500"/>
                <a:gd name="T6" fmla="*/ 112 w 214"/>
                <a:gd name="T7" fmla="*/ 374 h 500"/>
                <a:gd name="T8" fmla="*/ 120 w 214"/>
                <a:gd name="T9" fmla="*/ 487 h 500"/>
                <a:gd name="T10" fmla="*/ 73 w 214"/>
                <a:gd name="T11" fmla="*/ 462 h 500"/>
                <a:gd name="T12" fmla="*/ 62 w 214"/>
                <a:gd name="T13" fmla="*/ 366 h 500"/>
                <a:gd name="T14" fmla="*/ 45 w 214"/>
                <a:gd name="T15" fmla="*/ 285 h 500"/>
                <a:gd name="T16" fmla="*/ 39 w 214"/>
                <a:gd name="T17" fmla="*/ 243 h 500"/>
                <a:gd name="T18" fmla="*/ 8 w 214"/>
                <a:gd name="T19" fmla="*/ 93 h 500"/>
                <a:gd name="T20" fmla="*/ 39 w 214"/>
                <a:gd name="T21" fmla="*/ 14 h 500"/>
                <a:gd name="T22" fmla="*/ 56 w 214"/>
                <a:gd name="T23" fmla="*/ 57 h 500"/>
                <a:gd name="T24" fmla="*/ 70 w 214"/>
                <a:gd name="T25" fmla="*/ 139 h 500"/>
                <a:gd name="T26" fmla="*/ 84 w 214"/>
                <a:gd name="T27" fmla="*/ 215 h 500"/>
                <a:gd name="T28" fmla="*/ 109 w 214"/>
                <a:gd name="T29" fmla="*/ 161 h 500"/>
                <a:gd name="T30" fmla="*/ 93 w 214"/>
                <a:gd name="T31" fmla="*/ 54 h 500"/>
                <a:gd name="T32" fmla="*/ 137 w 214"/>
                <a:gd name="T33" fmla="*/ 51 h 500"/>
                <a:gd name="T34" fmla="*/ 145 w 214"/>
                <a:gd name="T35" fmla="*/ 105 h 500"/>
                <a:gd name="T36" fmla="*/ 154 w 214"/>
                <a:gd name="T37" fmla="*/ 158 h 500"/>
                <a:gd name="T38" fmla="*/ 182 w 214"/>
                <a:gd name="T39" fmla="*/ 313 h 500"/>
                <a:gd name="T40" fmla="*/ 202 w 214"/>
                <a:gd name="T41" fmla="*/ 414 h 500"/>
                <a:gd name="T42" fmla="*/ 28 w 214"/>
                <a:gd name="T43" fmla="*/ 65 h 500"/>
                <a:gd name="T44" fmla="*/ 34 w 214"/>
                <a:gd name="T45" fmla="*/ 99 h 500"/>
                <a:gd name="T46" fmla="*/ 39 w 214"/>
                <a:gd name="T47" fmla="*/ 91 h 500"/>
                <a:gd name="T48" fmla="*/ 31 w 214"/>
                <a:gd name="T49" fmla="*/ 119 h 500"/>
                <a:gd name="T50" fmla="*/ 39 w 214"/>
                <a:gd name="T51" fmla="*/ 141 h 500"/>
                <a:gd name="T52" fmla="*/ 56 w 214"/>
                <a:gd name="T53" fmla="*/ 164 h 500"/>
                <a:gd name="T54" fmla="*/ 53 w 214"/>
                <a:gd name="T55" fmla="*/ 175 h 500"/>
                <a:gd name="T56" fmla="*/ 59 w 214"/>
                <a:gd name="T57" fmla="*/ 195 h 500"/>
                <a:gd name="T58" fmla="*/ 67 w 214"/>
                <a:gd name="T59" fmla="*/ 229 h 500"/>
                <a:gd name="T60" fmla="*/ 65 w 214"/>
                <a:gd name="T61" fmla="*/ 251 h 500"/>
                <a:gd name="T62" fmla="*/ 67 w 214"/>
                <a:gd name="T63" fmla="*/ 265 h 500"/>
                <a:gd name="T64" fmla="*/ 73 w 214"/>
                <a:gd name="T65" fmla="*/ 282 h 500"/>
                <a:gd name="T66" fmla="*/ 76 w 214"/>
                <a:gd name="T67" fmla="*/ 268 h 500"/>
                <a:gd name="T68" fmla="*/ 79 w 214"/>
                <a:gd name="T69" fmla="*/ 277 h 500"/>
                <a:gd name="T70" fmla="*/ 73 w 214"/>
                <a:gd name="T71" fmla="*/ 305 h 500"/>
                <a:gd name="T72" fmla="*/ 73 w 214"/>
                <a:gd name="T73" fmla="*/ 294 h 500"/>
                <a:gd name="T74" fmla="*/ 76 w 214"/>
                <a:gd name="T75" fmla="*/ 335 h 500"/>
                <a:gd name="T76" fmla="*/ 73 w 214"/>
                <a:gd name="T77" fmla="*/ 349 h 500"/>
                <a:gd name="T78" fmla="*/ 81 w 214"/>
                <a:gd name="T79" fmla="*/ 229 h 500"/>
                <a:gd name="T80" fmla="*/ 79 w 214"/>
                <a:gd name="T81" fmla="*/ 366 h 500"/>
                <a:gd name="T82" fmla="*/ 103 w 214"/>
                <a:gd name="T83" fmla="*/ 246 h 500"/>
                <a:gd name="T84" fmla="*/ 87 w 214"/>
                <a:gd name="T85" fmla="*/ 260 h 500"/>
                <a:gd name="T86" fmla="*/ 100 w 214"/>
                <a:gd name="T87" fmla="*/ 254 h 500"/>
                <a:gd name="T88" fmla="*/ 112 w 214"/>
                <a:gd name="T89" fmla="*/ 251 h 500"/>
                <a:gd name="T90" fmla="*/ 90 w 214"/>
                <a:gd name="T91" fmla="*/ 414 h 500"/>
                <a:gd name="T92" fmla="*/ 97 w 214"/>
                <a:gd name="T93" fmla="*/ 434 h 500"/>
                <a:gd name="T94" fmla="*/ 137 w 214"/>
                <a:gd name="T95" fmla="*/ 257 h 500"/>
                <a:gd name="T96" fmla="*/ 120 w 214"/>
                <a:gd name="T97" fmla="*/ 249 h 500"/>
                <a:gd name="T98" fmla="*/ 131 w 214"/>
                <a:gd name="T99" fmla="*/ 232 h 500"/>
                <a:gd name="T100" fmla="*/ 134 w 214"/>
                <a:gd name="T101" fmla="*/ 124 h 500"/>
                <a:gd name="T102" fmla="*/ 143 w 214"/>
                <a:gd name="T103" fmla="*/ 257 h 500"/>
                <a:gd name="T104" fmla="*/ 140 w 214"/>
                <a:gd name="T105" fmla="*/ 263 h 500"/>
                <a:gd name="T106" fmla="*/ 148 w 214"/>
                <a:gd name="T107" fmla="*/ 234 h 500"/>
                <a:gd name="T108" fmla="*/ 143 w 214"/>
                <a:gd name="T109" fmla="*/ 189 h 500"/>
                <a:gd name="T110" fmla="*/ 159 w 214"/>
                <a:gd name="T111" fmla="*/ 274 h 500"/>
                <a:gd name="T112" fmla="*/ 168 w 214"/>
                <a:gd name="T113" fmla="*/ 360 h 500"/>
                <a:gd name="T114" fmla="*/ 182 w 214"/>
                <a:gd name="T115" fmla="*/ 389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4" h="500">
                  <a:moveTo>
                    <a:pt x="213" y="459"/>
                  </a:moveTo>
                  <a:lnTo>
                    <a:pt x="213" y="465"/>
                  </a:lnTo>
                  <a:cubicBezTo>
                    <a:pt x="213" y="468"/>
                    <a:pt x="210" y="470"/>
                    <a:pt x="207" y="470"/>
                  </a:cubicBezTo>
                  <a:cubicBezTo>
                    <a:pt x="205" y="473"/>
                    <a:pt x="202" y="473"/>
                    <a:pt x="199" y="476"/>
                  </a:cubicBezTo>
                  <a:cubicBezTo>
                    <a:pt x="196" y="476"/>
                    <a:pt x="193" y="479"/>
                    <a:pt x="191" y="479"/>
                  </a:cubicBezTo>
                  <a:cubicBezTo>
                    <a:pt x="188" y="479"/>
                    <a:pt x="185" y="482"/>
                    <a:pt x="182" y="484"/>
                  </a:cubicBezTo>
                  <a:cubicBezTo>
                    <a:pt x="176" y="484"/>
                    <a:pt x="168" y="479"/>
                    <a:pt x="162" y="476"/>
                  </a:cubicBezTo>
                  <a:cubicBezTo>
                    <a:pt x="159" y="473"/>
                    <a:pt x="157" y="470"/>
                    <a:pt x="157" y="468"/>
                  </a:cubicBezTo>
                  <a:lnTo>
                    <a:pt x="157" y="445"/>
                  </a:lnTo>
                  <a:cubicBezTo>
                    <a:pt x="154" y="439"/>
                    <a:pt x="154" y="434"/>
                    <a:pt x="154" y="425"/>
                  </a:cubicBezTo>
                  <a:lnTo>
                    <a:pt x="154" y="420"/>
                  </a:lnTo>
                  <a:lnTo>
                    <a:pt x="154" y="414"/>
                  </a:lnTo>
                  <a:lnTo>
                    <a:pt x="151" y="400"/>
                  </a:lnTo>
                  <a:cubicBezTo>
                    <a:pt x="151" y="400"/>
                    <a:pt x="151" y="397"/>
                    <a:pt x="154" y="397"/>
                  </a:cubicBezTo>
                  <a:cubicBezTo>
                    <a:pt x="151" y="391"/>
                    <a:pt x="148" y="386"/>
                    <a:pt x="148" y="380"/>
                  </a:cubicBezTo>
                  <a:cubicBezTo>
                    <a:pt x="148" y="374"/>
                    <a:pt x="148" y="369"/>
                    <a:pt x="145" y="363"/>
                  </a:cubicBezTo>
                  <a:lnTo>
                    <a:pt x="145" y="360"/>
                  </a:lnTo>
                  <a:lnTo>
                    <a:pt x="145" y="358"/>
                  </a:lnTo>
                  <a:cubicBezTo>
                    <a:pt x="143" y="355"/>
                    <a:pt x="143" y="352"/>
                    <a:pt x="140" y="349"/>
                  </a:cubicBezTo>
                  <a:lnTo>
                    <a:pt x="140" y="341"/>
                  </a:lnTo>
                  <a:lnTo>
                    <a:pt x="140" y="332"/>
                  </a:lnTo>
                  <a:lnTo>
                    <a:pt x="140" y="325"/>
                  </a:lnTo>
                  <a:cubicBezTo>
                    <a:pt x="140" y="316"/>
                    <a:pt x="137" y="311"/>
                    <a:pt x="137" y="302"/>
                  </a:cubicBezTo>
                  <a:cubicBezTo>
                    <a:pt x="137" y="299"/>
                    <a:pt x="134" y="294"/>
                    <a:pt x="134" y="291"/>
                  </a:cubicBezTo>
                  <a:lnTo>
                    <a:pt x="134" y="288"/>
                  </a:lnTo>
                  <a:cubicBezTo>
                    <a:pt x="134" y="285"/>
                    <a:pt x="128" y="282"/>
                    <a:pt x="120" y="277"/>
                  </a:cubicBezTo>
                  <a:lnTo>
                    <a:pt x="103" y="280"/>
                  </a:lnTo>
                  <a:lnTo>
                    <a:pt x="100" y="285"/>
                  </a:lnTo>
                  <a:lnTo>
                    <a:pt x="100" y="291"/>
                  </a:lnTo>
                  <a:lnTo>
                    <a:pt x="100" y="294"/>
                  </a:lnTo>
                  <a:cubicBezTo>
                    <a:pt x="103" y="296"/>
                    <a:pt x="103" y="296"/>
                    <a:pt x="100" y="299"/>
                  </a:cubicBezTo>
                  <a:cubicBezTo>
                    <a:pt x="97" y="302"/>
                    <a:pt x="97" y="302"/>
                    <a:pt x="100" y="305"/>
                  </a:cubicBezTo>
                  <a:lnTo>
                    <a:pt x="100" y="311"/>
                  </a:lnTo>
                  <a:lnTo>
                    <a:pt x="100" y="319"/>
                  </a:lnTo>
                  <a:cubicBezTo>
                    <a:pt x="103" y="322"/>
                    <a:pt x="103" y="328"/>
                    <a:pt x="103" y="329"/>
                  </a:cubicBezTo>
                  <a:lnTo>
                    <a:pt x="103" y="343"/>
                  </a:lnTo>
                  <a:cubicBezTo>
                    <a:pt x="106" y="346"/>
                    <a:pt x="106" y="352"/>
                    <a:pt x="109" y="358"/>
                  </a:cubicBezTo>
                  <a:lnTo>
                    <a:pt x="109" y="372"/>
                  </a:lnTo>
                  <a:lnTo>
                    <a:pt x="112" y="372"/>
                  </a:lnTo>
                  <a:lnTo>
                    <a:pt x="112" y="374"/>
                  </a:lnTo>
                  <a:lnTo>
                    <a:pt x="112" y="377"/>
                  </a:lnTo>
                  <a:lnTo>
                    <a:pt x="112" y="380"/>
                  </a:lnTo>
                  <a:cubicBezTo>
                    <a:pt x="109" y="383"/>
                    <a:pt x="109" y="386"/>
                    <a:pt x="112" y="389"/>
                  </a:cubicBezTo>
                  <a:cubicBezTo>
                    <a:pt x="114" y="391"/>
                    <a:pt x="114" y="394"/>
                    <a:pt x="114" y="397"/>
                  </a:cubicBezTo>
                  <a:cubicBezTo>
                    <a:pt x="114" y="400"/>
                    <a:pt x="114" y="403"/>
                    <a:pt x="117" y="408"/>
                  </a:cubicBezTo>
                  <a:lnTo>
                    <a:pt x="117" y="414"/>
                  </a:lnTo>
                  <a:cubicBezTo>
                    <a:pt x="117" y="422"/>
                    <a:pt x="120" y="434"/>
                    <a:pt x="120" y="442"/>
                  </a:cubicBezTo>
                  <a:lnTo>
                    <a:pt x="123" y="470"/>
                  </a:lnTo>
                  <a:lnTo>
                    <a:pt x="123" y="482"/>
                  </a:lnTo>
                  <a:cubicBezTo>
                    <a:pt x="123" y="484"/>
                    <a:pt x="120" y="484"/>
                    <a:pt x="120" y="487"/>
                  </a:cubicBezTo>
                  <a:cubicBezTo>
                    <a:pt x="117" y="487"/>
                    <a:pt x="114" y="487"/>
                    <a:pt x="114" y="490"/>
                  </a:cubicBezTo>
                  <a:cubicBezTo>
                    <a:pt x="112" y="490"/>
                    <a:pt x="112" y="493"/>
                    <a:pt x="109" y="493"/>
                  </a:cubicBezTo>
                  <a:cubicBezTo>
                    <a:pt x="106" y="493"/>
                    <a:pt x="103" y="493"/>
                    <a:pt x="103" y="496"/>
                  </a:cubicBezTo>
                  <a:cubicBezTo>
                    <a:pt x="100" y="499"/>
                    <a:pt x="96" y="499"/>
                    <a:pt x="93" y="493"/>
                  </a:cubicBezTo>
                  <a:lnTo>
                    <a:pt x="87" y="490"/>
                  </a:lnTo>
                  <a:cubicBezTo>
                    <a:pt x="84" y="490"/>
                    <a:pt x="84" y="487"/>
                    <a:pt x="81" y="487"/>
                  </a:cubicBezTo>
                  <a:lnTo>
                    <a:pt x="81" y="479"/>
                  </a:lnTo>
                  <a:cubicBezTo>
                    <a:pt x="81" y="476"/>
                    <a:pt x="81" y="476"/>
                    <a:pt x="79" y="473"/>
                  </a:cubicBezTo>
                  <a:cubicBezTo>
                    <a:pt x="76" y="473"/>
                    <a:pt x="76" y="471"/>
                    <a:pt x="76" y="468"/>
                  </a:cubicBezTo>
                  <a:cubicBezTo>
                    <a:pt x="76" y="466"/>
                    <a:pt x="76" y="465"/>
                    <a:pt x="73" y="462"/>
                  </a:cubicBezTo>
                  <a:cubicBezTo>
                    <a:pt x="73" y="462"/>
                    <a:pt x="70" y="459"/>
                    <a:pt x="73" y="459"/>
                  </a:cubicBezTo>
                  <a:lnTo>
                    <a:pt x="73" y="442"/>
                  </a:lnTo>
                  <a:cubicBezTo>
                    <a:pt x="70" y="437"/>
                    <a:pt x="70" y="431"/>
                    <a:pt x="70" y="425"/>
                  </a:cubicBezTo>
                  <a:lnTo>
                    <a:pt x="70" y="422"/>
                  </a:lnTo>
                  <a:lnTo>
                    <a:pt x="70" y="420"/>
                  </a:lnTo>
                  <a:cubicBezTo>
                    <a:pt x="67" y="417"/>
                    <a:pt x="67" y="414"/>
                    <a:pt x="67" y="411"/>
                  </a:cubicBezTo>
                  <a:cubicBezTo>
                    <a:pt x="67" y="408"/>
                    <a:pt x="65" y="408"/>
                    <a:pt x="65" y="405"/>
                  </a:cubicBezTo>
                  <a:cubicBezTo>
                    <a:pt x="62" y="403"/>
                    <a:pt x="62" y="400"/>
                    <a:pt x="65" y="400"/>
                  </a:cubicBezTo>
                  <a:cubicBezTo>
                    <a:pt x="67" y="394"/>
                    <a:pt x="67" y="389"/>
                    <a:pt x="65" y="383"/>
                  </a:cubicBezTo>
                  <a:cubicBezTo>
                    <a:pt x="62" y="377"/>
                    <a:pt x="62" y="372"/>
                    <a:pt x="62" y="366"/>
                  </a:cubicBezTo>
                  <a:cubicBezTo>
                    <a:pt x="62" y="363"/>
                    <a:pt x="62" y="363"/>
                    <a:pt x="59" y="360"/>
                  </a:cubicBezTo>
                  <a:lnTo>
                    <a:pt x="56" y="358"/>
                  </a:lnTo>
                  <a:lnTo>
                    <a:pt x="56" y="352"/>
                  </a:lnTo>
                  <a:lnTo>
                    <a:pt x="56" y="341"/>
                  </a:lnTo>
                  <a:lnTo>
                    <a:pt x="56" y="335"/>
                  </a:lnTo>
                  <a:lnTo>
                    <a:pt x="56" y="329"/>
                  </a:lnTo>
                  <a:cubicBezTo>
                    <a:pt x="53" y="327"/>
                    <a:pt x="53" y="325"/>
                    <a:pt x="53" y="319"/>
                  </a:cubicBezTo>
                  <a:cubicBezTo>
                    <a:pt x="53" y="316"/>
                    <a:pt x="53" y="313"/>
                    <a:pt x="50" y="308"/>
                  </a:cubicBezTo>
                  <a:cubicBezTo>
                    <a:pt x="50" y="305"/>
                    <a:pt x="48" y="298"/>
                    <a:pt x="48" y="296"/>
                  </a:cubicBezTo>
                  <a:cubicBezTo>
                    <a:pt x="48" y="293"/>
                    <a:pt x="48" y="288"/>
                    <a:pt x="45" y="285"/>
                  </a:cubicBezTo>
                  <a:lnTo>
                    <a:pt x="45" y="282"/>
                  </a:lnTo>
                  <a:cubicBezTo>
                    <a:pt x="45" y="282"/>
                    <a:pt x="48" y="280"/>
                    <a:pt x="45" y="277"/>
                  </a:cubicBezTo>
                  <a:lnTo>
                    <a:pt x="45" y="274"/>
                  </a:lnTo>
                  <a:cubicBezTo>
                    <a:pt x="48" y="271"/>
                    <a:pt x="48" y="271"/>
                    <a:pt x="45" y="271"/>
                  </a:cubicBezTo>
                  <a:cubicBezTo>
                    <a:pt x="42" y="271"/>
                    <a:pt x="42" y="268"/>
                    <a:pt x="42" y="268"/>
                  </a:cubicBezTo>
                  <a:lnTo>
                    <a:pt x="42" y="263"/>
                  </a:lnTo>
                  <a:lnTo>
                    <a:pt x="42" y="257"/>
                  </a:lnTo>
                  <a:lnTo>
                    <a:pt x="42" y="254"/>
                  </a:lnTo>
                  <a:cubicBezTo>
                    <a:pt x="39" y="254"/>
                    <a:pt x="39" y="251"/>
                    <a:pt x="39" y="249"/>
                  </a:cubicBezTo>
                  <a:lnTo>
                    <a:pt x="39" y="243"/>
                  </a:lnTo>
                  <a:cubicBezTo>
                    <a:pt x="39" y="237"/>
                    <a:pt x="36" y="232"/>
                    <a:pt x="34" y="226"/>
                  </a:cubicBezTo>
                  <a:cubicBezTo>
                    <a:pt x="31" y="220"/>
                    <a:pt x="28" y="215"/>
                    <a:pt x="28" y="209"/>
                  </a:cubicBezTo>
                  <a:lnTo>
                    <a:pt x="28" y="206"/>
                  </a:lnTo>
                  <a:lnTo>
                    <a:pt x="25" y="203"/>
                  </a:lnTo>
                  <a:lnTo>
                    <a:pt x="25" y="189"/>
                  </a:lnTo>
                  <a:lnTo>
                    <a:pt x="25" y="178"/>
                  </a:lnTo>
                  <a:cubicBezTo>
                    <a:pt x="25" y="175"/>
                    <a:pt x="22" y="170"/>
                    <a:pt x="22" y="167"/>
                  </a:cubicBezTo>
                  <a:cubicBezTo>
                    <a:pt x="14" y="150"/>
                    <a:pt x="11" y="136"/>
                    <a:pt x="11" y="119"/>
                  </a:cubicBezTo>
                  <a:cubicBezTo>
                    <a:pt x="11" y="110"/>
                    <a:pt x="11" y="105"/>
                    <a:pt x="8" y="96"/>
                  </a:cubicBezTo>
                  <a:lnTo>
                    <a:pt x="8" y="93"/>
                  </a:lnTo>
                  <a:lnTo>
                    <a:pt x="0" y="43"/>
                  </a:lnTo>
                  <a:lnTo>
                    <a:pt x="0" y="40"/>
                  </a:lnTo>
                  <a:lnTo>
                    <a:pt x="0" y="37"/>
                  </a:lnTo>
                  <a:lnTo>
                    <a:pt x="0" y="34"/>
                  </a:lnTo>
                  <a:lnTo>
                    <a:pt x="0" y="31"/>
                  </a:lnTo>
                  <a:cubicBezTo>
                    <a:pt x="0" y="20"/>
                    <a:pt x="8" y="17"/>
                    <a:pt x="17" y="17"/>
                  </a:cubicBezTo>
                  <a:cubicBezTo>
                    <a:pt x="19" y="17"/>
                    <a:pt x="25" y="17"/>
                    <a:pt x="28" y="14"/>
                  </a:cubicBezTo>
                  <a:cubicBezTo>
                    <a:pt x="28" y="14"/>
                    <a:pt x="31" y="12"/>
                    <a:pt x="31" y="14"/>
                  </a:cubicBezTo>
                  <a:lnTo>
                    <a:pt x="34" y="14"/>
                  </a:lnTo>
                  <a:lnTo>
                    <a:pt x="39" y="14"/>
                  </a:lnTo>
                  <a:cubicBezTo>
                    <a:pt x="42" y="14"/>
                    <a:pt x="45" y="14"/>
                    <a:pt x="48" y="17"/>
                  </a:cubicBezTo>
                  <a:cubicBezTo>
                    <a:pt x="50" y="17"/>
                    <a:pt x="50" y="20"/>
                    <a:pt x="53" y="20"/>
                  </a:cubicBezTo>
                  <a:lnTo>
                    <a:pt x="53" y="26"/>
                  </a:lnTo>
                  <a:lnTo>
                    <a:pt x="53" y="34"/>
                  </a:lnTo>
                  <a:cubicBezTo>
                    <a:pt x="53" y="37"/>
                    <a:pt x="53" y="37"/>
                    <a:pt x="56" y="37"/>
                  </a:cubicBezTo>
                  <a:lnTo>
                    <a:pt x="56" y="40"/>
                  </a:lnTo>
                  <a:cubicBezTo>
                    <a:pt x="53" y="43"/>
                    <a:pt x="53" y="43"/>
                    <a:pt x="56" y="45"/>
                  </a:cubicBezTo>
                  <a:cubicBezTo>
                    <a:pt x="59" y="45"/>
                    <a:pt x="59" y="48"/>
                    <a:pt x="56" y="48"/>
                  </a:cubicBezTo>
                  <a:lnTo>
                    <a:pt x="56" y="51"/>
                  </a:lnTo>
                  <a:lnTo>
                    <a:pt x="56" y="57"/>
                  </a:lnTo>
                  <a:lnTo>
                    <a:pt x="56" y="60"/>
                  </a:lnTo>
                  <a:lnTo>
                    <a:pt x="56" y="65"/>
                  </a:lnTo>
                  <a:lnTo>
                    <a:pt x="56" y="68"/>
                  </a:lnTo>
                  <a:cubicBezTo>
                    <a:pt x="56" y="68"/>
                    <a:pt x="56" y="71"/>
                    <a:pt x="59" y="71"/>
                  </a:cubicBezTo>
                  <a:cubicBezTo>
                    <a:pt x="62" y="74"/>
                    <a:pt x="62" y="79"/>
                    <a:pt x="62" y="85"/>
                  </a:cubicBezTo>
                  <a:lnTo>
                    <a:pt x="62" y="88"/>
                  </a:lnTo>
                  <a:lnTo>
                    <a:pt x="62" y="93"/>
                  </a:lnTo>
                  <a:cubicBezTo>
                    <a:pt x="62" y="99"/>
                    <a:pt x="65" y="104"/>
                    <a:pt x="65" y="110"/>
                  </a:cubicBezTo>
                  <a:cubicBezTo>
                    <a:pt x="65" y="115"/>
                    <a:pt x="67" y="122"/>
                    <a:pt x="67" y="127"/>
                  </a:cubicBezTo>
                  <a:cubicBezTo>
                    <a:pt x="67" y="130"/>
                    <a:pt x="70" y="136"/>
                    <a:pt x="70" y="139"/>
                  </a:cubicBezTo>
                  <a:cubicBezTo>
                    <a:pt x="70" y="141"/>
                    <a:pt x="73" y="147"/>
                    <a:pt x="73" y="150"/>
                  </a:cubicBezTo>
                  <a:lnTo>
                    <a:pt x="73" y="155"/>
                  </a:lnTo>
                  <a:cubicBezTo>
                    <a:pt x="73" y="158"/>
                    <a:pt x="73" y="161"/>
                    <a:pt x="76" y="161"/>
                  </a:cubicBezTo>
                  <a:lnTo>
                    <a:pt x="79" y="164"/>
                  </a:lnTo>
                  <a:lnTo>
                    <a:pt x="79" y="170"/>
                  </a:lnTo>
                  <a:cubicBezTo>
                    <a:pt x="76" y="172"/>
                    <a:pt x="76" y="175"/>
                    <a:pt x="79" y="178"/>
                  </a:cubicBezTo>
                  <a:lnTo>
                    <a:pt x="79" y="186"/>
                  </a:lnTo>
                  <a:cubicBezTo>
                    <a:pt x="76" y="189"/>
                    <a:pt x="79" y="192"/>
                    <a:pt x="79" y="192"/>
                  </a:cubicBezTo>
                  <a:cubicBezTo>
                    <a:pt x="81" y="195"/>
                    <a:pt x="81" y="198"/>
                    <a:pt x="81" y="203"/>
                  </a:cubicBezTo>
                  <a:cubicBezTo>
                    <a:pt x="81" y="206"/>
                    <a:pt x="81" y="212"/>
                    <a:pt x="84" y="215"/>
                  </a:cubicBezTo>
                  <a:lnTo>
                    <a:pt x="84" y="217"/>
                  </a:lnTo>
                  <a:lnTo>
                    <a:pt x="84" y="220"/>
                  </a:lnTo>
                  <a:cubicBezTo>
                    <a:pt x="93" y="226"/>
                    <a:pt x="100" y="226"/>
                    <a:pt x="109" y="223"/>
                  </a:cubicBezTo>
                  <a:lnTo>
                    <a:pt x="112" y="220"/>
                  </a:lnTo>
                  <a:lnTo>
                    <a:pt x="114" y="217"/>
                  </a:lnTo>
                  <a:lnTo>
                    <a:pt x="114" y="209"/>
                  </a:lnTo>
                  <a:lnTo>
                    <a:pt x="114" y="201"/>
                  </a:lnTo>
                  <a:lnTo>
                    <a:pt x="114" y="192"/>
                  </a:lnTo>
                  <a:lnTo>
                    <a:pt x="114" y="184"/>
                  </a:lnTo>
                  <a:cubicBezTo>
                    <a:pt x="109" y="178"/>
                    <a:pt x="109" y="170"/>
                    <a:pt x="109" y="161"/>
                  </a:cubicBezTo>
                  <a:cubicBezTo>
                    <a:pt x="106" y="158"/>
                    <a:pt x="103" y="153"/>
                    <a:pt x="106" y="150"/>
                  </a:cubicBezTo>
                  <a:lnTo>
                    <a:pt x="106" y="139"/>
                  </a:lnTo>
                  <a:cubicBezTo>
                    <a:pt x="103" y="133"/>
                    <a:pt x="103" y="127"/>
                    <a:pt x="103" y="122"/>
                  </a:cubicBezTo>
                  <a:lnTo>
                    <a:pt x="103" y="105"/>
                  </a:lnTo>
                  <a:cubicBezTo>
                    <a:pt x="103" y="102"/>
                    <a:pt x="103" y="99"/>
                    <a:pt x="100" y="96"/>
                  </a:cubicBezTo>
                  <a:cubicBezTo>
                    <a:pt x="100" y="93"/>
                    <a:pt x="97" y="91"/>
                    <a:pt x="97" y="88"/>
                  </a:cubicBezTo>
                  <a:cubicBezTo>
                    <a:pt x="96" y="82"/>
                    <a:pt x="96" y="76"/>
                    <a:pt x="96" y="74"/>
                  </a:cubicBezTo>
                  <a:lnTo>
                    <a:pt x="96" y="71"/>
                  </a:lnTo>
                  <a:lnTo>
                    <a:pt x="96" y="65"/>
                  </a:lnTo>
                  <a:cubicBezTo>
                    <a:pt x="97" y="62"/>
                    <a:pt x="96" y="57"/>
                    <a:pt x="93" y="54"/>
                  </a:cubicBezTo>
                  <a:cubicBezTo>
                    <a:pt x="90" y="48"/>
                    <a:pt x="90" y="43"/>
                    <a:pt x="90" y="34"/>
                  </a:cubicBezTo>
                  <a:cubicBezTo>
                    <a:pt x="90" y="28"/>
                    <a:pt x="90" y="23"/>
                    <a:pt x="84" y="17"/>
                  </a:cubicBezTo>
                  <a:cubicBezTo>
                    <a:pt x="87" y="9"/>
                    <a:pt x="93" y="6"/>
                    <a:pt x="100" y="3"/>
                  </a:cubicBezTo>
                  <a:cubicBezTo>
                    <a:pt x="109" y="0"/>
                    <a:pt x="117" y="0"/>
                    <a:pt x="123" y="3"/>
                  </a:cubicBezTo>
                  <a:cubicBezTo>
                    <a:pt x="123" y="6"/>
                    <a:pt x="126" y="9"/>
                    <a:pt x="128" y="9"/>
                  </a:cubicBezTo>
                  <a:cubicBezTo>
                    <a:pt x="131" y="12"/>
                    <a:pt x="131" y="14"/>
                    <a:pt x="128" y="17"/>
                  </a:cubicBezTo>
                  <a:lnTo>
                    <a:pt x="128" y="23"/>
                  </a:lnTo>
                  <a:cubicBezTo>
                    <a:pt x="128" y="26"/>
                    <a:pt x="128" y="25"/>
                    <a:pt x="131" y="28"/>
                  </a:cubicBezTo>
                  <a:cubicBezTo>
                    <a:pt x="135" y="30"/>
                    <a:pt x="134" y="34"/>
                    <a:pt x="134" y="40"/>
                  </a:cubicBezTo>
                  <a:cubicBezTo>
                    <a:pt x="134" y="43"/>
                    <a:pt x="134" y="48"/>
                    <a:pt x="137" y="51"/>
                  </a:cubicBezTo>
                  <a:lnTo>
                    <a:pt x="137" y="54"/>
                  </a:lnTo>
                  <a:lnTo>
                    <a:pt x="137" y="57"/>
                  </a:lnTo>
                  <a:cubicBezTo>
                    <a:pt x="137" y="60"/>
                    <a:pt x="137" y="60"/>
                    <a:pt x="140" y="62"/>
                  </a:cubicBezTo>
                  <a:lnTo>
                    <a:pt x="140" y="68"/>
                  </a:lnTo>
                  <a:cubicBezTo>
                    <a:pt x="137" y="71"/>
                    <a:pt x="137" y="74"/>
                    <a:pt x="140" y="76"/>
                  </a:cubicBezTo>
                  <a:cubicBezTo>
                    <a:pt x="140" y="79"/>
                    <a:pt x="143" y="82"/>
                    <a:pt x="143" y="85"/>
                  </a:cubicBezTo>
                  <a:lnTo>
                    <a:pt x="143" y="88"/>
                  </a:lnTo>
                  <a:cubicBezTo>
                    <a:pt x="143" y="91"/>
                    <a:pt x="143" y="91"/>
                    <a:pt x="145" y="91"/>
                  </a:cubicBezTo>
                  <a:lnTo>
                    <a:pt x="145" y="96"/>
                  </a:lnTo>
                  <a:lnTo>
                    <a:pt x="145" y="105"/>
                  </a:lnTo>
                  <a:cubicBezTo>
                    <a:pt x="145" y="107"/>
                    <a:pt x="148" y="110"/>
                    <a:pt x="148" y="116"/>
                  </a:cubicBezTo>
                  <a:lnTo>
                    <a:pt x="148" y="119"/>
                  </a:lnTo>
                  <a:lnTo>
                    <a:pt x="148" y="122"/>
                  </a:lnTo>
                  <a:lnTo>
                    <a:pt x="148" y="127"/>
                  </a:lnTo>
                  <a:cubicBezTo>
                    <a:pt x="148" y="130"/>
                    <a:pt x="148" y="130"/>
                    <a:pt x="151" y="133"/>
                  </a:cubicBezTo>
                  <a:lnTo>
                    <a:pt x="154" y="136"/>
                  </a:lnTo>
                  <a:lnTo>
                    <a:pt x="154" y="141"/>
                  </a:lnTo>
                  <a:lnTo>
                    <a:pt x="154" y="147"/>
                  </a:lnTo>
                  <a:lnTo>
                    <a:pt x="154" y="153"/>
                  </a:lnTo>
                  <a:lnTo>
                    <a:pt x="154" y="158"/>
                  </a:lnTo>
                  <a:lnTo>
                    <a:pt x="157" y="161"/>
                  </a:lnTo>
                  <a:lnTo>
                    <a:pt x="157" y="170"/>
                  </a:lnTo>
                  <a:lnTo>
                    <a:pt x="157" y="178"/>
                  </a:lnTo>
                  <a:cubicBezTo>
                    <a:pt x="157" y="189"/>
                    <a:pt x="159" y="203"/>
                    <a:pt x="162" y="215"/>
                  </a:cubicBezTo>
                  <a:cubicBezTo>
                    <a:pt x="162" y="217"/>
                    <a:pt x="162" y="220"/>
                    <a:pt x="165" y="220"/>
                  </a:cubicBezTo>
                  <a:cubicBezTo>
                    <a:pt x="168" y="226"/>
                    <a:pt x="168" y="229"/>
                    <a:pt x="165" y="234"/>
                  </a:cubicBezTo>
                  <a:cubicBezTo>
                    <a:pt x="171" y="243"/>
                    <a:pt x="171" y="251"/>
                    <a:pt x="171" y="257"/>
                  </a:cubicBezTo>
                  <a:cubicBezTo>
                    <a:pt x="171" y="263"/>
                    <a:pt x="171" y="268"/>
                    <a:pt x="174" y="274"/>
                  </a:cubicBezTo>
                  <a:cubicBezTo>
                    <a:pt x="176" y="277"/>
                    <a:pt x="176" y="280"/>
                    <a:pt x="176" y="282"/>
                  </a:cubicBezTo>
                  <a:cubicBezTo>
                    <a:pt x="179" y="294"/>
                    <a:pt x="182" y="305"/>
                    <a:pt x="182" y="313"/>
                  </a:cubicBezTo>
                  <a:lnTo>
                    <a:pt x="182" y="322"/>
                  </a:lnTo>
                  <a:cubicBezTo>
                    <a:pt x="182" y="328"/>
                    <a:pt x="182" y="335"/>
                    <a:pt x="188" y="341"/>
                  </a:cubicBezTo>
                  <a:cubicBezTo>
                    <a:pt x="191" y="346"/>
                    <a:pt x="191" y="352"/>
                    <a:pt x="188" y="355"/>
                  </a:cubicBezTo>
                  <a:lnTo>
                    <a:pt x="188" y="363"/>
                  </a:lnTo>
                  <a:lnTo>
                    <a:pt x="191" y="374"/>
                  </a:lnTo>
                  <a:cubicBezTo>
                    <a:pt x="193" y="374"/>
                    <a:pt x="196" y="374"/>
                    <a:pt x="193" y="377"/>
                  </a:cubicBezTo>
                  <a:lnTo>
                    <a:pt x="193" y="383"/>
                  </a:lnTo>
                  <a:cubicBezTo>
                    <a:pt x="196" y="386"/>
                    <a:pt x="196" y="389"/>
                    <a:pt x="199" y="391"/>
                  </a:cubicBezTo>
                  <a:cubicBezTo>
                    <a:pt x="199" y="394"/>
                    <a:pt x="199" y="397"/>
                    <a:pt x="202" y="403"/>
                  </a:cubicBezTo>
                  <a:lnTo>
                    <a:pt x="202" y="414"/>
                  </a:lnTo>
                  <a:lnTo>
                    <a:pt x="202" y="420"/>
                  </a:lnTo>
                  <a:cubicBezTo>
                    <a:pt x="202" y="422"/>
                    <a:pt x="202" y="422"/>
                    <a:pt x="199" y="425"/>
                  </a:cubicBezTo>
                  <a:lnTo>
                    <a:pt x="199" y="428"/>
                  </a:lnTo>
                  <a:cubicBezTo>
                    <a:pt x="202" y="434"/>
                    <a:pt x="202" y="437"/>
                    <a:pt x="205" y="442"/>
                  </a:cubicBezTo>
                  <a:cubicBezTo>
                    <a:pt x="205" y="445"/>
                    <a:pt x="207" y="445"/>
                    <a:pt x="207" y="448"/>
                  </a:cubicBezTo>
                  <a:cubicBezTo>
                    <a:pt x="210" y="453"/>
                    <a:pt x="213" y="456"/>
                    <a:pt x="213" y="459"/>
                  </a:cubicBezTo>
                  <a:close/>
                  <a:moveTo>
                    <a:pt x="22" y="68"/>
                  </a:moveTo>
                  <a:lnTo>
                    <a:pt x="25" y="71"/>
                  </a:lnTo>
                  <a:lnTo>
                    <a:pt x="28" y="74"/>
                  </a:lnTo>
                  <a:lnTo>
                    <a:pt x="28" y="65"/>
                  </a:lnTo>
                  <a:cubicBezTo>
                    <a:pt x="28" y="68"/>
                    <a:pt x="25" y="68"/>
                    <a:pt x="22" y="68"/>
                  </a:cubicBezTo>
                  <a:close/>
                  <a:moveTo>
                    <a:pt x="25" y="60"/>
                  </a:moveTo>
                  <a:cubicBezTo>
                    <a:pt x="28" y="60"/>
                    <a:pt x="28" y="62"/>
                    <a:pt x="28" y="62"/>
                  </a:cubicBezTo>
                  <a:cubicBezTo>
                    <a:pt x="28" y="60"/>
                    <a:pt x="28" y="60"/>
                    <a:pt x="31" y="57"/>
                  </a:cubicBezTo>
                  <a:lnTo>
                    <a:pt x="28" y="54"/>
                  </a:lnTo>
                  <a:cubicBezTo>
                    <a:pt x="28" y="54"/>
                    <a:pt x="25" y="54"/>
                    <a:pt x="25" y="51"/>
                  </a:cubicBezTo>
                  <a:lnTo>
                    <a:pt x="25" y="60"/>
                  </a:lnTo>
                  <a:close/>
                  <a:moveTo>
                    <a:pt x="28" y="105"/>
                  </a:moveTo>
                  <a:lnTo>
                    <a:pt x="31" y="102"/>
                  </a:lnTo>
                  <a:lnTo>
                    <a:pt x="34" y="99"/>
                  </a:lnTo>
                  <a:lnTo>
                    <a:pt x="36" y="96"/>
                  </a:lnTo>
                  <a:cubicBezTo>
                    <a:pt x="28" y="96"/>
                    <a:pt x="28" y="99"/>
                    <a:pt x="28" y="105"/>
                  </a:cubicBezTo>
                  <a:close/>
                  <a:moveTo>
                    <a:pt x="39" y="76"/>
                  </a:moveTo>
                  <a:cubicBezTo>
                    <a:pt x="36" y="76"/>
                    <a:pt x="31" y="76"/>
                    <a:pt x="31" y="82"/>
                  </a:cubicBezTo>
                  <a:lnTo>
                    <a:pt x="34" y="85"/>
                  </a:lnTo>
                  <a:cubicBezTo>
                    <a:pt x="34" y="85"/>
                    <a:pt x="34" y="88"/>
                    <a:pt x="36" y="88"/>
                  </a:cubicBezTo>
                  <a:cubicBezTo>
                    <a:pt x="36" y="88"/>
                    <a:pt x="39" y="88"/>
                    <a:pt x="39" y="91"/>
                  </a:cubicBezTo>
                  <a:lnTo>
                    <a:pt x="36" y="93"/>
                  </a:lnTo>
                  <a:lnTo>
                    <a:pt x="39" y="93"/>
                  </a:lnTo>
                  <a:lnTo>
                    <a:pt x="39" y="91"/>
                  </a:lnTo>
                  <a:lnTo>
                    <a:pt x="39" y="85"/>
                  </a:lnTo>
                  <a:lnTo>
                    <a:pt x="34" y="85"/>
                  </a:lnTo>
                  <a:lnTo>
                    <a:pt x="36" y="82"/>
                  </a:lnTo>
                  <a:cubicBezTo>
                    <a:pt x="36" y="79"/>
                    <a:pt x="36" y="79"/>
                    <a:pt x="39" y="76"/>
                  </a:cubicBezTo>
                  <a:close/>
                  <a:moveTo>
                    <a:pt x="34" y="62"/>
                  </a:moveTo>
                  <a:cubicBezTo>
                    <a:pt x="34" y="62"/>
                    <a:pt x="31" y="62"/>
                    <a:pt x="34" y="62"/>
                  </a:cubicBezTo>
                  <a:cubicBezTo>
                    <a:pt x="31" y="62"/>
                    <a:pt x="31" y="65"/>
                    <a:pt x="34" y="65"/>
                  </a:cubicBezTo>
                  <a:lnTo>
                    <a:pt x="36" y="68"/>
                  </a:lnTo>
                  <a:lnTo>
                    <a:pt x="34" y="62"/>
                  </a:lnTo>
                  <a:close/>
                  <a:moveTo>
                    <a:pt x="31" y="119"/>
                  </a:moveTo>
                  <a:cubicBezTo>
                    <a:pt x="31" y="122"/>
                    <a:pt x="31" y="122"/>
                    <a:pt x="34" y="122"/>
                  </a:cubicBezTo>
                  <a:lnTo>
                    <a:pt x="31" y="119"/>
                  </a:lnTo>
                  <a:close/>
                  <a:moveTo>
                    <a:pt x="34" y="130"/>
                  </a:moveTo>
                  <a:cubicBezTo>
                    <a:pt x="34" y="130"/>
                    <a:pt x="36" y="130"/>
                    <a:pt x="34" y="130"/>
                  </a:cubicBezTo>
                  <a:cubicBezTo>
                    <a:pt x="39" y="130"/>
                    <a:pt x="42" y="127"/>
                    <a:pt x="45" y="124"/>
                  </a:cubicBezTo>
                  <a:lnTo>
                    <a:pt x="34" y="124"/>
                  </a:lnTo>
                  <a:lnTo>
                    <a:pt x="34" y="130"/>
                  </a:lnTo>
                  <a:close/>
                  <a:moveTo>
                    <a:pt x="36" y="141"/>
                  </a:moveTo>
                  <a:lnTo>
                    <a:pt x="39" y="144"/>
                  </a:lnTo>
                  <a:lnTo>
                    <a:pt x="39" y="141"/>
                  </a:lnTo>
                  <a:lnTo>
                    <a:pt x="39" y="139"/>
                  </a:lnTo>
                  <a:lnTo>
                    <a:pt x="42" y="139"/>
                  </a:lnTo>
                  <a:lnTo>
                    <a:pt x="45" y="139"/>
                  </a:lnTo>
                  <a:lnTo>
                    <a:pt x="45" y="136"/>
                  </a:lnTo>
                  <a:cubicBezTo>
                    <a:pt x="42" y="136"/>
                    <a:pt x="39" y="133"/>
                    <a:pt x="36" y="130"/>
                  </a:cubicBezTo>
                  <a:lnTo>
                    <a:pt x="36" y="141"/>
                  </a:lnTo>
                  <a:close/>
                  <a:moveTo>
                    <a:pt x="48" y="130"/>
                  </a:moveTo>
                  <a:cubicBezTo>
                    <a:pt x="50" y="133"/>
                    <a:pt x="50" y="130"/>
                    <a:pt x="50" y="130"/>
                  </a:cubicBezTo>
                  <a:lnTo>
                    <a:pt x="48" y="130"/>
                  </a:lnTo>
                  <a:close/>
                  <a:moveTo>
                    <a:pt x="56" y="164"/>
                  </a:moveTo>
                  <a:lnTo>
                    <a:pt x="48" y="164"/>
                  </a:lnTo>
                  <a:lnTo>
                    <a:pt x="50" y="167"/>
                  </a:lnTo>
                  <a:lnTo>
                    <a:pt x="53" y="167"/>
                  </a:lnTo>
                  <a:lnTo>
                    <a:pt x="53" y="170"/>
                  </a:lnTo>
                  <a:lnTo>
                    <a:pt x="50" y="170"/>
                  </a:lnTo>
                  <a:lnTo>
                    <a:pt x="50" y="175"/>
                  </a:lnTo>
                  <a:lnTo>
                    <a:pt x="50" y="181"/>
                  </a:lnTo>
                  <a:lnTo>
                    <a:pt x="56" y="181"/>
                  </a:lnTo>
                  <a:lnTo>
                    <a:pt x="56" y="178"/>
                  </a:lnTo>
                  <a:cubicBezTo>
                    <a:pt x="56" y="175"/>
                    <a:pt x="56" y="175"/>
                    <a:pt x="53" y="175"/>
                  </a:cubicBezTo>
                  <a:cubicBezTo>
                    <a:pt x="53" y="172"/>
                    <a:pt x="56" y="172"/>
                    <a:pt x="56" y="170"/>
                  </a:cubicBezTo>
                  <a:lnTo>
                    <a:pt x="59" y="164"/>
                  </a:lnTo>
                  <a:lnTo>
                    <a:pt x="56" y="164"/>
                  </a:lnTo>
                  <a:close/>
                  <a:moveTo>
                    <a:pt x="53" y="189"/>
                  </a:moveTo>
                  <a:lnTo>
                    <a:pt x="56" y="186"/>
                  </a:lnTo>
                  <a:cubicBezTo>
                    <a:pt x="53" y="186"/>
                    <a:pt x="53" y="186"/>
                    <a:pt x="53" y="189"/>
                  </a:cubicBezTo>
                  <a:lnTo>
                    <a:pt x="50" y="189"/>
                  </a:lnTo>
                  <a:cubicBezTo>
                    <a:pt x="50" y="192"/>
                    <a:pt x="50" y="192"/>
                    <a:pt x="53" y="189"/>
                  </a:cubicBezTo>
                  <a:cubicBezTo>
                    <a:pt x="50" y="192"/>
                    <a:pt x="53" y="195"/>
                    <a:pt x="53" y="195"/>
                  </a:cubicBezTo>
                  <a:lnTo>
                    <a:pt x="59" y="195"/>
                  </a:lnTo>
                  <a:lnTo>
                    <a:pt x="59" y="192"/>
                  </a:lnTo>
                  <a:cubicBezTo>
                    <a:pt x="59" y="192"/>
                    <a:pt x="56" y="189"/>
                    <a:pt x="53" y="189"/>
                  </a:cubicBezTo>
                  <a:close/>
                  <a:moveTo>
                    <a:pt x="73" y="226"/>
                  </a:moveTo>
                  <a:cubicBezTo>
                    <a:pt x="70" y="226"/>
                    <a:pt x="67" y="226"/>
                    <a:pt x="65" y="223"/>
                  </a:cubicBezTo>
                  <a:lnTo>
                    <a:pt x="65" y="226"/>
                  </a:lnTo>
                  <a:lnTo>
                    <a:pt x="62" y="223"/>
                  </a:lnTo>
                  <a:lnTo>
                    <a:pt x="59" y="226"/>
                  </a:lnTo>
                  <a:cubicBezTo>
                    <a:pt x="59" y="229"/>
                    <a:pt x="56" y="229"/>
                    <a:pt x="56" y="232"/>
                  </a:cubicBezTo>
                  <a:cubicBezTo>
                    <a:pt x="59" y="234"/>
                    <a:pt x="62" y="234"/>
                    <a:pt x="65" y="234"/>
                  </a:cubicBezTo>
                  <a:cubicBezTo>
                    <a:pt x="67" y="232"/>
                    <a:pt x="67" y="232"/>
                    <a:pt x="67" y="229"/>
                  </a:cubicBezTo>
                  <a:cubicBezTo>
                    <a:pt x="70" y="229"/>
                    <a:pt x="73" y="226"/>
                    <a:pt x="73" y="226"/>
                  </a:cubicBezTo>
                  <a:close/>
                  <a:moveTo>
                    <a:pt x="84" y="265"/>
                  </a:moveTo>
                  <a:cubicBezTo>
                    <a:pt x="81" y="265"/>
                    <a:pt x="81" y="263"/>
                    <a:pt x="81" y="263"/>
                  </a:cubicBezTo>
                  <a:cubicBezTo>
                    <a:pt x="81" y="263"/>
                    <a:pt x="79" y="260"/>
                    <a:pt x="76" y="263"/>
                  </a:cubicBezTo>
                  <a:lnTo>
                    <a:pt x="73" y="263"/>
                  </a:lnTo>
                  <a:lnTo>
                    <a:pt x="70" y="260"/>
                  </a:lnTo>
                  <a:lnTo>
                    <a:pt x="70" y="257"/>
                  </a:lnTo>
                  <a:lnTo>
                    <a:pt x="65" y="257"/>
                  </a:lnTo>
                  <a:lnTo>
                    <a:pt x="67" y="254"/>
                  </a:lnTo>
                  <a:cubicBezTo>
                    <a:pt x="67" y="254"/>
                    <a:pt x="67" y="251"/>
                    <a:pt x="65" y="251"/>
                  </a:cubicBezTo>
                  <a:cubicBezTo>
                    <a:pt x="65" y="249"/>
                    <a:pt x="62" y="246"/>
                    <a:pt x="62" y="243"/>
                  </a:cubicBezTo>
                  <a:cubicBezTo>
                    <a:pt x="59" y="249"/>
                    <a:pt x="59" y="251"/>
                    <a:pt x="62" y="254"/>
                  </a:cubicBezTo>
                  <a:lnTo>
                    <a:pt x="65" y="254"/>
                  </a:lnTo>
                  <a:lnTo>
                    <a:pt x="62" y="257"/>
                  </a:lnTo>
                  <a:cubicBezTo>
                    <a:pt x="62" y="258"/>
                    <a:pt x="62" y="259"/>
                    <a:pt x="63" y="260"/>
                  </a:cubicBezTo>
                  <a:lnTo>
                    <a:pt x="62" y="260"/>
                  </a:lnTo>
                  <a:lnTo>
                    <a:pt x="62" y="265"/>
                  </a:lnTo>
                  <a:cubicBezTo>
                    <a:pt x="63" y="264"/>
                    <a:pt x="64" y="263"/>
                    <a:pt x="64" y="262"/>
                  </a:cubicBezTo>
                  <a:cubicBezTo>
                    <a:pt x="64" y="263"/>
                    <a:pt x="65" y="263"/>
                    <a:pt x="65" y="263"/>
                  </a:cubicBezTo>
                  <a:cubicBezTo>
                    <a:pt x="67" y="263"/>
                    <a:pt x="67" y="262"/>
                    <a:pt x="67" y="265"/>
                  </a:cubicBezTo>
                  <a:cubicBezTo>
                    <a:pt x="67" y="267"/>
                    <a:pt x="67" y="268"/>
                    <a:pt x="70" y="268"/>
                  </a:cubicBezTo>
                  <a:lnTo>
                    <a:pt x="70" y="274"/>
                  </a:lnTo>
                  <a:cubicBezTo>
                    <a:pt x="73" y="274"/>
                    <a:pt x="76" y="274"/>
                    <a:pt x="76" y="271"/>
                  </a:cubicBezTo>
                  <a:lnTo>
                    <a:pt x="76" y="276"/>
                  </a:lnTo>
                  <a:cubicBezTo>
                    <a:pt x="75" y="275"/>
                    <a:pt x="74" y="275"/>
                    <a:pt x="73" y="274"/>
                  </a:cubicBezTo>
                  <a:lnTo>
                    <a:pt x="67" y="277"/>
                  </a:lnTo>
                  <a:lnTo>
                    <a:pt x="70" y="277"/>
                  </a:lnTo>
                  <a:lnTo>
                    <a:pt x="73" y="277"/>
                  </a:lnTo>
                  <a:cubicBezTo>
                    <a:pt x="73" y="280"/>
                    <a:pt x="73" y="280"/>
                    <a:pt x="70" y="282"/>
                  </a:cubicBezTo>
                  <a:lnTo>
                    <a:pt x="73" y="282"/>
                  </a:lnTo>
                  <a:cubicBezTo>
                    <a:pt x="73" y="282"/>
                    <a:pt x="76" y="282"/>
                    <a:pt x="76" y="280"/>
                  </a:cubicBezTo>
                  <a:lnTo>
                    <a:pt x="79" y="280"/>
                  </a:lnTo>
                  <a:lnTo>
                    <a:pt x="79" y="282"/>
                  </a:lnTo>
                  <a:lnTo>
                    <a:pt x="70" y="291"/>
                  </a:lnTo>
                  <a:lnTo>
                    <a:pt x="87" y="288"/>
                  </a:lnTo>
                  <a:lnTo>
                    <a:pt x="84" y="282"/>
                  </a:lnTo>
                  <a:cubicBezTo>
                    <a:pt x="83" y="281"/>
                    <a:pt x="81" y="280"/>
                    <a:pt x="79" y="278"/>
                  </a:cubicBezTo>
                  <a:lnTo>
                    <a:pt x="84" y="265"/>
                  </a:lnTo>
                  <a:cubicBezTo>
                    <a:pt x="81" y="268"/>
                    <a:pt x="81" y="271"/>
                    <a:pt x="79" y="271"/>
                  </a:cubicBezTo>
                  <a:lnTo>
                    <a:pt x="76" y="268"/>
                  </a:lnTo>
                  <a:lnTo>
                    <a:pt x="84" y="265"/>
                  </a:lnTo>
                  <a:close/>
                  <a:moveTo>
                    <a:pt x="64" y="262"/>
                  </a:moveTo>
                  <a:cubicBezTo>
                    <a:pt x="65" y="262"/>
                    <a:pt x="65" y="261"/>
                    <a:pt x="65" y="260"/>
                  </a:cubicBezTo>
                  <a:lnTo>
                    <a:pt x="63" y="260"/>
                  </a:lnTo>
                  <a:cubicBezTo>
                    <a:pt x="63" y="261"/>
                    <a:pt x="64" y="262"/>
                    <a:pt x="64" y="262"/>
                  </a:cubicBezTo>
                  <a:close/>
                  <a:moveTo>
                    <a:pt x="76" y="277"/>
                  </a:moveTo>
                  <a:cubicBezTo>
                    <a:pt x="76" y="277"/>
                    <a:pt x="76" y="277"/>
                    <a:pt x="76" y="276"/>
                  </a:cubicBezTo>
                  <a:lnTo>
                    <a:pt x="76" y="276"/>
                  </a:lnTo>
                  <a:lnTo>
                    <a:pt x="76" y="277"/>
                  </a:lnTo>
                  <a:close/>
                  <a:moveTo>
                    <a:pt x="79" y="277"/>
                  </a:moveTo>
                  <a:lnTo>
                    <a:pt x="79" y="278"/>
                  </a:lnTo>
                  <a:cubicBezTo>
                    <a:pt x="78" y="278"/>
                    <a:pt x="77" y="277"/>
                    <a:pt x="76" y="276"/>
                  </a:cubicBezTo>
                  <a:cubicBezTo>
                    <a:pt x="79" y="274"/>
                    <a:pt x="79" y="277"/>
                    <a:pt x="79" y="277"/>
                  </a:cubicBezTo>
                  <a:close/>
                  <a:moveTo>
                    <a:pt x="79" y="280"/>
                  </a:moveTo>
                  <a:lnTo>
                    <a:pt x="79" y="278"/>
                  </a:lnTo>
                  <a:lnTo>
                    <a:pt x="79" y="278"/>
                  </a:lnTo>
                  <a:lnTo>
                    <a:pt x="79" y="280"/>
                  </a:lnTo>
                  <a:close/>
                  <a:moveTo>
                    <a:pt x="67" y="311"/>
                  </a:moveTo>
                  <a:lnTo>
                    <a:pt x="67" y="316"/>
                  </a:lnTo>
                  <a:cubicBezTo>
                    <a:pt x="67" y="313"/>
                    <a:pt x="70" y="308"/>
                    <a:pt x="73" y="305"/>
                  </a:cubicBezTo>
                  <a:cubicBezTo>
                    <a:pt x="73" y="305"/>
                    <a:pt x="70" y="305"/>
                    <a:pt x="70" y="302"/>
                  </a:cubicBezTo>
                  <a:lnTo>
                    <a:pt x="67" y="305"/>
                  </a:lnTo>
                  <a:cubicBezTo>
                    <a:pt x="65" y="308"/>
                    <a:pt x="65" y="311"/>
                    <a:pt x="67" y="311"/>
                  </a:cubicBezTo>
                  <a:close/>
                  <a:moveTo>
                    <a:pt x="73" y="243"/>
                  </a:moveTo>
                  <a:lnTo>
                    <a:pt x="73" y="237"/>
                  </a:lnTo>
                  <a:lnTo>
                    <a:pt x="73" y="232"/>
                  </a:lnTo>
                  <a:lnTo>
                    <a:pt x="70" y="237"/>
                  </a:lnTo>
                  <a:lnTo>
                    <a:pt x="67" y="240"/>
                  </a:lnTo>
                  <a:cubicBezTo>
                    <a:pt x="70" y="246"/>
                    <a:pt x="73" y="246"/>
                    <a:pt x="73" y="243"/>
                  </a:cubicBezTo>
                  <a:close/>
                  <a:moveTo>
                    <a:pt x="73" y="294"/>
                  </a:moveTo>
                  <a:cubicBezTo>
                    <a:pt x="70" y="294"/>
                    <a:pt x="67" y="296"/>
                    <a:pt x="67" y="296"/>
                  </a:cubicBezTo>
                  <a:cubicBezTo>
                    <a:pt x="70" y="299"/>
                    <a:pt x="73" y="299"/>
                    <a:pt x="73" y="302"/>
                  </a:cubicBezTo>
                  <a:lnTo>
                    <a:pt x="73" y="294"/>
                  </a:lnTo>
                  <a:close/>
                  <a:moveTo>
                    <a:pt x="76" y="322"/>
                  </a:moveTo>
                  <a:lnTo>
                    <a:pt x="70" y="322"/>
                  </a:lnTo>
                  <a:lnTo>
                    <a:pt x="70" y="325"/>
                  </a:lnTo>
                  <a:cubicBezTo>
                    <a:pt x="73" y="325"/>
                    <a:pt x="73" y="322"/>
                    <a:pt x="76" y="322"/>
                  </a:cubicBezTo>
                  <a:close/>
                  <a:moveTo>
                    <a:pt x="70" y="335"/>
                  </a:moveTo>
                  <a:lnTo>
                    <a:pt x="73" y="335"/>
                  </a:lnTo>
                  <a:lnTo>
                    <a:pt x="76" y="335"/>
                  </a:lnTo>
                  <a:lnTo>
                    <a:pt x="73" y="332"/>
                  </a:lnTo>
                  <a:lnTo>
                    <a:pt x="70" y="335"/>
                  </a:lnTo>
                  <a:close/>
                  <a:moveTo>
                    <a:pt x="84" y="352"/>
                  </a:moveTo>
                  <a:lnTo>
                    <a:pt x="81" y="341"/>
                  </a:lnTo>
                  <a:lnTo>
                    <a:pt x="76" y="341"/>
                  </a:lnTo>
                  <a:lnTo>
                    <a:pt x="73" y="341"/>
                  </a:lnTo>
                  <a:lnTo>
                    <a:pt x="67" y="341"/>
                  </a:lnTo>
                  <a:lnTo>
                    <a:pt x="70" y="343"/>
                  </a:lnTo>
                  <a:lnTo>
                    <a:pt x="73" y="343"/>
                  </a:lnTo>
                  <a:lnTo>
                    <a:pt x="73" y="349"/>
                  </a:lnTo>
                  <a:lnTo>
                    <a:pt x="73" y="355"/>
                  </a:lnTo>
                  <a:cubicBezTo>
                    <a:pt x="79" y="352"/>
                    <a:pt x="81" y="352"/>
                    <a:pt x="84" y="352"/>
                  </a:cubicBezTo>
                  <a:close/>
                  <a:moveTo>
                    <a:pt x="79" y="294"/>
                  </a:moveTo>
                  <a:cubicBezTo>
                    <a:pt x="76" y="296"/>
                    <a:pt x="76" y="299"/>
                    <a:pt x="76" y="299"/>
                  </a:cubicBezTo>
                  <a:lnTo>
                    <a:pt x="79" y="299"/>
                  </a:lnTo>
                  <a:lnTo>
                    <a:pt x="81" y="299"/>
                  </a:lnTo>
                  <a:lnTo>
                    <a:pt x="79" y="294"/>
                  </a:lnTo>
                  <a:close/>
                  <a:moveTo>
                    <a:pt x="79" y="232"/>
                  </a:moveTo>
                  <a:lnTo>
                    <a:pt x="79" y="237"/>
                  </a:lnTo>
                  <a:cubicBezTo>
                    <a:pt x="79" y="234"/>
                    <a:pt x="81" y="232"/>
                    <a:pt x="81" y="229"/>
                  </a:cubicBezTo>
                  <a:lnTo>
                    <a:pt x="76" y="229"/>
                  </a:lnTo>
                  <a:lnTo>
                    <a:pt x="79" y="232"/>
                  </a:lnTo>
                  <a:close/>
                  <a:moveTo>
                    <a:pt x="81" y="383"/>
                  </a:moveTo>
                  <a:cubicBezTo>
                    <a:pt x="81" y="383"/>
                    <a:pt x="84" y="383"/>
                    <a:pt x="81" y="383"/>
                  </a:cubicBezTo>
                  <a:lnTo>
                    <a:pt x="87" y="380"/>
                  </a:lnTo>
                  <a:lnTo>
                    <a:pt x="84" y="377"/>
                  </a:lnTo>
                  <a:lnTo>
                    <a:pt x="79" y="374"/>
                  </a:lnTo>
                  <a:cubicBezTo>
                    <a:pt x="79" y="377"/>
                    <a:pt x="81" y="380"/>
                    <a:pt x="81" y="383"/>
                  </a:cubicBezTo>
                  <a:close/>
                  <a:moveTo>
                    <a:pt x="79" y="363"/>
                  </a:moveTo>
                  <a:lnTo>
                    <a:pt x="79" y="366"/>
                  </a:lnTo>
                  <a:cubicBezTo>
                    <a:pt x="79" y="363"/>
                    <a:pt x="81" y="363"/>
                    <a:pt x="81" y="360"/>
                  </a:cubicBezTo>
                  <a:lnTo>
                    <a:pt x="79" y="363"/>
                  </a:lnTo>
                  <a:close/>
                  <a:moveTo>
                    <a:pt x="112" y="251"/>
                  </a:moveTo>
                  <a:lnTo>
                    <a:pt x="112" y="249"/>
                  </a:lnTo>
                  <a:lnTo>
                    <a:pt x="112" y="246"/>
                  </a:lnTo>
                  <a:lnTo>
                    <a:pt x="114" y="243"/>
                  </a:lnTo>
                  <a:cubicBezTo>
                    <a:pt x="114" y="243"/>
                    <a:pt x="114" y="240"/>
                    <a:pt x="117" y="240"/>
                  </a:cubicBezTo>
                  <a:cubicBezTo>
                    <a:pt x="114" y="240"/>
                    <a:pt x="114" y="243"/>
                    <a:pt x="112" y="243"/>
                  </a:cubicBezTo>
                  <a:lnTo>
                    <a:pt x="106" y="246"/>
                  </a:lnTo>
                  <a:lnTo>
                    <a:pt x="103" y="246"/>
                  </a:lnTo>
                  <a:lnTo>
                    <a:pt x="100" y="246"/>
                  </a:lnTo>
                  <a:cubicBezTo>
                    <a:pt x="100" y="246"/>
                    <a:pt x="100" y="249"/>
                    <a:pt x="97" y="249"/>
                  </a:cubicBezTo>
                  <a:cubicBezTo>
                    <a:pt x="97" y="251"/>
                    <a:pt x="96" y="251"/>
                    <a:pt x="96" y="254"/>
                  </a:cubicBezTo>
                  <a:lnTo>
                    <a:pt x="93" y="251"/>
                  </a:lnTo>
                  <a:lnTo>
                    <a:pt x="87" y="249"/>
                  </a:lnTo>
                  <a:cubicBezTo>
                    <a:pt x="87" y="251"/>
                    <a:pt x="83" y="251"/>
                    <a:pt x="81" y="251"/>
                  </a:cubicBezTo>
                  <a:cubicBezTo>
                    <a:pt x="78" y="251"/>
                    <a:pt x="79" y="254"/>
                    <a:pt x="79" y="257"/>
                  </a:cubicBezTo>
                  <a:lnTo>
                    <a:pt x="81" y="257"/>
                  </a:lnTo>
                  <a:cubicBezTo>
                    <a:pt x="81" y="257"/>
                    <a:pt x="84" y="257"/>
                    <a:pt x="84" y="260"/>
                  </a:cubicBezTo>
                  <a:lnTo>
                    <a:pt x="87" y="260"/>
                  </a:lnTo>
                  <a:lnTo>
                    <a:pt x="87" y="257"/>
                  </a:lnTo>
                  <a:lnTo>
                    <a:pt x="87" y="254"/>
                  </a:lnTo>
                  <a:lnTo>
                    <a:pt x="90" y="254"/>
                  </a:lnTo>
                  <a:lnTo>
                    <a:pt x="93" y="257"/>
                  </a:lnTo>
                  <a:cubicBezTo>
                    <a:pt x="96" y="254"/>
                    <a:pt x="95" y="254"/>
                    <a:pt x="97" y="254"/>
                  </a:cubicBezTo>
                  <a:cubicBezTo>
                    <a:pt x="100" y="254"/>
                    <a:pt x="103" y="251"/>
                    <a:pt x="106" y="249"/>
                  </a:cubicBezTo>
                  <a:lnTo>
                    <a:pt x="106" y="260"/>
                  </a:lnTo>
                  <a:lnTo>
                    <a:pt x="106" y="257"/>
                  </a:lnTo>
                  <a:cubicBezTo>
                    <a:pt x="103" y="257"/>
                    <a:pt x="103" y="254"/>
                    <a:pt x="103" y="251"/>
                  </a:cubicBezTo>
                  <a:lnTo>
                    <a:pt x="100" y="254"/>
                  </a:lnTo>
                  <a:lnTo>
                    <a:pt x="100" y="257"/>
                  </a:lnTo>
                  <a:lnTo>
                    <a:pt x="93" y="260"/>
                  </a:lnTo>
                  <a:lnTo>
                    <a:pt x="90" y="260"/>
                  </a:lnTo>
                  <a:lnTo>
                    <a:pt x="87" y="263"/>
                  </a:lnTo>
                  <a:lnTo>
                    <a:pt x="90" y="263"/>
                  </a:lnTo>
                  <a:lnTo>
                    <a:pt x="96" y="260"/>
                  </a:lnTo>
                  <a:cubicBezTo>
                    <a:pt x="97" y="263"/>
                    <a:pt x="103" y="263"/>
                    <a:pt x="106" y="260"/>
                  </a:cubicBezTo>
                  <a:lnTo>
                    <a:pt x="109" y="260"/>
                  </a:lnTo>
                  <a:lnTo>
                    <a:pt x="109" y="257"/>
                  </a:lnTo>
                  <a:cubicBezTo>
                    <a:pt x="112" y="251"/>
                    <a:pt x="109" y="251"/>
                    <a:pt x="112" y="251"/>
                  </a:cubicBezTo>
                  <a:close/>
                  <a:moveTo>
                    <a:pt x="90" y="377"/>
                  </a:moveTo>
                  <a:lnTo>
                    <a:pt x="90" y="369"/>
                  </a:lnTo>
                  <a:lnTo>
                    <a:pt x="87" y="369"/>
                  </a:lnTo>
                  <a:lnTo>
                    <a:pt x="87" y="377"/>
                  </a:lnTo>
                  <a:lnTo>
                    <a:pt x="90" y="377"/>
                  </a:lnTo>
                  <a:close/>
                  <a:moveTo>
                    <a:pt x="90" y="414"/>
                  </a:moveTo>
                  <a:cubicBezTo>
                    <a:pt x="90" y="417"/>
                    <a:pt x="90" y="420"/>
                    <a:pt x="87" y="422"/>
                  </a:cubicBezTo>
                  <a:lnTo>
                    <a:pt x="96" y="422"/>
                  </a:lnTo>
                  <a:lnTo>
                    <a:pt x="93" y="417"/>
                  </a:lnTo>
                  <a:cubicBezTo>
                    <a:pt x="93" y="414"/>
                    <a:pt x="93" y="414"/>
                    <a:pt x="90" y="414"/>
                  </a:cubicBezTo>
                  <a:cubicBezTo>
                    <a:pt x="93" y="411"/>
                    <a:pt x="93" y="408"/>
                    <a:pt x="93" y="408"/>
                  </a:cubicBezTo>
                  <a:lnTo>
                    <a:pt x="93" y="405"/>
                  </a:lnTo>
                  <a:cubicBezTo>
                    <a:pt x="90" y="408"/>
                    <a:pt x="87" y="408"/>
                    <a:pt x="87" y="411"/>
                  </a:cubicBezTo>
                  <a:cubicBezTo>
                    <a:pt x="87" y="411"/>
                    <a:pt x="87" y="414"/>
                    <a:pt x="90" y="414"/>
                  </a:cubicBezTo>
                  <a:close/>
                  <a:moveTo>
                    <a:pt x="84" y="237"/>
                  </a:moveTo>
                  <a:lnTo>
                    <a:pt x="84" y="243"/>
                  </a:lnTo>
                  <a:lnTo>
                    <a:pt x="87" y="243"/>
                  </a:lnTo>
                  <a:lnTo>
                    <a:pt x="87" y="237"/>
                  </a:lnTo>
                  <a:lnTo>
                    <a:pt x="84" y="237"/>
                  </a:lnTo>
                  <a:close/>
                  <a:moveTo>
                    <a:pt x="97" y="434"/>
                  </a:moveTo>
                  <a:lnTo>
                    <a:pt x="96" y="437"/>
                  </a:lnTo>
                  <a:cubicBezTo>
                    <a:pt x="97" y="437"/>
                    <a:pt x="97" y="434"/>
                    <a:pt x="97" y="434"/>
                  </a:cubicBezTo>
                  <a:close/>
                  <a:moveTo>
                    <a:pt x="96" y="448"/>
                  </a:moveTo>
                  <a:lnTo>
                    <a:pt x="100" y="448"/>
                  </a:lnTo>
                  <a:lnTo>
                    <a:pt x="100" y="445"/>
                  </a:lnTo>
                  <a:cubicBezTo>
                    <a:pt x="100" y="448"/>
                    <a:pt x="97" y="448"/>
                    <a:pt x="96" y="448"/>
                  </a:cubicBezTo>
                  <a:close/>
                  <a:moveTo>
                    <a:pt x="97" y="465"/>
                  </a:moveTo>
                  <a:cubicBezTo>
                    <a:pt x="100" y="468"/>
                    <a:pt x="100" y="468"/>
                    <a:pt x="103" y="468"/>
                  </a:cubicBezTo>
                  <a:cubicBezTo>
                    <a:pt x="103" y="462"/>
                    <a:pt x="103" y="465"/>
                    <a:pt x="97" y="465"/>
                  </a:cubicBezTo>
                  <a:close/>
                  <a:moveTo>
                    <a:pt x="137" y="257"/>
                  </a:moveTo>
                  <a:lnTo>
                    <a:pt x="131" y="251"/>
                  </a:lnTo>
                  <a:lnTo>
                    <a:pt x="128" y="249"/>
                  </a:lnTo>
                  <a:cubicBezTo>
                    <a:pt x="131" y="246"/>
                    <a:pt x="131" y="246"/>
                    <a:pt x="131" y="243"/>
                  </a:cubicBezTo>
                  <a:cubicBezTo>
                    <a:pt x="128" y="243"/>
                    <a:pt x="128" y="240"/>
                    <a:pt x="128" y="240"/>
                  </a:cubicBezTo>
                  <a:lnTo>
                    <a:pt x="123" y="240"/>
                  </a:lnTo>
                  <a:lnTo>
                    <a:pt x="128" y="246"/>
                  </a:lnTo>
                  <a:cubicBezTo>
                    <a:pt x="126" y="249"/>
                    <a:pt x="126" y="251"/>
                    <a:pt x="123" y="251"/>
                  </a:cubicBezTo>
                  <a:lnTo>
                    <a:pt x="123" y="254"/>
                  </a:lnTo>
                  <a:cubicBezTo>
                    <a:pt x="123" y="254"/>
                    <a:pt x="123" y="251"/>
                    <a:pt x="120" y="251"/>
                  </a:cubicBezTo>
                  <a:cubicBezTo>
                    <a:pt x="120" y="251"/>
                    <a:pt x="117" y="249"/>
                    <a:pt x="120" y="249"/>
                  </a:cubicBezTo>
                  <a:lnTo>
                    <a:pt x="120" y="246"/>
                  </a:lnTo>
                  <a:lnTo>
                    <a:pt x="117" y="246"/>
                  </a:lnTo>
                  <a:lnTo>
                    <a:pt x="117" y="257"/>
                  </a:lnTo>
                  <a:lnTo>
                    <a:pt x="123" y="257"/>
                  </a:lnTo>
                  <a:lnTo>
                    <a:pt x="128" y="263"/>
                  </a:lnTo>
                  <a:lnTo>
                    <a:pt x="131" y="260"/>
                  </a:lnTo>
                  <a:lnTo>
                    <a:pt x="131" y="257"/>
                  </a:lnTo>
                  <a:cubicBezTo>
                    <a:pt x="131" y="254"/>
                    <a:pt x="134" y="254"/>
                    <a:pt x="137" y="257"/>
                  </a:cubicBezTo>
                  <a:close/>
                  <a:moveTo>
                    <a:pt x="126" y="232"/>
                  </a:moveTo>
                  <a:cubicBezTo>
                    <a:pt x="128" y="234"/>
                    <a:pt x="128" y="234"/>
                    <a:pt x="131" y="232"/>
                  </a:cubicBezTo>
                  <a:lnTo>
                    <a:pt x="131" y="234"/>
                  </a:lnTo>
                  <a:cubicBezTo>
                    <a:pt x="134" y="234"/>
                    <a:pt x="137" y="234"/>
                    <a:pt x="137" y="237"/>
                  </a:cubicBezTo>
                  <a:lnTo>
                    <a:pt x="137" y="232"/>
                  </a:lnTo>
                  <a:lnTo>
                    <a:pt x="131" y="232"/>
                  </a:lnTo>
                  <a:lnTo>
                    <a:pt x="128" y="232"/>
                  </a:lnTo>
                  <a:lnTo>
                    <a:pt x="126" y="232"/>
                  </a:lnTo>
                  <a:close/>
                  <a:moveTo>
                    <a:pt x="131" y="127"/>
                  </a:moveTo>
                  <a:lnTo>
                    <a:pt x="137" y="127"/>
                  </a:lnTo>
                  <a:lnTo>
                    <a:pt x="137" y="124"/>
                  </a:lnTo>
                  <a:lnTo>
                    <a:pt x="134" y="124"/>
                  </a:lnTo>
                  <a:cubicBezTo>
                    <a:pt x="134" y="127"/>
                    <a:pt x="131" y="127"/>
                    <a:pt x="131" y="127"/>
                  </a:cubicBezTo>
                  <a:close/>
                  <a:moveTo>
                    <a:pt x="134" y="226"/>
                  </a:moveTo>
                  <a:lnTo>
                    <a:pt x="137" y="226"/>
                  </a:lnTo>
                  <a:lnTo>
                    <a:pt x="137" y="223"/>
                  </a:lnTo>
                  <a:cubicBezTo>
                    <a:pt x="137" y="226"/>
                    <a:pt x="134" y="226"/>
                    <a:pt x="134" y="226"/>
                  </a:cubicBezTo>
                  <a:close/>
                  <a:moveTo>
                    <a:pt x="143" y="249"/>
                  </a:moveTo>
                  <a:lnTo>
                    <a:pt x="143" y="251"/>
                  </a:lnTo>
                  <a:cubicBezTo>
                    <a:pt x="140" y="251"/>
                    <a:pt x="140" y="251"/>
                    <a:pt x="140" y="249"/>
                  </a:cubicBezTo>
                  <a:cubicBezTo>
                    <a:pt x="139" y="249"/>
                    <a:pt x="138" y="249"/>
                    <a:pt x="137" y="249"/>
                  </a:cubicBezTo>
                  <a:cubicBezTo>
                    <a:pt x="140" y="254"/>
                    <a:pt x="143" y="257"/>
                    <a:pt x="143" y="257"/>
                  </a:cubicBezTo>
                  <a:cubicBezTo>
                    <a:pt x="145" y="254"/>
                    <a:pt x="143" y="254"/>
                    <a:pt x="145" y="251"/>
                  </a:cubicBezTo>
                  <a:lnTo>
                    <a:pt x="145" y="246"/>
                  </a:lnTo>
                  <a:lnTo>
                    <a:pt x="148" y="246"/>
                  </a:lnTo>
                  <a:cubicBezTo>
                    <a:pt x="148" y="243"/>
                    <a:pt x="148" y="243"/>
                    <a:pt x="148" y="246"/>
                  </a:cubicBezTo>
                  <a:lnTo>
                    <a:pt x="145" y="246"/>
                  </a:lnTo>
                  <a:cubicBezTo>
                    <a:pt x="145" y="246"/>
                    <a:pt x="145" y="249"/>
                    <a:pt x="143" y="249"/>
                  </a:cubicBezTo>
                  <a:cubicBezTo>
                    <a:pt x="143" y="240"/>
                    <a:pt x="143" y="240"/>
                    <a:pt x="137" y="240"/>
                  </a:cubicBezTo>
                  <a:cubicBezTo>
                    <a:pt x="137" y="243"/>
                    <a:pt x="140" y="246"/>
                    <a:pt x="143" y="249"/>
                  </a:cubicBezTo>
                  <a:close/>
                  <a:moveTo>
                    <a:pt x="134" y="263"/>
                  </a:moveTo>
                  <a:lnTo>
                    <a:pt x="140" y="263"/>
                  </a:lnTo>
                  <a:lnTo>
                    <a:pt x="137" y="260"/>
                  </a:lnTo>
                  <a:lnTo>
                    <a:pt x="137" y="257"/>
                  </a:lnTo>
                  <a:cubicBezTo>
                    <a:pt x="137" y="257"/>
                    <a:pt x="137" y="260"/>
                    <a:pt x="134" y="263"/>
                  </a:cubicBezTo>
                  <a:close/>
                  <a:moveTo>
                    <a:pt x="137" y="217"/>
                  </a:moveTo>
                  <a:lnTo>
                    <a:pt x="140" y="217"/>
                  </a:lnTo>
                  <a:lnTo>
                    <a:pt x="140" y="215"/>
                  </a:lnTo>
                  <a:lnTo>
                    <a:pt x="137" y="217"/>
                  </a:lnTo>
                  <a:close/>
                  <a:moveTo>
                    <a:pt x="140" y="226"/>
                  </a:moveTo>
                  <a:lnTo>
                    <a:pt x="143" y="234"/>
                  </a:lnTo>
                  <a:lnTo>
                    <a:pt x="148" y="234"/>
                  </a:lnTo>
                  <a:lnTo>
                    <a:pt x="148" y="232"/>
                  </a:lnTo>
                  <a:cubicBezTo>
                    <a:pt x="148" y="229"/>
                    <a:pt x="151" y="229"/>
                    <a:pt x="151" y="229"/>
                  </a:cubicBezTo>
                  <a:cubicBezTo>
                    <a:pt x="145" y="223"/>
                    <a:pt x="143" y="223"/>
                    <a:pt x="140" y="226"/>
                  </a:cubicBezTo>
                  <a:close/>
                  <a:moveTo>
                    <a:pt x="145" y="263"/>
                  </a:moveTo>
                  <a:lnTo>
                    <a:pt x="151" y="263"/>
                  </a:lnTo>
                  <a:cubicBezTo>
                    <a:pt x="154" y="263"/>
                    <a:pt x="154" y="260"/>
                    <a:pt x="151" y="257"/>
                  </a:cubicBezTo>
                  <a:cubicBezTo>
                    <a:pt x="148" y="257"/>
                    <a:pt x="145" y="260"/>
                    <a:pt x="143" y="260"/>
                  </a:cubicBezTo>
                  <a:cubicBezTo>
                    <a:pt x="143" y="263"/>
                    <a:pt x="145" y="263"/>
                    <a:pt x="145" y="263"/>
                  </a:cubicBezTo>
                  <a:close/>
                  <a:moveTo>
                    <a:pt x="148" y="189"/>
                  </a:moveTo>
                  <a:lnTo>
                    <a:pt x="143" y="189"/>
                  </a:lnTo>
                  <a:lnTo>
                    <a:pt x="143" y="192"/>
                  </a:lnTo>
                  <a:cubicBezTo>
                    <a:pt x="145" y="192"/>
                    <a:pt x="148" y="189"/>
                    <a:pt x="148" y="189"/>
                  </a:cubicBezTo>
                  <a:close/>
                  <a:moveTo>
                    <a:pt x="148" y="243"/>
                  </a:moveTo>
                  <a:cubicBezTo>
                    <a:pt x="151" y="240"/>
                    <a:pt x="151" y="240"/>
                    <a:pt x="146" y="240"/>
                  </a:cubicBezTo>
                  <a:cubicBezTo>
                    <a:pt x="147" y="241"/>
                    <a:pt x="147" y="242"/>
                    <a:pt x="148" y="243"/>
                  </a:cubicBezTo>
                  <a:close/>
                  <a:moveTo>
                    <a:pt x="159" y="274"/>
                  </a:moveTo>
                  <a:cubicBezTo>
                    <a:pt x="154" y="268"/>
                    <a:pt x="154" y="268"/>
                    <a:pt x="148" y="274"/>
                  </a:cubicBezTo>
                  <a:lnTo>
                    <a:pt x="154" y="274"/>
                  </a:lnTo>
                  <a:cubicBezTo>
                    <a:pt x="154" y="274"/>
                    <a:pt x="157" y="274"/>
                    <a:pt x="157" y="277"/>
                  </a:cubicBezTo>
                  <a:lnTo>
                    <a:pt x="159" y="274"/>
                  </a:lnTo>
                  <a:close/>
                  <a:moveTo>
                    <a:pt x="159" y="338"/>
                  </a:moveTo>
                  <a:lnTo>
                    <a:pt x="162" y="341"/>
                  </a:lnTo>
                  <a:lnTo>
                    <a:pt x="165" y="341"/>
                  </a:lnTo>
                  <a:cubicBezTo>
                    <a:pt x="165" y="338"/>
                    <a:pt x="165" y="338"/>
                    <a:pt x="159" y="338"/>
                  </a:cubicBezTo>
                  <a:close/>
                  <a:moveTo>
                    <a:pt x="171" y="294"/>
                  </a:moveTo>
                  <a:cubicBezTo>
                    <a:pt x="168" y="291"/>
                    <a:pt x="168" y="291"/>
                    <a:pt x="165" y="291"/>
                  </a:cubicBezTo>
                  <a:lnTo>
                    <a:pt x="165" y="294"/>
                  </a:lnTo>
                  <a:lnTo>
                    <a:pt x="171" y="294"/>
                  </a:lnTo>
                  <a:close/>
                  <a:moveTo>
                    <a:pt x="165" y="363"/>
                  </a:moveTo>
                  <a:cubicBezTo>
                    <a:pt x="171" y="363"/>
                    <a:pt x="171" y="363"/>
                    <a:pt x="168" y="360"/>
                  </a:cubicBezTo>
                  <a:lnTo>
                    <a:pt x="165" y="363"/>
                  </a:lnTo>
                  <a:close/>
                  <a:moveTo>
                    <a:pt x="165" y="386"/>
                  </a:moveTo>
                  <a:cubicBezTo>
                    <a:pt x="168" y="386"/>
                    <a:pt x="171" y="386"/>
                    <a:pt x="171" y="389"/>
                  </a:cubicBezTo>
                  <a:cubicBezTo>
                    <a:pt x="171" y="386"/>
                    <a:pt x="171" y="380"/>
                    <a:pt x="165" y="386"/>
                  </a:cubicBezTo>
                  <a:close/>
                  <a:moveTo>
                    <a:pt x="182" y="374"/>
                  </a:moveTo>
                  <a:lnTo>
                    <a:pt x="176" y="374"/>
                  </a:lnTo>
                  <a:lnTo>
                    <a:pt x="176" y="377"/>
                  </a:lnTo>
                  <a:cubicBezTo>
                    <a:pt x="179" y="374"/>
                    <a:pt x="179" y="374"/>
                    <a:pt x="182" y="374"/>
                  </a:cubicBezTo>
                  <a:close/>
                  <a:moveTo>
                    <a:pt x="179" y="389"/>
                  </a:moveTo>
                  <a:lnTo>
                    <a:pt x="182" y="389"/>
                  </a:lnTo>
                  <a:lnTo>
                    <a:pt x="182" y="386"/>
                  </a:lnTo>
                  <a:cubicBezTo>
                    <a:pt x="182" y="386"/>
                    <a:pt x="179" y="386"/>
                    <a:pt x="179" y="389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1" name="Freeform 1459"/>
            <p:cNvSpPr>
              <a:spLocks noChangeArrowheads="1"/>
            </p:cNvSpPr>
            <p:nvPr/>
          </p:nvSpPr>
          <p:spPr bwMode="auto">
            <a:xfrm>
              <a:off x="4159250" y="2447925"/>
              <a:ext cx="74613" cy="176213"/>
            </a:xfrm>
            <a:custGeom>
              <a:avLst/>
              <a:gdLst>
                <a:gd name="T0" fmla="*/ 191 w 209"/>
                <a:gd name="T1" fmla="*/ 453 h 488"/>
                <a:gd name="T2" fmla="*/ 59 w 209"/>
                <a:gd name="T3" fmla="*/ 428 h 488"/>
                <a:gd name="T4" fmla="*/ 45 w 209"/>
                <a:gd name="T5" fmla="*/ 333 h 488"/>
                <a:gd name="T6" fmla="*/ 16 w 209"/>
                <a:gd name="T7" fmla="*/ 197 h 488"/>
                <a:gd name="T8" fmla="*/ 25 w 209"/>
                <a:gd name="T9" fmla="*/ 14 h 488"/>
                <a:gd name="T10" fmla="*/ 129 w 209"/>
                <a:gd name="T11" fmla="*/ 56 h 488"/>
                <a:gd name="T12" fmla="*/ 135 w 209"/>
                <a:gd name="T13" fmla="*/ 113 h 488"/>
                <a:gd name="T14" fmla="*/ 158 w 209"/>
                <a:gd name="T15" fmla="*/ 195 h 488"/>
                <a:gd name="T16" fmla="*/ 180 w 209"/>
                <a:gd name="T17" fmla="*/ 316 h 488"/>
                <a:gd name="T18" fmla="*/ 39 w 209"/>
                <a:gd name="T19" fmla="*/ 65 h 488"/>
                <a:gd name="T20" fmla="*/ 42 w 209"/>
                <a:gd name="T21" fmla="*/ 56 h 488"/>
                <a:gd name="T22" fmla="*/ 45 w 209"/>
                <a:gd name="T23" fmla="*/ 130 h 488"/>
                <a:gd name="T24" fmla="*/ 45 w 209"/>
                <a:gd name="T25" fmla="*/ 37 h 488"/>
                <a:gd name="T26" fmla="*/ 47 w 209"/>
                <a:gd name="T27" fmla="*/ 42 h 488"/>
                <a:gd name="T28" fmla="*/ 121 w 209"/>
                <a:gd name="T29" fmla="*/ 419 h 488"/>
                <a:gd name="T30" fmla="*/ 129 w 209"/>
                <a:gd name="T31" fmla="*/ 288 h 488"/>
                <a:gd name="T32" fmla="*/ 118 w 209"/>
                <a:gd name="T33" fmla="*/ 214 h 488"/>
                <a:gd name="T34" fmla="*/ 101 w 209"/>
                <a:gd name="T35" fmla="*/ 118 h 488"/>
                <a:gd name="T36" fmla="*/ 62 w 209"/>
                <a:gd name="T37" fmla="*/ 99 h 488"/>
                <a:gd name="T38" fmla="*/ 87 w 209"/>
                <a:gd name="T39" fmla="*/ 245 h 488"/>
                <a:gd name="T40" fmla="*/ 110 w 209"/>
                <a:gd name="T41" fmla="*/ 357 h 488"/>
                <a:gd name="T42" fmla="*/ 62 w 209"/>
                <a:gd name="T43" fmla="*/ 268 h 488"/>
                <a:gd name="T44" fmla="*/ 64 w 209"/>
                <a:gd name="T45" fmla="*/ 31 h 488"/>
                <a:gd name="T46" fmla="*/ 76 w 209"/>
                <a:gd name="T47" fmla="*/ 320 h 488"/>
                <a:gd name="T48" fmla="*/ 73 w 209"/>
                <a:gd name="T49" fmla="*/ 42 h 488"/>
                <a:gd name="T50" fmla="*/ 70 w 209"/>
                <a:gd name="T51" fmla="*/ 363 h 488"/>
                <a:gd name="T52" fmla="*/ 73 w 209"/>
                <a:gd name="T53" fmla="*/ 34 h 488"/>
                <a:gd name="T54" fmla="*/ 84 w 209"/>
                <a:gd name="T55" fmla="*/ 366 h 488"/>
                <a:gd name="T56" fmla="*/ 87 w 209"/>
                <a:gd name="T57" fmla="*/ 380 h 488"/>
                <a:gd name="T58" fmla="*/ 93 w 209"/>
                <a:gd name="T59" fmla="*/ 39 h 488"/>
                <a:gd name="T60" fmla="*/ 87 w 209"/>
                <a:gd name="T61" fmla="*/ 397 h 488"/>
                <a:gd name="T62" fmla="*/ 101 w 209"/>
                <a:gd name="T63" fmla="*/ 53 h 488"/>
                <a:gd name="T64" fmla="*/ 107 w 209"/>
                <a:gd name="T65" fmla="*/ 450 h 488"/>
                <a:gd name="T66" fmla="*/ 115 w 209"/>
                <a:gd name="T67" fmla="*/ 59 h 488"/>
                <a:gd name="T68" fmla="*/ 124 w 209"/>
                <a:gd name="T69" fmla="*/ 73 h 488"/>
                <a:gd name="T70" fmla="*/ 124 w 209"/>
                <a:gd name="T71" fmla="*/ 130 h 488"/>
                <a:gd name="T72" fmla="*/ 129 w 209"/>
                <a:gd name="T73" fmla="*/ 158 h 488"/>
                <a:gd name="T74" fmla="*/ 124 w 209"/>
                <a:gd name="T75" fmla="*/ 453 h 488"/>
                <a:gd name="T76" fmla="*/ 129 w 209"/>
                <a:gd name="T77" fmla="*/ 144 h 488"/>
                <a:gd name="T78" fmla="*/ 129 w 209"/>
                <a:gd name="T79" fmla="*/ 121 h 488"/>
                <a:gd name="T80" fmla="*/ 141 w 209"/>
                <a:gd name="T81" fmla="*/ 186 h 488"/>
                <a:gd name="T82" fmla="*/ 138 w 209"/>
                <a:gd name="T83" fmla="*/ 442 h 488"/>
                <a:gd name="T84" fmla="*/ 141 w 209"/>
                <a:gd name="T85" fmla="*/ 223 h 488"/>
                <a:gd name="T86" fmla="*/ 143 w 209"/>
                <a:gd name="T87" fmla="*/ 234 h 488"/>
                <a:gd name="T88" fmla="*/ 143 w 209"/>
                <a:gd name="T89" fmla="*/ 442 h 488"/>
                <a:gd name="T90" fmla="*/ 152 w 209"/>
                <a:gd name="T91" fmla="*/ 271 h 488"/>
                <a:gd name="T92" fmla="*/ 158 w 209"/>
                <a:gd name="T93" fmla="*/ 445 h 488"/>
                <a:gd name="T94" fmla="*/ 158 w 209"/>
                <a:gd name="T95" fmla="*/ 433 h 488"/>
                <a:gd name="T96" fmla="*/ 165 w 209"/>
                <a:gd name="T97" fmla="*/ 297 h 488"/>
                <a:gd name="T98" fmla="*/ 172 w 209"/>
                <a:gd name="T99" fmla="*/ 296 h 488"/>
                <a:gd name="T100" fmla="*/ 160 w 209"/>
                <a:gd name="T101" fmla="*/ 333 h 488"/>
                <a:gd name="T102" fmla="*/ 163 w 209"/>
                <a:gd name="T103" fmla="*/ 324 h 488"/>
                <a:gd name="T104" fmla="*/ 163 w 209"/>
                <a:gd name="T105" fmla="*/ 333 h 488"/>
                <a:gd name="T106" fmla="*/ 163 w 209"/>
                <a:gd name="T107" fmla="*/ 366 h 488"/>
                <a:gd name="T108" fmla="*/ 180 w 209"/>
                <a:gd name="T109" fmla="*/ 377 h 488"/>
                <a:gd name="T110" fmla="*/ 169 w 209"/>
                <a:gd name="T111" fmla="*/ 411 h 488"/>
                <a:gd name="T112" fmla="*/ 172 w 209"/>
                <a:gd name="T113" fmla="*/ 313 h 488"/>
                <a:gd name="T114" fmla="*/ 177 w 209"/>
                <a:gd name="T115" fmla="*/ 397 h 488"/>
                <a:gd name="T116" fmla="*/ 177 w 209"/>
                <a:gd name="T117" fmla="*/ 360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9" h="488">
                  <a:moveTo>
                    <a:pt x="200" y="344"/>
                  </a:moveTo>
                  <a:cubicBezTo>
                    <a:pt x="200" y="352"/>
                    <a:pt x="203" y="357"/>
                    <a:pt x="203" y="366"/>
                  </a:cubicBezTo>
                  <a:lnTo>
                    <a:pt x="203" y="371"/>
                  </a:lnTo>
                  <a:lnTo>
                    <a:pt x="203" y="383"/>
                  </a:lnTo>
                  <a:lnTo>
                    <a:pt x="203" y="388"/>
                  </a:lnTo>
                  <a:cubicBezTo>
                    <a:pt x="208" y="394"/>
                    <a:pt x="206" y="397"/>
                    <a:pt x="203" y="402"/>
                  </a:cubicBezTo>
                  <a:lnTo>
                    <a:pt x="203" y="416"/>
                  </a:lnTo>
                  <a:lnTo>
                    <a:pt x="203" y="430"/>
                  </a:lnTo>
                  <a:lnTo>
                    <a:pt x="203" y="436"/>
                  </a:lnTo>
                  <a:cubicBezTo>
                    <a:pt x="203" y="439"/>
                    <a:pt x="200" y="439"/>
                    <a:pt x="200" y="442"/>
                  </a:cubicBezTo>
                  <a:cubicBezTo>
                    <a:pt x="197" y="445"/>
                    <a:pt x="194" y="450"/>
                    <a:pt x="191" y="453"/>
                  </a:cubicBezTo>
                  <a:lnTo>
                    <a:pt x="186" y="462"/>
                  </a:lnTo>
                  <a:cubicBezTo>
                    <a:pt x="180" y="467"/>
                    <a:pt x="172" y="473"/>
                    <a:pt x="163" y="478"/>
                  </a:cubicBezTo>
                  <a:cubicBezTo>
                    <a:pt x="160" y="481"/>
                    <a:pt x="158" y="481"/>
                    <a:pt x="152" y="481"/>
                  </a:cubicBezTo>
                  <a:cubicBezTo>
                    <a:pt x="149" y="481"/>
                    <a:pt x="146" y="481"/>
                    <a:pt x="141" y="484"/>
                  </a:cubicBezTo>
                  <a:cubicBezTo>
                    <a:pt x="138" y="481"/>
                    <a:pt x="138" y="481"/>
                    <a:pt x="135" y="481"/>
                  </a:cubicBezTo>
                  <a:cubicBezTo>
                    <a:pt x="132" y="481"/>
                    <a:pt x="132" y="484"/>
                    <a:pt x="129" y="484"/>
                  </a:cubicBezTo>
                  <a:cubicBezTo>
                    <a:pt x="115" y="487"/>
                    <a:pt x="104" y="481"/>
                    <a:pt x="93" y="473"/>
                  </a:cubicBezTo>
                  <a:cubicBezTo>
                    <a:pt x="87" y="470"/>
                    <a:pt x="84" y="467"/>
                    <a:pt x="81" y="462"/>
                  </a:cubicBezTo>
                  <a:cubicBezTo>
                    <a:pt x="81" y="459"/>
                    <a:pt x="79" y="456"/>
                    <a:pt x="76" y="456"/>
                  </a:cubicBezTo>
                  <a:cubicBezTo>
                    <a:pt x="73" y="453"/>
                    <a:pt x="70" y="453"/>
                    <a:pt x="67" y="450"/>
                  </a:cubicBezTo>
                  <a:cubicBezTo>
                    <a:pt x="67" y="442"/>
                    <a:pt x="64" y="433"/>
                    <a:pt x="59" y="428"/>
                  </a:cubicBezTo>
                  <a:lnTo>
                    <a:pt x="59" y="422"/>
                  </a:lnTo>
                  <a:lnTo>
                    <a:pt x="59" y="419"/>
                  </a:lnTo>
                  <a:cubicBezTo>
                    <a:pt x="59" y="416"/>
                    <a:pt x="56" y="414"/>
                    <a:pt x="56" y="411"/>
                  </a:cubicBezTo>
                  <a:cubicBezTo>
                    <a:pt x="53" y="405"/>
                    <a:pt x="50" y="399"/>
                    <a:pt x="53" y="394"/>
                  </a:cubicBezTo>
                  <a:lnTo>
                    <a:pt x="53" y="385"/>
                  </a:lnTo>
                  <a:cubicBezTo>
                    <a:pt x="53" y="383"/>
                    <a:pt x="50" y="377"/>
                    <a:pt x="50" y="374"/>
                  </a:cubicBezTo>
                  <a:lnTo>
                    <a:pt x="47" y="368"/>
                  </a:lnTo>
                  <a:cubicBezTo>
                    <a:pt x="45" y="366"/>
                    <a:pt x="47" y="366"/>
                    <a:pt x="47" y="360"/>
                  </a:cubicBezTo>
                  <a:lnTo>
                    <a:pt x="47" y="354"/>
                  </a:lnTo>
                  <a:lnTo>
                    <a:pt x="47" y="347"/>
                  </a:lnTo>
                  <a:cubicBezTo>
                    <a:pt x="45" y="341"/>
                    <a:pt x="45" y="338"/>
                    <a:pt x="45" y="333"/>
                  </a:cubicBezTo>
                  <a:cubicBezTo>
                    <a:pt x="45" y="327"/>
                    <a:pt x="42" y="324"/>
                    <a:pt x="42" y="319"/>
                  </a:cubicBezTo>
                  <a:cubicBezTo>
                    <a:pt x="39" y="316"/>
                    <a:pt x="39" y="313"/>
                    <a:pt x="39" y="310"/>
                  </a:cubicBezTo>
                  <a:cubicBezTo>
                    <a:pt x="39" y="307"/>
                    <a:pt x="39" y="307"/>
                    <a:pt x="36" y="305"/>
                  </a:cubicBezTo>
                  <a:cubicBezTo>
                    <a:pt x="36" y="302"/>
                    <a:pt x="33" y="302"/>
                    <a:pt x="33" y="299"/>
                  </a:cubicBezTo>
                  <a:lnTo>
                    <a:pt x="33" y="293"/>
                  </a:lnTo>
                  <a:lnTo>
                    <a:pt x="31" y="271"/>
                  </a:lnTo>
                  <a:cubicBezTo>
                    <a:pt x="31" y="265"/>
                    <a:pt x="28" y="257"/>
                    <a:pt x="28" y="251"/>
                  </a:cubicBezTo>
                  <a:lnTo>
                    <a:pt x="28" y="242"/>
                  </a:lnTo>
                  <a:lnTo>
                    <a:pt x="25" y="226"/>
                  </a:lnTo>
                  <a:cubicBezTo>
                    <a:pt x="22" y="220"/>
                    <a:pt x="22" y="214"/>
                    <a:pt x="19" y="206"/>
                  </a:cubicBezTo>
                  <a:cubicBezTo>
                    <a:pt x="19" y="203"/>
                    <a:pt x="16" y="200"/>
                    <a:pt x="16" y="197"/>
                  </a:cubicBezTo>
                  <a:cubicBezTo>
                    <a:pt x="16" y="195"/>
                    <a:pt x="16" y="192"/>
                    <a:pt x="14" y="189"/>
                  </a:cubicBezTo>
                  <a:cubicBezTo>
                    <a:pt x="11" y="186"/>
                    <a:pt x="8" y="180"/>
                    <a:pt x="11" y="175"/>
                  </a:cubicBezTo>
                  <a:lnTo>
                    <a:pt x="11" y="161"/>
                  </a:lnTo>
                  <a:cubicBezTo>
                    <a:pt x="11" y="158"/>
                    <a:pt x="8" y="152"/>
                    <a:pt x="8" y="149"/>
                  </a:cubicBezTo>
                  <a:cubicBezTo>
                    <a:pt x="8" y="141"/>
                    <a:pt x="8" y="135"/>
                    <a:pt x="5" y="127"/>
                  </a:cubicBezTo>
                  <a:cubicBezTo>
                    <a:pt x="2" y="116"/>
                    <a:pt x="0" y="101"/>
                    <a:pt x="0" y="90"/>
                  </a:cubicBezTo>
                  <a:lnTo>
                    <a:pt x="0" y="65"/>
                  </a:lnTo>
                  <a:lnTo>
                    <a:pt x="0" y="56"/>
                  </a:lnTo>
                  <a:cubicBezTo>
                    <a:pt x="0" y="45"/>
                    <a:pt x="5" y="31"/>
                    <a:pt x="14" y="22"/>
                  </a:cubicBezTo>
                  <a:lnTo>
                    <a:pt x="22" y="14"/>
                  </a:lnTo>
                  <a:lnTo>
                    <a:pt x="25" y="14"/>
                  </a:lnTo>
                  <a:cubicBezTo>
                    <a:pt x="28" y="14"/>
                    <a:pt x="31" y="11"/>
                    <a:pt x="33" y="11"/>
                  </a:cubicBezTo>
                  <a:lnTo>
                    <a:pt x="42" y="8"/>
                  </a:lnTo>
                  <a:cubicBezTo>
                    <a:pt x="45" y="8"/>
                    <a:pt x="47" y="6"/>
                    <a:pt x="50" y="6"/>
                  </a:cubicBezTo>
                  <a:cubicBezTo>
                    <a:pt x="53" y="6"/>
                    <a:pt x="56" y="3"/>
                    <a:pt x="59" y="3"/>
                  </a:cubicBezTo>
                  <a:cubicBezTo>
                    <a:pt x="62" y="3"/>
                    <a:pt x="64" y="0"/>
                    <a:pt x="64" y="3"/>
                  </a:cubicBezTo>
                  <a:lnTo>
                    <a:pt x="81" y="6"/>
                  </a:lnTo>
                  <a:cubicBezTo>
                    <a:pt x="93" y="8"/>
                    <a:pt x="104" y="11"/>
                    <a:pt x="110" y="20"/>
                  </a:cubicBezTo>
                  <a:cubicBezTo>
                    <a:pt x="112" y="25"/>
                    <a:pt x="118" y="31"/>
                    <a:pt x="121" y="34"/>
                  </a:cubicBezTo>
                  <a:cubicBezTo>
                    <a:pt x="124" y="37"/>
                    <a:pt x="124" y="39"/>
                    <a:pt x="124" y="39"/>
                  </a:cubicBezTo>
                  <a:cubicBezTo>
                    <a:pt x="124" y="42"/>
                    <a:pt x="124" y="45"/>
                    <a:pt x="127" y="48"/>
                  </a:cubicBezTo>
                  <a:lnTo>
                    <a:pt x="129" y="56"/>
                  </a:lnTo>
                  <a:cubicBezTo>
                    <a:pt x="129" y="59"/>
                    <a:pt x="132" y="62"/>
                    <a:pt x="132" y="65"/>
                  </a:cubicBezTo>
                  <a:lnTo>
                    <a:pt x="132" y="70"/>
                  </a:lnTo>
                  <a:cubicBezTo>
                    <a:pt x="129" y="76"/>
                    <a:pt x="132" y="82"/>
                    <a:pt x="132" y="85"/>
                  </a:cubicBezTo>
                  <a:cubicBezTo>
                    <a:pt x="132" y="85"/>
                    <a:pt x="132" y="87"/>
                    <a:pt x="135" y="87"/>
                  </a:cubicBezTo>
                  <a:lnTo>
                    <a:pt x="135" y="93"/>
                  </a:lnTo>
                  <a:lnTo>
                    <a:pt x="135" y="96"/>
                  </a:lnTo>
                  <a:cubicBezTo>
                    <a:pt x="135" y="96"/>
                    <a:pt x="138" y="99"/>
                    <a:pt x="135" y="99"/>
                  </a:cubicBezTo>
                  <a:lnTo>
                    <a:pt x="135" y="101"/>
                  </a:lnTo>
                  <a:lnTo>
                    <a:pt x="135" y="107"/>
                  </a:lnTo>
                  <a:lnTo>
                    <a:pt x="135" y="110"/>
                  </a:lnTo>
                  <a:lnTo>
                    <a:pt x="135" y="113"/>
                  </a:lnTo>
                  <a:cubicBezTo>
                    <a:pt x="138" y="116"/>
                    <a:pt x="138" y="116"/>
                    <a:pt x="138" y="118"/>
                  </a:cubicBezTo>
                  <a:cubicBezTo>
                    <a:pt x="138" y="121"/>
                    <a:pt x="141" y="124"/>
                    <a:pt x="141" y="130"/>
                  </a:cubicBezTo>
                  <a:cubicBezTo>
                    <a:pt x="141" y="132"/>
                    <a:pt x="141" y="138"/>
                    <a:pt x="143" y="141"/>
                  </a:cubicBezTo>
                  <a:lnTo>
                    <a:pt x="143" y="144"/>
                  </a:lnTo>
                  <a:lnTo>
                    <a:pt x="143" y="147"/>
                  </a:lnTo>
                  <a:lnTo>
                    <a:pt x="146" y="149"/>
                  </a:lnTo>
                  <a:cubicBezTo>
                    <a:pt x="146" y="152"/>
                    <a:pt x="146" y="155"/>
                    <a:pt x="149" y="158"/>
                  </a:cubicBezTo>
                  <a:lnTo>
                    <a:pt x="149" y="169"/>
                  </a:lnTo>
                  <a:cubicBezTo>
                    <a:pt x="149" y="169"/>
                    <a:pt x="149" y="172"/>
                    <a:pt x="152" y="175"/>
                  </a:cubicBezTo>
                  <a:cubicBezTo>
                    <a:pt x="155" y="180"/>
                    <a:pt x="155" y="186"/>
                    <a:pt x="155" y="192"/>
                  </a:cubicBezTo>
                  <a:lnTo>
                    <a:pt x="158" y="195"/>
                  </a:lnTo>
                  <a:lnTo>
                    <a:pt x="158" y="200"/>
                  </a:lnTo>
                  <a:lnTo>
                    <a:pt x="160" y="220"/>
                  </a:lnTo>
                  <a:lnTo>
                    <a:pt x="160" y="226"/>
                  </a:lnTo>
                  <a:lnTo>
                    <a:pt x="160" y="237"/>
                  </a:lnTo>
                  <a:lnTo>
                    <a:pt x="160" y="242"/>
                  </a:lnTo>
                  <a:cubicBezTo>
                    <a:pt x="160" y="245"/>
                    <a:pt x="160" y="251"/>
                    <a:pt x="163" y="254"/>
                  </a:cubicBezTo>
                  <a:cubicBezTo>
                    <a:pt x="166" y="259"/>
                    <a:pt x="169" y="268"/>
                    <a:pt x="169" y="274"/>
                  </a:cubicBezTo>
                  <a:cubicBezTo>
                    <a:pt x="169" y="276"/>
                    <a:pt x="169" y="279"/>
                    <a:pt x="172" y="285"/>
                  </a:cubicBezTo>
                  <a:cubicBezTo>
                    <a:pt x="174" y="288"/>
                    <a:pt x="174" y="293"/>
                    <a:pt x="177" y="299"/>
                  </a:cubicBezTo>
                  <a:cubicBezTo>
                    <a:pt x="177" y="305"/>
                    <a:pt x="177" y="307"/>
                    <a:pt x="180" y="313"/>
                  </a:cubicBezTo>
                  <a:lnTo>
                    <a:pt x="180" y="316"/>
                  </a:lnTo>
                  <a:lnTo>
                    <a:pt x="180" y="321"/>
                  </a:lnTo>
                  <a:lnTo>
                    <a:pt x="180" y="324"/>
                  </a:lnTo>
                  <a:cubicBezTo>
                    <a:pt x="197" y="327"/>
                    <a:pt x="200" y="336"/>
                    <a:pt x="200" y="344"/>
                  </a:cubicBezTo>
                  <a:close/>
                  <a:moveTo>
                    <a:pt x="28" y="99"/>
                  </a:moveTo>
                  <a:cubicBezTo>
                    <a:pt x="31" y="101"/>
                    <a:pt x="31" y="101"/>
                    <a:pt x="33" y="101"/>
                  </a:cubicBezTo>
                  <a:lnTo>
                    <a:pt x="33" y="96"/>
                  </a:lnTo>
                  <a:lnTo>
                    <a:pt x="28" y="99"/>
                  </a:lnTo>
                  <a:close/>
                  <a:moveTo>
                    <a:pt x="39" y="68"/>
                  </a:moveTo>
                  <a:cubicBezTo>
                    <a:pt x="42" y="68"/>
                    <a:pt x="42" y="68"/>
                    <a:pt x="45" y="65"/>
                  </a:cubicBezTo>
                  <a:lnTo>
                    <a:pt x="42" y="65"/>
                  </a:lnTo>
                  <a:lnTo>
                    <a:pt x="39" y="65"/>
                  </a:lnTo>
                  <a:cubicBezTo>
                    <a:pt x="36" y="65"/>
                    <a:pt x="33" y="68"/>
                    <a:pt x="31" y="68"/>
                  </a:cubicBezTo>
                  <a:lnTo>
                    <a:pt x="31" y="70"/>
                  </a:lnTo>
                  <a:lnTo>
                    <a:pt x="39" y="68"/>
                  </a:lnTo>
                  <a:close/>
                  <a:moveTo>
                    <a:pt x="33" y="132"/>
                  </a:moveTo>
                  <a:lnTo>
                    <a:pt x="36" y="132"/>
                  </a:lnTo>
                  <a:cubicBezTo>
                    <a:pt x="36" y="132"/>
                    <a:pt x="36" y="130"/>
                    <a:pt x="33" y="127"/>
                  </a:cubicBezTo>
                  <a:lnTo>
                    <a:pt x="33" y="132"/>
                  </a:lnTo>
                  <a:close/>
                  <a:moveTo>
                    <a:pt x="36" y="59"/>
                  </a:moveTo>
                  <a:lnTo>
                    <a:pt x="42" y="59"/>
                  </a:lnTo>
                  <a:cubicBezTo>
                    <a:pt x="42" y="62"/>
                    <a:pt x="45" y="62"/>
                    <a:pt x="47" y="59"/>
                  </a:cubicBezTo>
                  <a:cubicBezTo>
                    <a:pt x="45" y="59"/>
                    <a:pt x="45" y="56"/>
                    <a:pt x="42" y="56"/>
                  </a:cubicBezTo>
                  <a:cubicBezTo>
                    <a:pt x="39" y="56"/>
                    <a:pt x="39" y="53"/>
                    <a:pt x="36" y="53"/>
                  </a:cubicBezTo>
                  <a:lnTo>
                    <a:pt x="36" y="59"/>
                  </a:lnTo>
                  <a:close/>
                  <a:moveTo>
                    <a:pt x="42" y="172"/>
                  </a:moveTo>
                  <a:lnTo>
                    <a:pt x="39" y="169"/>
                  </a:lnTo>
                  <a:cubicBezTo>
                    <a:pt x="36" y="175"/>
                    <a:pt x="39" y="175"/>
                    <a:pt x="42" y="172"/>
                  </a:cubicBezTo>
                  <a:close/>
                  <a:moveTo>
                    <a:pt x="39" y="48"/>
                  </a:moveTo>
                  <a:cubicBezTo>
                    <a:pt x="42" y="48"/>
                    <a:pt x="42" y="45"/>
                    <a:pt x="45" y="45"/>
                  </a:cubicBezTo>
                  <a:cubicBezTo>
                    <a:pt x="42" y="45"/>
                    <a:pt x="42" y="42"/>
                    <a:pt x="39" y="39"/>
                  </a:cubicBezTo>
                  <a:lnTo>
                    <a:pt x="39" y="48"/>
                  </a:lnTo>
                  <a:close/>
                  <a:moveTo>
                    <a:pt x="47" y="135"/>
                  </a:moveTo>
                  <a:cubicBezTo>
                    <a:pt x="47" y="135"/>
                    <a:pt x="47" y="132"/>
                    <a:pt x="45" y="130"/>
                  </a:cubicBezTo>
                  <a:lnTo>
                    <a:pt x="42" y="135"/>
                  </a:lnTo>
                  <a:lnTo>
                    <a:pt x="47" y="135"/>
                  </a:lnTo>
                  <a:close/>
                  <a:moveTo>
                    <a:pt x="45" y="186"/>
                  </a:moveTo>
                  <a:lnTo>
                    <a:pt x="47" y="186"/>
                  </a:lnTo>
                  <a:lnTo>
                    <a:pt x="47" y="183"/>
                  </a:lnTo>
                  <a:cubicBezTo>
                    <a:pt x="47" y="183"/>
                    <a:pt x="45" y="183"/>
                    <a:pt x="45" y="186"/>
                  </a:cubicBezTo>
                  <a:close/>
                  <a:moveTo>
                    <a:pt x="45" y="172"/>
                  </a:moveTo>
                  <a:lnTo>
                    <a:pt x="47" y="172"/>
                  </a:lnTo>
                  <a:lnTo>
                    <a:pt x="47" y="169"/>
                  </a:lnTo>
                  <a:lnTo>
                    <a:pt x="45" y="172"/>
                  </a:lnTo>
                  <a:close/>
                  <a:moveTo>
                    <a:pt x="45" y="37"/>
                  </a:moveTo>
                  <a:lnTo>
                    <a:pt x="47" y="39"/>
                  </a:lnTo>
                  <a:lnTo>
                    <a:pt x="50" y="39"/>
                  </a:lnTo>
                  <a:lnTo>
                    <a:pt x="47" y="37"/>
                  </a:lnTo>
                  <a:lnTo>
                    <a:pt x="45" y="37"/>
                  </a:lnTo>
                  <a:close/>
                  <a:moveTo>
                    <a:pt x="47" y="42"/>
                  </a:moveTo>
                  <a:cubicBezTo>
                    <a:pt x="50" y="45"/>
                    <a:pt x="50" y="48"/>
                    <a:pt x="53" y="51"/>
                  </a:cubicBezTo>
                  <a:cubicBezTo>
                    <a:pt x="56" y="48"/>
                    <a:pt x="56" y="46"/>
                    <a:pt x="58" y="41"/>
                  </a:cubicBezTo>
                  <a:cubicBezTo>
                    <a:pt x="58" y="42"/>
                    <a:pt x="58" y="42"/>
                    <a:pt x="59" y="42"/>
                  </a:cubicBezTo>
                  <a:lnTo>
                    <a:pt x="64" y="37"/>
                  </a:lnTo>
                  <a:cubicBezTo>
                    <a:pt x="58" y="37"/>
                    <a:pt x="57" y="38"/>
                    <a:pt x="57" y="40"/>
                  </a:cubicBezTo>
                  <a:lnTo>
                    <a:pt x="47" y="42"/>
                  </a:lnTo>
                  <a:close/>
                  <a:moveTo>
                    <a:pt x="59" y="39"/>
                  </a:moveTo>
                  <a:lnTo>
                    <a:pt x="57" y="40"/>
                  </a:lnTo>
                  <a:lnTo>
                    <a:pt x="58" y="41"/>
                  </a:lnTo>
                  <a:cubicBezTo>
                    <a:pt x="58" y="41"/>
                    <a:pt x="58" y="40"/>
                    <a:pt x="59" y="39"/>
                  </a:cubicBezTo>
                  <a:close/>
                  <a:moveTo>
                    <a:pt x="56" y="209"/>
                  </a:moveTo>
                  <a:lnTo>
                    <a:pt x="50" y="209"/>
                  </a:lnTo>
                  <a:lnTo>
                    <a:pt x="50" y="211"/>
                  </a:lnTo>
                  <a:lnTo>
                    <a:pt x="53" y="211"/>
                  </a:lnTo>
                  <a:lnTo>
                    <a:pt x="56" y="209"/>
                  </a:lnTo>
                  <a:close/>
                  <a:moveTo>
                    <a:pt x="115" y="414"/>
                  </a:moveTo>
                  <a:lnTo>
                    <a:pt x="121" y="419"/>
                  </a:lnTo>
                  <a:cubicBezTo>
                    <a:pt x="124" y="422"/>
                    <a:pt x="127" y="422"/>
                    <a:pt x="127" y="425"/>
                  </a:cubicBezTo>
                  <a:lnTo>
                    <a:pt x="138" y="422"/>
                  </a:lnTo>
                  <a:cubicBezTo>
                    <a:pt x="143" y="414"/>
                    <a:pt x="146" y="402"/>
                    <a:pt x="143" y="391"/>
                  </a:cubicBezTo>
                  <a:lnTo>
                    <a:pt x="143" y="385"/>
                  </a:lnTo>
                  <a:lnTo>
                    <a:pt x="143" y="380"/>
                  </a:lnTo>
                  <a:cubicBezTo>
                    <a:pt x="143" y="368"/>
                    <a:pt x="144" y="369"/>
                    <a:pt x="141" y="363"/>
                  </a:cubicBezTo>
                  <a:cubicBezTo>
                    <a:pt x="139" y="358"/>
                    <a:pt x="138" y="353"/>
                    <a:pt x="138" y="350"/>
                  </a:cubicBezTo>
                  <a:lnTo>
                    <a:pt x="138" y="336"/>
                  </a:lnTo>
                  <a:cubicBezTo>
                    <a:pt x="135" y="333"/>
                    <a:pt x="135" y="327"/>
                    <a:pt x="135" y="324"/>
                  </a:cubicBezTo>
                  <a:cubicBezTo>
                    <a:pt x="135" y="321"/>
                    <a:pt x="135" y="316"/>
                    <a:pt x="132" y="313"/>
                  </a:cubicBezTo>
                  <a:lnTo>
                    <a:pt x="129" y="288"/>
                  </a:lnTo>
                  <a:lnTo>
                    <a:pt x="129" y="282"/>
                  </a:lnTo>
                  <a:lnTo>
                    <a:pt x="129" y="276"/>
                  </a:lnTo>
                  <a:lnTo>
                    <a:pt x="129" y="271"/>
                  </a:lnTo>
                  <a:cubicBezTo>
                    <a:pt x="129" y="268"/>
                    <a:pt x="127" y="268"/>
                    <a:pt x="127" y="265"/>
                  </a:cubicBezTo>
                  <a:lnTo>
                    <a:pt x="124" y="254"/>
                  </a:lnTo>
                  <a:lnTo>
                    <a:pt x="124" y="251"/>
                  </a:lnTo>
                  <a:lnTo>
                    <a:pt x="124" y="248"/>
                  </a:lnTo>
                  <a:lnTo>
                    <a:pt x="118" y="242"/>
                  </a:lnTo>
                  <a:lnTo>
                    <a:pt x="118" y="237"/>
                  </a:lnTo>
                  <a:lnTo>
                    <a:pt x="118" y="226"/>
                  </a:lnTo>
                  <a:lnTo>
                    <a:pt x="118" y="214"/>
                  </a:lnTo>
                  <a:cubicBezTo>
                    <a:pt x="118" y="211"/>
                    <a:pt x="118" y="206"/>
                    <a:pt x="115" y="203"/>
                  </a:cubicBezTo>
                  <a:cubicBezTo>
                    <a:pt x="112" y="200"/>
                    <a:pt x="110" y="195"/>
                    <a:pt x="110" y="192"/>
                  </a:cubicBezTo>
                  <a:lnTo>
                    <a:pt x="110" y="186"/>
                  </a:lnTo>
                  <a:lnTo>
                    <a:pt x="110" y="172"/>
                  </a:lnTo>
                  <a:lnTo>
                    <a:pt x="110" y="166"/>
                  </a:lnTo>
                  <a:cubicBezTo>
                    <a:pt x="110" y="164"/>
                    <a:pt x="110" y="164"/>
                    <a:pt x="107" y="161"/>
                  </a:cubicBezTo>
                  <a:cubicBezTo>
                    <a:pt x="107" y="158"/>
                    <a:pt x="104" y="155"/>
                    <a:pt x="101" y="152"/>
                  </a:cubicBezTo>
                  <a:cubicBezTo>
                    <a:pt x="98" y="149"/>
                    <a:pt x="98" y="147"/>
                    <a:pt x="101" y="144"/>
                  </a:cubicBezTo>
                  <a:lnTo>
                    <a:pt x="101" y="135"/>
                  </a:lnTo>
                  <a:lnTo>
                    <a:pt x="101" y="127"/>
                  </a:lnTo>
                  <a:cubicBezTo>
                    <a:pt x="104" y="124"/>
                    <a:pt x="101" y="121"/>
                    <a:pt x="101" y="118"/>
                  </a:cubicBezTo>
                  <a:cubicBezTo>
                    <a:pt x="98" y="118"/>
                    <a:pt x="98" y="116"/>
                    <a:pt x="98" y="113"/>
                  </a:cubicBezTo>
                  <a:lnTo>
                    <a:pt x="98" y="107"/>
                  </a:lnTo>
                  <a:lnTo>
                    <a:pt x="95" y="93"/>
                  </a:lnTo>
                  <a:cubicBezTo>
                    <a:pt x="95" y="87"/>
                    <a:pt x="93" y="82"/>
                    <a:pt x="90" y="76"/>
                  </a:cubicBezTo>
                  <a:cubicBezTo>
                    <a:pt x="90" y="73"/>
                    <a:pt x="87" y="73"/>
                    <a:pt x="84" y="70"/>
                  </a:cubicBezTo>
                  <a:cubicBezTo>
                    <a:pt x="81" y="70"/>
                    <a:pt x="81" y="68"/>
                    <a:pt x="79" y="65"/>
                  </a:cubicBezTo>
                  <a:lnTo>
                    <a:pt x="67" y="68"/>
                  </a:lnTo>
                  <a:lnTo>
                    <a:pt x="64" y="70"/>
                  </a:lnTo>
                  <a:lnTo>
                    <a:pt x="62" y="73"/>
                  </a:lnTo>
                  <a:cubicBezTo>
                    <a:pt x="62" y="76"/>
                    <a:pt x="62" y="82"/>
                    <a:pt x="59" y="85"/>
                  </a:cubicBezTo>
                  <a:cubicBezTo>
                    <a:pt x="56" y="90"/>
                    <a:pt x="59" y="93"/>
                    <a:pt x="62" y="99"/>
                  </a:cubicBezTo>
                  <a:lnTo>
                    <a:pt x="70" y="144"/>
                  </a:lnTo>
                  <a:lnTo>
                    <a:pt x="70" y="161"/>
                  </a:lnTo>
                  <a:cubicBezTo>
                    <a:pt x="70" y="164"/>
                    <a:pt x="70" y="166"/>
                    <a:pt x="73" y="166"/>
                  </a:cubicBezTo>
                  <a:cubicBezTo>
                    <a:pt x="76" y="172"/>
                    <a:pt x="79" y="178"/>
                    <a:pt x="76" y="180"/>
                  </a:cubicBezTo>
                  <a:cubicBezTo>
                    <a:pt x="76" y="183"/>
                    <a:pt x="76" y="189"/>
                    <a:pt x="79" y="192"/>
                  </a:cubicBezTo>
                  <a:lnTo>
                    <a:pt x="79" y="197"/>
                  </a:lnTo>
                  <a:cubicBezTo>
                    <a:pt x="81" y="203"/>
                    <a:pt x="84" y="211"/>
                    <a:pt x="81" y="220"/>
                  </a:cubicBezTo>
                  <a:cubicBezTo>
                    <a:pt x="81" y="226"/>
                    <a:pt x="81" y="231"/>
                    <a:pt x="84" y="234"/>
                  </a:cubicBezTo>
                  <a:lnTo>
                    <a:pt x="84" y="237"/>
                  </a:lnTo>
                  <a:lnTo>
                    <a:pt x="84" y="240"/>
                  </a:lnTo>
                  <a:cubicBezTo>
                    <a:pt x="84" y="242"/>
                    <a:pt x="87" y="242"/>
                    <a:pt x="87" y="245"/>
                  </a:cubicBezTo>
                  <a:cubicBezTo>
                    <a:pt x="87" y="248"/>
                    <a:pt x="90" y="254"/>
                    <a:pt x="90" y="257"/>
                  </a:cubicBezTo>
                  <a:cubicBezTo>
                    <a:pt x="90" y="259"/>
                    <a:pt x="90" y="262"/>
                    <a:pt x="93" y="262"/>
                  </a:cubicBezTo>
                  <a:cubicBezTo>
                    <a:pt x="95" y="268"/>
                    <a:pt x="95" y="274"/>
                    <a:pt x="93" y="279"/>
                  </a:cubicBezTo>
                  <a:cubicBezTo>
                    <a:pt x="95" y="282"/>
                    <a:pt x="95" y="288"/>
                    <a:pt x="98" y="290"/>
                  </a:cubicBezTo>
                  <a:lnTo>
                    <a:pt x="98" y="296"/>
                  </a:lnTo>
                  <a:lnTo>
                    <a:pt x="98" y="302"/>
                  </a:lnTo>
                  <a:cubicBezTo>
                    <a:pt x="98" y="305"/>
                    <a:pt x="101" y="305"/>
                    <a:pt x="101" y="307"/>
                  </a:cubicBezTo>
                  <a:cubicBezTo>
                    <a:pt x="101" y="313"/>
                    <a:pt x="104" y="316"/>
                    <a:pt x="104" y="319"/>
                  </a:cubicBezTo>
                  <a:lnTo>
                    <a:pt x="104" y="321"/>
                  </a:lnTo>
                  <a:lnTo>
                    <a:pt x="104" y="324"/>
                  </a:lnTo>
                  <a:cubicBezTo>
                    <a:pt x="104" y="336"/>
                    <a:pt x="104" y="347"/>
                    <a:pt x="110" y="357"/>
                  </a:cubicBezTo>
                  <a:cubicBezTo>
                    <a:pt x="110" y="360"/>
                    <a:pt x="112" y="366"/>
                    <a:pt x="112" y="368"/>
                  </a:cubicBezTo>
                  <a:lnTo>
                    <a:pt x="112" y="380"/>
                  </a:lnTo>
                  <a:cubicBezTo>
                    <a:pt x="110" y="385"/>
                    <a:pt x="112" y="391"/>
                    <a:pt x="112" y="397"/>
                  </a:cubicBezTo>
                  <a:cubicBezTo>
                    <a:pt x="115" y="399"/>
                    <a:pt x="115" y="405"/>
                    <a:pt x="115" y="408"/>
                  </a:cubicBezTo>
                  <a:cubicBezTo>
                    <a:pt x="112" y="405"/>
                    <a:pt x="115" y="408"/>
                    <a:pt x="115" y="414"/>
                  </a:cubicBezTo>
                  <a:close/>
                  <a:moveTo>
                    <a:pt x="56" y="259"/>
                  </a:moveTo>
                  <a:lnTo>
                    <a:pt x="59" y="257"/>
                  </a:lnTo>
                  <a:lnTo>
                    <a:pt x="59" y="254"/>
                  </a:lnTo>
                  <a:lnTo>
                    <a:pt x="59" y="251"/>
                  </a:lnTo>
                  <a:cubicBezTo>
                    <a:pt x="59" y="254"/>
                    <a:pt x="56" y="254"/>
                    <a:pt x="56" y="259"/>
                  </a:cubicBezTo>
                  <a:close/>
                  <a:moveTo>
                    <a:pt x="62" y="268"/>
                  </a:moveTo>
                  <a:cubicBezTo>
                    <a:pt x="62" y="271"/>
                    <a:pt x="64" y="274"/>
                    <a:pt x="67" y="274"/>
                  </a:cubicBezTo>
                  <a:cubicBezTo>
                    <a:pt x="67" y="271"/>
                    <a:pt x="64" y="268"/>
                    <a:pt x="62" y="268"/>
                  </a:cubicBezTo>
                  <a:cubicBezTo>
                    <a:pt x="64" y="265"/>
                    <a:pt x="64" y="265"/>
                    <a:pt x="64" y="262"/>
                  </a:cubicBezTo>
                  <a:lnTo>
                    <a:pt x="64" y="257"/>
                  </a:lnTo>
                  <a:cubicBezTo>
                    <a:pt x="62" y="259"/>
                    <a:pt x="59" y="259"/>
                    <a:pt x="59" y="262"/>
                  </a:cubicBezTo>
                  <a:cubicBezTo>
                    <a:pt x="62" y="262"/>
                    <a:pt x="62" y="265"/>
                    <a:pt x="62" y="268"/>
                  </a:cubicBezTo>
                  <a:close/>
                  <a:moveTo>
                    <a:pt x="67" y="299"/>
                  </a:moveTo>
                  <a:cubicBezTo>
                    <a:pt x="64" y="296"/>
                    <a:pt x="64" y="299"/>
                    <a:pt x="62" y="299"/>
                  </a:cubicBezTo>
                  <a:lnTo>
                    <a:pt x="67" y="299"/>
                  </a:lnTo>
                  <a:close/>
                  <a:moveTo>
                    <a:pt x="64" y="31"/>
                  </a:moveTo>
                  <a:cubicBezTo>
                    <a:pt x="64" y="31"/>
                    <a:pt x="67" y="31"/>
                    <a:pt x="64" y="31"/>
                  </a:cubicBezTo>
                  <a:lnTo>
                    <a:pt x="70" y="31"/>
                  </a:lnTo>
                  <a:lnTo>
                    <a:pt x="70" y="28"/>
                  </a:lnTo>
                  <a:lnTo>
                    <a:pt x="70" y="25"/>
                  </a:lnTo>
                  <a:cubicBezTo>
                    <a:pt x="67" y="25"/>
                    <a:pt x="67" y="28"/>
                    <a:pt x="67" y="28"/>
                  </a:cubicBezTo>
                  <a:cubicBezTo>
                    <a:pt x="67" y="28"/>
                    <a:pt x="64" y="28"/>
                    <a:pt x="64" y="31"/>
                  </a:cubicBezTo>
                  <a:close/>
                  <a:moveTo>
                    <a:pt x="67" y="279"/>
                  </a:moveTo>
                  <a:cubicBezTo>
                    <a:pt x="70" y="282"/>
                    <a:pt x="70" y="282"/>
                    <a:pt x="70" y="285"/>
                  </a:cubicBezTo>
                  <a:cubicBezTo>
                    <a:pt x="73" y="288"/>
                    <a:pt x="73" y="290"/>
                    <a:pt x="73" y="293"/>
                  </a:cubicBezTo>
                  <a:cubicBezTo>
                    <a:pt x="73" y="285"/>
                    <a:pt x="73" y="282"/>
                    <a:pt x="67" y="279"/>
                  </a:cubicBezTo>
                  <a:close/>
                  <a:moveTo>
                    <a:pt x="73" y="319"/>
                  </a:moveTo>
                  <a:cubicBezTo>
                    <a:pt x="73" y="319"/>
                    <a:pt x="75" y="319"/>
                    <a:pt x="76" y="320"/>
                  </a:cubicBezTo>
                  <a:lnTo>
                    <a:pt x="73" y="305"/>
                  </a:lnTo>
                  <a:lnTo>
                    <a:pt x="70" y="305"/>
                  </a:lnTo>
                  <a:lnTo>
                    <a:pt x="67" y="305"/>
                  </a:lnTo>
                  <a:lnTo>
                    <a:pt x="70" y="307"/>
                  </a:lnTo>
                  <a:cubicBezTo>
                    <a:pt x="70" y="307"/>
                    <a:pt x="70" y="310"/>
                    <a:pt x="73" y="310"/>
                  </a:cubicBezTo>
                  <a:cubicBezTo>
                    <a:pt x="70" y="313"/>
                    <a:pt x="70" y="313"/>
                    <a:pt x="67" y="313"/>
                  </a:cubicBezTo>
                  <a:lnTo>
                    <a:pt x="73" y="319"/>
                  </a:lnTo>
                  <a:close/>
                  <a:moveTo>
                    <a:pt x="67" y="34"/>
                  </a:moveTo>
                  <a:lnTo>
                    <a:pt x="67" y="39"/>
                  </a:lnTo>
                  <a:cubicBezTo>
                    <a:pt x="70" y="39"/>
                    <a:pt x="72" y="39"/>
                    <a:pt x="75" y="42"/>
                  </a:cubicBezTo>
                  <a:cubicBezTo>
                    <a:pt x="74" y="42"/>
                    <a:pt x="74" y="42"/>
                    <a:pt x="73" y="42"/>
                  </a:cubicBezTo>
                  <a:lnTo>
                    <a:pt x="79" y="48"/>
                  </a:lnTo>
                  <a:cubicBezTo>
                    <a:pt x="79" y="45"/>
                    <a:pt x="81" y="45"/>
                    <a:pt x="81" y="42"/>
                  </a:cubicBezTo>
                  <a:cubicBezTo>
                    <a:pt x="84" y="42"/>
                    <a:pt x="84" y="39"/>
                    <a:pt x="84" y="37"/>
                  </a:cubicBezTo>
                  <a:lnTo>
                    <a:pt x="79" y="39"/>
                  </a:lnTo>
                  <a:cubicBezTo>
                    <a:pt x="77" y="39"/>
                    <a:pt x="77" y="40"/>
                    <a:pt x="76" y="41"/>
                  </a:cubicBezTo>
                  <a:cubicBezTo>
                    <a:pt x="76" y="41"/>
                    <a:pt x="75" y="41"/>
                    <a:pt x="75" y="42"/>
                  </a:cubicBezTo>
                  <a:cubicBezTo>
                    <a:pt x="75" y="42"/>
                    <a:pt x="75" y="42"/>
                    <a:pt x="76" y="42"/>
                  </a:cubicBezTo>
                  <a:cubicBezTo>
                    <a:pt x="76" y="41"/>
                    <a:pt x="76" y="40"/>
                    <a:pt x="76" y="41"/>
                  </a:cubicBezTo>
                  <a:lnTo>
                    <a:pt x="76" y="39"/>
                  </a:lnTo>
                  <a:cubicBezTo>
                    <a:pt x="76" y="39"/>
                    <a:pt x="73" y="34"/>
                    <a:pt x="67" y="34"/>
                  </a:cubicBezTo>
                  <a:close/>
                  <a:moveTo>
                    <a:pt x="70" y="363"/>
                  </a:moveTo>
                  <a:cubicBezTo>
                    <a:pt x="73" y="366"/>
                    <a:pt x="73" y="366"/>
                    <a:pt x="73" y="368"/>
                  </a:cubicBezTo>
                  <a:lnTo>
                    <a:pt x="73" y="366"/>
                  </a:lnTo>
                  <a:lnTo>
                    <a:pt x="70" y="363"/>
                  </a:lnTo>
                  <a:close/>
                  <a:moveTo>
                    <a:pt x="73" y="380"/>
                  </a:moveTo>
                  <a:lnTo>
                    <a:pt x="76" y="380"/>
                  </a:lnTo>
                  <a:cubicBezTo>
                    <a:pt x="76" y="377"/>
                    <a:pt x="73" y="377"/>
                    <a:pt x="73" y="380"/>
                  </a:cubicBezTo>
                  <a:close/>
                  <a:moveTo>
                    <a:pt x="73" y="34"/>
                  </a:moveTo>
                  <a:cubicBezTo>
                    <a:pt x="76" y="34"/>
                    <a:pt x="79" y="37"/>
                    <a:pt x="84" y="37"/>
                  </a:cubicBezTo>
                  <a:lnTo>
                    <a:pt x="84" y="34"/>
                  </a:lnTo>
                  <a:lnTo>
                    <a:pt x="76" y="31"/>
                  </a:lnTo>
                  <a:lnTo>
                    <a:pt x="73" y="34"/>
                  </a:lnTo>
                  <a:close/>
                  <a:moveTo>
                    <a:pt x="81" y="336"/>
                  </a:moveTo>
                  <a:lnTo>
                    <a:pt x="76" y="336"/>
                  </a:lnTo>
                  <a:lnTo>
                    <a:pt x="76" y="338"/>
                  </a:lnTo>
                  <a:cubicBezTo>
                    <a:pt x="79" y="338"/>
                    <a:pt x="81" y="338"/>
                    <a:pt x="81" y="336"/>
                  </a:cubicBezTo>
                  <a:close/>
                  <a:moveTo>
                    <a:pt x="84" y="391"/>
                  </a:moveTo>
                  <a:lnTo>
                    <a:pt x="79" y="391"/>
                  </a:lnTo>
                  <a:lnTo>
                    <a:pt x="76" y="394"/>
                  </a:lnTo>
                  <a:cubicBezTo>
                    <a:pt x="76" y="397"/>
                    <a:pt x="79" y="397"/>
                    <a:pt x="79" y="399"/>
                  </a:cubicBezTo>
                  <a:cubicBezTo>
                    <a:pt x="81" y="397"/>
                    <a:pt x="84" y="394"/>
                    <a:pt x="84" y="391"/>
                  </a:cubicBezTo>
                  <a:close/>
                  <a:moveTo>
                    <a:pt x="79" y="366"/>
                  </a:moveTo>
                  <a:lnTo>
                    <a:pt x="84" y="366"/>
                  </a:lnTo>
                  <a:lnTo>
                    <a:pt x="84" y="360"/>
                  </a:lnTo>
                  <a:cubicBezTo>
                    <a:pt x="84" y="360"/>
                    <a:pt x="84" y="363"/>
                    <a:pt x="81" y="363"/>
                  </a:cubicBezTo>
                  <a:cubicBezTo>
                    <a:pt x="81" y="363"/>
                    <a:pt x="81" y="363"/>
                    <a:pt x="79" y="366"/>
                  </a:cubicBezTo>
                  <a:close/>
                  <a:moveTo>
                    <a:pt x="81" y="357"/>
                  </a:moveTo>
                  <a:lnTo>
                    <a:pt x="87" y="357"/>
                  </a:lnTo>
                  <a:lnTo>
                    <a:pt x="87" y="354"/>
                  </a:lnTo>
                  <a:cubicBezTo>
                    <a:pt x="84" y="357"/>
                    <a:pt x="81" y="357"/>
                    <a:pt x="81" y="357"/>
                  </a:cubicBezTo>
                  <a:close/>
                  <a:moveTo>
                    <a:pt x="90" y="377"/>
                  </a:moveTo>
                  <a:cubicBezTo>
                    <a:pt x="90" y="374"/>
                    <a:pt x="87" y="374"/>
                    <a:pt x="87" y="374"/>
                  </a:cubicBezTo>
                  <a:lnTo>
                    <a:pt x="84" y="377"/>
                  </a:lnTo>
                  <a:lnTo>
                    <a:pt x="87" y="380"/>
                  </a:lnTo>
                  <a:lnTo>
                    <a:pt x="90" y="380"/>
                  </a:lnTo>
                  <a:lnTo>
                    <a:pt x="90" y="377"/>
                  </a:lnTo>
                  <a:close/>
                  <a:moveTo>
                    <a:pt x="95" y="39"/>
                  </a:moveTo>
                  <a:lnTo>
                    <a:pt x="93" y="45"/>
                  </a:lnTo>
                  <a:cubicBezTo>
                    <a:pt x="93" y="47"/>
                    <a:pt x="92" y="47"/>
                    <a:pt x="91" y="48"/>
                  </a:cubicBezTo>
                  <a:cubicBezTo>
                    <a:pt x="92" y="48"/>
                    <a:pt x="93" y="49"/>
                    <a:pt x="93" y="51"/>
                  </a:cubicBezTo>
                  <a:cubicBezTo>
                    <a:pt x="93" y="48"/>
                    <a:pt x="95" y="48"/>
                    <a:pt x="95" y="45"/>
                  </a:cubicBezTo>
                  <a:cubicBezTo>
                    <a:pt x="95" y="42"/>
                    <a:pt x="98" y="42"/>
                    <a:pt x="98" y="39"/>
                  </a:cubicBezTo>
                  <a:lnTo>
                    <a:pt x="95" y="39"/>
                  </a:lnTo>
                  <a:lnTo>
                    <a:pt x="93" y="34"/>
                  </a:lnTo>
                  <a:cubicBezTo>
                    <a:pt x="90" y="35"/>
                    <a:pt x="90" y="37"/>
                    <a:pt x="93" y="39"/>
                  </a:cubicBezTo>
                  <a:lnTo>
                    <a:pt x="92" y="40"/>
                  </a:lnTo>
                  <a:cubicBezTo>
                    <a:pt x="93" y="39"/>
                    <a:pt x="94" y="39"/>
                    <a:pt x="95" y="39"/>
                  </a:cubicBezTo>
                  <a:close/>
                  <a:moveTo>
                    <a:pt x="101" y="42"/>
                  </a:moveTo>
                  <a:lnTo>
                    <a:pt x="104" y="42"/>
                  </a:lnTo>
                  <a:lnTo>
                    <a:pt x="107" y="42"/>
                  </a:lnTo>
                  <a:lnTo>
                    <a:pt x="107" y="39"/>
                  </a:lnTo>
                  <a:lnTo>
                    <a:pt x="104" y="39"/>
                  </a:lnTo>
                  <a:lnTo>
                    <a:pt x="101" y="39"/>
                  </a:lnTo>
                  <a:lnTo>
                    <a:pt x="101" y="42"/>
                  </a:lnTo>
                  <a:close/>
                  <a:moveTo>
                    <a:pt x="90" y="394"/>
                  </a:moveTo>
                  <a:cubicBezTo>
                    <a:pt x="87" y="394"/>
                    <a:pt x="87" y="397"/>
                    <a:pt x="87" y="397"/>
                  </a:cubicBezTo>
                  <a:lnTo>
                    <a:pt x="90" y="394"/>
                  </a:lnTo>
                  <a:close/>
                  <a:moveTo>
                    <a:pt x="93" y="430"/>
                  </a:moveTo>
                  <a:cubicBezTo>
                    <a:pt x="93" y="428"/>
                    <a:pt x="95" y="428"/>
                    <a:pt x="95" y="428"/>
                  </a:cubicBezTo>
                  <a:lnTo>
                    <a:pt x="90" y="422"/>
                  </a:lnTo>
                  <a:cubicBezTo>
                    <a:pt x="93" y="428"/>
                    <a:pt x="93" y="430"/>
                    <a:pt x="93" y="430"/>
                  </a:cubicBezTo>
                  <a:close/>
                  <a:moveTo>
                    <a:pt x="93" y="408"/>
                  </a:moveTo>
                  <a:lnTo>
                    <a:pt x="93" y="411"/>
                  </a:lnTo>
                  <a:cubicBezTo>
                    <a:pt x="95" y="414"/>
                    <a:pt x="98" y="411"/>
                    <a:pt x="93" y="408"/>
                  </a:cubicBezTo>
                  <a:close/>
                  <a:moveTo>
                    <a:pt x="98" y="45"/>
                  </a:moveTo>
                  <a:cubicBezTo>
                    <a:pt x="98" y="48"/>
                    <a:pt x="101" y="51"/>
                    <a:pt x="101" y="51"/>
                  </a:cubicBezTo>
                  <a:lnTo>
                    <a:pt x="101" y="53"/>
                  </a:lnTo>
                  <a:lnTo>
                    <a:pt x="101" y="56"/>
                  </a:lnTo>
                  <a:cubicBezTo>
                    <a:pt x="104" y="59"/>
                    <a:pt x="107" y="62"/>
                    <a:pt x="112" y="56"/>
                  </a:cubicBezTo>
                  <a:cubicBezTo>
                    <a:pt x="110" y="51"/>
                    <a:pt x="104" y="45"/>
                    <a:pt x="98" y="45"/>
                  </a:cubicBezTo>
                  <a:close/>
                  <a:moveTo>
                    <a:pt x="112" y="430"/>
                  </a:moveTo>
                  <a:cubicBezTo>
                    <a:pt x="110" y="433"/>
                    <a:pt x="107" y="433"/>
                    <a:pt x="104" y="436"/>
                  </a:cubicBezTo>
                  <a:lnTo>
                    <a:pt x="107" y="439"/>
                  </a:lnTo>
                  <a:cubicBezTo>
                    <a:pt x="107" y="442"/>
                    <a:pt x="107" y="442"/>
                    <a:pt x="110" y="445"/>
                  </a:cubicBezTo>
                  <a:cubicBezTo>
                    <a:pt x="112" y="442"/>
                    <a:pt x="112" y="436"/>
                    <a:pt x="112" y="430"/>
                  </a:cubicBezTo>
                  <a:close/>
                  <a:moveTo>
                    <a:pt x="115" y="447"/>
                  </a:moveTo>
                  <a:lnTo>
                    <a:pt x="112" y="447"/>
                  </a:lnTo>
                  <a:cubicBezTo>
                    <a:pt x="110" y="447"/>
                    <a:pt x="110" y="447"/>
                    <a:pt x="107" y="450"/>
                  </a:cubicBezTo>
                  <a:cubicBezTo>
                    <a:pt x="110" y="450"/>
                    <a:pt x="110" y="453"/>
                    <a:pt x="112" y="453"/>
                  </a:cubicBezTo>
                  <a:cubicBezTo>
                    <a:pt x="112" y="453"/>
                    <a:pt x="115" y="450"/>
                    <a:pt x="115" y="447"/>
                  </a:cubicBezTo>
                  <a:close/>
                  <a:moveTo>
                    <a:pt x="115" y="73"/>
                  </a:moveTo>
                  <a:cubicBezTo>
                    <a:pt x="112" y="73"/>
                    <a:pt x="112" y="73"/>
                    <a:pt x="110" y="76"/>
                  </a:cubicBezTo>
                  <a:cubicBezTo>
                    <a:pt x="110" y="79"/>
                    <a:pt x="112" y="79"/>
                    <a:pt x="115" y="79"/>
                  </a:cubicBezTo>
                  <a:lnTo>
                    <a:pt x="115" y="73"/>
                  </a:lnTo>
                  <a:close/>
                  <a:moveTo>
                    <a:pt x="118" y="439"/>
                  </a:moveTo>
                  <a:lnTo>
                    <a:pt x="115" y="439"/>
                  </a:lnTo>
                  <a:cubicBezTo>
                    <a:pt x="115" y="445"/>
                    <a:pt x="115" y="447"/>
                    <a:pt x="121" y="447"/>
                  </a:cubicBezTo>
                  <a:lnTo>
                    <a:pt x="118" y="439"/>
                  </a:lnTo>
                  <a:close/>
                  <a:moveTo>
                    <a:pt x="115" y="59"/>
                  </a:moveTo>
                  <a:lnTo>
                    <a:pt x="115" y="62"/>
                  </a:lnTo>
                  <a:lnTo>
                    <a:pt x="115" y="68"/>
                  </a:lnTo>
                  <a:lnTo>
                    <a:pt x="121" y="62"/>
                  </a:lnTo>
                  <a:cubicBezTo>
                    <a:pt x="121" y="62"/>
                    <a:pt x="118" y="59"/>
                    <a:pt x="115" y="59"/>
                  </a:cubicBezTo>
                  <a:close/>
                  <a:moveTo>
                    <a:pt x="127" y="79"/>
                  </a:moveTo>
                  <a:cubicBezTo>
                    <a:pt x="124" y="79"/>
                    <a:pt x="121" y="79"/>
                    <a:pt x="118" y="82"/>
                  </a:cubicBezTo>
                  <a:cubicBezTo>
                    <a:pt x="121" y="85"/>
                    <a:pt x="124" y="85"/>
                    <a:pt x="127" y="85"/>
                  </a:cubicBezTo>
                  <a:lnTo>
                    <a:pt x="127" y="79"/>
                  </a:lnTo>
                  <a:close/>
                  <a:moveTo>
                    <a:pt x="118" y="70"/>
                  </a:moveTo>
                  <a:cubicBezTo>
                    <a:pt x="121" y="73"/>
                    <a:pt x="124" y="76"/>
                    <a:pt x="124" y="79"/>
                  </a:cubicBezTo>
                  <a:lnTo>
                    <a:pt x="124" y="73"/>
                  </a:lnTo>
                  <a:cubicBezTo>
                    <a:pt x="124" y="73"/>
                    <a:pt x="121" y="70"/>
                    <a:pt x="118" y="70"/>
                  </a:cubicBezTo>
                  <a:close/>
                  <a:moveTo>
                    <a:pt x="121" y="104"/>
                  </a:moveTo>
                  <a:cubicBezTo>
                    <a:pt x="121" y="107"/>
                    <a:pt x="121" y="110"/>
                    <a:pt x="118" y="113"/>
                  </a:cubicBezTo>
                  <a:lnTo>
                    <a:pt x="121" y="113"/>
                  </a:lnTo>
                  <a:lnTo>
                    <a:pt x="127" y="113"/>
                  </a:lnTo>
                  <a:lnTo>
                    <a:pt x="129" y="113"/>
                  </a:lnTo>
                  <a:lnTo>
                    <a:pt x="121" y="104"/>
                  </a:lnTo>
                  <a:cubicBezTo>
                    <a:pt x="124" y="104"/>
                    <a:pt x="127" y="101"/>
                    <a:pt x="127" y="99"/>
                  </a:cubicBezTo>
                  <a:lnTo>
                    <a:pt x="121" y="104"/>
                  </a:lnTo>
                  <a:close/>
                  <a:moveTo>
                    <a:pt x="121" y="127"/>
                  </a:moveTo>
                  <a:cubicBezTo>
                    <a:pt x="124" y="127"/>
                    <a:pt x="124" y="130"/>
                    <a:pt x="124" y="130"/>
                  </a:cubicBezTo>
                  <a:lnTo>
                    <a:pt x="129" y="132"/>
                  </a:lnTo>
                  <a:cubicBezTo>
                    <a:pt x="127" y="135"/>
                    <a:pt x="129" y="138"/>
                    <a:pt x="129" y="138"/>
                  </a:cubicBezTo>
                  <a:cubicBezTo>
                    <a:pt x="129" y="138"/>
                    <a:pt x="129" y="141"/>
                    <a:pt x="132" y="141"/>
                  </a:cubicBezTo>
                  <a:lnTo>
                    <a:pt x="135" y="138"/>
                  </a:lnTo>
                  <a:cubicBezTo>
                    <a:pt x="135" y="138"/>
                    <a:pt x="132" y="135"/>
                    <a:pt x="132" y="132"/>
                  </a:cubicBezTo>
                  <a:lnTo>
                    <a:pt x="132" y="121"/>
                  </a:lnTo>
                  <a:lnTo>
                    <a:pt x="129" y="121"/>
                  </a:lnTo>
                  <a:lnTo>
                    <a:pt x="121" y="127"/>
                  </a:lnTo>
                  <a:close/>
                  <a:moveTo>
                    <a:pt x="124" y="152"/>
                  </a:moveTo>
                  <a:lnTo>
                    <a:pt x="127" y="155"/>
                  </a:lnTo>
                  <a:cubicBezTo>
                    <a:pt x="127" y="155"/>
                    <a:pt x="129" y="155"/>
                    <a:pt x="129" y="158"/>
                  </a:cubicBezTo>
                  <a:cubicBezTo>
                    <a:pt x="132" y="161"/>
                    <a:pt x="135" y="158"/>
                    <a:pt x="138" y="155"/>
                  </a:cubicBezTo>
                  <a:cubicBezTo>
                    <a:pt x="135" y="155"/>
                    <a:pt x="135" y="152"/>
                    <a:pt x="135" y="152"/>
                  </a:cubicBezTo>
                  <a:cubicBezTo>
                    <a:pt x="132" y="152"/>
                    <a:pt x="132" y="149"/>
                    <a:pt x="129" y="152"/>
                  </a:cubicBezTo>
                  <a:cubicBezTo>
                    <a:pt x="129" y="149"/>
                    <a:pt x="127" y="152"/>
                    <a:pt x="124" y="152"/>
                  </a:cubicBezTo>
                  <a:close/>
                  <a:moveTo>
                    <a:pt x="141" y="456"/>
                  </a:moveTo>
                  <a:lnTo>
                    <a:pt x="135" y="456"/>
                  </a:lnTo>
                  <a:lnTo>
                    <a:pt x="135" y="450"/>
                  </a:lnTo>
                  <a:lnTo>
                    <a:pt x="129" y="450"/>
                  </a:lnTo>
                  <a:lnTo>
                    <a:pt x="127" y="450"/>
                  </a:lnTo>
                  <a:lnTo>
                    <a:pt x="121" y="450"/>
                  </a:lnTo>
                  <a:lnTo>
                    <a:pt x="124" y="453"/>
                  </a:lnTo>
                  <a:lnTo>
                    <a:pt x="124" y="459"/>
                  </a:lnTo>
                  <a:lnTo>
                    <a:pt x="124" y="464"/>
                  </a:lnTo>
                  <a:cubicBezTo>
                    <a:pt x="127" y="462"/>
                    <a:pt x="129" y="462"/>
                    <a:pt x="132" y="462"/>
                  </a:cubicBezTo>
                  <a:cubicBezTo>
                    <a:pt x="137" y="458"/>
                    <a:pt x="140" y="457"/>
                    <a:pt x="142" y="457"/>
                  </a:cubicBezTo>
                  <a:lnTo>
                    <a:pt x="141" y="456"/>
                  </a:lnTo>
                  <a:close/>
                  <a:moveTo>
                    <a:pt x="124" y="85"/>
                  </a:moveTo>
                  <a:lnTo>
                    <a:pt x="129" y="90"/>
                  </a:lnTo>
                  <a:cubicBezTo>
                    <a:pt x="132" y="90"/>
                    <a:pt x="132" y="87"/>
                    <a:pt x="132" y="87"/>
                  </a:cubicBezTo>
                  <a:cubicBezTo>
                    <a:pt x="129" y="87"/>
                    <a:pt x="129" y="85"/>
                    <a:pt x="124" y="85"/>
                  </a:cubicBezTo>
                  <a:close/>
                  <a:moveTo>
                    <a:pt x="127" y="141"/>
                  </a:moveTo>
                  <a:cubicBezTo>
                    <a:pt x="127" y="144"/>
                    <a:pt x="127" y="144"/>
                    <a:pt x="129" y="144"/>
                  </a:cubicBezTo>
                  <a:lnTo>
                    <a:pt x="127" y="141"/>
                  </a:lnTo>
                  <a:close/>
                  <a:moveTo>
                    <a:pt x="129" y="436"/>
                  </a:moveTo>
                  <a:lnTo>
                    <a:pt x="127" y="436"/>
                  </a:lnTo>
                  <a:cubicBezTo>
                    <a:pt x="127" y="436"/>
                    <a:pt x="132" y="439"/>
                    <a:pt x="129" y="436"/>
                  </a:cubicBezTo>
                  <a:close/>
                  <a:moveTo>
                    <a:pt x="129" y="166"/>
                  </a:moveTo>
                  <a:lnTo>
                    <a:pt x="132" y="169"/>
                  </a:lnTo>
                  <a:cubicBezTo>
                    <a:pt x="132" y="164"/>
                    <a:pt x="129" y="164"/>
                    <a:pt x="129" y="166"/>
                  </a:cubicBezTo>
                  <a:close/>
                  <a:moveTo>
                    <a:pt x="129" y="121"/>
                  </a:moveTo>
                  <a:lnTo>
                    <a:pt x="135" y="118"/>
                  </a:lnTo>
                  <a:cubicBezTo>
                    <a:pt x="127" y="116"/>
                    <a:pt x="129" y="118"/>
                    <a:pt x="129" y="121"/>
                  </a:cubicBezTo>
                  <a:close/>
                  <a:moveTo>
                    <a:pt x="129" y="121"/>
                  </a:moveTo>
                  <a:cubicBezTo>
                    <a:pt x="129" y="118"/>
                    <a:pt x="132" y="118"/>
                    <a:pt x="129" y="121"/>
                  </a:cubicBezTo>
                  <a:close/>
                  <a:moveTo>
                    <a:pt x="132" y="99"/>
                  </a:moveTo>
                  <a:cubicBezTo>
                    <a:pt x="129" y="99"/>
                    <a:pt x="129" y="99"/>
                    <a:pt x="129" y="101"/>
                  </a:cubicBezTo>
                  <a:cubicBezTo>
                    <a:pt x="129" y="101"/>
                    <a:pt x="132" y="101"/>
                    <a:pt x="132" y="104"/>
                  </a:cubicBezTo>
                  <a:lnTo>
                    <a:pt x="132" y="107"/>
                  </a:lnTo>
                  <a:lnTo>
                    <a:pt x="135" y="107"/>
                  </a:lnTo>
                  <a:lnTo>
                    <a:pt x="132" y="99"/>
                  </a:lnTo>
                  <a:close/>
                  <a:moveTo>
                    <a:pt x="135" y="183"/>
                  </a:moveTo>
                  <a:lnTo>
                    <a:pt x="135" y="189"/>
                  </a:lnTo>
                  <a:lnTo>
                    <a:pt x="138" y="189"/>
                  </a:lnTo>
                  <a:lnTo>
                    <a:pt x="141" y="186"/>
                  </a:lnTo>
                  <a:lnTo>
                    <a:pt x="141" y="183"/>
                  </a:lnTo>
                  <a:cubicBezTo>
                    <a:pt x="146" y="180"/>
                    <a:pt x="146" y="180"/>
                    <a:pt x="143" y="175"/>
                  </a:cubicBezTo>
                  <a:lnTo>
                    <a:pt x="135" y="183"/>
                  </a:lnTo>
                  <a:close/>
                  <a:moveTo>
                    <a:pt x="141" y="172"/>
                  </a:moveTo>
                  <a:cubicBezTo>
                    <a:pt x="141" y="172"/>
                    <a:pt x="138" y="172"/>
                    <a:pt x="138" y="169"/>
                  </a:cubicBezTo>
                  <a:lnTo>
                    <a:pt x="138" y="172"/>
                  </a:lnTo>
                  <a:lnTo>
                    <a:pt x="138" y="175"/>
                  </a:lnTo>
                  <a:cubicBezTo>
                    <a:pt x="138" y="175"/>
                    <a:pt x="141" y="175"/>
                    <a:pt x="141" y="172"/>
                  </a:cubicBezTo>
                  <a:close/>
                  <a:moveTo>
                    <a:pt x="141" y="439"/>
                  </a:moveTo>
                  <a:lnTo>
                    <a:pt x="138" y="439"/>
                  </a:lnTo>
                  <a:lnTo>
                    <a:pt x="138" y="442"/>
                  </a:lnTo>
                  <a:cubicBezTo>
                    <a:pt x="141" y="445"/>
                    <a:pt x="141" y="442"/>
                    <a:pt x="141" y="439"/>
                  </a:cubicBezTo>
                  <a:close/>
                  <a:moveTo>
                    <a:pt x="138" y="149"/>
                  </a:moveTo>
                  <a:cubicBezTo>
                    <a:pt x="143" y="152"/>
                    <a:pt x="143" y="149"/>
                    <a:pt x="143" y="147"/>
                  </a:cubicBezTo>
                  <a:cubicBezTo>
                    <a:pt x="141" y="147"/>
                    <a:pt x="141" y="149"/>
                    <a:pt x="138" y="149"/>
                  </a:cubicBezTo>
                  <a:close/>
                  <a:moveTo>
                    <a:pt x="143" y="257"/>
                  </a:moveTo>
                  <a:lnTo>
                    <a:pt x="143" y="251"/>
                  </a:lnTo>
                  <a:lnTo>
                    <a:pt x="141" y="251"/>
                  </a:lnTo>
                  <a:lnTo>
                    <a:pt x="138" y="251"/>
                  </a:lnTo>
                  <a:cubicBezTo>
                    <a:pt x="141" y="254"/>
                    <a:pt x="141" y="257"/>
                    <a:pt x="143" y="257"/>
                  </a:cubicBezTo>
                  <a:close/>
                  <a:moveTo>
                    <a:pt x="141" y="217"/>
                  </a:moveTo>
                  <a:lnTo>
                    <a:pt x="141" y="223"/>
                  </a:lnTo>
                  <a:lnTo>
                    <a:pt x="138" y="223"/>
                  </a:lnTo>
                  <a:cubicBezTo>
                    <a:pt x="143" y="226"/>
                    <a:pt x="146" y="228"/>
                    <a:pt x="146" y="231"/>
                  </a:cubicBezTo>
                  <a:cubicBezTo>
                    <a:pt x="149" y="231"/>
                    <a:pt x="149" y="228"/>
                    <a:pt x="152" y="226"/>
                  </a:cubicBezTo>
                  <a:lnTo>
                    <a:pt x="152" y="223"/>
                  </a:lnTo>
                  <a:lnTo>
                    <a:pt x="149" y="223"/>
                  </a:lnTo>
                  <a:lnTo>
                    <a:pt x="146" y="226"/>
                  </a:lnTo>
                  <a:lnTo>
                    <a:pt x="143" y="223"/>
                  </a:lnTo>
                  <a:lnTo>
                    <a:pt x="141" y="217"/>
                  </a:lnTo>
                  <a:close/>
                  <a:moveTo>
                    <a:pt x="141" y="231"/>
                  </a:moveTo>
                  <a:lnTo>
                    <a:pt x="141" y="234"/>
                  </a:lnTo>
                  <a:lnTo>
                    <a:pt x="143" y="234"/>
                  </a:lnTo>
                  <a:cubicBezTo>
                    <a:pt x="141" y="234"/>
                    <a:pt x="141" y="234"/>
                    <a:pt x="141" y="231"/>
                  </a:cubicBezTo>
                  <a:close/>
                  <a:moveTo>
                    <a:pt x="146" y="189"/>
                  </a:moveTo>
                  <a:lnTo>
                    <a:pt x="141" y="189"/>
                  </a:lnTo>
                  <a:lnTo>
                    <a:pt x="141" y="195"/>
                  </a:lnTo>
                  <a:lnTo>
                    <a:pt x="141" y="200"/>
                  </a:lnTo>
                  <a:lnTo>
                    <a:pt x="143" y="200"/>
                  </a:lnTo>
                  <a:lnTo>
                    <a:pt x="143" y="195"/>
                  </a:lnTo>
                  <a:cubicBezTo>
                    <a:pt x="143" y="195"/>
                    <a:pt x="146" y="192"/>
                    <a:pt x="146" y="189"/>
                  </a:cubicBezTo>
                  <a:close/>
                  <a:moveTo>
                    <a:pt x="149" y="447"/>
                  </a:moveTo>
                  <a:lnTo>
                    <a:pt x="146" y="436"/>
                  </a:lnTo>
                  <a:cubicBezTo>
                    <a:pt x="143" y="439"/>
                    <a:pt x="141" y="439"/>
                    <a:pt x="143" y="442"/>
                  </a:cubicBezTo>
                  <a:lnTo>
                    <a:pt x="143" y="447"/>
                  </a:lnTo>
                  <a:lnTo>
                    <a:pt x="149" y="447"/>
                  </a:lnTo>
                  <a:close/>
                  <a:moveTo>
                    <a:pt x="158" y="274"/>
                  </a:moveTo>
                  <a:lnTo>
                    <a:pt x="155" y="268"/>
                  </a:lnTo>
                  <a:cubicBezTo>
                    <a:pt x="155" y="265"/>
                    <a:pt x="158" y="265"/>
                    <a:pt x="158" y="265"/>
                  </a:cubicBezTo>
                  <a:cubicBezTo>
                    <a:pt x="158" y="259"/>
                    <a:pt x="155" y="257"/>
                    <a:pt x="152" y="257"/>
                  </a:cubicBezTo>
                  <a:lnTo>
                    <a:pt x="152" y="262"/>
                  </a:lnTo>
                  <a:cubicBezTo>
                    <a:pt x="152" y="262"/>
                    <a:pt x="149" y="262"/>
                    <a:pt x="149" y="259"/>
                  </a:cubicBezTo>
                  <a:lnTo>
                    <a:pt x="149" y="265"/>
                  </a:lnTo>
                  <a:lnTo>
                    <a:pt x="146" y="268"/>
                  </a:lnTo>
                  <a:cubicBezTo>
                    <a:pt x="149" y="268"/>
                    <a:pt x="152" y="271"/>
                    <a:pt x="152" y="271"/>
                  </a:cubicBezTo>
                  <a:cubicBezTo>
                    <a:pt x="152" y="271"/>
                    <a:pt x="155" y="274"/>
                    <a:pt x="158" y="274"/>
                  </a:cubicBezTo>
                  <a:close/>
                  <a:moveTo>
                    <a:pt x="146" y="220"/>
                  </a:moveTo>
                  <a:cubicBezTo>
                    <a:pt x="146" y="223"/>
                    <a:pt x="149" y="220"/>
                    <a:pt x="146" y="220"/>
                  </a:cubicBezTo>
                  <a:close/>
                  <a:moveTo>
                    <a:pt x="152" y="195"/>
                  </a:moveTo>
                  <a:cubicBezTo>
                    <a:pt x="149" y="192"/>
                    <a:pt x="149" y="195"/>
                    <a:pt x="149" y="195"/>
                  </a:cubicBezTo>
                  <a:lnTo>
                    <a:pt x="152" y="195"/>
                  </a:lnTo>
                  <a:close/>
                  <a:moveTo>
                    <a:pt x="158" y="445"/>
                  </a:moveTo>
                  <a:cubicBezTo>
                    <a:pt x="149" y="447"/>
                    <a:pt x="146" y="453"/>
                    <a:pt x="146" y="456"/>
                  </a:cubicBezTo>
                  <a:lnTo>
                    <a:pt x="149" y="456"/>
                  </a:lnTo>
                  <a:lnTo>
                    <a:pt x="149" y="450"/>
                  </a:lnTo>
                  <a:cubicBezTo>
                    <a:pt x="158" y="447"/>
                    <a:pt x="158" y="450"/>
                    <a:pt x="158" y="445"/>
                  </a:cubicBezTo>
                  <a:close/>
                  <a:moveTo>
                    <a:pt x="149" y="248"/>
                  </a:moveTo>
                  <a:lnTo>
                    <a:pt x="152" y="251"/>
                  </a:lnTo>
                  <a:cubicBezTo>
                    <a:pt x="152" y="248"/>
                    <a:pt x="155" y="248"/>
                    <a:pt x="155" y="245"/>
                  </a:cubicBezTo>
                  <a:lnTo>
                    <a:pt x="155" y="240"/>
                  </a:lnTo>
                  <a:cubicBezTo>
                    <a:pt x="155" y="242"/>
                    <a:pt x="152" y="242"/>
                    <a:pt x="152" y="242"/>
                  </a:cubicBezTo>
                  <a:lnTo>
                    <a:pt x="149" y="248"/>
                  </a:lnTo>
                  <a:close/>
                  <a:moveTo>
                    <a:pt x="158" y="307"/>
                  </a:moveTo>
                  <a:cubicBezTo>
                    <a:pt x="158" y="305"/>
                    <a:pt x="155" y="305"/>
                    <a:pt x="158" y="307"/>
                  </a:cubicBezTo>
                  <a:close/>
                  <a:moveTo>
                    <a:pt x="163" y="430"/>
                  </a:moveTo>
                  <a:cubicBezTo>
                    <a:pt x="163" y="430"/>
                    <a:pt x="160" y="430"/>
                    <a:pt x="163" y="430"/>
                  </a:cubicBezTo>
                  <a:cubicBezTo>
                    <a:pt x="160" y="433"/>
                    <a:pt x="160" y="433"/>
                    <a:pt x="158" y="433"/>
                  </a:cubicBezTo>
                  <a:lnTo>
                    <a:pt x="152" y="436"/>
                  </a:lnTo>
                  <a:cubicBezTo>
                    <a:pt x="152" y="439"/>
                    <a:pt x="155" y="439"/>
                    <a:pt x="155" y="439"/>
                  </a:cubicBezTo>
                  <a:cubicBezTo>
                    <a:pt x="155" y="436"/>
                    <a:pt x="158" y="433"/>
                    <a:pt x="160" y="433"/>
                  </a:cubicBezTo>
                  <a:cubicBezTo>
                    <a:pt x="163" y="436"/>
                    <a:pt x="166" y="433"/>
                    <a:pt x="163" y="430"/>
                  </a:cubicBezTo>
                  <a:close/>
                  <a:moveTo>
                    <a:pt x="155" y="338"/>
                  </a:moveTo>
                  <a:cubicBezTo>
                    <a:pt x="158" y="338"/>
                    <a:pt x="158" y="336"/>
                    <a:pt x="158" y="336"/>
                  </a:cubicBezTo>
                  <a:lnTo>
                    <a:pt x="155" y="338"/>
                  </a:lnTo>
                  <a:close/>
                  <a:moveTo>
                    <a:pt x="174" y="307"/>
                  </a:moveTo>
                  <a:cubicBezTo>
                    <a:pt x="172" y="305"/>
                    <a:pt x="172" y="305"/>
                    <a:pt x="172" y="302"/>
                  </a:cubicBezTo>
                  <a:cubicBezTo>
                    <a:pt x="172" y="299"/>
                    <a:pt x="169" y="299"/>
                    <a:pt x="166" y="299"/>
                  </a:cubicBezTo>
                  <a:lnTo>
                    <a:pt x="165" y="297"/>
                  </a:lnTo>
                  <a:lnTo>
                    <a:pt x="163" y="299"/>
                  </a:lnTo>
                  <a:cubicBezTo>
                    <a:pt x="163" y="299"/>
                    <a:pt x="163" y="302"/>
                    <a:pt x="160" y="302"/>
                  </a:cubicBezTo>
                  <a:lnTo>
                    <a:pt x="166" y="302"/>
                  </a:lnTo>
                  <a:lnTo>
                    <a:pt x="166" y="305"/>
                  </a:lnTo>
                  <a:lnTo>
                    <a:pt x="158" y="302"/>
                  </a:lnTo>
                  <a:lnTo>
                    <a:pt x="158" y="305"/>
                  </a:lnTo>
                  <a:lnTo>
                    <a:pt x="169" y="307"/>
                  </a:lnTo>
                  <a:lnTo>
                    <a:pt x="169" y="313"/>
                  </a:lnTo>
                  <a:cubicBezTo>
                    <a:pt x="169" y="313"/>
                    <a:pt x="172" y="307"/>
                    <a:pt x="174" y="307"/>
                  </a:cubicBezTo>
                  <a:close/>
                  <a:moveTo>
                    <a:pt x="163" y="296"/>
                  </a:moveTo>
                  <a:lnTo>
                    <a:pt x="172" y="296"/>
                  </a:lnTo>
                  <a:lnTo>
                    <a:pt x="166" y="290"/>
                  </a:lnTo>
                  <a:cubicBezTo>
                    <a:pt x="166" y="293"/>
                    <a:pt x="163" y="293"/>
                    <a:pt x="163" y="290"/>
                  </a:cubicBezTo>
                  <a:cubicBezTo>
                    <a:pt x="160" y="290"/>
                    <a:pt x="160" y="290"/>
                    <a:pt x="160" y="293"/>
                  </a:cubicBezTo>
                  <a:lnTo>
                    <a:pt x="163" y="293"/>
                  </a:lnTo>
                  <a:lnTo>
                    <a:pt x="166" y="296"/>
                  </a:lnTo>
                  <a:lnTo>
                    <a:pt x="165" y="297"/>
                  </a:lnTo>
                  <a:lnTo>
                    <a:pt x="163" y="296"/>
                  </a:lnTo>
                  <a:close/>
                  <a:moveTo>
                    <a:pt x="160" y="333"/>
                  </a:moveTo>
                  <a:lnTo>
                    <a:pt x="160" y="327"/>
                  </a:lnTo>
                  <a:lnTo>
                    <a:pt x="158" y="327"/>
                  </a:lnTo>
                  <a:cubicBezTo>
                    <a:pt x="158" y="330"/>
                    <a:pt x="160" y="330"/>
                    <a:pt x="160" y="333"/>
                  </a:cubicBezTo>
                  <a:close/>
                  <a:moveTo>
                    <a:pt x="158" y="319"/>
                  </a:moveTo>
                  <a:lnTo>
                    <a:pt x="160" y="321"/>
                  </a:lnTo>
                  <a:lnTo>
                    <a:pt x="160" y="319"/>
                  </a:lnTo>
                  <a:lnTo>
                    <a:pt x="160" y="316"/>
                  </a:lnTo>
                  <a:cubicBezTo>
                    <a:pt x="160" y="313"/>
                    <a:pt x="158" y="313"/>
                    <a:pt x="158" y="313"/>
                  </a:cubicBezTo>
                  <a:lnTo>
                    <a:pt x="158" y="319"/>
                  </a:lnTo>
                  <a:close/>
                  <a:moveTo>
                    <a:pt x="177" y="330"/>
                  </a:moveTo>
                  <a:cubicBezTo>
                    <a:pt x="174" y="327"/>
                    <a:pt x="172" y="327"/>
                    <a:pt x="169" y="327"/>
                  </a:cubicBezTo>
                  <a:cubicBezTo>
                    <a:pt x="169" y="324"/>
                    <a:pt x="169" y="324"/>
                    <a:pt x="172" y="321"/>
                  </a:cubicBezTo>
                  <a:lnTo>
                    <a:pt x="163" y="321"/>
                  </a:lnTo>
                  <a:lnTo>
                    <a:pt x="163" y="324"/>
                  </a:lnTo>
                  <a:lnTo>
                    <a:pt x="169" y="324"/>
                  </a:lnTo>
                  <a:cubicBezTo>
                    <a:pt x="166" y="327"/>
                    <a:pt x="166" y="330"/>
                    <a:pt x="163" y="333"/>
                  </a:cubicBezTo>
                  <a:lnTo>
                    <a:pt x="163" y="338"/>
                  </a:lnTo>
                  <a:lnTo>
                    <a:pt x="163" y="341"/>
                  </a:lnTo>
                  <a:lnTo>
                    <a:pt x="160" y="341"/>
                  </a:lnTo>
                  <a:lnTo>
                    <a:pt x="160" y="350"/>
                  </a:lnTo>
                  <a:lnTo>
                    <a:pt x="163" y="350"/>
                  </a:lnTo>
                  <a:lnTo>
                    <a:pt x="166" y="347"/>
                  </a:lnTo>
                  <a:lnTo>
                    <a:pt x="169" y="338"/>
                  </a:lnTo>
                  <a:lnTo>
                    <a:pt x="166" y="336"/>
                  </a:lnTo>
                  <a:lnTo>
                    <a:pt x="163" y="333"/>
                  </a:lnTo>
                  <a:lnTo>
                    <a:pt x="169" y="333"/>
                  </a:lnTo>
                  <a:cubicBezTo>
                    <a:pt x="169" y="333"/>
                    <a:pt x="169" y="336"/>
                    <a:pt x="172" y="336"/>
                  </a:cubicBezTo>
                  <a:cubicBezTo>
                    <a:pt x="172" y="338"/>
                    <a:pt x="174" y="341"/>
                    <a:pt x="177" y="338"/>
                  </a:cubicBezTo>
                  <a:lnTo>
                    <a:pt x="180" y="338"/>
                  </a:lnTo>
                  <a:cubicBezTo>
                    <a:pt x="174" y="338"/>
                    <a:pt x="174" y="333"/>
                    <a:pt x="177" y="330"/>
                  </a:cubicBezTo>
                  <a:close/>
                  <a:moveTo>
                    <a:pt x="163" y="285"/>
                  </a:moveTo>
                  <a:cubicBezTo>
                    <a:pt x="166" y="285"/>
                    <a:pt x="166" y="285"/>
                    <a:pt x="169" y="282"/>
                  </a:cubicBezTo>
                  <a:cubicBezTo>
                    <a:pt x="169" y="279"/>
                    <a:pt x="166" y="279"/>
                    <a:pt x="163" y="279"/>
                  </a:cubicBezTo>
                  <a:lnTo>
                    <a:pt x="163" y="285"/>
                  </a:lnTo>
                  <a:close/>
                  <a:moveTo>
                    <a:pt x="166" y="360"/>
                  </a:moveTo>
                  <a:cubicBezTo>
                    <a:pt x="166" y="363"/>
                    <a:pt x="163" y="366"/>
                    <a:pt x="163" y="366"/>
                  </a:cubicBezTo>
                  <a:cubicBezTo>
                    <a:pt x="166" y="366"/>
                    <a:pt x="166" y="366"/>
                    <a:pt x="166" y="368"/>
                  </a:cubicBezTo>
                  <a:lnTo>
                    <a:pt x="166" y="371"/>
                  </a:lnTo>
                  <a:lnTo>
                    <a:pt x="166" y="374"/>
                  </a:lnTo>
                  <a:cubicBezTo>
                    <a:pt x="166" y="377"/>
                    <a:pt x="166" y="377"/>
                    <a:pt x="169" y="377"/>
                  </a:cubicBezTo>
                  <a:cubicBezTo>
                    <a:pt x="166" y="377"/>
                    <a:pt x="166" y="380"/>
                    <a:pt x="166" y="383"/>
                  </a:cubicBezTo>
                  <a:lnTo>
                    <a:pt x="169" y="385"/>
                  </a:lnTo>
                  <a:cubicBezTo>
                    <a:pt x="172" y="385"/>
                    <a:pt x="172" y="385"/>
                    <a:pt x="174" y="383"/>
                  </a:cubicBezTo>
                  <a:lnTo>
                    <a:pt x="177" y="383"/>
                  </a:lnTo>
                  <a:cubicBezTo>
                    <a:pt x="177" y="383"/>
                    <a:pt x="180" y="383"/>
                    <a:pt x="180" y="385"/>
                  </a:cubicBezTo>
                  <a:lnTo>
                    <a:pt x="180" y="380"/>
                  </a:lnTo>
                  <a:lnTo>
                    <a:pt x="180" y="377"/>
                  </a:lnTo>
                  <a:lnTo>
                    <a:pt x="174" y="377"/>
                  </a:lnTo>
                  <a:lnTo>
                    <a:pt x="169" y="377"/>
                  </a:lnTo>
                  <a:lnTo>
                    <a:pt x="169" y="368"/>
                  </a:lnTo>
                  <a:cubicBezTo>
                    <a:pt x="169" y="366"/>
                    <a:pt x="169" y="363"/>
                    <a:pt x="172" y="360"/>
                  </a:cubicBezTo>
                  <a:lnTo>
                    <a:pt x="169" y="360"/>
                  </a:lnTo>
                  <a:lnTo>
                    <a:pt x="169" y="353"/>
                  </a:lnTo>
                  <a:lnTo>
                    <a:pt x="166" y="353"/>
                  </a:lnTo>
                  <a:cubicBezTo>
                    <a:pt x="169" y="357"/>
                    <a:pt x="169" y="357"/>
                    <a:pt x="166" y="360"/>
                  </a:cubicBezTo>
                  <a:close/>
                  <a:moveTo>
                    <a:pt x="166" y="405"/>
                  </a:moveTo>
                  <a:lnTo>
                    <a:pt x="166" y="411"/>
                  </a:lnTo>
                  <a:lnTo>
                    <a:pt x="169" y="411"/>
                  </a:lnTo>
                  <a:cubicBezTo>
                    <a:pt x="169" y="411"/>
                    <a:pt x="166" y="408"/>
                    <a:pt x="166" y="405"/>
                  </a:cubicBezTo>
                  <a:close/>
                  <a:moveTo>
                    <a:pt x="174" y="433"/>
                  </a:moveTo>
                  <a:lnTo>
                    <a:pt x="166" y="433"/>
                  </a:lnTo>
                  <a:cubicBezTo>
                    <a:pt x="166" y="436"/>
                    <a:pt x="169" y="436"/>
                    <a:pt x="172" y="439"/>
                  </a:cubicBezTo>
                  <a:lnTo>
                    <a:pt x="174" y="439"/>
                  </a:lnTo>
                  <a:lnTo>
                    <a:pt x="177" y="442"/>
                  </a:lnTo>
                  <a:cubicBezTo>
                    <a:pt x="177" y="438"/>
                    <a:pt x="177" y="435"/>
                    <a:pt x="178" y="433"/>
                  </a:cubicBezTo>
                  <a:cubicBezTo>
                    <a:pt x="177" y="433"/>
                    <a:pt x="176" y="433"/>
                    <a:pt x="174" y="433"/>
                  </a:cubicBezTo>
                  <a:close/>
                  <a:moveTo>
                    <a:pt x="169" y="316"/>
                  </a:moveTo>
                  <a:lnTo>
                    <a:pt x="172" y="319"/>
                  </a:lnTo>
                  <a:lnTo>
                    <a:pt x="172" y="313"/>
                  </a:lnTo>
                  <a:cubicBezTo>
                    <a:pt x="169" y="313"/>
                    <a:pt x="169" y="313"/>
                    <a:pt x="169" y="316"/>
                  </a:cubicBezTo>
                  <a:close/>
                  <a:moveTo>
                    <a:pt x="177" y="397"/>
                  </a:moveTo>
                  <a:lnTo>
                    <a:pt x="172" y="397"/>
                  </a:lnTo>
                  <a:lnTo>
                    <a:pt x="166" y="397"/>
                  </a:lnTo>
                  <a:lnTo>
                    <a:pt x="172" y="402"/>
                  </a:lnTo>
                  <a:lnTo>
                    <a:pt x="172" y="405"/>
                  </a:lnTo>
                  <a:cubicBezTo>
                    <a:pt x="172" y="405"/>
                    <a:pt x="172" y="408"/>
                    <a:pt x="169" y="408"/>
                  </a:cubicBezTo>
                  <a:cubicBezTo>
                    <a:pt x="172" y="408"/>
                    <a:pt x="172" y="405"/>
                    <a:pt x="174" y="405"/>
                  </a:cubicBezTo>
                  <a:lnTo>
                    <a:pt x="177" y="405"/>
                  </a:lnTo>
                  <a:lnTo>
                    <a:pt x="180" y="405"/>
                  </a:lnTo>
                  <a:lnTo>
                    <a:pt x="177" y="397"/>
                  </a:lnTo>
                  <a:close/>
                  <a:moveTo>
                    <a:pt x="180" y="419"/>
                  </a:moveTo>
                  <a:cubicBezTo>
                    <a:pt x="177" y="419"/>
                    <a:pt x="177" y="419"/>
                    <a:pt x="177" y="422"/>
                  </a:cubicBezTo>
                  <a:lnTo>
                    <a:pt x="180" y="425"/>
                  </a:lnTo>
                  <a:lnTo>
                    <a:pt x="177" y="425"/>
                  </a:lnTo>
                  <a:lnTo>
                    <a:pt x="174" y="425"/>
                  </a:lnTo>
                  <a:lnTo>
                    <a:pt x="174" y="428"/>
                  </a:lnTo>
                  <a:lnTo>
                    <a:pt x="174" y="430"/>
                  </a:lnTo>
                  <a:cubicBezTo>
                    <a:pt x="180" y="428"/>
                    <a:pt x="183" y="425"/>
                    <a:pt x="180" y="419"/>
                  </a:cubicBezTo>
                  <a:close/>
                  <a:moveTo>
                    <a:pt x="183" y="360"/>
                  </a:moveTo>
                  <a:cubicBezTo>
                    <a:pt x="183" y="357"/>
                    <a:pt x="180" y="357"/>
                    <a:pt x="180" y="354"/>
                  </a:cubicBezTo>
                  <a:cubicBezTo>
                    <a:pt x="177" y="357"/>
                    <a:pt x="177" y="357"/>
                    <a:pt x="177" y="360"/>
                  </a:cubicBezTo>
                  <a:lnTo>
                    <a:pt x="180" y="360"/>
                  </a:lnTo>
                  <a:lnTo>
                    <a:pt x="183" y="360"/>
                  </a:lnTo>
                  <a:close/>
                  <a:moveTo>
                    <a:pt x="180" y="374"/>
                  </a:moveTo>
                  <a:lnTo>
                    <a:pt x="180" y="368"/>
                  </a:lnTo>
                  <a:lnTo>
                    <a:pt x="177" y="368"/>
                  </a:lnTo>
                  <a:cubicBezTo>
                    <a:pt x="180" y="371"/>
                    <a:pt x="180" y="371"/>
                    <a:pt x="180" y="3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2" name="Freeform 1460"/>
            <p:cNvSpPr>
              <a:spLocks noChangeArrowheads="1"/>
            </p:cNvSpPr>
            <p:nvPr/>
          </p:nvSpPr>
          <p:spPr bwMode="auto">
            <a:xfrm>
              <a:off x="4225925" y="2436813"/>
              <a:ext cx="73025" cy="173037"/>
            </a:xfrm>
            <a:custGeom>
              <a:avLst/>
              <a:gdLst>
                <a:gd name="T0" fmla="*/ 183 w 204"/>
                <a:gd name="T1" fmla="*/ 304 h 479"/>
                <a:gd name="T2" fmla="*/ 200 w 204"/>
                <a:gd name="T3" fmla="*/ 394 h 479"/>
                <a:gd name="T4" fmla="*/ 158 w 204"/>
                <a:gd name="T5" fmla="*/ 473 h 479"/>
                <a:gd name="T6" fmla="*/ 96 w 204"/>
                <a:gd name="T7" fmla="*/ 461 h 479"/>
                <a:gd name="T8" fmla="*/ 73 w 204"/>
                <a:gd name="T9" fmla="*/ 385 h 479"/>
                <a:gd name="T10" fmla="*/ 59 w 204"/>
                <a:gd name="T11" fmla="*/ 296 h 479"/>
                <a:gd name="T12" fmla="*/ 54 w 204"/>
                <a:gd name="T13" fmla="*/ 251 h 479"/>
                <a:gd name="T14" fmla="*/ 42 w 204"/>
                <a:gd name="T15" fmla="*/ 175 h 479"/>
                <a:gd name="T16" fmla="*/ 3 w 204"/>
                <a:gd name="T17" fmla="*/ 45 h 479"/>
                <a:gd name="T18" fmla="*/ 59 w 204"/>
                <a:gd name="T19" fmla="*/ 45 h 479"/>
                <a:gd name="T20" fmla="*/ 82 w 204"/>
                <a:gd name="T21" fmla="*/ 127 h 479"/>
                <a:gd name="T22" fmla="*/ 87 w 204"/>
                <a:gd name="T23" fmla="*/ 180 h 479"/>
                <a:gd name="T24" fmla="*/ 99 w 204"/>
                <a:gd name="T25" fmla="*/ 254 h 479"/>
                <a:gd name="T26" fmla="*/ 113 w 204"/>
                <a:gd name="T27" fmla="*/ 355 h 479"/>
                <a:gd name="T28" fmla="*/ 135 w 204"/>
                <a:gd name="T29" fmla="*/ 416 h 479"/>
                <a:gd name="T30" fmla="*/ 158 w 204"/>
                <a:gd name="T31" fmla="*/ 372 h 479"/>
                <a:gd name="T32" fmla="*/ 144 w 204"/>
                <a:gd name="T33" fmla="*/ 302 h 479"/>
                <a:gd name="T34" fmla="*/ 127 w 204"/>
                <a:gd name="T35" fmla="*/ 228 h 479"/>
                <a:gd name="T36" fmla="*/ 110 w 204"/>
                <a:gd name="T37" fmla="*/ 144 h 479"/>
                <a:gd name="T38" fmla="*/ 102 w 204"/>
                <a:gd name="T39" fmla="*/ 84 h 479"/>
                <a:gd name="T40" fmla="*/ 118 w 204"/>
                <a:gd name="T41" fmla="*/ 0 h 479"/>
                <a:gd name="T42" fmla="*/ 141 w 204"/>
                <a:gd name="T43" fmla="*/ 87 h 479"/>
                <a:gd name="T44" fmla="*/ 161 w 204"/>
                <a:gd name="T45" fmla="*/ 180 h 479"/>
                <a:gd name="T46" fmla="*/ 25 w 204"/>
                <a:gd name="T47" fmla="*/ 36 h 479"/>
                <a:gd name="T48" fmla="*/ 39 w 204"/>
                <a:gd name="T49" fmla="*/ 76 h 479"/>
                <a:gd name="T50" fmla="*/ 34 w 204"/>
                <a:gd name="T51" fmla="*/ 79 h 479"/>
                <a:gd name="T52" fmla="*/ 34 w 204"/>
                <a:gd name="T53" fmla="*/ 39 h 479"/>
                <a:gd name="T54" fmla="*/ 39 w 204"/>
                <a:gd name="T55" fmla="*/ 96 h 479"/>
                <a:gd name="T56" fmla="*/ 42 w 204"/>
                <a:gd name="T57" fmla="*/ 129 h 479"/>
                <a:gd name="T58" fmla="*/ 45 w 204"/>
                <a:gd name="T59" fmla="*/ 113 h 479"/>
                <a:gd name="T60" fmla="*/ 48 w 204"/>
                <a:gd name="T61" fmla="*/ 146 h 479"/>
                <a:gd name="T62" fmla="*/ 54 w 204"/>
                <a:gd name="T63" fmla="*/ 107 h 479"/>
                <a:gd name="T64" fmla="*/ 62 w 204"/>
                <a:gd name="T65" fmla="*/ 160 h 479"/>
                <a:gd name="T66" fmla="*/ 51 w 204"/>
                <a:gd name="T67" fmla="*/ 169 h 479"/>
                <a:gd name="T68" fmla="*/ 54 w 204"/>
                <a:gd name="T69" fmla="*/ 186 h 479"/>
                <a:gd name="T70" fmla="*/ 62 w 204"/>
                <a:gd name="T71" fmla="*/ 192 h 479"/>
                <a:gd name="T72" fmla="*/ 65 w 204"/>
                <a:gd name="T73" fmla="*/ 279 h 479"/>
                <a:gd name="T74" fmla="*/ 70 w 204"/>
                <a:gd name="T75" fmla="*/ 254 h 479"/>
                <a:gd name="T76" fmla="*/ 79 w 204"/>
                <a:gd name="T77" fmla="*/ 279 h 479"/>
                <a:gd name="T78" fmla="*/ 85 w 204"/>
                <a:gd name="T79" fmla="*/ 313 h 479"/>
                <a:gd name="T80" fmla="*/ 85 w 204"/>
                <a:gd name="T81" fmla="*/ 352 h 479"/>
                <a:gd name="T82" fmla="*/ 79 w 204"/>
                <a:gd name="T83" fmla="*/ 341 h 479"/>
                <a:gd name="T84" fmla="*/ 87 w 204"/>
                <a:gd name="T85" fmla="*/ 316 h 479"/>
                <a:gd name="T86" fmla="*/ 90 w 204"/>
                <a:gd name="T87" fmla="*/ 333 h 479"/>
                <a:gd name="T88" fmla="*/ 98 w 204"/>
                <a:gd name="T89" fmla="*/ 409 h 479"/>
                <a:gd name="T90" fmla="*/ 104 w 204"/>
                <a:gd name="T91" fmla="*/ 405 h 479"/>
                <a:gd name="T92" fmla="*/ 93 w 204"/>
                <a:gd name="T93" fmla="*/ 385 h 479"/>
                <a:gd name="T94" fmla="*/ 93 w 204"/>
                <a:gd name="T95" fmla="*/ 399 h 479"/>
                <a:gd name="T96" fmla="*/ 102 w 204"/>
                <a:gd name="T97" fmla="*/ 419 h 479"/>
                <a:gd name="T98" fmla="*/ 110 w 204"/>
                <a:gd name="T99" fmla="*/ 422 h 479"/>
                <a:gd name="T100" fmla="*/ 113 w 204"/>
                <a:gd name="T101" fmla="*/ 439 h 479"/>
                <a:gd name="T102" fmla="*/ 118 w 204"/>
                <a:gd name="T103" fmla="*/ 442 h 479"/>
                <a:gd name="T104" fmla="*/ 121 w 204"/>
                <a:gd name="T105" fmla="*/ 430 h 479"/>
                <a:gd name="T106" fmla="*/ 130 w 204"/>
                <a:gd name="T107" fmla="*/ 439 h 479"/>
                <a:gd name="T108" fmla="*/ 144 w 204"/>
                <a:gd name="T109" fmla="*/ 447 h 479"/>
                <a:gd name="T110" fmla="*/ 135 w 204"/>
                <a:gd name="T111" fmla="*/ 158 h 479"/>
                <a:gd name="T112" fmla="*/ 161 w 204"/>
                <a:gd name="T113" fmla="*/ 44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4" h="479">
                  <a:moveTo>
                    <a:pt x="175" y="228"/>
                  </a:moveTo>
                  <a:lnTo>
                    <a:pt x="175" y="231"/>
                  </a:lnTo>
                  <a:lnTo>
                    <a:pt x="175" y="237"/>
                  </a:lnTo>
                  <a:lnTo>
                    <a:pt x="175" y="242"/>
                  </a:lnTo>
                  <a:lnTo>
                    <a:pt x="175" y="248"/>
                  </a:lnTo>
                  <a:lnTo>
                    <a:pt x="175" y="254"/>
                  </a:lnTo>
                  <a:cubicBezTo>
                    <a:pt x="175" y="259"/>
                    <a:pt x="175" y="265"/>
                    <a:pt x="178" y="270"/>
                  </a:cubicBezTo>
                  <a:cubicBezTo>
                    <a:pt x="181" y="282"/>
                    <a:pt x="183" y="293"/>
                    <a:pt x="183" y="304"/>
                  </a:cubicBezTo>
                  <a:lnTo>
                    <a:pt x="183" y="307"/>
                  </a:lnTo>
                  <a:cubicBezTo>
                    <a:pt x="189" y="316"/>
                    <a:pt x="189" y="324"/>
                    <a:pt x="189" y="335"/>
                  </a:cubicBezTo>
                  <a:cubicBezTo>
                    <a:pt x="192" y="338"/>
                    <a:pt x="195" y="341"/>
                    <a:pt x="192" y="347"/>
                  </a:cubicBezTo>
                  <a:lnTo>
                    <a:pt x="192" y="355"/>
                  </a:lnTo>
                  <a:lnTo>
                    <a:pt x="192" y="364"/>
                  </a:lnTo>
                  <a:lnTo>
                    <a:pt x="195" y="381"/>
                  </a:lnTo>
                  <a:cubicBezTo>
                    <a:pt x="195" y="382"/>
                    <a:pt x="197" y="385"/>
                    <a:pt x="197" y="385"/>
                  </a:cubicBezTo>
                  <a:cubicBezTo>
                    <a:pt x="197" y="388"/>
                    <a:pt x="197" y="391"/>
                    <a:pt x="200" y="394"/>
                  </a:cubicBezTo>
                  <a:cubicBezTo>
                    <a:pt x="203" y="396"/>
                    <a:pt x="203" y="402"/>
                    <a:pt x="203" y="405"/>
                  </a:cubicBezTo>
                  <a:lnTo>
                    <a:pt x="203" y="411"/>
                  </a:lnTo>
                  <a:lnTo>
                    <a:pt x="203" y="416"/>
                  </a:lnTo>
                  <a:cubicBezTo>
                    <a:pt x="203" y="427"/>
                    <a:pt x="200" y="439"/>
                    <a:pt x="195" y="450"/>
                  </a:cubicBezTo>
                  <a:cubicBezTo>
                    <a:pt x="195" y="453"/>
                    <a:pt x="192" y="453"/>
                    <a:pt x="189" y="453"/>
                  </a:cubicBezTo>
                  <a:cubicBezTo>
                    <a:pt x="183" y="456"/>
                    <a:pt x="178" y="461"/>
                    <a:pt x="172" y="467"/>
                  </a:cubicBezTo>
                  <a:cubicBezTo>
                    <a:pt x="169" y="470"/>
                    <a:pt x="167" y="473"/>
                    <a:pt x="164" y="473"/>
                  </a:cubicBezTo>
                  <a:cubicBezTo>
                    <a:pt x="162" y="473"/>
                    <a:pt x="158" y="475"/>
                    <a:pt x="158" y="473"/>
                  </a:cubicBezTo>
                  <a:cubicBezTo>
                    <a:pt x="155" y="473"/>
                    <a:pt x="152" y="475"/>
                    <a:pt x="149" y="475"/>
                  </a:cubicBezTo>
                  <a:cubicBezTo>
                    <a:pt x="144" y="478"/>
                    <a:pt x="138" y="478"/>
                    <a:pt x="133" y="475"/>
                  </a:cubicBezTo>
                  <a:lnTo>
                    <a:pt x="127" y="475"/>
                  </a:lnTo>
                  <a:lnTo>
                    <a:pt x="118" y="475"/>
                  </a:lnTo>
                  <a:lnTo>
                    <a:pt x="116" y="473"/>
                  </a:lnTo>
                  <a:cubicBezTo>
                    <a:pt x="113" y="473"/>
                    <a:pt x="113" y="470"/>
                    <a:pt x="113" y="470"/>
                  </a:cubicBezTo>
                  <a:cubicBezTo>
                    <a:pt x="110" y="470"/>
                    <a:pt x="104" y="467"/>
                    <a:pt x="104" y="467"/>
                  </a:cubicBezTo>
                  <a:lnTo>
                    <a:pt x="96" y="461"/>
                  </a:lnTo>
                  <a:cubicBezTo>
                    <a:pt x="90" y="456"/>
                    <a:pt x="85" y="450"/>
                    <a:pt x="82" y="442"/>
                  </a:cubicBezTo>
                  <a:cubicBezTo>
                    <a:pt x="79" y="436"/>
                    <a:pt x="79" y="433"/>
                    <a:pt x="76" y="427"/>
                  </a:cubicBezTo>
                  <a:cubicBezTo>
                    <a:pt x="76" y="425"/>
                    <a:pt x="73" y="422"/>
                    <a:pt x="76" y="419"/>
                  </a:cubicBezTo>
                  <a:lnTo>
                    <a:pt x="76" y="411"/>
                  </a:lnTo>
                  <a:cubicBezTo>
                    <a:pt x="76" y="408"/>
                    <a:pt x="73" y="405"/>
                    <a:pt x="76" y="405"/>
                  </a:cubicBezTo>
                  <a:cubicBezTo>
                    <a:pt x="76" y="402"/>
                    <a:pt x="73" y="402"/>
                    <a:pt x="73" y="399"/>
                  </a:cubicBezTo>
                  <a:cubicBezTo>
                    <a:pt x="73" y="396"/>
                    <a:pt x="70" y="394"/>
                    <a:pt x="73" y="391"/>
                  </a:cubicBezTo>
                  <a:lnTo>
                    <a:pt x="73" y="385"/>
                  </a:lnTo>
                  <a:lnTo>
                    <a:pt x="73" y="381"/>
                  </a:lnTo>
                  <a:cubicBezTo>
                    <a:pt x="73" y="375"/>
                    <a:pt x="70" y="369"/>
                    <a:pt x="70" y="364"/>
                  </a:cubicBezTo>
                  <a:cubicBezTo>
                    <a:pt x="70" y="358"/>
                    <a:pt x="68" y="352"/>
                    <a:pt x="68" y="347"/>
                  </a:cubicBezTo>
                  <a:cubicBezTo>
                    <a:pt x="65" y="341"/>
                    <a:pt x="65" y="335"/>
                    <a:pt x="65" y="327"/>
                  </a:cubicBezTo>
                  <a:lnTo>
                    <a:pt x="65" y="318"/>
                  </a:lnTo>
                  <a:cubicBezTo>
                    <a:pt x="65" y="316"/>
                    <a:pt x="62" y="313"/>
                    <a:pt x="62" y="310"/>
                  </a:cubicBezTo>
                  <a:lnTo>
                    <a:pt x="62" y="302"/>
                  </a:lnTo>
                  <a:cubicBezTo>
                    <a:pt x="62" y="299"/>
                    <a:pt x="59" y="296"/>
                    <a:pt x="59" y="296"/>
                  </a:cubicBezTo>
                  <a:cubicBezTo>
                    <a:pt x="59" y="296"/>
                    <a:pt x="56" y="296"/>
                    <a:pt x="59" y="293"/>
                  </a:cubicBezTo>
                  <a:lnTo>
                    <a:pt x="59" y="285"/>
                  </a:lnTo>
                  <a:lnTo>
                    <a:pt x="59" y="282"/>
                  </a:lnTo>
                  <a:cubicBezTo>
                    <a:pt x="56" y="279"/>
                    <a:pt x="54" y="276"/>
                    <a:pt x="56" y="273"/>
                  </a:cubicBezTo>
                  <a:cubicBezTo>
                    <a:pt x="59" y="270"/>
                    <a:pt x="59" y="270"/>
                    <a:pt x="59" y="268"/>
                  </a:cubicBezTo>
                  <a:cubicBezTo>
                    <a:pt x="59" y="268"/>
                    <a:pt x="59" y="265"/>
                    <a:pt x="56" y="262"/>
                  </a:cubicBezTo>
                  <a:cubicBezTo>
                    <a:pt x="56" y="259"/>
                    <a:pt x="56" y="256"/>
                    <a:pt x="54" y="256"/>
                  </a:cubicBezTo>
                  <a:cubicBezTo>
                    <a:pt x="51" y="254"/>
                    <a:pt x="51" y="251"/>
                    <a:pt x="54" y="251"/>
                  </a:cubicBezTo>
                  <a:lnTo>
                    <a:pt x="54" y="245"/>
                  </a:lnTo>
                  <a:cubicBezTo>
                    <a:pt x="54" y="242"/>
                    <a:pt x="51" y="242"/>
                    <a:pt x="51" y="239"/>
                  </a:cubicBezTo>
                  <a:cubicBezTo>
                    <a:pt x="48" y="234"/>
                    <a:pt x="48" y="231"/>
                    <a:pt x="48" y="225"/>
                  </a:cubicBezTo>
                  <a:cubicBezTo>
                    <a:pt x="48" y="223"/>
                    <a:pt x="45" y="220"/>
                    <a:pt x="45" y="217"/>
                  </a:cubicBezTo>
                  <a:cubicBezTo>
                    <a:pt x="42" y="211"/>
                    <a:pt x="39" y="203"/>
                    <a:pt x="42" y="194"/>
                  </a:cubicBezTo>
                  <a:cubicBezTo>
                    <a:pt x="42" y="192"/>
                    <a:pt x="42" y="186"/>
                    <a:pt x="45" y="183"/>
                  </a:cubicBezTo>
                  <a:cubicBezTo>
                    <a:pt x="45" y="180"/>
                    <a:pt x="45" y="180"/>
                    <a:pt x="42" y="177"/>
                  </a:cubicBezTo>
                  <a:lnTo>
                    <a:pt x="42" y="175"/>
                  </a:lnTo>
                  <a:cubicBezTo>
                    <a:pt x="39" y="160"/>
                    <a:pt x="39" y="146"/>
                    <a:pt x="34" y="132"/>
                  </a:cubicBezTo>
                  <a:cubicBezTo>
                    <a:pt x="31" y="118"/>
                    <a:pt x="28" y="107"/>
                    <a:pt x="25" y="93"/>
                  </a:cubicBezTo>
                  <a:lnTo>
                    <a:pt x="25" y="90"/>
                  </a:lnTo>
                  <a:lnTo>
                    <a:pt x="25" y="84"/>
                  </a:lnTo>
                  <a:cubicBezTo>
                    <a:pt x="25" y="81"/>
                    <a:pt x="23" y="79"/>
                    <a:pt x="23" y="79"/>
                  </a:cubicBezTo>
                  <a:cubicBezTo>
                    <a:pt x="25" y="73"/>
                    <a:pt x="23" y="67"/>
                    <a:pt x="20" y="62"/>
                  </a:cubicBezTo>
                  <a:cubicBezTo>
                    <a:pt x="3" y="59"/>
                    <a:pt x="3" y="53"/>
                    <a:pt x="3" y="48"/>
                  </a:cubicBezTo>
                  <a:lnTo>
                    <a:pt x="3" y="45"/>
                  </a:lnTo>
                  <a:cubicBezTo>
                    <a:pt x="0" y="36"/>
                    <a:pt x="0" y="25"/>
                    <a:pt x="6" y="17"/>
                  </a:cubicBezTo>
                  <a:cubicBezTo>
                    <a:pt x="8" y="11"/>
                    <a:pt x="15" y="11"/>
                    <a:pt x="20" y="11"/>
                  </a:cubicBezTo>
                  <a:cubicBezTo>
                    <a:pt x="26" y="11"/>
                    <a:pt x="28" y="8"/>
                    <a:pt x="34" y="5"/>
                  </a:cubicBezTo>
                  <a:cubicBezTo>
                    <a:pt x="39" y="5"/>
                    <a:pt x="45" y="8"/>
                    <a:pt x="48" y="11"/>
                  </a:cubicBezTo>
                  <a:cubicBezTo>
                    <a:pt x="51" y="14"/>
                    <a:pt x="54" y="17"/>
                    <a:pt x="59" y="19"/>
                  </a:cubicBezTo>
                  <a:lnTo>
                    <a:pt x="59" y="31"/>
                  </a:lnTo>
                  <a:lnTo>
                    <a:pt x="59" y="42"/>
                  </a:lnTo>
                  <a:lnTo>
                    <a:pt x="59" y="45"/>
                  </a:lnTo>
                  <a:lnTo>
                    <a:pt x="59" y="50"/>
                  </a:lnTo>
                  <a:lnTo>
                    <a:pt x="59" y="56"/>
                  </a:lnTo>
                  <a:cubicBezTo>
                    <a:pt x="59" y="59"/>
                    <a:pt x="59" y="59"/>
                    <a:pt x="62" y="62"/>
                  </a:cubicBezTo>
                  <a:cubicBezTo>
                    <a:pt x="65" y="65"/>
                    <a:pt x="65" y="67"/>
                    <a:pt x="68" y="70"/>
                  </a:cubicBezTo>
                  <a:lnTo>
                    <a:pt x="68" y="81"/>
                  </a:lnTo>
                  <a:cubicBezTo>
                    <a:pt x="70" y="87"/>
                    <a:pt x="70" y="96"/>
                    <a:pt x="73" y="101"/>
                  </a:cubicBezTo>
                  <a:cubicBezTo>
                    <a:pt x="73" y="107"/>
                    <a:pt x="76" y="115"/>
                    <a:pt x="79" y="121"/>
                  </a:cubicBezTo>
                  <a:cubicBezTo>
                    <a:pt x="79" y="124"/>
                    <a:pt x="79" y="127"/>
                    <a:pt x="82" y="127"/>
                  </a:cubicBezTo>
                  <a:lnTo>
                    <a:pt x="82" y="135"/>
                  </a:lnTo>
                  <a:lnTo>
                    <a:pt x="82" y="144"/>
                  </a:lnTo>
                  <a:lnTo>
                    <a:pt x="82" y="152"/>
                  </a:lnTo>
                  <a:lnTo>
                    <a:pt x="82" y="155"/>
                  </a:lnTo>
                  <a:lnTo>
                    <a:pt x="82" y="160"/>
                  </a:lnTo>
                  <a:lnTo>
                    <a:pt x="82" y="163"/>
                  </a:lnTo>
                  <a:cubicBezTo>
                    <a:pt x="85" y="163"/>
                    <a:pt x="85" y="166"/>
                    <a:pt x="85" y="166"/>
                  </a:cubicBezTo>
                  <a:cubicBezTo>
                    <a:pt x="85" y="172"/>
                    <a:pt x="85" y="177"/>
                    <a:pt x="87" y="180"/>
                  </a:cubicBezTo>
                  <a:cubicBezTo>
                    <a:pt x="90" y="186"/>
                    <a:pt x="90" y="192"/>
                    <a:pt x="90" y="194"/>
                  </a:cubicBezTo>
                  <a:lnTo>
                    <a:pt x="90" y="200"/>
                  </a:lnTo>
                  <a:lnTo>
                    <a:pt x="90" y="206"/>
                  </a:lnTo>
                  <a:lnTo>
                    <a:pt x="93" y="217"/>
                  </a:lnTo>
                  <a:cubicBezTo>
                    <a:pt x="93" y="220"/>
                    <a:pt x="96" y="223"/>
                    <a:pt x="93" y="223"/>
                  </a:cubicBezTo>
                  <a:cubicBezTo>
                    <a:pt x="93" y="225"/>
                    <a:pt x="93" y="228"/>
                    <a:pt x="96" y="228"/>
                  </a:cubicBezTo>
                  <a:lnTo>
                    <a:pt x="96" y="231"/>
                  </a:lnTo>
                  <a:cubicBezTo>
                    <a:pt x="93" y="239"/>
                    <a:pt x="96" y="248"/>
                    <a:pt x="99" y="254"/>
                  </a:cubicBezTo>
                  <a:cubicBezTo>
                    <a:pt x="102" y="262"/>
                    <a:pt x="102" y="270"/>
                    <a:pt x="102" y="276"/>
                  </a:cubicBezTo>
                  <a:cubicBezTo>
                    <a:pt x="102" y="282"/>
                    <a:pt x="102" y="290"/>
                    <a:pt x="104" y="296"/>
                  </a:cubicBezTo>
                  <a:cubicBezTo>
                    <a:pt x="104" y="299"/>
                    <a:pt x="107" y="304"/>
                    <a:pt x="107" y="307"/>
                  </a:cubicBezTo>
                  <a:lnTo>
                    <a:pt x="107" y="318"/>
                  </a:lnTo>
                  <a:lnTo>
                    <a:pt x="107" y="321"/>
                  </a:lnTo>
                  <a:lnTo>
                    <a:pt x="107" y="324"/>
                  </a:lnTo>
                  <a:cubicBezTo>
                    <a:pt x="113" y="333"/>
                    <a:pt x="113" y="341"/>
                    <a:pt x="113" y="352"/>
                  </a:cubicBezTo>
                  <a:lnTo>
                    <a:pt x="113" y="355"/>
                  </a:lnTo>
                  <a:lnTo>
                    <a:pt x="116" y="361"/>
                  </a:lnTo>
                  <a:lnTo>
                    <a:pt x="116" y="364"/>
                  </a:lnTo>
                  <a:lnTo>
                    <a:pt x="116" y="375"/>
                  </a:lnTo>
                  <a:cubicBezTo>
                    <a:pt x="116" y="381"/>
                    <a:pt x="116" y="382"/>
                    <a:pt x="118" y="385"/>
                  </a:cubicBezTo>
                  <a:cubicBezTo>
                    <a:pt x="121" y="389"/>
                    <a:pt x="121" y="391"/>
                    <a:pt x="121" y="396"/>
                  </a:cubicBezTo>
                  <a:cubicBezTo>
                    <a:pt x="121" y="399"/>
                    <a:pt x="121" y="402"/>
                    <a:pt x="124" y="405"/>
                  </a:cubicBezTo>
                  <a:lnTo>
                    <a:pt x="127" y="411"/>
                  </a:lnTo>
                  <a:cubicBezTo>
                    <a:pt x="127" y="413"/>
                    <a:pt x="133" y="419"/>
                    <a:pt x="135" y="416"/>
                  </a:cubicBezTo>
                  <a:lnTo>
                    <a:pt x="138" y="416"/>
                  </a:lnTo>
                  <a:cubicBezTo>
                    <a:pt x="138" y="416"/>
                    <a:pt x="138" y="419"/>
                    <a:pt x="141" y="419"/>
                  </a:cubicBezTo>
                  <a:cubicBezTo>
                    <a:pt x="144" y="416"/>
                    <a:pt x="149" y="416"/>
                    <a:pt x="152" y="416"/>
                  </a:cubicBezTo>
                  <a:lnTo>
                    <a:pt x="155" y="413"/>
                  </a:lnTo>
                  <a:cubicBezTo>
                    <a:pt x="155" y="411"/>
                    <a:pt x="158" y="411"/>
                    <a:pt x="158" y="411"/>
                  </a:cubicBezTo>
                  <a:lnTo>
                    <a:pt x="158" y="396"/>
                  </a:lnTo>
                  <a:lnTo>
                    <a:pt x="158" y="382"/>
                  </a:lnTo>
                  <a:lnTo>
                    <a:pt x="158" y="372"/>
                  </a:lnTo>
                  <a:cubicBezTo>
                    <a:pt x="158" y="369"/>
                    <a:pt x="155" y="364"/>
                    <a:pt x="152" y="361"/>
                  </a:cubicBezTo>
                  <a:cubicBezTo>
                    <a:pt x="152" y="361"/>
                    <a:pt x="152" y="358"/>
                    <a:pt x="149" y="355"/>
                  </a:cubicBezTo>
                  <a:lnTo>
                    <a:pt x="149" y="347"/>
                  </a:lnTo>
                  <a:lnTo>
                    <a:pt x="149" y="338"/>
                  </a:lnTo>
                  <a:cubicBezTo>
                    <a:pt x="149" y="338"/>
                    <a:pt x="149" y="335"/>
                    <a:pt x="152" y="335"/>
                  </a:cubicBezTo>
                  <a:cubicBezTo>
                    <a:pt x="149" y="335"/>
                    <a:pt x="149" y="333"/>
                    <a:pt x="149" y="333"/>
                  </a:cubicBezTo>
                  <a:cubicBezTo>
                    <a:pt x="149" y="327"/>
                    <a:pt x="147" y="321"/>
                    <a:pt x="144" y="316"/>
                  </a:cubicBezTo>
                  <a:cubicBezTo>
                    <a:pt x="147" y="316"/>
                    <a:pt x="144" y="310"/>
                    <a:pt x="144" y="302"/>
                  </a:cubicBezTo>
                  <a:lnTo>
                    <a:pt x="144" y="296"/>
                  </a:lnTo>
                  <a:cubicBezTo>
                    <a:pt x="144" y="293"/>
                    <a:pt x="144" y="293"/>
                    <a:pt x="141" y="290"/>
                  </a:cubicBezTo>
                  <a:cubicBezTo>
                    <a:pt x="141" y="287"/>
                    <a:pt x="138" y="287"/>
                    <a:pt x="138" y="285"/>
                  </a:cubicBezTo>
                  <a:cubicBezTo>
                    <a:pt x="138" y="282"/>
                    <a:pt x="138" y="282"/>
                    <a:pt x="135" y="279"/>
                  </a:cubicBezTo>
                  <a:cubicBezTo>
                    <a:pt x="133" y="273"/>
                    <a:pt x="133" y="268"/>
                    <a:pt x="135" y="262"/>
                  </a:cubicBezTo>
                  <a:cubicBezTo>
                    <a:pt x="133" y="259"/>
                    <a:pt x="133" y="254"/>
                    <a:pt x="130" y="251"/>
                  </a:cubicBezTo>
                  <a:cubicBezTo>
                    <a:pt x="127" y="248"/>
                    <a:pt x="127" y="242"/>
                    <a:pt x="130" y="237"/>
                  </a:cubicBezTo>
                  <a:cubicBezTo>
                    <a:pt x="127" y="234"/>
                    <a:pt x="127" y="231"/>
                    <a:pt x="127" y="228"/>
                  </a:cubicBezTo>
                  <a:cubicBezTo>
                    <a:pt x="127" y="225"/>
                    <a:pt x="127" y="223"/>
                    <a:pt x="124" y="220"/>
                  </a:cubicBezTo>
                  <a:cubicBezTo>
                    <a:pt x="127" y="220"/>
                    <a:pt x="127" y="217"/>
                    <a:pt x="127" y="214"/>
                  </a:cubicBezTo>
                  <a:cubicBezTo>
                    <a:pt x="127" y="211"/>
                    <a:pt x="124" y="211"/>
                    <a:pt x="124" y="208"/>
                  </a:cubicBezTo>
                  <a:cubicBezTo>
                    <a:pt x="121" y="200"/>
                    <a:pt x="121" y="194"/>
                    <a:pt x="118" y="186"/>
                  </a:cubicBezTo>
                  <a:lnTo>
                    <a:pt x="113" y="163"/>
                  </a:lnTo>
                  <a:cubicBezTo>
                    <a:pt x="113" y="160"/>
                    <a:pt x="113" y="158"/>
                    <a:pt x="110" y="158"/>
                  </a:cubicBezTo>
                  <a:lnTo>
                    <a:pt x="110" y="152"/>
                  </a:lnTo>
                  <a:lnTo>
                    <a:pt x="110" y="144"/>
                  </a:lnTo>
                  <a:lnTo>
                    <a:pt x="110" y="138"/>
                  </a:lnTo>
                  <a:cubicBezTo>
                    <a:pt x="113" y="135"/>
                    <a:pt x="113" y="132"/>
                    <a:pt x="110" y="129"/>
                  </a:cubicBezTo>
                  <a:cubicBezTo>
                    <a:pt x="107" y="127"/>
                    <a:pt x="107" y="127"/>
                    <a:pt x="107" y="124"/>
                  </a:cubicBezTo>
                  <a:lnTo>
                    <a:pt x="107" y="118"/>
                  </a:lnTo>
                  <a:cubicBezTo>
                    <a:pt x="107" y="115"/>
                    <a:pt x="104" y="113"/>
                    <a:pt x="104" y="113"/>
                  </a:cubicBezTo>
                  <a:cubicBezTo>
                    <a:pt x="104" y="110"/>
                    <a:pt x="105" y="110"/>
                    <a:pt x="102" y="107"/>
                  </a:cubicBezTo>
                  <a:cubicBezTo>
                    <a:pt x="100" y="104"/>
                    <a:pt x="99" y="98"/>
                    <a:pt x="102" y="96"/>
                  </a:cubicBezTo>
                  <a:lnTo>
                    <a:pt x="102" y="84"/>
                  </a:lnTo>
                  <a:lnTo>
                    <a:pt x="102" y="79"/>
                  </a:lnTo>
                  <a:cubicBezTo>
                    <a:pt x="99" y="76"/>
                    <a:pt x="99" y="73"/>
                    <a:pt x="99" y="70"/>
                  </a:cubicBezTo>
                  <a:cubicBezTo>
                    <a:pt x="99" y="67"/>
                    <a:pt x="99" y="65"/>
                    <a:pt x="96" y="62"/>
                  </a:cubicBezTo>
                  <a:cubicBezTo>
                    <a:pt x="96" y="59"/>
                    <a:pt x="93" y="59"/>
                    <a:pt x="93" y="56"/>
                  </a:cubicBezTo>
                  <a:cubicBezTo>
                    <a:pt x="93" y="56"/>
                    <a:pt x="90" y="53"/>
                    <a:pt x="93" y="53"/>
                  </a:cubicBezTo>
                  <a:lnTo>
                    <a:pt x="93" y="39"/>
                  </a:lnTo>
                  <a:cubicBezTo>
                    <a:pt x="87" y="28"/>
                    <a:pt x="90" y="14"/>
                    <a:pt x="99" y="5"/>
                  </a:cubicBezTo>
                  <a:cubicBezTo>
                    <a:pt x="104" y="0"/>
                    <a:pt x="110" y="0"/>
                    <a:pt x="118" y="0"/>
                  </a:cubicBezTo>
                  <a:lnTo>
                    <a:pt x="121" y="0"/>
                  </a:lnTo>
                  <a:lnTo>
                    <a:pt x="124" y="3"/>
                  </a:lnTo>
                  <a:lnTo>
                    <a:pt x="127" y="5"/>
                  </a:lnTo>
                  <a:lnTo>
                    <a:pt x="133" y="42"/>
                  </a:lnTo>
                  <a:cubicBezTo>
                    <a:pt x="133" y="45"/>
                    <a:pt x="133" y="48"/>
                    <a:pt x="135" y="50"/>
                  </a:cubicBezTo>
                  <a:cubicBezTo>
                    <a:pt x="138" y="56"/>
                    <a:pt x="138" y="62"/>
                    <a:pt x="138" y="67"/>
                  </a:cubicBezTo>
                  <a:cubicBezTo>
                    <a:pt x="141" y="70"/>
                    <a:pt x="144" y="76"/>
                    <a:pt x="141" y="81"/>
                  </a:cubicBezTo>
                  <a:lnTo>
                    <a:pt x="141" y="87"/>
                  </a:lnTo>
                  <a:cubicBezTo>
                    <a:pt x="141" y="90"/>
                    <a:pt x="141" y="90"/>
                    <a:pt x="144" y="93"/>
                  </a:cubicBezTo>
                  <a:cubicBezTo>
                    <a:pt x="147" y="93"/>
                    <a:pt x="147" y="96"/>
                    <a:pt x="147" y="98"/>
                  </a:cubicBezTo>
                  <a:lnTo>
                    <a:pt x="147" y="107"/>
                  </a:lnTo>
                  <a:cubicBezTo>
                    <a:pt x="147" y="110"/>
                    <a:pt x="149" y="113"/>
                    <a:pt x="149" y="115"/>
                  </a:cubicBezTo>
                  <a:lnTo>
                    <a:pt x="149" y="124"/>
                  </a:lnTo>
                  <a:lnTo>
                    <a:pt x="152" y="138"/>
                  </a:lnTo>
                  <a:cubicBezTo>
                    <a:pt x="152" y="144"/>
                    <a:pt x="152" y="146"/>
                    <a:pt x="155" y="152"/>
                  </a:cubicBezTo>
                  <a:cubicBezTo>
                    <a:pt x="161" y="160"/>
                    <a:pt x="161" y="171"/>
                    <a:pt x="161" y="180"/>
                  </a:cubicBezTo>
                  <a:cubicBezTo>
                    <a:pt x="161" y="188"/>
                    <a:pt x="161" y="194"/>
                    <a:pt x="164" y="203"/>
                  </a:cubicBezTo>
                  <a:cubicBezTo>
                    <a:pt x="164" y="211"/>
                    <a:pt x="166" y="217"/>
                    <a:pt x="166" y="225"/>
                  </a:cubicBezTo>
                  <a:lnTo>
                    <a:pt x="166" y="231"/>
                  </a:lnTo>
                  <a:cubicBezTo>
                    <a:pt x="172" y="225"/>
                    <a:pt x="172" y="228"/>
                    <a:pt x="175" y="228"/>
                  </a:cubicBezTo>
                  <a:close/>
                  <a:moveTo>
                    <a:pt x="25" y="56"/>
                  </a:moveTo>
                  <a:cubicBezTo>
                    <a:pt x="25" y="59"/>
                    <a:pt x="28" y="59"/>
                    <a:pt x="28" y="59"/>
                  </a:cubicBezTo>
                  <a:lnTo>
                    <a:pt x="25" y="56"/>
                  </a:lnTo>
                  <a:close/>
                  <a:moveTo>
                    <a:pt x="25" y="36"/>
                  </a:moveTo>
                  <a:lnTo>
                    <a:pt x="28" y="36"/>
                  </a:lnTo>
                  <a:lnTo>
                    <a:pt x="28" y="34"/>
                  </a:lnTo>
                  <a:cubicBezTo>
                    <a:pt x="28" y="34"/>
                    <a:pt x="28" y="36"/>
                    <a:pt x="25" y="36"/>
                  </a:cubicBezTo>
                  <a:close/>
                  <a:moveTo>
                    <a:pt x="31" y="70"/>
                  </a:moveTo>
                  <a:cubicBezTo>
                    <a:pt x="34" y="70"/>
                    <a:pt x="37" y="73"/>
                    <a:pt x="37" y="76"/>
                  </a:cubicBezTo>
                  <a:cubicBezTo>
                    <a:pt x="37" y="79"/>
                    <a:pt x="39" y="79"/>
                    <a:pt x="42" y="79"/>
                  </a:cubicBezTo>
                  <a:lnTo>
                    <a:pt x="42" y="76"/>
                  </a:lnTo>
                  <a:lnTo>
                    <a:pt x="39" y="76"/>
                  </a:lnTo>
                  <a:lnTo>
                    <a:pt x="39" y="73"/>
                  </a:lnTo>
                  <a:lnTo>
                    <a:pt x="34" y="70"/>
                  </a:lnTo>
                  <a:lnTo>
                    <a:pt x="34" y="65"/>
                  </a:lnTo>
                  <a:lnTo>
                    <a:pt x="31" y="70"/>
                  </a:lnTo>
                  <a:close/>
                  <a:moveTo>
                    <a:pt x="34" y="87"/>
                  </a:moveTo>
                  <a:cubicBezTo>
                    <a:pt x="37" y="87"/>
                    <a:pt x="37" y="87"/>
                    <a:pt x="39" y="84"/>
                  </a:cubicBezTo>
                  <a:cubicBezTo>
                    <a:pt x="39" y="84"/>
                    <a:pt x="42" y="84"/>
                    <a:pt x="42" y="81"/>
                  </a:cubicBezTo>
                  <a:cubicBezTo>
                    <a:pt x="39" y="81"/>
                    <a:pt x="37" y="79"/>
                    <a:pt x="34" y="79"/>
                  </a:cubicBezTo>
                  <a:lnTo>
                    <a:pt x="34" y="87"/>
                  </a:lnTo>
                  <a:close/>
                  <a:moveTo>
                    <a:pt x="37" y="48"/>
                  </a:moveTo>
                  <a:cubicBezTo>
                    <a:pt x="31" y="50"/>
                    <a:pt x="31" y="56"/>
                    <a:pt x="34" y="59"/>
                  </a:cubicBezTo>
                  <a:cubicBezTo>
                    <a:pt x="34" y="56"/>
                    <a:pt x="34" y="53"/>
                    <a:pt x="37" y="48"/>
                  </a:cubicBezTo>
                  <a:lnTo>
                    <a:pt x="39" y="48"/>
                  </a:lnTo>
                  <a:lnTo>
                    <a:pt x="39" y="42"/>
                  </a:lnTo>
                  <a:lnTo>
                    <a:pt x="39" y="36"/>
                  </a:lnTo>
                  <a:cubicBezTo>
                    <a:pt x="37" y="36"/>
                    <a:pt x="37" y="39"/>
                    <a:pt x="34" y="39"/>
                  </a:cubicBezTo>
                  <a:lnTo>
                    <a:pt x="31" y="42"/>
                  </a:lnTo>
                  <a:cubicBezTo>
                    <a:pt x="34" y="45"/>
                    <a:pt x="34" y="48"/>
                    <a:pt x="37" y="48"/>
                  </a:cubicBezTo>
                  <a:close/>
                  <a:moveTo>
                    <a:pt x="34" y="98"/>
                  </a:moveTo>
                  <a:lnTo>
                    <a:pt x="42" y="101"/>
                  </a:lnTo>
                  <a:cubicBezTo>
                    <a:pt x="48" y="93"/>
                    <a:pt x="48" y="93"/>
                    <a:pt x="48" y="84"/>
                  </a:cubicBezTo>
                  <a:lnTo>
                    <a:pt x="42" y="84"/>
                  </a:lnTo>
                  <a:cubicBezTo>
                    <a:pt x="42" y="87"/>
                    <a:pt x="39" y="90"/>
                    <a:pt x="39" y="90"/>
                  </a:cubicBezTo>
                  <a:lnTo>
                    <a:pt x="39" y="96"/>
                  </a:lnTo>
                  <a:lnTo>
                    <a:pt x="37" y="96"/>
                  </a:lnTo>
                  <a:cubicBezTo>
                    <a:pt x="37" y="98"/>
                    <a:pt x="37" y="98"/>
                    <a:pt x="34" y="98"/>
                  </a:cubicBezTo>
                  <a:close/>
                  <a:moveTo>
                    <a:pt x="39" y="113"/>
                  </a:moveTo>
                  <a:lnTo>
                    <a:pt x="42" y="113"/>
                  </a:lnTo>
                  <a:lnTo>
                    <a:pt x="42" y="110"/>
                  </a:lnTo>
                  <a:lnTo>
                    <a:pt x="39" y="113"/>
                  </a:lnTo>
                  <a:close/>
                  <a:moveTo>
                    <a:pt x="39" y="132"/>
                  </a:moveTo>
                  <a:cubicBezTo>
                    <a:pt x="42" y="132"/>
                    <a:pt x="42" y="132"/>
                    <a:pt x="42" y="129"/>
                  </a:cubicBezTo>
                  <a:cubicBezTo>
                    <a:pt x="42" y="129"/>
                    <a:pt x="39" y="129"/>
                    <a:pt x="39" y="132"/>
                  </a:cubicBezTo>
                  <a:close/>
                  <a:moveTo>
                    <a:pt x="48" y="127"/>
                  </a:moveTo>
                  <a:cubicBezTo>
                    <a:pt x="51" y="124"/>
                    <a:pt x="51" y="124"/>
                    <a:pt x="54" y="124"/>
                  </a:cubicBezTo>
                  <a:lnTo>
                    <a:pt x="54" y="115"/>
                  </a:lnTo>
                  <a:lnTo>
                    <a:pt x="51" y="115"/>
                  </a:lnTo>
                  <a:cubicBezTo>
                    <a:pt x="51" y="115"/>
                    <a:pt x="48" y="115"/>
                    <a:pt x="48" y="118"/>
                  </a:cubicBezTo>
                  <a:lnTo>
                    <a:pt x="48" y="115"/>
                  </a:lnTo>
                  <a:lnTo>
                    <a:pt x="45" y="113"/>
                  </a:lnTo>
                  <a:cubicBezTo>
                    <a:pt x="42" y="115"/>
                    <a:pt x="42" y="118"/>
                    <a:pt x="39" y="118"/>
                  </a:cubicBezTo>
                  <a:lnTo>
                    <a:pt x="48" y="118"/>
                  </a:lnTo>
                  <a:cubicBezTo>
                    <a:pt x="48" y="121"/>
                    <a:pt x="48" y="124"/>
                    <a:pt x="45" y="124"/>
                  </a:cubicBezTo>
                  <a:lnTo>
                    <a:pt x="39" y="124"/>
                  </a:lnTo>
                  <a:lnTo>
                    <a:pt x="42" y="129"/>
                  </a:lnTo>
                  <a:cubicBezTo>
                    <a:pt x="45" y="129"/>
                    <a:pt x="48" y="129"/>
                    <a:pt x="48" y="127"/>
                  </a:cubicBezTo>
                  <a:close/>
                  <a:moveTo>
                    <a:pt x="45" y="144"/>
                  </a:moveTo>
                  <a:lnTo>
                    <a:pt x="48" y="146"/>
                  </a:lnTo>
                  <a:lnTo>
                    <a:pt x="56" y="138"/>
                  </a:lnTo>
                  <a:lnTo>
                    <a:pt x="56" y="135"/>
                  </a:lnTo>
                  <a:lnTo>
                    <a:pt x="54" y="135"/>
                  </a:lnTo>
                  <a:lnTo>
                    <a:pt x="45" y="144"/>
                  </a:lnTo>
                  <a:close/>
                  <a:moveTo>
                    <a:pt x="48" y="110"/>
                  </a:moveTo>
                  <a:cubicBezTo>
                    <a:pt x="51" y="113"/>
                    <a:pt x="51" y="113"/>
                    <a:pt x="54" y="113"/>
                  </a:cubicBezTo>
                  <a:lnTo>
                    <a:pt x="54" y="110"/>
                  </a:lnTo>
                  <a:lnTo>
                    <a:pt x="54" y="107"/>
                  </a:lnTo>
                  <a:lnTo>
                    <a:pt x="48" y="110"/>
                  </a:lnTo>
                  <a:close/>
                  <a:moveTo>
                    <a:pt x="51" y="135"/>
                  </a:moveTo>
                  <a:lnTo>
                    <a:pt x="54" y="135"/>
                  </a:lnTo>
                  <a:cubicBezTo>
                    <a:pt x="54" y="129"/>
                    <a:pt x="51" y="129"/>
                    <a:pt x="48" y="132"/>
                  </a:cubicBezTo>
                  <a:lnTo>
                    <a:pt x="51" y="135"/>
                  </a:lnTo>
                  <a:close/>
                  <a:moveTo>
                    <a:pt x="54" y="158"/>
                  </a:moveTo>
                  <a:cubicBezTo>
                    <a:pt x="54" y="158"/>
                    <a:pt x="52" y="158"/>
                    <a:pt x="52" y="157"/>
                  </a:cubicBezTo>
                  <a:cubicBezTo>
                    <a:pt x="55" y="163"/>
                    <a:pt x="59" y="163"/>
                    <a:pt x="62" y="160"/>
                  </a:cubicBezTo>
                  <a:lnTo>
                    <a:pt x="62" y="155"/>
                  </a:lnTo>
                  <a:lnTo>
                    <a:pt x="56" y="160"/>
                  </a:lnTo>
                  <a:lnTo>
                    <a:pt x="54" y="158"/>
                  </a:lnTo>
                  <a:close/>
                  <a:moveTo>
                    <a:pt x="51" y="169"/>
                  </a:moveTo>
                  <a:lnTo>
                    <a:pt x="54" y="169"/>
                  </a:lnTo>
                  <a:lnTo>
                    <a:pt x="54" y="166"/>
                  </a:lnTo>
                  <a:lnTo>
                    <a:pt x="54" y="163"/>
                  </a:lnTo>
                  <a:cubicBezTo>
                    <a:pt x="54" y="163"/>
                    <a:pt x="51" y="166"/>
                    <a:pt x="51" y="169"/>
                  </a:cubicBezTo>
                  <a:close/>
                  <a:moveTo>
                    <a:pt x="65" y="183"/>
                  </a:moveTo>
                  <a:lnTo>
                    <a:pt x="62" y="180"/>
                  </a:lnTo>
                  <a:cubicBezTo>
                    <a:pt x="62" y="177"/>
                    <a:pt x="59" y="177"/>
                    <a:pt x="56" y="175"/>
                  </a:cubicBezTo>
                  <a:lnTo>
                    <a:pt x="51" y="175"/>
                  </a:lnTo>
                  <a:cubicBezTo>
                    <a:pt x="59" y="177"/>
                    <a:pt x="62" y="180"/>
                    <a:pt x="65" y="183"/>
                  </a:cubicBezTo>
                  <a:close/>
                  <a:moveTo>
                    <a:pt x="56" y="183"/>
                  </a:moveTo>
                  <a:lnTo>
                    <a:pt x="54" y="183"/>
                  </a:lnTo>
                  <a:lnTo>
                    <a:pt x="54" y="186"/>
                  </a:lnTo>
                  <a:lnTo>
                    <a:pt x="56" y="183"/>
                  </a:lnTo>
                  <a:close/>
                  <a:moveTo>
                    <a:pt x="54" y="214"/>
                  </a:moveTo>
                  <a:cubicBezTo>
                    <a:pt x="59" y="217"/>
                    <a:pt x="59" y="217"/>
                    <a:pt x="59" y="214"/>
                  </a:cubicBezTo>
                  <a:lnTo>
                    <a:pt x="54" y="214"/>
                  </a:lnTo>
                  <a:close/>
                  <a:moveTo>
                    <a:pt x="62" y="192"/>
                  </a:moveTo>
                  <a:cubicBezTo>
                    <a:pt x="62" y="189"/>
                    <a:pt x="62" y="189"/>
                    <a:pt x="59" y="186"/>
                  </a:cubicBezTo>
                  <a:lnTo>
                    <a:pt x="59" y="189"/>
                  </a:lnTo>
                  <a:lnTo>
                    <a:pt x="62" y="192"/>
                  </a:lnTo>
                  <a:close/>
                  <a:moveTo>
                    <a:pt x="62" y="208"/>
                  </a:moveTo>
                  <a:lnTo>
                    <a:pt x="62" y="214"/>
                  </a:lnTo>
                  <a:lnTo>
                    <a:pt x="65" y="208"/>
                  </a:lnTo>
                  <a:lnTo>
                    <a:pt x="62" y="208"/>
                  </a:lnTo>
                  <a:close/>
                  <a:moveTo>
                    <a:pt x="68" y="217"/>
                  </a:moveTo>
                  <a:lnTo>
                    <a:pt x="65" y="214"/>
                  </a:lnTo>
                  <a:cubicBezTo>
                    <a:pt x="62" y="214"/>
                    <a:pt x="65" y="217"/>
                    <a:pt x="68" y="217"/>
                  </a:cubicBezTo>
                  <a:close/>
                  <a:moveTo>
                    <a:pt x="65" y="279"/>
                  </a:moveTo>
                  <a:lnTo>
                    <a:pt x="68" y="282"/>
                  </a:lnTo>
                  <a:cubicBezTo>
                    <a:pt x="70" y="279"/>
                    <a:pt x="70" y="279"/>
                    <a:pt x="65" y="279"/>
                  </a:cubicBezTo>
                  <a:close/>
                  <a:moveTo>
                    <a:pt x="70" y="248"/>
                  </a:moveTo>
                  <a:lnTo>
                    <a:pt x="65" y="248"/>
                  </a:lnTo>
                  <a:lnTo>
                    <a:pt x="65" y="251"/>
                  </a:lnTo>
                  <a:lnTo>
                    <a:pt x="65" y="254"/>
                  </a:lnTo>
                  <a:lnTo>
                    <a:pt x="68" y="254"/>
                  </a:lnTo>
                  <a:lnTo>
                    <a:pt x="70" y="254"/>
                  </a:lnTo>
                  <a:lnTo>
                    <a:pt x="70" y="248"/>
                  </a:lnTo>
                  <a:close/>
                  <a:moveTo>
                    <a:pt x="68" y="245"/>
                  </a:moveTo>
                  <a:cubicBezTo>
                    <a:pt x="68" y="245"/>
                    <a:pt x="70" y="245"/>
                    <a:pt x="70" y="242"/>
                  </a:cubicBezTo>
                  <a:lnTo>
                    <a:pt x="68" y="245"/>
                  </a:lnTo>
                  <a:close/>
                  <a:moveTo>
                    <a:pt x="79" y="279"/>
                  </a:moveTo>
                  <a:lnTo>
                    <a:pt x="76" y="276"/>
                  </a:lnTo>
                  <a:cubicBezTo>
                    <a:pt x="73" y="276"/>
                    <a:pt x="73" y="279"/>
                    <a:pt x="70" y="279"/>
                  </a:cubicBezTo>
                  <a:lnTo>
                    <a:pt x="79" y="279"/>
                  </a:lnTo>
                  <a:close/>
                  <a:moveTo>
                    <a:pt x="73" y="335"/>
                  </a:moveTo>
                  <a:lnTo>
                    <a:pt x="79" y="335"/>
                  </a:lnTo>
                  <a:lnTo>
                    <a:pt x="79" y="333"/>
                  </a:lnTo>
                  <a:lnTo>
                    <a:pt x="79" y="330"/>
                  </a:lnTo>
                  <a:cubicBezTo>
                    <a:pt x="76" y="333"/>
                    <a:pt x="73" y="333"/>
                    <a:pt x="73" y="335"/>
                  </a:cubicBezTo>
                  <a:close/>
                  <a:moveTo>
                    <a:pt x="76" y="316"/>
                  </a:moveTo>
                  <a:cubicBezTo>
                    <a:pt x="79" y="313"/>
                    <a:pt x="82" y="313"/>
                    <a:pt x="82" y="313"/>
                  </a:cubicBezTo>
                  <a:lnTo>
                    <a:pt x="85" y="313"/>
                  </a:lnTo>
                  <a:cubicBezTo>
                    <a:pt x="82" y="313"/>
                    <a:pt x="82" y="310"/>
                    <a:pt x="82" y="310"/>
                  </a:cubicBezTo>
                  <a:lnTo>
                    <a:pt x="76" y="307"/>
                  </a:lnTo>
                  <a:lnTo>
                    <a:pt x="76" y="313"/>
                  </a:lnTo>
                  <a:cubicBezTo>
                    <a:pt x="76" y="311"/>
                    <a:pt x="76" y="311"/>
                    <a:pt x="76" y="313"/>
                  </a:cubicBezTo>
                  <a:lnTo>
                    <a:pt x="76" y="316"/>
                  </a:lnTo>
                  <a:close/>
                  <a:moveTo>
                    <a:pt x="76" y="352"/>
                  </a:moveTo>
                  <a:lnTo>
                    <a:pt x="82" y="355"/>
                  </a:lnTo>
                  <a:lnTo>
                    <a:pt x="85" y="352"/>
                  </a:lnTo>
                  <a:lnTo>
                    <a:pt x="87" y="352"/>
                  </a:lnTo>
                  <a:lnTo>
                    <a:pt x="90" y="355"/>
                  </a:lnTo>
                  <a:cubicBezTo>
                    <a:pt x="90" y="355"/>
                    <a:pt x="90" y="358"/>
                    <a:pt x="93" y="358"/>
                  </a:cubicBezTo>
                  <a:lnTo>
                    <a:pt x="93" y="352"/>
                  </a:lnTo>
                  <a:lnTo>
                    <a:pt x="93" y="347"/>
                  </a:lnTo>
                  <a:lnTo>
                    <a:pt x="85" y="349"/>
                  </a:lnTo>
                  <a:lnTo>
                    <a:pt x="76" y="352"/>
                  </a:lnTo>
                  <a:close/>
                  <a:moveTo>
                    <a:pt x="79" y="341"/>
                  </a:moveTo>
                  <a:lnTo>
                    <a:pt x="87" y="341"/>
                  </a:lnTo>
                  <a:cubicBezTo>
                    <a:pt x="87" y="341"/>
                    <a:pt x="87" y="338"/>
                    <a:pt x="85" y="338"/>
                  </a:cubicBezTo>
                  <a:cubicBezTo>
                    <a:pt x="85" y="338"/>
                    <a:pt x="82" y="338"/>
                    <a:pt x="82" y="335"/>
                  </a:cubicBezTo>
                  <a:cubicBezTo>
                    <a:pt x="82" y="338"/>
                    <a:pt x="79" y="338"/>
                    <a:pt x="79" y="341"/>
                  </a:cubicBezTo>
                  <a:close/>
                  <a:moveTo>
                    <a:pt x="87" y="282"/>
                  </a:moveTo>
                  <a:cubicBezTo>
                    <a:pt x="85" y="282"/>
                    <a:pt x="85" y="279"/>
                    <a:pt x="82" y="279"/>
                  </a:cubicBezTo>
                  <a:cubicBezTo>
                    <a:pt x="82" y="285"/>
                    <a:pt x="82" y="285"/>
                    <a:pt x="87" y="282"/>
                  </a:cubicBezTo>
                  <a:close/>
                  <a:moveTo>
                    <a:pt x="87" y="316"/>
                  </a:moveTo>
                  <a:lnTo>
                    <a:pt x="85" y="321"/>
                  </a:lnTo>
                  <a:lnTo>
                    <a:pt x="85" y="330"/>
                  </a:lnTo>
                  <a:cubicBezTo>
                    <a:pt x="85" y="327"/>
                    <a:pt x="87" y="324"/>
                    <a:pt x="87" y="324"/>
                  </a:cubicBezTo>
                  <a:lnTo>
                    <a:pt x="87" y="316"/>
                  </a:lnTo>
                  <a:close/>
                  <a:moveTo>
                    <a:pt x="87" y="361"/>
                  </a:moveTo>
                  <a:cubicBezTo>
                    <a:pt x="87" y="358"/>
                    <a:pt x="87" y="358"/>
                    <a:pt x="85" y="358"/>
                  </a:cubicBezTo>
                  <a:lnTo>
                    <a:pt x="87" y="361"/>
                  </a:lnTo>
                  <a:close/>
                  <a:moveTo>
                    <a:pt x="90" y="333"/>
                  </a:moveTo>
                  <a:cubicBezTo>
                    <a:pt x="87" y="335"/>
                    <a:pt x="90" y="335"/>
                    <a:pt x="90" y="338"/>
                  </a:cubicBezTo>
                  <a:lnTo>
                    <a:pt x="90" y="333"/>
                  </a:lnTo>
                  <a:close/>
                  <a:moveTo>
                    <a:pt x="93" y="391"/>
                  </a:moveTo>
                  <a:lnTo>
                    <a:pt x="90" y="391"/>
                  </a:lnTo>
                  <a:lnTo>
                    <a:pt x="90" y="394"/>
                  </a:lnTo>
                  <a:lnTo>
                    <a:pt x="93" y="391"/>
                  </a:lnTo>
                  <a:close/>
                  <a:moveTo>
                    <a:pt x="96" y="411"/>
                  </a:moveTo>
                  <a:cubicBezTo>
                    <a:pt x="96" y="411"/>
                    <a:pt x="98" y="411"/>
                    <a:pt x="98" y="409"/>
                  </a:cubicBezTo>
                  <a:cubicBezTo>
                    <a:pt x="98" y="408"/>
                    <a:pt x="95" y="408"/>
                    <a:pt x="93" y="408"/>
                  </a:cubicBezTo>
                  <a:lnTo>
                    <a:pt x="96" y="411"/>
                  </a:lnTo>
                  <a:cubicBezTo>
                    <a:pt x="90" y="411"/>
                    <a:pt x="90" y="411"/>
                    <a:pt x="93" y="413"/>
                  </a:cubicBezTo>
                  <a:lnTo>
                    <a:pt x="96" y="411"/>
                  </a:lnTo>
                  <a:close/>
                  <a:moveTo>
                    <a:pt x="102" y="411"/>
                  </a:moveTo>
                  <a:lnTo>
                    <a:pt x="102" y="413"/>
                  </a:lnTo>
                  <a:lnTo>
                    <a:pt x="104" y="413"/>
                  </a:lnTo>
                  <a:lnTo>
                    <a:pt x="104" y="405"/>
                  </a:lnTo>
                  <a:lnTo>
                    <a:pt x="104" y="396"/>
                  </a:lnTo>
                  <a:lnTo>
                    <a:pt x="102" y="396"/>
                  </a:lnTo>
                  <a:lnTo>
                    <a:pt x="102" y="399"/>
                  </a:lnTo>
                  <a:lnTo>
                    <a:pt x="102" y="402"/>
                  </a:lnTo>
                  <a:lnTo>
                    <a:pt x="102" y="405"/>
                  </a:lnTo>
                  <a:cubicBezTo>
                    <a:pt x="102" y="407"/>
                    <a:pt x="102" y="408"/>
                    <a:pt x="99" y="410"/>
                  </a:cubicBezTo>
                  <a:cubicBezTo>
                    <a:pt x="100" y="410"/>
                    <a:pt x="101" y="411"/>
                    <a:pt x="102" y="411"/>
                  </a:cubicBezTo>
                  <a:close/>
                  <a:moveTo>
                    <a:pt x="93" y="385"/>
                  </a:moveTo>
                  <a:cubicBezTo>
                    <a:pt x="96" y="382"/>
                    <a:pt x="96" y="382"/>
                    <a:pt x="96" y="380"/>
                  </a:cubicBezTo>
                  <a:lnTo>
                    <a:pt x="96" y="378"/>
                  </a:lnTo>
                  <a:lnTo>
                    <a:pt x="93" y="375"/>
                  </a:lnTo>
                  <a:cubicBezTo>
                    <a:pt x="93" y="375"/>
                    <a:pt x="91" y="375"/>
                    <a:pt x="90" y="373"/>
                  </a:cubicBezTo>
                  <a:lnTo>
                    <a:pt x="93" y="385"/>
                  </a:lnTo>
                  <a:close/>
                  <a:moveTo>
                    <a:pt x="90" y="402"/>
                  </a:moveTo>
                  <a:lnTo>
                    <a:pt x="93" y="402"/>
                  </a:lnTo>
                  <a:lnTo>
                    <a:pt x="93" y="399"/>
                  </a:lnTo>
                  <a:cubicBezTo>
                    <a:pt x="93" y="402"/>
                    <a:pt x="93" y="402"/>
                    <a:pt x="90" y="402"/>
                  </a:cubicBezTo>
                  <a:close/>
                  <a:moveTo>
                    <a:pt x="99" y="388"/>
                  </a:moveTo>
                  <a:lnTo>
                    <a:pt x="104" y="388"/>
                  </a:lnTo>
                  <a:lnTo>
                    <a:pt x="107" y="385"/>
                  </a:lnTo>
                  <a:lnTo>
                    <a:pt x="104" y="385"/>
                  </a:lnTo>
                  <a:lnTo>
                    <a:pt x="99" y="388"/>
                  </a:lnTo>
                  <a:close/>
                  <a:moveTo>
                    <a:pt x="102" y="419"/>
                  </a:moveTo>
                  <a:cubicBezTo>
                    <a:pt x="104" y="416"/>
                    <a:pt x="102" y="416"/>
                    <a:pt x="102" y="419"/>
                  </a:cubicBezTo>
                  <a:close/>
                  <a:moveTo>
                    <a:pt x="110" y="442"/>
                  </a:moveTo>
                  <a:cubicBezTo>
                    <a:pt x="110" y="444"/>
                    <a:pt x="107" y="447"/>
                    <a:pt x="104" y="450"/>
                  </a:cubicBezTo>
                  <a:lnTo>
                    <a:pt x="107" y="450"/>
                  </a:lnTo>
                  <a:lnTo>
                    <a:pt x="110" y="450"/>
                  </a:lnTo>
                  <a:lnTo>
                    <a:pt x="110" y="442"/>
                  </a:lnTo>
                  <a:close/>
                  <a:moveTo>
                    <a:pt x="107" y="416"/>
                  </a:moveTo>
                  <a:cubicBezTo>
                    <a:pt x="107" y="419"/>
                    <a:pt x="107" y="425"/>
                    <a:pt x="104" y="427"/>
                  </a:cubicBezTo>
                  <a:lnTo>
                    <a:pt x="110" y="422"/>
                  </a:lnTo>
                  <a:lnTo>
                    <a:pt x="107" y="416"/>
                  </a:lnTo>
                  <a:close/>
                  <a:moveTo>
                    <a:pt x="124" y="444"/>
                  </a:moveTo>
                  <a:cubicBezTo>
                    <a:pt x="124" y="444"/>
                    <a:pt x="124" y="442"/>
                    <a:pt x="124" y="444"/>
                  </a:cubicBezTo>
                  <a:lnTo>
                    <a:pt x="121" y="444"/>
                  </a:lnTo>
                  <a:cubicBezTo>
                    <a:pt x="124" y="447"/>
                    <a:pt x="124" y="444"/>
                    <a:pt x="124" y="444"/>
                  </a:cubicBezTo>
                  <a:close/>
                  <a:moveTo>
                    <a:pt x="118" y="442"/>
                  </a:moveTo>
                  <a:lnTo>
                    <a:pt x="116" y="439"/>
                  </a:lnTo>
                  <a:lnTo>
                    <a:pt x="113" y="439"/>
                  </a:lnTo>
                  <a:lnTo>
                    <a:pt x="110" y="436"/>
                  </a:lnTo>
                  <a:cubicBezTo>
                    <a:pt x="110" y="433"/>
                    <a:pt x="107" y="433"/>
                    <a:pt x="104" y="433"/>
                  </a:cubicBezTo>
                  <a:lnTo>
                    <a:pt x="104" y="436"/>
                  </a:lnTo>
                  <a:lnTo>
                    <a:pt x="110" y="436"/>
                  </a:lnTo>
                  <a:lnTo>
                    <a:pt x="110" y="439"/>
                  </a:lnTo>
                  <a:lnTo>
                    <a:pt x="113" y="442"/>
                  </a:lnTo>
                  <a:lnTo>
                    <a:pt x="116" y="442"/>
                  </a:lnTo>
                  <a:lnTo>
                    <a:pt x="118" y="442"/>
                  </a:lnTo>
                  <a:cubicBezTo>
                    <a:pt x="118" y="442"/>
                    <a:pt x="118" y="444"/>
                    <a:pt x="116" y="444"/>
                  </a:cubicBezTo>
                  <a:cubicBezTo>
                    <a:pt x="116" y="447"/>
                    <a:pt x="113" y="447"/>
                    <a:pt x="113" y="450"/>
                  </a:cubicBezTo>
                  <a:cubicBezTo>
                    <a:pt x="116" y="450"/>
                    <a:pt x="116" y="450"/>
                    <a:pt x="118" y="447"/>
                  </a:cubicBezTo>
                  <a:lnTo>
                    <a:pt x="118" y="444"/>
                  </a:lnTo>
                  <a:lnTo>
                    <a:pt x="118" y="442"/>
                  </a:lnTo>
                  <a:close/>
                  <a:moveTo>
                    <a:pt x="116" y="427"/>
                  </a:moveTo>
                  <a:lnTo>
                    <a:pt x="116" y="436"/>
                  </a:lnTo>
                  <a:lnTo>
                    <a:pt x="121" y="430"/>
                  </a:lnTo>
                  <a:cubicBezTo>
                    <a:pt x="121" y="430"/>
                    <a:pt x="118" y="430"/>
                    <a:pt x="118" y="427"/>
                  </a:cubicBezTo>
                  <a:lnTo>
                    <a:pt x="116" y="427"/>
                  </a:lnTo>
                  <a:close/>
                  <a:moveTo>
                    <a:pt x="127" y="453"/>
                  </a:moveTo>
                  <a:cubicBezTo>
                    <a:pt x="127" y="450"/>
                    <a:pt x="124" y="450"/>
                    <a:pt x="121" y="453"/>
                  </a:cubicBezTo>
                  <a:lnTo>
                    <a:pt x="124" y="453"/>
                  </a:lnTo>
                  <a:lnTo>
                    <a:pt x="127" y="453"/>
                  </a:lnTo>
                  <a:close/>
                  <a:moveTo>
                    <a:pt x="130" y="442"/>
                  </a:moveTo>
                  <a:lnTo>
                    <a:pt x="130" y="439"/>
                  </a:lnTo>
                  <a:cubicBezTo>
                    <a:pt x="130" y="439"/>
                    <a:pt x="127" y="436"/>
                    <a:pt x="127" y="433"/>
                  </a:cubicBezTo>
                  <a:lnTo>
                    <a:pt x="127" y="439"/>
                  </a:lnTo>
                  <a:cubicBezTo>
                    <a:pt x="127" y="439"/>
                    <a:pt x="127" y="442"/>
                    <a:pt x="130" y="442"/>
                  </a:cubicBezTo>
                  <a:close/>
                  <a:moveTo>
                    <a:pt x="144" y="447"/>
                  </a:moveTo>
                  <a:cubicBezTo>
                    <a:pt x="141" y="447"/>
                    <a:pt x="141" y="447"/>
                    <a:pt x="138" y="450"/>
                  </a:cubicBezTo>
                  <a:cubicBezTo>
                    <a:pt x="135" y="453"/>
                    <a:pt x="133" y="453"/>
                    <a:pt x="133" y="453"/>
                  </a:cubicBezTo>
                  <a:lnTo>
                    <a:pt x="141" y="453"/>
                  </a:lnTo>
                  <a:cubicBezTo>
                    <a:pt x="144" y="453"/>
                    <a:pt x="141" y="453"/>
                    <a:pt x="144" y="447"/>
                  </a:cubicBezTo>
                  <a:close/>
                  <a:moveTo>
                    <a:pt x="149" y="444"/>
                  </a:moveTo>
                  <a:lnTo>
                    <a:pt x="144" y="436"/>
                  </a:lnTo>
                  <a:cubicBezTo>
                    <a:pt x="141" y="439"/>
                    <a:pt x="138" y="439"/>
                    <a:pt x="138" y="442"/>
                  </a:cubicBezTo>
                  <a:cubicBezTo>
                    <a:pt x="141" y="442"/>
                    <a:pt x="141" y="444"/>
                    <a:pt x="141" y="444"/>
                  </a:cubicBezTo>
                  <a:cubicBezTo>
                    <a:pt x="141" y="447"/>
                    <a:pt x="144" y="447"/>
                    <a:pt x="147" y="444"/>
                  </a:cubicBezTo>
                  <a:lnTo>
                    <a:pt x="149" y="444"/>
                  </a:lnTo>
                  <a:close/>
                  <a:moveTo>
                    <a:pt x="141" y="155"/>
                  </a:moveTo>
                  <a:cubicBezTo>
                    <a:pt x="138" y="158"/>
                    <a:pt x="138" y="158"/>
                    <a:pt x="135" y="158"/>
                  </a:cubicBezTo>
                  <a:lnTo>
                    <a:pt x="141" y="160"/>
                  </a:lnTo>
                  <a:lnTo>
                    <a:pt x="141" y="155"/>
                  </a:lnTo>
                  <a:close/>
                  <a:moveTo>
                    <a:pt x="158" y="442"/>
                  </a:moveTo>
                  <a:cubicBezTo>
                    <a:pt x="155" y="442"/>
                    <a:pt x="152" y="444"/>
                    <a:pt x="152" y="444"/>
                  </a:cubicBezTo>
                  <a:cubicBezTo>
                    <a:pt x="152" y="444"/>
                    <a:pt x="155" y="447"/>
                    <a:pt x="155" y="450"/>
                  </a:cubicBezTo>
                  <a:cubicBezTo>
                    <a:pt x="155" y="444"/>
                    <a:pt x="158" y="442"/>
                    <a:pt x="158" y="442"/>
                  </a:cubicBezTo>
                  <a:close/>
                  <a:moveTo>
                    <a:pt x="158" y="442"/>
                  </a:moveTo>
                  <a:cubicBezTo>
                    <a:pt x="159" y="442"/>
                    <a:pt x="160" y="441"/>
                    <a:pt x="161" y="440"/>
                  </a:cubicBezTo>
                  <a:lnTo>
                    <a:pt x="158" y="442"/>
                  </a:lnTo>
                  <a:close/>
                  <a:moveTo>
                    <a:pt x="178" y="427"/>
                  </a:moveTo>
                  <a:lnTo>
                    <a:pt x="175" y="427"/>
                  </a:lnTo>
                  <a:cubicBezTo>
                    <a:pt x="175" y="430"/>
                    <a:pt x="175" y="430"/>
                    <a:pt x="178" y="427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3" name="Freeform 1461"/>
            <p:cNvSpPr>
              <a:spLocks noChangeArrowheads="1"/>
            </p:cNvSpPr>
            <p:nvPr/>
          </p:nvSpPr>
          <p:spPr bwMode="auto">
            <a:xfrm>
              <a:off x="4291013" y="2427288"/>
              <a:ext cx="69850" cy="173037"/>
            </a:xfrm>
            <a:custGeom>
              <a:avLst/>
              <a:gdLst>
                <a:gd name="T0" fmla="*/ 150 w 193"/>
                <a:gd name="T1" fmla="*/ 150 h 480"/>
                <a:gd name="T2" fmla="*/ 99 w 193"/>
                <a:gd name="T3" fmla="*/ 142 h 480"/>
                <a:gd name="T4" fmla="*/ 85 w 193"/>
                <a:gd name="T5" fmla="*/ 60 h 480"/>
                <a:gd name="T6" fmla="*/ 68 w 193"/>
                <a:gd name="T7" fmla="*/ 142 h 480"/>
                <a:gd name="T8" fmla="*/ 119 w 193"/>
                <a:gd name="T9" fmla="*/ 232 h 480"/>
                <a:gd name="T10" fmla="*/ 175 w 193"/>
                <a:gd name="T11" fmla="*/ 328 h 480"/>
                <a:gd name="T12" fmla="*/ 172 w 193"/>
                <a:gd name="T13" fmla="*/ 462 h 480"/>
                <a:gd name="T14" fmla="*/ 68 w 193"/>
                <a:gd name="T15" fmla="*/ 442 h 480"/>
                <a:gd name="T16" fmla="*/ 48 w 193"/>
                <a:gd name="T17" fmla="*/ 384 h 480"/>
                <a:gd name="T18" fmla="*/ 88 w 193"/>
                <a:gd name="T19" fmla="*/ 325 h 480"/>
                <a:gd name="T20" fmla="*/ 93 w 193"/>
                <a:gd name="T21" fmla="*/ 384 h 480"/>
                <a:gd name="T22" fmla="*/ 130 w 193"/>
                <a:gd name="T23" fmla="*/ 373 h 480"/>
                <a:gd name="T24" fmla="*/ 105 w 193"/>
                <a:gd name="T25" fmla="*/ 305 h 480"/>
                <a:gd name="T26" fmla="*/ 43 w 193"/>
                <a:gd name="T27" fmla="*/ 209 h 480"/>
                <a:gd name="T28" fmla="*/ 14 w 193"/>
                <a:gd name="T29" fmla="*/ 139 h 480"/>
                <a:gd name="T30" fmla="*/ 3 w 193"/>
                <a:gd name="T31" fmla="*/ 91 h 480"/>
                <a:gd name="T32" fmla="*/ 37 w 193"/>
                <a:gd name="T33" fmla="*/ 12 h 480"/>
                <a:gd name="T34" fmla="*/ 122 w 193"/>
                <a:gd name="T35" fmla="*/ 23 h 480"/>
                <a:gd name="T36" fmla="*/ 147 w 193"/>
                <a:gd name="T37" fmla="*/ 74 h 480"/>
                <a:gd name="T38" fmla="*/ 34 w 193"/>
                <a:gd name="T39" fmla="*/ 79 h 480"/>
                <a:gd name="T40" fmla="*/ 26 w 193"/>
                <a:gd name="T41" fmla="*/ 65 h 480"/>
                <a:gd name="T42" fmla="*/ 31 w 193"/>
                <a:gd name="T43" fmla="*/ 48 h 480"/>
                <a:gd name="T44" fmla="*/ 37 w 193"/>
                <a:gd name="T45" fmla="*/ 116 h 480"/>
                <a:gd name="T46" fmla="*/ 37 w 193"/>
                <a:gd name="T47" fmla="*/ 58 h 480"/>
                <a:gd name="T48" fmla="*/ 37 w 193"/>
                <a:gd name="T49" fmla="*/ 43 h 480"/>
                <a:gd name="T50" fmla="*/ 45 w 193"/>
                <a:gd name="T51" fmla="*/ 130 h 480"/>
                <a:gd name="T52" fmla="*/ 43 w 193"/>
                <a:gd name="T53" fmla="*/ 150 h 480"/>
                <a:gd name="T54" fmla="*/ 57 w 193"/>
                <a:gd name="T55" fmla="*/ 158 h 480"/>
                <a:gd name="T56" fmla="*/ 57 w 193"/>
                <a:gd name="T57" fmla="*/ 173 h 480"/>
                <a:gd name="T58" fmla="*/ 68 w 193"/>
                <a:gd name="T59" fmla="*/ 23 h 480"/>
                <a:gd name="T60" fmla="*/ 68 w 193"/>
                <a:gd name="T61" fmla="*/ 192 h 480"/>
                <a:gd name="T62" fmla="*/ 79 w 193"/>
                <a:gd name="T63" fmla="*/ 206 h 480"/>
                <a:gd name="T64" fmla="*/ 77 w 193"/>
                <a:gd name="T65" fmla="*/ 23 h 480"/>
                <a:gd name="T66" fmla="*/ 74 w 193"/>
                <a:gd name="T67" fmla="*/ 34 h 480"/>
                <a:gd name="T68" fmla="*/ 91 w 193"/>
                <a:gd name="T69" fmla="*/ 226 h 480"/>
                <a:gd name="T70" fmla="*/ 85 w 193"/>
                <a:gd name="T71" fmla="*/ 232 h 480"/>
                <a:gd name="T72" fmla="*/ 93 w 193"/>
                <a:gd name="T73" fmla="*/ 223 h 480"/>
                <a:gd name="T74" fmla="*/ 99 w 193"/>
                <a:gd name="T75" fmla="*/ 32 h 480"/>
                <a:gd name="T76" fmla="*/ 113 w 193"/>
                <a:gd name="T77" fmla="*/ 54 h 480"/>
                <a:gd name="T78" fmla="*/ 105 w 193"/>
                <a:gd name="T79" fmla="*/ 54 h 480"/>
                <a:gd name="T80" fmla="*/ 113 w 193"/>
                <a:gd name="T81" fmla="*/ 85 h 480"/>
                <a:gd name="T82" fmla="*/ 110 w 193"/>
                <a:gd name="T83" fmla="*/ 437 h 480"/>
                <a:gd name="T84" fmla="*/ 110 w 193"/>
                <a:gd name="T85" fmla="*/ 431 h 480"/>
                <a:gd name="T86" fmla="*/ 122 w 193"/>
                <a:gd name="T87" fmla="*/ 96 h 480"/>
                <a:gd name="T88" fmla="*/ 122 w 193"/>
                <a:gd name="T89" fmla="*/ 68 h 480"/>
                <a:gd name="T90" fmla="*/ 119 w 193"/>
                <a:gd name="T91" fmla="*/ 122 h 480"/>
                <a:gd name="T92" fmla="*/ 122 w 193"/>
                <a:gd name="T93" fmla="*/ 116 h 480"/>
                <a:gd name="T94" fmla="*/ 124 w 193"/>
                <a:gd name="T95" fmla="*/ 283 h 480"/>
                <a:gd name="T96" fmla="*/ 122 w 193"/>
                <a:gd name="T97" fmla="*/ 437 h 480"/>
                <a:gd name="T98" fmla="*/ 130 w 193"/>
                <a:gd name="T99" fmla="*/ 440 h 480"/>
                <a:gd name="T100" fmla="*/ 133 w 193"/>
                <a:gd name="T101" fmla="*/ 451 h 480"/>
                <a:gd name="T102" fmla="*/ 153 w 193"/>
                <a:gd name="T103" fmla="*/ 434 h 480"/>
                <a:gd name="T104" fmla="*/ 161 w 193"/>
                <a:gd name="T105" fmla="*/ 440 h 480"/>
                <a:gd name="T106" fmla="*/ 147 w 193"/>
                <a:gd name="T107" fmla="*/ 319 h 480"/>
                <a:gd name="T108" fmla="*/ 147 w 193"/>
                <a:gd name="T109" fmla="*/ 342 h 480"/>
                <a:gd name="T110" fmla="*/ 156 w 193"/>
                <a:gd name="T111" fmla="*/ 345 h 480"/>
                <a:gd name="T112" fmla="*/ 170 w 193"/>
                <a:gd name="T113" fmla="*/ 425 h 480"/>
                <a:gd name="T114" fmla="*/ 175 w 193"/>
                <a:gd name="T115" fmla="*/ 414 h 480"/>
                <a:gd name="T116" fmla="*/ 167 w 193"/>
                <a:gd name="T117" fmla="*/ 414 h 480"/>
                <a:gd name="T118" fmla="*/ 164 w 193"/>
                <a:gd name="T119" fmla="*/ 376 h 480"/>
                <a:gd name="T120" fmla="*/ 172 w 193"/>
                <a:gd name="T121" fmla="*/ 387 h 480"/>
                <a:gd name="T122" fmla="*/ 172 w 193"/>
                <a:gd name="T123" fmla="*/ 39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3" h="480">
                  <a:moveTo>
                    <a:pt x="150" y="99"/>
                  </a:moveTo>
                  <a:cubicBezTo>
                    <a:pt x="150" y="102"/>
                    <a:pt x="153" y="105"/>
                    <a:pt x="150" y="108"/>
                  </a:cubicBezTo>
                  <a:cubicBezTo>
                    <a:pt x="150" y="110"/>
                    <a:pt x="147" y="116"/>
                    <a:pt x="150" y="119"/>
                  </a:cubicBezTo>
                  <a:lnTo>
                    <a:pt x="150" y="130"/>
                  </a:lnTo>
                  <a:lnTo>
                    <a:pt x="150" y="136"/>
                  </a:lnTo>
                  <a:cubicBezTo>
                    <a:pt x="150" y="139"/>
                    <a:pt x="153" y="142"/>
                    <a:pt x="153" y="144"/>
                  </a:cubicBezTo>
                  <a:cubicBezTo>
                    <a:pt x="153" y="147"/>
                    <a:pt x="150" y="147"/>
                    <a:pt x="150" y="150"/>
                  </a:cubicBezTo>
                  <a:cubicBezTo>
                    <a:pt x="147" y="153"/>
                    <a:pt x="147" y="156"/>
                    <a:pt x="147" y="156"/>
                  </a:cubicBezTo>
                  <a:cubicBezTo>
                    <a:pt x="144" y="156"/>
                    <a:pt x="144" y="156"/>
                    <a:pt x="141" y="158"/>
                  </a:cubicBezTo>
                  <a:cubicBezTo>
                    <a:pt x="139" y="158"/>
                    <a:pt x="139" y="158"/>
                    <a:pt x="136" y="161"/>
                  </a:cubicBezTo>
                  <a:lnTo>
                    <a:pt x="127" y="161"/>
                  </a:lnTo>
                  <a:cubicBezTo>
                    <a:pt x="124" y="161"/>
                    <a:pt x="122" y="164"/>
                    <a:pt x="116" y="164"/>
                  </a:cubicBezTo>
                  <a:cubicBezTo>
                    <a:pt x="110" y="161"/>
                    <a:pt x="105" y="156"/>
                    <a:pt x="102" y="150"/>
                  </a:cubicBezTo>
                  <a:cubicBezTo>
                    <a:pt x="102" y="147"/>
                    <a:pt x="99" y="144"/>
                    <a:pt x="99" y="142"/>
                  </a:cubicBezTo>
                  <a:cubicBezTo>
                    <a:pt x="99" y="133"/>
                    <a:pt x="96" y="125"/>
                    <a:pt x="96" y="119"/>
                  </a:cubicBezTo>
                  <a:cubicBezTo>
                    <a:pt x="93" y="113"/>
                    <a:pt x="93" y="113"/>
                    <a:pt x="93" y="108"/>
                  </a:cubicBezTo>
                  <a:lnTo>
                    <a:pt x="93" y="105"/>
                  </a:lnTo>
                  <a:lnTo>
                    <a:pt x="93" y="102"/>
                  </a:lnTo>
                  <a:lnTo>
                    <a:pt x="93" y="96"/>
                  </a:lnTo>
                  <a:lnTo>
                    <a:pt x="91" y="77"/>
                  </a:lnTo>
                  <a:cubicBezTo>
                    <a:pt x="88" y="71"/>
                    <a:pt x="88" y="65"/>
                    <a:pt x="85" y="60"/>
                  </a:cubicBezTo>
                  <a:lnTo>
                    <a:pt x="68" y="51"/>
                  </a:lnTo>
                  <a:cubicBezTo>
                    <a:pt x="62" y="54"/>
                    <a:pt x="57" y="60"/>
                    <a:pt x="54" y="68"/>
                  </a:cubicBezTo>
                  <a:lnTo>
                    <a:pt x="54" y="79"/>
                  </a:lnTo>
                  <a:lnTo>
                    <a:pt x="54" y="91"/>
                  </a:lnTo>
                  <a:lnTo>
                    <a:pt x="60" y="116"/>
                  </a:lnTo>
                  <a:cubicBezTo>
                    <a:pt x="60" y="119"/>
                    <a:pt x="62" y="125"/>
                    <a:pt x="62" y="127"/>
                  </a:cubicBezTo>
                  <a:cubicBezTo>
                    <a:pt x="65" y="130"/>
                    <a:pt x="68" y="136"/>
                    <a:pt x="68" y="142"/>
                  </a:cubicBezTo>
                  <a:cubicBezTo>
                    <a:pt x="68" y="144"/>
                    <a:pt x="68" y="150"/>
                    <a:pt x="71" y="153"/>
                  </a:cubicBezTo>
                  <a:cubicBezTo>
                    <a:pt x="74" y="156"/>
                    <a:pt x="74" y="158"/>
                    <a:pt x="77" y="164"/>
                  </a:cubicBezTo>
                  <a:cubicBezTo>
                    <a:pt x="77" y="167"/>
                    <a:pt x="79" y="170"/>
                    <a:pt x="82" y="173"/>
                  </a:cubicBezTo>
                  <a:lnTo>
                    <a:pt x="91" y="189"/>
                  </a:lnTo>
                  <a:cubicBezTo>
                    <a:pt x="91" y="192"/>
                    <a:pt x="93" y="195"/>
                    <a:pt x="96" y="198"/>
                  </a:cubicBezTo>
                  <a:cubicBezTo>
                    <a:pt x="102" y="206"/>
                    <a:pt x="108" y="212"/>
                    <a:pt x="113" y="221"/>
                  </a:cubicBezTo>
                  <a:cubicBezTo>
                    <a:pt x="116" y="223"/>
                    <a:pt x="116" y="226"/>
                    <a:pt x="119" y="232"/>
                  </a:cubicBezTo>
                  <a:cubicBezTo>
                    <a:pt x="122" y="235"/>
                    <a:pt x="122" y="240"/>
                    <a:pt x="124" y="243"/>
                  </a:cubicBezTo>
                  <a:cubicBezTo>
                    <a:pt x="124" y="246"/>
                    <a:pt x="127" y="246"/>
                    <a:pt x="127" y="249"/>
                  </a:cubicBezTo>
                  <a:cubicBezTo>
                    <a:pt x="130" y="249"/>
                    <a:pt x="130" y="252"/>
                    <a:pt x="133" y="252"/>
                  </a:cubicBezTo>
                  <a:cubicBezTo>
                    <a:pt x="141" y="263"/>
                    <a:pt x="150" y="277"/>
                    <a:pt x="156" y="291"/>
                  </a:cubicBezTo>
                  <a:cubicBezTo>
                    <a:pt x="161" y="299"/>
                    <a:pt x="167" y="311"/>
                    <a:pt x="170" y="322"/>
                  </a:cubicBezTo>
                  <a:lnTo>
                    <a:pt x="172" y="325"/>
                  </a:lnTo>
                  <a:cubicBezTo>
                    <a:pt x="172" y="325"/>
                    <a:pt x="172" y="328"/>
                    <a:pt x="175" y="328"/>
                  </a:cubicBezTo>
                  <a:cubicBezTo>
                    <a:pt x="178" y="333"/>
                    <a:pt x="181" y="339"/>
                    <a:pt x="181" y="345"/>
                  </a:cubicBezTo>
                  <a:cubicBezTo>
                    <a:pt x="181" y="347"/>
                    <a:pt x="184" y="350"/>
                    <a:pt x="184" y="353"/>
                  </a:cubicBezTo>
                  <a:cubicBezTo>
                    <a:pt x="187" y="359"/>
                    <a:pt x="187" y="364"/>
                    <a:pt x="189" y="370"/>
                  </a:cubicBezTo>
                  <a:cubicBezTo>
                    <a:pt x="189" y="373"/>
                    <a:pt x="189" y="373"/>
                    <a:pt x="192" y="376"/>
                  </a:cubicBezTo>
                  <a:lnTo>
                    <a:pt x="192" y="404"/>
                  </a:lnTo>
                  <a:lnTo>
                    <a:pt x="192" y="434"/>
                  </a:lnTo>
                  <a:cubicBezTo>
                    <a:pt x="189" y="445"/>
                    <a:pt x="181" y="454"/>
                    <a:pt x="172" y="462"/>
                  </a:cubicBezTo>
                  <a:cubicBezTo>
                    <a:pt x="167" y="468"/>
                    <a:pt x="161" y="471"/>
                    <a:pt x="156" y="471"/>
                  </a:cubicBezTo>
                  <a:cubicBezTo>
                    <a:pt x="153" y="471"/>
                    <a:pt x="153" y="471"/>
                    <a:pt x="150" y="473"/>
                  </a:cubicBezTo>
                  <a:cubicBezTo>
                    <a:pt x="147" y="476"/>
                    <a:pt x="141" y="476"/>
                    <a:pt x="139" y="476"/>
                  </a:cubicBezTo>
                  <a:cubicBezTo>
                    <a:pt x="136" y="476"/>
                    <a:pt x="136" y="479"/>
                    <a:pt x="133" y="479"/>
                  </a:cubicBezTo>
                  <a:lnTo>
                    <a:pt x="127" y="479"/>
                  </a:lnTo>
                  <a:cubicBezTo>
                    <a:pt x="108" y="476"/>
                    <a:pt x="91" y="471"/>
                    <a:pt x="77" y="456"/>
                  </a:cubicBezTo>
                  <a:cubicBezTo>
                    <a:pt x="74" y="451"/>
                    <a:pt x="71" y="448"/>
                    <a:pt x="68" y="442"/>
                  </a:cubicBezTo>
                  <a:cubicBezTo>
                    <a:pt x="62" y="437"/>
                    <a:pt x="60" y="428"/>
                    <a:pt x="60" y="417"/>
                  </a:cubicBezTo>
                  <a:lnTo>
                    <a:pt x="60" y="411"/>
                  </a:lnTo>
                  <a:cubicBezTo>
                    <a:pt x="60" y="409"/>
                    <a:pt x="57" y="407"/>
                    <a:pt x="54" y="404"/>
                  </a:cubicBezTo>
                  <a:cubicBezTo>
                    <a:pt x="51" y="401"/>
                    <a:pt x="51" y="398"/>
                    <a:pt x="48" y="395"/>
                  </a:cubicBezTo>
                  <a:lnTo>
                    <a:pt x="48" y="390"/>
                  </a:lnTo>
                  <a:lnTo>
                    <a:pt x="48" y="387"/>
                  </a:lnTo>
                  <a:lnTo>
                    <a:pt x="48" y="384"/>
                  </a:lnTo>
                  <a:lnTo>
                    <a:pt x="45" y="356"/>
                  </a:lnTo>
                  <a:cubicBezTo>
                    <a:pt x="45" y="347"/>
                    <a:pt x="43" y="336"/>
                    <a:pt x="40" y="328"/>
                  </a:cubicBezTo>
                  <a:cubicBezTo>
                    <a:pt x="45" y="322"/>
                    <a:pt x="51" y="316"/>
                    <a:pt x="57" y="314"/>
                  </a:cubicBezTo>
                  <a:lnTo>
                    <a:pt x="65" y="314"/>
                  </a:lnTo>
                  <a:cubicBezTo>
                    <a:pt x="68" y="314"/>
                    <a:pt x="74" y="316"/>
                    <a:pt x="79" y="316"/>
                  </a:cubicBezTo>
                  <a:cubicBezTo>
                    <a:pt x="79" y="319"/>
                    <a:pt x="82" y="319"/>
                    <a:pt x="85" y="319"/>
                  </a:cubicBezTo>
                  <a:cubicBezTo>
                    <a:pt x="85" y="322"/>
                    <a:pt x="88" y="322"/>
                    <a:pt x="88" y="325"/>
                  </a:cubicBezTo>
                  <a:cubicBezTo>
                    <a:pt x="88" y="325"/>
                    <a:pt x="88" y="328"/>
                    <a:pt x="85" y="328"/>
                  </a:cubicBezTo>
                  <a:cubicBezTo>
                    <a:pt x="85" y="331"/>
                    <a:pt x="85" y="336"/>
                    <a:pt x="88" y="339"/>
                  </a:cubicBezTo>
                  <a:lnTo>
                    <a:pt x="88" y="350"/>
                  </a:lnTo>
                  <a:cubicBezTo>
                    <a:pt x="88" y="353"/>
                    <a:pt x="88" y="353"/>
                    <a:pt x="91" y="356"/>
                  </a:cubicBezTo>
                  <a:cubicBezTo>
                    <a:pt x="91" y="359"/>
                    <a:pt x="91" y="362"/>
                    <a:pt x="88" y="362"/>
                  </a:cubicBezTo>
                  <a:lnTo>
                    <a:pt x="88" y="367"/>
                  </a:lnTo>
                  <a:cubicBezTo>
                    <a:pt x="91" y="373"/>
                    <a:pt x="93" y="378"/>
                    <a:pt x="93" y="384"/>
                  </a:cubicBezTo>
                  <a:cubicBezTo>
                    <a:pt x="93" y="390"/>
                    <a:pt x="96" y="395"/>
                    <a:pt x="96" y="404"/>
                  </a:cubicBezTo>
                  <a:cubicBezTo>
                    <a:pt x="105" y="414"/>
                    <a:pt x="105" y="414"/>
                    <a:pt x="116" y="420"/>
                  </a:cubicBezTo>
                  <a:lnTo>
                    <a:pt x="127" y="417"/>
                  </a:lnTo>
                  <a:cubicBezTo>
                    <a:pt x="130" y="414"/>
                    <a:pt x="133" y="411"/>
                    <a:pt x="133" y="407"/>
                  </a:cubicBezTo>
                  <a:cubicBezTo>
                    <a:pt x="133" y="404"/>
                    <a:pt x="133" y="398"/>
                    <a:pt x="136" y="395"/>
                  </a:cubicBezTo>
                  <a:cubicBezTo>
                    <a:pt x="136" y="393"/>
                    <a:pt x="136" y="387"/>
                    <a:pt x="133" y="384"/>
                  </a:cubicBezTo>
                  <a:lnTo>
                    <a:pt x="130" y="373"/>
                  </a:lnTo>
                  <a:cubicBezTo>
                    <a:pt x="127" y="364"/>
                    <a:pt x="124" y="359"/>
                    <a:pt x="122" y="353"/>
                  </a:cubicBezTo>
                  <a:cubicBezTo>
                    <a:pt x="122" y="350"/>
                    <a:pt x="119" y="347"/>
                    <a:pt x="122" y="347"/>
                  </a:cubicBezTo>
                  <a:cubicBezTo>
                    <a:pt x="122" y="345"/>
                    <a:pt x="119" y="342"/>
                    <a:pt x="119" y="342"/>
                  </a:cubicBezTo>
                  <a:cubicBezTo>
                    <a:pt x="119" y="339"/>
                    <a:pt x="119" y="336"/>
                    <a:pt x="116" y="333"/>
                  </a:cubicBezTo>
                  <a:cubicBezTo>
                    <a:pt x="113" y="331"/>
                    <a:pt x="113" y="328"/>
                    <a:pt x="113" y="328"/>
                  </a:cubicBezTo>
                  <a:cubicBezTo>
                    <a:pt x="110" y="322"/>
                    <a:pt x="110" y="319"/>
                    <a:pt x="108" y="314"/>
                  </a:cubicBezTo>
                  <a:cubicBezTo>
                    <a:pt x="105" y="311"/>
                    <a:pt x="105" y="308"/>
                    <a:pt x="105" y="305"/>
                  </a:cubicBezTo>
                  <a:cubicBezTo>
                    <a:pt x="105" y="299"/>
                    <a:pt x="102" y="297"/>
                    <a:pt x="99" y="294"/>
                  </a:cubicBezTo>
                  <a:cubicBezTo>
                    <a:pt x="93" y="291"/>
                    <a:pt x="91" y="283"/>
                    <a:pt x="91" y="277"/>
                  </a:cubicBezTo>
                  <a:cubicBezTo>
                    <a:pt x="85" y="274"/>
                    <a:pt x="82" y="268"/>
                    <a:pt x="79" y="263"/>
                  </a:cubicBezTo>
                  <a:cubicBezTo>
                    <a:pt x="77" y="260"/>
                    <a:pt x="77" y="257"/>
                    <a:pt x="74" y="254"/>
                  </a:cubicBezTo>
                  <a:cubicBezTo>
                    <a:pt x="65" y="246"/>
                    <a:pt x="60" y="237"/>
                    <a:pt x="54" y="226"/>
                  </a:cubicBezTo>
                  <a:cubicBezTo>
                    <a:pt x="51" y="223"/>
                    <a:pt x="51" y="221"/>
                    <a:pt x="48" y="218"/>
                  </a:cubicBezTo>
                  <a:cubicBezTo>
                    <a:pt x="45" y="215"/>
                    <a:pt x="45" y="212"/>
                    <a:pt x="43" y="209"/>
                  </a:cubicBezTo>
                  <a:cubicBezTo>
                    <a:pt x="37" y="198"/>
                    <a:pt x="31" y="189"/>
                    <a:pt x="26" y="181"/>
                  </a:cubicBezTo>
                  <a:cubicBezTo>
                    <a:pt x="26" y="178"/>
                    <a:pt x="23" y="178"/>
                    <a:pt x="23" y="175"/>
                  </a:cubicBezTo>
                  <a:cubicBezTo>
                    <a:pt x="23" y="167"/>
                    <a:pt x="20" y="158"/>
                    <a:pt x="14" y="153"/>
                  </a:cubicBezTo>
                  <a:lnTo>
                    <a:pt x="14" y="150"/>
                  </a:lnTo>
                  <a:lnTo>
                    <a:pt x="14" y="147"/>
                  </a:lnTo>
                  <a:lnTo>
                    <a:pt x="14" y="142"/>
                  </a:lnTo>
                  <a:lnTo>
                    <a:pt x="14" y="139"/>
                  </a:lnTo>
                  <a:cubicBezTo>
                    <a:pt x="14" y="136"/>
                    <a:pt x="12" y="133"/>
                    <a:pt x="12" y="130"/>
                  </a:cubicBezTo>
                  <a:lnTo>
                    <a:pt x="12" y="127"/>
                  </a:lnTo>
                  <a:lnTo>
                    <a:pt x="9" y="125"/>
                  </a:lnTo>
                  <a:cubicBezTo>
                    <a:pt x="9" y="122"/>
                    <a:pt x="9" y="119"/>
                    <a:pt x="6" y="116"/>
                  </a:cubicBezTo>
                  <a:lnTo>
                    <a:pt x="6" y="108"/>
                  </a:lnTo>
                  <a:lnTo>
                    <a:pt x="6" y="102"/>
                  </a:lnTo>
                  <a:cubicBezTo>
                    <a:pt x="3" y="96"/>
                    <a:pt x="3" y="94"/>
                    <a:pt x="3" y="91"/>
                  </a:cubicBezTo>
                  <a:lnTo>
                    <a:pt x="3" y="82"/>
                  </a:lnTo>
                  <a:cubicBezTo>
                    <a:pt x="0" y="77"/>
                    <a:pt x="0" y="74"/>
                    <a:pt x="0" y="68"/>
                  </a:cubicBezTo>
                  <a:lnTo>
                    <a:pt x="0" y="54"/>
                  </a:lnTo>
                  <a:lnTo>
                    <a:pt x="9" y="37"/>
                  </a:lnTo>
                  <a:cubicBezTo>
                    <a:pt x="12" y="32"/>
                    <a:pt x="14" y="26"/>
                    <a:pt x="17" y="23"/>
                  </a:cubicBezTo>
                  <a:cubicBezTo>
                    <a:pt x="20" y="23"/>
                    <a:pt x="23" y="23"/>
                    <a:pt x="26" y="20"/>
                  </a:cubicBezTo>
                  <a:cubicBezTo>
                    <a:pt x="29" y="17"/>
                    <a:pt x="31" y="15"/>
                    <a:pt x="37" y="12"/>
                  </a:cubicBezTo>
                  <a:cubicBezTo>
                    <a:pt x="45" y="9"/>
                    <a:pt x="51" y="6"/>
                    <a:pt x="57" y="3"/>
                  </a:cubicBezTo>
                  <a:cubicBezTo>
                    <a:pt x="60" y="3"/>
                    <a:pt x="62" y="0"/>
                    <a:pt x="65" y="3"/>
                  </a:cubicBezTo>
                  <a:lnTo>
                    <a:pt x="77" y="3"/>
                  </a:lnTo>
                  <a:cubicBezTo>
                    <a:pt x="82" y="3"/>
                    <a:pt x="91" y="3"/>
                    <a:pt x="96" y="6"/>
                  </a:cubicBezTo>
                  <a:cubicBezTo>
                    <a:pt x="99" y="9"/>
                    <a:pt x="99" y="9"/>
                    <a:pt x="102" y="9"/>
                  </a:cubicBezTo>
                  <a:cubicBezTo>
                    <a:pt x="108" y="9"/>
                    <a:pt x="110" y="12"/>
                    <a:pt x="113" y="15"/>
                  </a:cubicBezTo>
                  <a:lnTo>
                    <a:pt x="122" y="23"/>
                  </a:lnTo>
                  <a:cubicBezTo>
                    <a:pt x="127" y="29"/>
                    <a:pt x="133" y="37"/>
                    <a:pt x="136" y="46"/>
                  </a:cubicBezTo>
                  <a:cubicBezTo>
                    <a:pt x="136" y="46"/>
                    <a:pt x="136" y="48"/>
                    <a:pt x="139" y="48"/>
                  </a:cubicBezTo>
                  <a:lnTo>
                    <a:pt x="139" y="54"/>
                  </a:lnTo>
                  <a:cubicBezTo>
                    <a:pt x="141" y="54"/>
                    <a:pt x="141" y="57"/>
                    <a:pt x="141" y="57"/>
                  </a:cubicBezTo>
                  <a:lnTo>
                    <a:pt x="141" y="63"/>
                  </a:lnTo>
                  <a:cubicBezTo>
                    <a:pt x="141" y="65"/>
                    <a:pt x="144" y="68"/>
                    <a:pt x="144" y="71"/>
                  </a:cubicBezTo>
                  <a:cubicBezTo>
                    <a:pt x="144" y="71"/>
                    <a:pt x="144" y="74"/>
                    <a:pt x="147" y="74"/>
                  </a:cubicBezTo>
                  <a:cubicBezTo>
                    <a:pt x="147" y="77"/>
                    <a:pt x="153" y="79"/>
                    <a:pt x="150" y="85"/>
                  </a:cubicBezTo>
                  <a:lnTo>
                    <a:pt x="150" y="96"/>
                  </a:lnTo>
                  <a:cubicBezTo>
                    <a:pt x="150" y="96"/>
                    <a:pt x="150" y="95"/>
                    <a:pt x="150" y="96"/>
                  </a:cubicBezTo>
                  <a:lnTo>
                    <a:pt x="150" y="99"/>
                  </a:lnTo>
                  <a:close/>
                  <a:moveTo>
                    <a:pt x="23" y="82"/>
                  </a:moveTo>
                  <a:lnTo>
                    <a:pt x="29" y="82"/>
                  </a:lnTo>
                  <a:cubicBezTo>
                    <a:pt x="31" y="82"/>
                    <a:pt x="31" y="82"/>
                    <a:pt x="34" y="79"/>
                  </a:cubicBezTo>
                  <a:cubicBezTo>
                    <a:pt x="31" y="79"/>
                    <a:pt x="29" y="79"/>
                    <a:pt x="29" y="77"/>
                  </a:cubicBezTo>
                  <a:cubicBezTo>
                    <a:pt x="29" y="79"/>
                    <a:pt x="26" y="82"/>
                    <a:pt x="23" y="82"/>
                  </a:cubicBezTo>
                  <a:close/>
                  <a:moveTo>
                    <a:pt x="26" y="65"/>
                  </a:moveTo>
                  <a:lnTo>
                    <a:pt x="29" y="65"/>
                  </a:lnTo>
                  <a:cubicBezTo>
                    <a:pt x="31" y="65"/>
                    <a:pt x="31" y="65"/>
                    <a:pt x="29" y="60"/>
                  </a:cubicBezTo>
                  <a:lnTo>
                    <a:pt x="23" y="60"/>
                  </a:lnTo>
                  <a:lnTo>
                    <a:pt x="26" y="65"/>
                  </a:lnTo>
                  <a:close/>
                  <a:moveTo>
                    <a:pt x="31" y="48"/>
                  </a:moveTo>
                  <a:lnTo>
                    <a:pt x="29" y="48"/>
                  </a:lnTo>
                  <a:lnTo>
                    <a:pt x="26" y="48"/>
                  </a:lnTo>
                  <a:cubicBezTo>
                    <a:pt x="26" y="51"/>
                    <a:pt x="29" y="51"/>
                    <a:pt x="29" y="51"/>
                  </a:cubicBezTo>
                  <a:cubicBezTo>
                    <a:pt x="29" y="51"/>
                    <a:pt x="29" y="54"/>
                    <a:pt x="31" y="54"/>
                  </a:cubicBezTo>
                  <a:cubicBezTo>
                    <a:pt x="34" y="57"/>
                    <a:pt x="34" y="54"/>
                    <a:pt x="40" y="54"/>
                  </a:cubicBezTo>
                  <a:cubicBezTo>
                    <a:pt x="37" y="51"/>
                    <a:pt x="34" y="51"/>
                    <a:pt x="31" y="48"/>
                  </a:cubicBezTo>
                  <a:close/>
                  <a:moveTo>
                    <a:pt x="29" y="99"/>
                  </a:moveTo>
                  <a:cubicBezTo>
                    <a:pt x="26" y="96"/>
                    <a:pt x="26" y="99"/>
                    <a:pt x="29" y="99"/>
                  </a:cubicBezTo>
                  <a:close/>
                  <a:moveTo>
                    <a:pt x="37" y="116"/>
                  </a:moveTo>
                  <a:cubicBezTo>
                    <a:pt x="37" y="110"/>
                    <a:pt x="37" y="108"/>
                    <a:pt x="34" y="108"/>
                  </a:cubicBezTo>
                  <a:lnTo>
                    <a:pt x="31" y="108"/>
                  </a:lnTo>
                  <a:cubicBezTo>
                    <a:pt x="31" y="108"/>
                    <a:pt x="29" y="108"/>
                    <a:pt x="29" y="110"/>
                  </a:cubicBezTo>
                  <a:cubicBezTo>
                    <a:pt x="31" y="110"/>
                    <a:pt x="34" y="113"/>
                    <a:pt x="37" y="116"/>
                  </a:cubicBezTo>
                  <a:close/>
                  <a:moveTo>
                    <a:pt x="34" y="68"/>
                  </a:moveTo>
                  <a:cubicBezTo>
                    <a:pt x="34" y="68"/>
                    <a:pt x="37" y="71"/>
                    <a:pt x="37" y="74"/>
                  </a:cubicBezTo>
                  <a:lnTo>
                    <a:pt x="34" y="77"/>
                  </a:lnTo>
                  <a:cubicBezTo>
                    <a:pt x="43" y="74"/>
                    <a:pt x="43" y="74"/>
                    <a:pt x="40" y="65"/>
                  </a:cubicBezTo>
                  <a:lnTo>
                    <a:pt x="34" y="68"/>
                  </a:lnTo>
                  <a:close/>
                  <a:moveTo>
                    <a:pt x="34" y="60"/>
                  </a:moveTo>
                  <a:cubicBezTo>
                    <a:pt x="36" y="60"/>
                    <a:pt x="36" y="59"/>
                    <a:pt x="37" y="58"/>
                  </a:cubicBezTo>
                  <a:lnTo>
                    <a:pt x="34" y="60"/>
                  </a:lnTo>
                  <a:close/>
                  <a:moveTo>
                    <a:pt x="37" y="102"/>
                  </a:moveTo>
                  <a:cubicBezTo>
                    <a:pt x="37" y="99"/>
                    <a:pt x="37" y="96"/>
                    <a:pt x="40" y="96"/>
                  </a:cubicBezTo>
                  <a:cubicBezTo>
                    <a:pt x="34" y="96"/>
                    <a:pt x="31" y="96"/>
                    <a:pt x="37" y="102"/>
                  </a:cubicBezTo>
                  <a:close/>
                  <a:moveTo>
                    <a:pt x="40" y="51"/>
                  </a:moveTo>
                  <a:cubicBezTo>
                    <a:pt x="43" y="48"/>
                    <a:pt x="43" y="46"/>
                    <a:pt x="43" y="43"/>
                  </a:cubicBezTo>
                  <a:lnTo>
                    <a:pt x="37" y="43"/>
                  </a:lnTo>
                  <a:cubicBezTo>
                    <a:pt x="37" y="43"/>
                    <a:pt x="37" y="46"/>
                    <a:pt x="40" y="46"/>
                  </a:cubicBezTo>
                  <a:lnTo>
                    <a:pt x="40" y="51"/>
                  </a:lnTo>
                  <a:close/>
                  <a:moveTo>
                    <a:pt x="45" y="144"/>
                  </a:moveTo>
                  <a:lnTo>
                    <a:pt x="37" y="136"/>
                  </a:lnTo>
                  <a:cubicBezTo>
                    <a:pt x="40" y="142"/>
                    <a:pt x="43" y="142"/>
                    <a:pt x="45" y="144"/>
                  </a:cubicBezTo>
                  <a:close/>
                  <a:moveTo>
                    <a:pt x="40" y="127"/>
                  </a:moveTo>
                  <a:cubicBezTo>
                    <a:pt x="43" y="127"/>
                    <a:pt x="45" y="130"/>
                    <a:pt x="45" y="130"/>
                  </a:cubicBezTo>
                  <a:lnTo>
                    <a:pt x="43" y="127"/>
                  </a:lnTo>
                  <a:cubicBezTo>
                    <a:pt x="43" y="125"/>
                    <a:pt x="43" y="125"/>
                    <a:pt x="40" y="127"/>
                  </a:cubicBezTo>
                  <a:close/>
                  <a:moveTo>
                    <a:pt x="43" y="150"/>
                  </a:moveTo>
                  <a:lnTo>
                    <a:pt x="45" y="150"/>
                  </a:lnTo>
                  <a:lnTo>
                    <a:pt x="48" y="150"/>
                  </a:lnTo>
                  <a:cubicBezTo>
                    <a:pt x="48" y="147"/>
                    <a:pt x="45" y="147"/>
                    <a:pt x="45" y="147"/>
                  </a:cubicBezTo>
                  <a:lnTo>
                    <a:pt x="43" y="150"/>
                  </a:lnTo>
                  <a:close/>
                  <a:moveTo>
                    <a:pt x="48" y="26"/>
                  </a:moveTo>
                  <a:cubicBezTo>
                    <a:pt x="45" y="26"/>
                    <a:pt x="43" y="29"/>
                    <a:pt x="45" y="32"/>
                  </a:cubicBezTo>
                  <a:lnTo>
                    <a:pt x="48" y="32"/>
                  </a:lnTo>
                  <a:lnTo>
                    <a:pt x="48" y="26"/>
                  </a:lnTo>
                  <a:close/>
                  <a:moveTo>
                    <a:pt x="51" y="158"/>
                  </a:moveTo>
                  <a:cubicBezTo>
                    <a:pt x="51" y="164"/>
                    <a:pt x="54" y="164"/>
                    <a:pt x="57" y="161"/>
                  </a:cubicBezTo>
                  <a:lnTo>
                    <a:pt x="57" y="158"/>
                  </a:lnTo>
                  <a:lnTo>
                    <a:pt x="51" y="158"/>
                  </a:lnTo>
                  <a:close/>
                  <a:moveTo>
                    <a:pt x="57" y="26"/>
                  </a:moveTo>
                  <a:cubicBezTo>
                    <a:pt x="54" y="26"/>
                    <a:pt x="54" y="29"/>
                    <a:pt x="51" y="29"/>
                  </a:cubicBezTo>
                  <a:cubicBezTo>
                    <a:pt x="54" y="32"/>
                    <a:pt x="57" y="32"/>
                    <a:pt x="57" y="26"/>
                  </a:cubicBezTo>
                  <a:close/>
                  <a:moveTo>
                    <a:pt x="57" y="173"/>
                  </a:moveTo>
                  <a:cubicBezTo>
                    <a:pt x="54" y="173"/>
                    <a:pt x="54" y="170"/>
                    <a:pt x="51" y="170"/>
                  </a:cubicBezTo>
                  <a:cubicBezTo>
                    <a:pt x="51" y="175"/>
                    <a:pt x="51" y="175"/>
                    <a:pt x="57" y="173"/>
                  </a:cubicBezTo>
                  <a:close/>
                  <a:moveTo>
                    <a:pt x="57" y="34"/>
                  </a:moveTo>
                  <a:cubicBezTo>
                    <a:pt x="54" y="37"/>
                    <a:pt x="57" y="37"/>
                    <a:pt x="57" y="34"/>
                  </a:cubicBezTo>
                  <a:close/>
                  <a:moveTo>
                    <a:pt x="68" y="34"/>
                  </a:moveTo>
                  <a:lnTo>
                    <a:pt x="68" y="32"/>
                  </a:lnTo>
                  <a:lnTo>
                    <a:pt x="65" y="32"/>
                  </a:lnTo>
                  <a:cubicBezTo>
                    <a:pt x="62" y="37"/>
                    <a:pt x="62" y="37"/>
                    <a:pt x="68" y="34"/>
                  </a:cubicBezTo>
                  <a:close/>
                  <a:moveTo>
                    <a:pt x="68" y="23"/>
                  </a:moveTo>
                  <a:lnTo>
                    <a:pt x="65" y="23"/>
                  </a:lnTo>
                  <a:lnTo>
                    <a:pt x="65" y="26"/>
                  </a:lnTo>
                  <a:cubicBezTo>
                    <a:pt x="65" y="23"/>
                    <a:pt x="65" y="23"/>
                    <a:pt x="68" y="23"/>
                  </a:cubicBezTo>
                  <a:close/>
                  <a:moveTo>
                    <a:pt x="65" y="189"/>
                  </a:moveTo>
                  <a:lnTo>
                    <a:pt x="65" y="192"/>
                  </a:lnTo>
                  <a:lnTo>
                    <a:pt x="65" y="195"/>
                  </a:lnTo>
                  <a:lnTo>
                    <a:pt x="68" y="192"/>
                  </a:lnTo>
                  <a:lnTo>
                    <a:pt x="71" y="189"/>
                  </a:lnTo>
                  <a:lnTo>
                    <a:pt x="71" y="187"/>
                  </a:lnTo>
                  <a:lnTo>
                    <a:pt x="68" y="187"/>
                  </a:lnTo>
                  <a:cubicBezTo>
                    <a:pt x="68" y="189"/>
                    <a:pt x="65" y="189"/>
                    <a:pt x="65" y="189"/>
                  </a:cubicBezTo>
                  <a:close/>
                  <a:moveTo>
                    <a:pt x="74" y="204"/>
                  </a:moveTo>
                  <a:cubicBezTo>
                    <a:pt x="74" y="206"/>
                    <a:pt x="77" y="206"/>
                    <a:pt x="74" y="204"/>
                  </a:cubicBezTo>
                  <a:cubicBezTo>
                    <a:pt x="77" y="206"/>
                    <a:pt x="79" y="206"/>
                    <a:pt x="79" y="206"/>
                  </a:cubicBezTo>
                  <a:lnTo>
                    <a:pt x="85" y="201"/>
                  </a:lnTo>
                  <a:lnTo>
                    <a:pt x="82" y="198"/>
                  </a:lnTo>
                  <a:lnTo>
                    <a:pt x="79" y="198"/>
                  </a:lnTo>
                  <a:cubicBezTo>
                    <a:pt x="77" y="198"/>
                    <a:pt x="77" y="201"/>
                    <a:pt x="74" y="204"/>
                  </a:cubicBezTo>
                  <a:close/>
                  <a:moveTo>
                    <a:pt x="74" y="26"/>
                  </a:moveTo>
                  <a:lnTo>
                    <a:pt x="79" y="26"/>
                  </a:lnTo>
                  <a:cubicBezTo>
                    <a:pt x="79" y="23"/>
                    <a:pt x="79" y="23"/>
                    <a:pt x="77" y="23"/>
                  </a:cubicBezTo>
                  <a:lnTo>
                    <a:pt x="74" y="23"/>
                  </a:lnTo>
                  <a:lnTo>
                    <a:pt x="74" y="26"/>
                  </a:lnTo>
                  <a:close/>
                  <a:moveTo>
                    <a:pt x="91" y="37"/>
                  </a:moveTo>
                  <a:lnTo>
                    <a:pt x="88" y="37"/>
                  </a:lnTo>
                  <a:cubicBezTo>
                    <a:pt x="88" y="37"/>
                    <a:pt x="85" y="34"/>
                    <a:pt x="85" y="32"/>
                  </a:cubicBezTo>
                  <a:cubicBezTo>
                    <a:pt x="85" y="32"/>
                    <a:pt x="85" y="34"/>
                    <a:pt x="82" y="34"/>
                  </a:cubicBezTo>
                  <a:lnTo>
                    <a:pt x="74" y="34"/>
                  </a:lnTo>
                  <a:lnTo>
                    <a:pt x="77" y="37"/>
                  </a:lnTo>
                  <a:lnTo>
                    <a:pt x="79" y="40"/>
                  </a:lnTo>
                  <a:cubicBezTo>
                    <a:pt x="79" y="40"/>
                    <a:pt x="79" y="43"/>
                    <a:pt x="82" y="43"/>
                  </a:cubicBezTo>
                  <a:cubicBezTo>
                    <a:pt x="88" y="40"/>
                    <a:pt x="91" y="40"/>
                    <a:pt x="91" y="37"/>
                  </a:cubicBezTo>
                  <a:close/>
                  <a:moveTo>
                    <a:pt x="85" y="232"/>
                  </a:moveTo>
                  <a:lnTo>
                    <a:pt x="88" y="226"/>
                  </a:lnTo>
                  <a:lnTo>
                    <a:pt x="91" y="226"/>
                  </a:lnTo>
                  <a:lnTo>
                    <a:pt x="91" y="221"/>
                  </a:lnTo>
                  <a:lnTo>
                    <a:pt x="88" y="218"/>
                  </a:lnTo>
                  <a:lnTo>
                    <a:pt x="82" y="212"/>
                  </a:lnTo>
                  <a:lnTo>
                    <a:pt x="82" y="218"/>
                  </a:lnTo>
                  <a:lnTo>
                    <a:pt x="82" y="221"/>
                  </a:lnTo>
                  <a:lnTo>
                    <a:pt x="85" y="223"/>
                  </a:lnTo>
                  <a:cubicBezTo>
                    <a:pt x="82" y="226"/>
                    <a:pt x="82" y="229"/>
                    <a:pt x="85" y="232"/>
                  </a:cubicBezTo>
                  <a:close/>
                  <a:moveTo>
                    <a:pt x="88" y="235"/>
                  </a:moveTo>
                  <a:lnTo>
                    <a:pt x="88" y="243"/>
                  </a:lnTo>
                  <a:cubicBezTo>
                    <a:pt x="88" y="243"/>
                    <a:pt x="88" y="240"/>
                    <a:pt x="91" y="240"/>
                  </a:cubicBezTo>
                  <a:lnTo>
                    <a:pt x="93" y="237"/>
                  </a:lnTo>
                  <a:cubicBezTo>
                    <a:pt x="91" y="232"/>
                    <a:pt x="88" y="232"/>
                    <a:pt x="88" y="235"/>
                  </a:cubicBezTo>
                  <a:close/>
                  <a:moveTo>
                    <a:pt x="91" y="229"/>
                  </a:moveTo>
                  <a:cubicBezTo>
                    <a:pt x="91" y="226"/>
                    <a:pt x="93" y="226"/>
                    <a:pt x="93" y="223"/>
                  </a:cubicBezTo>
                  <a:cubicBezTo>
                    <a:pt x="91" y="223"/>
                    <a:pt x="91" y="223"/>
                    <a:pt x="91" y="229"/>
                  </a:cubicBezTo>
                  <a:close/>
                  <a:moveTo>
                    <a:pt x="99" y="246"/>
                  </a:moveTo>
                  <a:cubicBezTo>
                    <a:pt x="96" y="246"/>
                    <a:pt x="96" y="249"/>
                    <a:pt x="96" y="249"/>
                  </a:cubicBezTo>
                  <a:lnTo>
                    <a:pt x="96" y="252"/>
                  </a:lnTo>
                  <a:lnTo>
                    <a:pt x="102" y="252"/>
                  </a:lnTo>
                  <a:cubicBezTo>
                    <a:pt x="102" y="252"/>
                    <a:pt x="99" y="249"/>
                    <a:pt x="99" y="246"/>
                  </a:cubicBezTo>
                  <a:close/>
                  <a:moveTo>
                    <a:pt x="99" y="32"/>
                  </a:moveTo>
                  <a:cubicBezTo>
                    <a:pt x="99" y="32"/>
                    <a:pt x="102" y="32"/>
                    <a:pt x="99" y="32"/>
                  </a:cubicBezTo>
                  <a:lnTo>
                    <a:pt x="99" y="26"/>
                  </a:lnTo>
                  <a:cubicBezTo>
                    <a:pt x="96" y="32"/>
                    <a:pt x="99" y="32"/>
                    <a:pt x="99" y="32"/>
                  </a:cubicBezTo>
                  <a:close/>
                  <a:moveTo>
                    <a:pt x="105" y="54"/>
                  </a:moveTo>
                  <a:lnTo>
                    <a:pt x="108" y="57"/>
                  </a:lnTo>
                  <a:lnTo>
                    <a:pt x="110" y="54"/>
                  </a:lnTo>
                  <a:lnTo>
                    <a:pt x="113" y="54"/>
                  </a:lnTo>
                  <a:lnTo>
                    <a:pt x="116" y="54"/>
                  </a:lnTo>
                  <a:lnTo>
                    <a:pt x="116" y="51"/>
                  </a:lnTo>
                  <a:lnTo>
                    <a:pt x="113" y="48"/>
                  </a:lnTo>
                  <a:lnTo>
                    <a:pt x="110" y="46"/>
                  </a:lnTo>
                  <a:lnTo>
                    <a:pt x="108" y="48"/>
                  </a:lnTo>
                  <a:cubicBezTo>
                    <a:pt x="105" y="48"/>
                    <a:pt x="105" y="46"/>
                    <a:pt x="102" y="46"/>
                  </a:cubicBezTo>
                  <a:lnTo>
                    <a:pt x="105" y="54"/>
                  </a:lnTo>
                  <a:close/>
                  <a:moveTo>
                    <a:pt x="102" y="249"/>
                  </a:moveTo>
                  <a:cubicBezTo>
                    <a:pt x="108" y="249"/>
                    <a:pt x="108" y="246"/>
                    <a:pt x="108" y="243"/>
                  </a:cubicBezTo>
                  <a:cubicBezTo>
                    <a:pt x="105" y="243"/>
                    <a:pt x="105" y="246"/>
                    <a:pt x="102" y="249"/>
                  </a:cubicBezTo>
                  <a:close/>
                  <a:moveTo>
                    <a:pt x="113" y="79"/>
                  </a:moveTo>
                  <a:lnTo>
                    <a:pt x="110" y="79"/>
                  </a:lnTo>
                  <a:cubicBezTo>
                    <a:pt x="110" y="79"/>
                    <a:pt x="110" y="79"/>
                    <a:pt x="113" y="79"/>
                  </a:cubicBezTo>
                  <a:cubicBezTo>
                    <a:pt x="110" y="82"/>
                    <a:pt x="110" y="85"/>
                    <a:pt x="113" y="85"/>
                  </a:cubicBezTo>
                  <a:lnTo>
                    <a:pt x="113" y="79"/>
                  </a:lnTo>
                  <a:close/>
                  <a:moveTo>
                    <a:pt x="127" y="448"/>
                  </a:moveTo>
                  <a:cubicBezTo>
                    <a:pt x="124" y="445"/>
                    <a:pt x="122" y="445"/>
                    <a:pt x="122" y="442"/>
                  </a:cubicBezTo>
                  <a:lnTo>
                    <a:pt x="124" y="440"/>
                  </a:lnTo>
                  <a:lnTo>
                    <a:pt x="122" y="440"/>
                  </a:lnTo>
                  <a:lnTo>
                    <a:pt x="119" y="440"/>
                  </a:lnTo>
                  <a:cubicBezTo>
                    <a:pt x="116" y="440"/>
                    <a:pt x="113" y="440"/>
                    <a:pt x="110" y="437"/>
                  </a:cubicBezTo>
                  <a:cubicBezTo>
                    <a:pt x="113" y="440"/>
                    <a:pt x="116" y="445"/>
                    <a:pt x="119" y="448"/>
                  </a:cubicBezTo>
                  <a:lnTo>
                    <a:pt x="127" y="448"/>
                  </a:lnTo>
                  <a:close/>
                  <a:moveTo>
                    <a:pt x="110" y="431"/>
                  </a:moveTo>
                  <a:cubicBezTo>
                    <a:pt x="110" y="434"/>
                    <a:pt x="110" y="434"/>
                    <a:pt x="113" y="434"/>
                  </a:cubicBezTo>
                  <a:lnTo>
                    <a:pt x="116" y="434"/>
                  </a:lnTo>
                  <a:lnTo>
                    <a:pt x="116" y="431"/>
                  </a:lnTo>
                  <a:lnTo>
                    <a:pt x="110" y="431"/>
                  </a:lnTo>
                  <a:close/>
                  <a:moveTo>
                    <a:pt x="124" y="102"/>
                  </a:moveTo>
                  <a:lnTo>
                    <a:pt x="124" y="105"/>
                  </a:lnTo>
                  <a:cubicBezTo>
                    <a:pt x="127" y="102"/>
                    <a:pt x="127" y="102"/>
                    <a:pt x="127" y="99"/>
                  </a:cubicBezTo>
                  <a:cubicBezTo>
                    <a:pt x="124" y="94"/>
                    <a:pt x="122" y="91"/>
                    <a:pt x="113" y="88"/>
                  </a:cubicBezTo>
                  <a:lnTo>
                    <a:pt x="113" y="91"/>
                  </a:lnTo>
                  <a:lnTo>
                    <a:pt x="113" y="94"/>
                  </a:lnTo>
                  <a:cubicBezTo>
                    <a:pt x="116" y="94"/>
                    <a:pt x="119" y="96"/>
                    <a:pt x="122" y="96"/>
                  </a:cubicBezTo>
                  <a:cubicBezTo>
                    <a:pt x="122" y="99"/>
                    <a:pt x="124" y="99"/>
                    <a:pt x="124" y="102"/>
                  </a:cubicBezTo>
                  <a:close/>
                  <a:moveTo>
                    <a:pt x="116" y="274"/>
                  </a:moveTo>
                  <a:cubicBezTo>
                    <a:pt x="119" y="274"/>
                    <a:pt x="119" y="277"/>
                    <a:pt x="122" y="277"/>
                  </a:cubicBezTo>
                  <a:cubicBezTo>
                    <a:pt x="122" y="271"/>
                    <a:pt x="122" y="271"/>
                    <a:pt x="116" y="274"/>
                  </a:cubicBezTo>
                  <a:close/>
                  <a:moveTo>
                    <a:pt x="122" y="68"/>
                  </a:moveTo>
                  <a:cubicBezTo>
                    <a:pt x="122" y="65"/>
                    <a:pt x="122" y="65"/>
                    <a:pt x="116" y="65"/>
                  </a:cubicBezTo>
                  <a:cubicBezTo>
                    <a:pt x="119" y="68"/>
                    <a:pt x="119" y="68"/>
                    <a:pt x="122" y="68"/>
                  </a:cubicBezTo>
                  <a:close/>
                  <a:moveTo>
                    <a:pt x="119" y="263"/>
                  </a:moveTo>
                  <a:cubicBezTo>
                    <a:pt x="119" y="260"/>
                    <a:pt x="119" y="260"/>
                    <a:pt x="116" y="257"/>
                  </a:cubicBezTo>
                  <a:cubicBezTo>
                    <a:pt x="116" y="263"/>
                    <a:pt x="116" y="263"/>
                    <a:pt x="119" y="263"/>
                  </a:cubicBezTo>
                  <a:close/>
                  <a:moveTo>
                    <a:pt x="130" y="130"/>
                  </a:moveTo>
                  <a:lnTo>
                    <a:pt x="124" y="125"/>
                  </a:lnTo>
                  <a:lnTo>
                    <a:pt x="122" y="122"/>
                  </a:lnTo>
                  <a:lnTo>
                    <a:pt x="119" y="122"/>
                  </a:lnTo>
                  <a:cubicBezTo>
                    <a:pt x="122" y="127"/>
                    <a:pt x="122" y="127"/>
                    <a:pt x="124" y="127"/>
                  </a:cubicBezTo>
                  <a:cubicBezTo>
                    <a:pt x="127" y="127"/>
                    <a:pt x="127" y="130"/>
                    <a:pt x="127" y="133"/>
                  </a:cubicBezTo>
                  <a:lnTo>
                    <a:pt x="130" y="130"/>
                  </a:lnTo>
                  <a:close/>
                  <a:moveTo>
                    <a:pt x="133" y="119"/>
                  </a:moveTo>
                  <a:cubicBezTo>
                    <a:pt x="130" y="116"/>
                    <a:pt x="127" y="116"/>
                    <a:pt x="127" y="116"/>
                  </a:cubicBezTo>
                  <a:lnTo>
                    <a:pt x="124" y="119"/>
                  </a:lnTo>
                  <a:cubicBezTo>
                    <a:pt x="124" y="119"/>
                    <a:pt x="124" y="116"/>
                    <a:pt x="122" y="116"/>
                  </a:cubicBezTo>
                  <a:lnTo>
                    <a:pt x="119" y="113"/>
                  </a:lnTo>
                  <a:lnTo>
                    <a:pt x="116" y="113"/>
                  </a:lnTo>
                  <a:cubicBezTo>
                    <a:pt x="116" y="116"/>
                    <a:pt x="119" y="119"/>
                    <a:pt x="122" y="119"/>
                  </a:cubicBezTo>
                  <a:cubicBezTo>
                    <a:pt x="124" y="119"/>
                    <a:pt x="127" y="119"/>
                    <a:pt x="127" y="122"/>
                  </a:cubicBezTo>
                  <a:lnTo>
                    <a:pt x="133" y="119"/>
                  </a:lnTo>
                  <a:close/>
                  <a:moveTo>
                    <a:pt x="127" y="283"/>
                  </a:moveTo>
                  <a:lnTo>
                    <a:pt x="124" y="283"/>
                  </a:lnTo>
                  <a:lnTo>
                    <a:pt x="122" y="283"/>
                  </a:lnTo>
                  <a:lnTo>
                    <a:pt x="122" y="285"/>
                  </a:lnTo>
                  <a:cubicBezTo>
                    <a:pt x="124" y="288"/>
                    <a:pt x="127" y="288"/>
                    <a:pt x="130" y="291"/>
                  </a:cubicBezTo>
                  <a:cubicBezTo>
                    <a:pt x="133" y="288"/>
                    <a:pt x="133" y="285"/>
                    <a:pt x="136" y="285"/>
                  </a:cubicBezTo>
                  <a:lnTo>
                    <a:pt x="136" y="283"/>
                  </a:lnTo>
                  <a:lnTo>
                    <a:pt x="127" y="283"/>
                  </a:lnTo>
                  <a:close/>
                  <a:moveTo>
                    <a:pt x="122" y="437"/>
                  </a:moveTo>
                  <a:lnTo>
                    <a:pt x="127" y="437"/>
                  </a:lnTo>
                  <a:lnTo>
                    <a:pt x="127" y="434"/>
                  </a:lnTo>
                  <a:cubicBezTo>
                    <a:pt x="124" y="434"/>
                    <a:pt x="122" y="437"/>
                    <a:pt x="122" y="437"/>
                  </a:cubicBezTo>
                  <a:close/>
                  <a:moveTo>
                    <a:pt x="133" y="442"/>
                  </a:moveTo>
                  <a:cubicBezTo>
                    <a:pt x="133" y="442"/>
                    <a:pt x="133" y="440"/>
                    <a:pt x="136" y="440"/>
                  </a:cubicBezTo>
                  <a:cubicBezTo>
                    <a:pt x="133" y="440"/>
                    <a:pt x="130" y="440"/>
                    <a:pt x="130" y="437"/>
                  </a:cubicBezTo>
                  <a:lnTo>
                    <a:pt x="130" y="440"/>
                  </a:lnTo>
                  <a:cubicBezTo>
                    <a:pt x="127" y="442"/>
                    <a:pt x="130" y="442"/>
                    <a:pt x="133" y="442"/>
                  </a:cubicBezTo>
                  <a:close/>
                  <a:moveTo>
                    <a:pt x="127" y="299"/>
                  </a:moveTo>
                  <a:cubicBezTo>
                    <a:pt x="130" y="297"/>
                    <a:pt x="127" y="297"/>
                    <a:pt x="127" y="299"/>
                  </a:cubicBezTo>
                  <a:close/>
                  <a:moveTo>
                    <a:pt x="144" y="451"/>
                  </a:moveTo>
                  <a:lnTo>
                    <a:pt x="139" y="448"/>
                  </a:lnTo>
                  <a:cubicBezTo>
                    <a:pt x="136" y="448"/>
                    <a:pt x="136" y="445"/>
                    <a:pt x="133" y="445"/>
                  </a:cubicBezTo>
                  <a:lnTo>
                    <a:pt x="133" y="451"/>
                  </a:lnTo>
                  <a:cubicBezTo>
                    <a:pt x="139" y="456"/>
                    <a:pt x="141" y="456"/>
                    <a:pt x="144" y="451"/>
                  </a:cubicBezTo>
                  <a:close/>
                  <a:moveTo>
                    <a:pt x="136" y="299"/>
                  </a:moveTo>
                  <a:cubicBezTo>
                    <a:pt x="136" y="299"/>
                    <a:pt x="139" y="299"/>
                    <a:pt x="136" y="299"/>
                  </a:cubicBezTo>
                  <a:lnTo>
                    <a:pt x="141" y="299"/>
                  </a:lnTo>
                  <a:cubicBezTo>
                    <a:pt x="139" y="297"/>
                    <a:pt x="136" y="299"/>
                    <a:pt x="136" y="299"/>
                  </a:cubicBezTo>
                  <a:close/>
                  <a:moveTo>
                    <a:pt x="161" y="440"/>
                  </a:moveTo>
                  <a:cubicBezTo>
                    <a:pt x="158" y="437"/>
                    <a:pt x="156" y="437"/>
                    <a:pt x="153" y="434"/>
                  </a:cubicBezTo>
                  <a:lnTo>
                    <a:pt x="153" y="440"/>
                  </a:lnTo>
                  <a:lnTo>
                    <a:pt x="141" y="440"/>
                  </a:lnTo>
                  <a:lnTo>
                    <a:pt x="141" y="442"/>
                  </a:lnTo>
                  <a:cubicBezTo>
                    <a:pt x="144" y="442"/>
                    <a:pt x="147" y="442"/>
                    <a:pt x="150" y="445"/>
                  </a:cubicBezTo>
                  <a:lnTo>
                    <a:pt x="153" y="442"/>
                  </a:lnTo>
                  <a:lnTo>
                    <a:pt x="156" y="442"/>
                  </a:lnTo>
                  <a:lnTo>
                    <a:pt x="161" y="440"/>
                  </a:lnTo>
                  <a:close/>
                  <a:moveTo>
                    <a:pt x="147" y="305"/>
                  </a:moveTo>
                  <a:lnTo>
                    <a:pt x="150" y="305"/>
                  </a:lnTo>
                  <a:lnTo>
                    <a:pt x="150" y="302"/>
                  </a:lnTo>
                  <a:lnTo>
                    <a:pt x="150" y="299"/>
                  </a:lnTo>
                  <a:lnTo>
                    <a:pt x="147" y="299"/>
                  </a:lnTo>
                  <a:lnTo>
                    <a:pt x="147" y="305"/>
                  </a:lnTo>
                  <a:close/>
                  <a:moveTo>
                    <a:pt x="147" y="319"/>
                  </a:moveTo>
                  <a:lnTo>
                    <a:pt x="150" y="319"/>
                  </a:lnTo>
                  <a:cubicBezTo>
                    <a:pt x="150" y="316"/>
                    <a:pt x="150" y="316"/>
                    <a:pt x="147" y="314"/>
                  </a:cubicBezTo>
                  <a:lnTo>
                    <a:pt x="147" y="319"/>
                  </a:lnTo>
                  <a:close/>
                  <a:moveTo>
                    <a:pt x="147" y="342"/>
                  </a:moveTo>
                  <a:lnTo>
                    <a:pt x="153" y="342"/>
                  </a:lnTo>
                  <a:lnTo>
                    <a:pt x="153" y="339"/>
                  </a:lnTo>
                  <a:lnTo>
                    <a:pt x="147" y="342"/>
                  </a:lnTo>
                  <a:close/>
                  <a:moveTo>
                    <a:pt x="161" y="353"/>
                  </a:moveTo>
                  <a:cubicBezTo>
                    <a:pt x="158" y="350"/>
                    <a:pt x="156" y="350"/>
                    <a:pt x="153" y="350"/>
                  </a:cubicBezTo>
                  <a:lnTo>
                    <a:pt x="156" y="353"/>
                  </a:lnTo>
                  <a:lnTo>
                    <a:pt x="161" y="353"/>
                  </a:lnTo>
                  <a:close/>
                  <a:moveTo>
                    <a:pt x="158" y="342"/>
                  </a:moveTo>
                  <a:lnTo>
                    <a:pt x="156" y="342"/>
                  </a:lnTo>
                  <a:lnTo>
                    <a:pt x="156" y="345"/>
                  </a:lnTo>
                  <a:lnTo>
                    <a:pt x="158" y="342"/>
                  </a:lnTo>
                  <a:close/>
                  <a:moveTo>
                    <a:pt x="161" y="359"/>
                  </a:moveTo>
                  <a:lnTo>
                    <a:pt x="158" y="356"/>
                  </a:lnTo>
                  <a:lnTo>
                    <a:pt x="158" y="362"/>
                  </a:lnTo>
                  <a:lnTo>
                    <a:pt x="161" y="364"/>
                  </a:lnTo>
                  <a:lnTo>
                    <a:pt x="161" y="359"/>
                  </a:lnTo>
                  <a:close/>
                  <a:moveTo>
                    <a:pt x="170" y="425"/>
                  </a:moveTo>
                  <a:cubicBezTo>
                    <a:pt x="167" y="423"/>
                    <a:pt x="164" y="423"/>
                    <a:pt x="161" y="423"/>
                  </a:cubicBezTo>
                  <a:cubicBezTo>
                    <a:pt x="158" y="423"/>
                    <a:pt x="158" y="425"/>
                    <a:pt x="156" y="428"/>
                  </a:cubicBezTo>
                  <a:cubicBezTo>
                    <a:pt x="164" y="431"/>
                    <a:pt x="164" y="431"/>
                    <a:pt x="167" y="434"/>
                  </a:cubicBezTo>
                  <a:lnTo>
                    <a:pt x="170" y="431"/>
                  </a:lnTo>
                  <a:lnTo>
                    <a:pt x="167" y="428"/>
                  </a:lnTo>
                  <a:lnTo>
                    <a:pt x="170" y="425"/>
                  </a:lnTo>
                  <a:close/>
                  <a:moveTo>
                    <a:pt x="175" y="414"/>
                  </a:moveTo>
                  <a:cubicBezTo>
                    <a:pt x="175" y="411"/>
                    <a:pt x="172" y="411"/>
                    <a:pt x="172" y="409"/>
                  </a:cubicBezTo>
                  <a:cubicBezTo>
                    <a:pt x="170" y="409"/>
                    <a:pt x="164" y="410"/>
                    <a:pt x="161" y="407"/>
                  </a:cubicBezTo>
                  <a:lnTo>
                    <a:pt x="161" y="409"/>
                  </a:lnTo>
                  <a:cubicBezTo>
                    <a:pt x="164" y="409"/>
                    <a:pt x="167" y="409"/>
                    <a:pt x="167" y="411"/>
                  </a:cubicBezTo>
                  <a:cubicBezTo>
                    <a:pt x="170" y="411"/>
                    <a:pt x="172" y="411"/>
                    <a:pt x="175" y="414"/>
                  </a:cubicBezTo>
                  <a:close/>
                  <a:moveTo>
                    <a:pt x="167" y="417"/>
                  </a:moveTo>
                  <a:lnTo>
                    <a:pt x="167" y="414"/>
                  </a:lnTo>
                  <a:lnTo>
                    <a:pt x="164" y="414"/>
                  </a:lnTo>
                  <a:lnTo>
                    <a:pt x="164" y="420"/>
                  </a:lnTo>
                  <a:cubicBezTo>
                    <a:pt x="164" y="417"/>
                    <a:pt x="167" y="417"/>
                    <a:pt x="167" y="417"/>
                  </a:cubicBezTo>
                  <a:close/>
                  <a:moveTo>
                    <a:pt x="164" y="381"/>
                  </a:moveTo>
                  <a:lnTo>
                    <a:pt x="170" y="381"/>
                  </a:lnTo>
                  <a:cubicBezTo>
                    <a:pt x="172" y="381"/>
                    <a:pt x="172" y="381"/>
                    <a:pt x="170" y="376"/>
                  </a:cubicBezTo>
                  <a:lnTo>
                    <a:pt x="164" y="376"/>
                  </a:lnTo>
                  <a:lnTo>
                    <a:pt x="164" y="381"/>
                  </a:lnTo>
                  <a:close/>
                  <a:moveTo>
                    <a:pt x="172" y="387"/>
                  </a:moveTo>
                  <a:cubicBezTo>
                    <a:pt x="170" y="387"/>
                    <a:pt x="170" y="387"/>
                    <a:pt x="167" y="390"/>
                  </a:cubicBezTo>
                  <a:lnTo>
                    <a:pt x="164" y="390"/>
                  </a:lnTo>
                  <a:lnTo>
                    <a:pt x="167" y="393"/>
                  </a:lnTo>
                  <a:cubicBezTo>
                    <a:pt x="167" y="393"/>
                    <a:pt x="167" y="390"/>
                    <a:pt x="170" y="390"/>
                  </a:cubicBezTo>
                  <a:lnTo>
                    <a:pt x="172" y="387"/>
                  </a:lnTo>
                  <a:close/>
                  <a:moveTo>
                    <a:pt x="167" y="370"/>
                  </a:moveTo>
                  <a:lnTo>
                    <a:pt x="167" y="373"/>
                  </a:lnTo>
                  <a:lnTo>
                    <a:pt x="170" y="373"/>
                  </a:lnTo>
                  <a:lnTo>
                    <a:pt x="167" y="370"/>
                  </a:lnTo>
                  <a:close/>
                  <a:moveTo>
                    <a:pt x="167" y="364"/>
                  </a:moveTo>
                  <a:cubicBezTo>
                    <a:pt x="170" y="362"/>
                    <a:pt x="167" y="362"/>
                    <a:pt x="167" y="364"/>
                  </a:cubicBezTo>
                  <a:close/>
                  <a:moveTo>
                    <a:pt x="172" y="395"/>
                  </a:moveTo>
                  <a:cubicBezTo>
                    <a:pt x="170" y="395"/>
                    <a:pt x="170" y="398"/>
                    <a:pt x="172" y="39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4" name="Freeform 1462"/>
            <p:cNvSpPr>
              <a:spLocks noChangeArrowheads="1"/>
            </p:cNvSpPr>
            <p:nvPr/>
          </p:nvSpPr>
          <p:spPr bwMode="auto">
            <a:xfrm>
              <a:off x="4356100" y="2414588"/>
              <a:ext cx="69850" cy="176212"/>
            </a:xfrm>
            <a:custGeom>
              <a:avLst/>
              <a:gdLst>
                <a:gd name="T0" fmla="*/ 133 w 196"/>
                <a:gd name="T1" fmla="*/ 481 h 491"/>
                <a:gd name="T2" fmla="*/ 79 w 196"/>
                <a:gd name="T3" fmla="*/ 467 h 491"/>
                <a:gd name="T4" fmla="*/ 59 w 196"/>
                <a:gd name="T5" fmla="*/ 372 h 491"/>
                <a:gd name="T6" fmla="*/ 45 w 196"/>
                <a:gd name="T7" fmla="*/ 304 h 491"/>
                <a:gd name="T8" fmla="*/ 31 w 196"/>
                <a:gd name="T9" fmla="*/ 209 h 491"/>
                <a:gd name="T10" fmla="*/ 6 w 196"/>
                <a:gd name="T11" fmla="*/ 79 h 491"/>
                <a:gd name="T12" fmla="*/ 31 w 196"/>
                <a:gd name="T13" fmla="*/ 14 h 491"/>
                <a:gd name="T14" fmla="*/ 93 w 196"/>
                <a:gd name="T15" fmla="*/ 0 h 491"/>
                <a:gd name="T16" fmla="*/ 121 w 196"/>
                <a:gd name="T17" fmla="*/ 42 h 491"/>
                <a:gd name="T18" fmla="*/ 68 w 196"/>
                <a:gd name="T19" fmla="*/ 68 h 491"/>
                <a:gd name="T20" fmla="*/ 73 w 196"/>
                <a:gd name="T21" fmla="*/ 155 h 491"/>
                <a:gd name="T22" fmla="*/ 85 w 196"/>
                <a:gd name="T23" fmla="*/ 206 h 491"/>
                <a:gd name="T24" fmla="*/ 116 w 196"/>
                <a:gd name="T25" fmla="*/ 273 h 491"/>
                <a:gd name="T26" fmla="*/ 107 w 196"/>
                <a:gd name="T27" fmla="*/ 381 h 491"/>
                <a:gd name="T28" fmla="*/ 127 w 196"/>
                <a:gd name="T29" fmla="*/ 426 h 491"/>
                <a:gd name="T30" fmla="*/ 175 w 196"/>
                <a:gd name="T31" fmla="*/ 417 h 491"/>
                <a:gd name="T32" fmla="*/ 28 w 196"/>
                <a:gd name="T33" fmla="*/ 51 h 491"/>
                <a:gd name="T34" fmla="*/ 28 w 196"/>
                <a:gd name="T35" fmla="*/ 56 h 491"/>
                <a:gd name="T36" fmla="*/ 45 w 196"/>
                <a:gd name="T37" fmla="*/ 73 h 491"/>
                <a:gd name="T38" fmla="*/ 28 w 196"/>
                <a:gd name="T39" fmla="*/ 73 h 491"/>
                <a:gd name="T40" fmla="*/ 31 w 196"/>
                <a:gd name="T41" fmla="*/ 107 h 491"/>
                <a:gd name="T42" fmla="*/ 59 w 196"/>
                <a:gd name="T43" fmla="*/ 53 h 491"/>
                <a:gd name="T44" fmla="*/ 45 w 196"/>
                <a:gd name="T45" fmla="*/ 39 h 491"/>
                <a:gd name="T46" fmla="*/ 42 w 196"/>
                <a:gd name="T47" fmla="*/ 118 h 491"/>
                <a:gd name="T48" fmla="*/ 45 w 196"/>
                <a:gd name="T49" fmla="*/ 132 h 491"/>
                <a:gd name="T50" fmla="*/ 42 w 196"/>
                <a:gd name="T51" fmla="*/ 73 h 491"/>
                <a:gd name="T52" fmla="*/ 42 w 196"/>
                <a:gd name="T53" fmla="*/ 101 h 491"/>
                <a:gd name="T54" fmla="*/ 51 w 196"/>
                <a:gd name="T55" fmla="*/ 192 h 491"/>
                <a:gd name="T56" fmla="*/ 54 w 196"/>
                <a:gd name="T57" fmla="*/ 172 h 491"/>
                <a:gd name="T58" fmla="*/ 45 w 196"/>
                <a:gd name="T59" fmla="*/ 166 h 491"/>
                <a:gd name="T60" fmla="*/ 51 w 196"/>
                <a:gd name="T61" fmla="*/ 214 h 491"/>
                <a:gd name="T62" fmla="*/ 68 w 196"/>
                <a:gd name="T63" fmla="*/ 42 h 491"/>
                <a:gd name="T64" fmla="*/ 62 w 196"/>
                <a:gd name="T65" fmla="*/ 36 h 491"/>
                <a:gd name="T66" fmla="*/ 59 w 196"/>
                <a:gd name="T67" fmla="*/ 225 h 491"/>
                <a:gd name="T68" fmla="*/ 65 w 196"/>
                <a:gd name="T69" fmla="*/ 251 h 491"/>
                <a:gd name="T70" fmla="*/ 65 w 196"/>
                <a:gd name="T71" fmla="*/ 254 h 491"/>
                <a:gd name="T72" fmla="*/ 65 w 196"/>
                <a:gd name="T73" fmla="*/ 259 h 491"/>
                <a:gd name="T74" fmla="*/ 65 w 196"/>
                <a:gd name="T75" fmla="*/ 211 h 491"/>
                <a:gd name="T76" fmla="*/ 76 w 196"/>
                <a:gd name="T77" fmla="*/ 304 h 491"/>
                <a:gd name="T78" fmla="*/ 76 w 196"/>
                <a:gd name="T79" fmla="*/ 313 h 491"/>
                <a:gd name="T80" fmla="*/ 68 w 196"/>
                <a:gd name="T81" fmla="*/ 302 h 491"/>
                <a:gd name="T82" fmla="*/ 73 w 196"/>
                <a:gd name="T83" fmla="*/ 338 h 491"/>
                <a:gd name="T84" fmla="*/ 70 w 196"/>
                <a:gd name="T85" fmla="*/ 276 h 491"/>
                <a:gd name="T86" fmla="*/ 70 w 196"/>
                <a:gd name="T87" fmla="*/ 285 h 491"/>
                <a:gd name="T88" fmla="*/ 85 w 196"/>
                <a:gd name="T89" fmla="*/ 36 h 491"/>
                <a:gd name="T90" fmla="*/ 73 w 196"/>
                <a:gd name="T91" fmla="*/ 28 h 491"/>
                <a:gd name="T92" fmla="*/ 76 w 196"/>
                <a:gd name="T93" fmla="*/ 245 h 491"/>
                <a:gd name="T94" fmla="*/ 96 w 196"/>
                <a:gd name="T95" fmla="*/ 237 h 491"/>
                <a:gd name="T96" fmla="*/ 85 w 196"/>
                <a:gd name="T97" fmla="*/ 347 h 491"/>
                <a:gd name="T98" fmla="*/ 87 w 196"/>
                <a:gd name="T99" fmla="*/ 431 h 491"/>
                <a:gd name="T100" fmla="*/ 93 w 196"/>
                <a:gd name="T101" fmla="*/ 381 h 491"/>
                <a:gd name="T102" fmla="*/ 87 w 196"/>
                <a:gd name="T103" fmla="*/ 257 h 491"/>
                <a:gd name="T104" fmla="*/ 93 w 196"/>
                <a:gd name="T105" fmla="*/ 400 h 491"/>
                <a:gd name="T106" fmla="*/ 99 w 196"/>
                <a:gd name="T107" fmla="*/ 250 h 491"/>
                <a:gd name="T108" fmla="*/ 96 w 196"/>
                <a:gd name="T109" fmla="*/ 445 h 491"/>
                <a:gd name="T110" fmla="*/ 100 w 196"/>
                <a:gd name="T111" fmla="*/ 438 h 491"/>
                <a:gd name="T112" fmla="*/ 110 w 196"/>
                <a:gd name="T113" fmla="*/ 446 h 491"/>
                <a:gd name="T114" fmla="*/ 116 w 196"/>
                <a:gd name="T115" fmla="*/ 459 h 491"/>
                <a:gd name="T116" fmla="*/ 118 w 196"/>
                <a:gd name="T117" fmla="*/ 447 h 491"/>
                <a:gd name="T118" fmla="*/ 138 w 196"/>
                <a:gd name="T119" fmla="*/ 445 h 491"/>
                <a:gd name="T120" fmla="*/ 155 w 196"/>
                <a:gd name="T121" fmla="*/ 453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6" h="491">
                  <a:moveTo>
                    <a:pt x="192" y="434"/>
                  </a:moveTo>
                  <a:cubicBezTo>
                    <a:pt x="189" y="437"/>
                    <a:pt x="189" y="443"/>
                    <a:pt x="192" y="445"/>
                  </a:cubicBezTo>
                  <a:cubicBezTo>
                    <a:pt x="192" y="450"/>
                    <a:pt x="195" y="453"/>
                    <a:pt x="195" y="459"/>
                  </a:cubicBezTo>
                  <a:cubicBezTo>
                    <a:pt x="192" y="464"/>
                    <a:pt x="189" y="467"/>
                    <a:pt x="186" y="473"/>
                  </a:cubicBezTo>
                  <a:cubicBezTo>
                    <a:pt x="183" y="473"/>
                    <a:pt x="178" y="473"/>
                    <a:pt x="175" y="476"/>
                  </a:cubicBezTo>
                  <a:lnTo>
                    <a:pt x="164" y="476"/>
                  </a:lnTo>
                  <a:cubicBezTo>
                    <a:pt x="158" y="476"/>
                    <a:pt x="152" y="476"/>
                    <a:pt x="147" y="478"/>
                  </a:cubicBezTo>
                  <a:cubicBezTo>
                    <a:pt x="141" y="481"/>
                    <a:pt x="139" y="481"/>
                    <a:pt x="133" y="481"/>
                  </a:cubicBezTo>
                  <a:cubicBezTo>
                    <a:pt x="128" y="481"/>
                    <a:pt x="121" y="481"/>
                    <a:pt x="118" y="484"/>
                  </a:cubicBezTo>
                  <a:lnTo>
                    <a:pt x="116" y="484"/>
                  </a:lnTo>
                  <a:lnTo>
                    <a:pt x="113" y="484"/>
                  </a:lnTo>
                  <a:cubicBezTo>
                    <a:pt x="110" y="487"/>
                    <a:pt x="107" y="487"/>
                    <a:pt x="104" y="487"/>
                  </a:cubicBezTo>
                  <a:cubicBezTo>
                    <a:pt x="102" y="487"/>
                    <a:pt x="99" y="487"/>
                    <a:pt x="93" y="490"/>
                  </a:cubicBezTo>
                  <a:cubicBezTo>
                    <a:pt x="85" y="487"/>
                    <a:pt x="85" y="487"/>
                    <a:pt x="79" y="478"/>
                  </a:cubicBezTo>
                  <a:lnTo>
                    <a:pt x="79" y="473"/>
                  </a:lnTo>
                  <a:lnTo>
                    <a:pt x="79" y="467"/>
                  </a:lnTo>
                  <a:cubicBezTo>
                    <a:pt x="76" y="464"/>
                    <a:pt x="76" y="459"/>
                    <a:pt x="73" y="456"/>
                  </a:cubicBezTo>
                  <a:cubicBezTo>
                    <a:pt x="70" y="453"/>
                    <a:pt x="70" y="447"/>
                    <a:pt x="73" y="446"/>
                  </a:cubicBezTo>
                  <a:lnTo>
                    <a:pt x="73" y="443"/>
                  </a:lnTo>
                  <a:lnTo>
                    <a:pt x="73" y="440"/>
                  </a:lnTo>
                  <a:cubicBezTo>
                    <a:pt x="73" y="437"/>
                    <a:pt x="70" y="434"/>
                    <a:pt x="70" y="431"/>
                  </a:cubicBezTo>
                  <a:cubicBezTo>
                    <a:pt x="68" y="429"/>
                    <a:pt x="68" y="426"/>
                    <a:pt x="70" y="423"/>
                  </a:cubicBezTo>
                  <a:cubicBezTo>
                    <a:pt x="65" y="412"/>
                    <a:pt x="62" y="403"/>
                    <a:pt x="62" y="395"/>
                  </a:cubicBezTo>
                  <a:cubicBezTo>
                    <a:pt x="62" y="386"/>
                    <a:pt x="62" y="378"/>
                    <a:pt x="59" y="372"/>
                  </a:cubicBezTo>
                  <a:cubicBezTo>
                    <a:pt x="59" y="369"/>
                    <a:pt x="59" y="367"/>
                    <a:pt x="56" y="367"/>
                  </a:cubicBezTo>
                  <a:cubicBezTo>
                    <a:pt x="54" y="364"/>
                    <a:pt x="54" y="358"/>
                    <a:pt x="54" y="352"/>
                  </a:cubicBezTo>
                  <a:cubicBezTo>
                    <a:pt x="54" y="350"/>
                    <a:pt x="54" y="347"/>
                    <a:pt x="51" y="347"/>
                  </a:cubicBezTo>
                  <a:cubicBezTo>
                    <a:pt x="48" y="344"/>
                    <a:pt x="48" y="341"/>
                    <a:pt x="51" y="338"/>
                  </a:cubicBezTo>
                  <a:cubicBezTo>
                    <a:pt x="54" y="335"/>
                    <a:pt x="54" y="333"/>
                    <a:pt x="51" y="330"/>
                  </a:cubicBezTo>
                  <a:cubicBezTo>
                    <a:pt x="51" y="327"/>
                    <a:pt x="48" y="324"/>
                    <a:pt x="48" y="321"/>
                  </a:cubicBezTo>
                  <a:lnTo>
                    <a:pt x="48" y="313"/>
                  </a:lnTo>
                  <a:cubicBezTo>
                    <a:pt x="48" y="310"/>
                    <a:pt x="45" y="307"/>
                    <a:pt x="45" y="304"/>
                  </a:cubicBezTo>
                  <a:lnTo>
                    <a:pt x="45" y="299"/>
                  </a:lnTo>
                  <a:lnTo>
                    <a:pt x="45" y="276"/>
                  </a:lnTo>
                  <a:cubicBezTo>
                    <a:pt x="42" y="268"/>
                    <a:pt x="42" y="262"/>
                    <a:pt x="39" y="254"/>
                  </a:cubicBezTo>
                  <a:lnTo>
                    <a:pt x="39" y="248"/>
                  </a:lnTo>
                  <a:lnTo>
                    <a:pt x="39" y="242"/>
                  </a:lnTo>
                  <a:cubicBezTo>
                    <a:pt x="42" y="242"/>
                    <a:pt x="39" y="237"/>
                    <a:pt x="39" y="237"/>
                  </a:cubicBezTo>
                  <a:cubicBezTo>
                    <a:pt x="37" y="231"/>
                    <a:pt x="34" y="225"/>
                    <a:pt x="34" y="223"/>
                  </a:cubicBezTo>
                  <a:cubicBezTo>
                    <a:pt x="34" y="217"/>
                    <a:pt x="34" y="211"/>
                    <a:pt x="31" y="209"/>
                  </a:cubicBezTo>
                  <a:lnTo>
                    <a:pt x="25" y="183"/>
                  </a:lnTo>
                  <a:cubicBezTo>
                    <a:pt x="25" y="180"/>
                    <a:pt x="26" y="180"/>
                    <a:pt x="23" y="178"/>
                  </a:cubicBezTo>
                  <a:cubicBezTo>
                    <a:pt x="21" y="175"/>
                    <a:pt x="20" y="169"/>
                    <a:pt x="23" y="166"/>
                  </a:cubicBezTo>
                  <a:lnTo>
                    <a:pt x="23" y="161"/>
                  </a:lnTo>
                  <a:cubicBezTo>
                    <a:pt x="23" y="152"/>
                    <a:pt x="20" y="144"/>
                    <a:pt x="17" y="135"/>
                  </a:cubicBezTo>
                  <a:cubicBezTo>
                    <a:pt x="14" y="127"/>
                    <a:pt x="11" y="115"/>
                    <a:pt x="11" y="104"/>
                  </a:cubicBezTo>
                  <a:cubicBezTo>
                    <a:pt x="11" y="101"/>
                    <a:pt x="11" y="99"/>
                    <a:pt x="8" y="96"/>
                  </a:cubicBezTo>
                  <a:cubicBezTo>
                    <a:pt x="6" y="90"/>
                    <a:pt x="6" y="84"/>
                    <a:pt x="6" y="79"/>
                  </a:cubicBezTo>
                  <a:cubicBezTo>
                    <a:pt x="6" y="73"/>
                    <a:pt x="6" y="65"/>
                    <a:pt x="3" y="59"/>
                  </a:cubicBezTo>
                  <a:cubicBezTo>
                    <a:pt x="3" y="56"/>
                    <a:pt x="0" y="51"/>
                    <a:pt x="0" y="48"/>
                  </a:cubicBezTo>
                  <a:lnTo>
                    <a:pt x="0" y="36"/>
                  </a:lnTo>
                  <a:lnTo>
                    <a:pt x="0" y="31"/>
                  </a:lnTo>
                  <a:lnTo>
                    <a:pt x="0" y="28"/>
                  </a:lnTo>
                  <a:cubicBezTo>
                    <a:pt x="3" y="22"/>
                    <a:pt x="8" y="20"/>
                    <a:pt x="14" y="17"/>
                  </a:cubicBezTo>
                  <a:lnTo>
                    <a:pt x="23" y="14"/>
                  </a:lnTo>
                  <a:lnTo>
                    <a:pt x="31" y="14"/>
                  </a:lnTo>
                  <a:cubicBezTo>
                    <a:pt x="34" y="14"/>
                    <a:pt x="37" y="14"/>
                    <a:pt x="37" y="11"/>
                  </a:cubicBezTo>
                  <a:lnTo>
                    <a:pt x="42" y="11"/>
                  </a:lnTo>
                  <a:lnTo>
                    <a:pt x="48" y="8"/>
                  </a:lnTo>
                  <a:cubicBezTo>
                    <a:pt x="51" y="5"/>
                    <a:pt x="54" y="5"/>
                    <a:pt x="59" y="5"/>
                  </a:cubicBezTo>
                  <a:cubicBezTo>
                    <a:pt x="62" y="8"/>
                    <a:pt x="65" y="8"/>
                    <a:pt x="68" y="5"/>
                  </a:cubicBezTo>
                  <a:lnTo>
                    <a:pt x="76" y="5"/>
                  </a:lnTo>
                  <a:cubicBezTo>
                    <a:pt x="79" y="8"/>
                    <a:pt x="82" y="5"/>
                    <a:pt x="87" y="3"/>
                  </a:cubicBezTo>
                  <a:cubicBezTo>
                    <a:pt x="87" y="0"/>
                    <a:pt x="90" y="0"/>
                    <a:pt x="93" y="0"/>
                  </a:cubicBezTo>
                  <a:lnTo>
                    <a:pt x="102" y="0"/>
                  </a:lnTo>
                  <a:lnTo>
                    <a:pt x="113" y="0"/>
                  </a:lnTo>
                  <a:lnTo>
                    <a:pt x="121" y="11"/>
                  </a:lnTo>
                  <a:lnTo>
                    <a:pt x="118" y="14"/>
                  </a:lnTo>
                  <a:lnTo>
                    <a:pt x="118" y="20"/>
                  </a:lnTo>
                  <a:lnTo>
                    <a:pt x="118" y="25"/>
                  </a:lnTo>
                  <a:lnTo>
                    <a:pt x="118" y="31"/>
                  </a:lnTo>
                  <a:cubicBezTo>
                    <a:pt x="124" y="34"/>
                    <a:pt x="124" y="39"/>
                    <a:pt x="121" y="42"/>
                  </a:cubicBezTo>
                  <a:cubicBezTo>
                    <a:pt x="118" y="45"/>
                    <a:pt x="118" y="51"/>
                    <a:pt x="118" y="53"/>
                  </a:cubicBezTo>
                  <a:lnTo>
                    <a:pt x="113" y="53"/>
                  </a:lnTo>
                  <a:lnTo>
                    <a:pt x="110" y="53"/>
                  </a:lnTo>
                  <a:cubicBezTo>
                    <a:pt x="107" y="56"/>
                    <a:pt x="105" y="56"/>
                    <a:pt x="102" y="56"/>
                  </a:cubicBezTo>
                  <a:cubicBezTo>
                    <a:pt x="100" y="56"/>
                    <a:pt x="96" y="56"/>
                    <a:pt x="93" y="59"/>
                  </a:cubicBezTo>
                  <a:cubicBezTo>
                    <a:pt x="87" y="62"/>
                    <a:pt x="85" y="65"/>
                    <a:pt x="79" y="65"/>
                  </a:cubicBezTo>
                  <a:lnTo>
                    <a:pt x="73" y="65"/>
                  </a:lnTo>
                  <a:cubicBezTo>
                    <a:pt x="73" y="68"/>
                    <a:pt x="70" y="68"/>
                    <a:pt x="68" y="68"/>
                  </a:cubicBezTo>
                  <a:cubicBezTo>
                    <a:pt x="65" y="68"/>
                    <a:pt x="65" y="70"/>
                    <a:pt x="65" y="70"/>
                  </a:cubicBezTo>
                  <a:cubicBezTo>
                    <a:pt x="65" y="73"/>
                    <a:pt x="65" y="76"/>
                    <a:pt x="62" y="79"/>
                  </a:cubicBezTo>
                  <a:lnTo>
                    <a:pt x="62" y="87"/>
                  </a:lnTo>
                  <a:cubicBezTo>
                    <a:pt x="62" y="90"/>
                    <a:pt x="65" y="93"/>
                    <a:pt x="65" y="99"/>
                  </a:cubicBezTo>
                  <a:cubicBezTo>
                    <a:pt x="65" y="101"/>
                    <a:pt x="68" y="107"/>
                    <a:pt x="68" y="110"/>
                  </a:cubicBezTo>
                  <a:cubicBezTo>
                    <a:pt x="70" y="115"/>
                    <a:pt x="70" y="121"/>
                    <a:pt x="68" y="127"/>
                  </a:cubicBezTo>
                  <a:cubicBezTo>
                    <a:pt x="68" y="132"/>
                    <a:pt x="68" y="138"/>
                    <a:pt x="70" y="141"/>
                  </a:cubicBezTo>
                  <a:cubicBezTo>
                    <a:pt x="73" y="146"/>
                    <a:pt x="73" y="152"/>
                    <a:pt x="73" y="155"/>
                  </a:cubicBezTo>
                  <a:lnTo>
                    <a:pt x="73" y="158"/>
                  </a:lnTo>
                  <a:lnTo>
                    <a:pt x="73" y="161"/>
                  </a:lnTo>
                  <a:cubicBezTo>
                    <a:pt x="76" y="163"/>
                    <a:pt x="76" y="166"/>
                    <a:pt x="76" y="169"/>
                  </a:cubicBezTo>
                  <a:cubicBezTo>
                    <a:pt x="76" y="172"/>
                    <a:pt x="76" y="175"/>
                    <a:pt x="79" y="178"/>
                  </a:cubicBezTo>
                  <a:cubicBezTo>
                    <a:pt x="82" y="180"/>
                    <a:pt x="82" y="183"/>
                    <a:pt x="82" y="186"/>
                  </a:cubicBezTo>
                  <a:lnTo>
                    <a:pt x="82" y="192"/>
                  </a:lnTo>
                  <a:cubicBezTo>
                    <a:pt x="82" y="194"/>
                    <a:pt x="85" y="197"/>
                    <a:pt x="82" y="200"/>
                  </a:cubicBezTo>
                  <a:cubicBezTo>
                    <a:pt x="85" y="200"/>
                    <a:pt x="85" y="203"/>
                    <a:pt x="85" y="206"/>
                  </a:cubicBezTo>
                  <a:lnTo>
                    <a:pt x="85" y="211"/>
                  </a:lnTo>
                  <a:cubicBezTo>
                    <a:pt x="87" y="217"/>
                    <a:pt x="96" y="223"/>
                    <a:pt x="104" y="220"/>
                  </a:cubicBezTo>
                  <a:lnTo>
                    <a:pt x="110" y="220"/>
                  </a:lnTo>
                  <a:lnTo>
                    <a:pt x="116" y="220"/>
                  </a:lnTo>
                  <a:cubicBezTo>
                    <a:pt x="118" y="220"/>
                    <a:pt x="118" y="223"/>
                    <a:pt x="121" y="223"/>
                  </a:cubicBezTo>
                  <a:lnTo>
                    <a:pt x="127" y="228"/>
                  </a:lnTo>
                  <a:lnTo>
                    <a:pt x="133" y="262"/>
                  </a:lnTo>
                  <a:cubicBezTo>
                    <a:pt x="130" y="268"/>
                    <a:pt x="124" y="273"/>
                    <a:pt x="116" y="273"/>
                  </a:cubicBezTo>
                  <a:cubicBezTo>
                    <a:pt x="110" y="273"/>
                    <a:pt x="104" y="276"/>
                    <a:pt x="99" y="279"/>
                  </a:cubicBezTo>
                  <a:cubicBezTo>
                    <a:pt x="96" y="282"/>
                    <a:pt x="96" y="288"/>
                    <a:pt x="96" y="290"/>
                  </a:cubicBezTo>
                  <a:lnTo>
                    <a:pt x="96" y="310"/>
                  </a:lnTo>
                  <a:lnTo>
                    <a:pt x="96" y="316"/>
                  </a:lnTo>
                  <a:cubicBezTo>
                    <a:pt x="99" y="319"/>
                    <a:pt x="99" y="319"/>
                    <a:pt x="99" y="321"/>
                  </a:cubicBezTo>
                  <a:lnTo>
                    <a:pt x="104" y="352"/>
                  </a:lnTo>
                  <a:lnTo>
                    <a:pt x="102" y="355"/>
                  </a:lnTo>
                  <a:cubicBezTo>
                    <a:pt x="104" y="364"/>
                    <a:pt x="107" y="372"/>
                    <a:pt x="107" y="381"/>
                  </a:cubicBezTo>
                  <a:lnTo>
                    <a:pt x="107" y="383"/>
                  </a:lnTo>
                  <a:lnTo>
                    <a:pt x="107" y="386"/>
                  </a:lnTo>
                  <a:cubicBezTo>
                    <a:pt x="107" y="389"/>
                    <a:pt x="107" y="392"/>
                    <a:pt x="110" y="392"/>
                  </a:cubicBezTo>
                  <a:cubicBezTo>
                    <a:pt x="113" y="395"/>
                    <a:pt x="113" y="398"/>
                    <a:pt x="110" y="400"/>
                  </a:cubicBezTo>
                  <a:lnTo>
                    <a:pt x="110" y="409"/>
                  </a:lnTo>
                  <a:cubicBezTo>
                    <a:pt x="110" y="414"/>
                    <a:pt x="113" y="417"/>
                    <a:pt x="113" y="423"/>
                  </a:cubicBezTo>
                  <a:lnTo>
                    <a:pt x="118" y="423"/>
                  </a:lnTo>
                  <a:cubicBezTo>
                    <a:pt x="121" y="423"/>
                    <a:pt x="124" y="423"/>
                    <a:pt x="127" y="426"/>
                  </a:cubicBezTo>
                  <a:cubicBezTo>
                    <a:pt x="130" y="429"/>
                    <a:pt x="133" y="429"/>
                    <a:pt x="138" y="429"/>
                  </a:cubicBezTo>
                  <a:lnTo>
                    <a:pt x="141" y="429"/>
                  </a:lnTo>
                  <a:lnTo>
                    <a:pt x="144" y="429"/>
                  </a:lnTo>
                  <a:cubicBezTo>
                    <a:pt x="147" y="429"/>
                    <a:pt x="147" y="429"/>
                    <a:pt x="149" y="426"/>
                  </a:cubicBezTo>
                  <a:cubicBezTo>
                    <a:pt x="152" y="426"/>
                    <a:pt x="152" y="426"/>
                    <a:pt x="155" y="423"/>
                  </a:cubicBezTo>
                  <a:cubicBezTo>
                    <a:pt x="158" y="423"/>
                    <a:pt x="158" y="423"/>
                    <a:pt x="161" y="420"/>
                  </a:cubicBezTo>
                  <a:cubicBezTo>
                    <a:pt x="164" y="420"/>
                    <a:pt x="164" y="420"/>
                    <a:pt x="166" y="417"/>
                  </a:cubicBezTo>
                  <a:cubicBezTo>
                    <a:pt x="169" y="414"/>
                    <a:pt x="172" y="414"/>
                    <a:pt x="175" y="417"/>
                  </a:cubicBezTo>
                  <a:lnTo>
                    <a:pt x="181" y="417"/>
                  </a:lnTo>
                  <a:lnTo>
                    <a:pt x="186" y="417"/>
                  </a:lnTo>
                  <a:lnTo>
                    <a:pt x="195" y="426"/>
                  </a:lnTo>
                  <a:cubicBezTo>
                    <a:pt x="192" y="431"/>
                    <a:pt x="192" y="431"/>
                    <a:pt x="192" y="434"/>
                  </a:cubicBezTo>
                  <a:close/>
                  <a:moveTo>
                    <a:pt x="20" y="42"/>
                  </a:moveTo>
                  <a:lnTo>
                    <a:pt x="23" y="48"/>
                  </a:lnTo>
                  <a:cubicBezTo>
                    <a:pt x="23" y="51"/>
                    <a:pt x="23" y="51"/>
                    <a:pt x="25" y="53"/>
                  </a:cubicBezTo>
                  <a:cubicBezTo>
                    <a:pt x="25" y="53"/>
                    <a:pt x="28" y="53"/>
                    <a:pt x="28" y="51"/>
                  </a:cubicBezTo>
                  <a:lnTo>
                    <a:pt x="31" y="48"/>
                  </a:lnTo>
                  <a:lnTo>
                    <a:pt x="31" y="39"/>
                  </a:lnTo>
                  <a:lnTo>
                    <a:pt x="31" y="31"/>
                  </a:lnTo>
                  <a:lnTo>
                    <a:pt x="25" y="36"/>
                  </a:lnTo>
                  <a:lnTo>
                    <a:pt x="20" y="42"/>
                  </a:lnTo>
                  <a:close/>
                  <a:moveTo>
                    <a:pt x="37" y="59"/>
                  </a:moveTo>
                  <a:lnTo>
                    <a:pt x="34" y="56"/>
                  </a:lnTo>
                  <a:lnTo>
                    <a:pt x="28" y="56"/>
                  </a:lnTo>
                  <a:lnTo>
                    <a:pt x="31" y="70"/>
                  </a:lnTo>
                  <a:lnTo>
                    <a:pt x="34" y="70"/>
                  </a:lnTo>
                  <a:lnTo>
                    <a:pt x="37" y="73"/>
                  </a:lnTo>
                  <a:cubicBezTo>
                    <a:pt x="38" y="75"/>
                    <a:pt x="40" y="74"/>
                    <a:pt x="42" y="74"/>
                  </a:cubicBezTo>
                  <a:lnTo>
                    <a:pt x="42" y="73"/>
                  </a:lnTo>
                  <a:lnTo>
                    <a:pt x="42" y="74"/>
                  </a:lnTo>
                  <a:lnTo>
                    <a:pt x="43" y="74"/>
                  </a:lnTo>
                  <a:cubicBezTo>
                    <a:pt x="44" y="73"/>
                    <a:pt x="44" y="73"/>
                    <a:pt x="45" y="73"/>
                  </a:cubicBezTo>
                  <a:lnTo>
                    <a:pt x="45" y="72"/>
                  </a:lnTo>
                  <a:cubicBezTo>
                    <a:pt x="45" y="72"/>
                    <a:pt x="45" y="72"/>
                    <a:pt x="45" y="70"/>
                  </a:cubicBezTo>
                  <a:lnTo>
                    <a:pt x="45" y="68"/>
                  </a:lnTo>
                  <a:lnTo>
                    <a:pt x="42" y="70"/>
                  </a:lnTo>
                  <a:cubicBezTo>
                    <a:pt x="42" y="70"/>
                    <a:pt x="39" y="70"/>
                    <a:pt x="39" y="73"/>
                  </a:cubicBezTo>
                  <a:lnTo>
                    <a:pt x="39" y="70"/>
                  </a:lnTo>
                  <a:cubicBezTo>
                    <a:pt x="37" y="65"/>
                    <a:pt x="37" y="65"/>
                    <a:pt x="37" y="59"/>
                  </a:cubicBezTo>
                  <a:close/>
                  <a:moveTo>
                    <a:pt x="28" y="73"/>
                  </a:moveTo>
                  <a:lnTo>
                    <a:pt x="28" y="76"/>
                  </a:lnTo>
                  <a:lnTo>
                    <a:pt x="31" y="76"/>
                  </a:lnTo>
                  <a:lnTo>
                    <a:pt x="34" y="76"/>
                  </a:lnTo>
                  <a:lnTo>
                    <a:pt x="28" y="73"/>
                  </a:lnTo>
                  <a:close/>
                  <a:moveTo>
                    <a:pt x="28" y="84"/>
                  </a:moveTo>
                  <a:cubicBezTo>
                    <a:pt x="34" y="84"/>
                    <a:pt x="34" y="82"/>
                    <a:pt x="31" y="79"/>
                  </a:cubicBezTo>
                  <a:lnTo>
                    <a:pt x="28" y="84"/>
                  </a:lnTo>
                  <a:close/>
                  <a:moveTo>
                    <a:pt x="31" y="107"/>
                  </a:moveTo>
                  <a:lnTo>
                    <a:pt x="34" y="107"/>
                  </a:lnTo>
                  <a:lnTo>
                    <a:pt x="34" y="104"/>
                  </a:lnTo>
                  <a:cubicBezTo>
                    <a:pt x="34" y="104"/>
                    <a:pt x="31" y="104"/>
                    <a:pt x="31" y="107"/>
                  </a:cubicBezTo>
                  <a:close/>
                  <a:moveTo>
                    <a:pt x="31" y="48"/>
                  </a:moveTo>
                  <a:lnTo>
                    <a:pt x="31" y="53"/>
                  </a:lnTo>
                  <a:lnTo>
                    <a:pt x="39" y="59"/>
                  </a:lnTo>
                  <a:lnTo>
                    <a:pt x="48" y="56"/>
                  </a:lnTo>
                  <a:cubicBezTo>
                    <a:pt x="51" y="56"/>
                    <a:pt x="54" y="53"/>
                    <a:pt x="59" y="53"/>
                  </a:cubicBezTo>
                  <a:lnTo>
                    <a:pt x="59" y="51"/>
                  </a:lnTo>
                  <a:lnTo>
                    <a:pt x="59" y="48"/>
                  </a:lnTo>
                  <a:cubicBezTo>
                    <a:pt x="56" y="45"/>
                    <a:pt x="56" y="45"/>
                    <a:pt x="56" y="48"/>
                  </a:cubicBezTo>
                  <a:cubicBezTo>
                    <a:pt x="54" y="51"/>
                    <a:pt x="54" y="51"/>
                    <a:pt x="54" y="48"/>
                  </a:cubicBezTo>
                  <a:lnTo>
                    <a:pt x="45" y="53"/>
                  </a:lnTo>
                  <a:lnTo>
                    <a:pt x="45" y="48"/>
                  </a:lnTo>
                  <a:lnTo>
                    <a:pt x="45" y="42"/>
                  </a:lnTo>
                  <a:lnTo>
                    <a:pt x="45" y="39"/>
                  </a:lnTo>
                  <a:lnTo>
                    <a:pt x="37" y="39"/>
                  </a:lnTo>
                  <a:lnTo>
                    <a:pt x="37" y="48"/>
                  </a:lnTo>
                  <a:lnTo>
                    <a:pt x="31" y="48"/>
                  </a:lnTo>
                  <a:close/>
                  <a:moveTo>
                    <a:pt x="37" y="107"/>
                  </a:moveTo>
                  <a:lnTo>
                    <a:pt x="39" y="104"/>
                  </a:lnTo>
                  <a:cubicBezTo>
                    <a:pt x="37" y="104"/>
                    <a:pt x="37" y="104"/>
                    <a:pt x="37" y="107"/>
                  </a:cubicBezTo>
                  <a:close/>
                  <a:moveTo>
                    <a:pt x="39" y="118"/>
                  </a:moveTo>
                  <a:lnTo>
                    <a:pt x="42" y="118"/>
                  </a:lnTo>
                  <a:lnTo>
                    <a:pt x="42" y="115"/>
                  </a:lnTo>
                  <a:lnTo>
                    <a:pt x="39" y="118"/>
                  </a:lnTo>
                  <a:close/>
                  <a:moveTo>
                    <a:pt x="51" y="124"/>
                  </a:moveTo>
                  <a:cubicBezTo>
                    <a:pt x="48" y="121"/>
                    <a:pt x="48" y="121"/>
                    <a:pt x="45" y="124"/>
                  </a:cubicBezTo>
                  <a:cubicBezTo>
                    <a:pt x="42" y="127"/>
                    <a:pt x="42" y="127"/>
                    <a:pt x="39" y="127"/>
                  </a:cubicBezTo>
                  <a:lnTo>
                    <a:pt x="42" y="130"/>
                  </a:lnTo>
                  <a:cubicBezTo>
                    <a:pt x="42" y="130"/>
                    <a:pt x="45" y="132"/>
                    <a:pt x="45" y="135"/>
                  </a:cubicBezTo>
                  <a:lnTo>
                    <a:pt x="45" y="132"/>
                  </a:lnTo>
                  <a:cubicBezTo>
                    <a:pt x="48" y="127"/>
                    <a:pt x="48" y="127"/>
                    <a:pt x="51" y="124"/>
                  </a:cubicBezTo>
                  <a:close/>
                  <a:moveTo>
                    <a:pt x="39" y="34"/>
                  </a:moveTo>
                  <a:lnTo>
                    <a:pt x="48" y="39"/>
                  </a:lnTo>
                  <a:cubicBezTo>
                    <a:pt x="48" y="36"/>
                    <a:pt x="51" y="36"/>
                    <a:pt x="51" y="34"/>
                  </a:cubicBezTo>
                  <a:cubicBezTo>
                    <a:pt x="51" y="31"/>
                    <a:pt x="51" y="31"/>
                    <a:pt x="54" y="28"/>
                  </a:cubicBezTo>
                  <a:lnTo>
                    <a:pt x="48" y="31"/>
                  </a:lnTo>
                  <a:lnTo>
                    <a:pt x="39" y="34"/>
                  </a:lnTo>
                  <a:close/>
                  <a:moveTo>
                    <a:pt x="42" y="73"/>
                  </a:moveTo>
                  <a:cubicBezTo>
                    <a:pt x="43" y="74"/>
                    <a:pt x="43" y="74"/>
                    <a:pt x="43" y="74"/>
                  </a:cubicBezTo>
                  <a:lnTo>
                    <a:pt x="45" y="76"/>
                  </a:lnTo>
                  <a:cubicBezTo>
                    <a:pt x="48" y="76"/>
                    <a:pt x="48" y="73"/>
                    <a:pt x="48" y="70"/>
                  </a:cubicBezTo>
                  <a:lnTo>
                    <a:pt x="45" y="72"/>
                  </a:lnTo>
                  <a:lnTo>
                    <a:pt x="42" y="73"/>
                  </a:lnTo>
                  <a:close/>
                  <a:moveTo>
                    <a:pt x="48" y="99"/>
                  </a:moveTo>
                  <a:lnTo>
                    <a:pt x="42" y="99"/>
                  </a:lnTo>
                  <a:lnTo>
                    <a:pt x="42" y="101"/>
                  </a:lnTo>
                  <a:cubicBezTo>
                    <a:pt x="45" y="101"/>
                    <a:pt x="45" y="99"/>
                    <a:pt x="48" y="99"/>
                  </a:cubicBezTo>
                  <a:close/>
                  <a:moveTo>
                    <a:pt x="45" y="65"/>
                  </a:moveTo>
                  <a:cubicBezTo>
                    <a:pt x="45" y="68"/>
                    <a:pt x="48" y="68"/>
                    <a:pt x="51" y="65"/>
                  </a:cubicBezTo>
                  <a:cubicBezTo>
                    <a:pt x="48" y="65"/>
                    <a:pt x="48" y="62"/>
                    <a:pt x="48" y="62"/>
                  </a:cubicBezTo>
                  <a:cubicBezTo>
                    <a:pt x="48" y="59"/>
                    <a:pt x="45" y="59"/>
                    <a:pt x="42" y="62"/>
                  </a:cubicBezTo>
                  <a:lnTo>
                    <a:pt x="45" y="65"/>
                  </a:lnTo>
                  <a:close/>
                  <a:moveTo>
                    <a:pt x="45" y="189"/>
                  </a:moveTo>
                  <a:cubicBezTo>
                    <a:pt x="45" y="189"/>
                    <a:pt x="48" y="192"/>
                    <a:pt x="51" y="192"/>
                  </a:cubicBezTo>
                  <a:lnTo>
                    <a:pt x="48" y="183"/>
                  </a:lnTo>
                  <a:cubicBezTo>
                    <a:pt x="48" y="183"/>
                    <a:pt x="48" y="186"/>
                    <a:pt x="45" y="186"/>
                  </a:cubicBezTo>
                  <a:lnTo>
                    <a:pt x="45" y="189"/>
                  </a:lnTo>
                  <a:close/>
                  <a:moveTo>
                    <a:pt x="45" y="25"/>
                  </a:moveTo>
                  <a:cubicBezTo>
                    <a:pt x="45" y="28"/>
                    <a:pt x="45" y="28"/>
                    <a:pt x="48" y="28"/>
                  </a:cubicBezTo>
                  <a:lnTo>
                    <a:pt x="45" y="25"/>
                  </a:lnTo>
                  <a:close/>
                  <a:moveTo>
                    <a:pt x="59" y="175"/>
                  </a:moveTo>
                  <a:cubicBezTo>
                    <a:pt x="56" y="172"/>
                    <a:pt x="56" y="172"/>
                    <a:pt x="54" y="172"/>
                  </a:cubicBezTo>
                  <a:cubicBezTo>
                    <a:pt x="51" y="172"/>
                    <a:pt x="51" y="172"/>
                    <a:pt x="48" y="175"/>
                  </a:cubicBezTo>
                  <a:lnTo>
                    <a:pt x="48" y="180"/>
                  </a:lnTo>
                  <a:lnTo>
                    <a:pt x="51" y="178"/>
                  </a:lnTo>
                  <a:lnTo>
                    <a:pt x="59" y="175"/>
                  </a:lnTo>
                  <a:close/>
                  <a:moveTo>
                    <a:pt x="51" y="146"/>
                  </a:moveTo>
                  <a:lnTo>
                    <a:pt x="45" y="146"/>
                  </a:lnTo>
                  <a:cubicBezTo>
                    <a:pt x="51" y="149"/>
                    <a:pt x="51" y="149"/>
                    <a:pt x="51" y="146"/>
                  </a:cubicBezTo>
                  <a:close/>
                  <a:moveTo>
                    <a:pt x="45" y="166"/>
                  </a:moveTo>
                  <a:cubicBezTo>
                    <a:pt x="45" y="169"/>
                    <a:pt x="48" y="172"/>
                    <a:pt x="48" y="172"/>
                  </a:cubicBezTo>
                  <a:cubicBezTo>
                    <a:pt x="48" y="172"/>
                    <a:pt x="48" y="169"/>
                    <a:pt x="51" y="169"/>
                  </a:cubicBezTo>
                  <a:cubicBezTo>
                    <a:pt x="51" y="169"/>
                    <a:pt x="54" y="166"/>
                    <a:pt x="51" y="166"/>
                  </a:cubicBezTo>
                  <a:cubicBezTo>
                    <a:pt x="48" y="163"/>
                    <a:pt x="48" y="166"/>
                    <a:pt x="45" y="166"/>
                  </a:cubicBezTo>
                  <a:close/>
                  <a:moveTo>
                    <a:pt x="51" y="214"/>
                  </a:moveTo>
                  <a:lnTo>
                    <a:pt x="51" y="220"/>
                  </a:lnTo>
                  <a:lnTo>
                    <a:pt x="54" y="220"/>
                  </a:lnTo>
                  <a:lnTo>
                    <a:pt x="51" y="214"/>
                  </a:lnTo>
                  <a:close/>
                  <a:moveTo>
                    <a:pt x="51" y="203"/>
                  </a:moveTo>
                  <a:lnTo>
                    <a:pt x="51" y="211"/>
                  </a:lnTo>
                  <a:cubicBezTo>
                    <a:pt x="54" y="211"/>
                    <a:pt x="54" y="211"/>
                    <a:pt x="56" y="209"/>
                  </a:cubicBezTo>
                  <a:lnTo>
                    <a:pt x="51" y="203"/>
                  </a:lnTo>
                  <a:close/>
                  <a:moveTo>
                    <a:pt x="56" y="42"/>
                  </a:moveTo>
                  <a:cubicBezTo>
                    <a:pt x="59" y="39"/>
                    <a:pt x="59" y="39"/>
                    <a:pt x="62" y="39"/>
                  </a:cubicBezTo>
                  <a:lnTo>
                    <a:pt x="65" y="42"/>
                  </a:lnTo>
                  <a:lnTo>
                    <a:pt x="68" y="42"/>
                  </a:lnTo>
                  <a:cubicBezTo>
                    <a:pt x="68" y="42"/>
                    <a:pt x="70" y="42"/>
                    <a:pt x="70" y="39"/>
                  </a:cubicBezTo>
                  <a:lnTo>
                    <a:pt x="70" y="48"/>
                  </a:lnTo>
                  <a:lnTo>
                    <a:pt x="76" y="48"/>
                  </a:lnTo>
                  <a:lnTo>
                    <a:pt x="76" y="42"/>
                  </a:lnTo>
                  <a:cubicBezTo>
                    <a:pt x="76" y="39"/>
                    <a:pt x="73" y="39"/>
                    <a:pt x="70" y="39"/>
                  </a:cubicBezTo>
                  <a:lnTo>
                    <a:pt x="68" y="39"/>
                  </a:lnTo>
                  <a:lnTo>
                    <a:pt x="65" y="39"/>
                  </a:lnTo>
                  <a:cubicBezTo>
                    <a:pt x="62" y="39"/>
                    <a:pt x="62" y="36"/>
                    <a:pt x="62" y="36"/>
                  </a:cubicBezTo>
                  <a:lnTo>
                    <a:pt x="59" y="34"/>
                  </a:lnTo>
                  <a:cubicBezTo>
                    <a:pt x="56" y="36"/>
                    <a:pt x="56" y="39"/>
                    <a:pt x="56" y="42"/>
                  </a:cubicBezTo>
                  <a:close/>
                  <a:moveTo>
                    <a:pt x="62" y="209"/>
                  </a:moveTo>
                  <a:cubicBezTo>
                    <a:pt x="62" y="209"/>
                    <a:pt x="62" y="211"/>
                    <a:pt x="59" y="211"/>
                  </a:cubicBezTo>
                  <a:lnTo>
                    <a:pt x="56" y="214"/>
                  </a:lnTo>
                  <a:cubicBezTo>
                    <a:pt x="56" y="214"/>
                    <a:pt x="59" y="217"/>
                    <a:pt x="62" y="217"/>
                  </a:cubicBezTo>
                  <a:lnTo>
                    <a:pt x="62" y="209"/>
                  </a:lnTo>
                  <a:close/>
                  <a:moveTo>
                    <a:pt x="59" y="225"/>
                  </a:moveTo>
                  <a:cubicBezTo>
                    <a:pt x="62" y="228"/>
                    <a:pt x="62" y="228"/>
                    <a:pt x="65" y="228"/>
                  </a:cubicBezTo>
                  <a:cubicBezTo>
                    <a:pt x="65" y="223"/>
                    <a:pt x="65" y="223"/>
                    <a:pt x="59" y="225"/>
                  </a:cubicBezTo>
                  <a:close/>
                  <a:moveTo>
                    <a:pt x="76" y="240"/>
                  </a:moveTo>
                  <a:lnTo>
                    <a:pt x="68" y="240"/>
                  </a:lnTo>
                  <a:cubicBezTo>
                    <a:pt x="65" y="237"/>
                    <a:pt x="62" y="240"/>
                    <a:pt x="59" y="242"/>
                  </a:cubicBezTo>
                  <a:lnTo>
                    <a:pt x="59" y="251"/>
                  </a:lnTo>
                  <a:lnTo>
                    <a:pt x="62" y="251"/>
                  </a:lnTo>
                  <a:lnTo>
                    <a:pt x="65" y="251"/>
                  </a:lnTo>
                  <a:lnTo>
                    <a:pt x="62" y="248"/>
                  </a:lnTo>
                  <a:lnTo>
                    <a:pt x="68" y="248"/>
                  </a:lnTo>
                  <a:lnTo>
                    <a:pt x="70" y="248"/>
                  </a:lnTo>
                  <a:cubicBezTo>
                    <a:pt x="73" y="248"/>
                    <a:pt x="73" y="248"/>
                    <a:pt x="76" y="245"/>
                  </a:cubicBezTo>
                  <a:cubicBezTo>
                    <a:pt x="73" y="242"/>
                    <a:pt x="76" y="240"/>
                    <a:pt x="76" y="240"/>
                  </a:cubicBezTo>
                  <a:close/>
                  <a:moveTo>
                    <a:pt x="65" y="257"/>
                  </a:moveTo>
                  <a:cubicBezTo>
                    <a:pt x="65" y="257"/>
                    <a:pt x="65" y="254"/>
                    <a:pt x="68" y="254"/>
                  </a:cubicBezTo>
                  <a:lnTo>
                    <a:pt x="65" y="254"/>
                  </a:lnTo>
                  <a:lnTo>
                    <a:pt x="62" y="254"/>
                  </a:lnTo>
                  <a:lnTo>
                    <a:pt x="62" y="262"/>
                  </a:lnTo>
                  <a:cubicBezTo>
                    <a:pt x="65" y="259"/>
                    <a:pt x="65" y="257"/>
                    <a:pt x="65" y="257"/>
                  </a:cubicBezTo>
                  <a:close/>
                  <a:moveTo>
                    <a:pt x="76" y="262"/>
                  </a:moveTo>
                  <a:lnTo>
                    <a:pt x="73" y="262"/>
                  </a:lnTo>
                  <a:lnTo>
                    <a:pt x="70" y="259"/>
                  </a:lnTo>
                  <a:lnTo>
                    <a:pt x="68" y="257"/>
                  </a:lnTo>
                  <a:cubicBezTo>
                    <a:pt x="68" y="257"/>
                    <a:pt x="68" y="259"/>
                    <a:pt x="65" y="259"/>
                  </a:cubicBezTo>
                  <a:lnTo>
                    <a:pt x="62" y="262"/>
                  </a:lnTo>
                  <a:lnTo>
                    <a:pt x="59" y="265"/>
                  </a:lnTo>
                  <a:cubicBezTo>
                    <a:pt x="59" y="265"/>
                    <a:pt x="62" y="265"/>
                    <a:pt x="62" y="268"/>
                  </a:cubicBezTo>
                  <a:cubicBezTo>
                    <a:pt x="65" y="268"/>
                    <a:pt x="65" y="271"/>
                    <a:pt x="68" y="273"/>
                  </a:cubicBezTo>
                  <a:cubicBezTo>
                    <a:pt x="73" y="268"/>
                    <a:pt x="73" y="265"/>
                    <a:pt x="76" y="262"/>
                  </a:cubicBezTo>
                  <a:close/>
                  <a:moveTo>
                    <a:pt x="65" y="211"/>
                  </a:moveTo>
                  <a:cubicBezTo>
                    <a:pt x="70" y="214"/>
                    <a:pt x="70" y="211"/>
                    <a:pt x="68" y="209"/>
                  </a:cubicBezTo>
                  <a:cubicBezTo>
                    <a:pt x="68" y="209"/>
                    <a:pt x="68" y="211"/>
                    <a:pt x="65" y="211"/>
                  </a:cubicBezTo>
                  <a:close/>
                  <a:moveTo>
                    <a:pt x="73" y="234"/>
                  </a:moveTo>
                  <a:cubicBezTo>
                    <a:pt x="70" y="231"/>
                    <a:pt x="70" y="231"/>
                    <a:pt x="68" y="231"/>
                  </a:cubicBezTo>
                  <a:lnTo>
                    <a:pt x="68" y="234"/>
                  </a:lnTo>
                  <a:lnTo>
                    <a:pt x="68" y="237"/>
                  </a:lnTo>
                  <a:cubicBezTo>
                    <a:pt x="70" y="237"/>
                    <a:pt x="70" y="234"/>
                    <a:pt x="73" y="234"/>
                  </a:cubicBezTo>
                  <a:close/>
                  <a:moveTo>
                    <a:pt x="76" y="313"/>
                  </a:moveTo>
                  <a:cubicBezTo>
                    <a:pt x="79" y="313"/>
                    <a:pt x="79" y="310"/>
                    <a:pt x="82" y="310"/>
                  </a:cubicBezTo>
                  <a:cubicBezTo>
                    <a:pt x="79" y="307"/>
                    <a:pt x="79" y="304"/>
                    <a:pt x="76" y="304"/>
                  </a:cubicBezTo>
                  <a:cubicBezTo>
                    <a:pt x="76" y="304"/>
                    <a:pt x="76" y="307"/>
                    <a:pt x="73" y="307"/>
                  </a:cubicBezTo>
                  <a:lnTo>
                    <a:pt x="70" y="313"/>
                  </a:lnTo>
                  <a:cubicBezTo>
                    <a:pt x="68" y="313"/>
                    <a:pt x="68" y="310"/>
                    <a:pt x="65" y="310"/>
                  </a:cubicBezTo>
                  <a:lnTo>
                    <a:pt x="65" y="313"/>
                  </a:lnTo>
                  <a:cubicBezTo>
                    <a:pt x="68" y="313"/>
                    <a:pt x="68" y="316"/>
                    <a:pt x="70" y="316"/>
                  </a:cubicBezTo>
                  <a:lnTo>
                    <a:pt x="73" y="316"/>
                  </a:lnTo>
                  <a:lnTo>
                    <a:pt x="79" y="316"/>
                  </a:lnTo>
                  <a:lnTo>
                    <a:pt x="76" y="313"/>
                  </a:lnTo>
                  <a:close/>
                  <a:moveTo>
                    <a:pt x="73" y="290"/>
                  </a:moveTo>
                  <a:lnTo>
                    <a:pt x="70" y="290"/>
                  </a:lnTo>
                  <a:lnTo>
                    <a:pt x="70" y="293"/>
                  </a:lnTo>
                  <a:cubicBezTo>
                    <a:pt x="73" y="293"/>
                    <a:pt x="73" y="290"/>
                    <a:pt x="73" y="290"/>
                  </a:cubicBezTo>
                  <a:close/>
                  <a:moveTo>
                    <a:pt x="68" y="302"/>
                  </a:moveTo>
                  <a:lnTo>
                    <a:pt x="70" y="302"/>
                  </a:lnTo>
                  <a:lnTo>
                    <a:pt x="70" y="296"/>
                  </a:lnTo>
                  <a:cubicBezTo>
                    <a:pt x="70" y="299"/>
                    <a:pt x="70" y="302"/>
                    <a:pt x="68" y="302"/>
                  </a:cubicBezTo>
                  <a:close/>
                  <a:moveTo>
                    <a:pt x="82" y="225"/>
                  </a:moveTo>
                  <a:lnTo>
                    <a:pt x="79" y="225"/>
                  </a:lnTo>
                  <a:cubicBezTo>
                    <a:pt x="76" y="225"/>
                    <a:pt x="73" y="223"/>
                    <a:pt x="70" y="223"/>
                  </a:cubicBezTo>
                  <a:lnTo>
                    <a:pt x="70" y="225"/>
                  </a:lnTo>
                  <a:lnTo>
                    <a:pt x="76" y="228"/>
                  </a:lnTo>
                  <a:cubicBezTo>
                    <a:pt x="79" y="225"/>
                    <a:pt x="79" y="225"/>
                    <a:pt x="82" y="225"/>
                  </a:cubicBezTo>
                  <a:close/>
                  <a:moveTo>
                    <a:pt x="70" y="338"/>
                  </a:moveTo>
                  <a:lnTo>
                    <a:pt x="73" y="338"/>
                  </a:lnTo>
                  <a:lnTo>
                    <a:pt x="73" y="333"/>
                  </a:lnTo>
                  <a:lnTo>
                    <a:pt x="73" y="330"/>
                  </a:lnTo>
                  <a:lnTo>
                    <a:pt x="73" y="327"/>
                  </a:lnTo>
                  <a:cubicBezTo>
                    <a:pt x="70" y="327"/>
                    <a:pt x="70" y="330"/>
                    <a:pt x="70" y="330"/>
                  </a:cubicBezTo>
                  <a:lnTo>
                    <a:pt x="68" y="330"/>
                  </a:lnTo>
                  <a:lnTo>
                    <a:pt x="70" y="338"/>
                  </a:lnTo>
                  <a:close/>
                  <a:moveTo>
                    <a:pt x="70" y="273"/>
                  </a:moveTo>
                  <a:lnTo>
                    <a:pt x="70" y="276"/>
                  </a:lnTo>
                  <a:cubicBezTo>
                    <a:pt x="73" y="276"/>
                    <a:pt x="73" y="276"/>
                    <a:pt x="73" y="273"/>
                  </a:cubicBezTo>
                  <a:cubicBezTo>
                    <a:pt x="73" y="273"/>
                    <a:pt x="70" y="271"/>
                    <a:pt x="70" y="273"/>
                  </a:cubicBezTo>
                  <a:close/>
                  <a:moveTo>
                    <a:pt x="82" y="288"/>
                  </a:moveTo>
                  <a:cubicBezTo>
                    <a:pt x="79" y="288"/>
                    <a:pt x="79" y="288"/>
                    <a:pt x="79" y="285"/>
                  </a:cubicBezTo>
                  <a:lnTo>
                    <a:pt x="76" y="285"/>
                  </a:lnTo>
                  <a:cubicBezTo>
                    <a:pt x="79" y="282"/>
                    <a:pt x="76" y="282"/>
                    <a:pt x="73" y="282"/>
                  </a:cubicBezTo>
                  <a:lnTo>
                    <a:pt x="70" y="282"/>
                  </a:lnTo>
                  <a:lnTo>
                    <a:pt x="70" y="285"/>
                  </a:lnTo>
                  <a:lnTo>
                    <a:pt x="73" y="285"/>
                  </a:lnTo>
                  <a:lnTo>
                    <a:pt x="73" y="288"/>
                  </a:lnTo>
                  <a:lnTo>
                    <a:pt x="82" y="288"/>
                  </a:lnTo>
                  <a:close/>
                  <a:moveTo>
                    <a:pt x="73" y="28"/>
                  </a:moveTo>
                  <a:cubicBezTo>
                    <a:pt x="76" y="34"/>
                    <a:pt x="79" y="36"/>
                    <a:pt x="79" y="39"/>
                  </a:cubicBezTo>
                  <a:lnTo>
                    <a:pt x="82" y="39"/>
                  </a:lnTo>
                  <a:lnTo>
                    <a:pt x="85" y="42"/>
                  </a:lnTo>
                  <a:lnTo>
                    <a:pt x="85" y="36"/>
                  </a:lnTo>
                  <a:lnTo>
                    <a:pt x="85" y="31"/>
                  </a:lnTo>
                  <a:lnTo>
                    <a:pt x="82" y="28"/>
                  </a:lnTo>
                  <a:lnTo>
                    <a:pt x="79" y="25"/>
                  </a:lnTo>
                  <a:cubicBezTo>
                    <a:pt x="79" y="22"/>
                    <a:pt x="82" y="22"/>
                    <a:pt x="82" y="20"/>
                  </a:cubicBezTo>
                  <a:lnTo>
                    <a:pt x="79" y="22"/>
                  </a:lnTo>
                  <a:cubicBezTo>
                    <a:pt x="79" y="22"/>
                    <a:pt x="76" y="22"/>
                    <a:pt x="76" y="25"/>
                  </a:cubicBezTo>
                  <a:lnTo>
                    <a:pt x="73" y="25"/>
                  </a:lnTo>
                  <a:lnTo>
                    <a:pt x="73" y="28"/>
                  </a:lnTo>
                  <a:close/>
                  <a:moveTo>
                    <a:pt x="76" y="327"/>
                  </a:moveTo>
                  <a:cubicBezTo>
                    <a:pt x="76" y="330"/>
                    <a:pt x="79" y="330"/>
                    <a:pt x="82" y="327"/>
                  </a:cubicBezTo>
                  <a:cubicBezTo>
                    <a:pt x="79" y="327"/>
                    <a:pt x="79" y="324"/>
                    <a:pt x="79" y="324"/>
                  </a:cubicBezTo>
                  <a:cubicBezTo>
                    <a:pt x="79" y="321"/>
                    <a:pt x="76" y="321"/>
                    <a:pt x="73" y="324"/>
                  </a:cubicBezTo>
                  <a:cubicBezTo>
                    <a:pt x="76" y="324"/>
                    <a:pt x="76" y="324"/>
                    <a:pt x="76" y="327"/>
                  </a:cubicBezTo>
                  <a:close/>
                  <a:moveTo>
                    <a:pt x="85" y="248"/>
                  </a:moveTo>
                  <a:lnTo>
                    <a:pt x="85" y="245"/>
                  </a:lnTo>
                  <a:lnTo>
                    <a:pt x="76" y="245"/>
                  </a:lnTo>
                  <a:cubicBezTo>
                    <a:pt x="76" y="248"/>
                    <a:pt x="79" y="251"/>
                    <a:pt x="79" y="251"/>
                  </a:cubicBezTo>
                  <a:cubicBezTo>
                    <a:pt x="82" y="251"/>
                    <a:pt x="85" y="251"/>
                    <a:pt x="85" y="254"/>
                  </a:cubicBezTo>
                  <a:lnTo>
                    <a:pt x="85" y="248"/>
                  </a:lnTo>
                  <a:close/>
                  <a:moveTo>
                    <a:pt x="79" y="237"/>
                  </a:moveTo>
                  <a:lnTo>
                    <a:pt x="79" y="240"/>
                  </a:lnTo>
                  <a:cubicBezTo>
                    <a:pt x="79" y="240"/>
                    <a:pt x="79" y="242"/>
                    <a:pt x="82" y="242"/>
                  </a:cubicBezTo>
                  <a:cubicBezTo>
                    <a:pt x="85" y="240"/>
                    <a:pt x="87" y="240"/>
                    <a:pt x="90" y="240"/>
                  </a:cubicBezTo>
                  <a:cubicBezTo>
                    <a:pt x="93" y="240"/>
                    <a:pt x="93" y="240"/>
                    <a:pt x="96" y="237"/>
                  </a:cubicBezTo>
                  <a:lnTo>
                    <a:pt x="87" y="234"/>
                  </a:lnTo>
                  <a:cubicBezTo>
                    <a:pt x="85" y="234"/>
                    <a:pt x="82" y="237"/>
                    <a:pt x="79" y="237"/>
                  </a:cubicBezTo>
                  <a:close/>
                  <a:moveTo>
                    <a:pt x="82" y="352"/>
                  </a:moveTo>
                  <a:cubicBezTo>
                    <a:pt x="82" y="352"/>
                    <a:pt x="85" y="355"/>
                    <a:pt x="85" y="358"/>
                  </a:cubicBezTo>
                  <a:lnTo>
                    <a:pt x="87" y="355"/>
                  </a:lnTo>
                  <a:lnTo>
                    <a:pt x="85" y="352"/>
                  </a:lnTo>
                  <a:lnTo>
                    <a:pt x="82" y="350"/>
                  </a:lnTo>
                  <a:lnTo>
                    <a:pt x="85" y="347"/>
                  </a:lnTo>
                  <a:lnTo>
                    <a:pt x="82" y="347"/>
                  </a:lnTo>
                  <a:cubicBezTo>
                    <a:pt x="82" y="347"/>
                    <a:pt x="82" y="349"/>
                    <a:pt x="80" y="349"/>
                  </a:cubicBezTo>
                  <a:cubicBezTo>
                    <a:pt x="81" y="350"/>
                    <a:pt x="82" y="351"/>
                    <a:pt x="82" y="352"/>
                  </a:cubicBezTo>
                  <a:close/>
                  <a:moveTo>
                    <a:pt x="82" y="420"/>
                  </a:moveTo>
                  <a:lnTo>
                    <a:pt x="87" y="426"/>
                  </a:lnTo>
                  <a:lnTo>
                    <a:pt x="87" y="420"/>
                  </a:lnTo>
                  <a:lnTo>
                    <a:pt x="82" y="420"/>
                  </a:lnTo>
                  <a:close/>
                  <a:moveTo>
                    <a:pt x="87" y="431"/>
                  </a:moveTo>
                  <a:lnTo>
                    <a:pt x="90" y="431"/>
                  </a:lnTo>
                  <a:lnTo>
                    <a:pt x="90" y="429"/>
                  </a:lnTo>
                  <a:lnTo>
                    <a:pt x="82" y="429"/>
                  </a:lnTo>
                  <a:lnTo>
                    <a:pt x="87" y="431"/>
                  </a:lnTo>
                  <a:close/>
                  <a:moveTo>
                    <a:pt x="93" y="381"/>
                  </a:moveTo>
                  <a:cubicBezTo>
                    <a:pt x="93" y="378"/>
                    <a:pt x="90" y="378"/>
                    <a:pt x="90" y="378"/>
                  </a:cubicBezTo>
                  <a:lnTo>
                    <a:pt x="85" y="381"/>
                  </a:lnTo>
                  <a:lnTo>
                    <a:pt x="93" y="381"/>
                  </a:lnTo>
                  <a:close/>
                  <a:moveTo>
                    <a:pt x="90" y="245"/>
                  </a:moveTo>
                  <a:cubicBezTo>
                    <a:pt x="87" y="248"/>
                    <a:pt x="90" y="251"/>
                    <a:pt x="90" y="251"/>
                  </a:cubicBezTo>
                  <a:lnTo>
                    <a:pt x="90" y="245"/>
                  </a:lnTo>
                  <a:close/>
                  <a:moveTo>
                    <a:pt x="87" y="31"/>
                  </a:moveTo>
                  <a:cubicBezTo>
                    <a:pt x="90" y="31"/>
                    <a:pt x="90" y="31"/>
                    <a:pt x="90" y="28"/>
                  </a:cubicBezTo>
                  <a:lnTo>
                    <a:pt x="87" y="31"/>
                  </a:lnTo>
                  <a:close/>
                  <a:moveTo>
                    <a:pt x="90" y="254"/>
                  </a:moveTo>
                  <a:cubicBezTo>
                    <a:pt x="87" y="254"/>
                    <a:pt x="87" y="257"/>
                    <a:pt x="87" y="257"/>
                  </a:cubicBezTo>
                  <a:cubicBezTo>
                    <a:pt x="90" y="257"/>
                    <a:pt x="90" y="257"/>
                    <a:pt x="90" y="254"/>
                  </a:cubicBezTo>
                  <a:close/>
                  <a:moveTo>
                    <a:pt x="90" y="447"/>
                  </a:moveTo>
                  <a:lnTo>
                    <a:pt x="90" y="450"/>
                  </a:lnTo>
                  <a:lnTo>
                    <a:pt x="93" y="450"/>
                  </a:lnTo>
                  <a:lnTo>
                    <a:pt x="93" y="447"/>
                  </a:lnTo>
                  <a:lnTo>
                    <a:pt x="90" y="447"/>
                  </a:lnTo>
                  <a:close/>
                  <a:moveTo>
                    <a:pt x="93" y="406"/>
                  </a:moveTo>
                  <a:lnTo>
                    <a:pt x="93" y="400"/>
                  </a:lnTo>
                  <a:lnTo>
                    <a:pt x="90" y="400"/>
                  </a:lnTo>
                  <a:cubicBezTo>
                    <a:pt x="93" y="403"/>
                    <a:pt x="93" y="406"/>
                    <a:pt x="93" y="406"/>
                  </a:cubicBezTo>
                  <a:close/>
                  <a:moveTo>
                    <a:pt x="102" y="254"/>
                  </a:moveTo>
                  <a:cubicBezTo>
                    <a:pt x="102" y="251"/>
                    <a:pt x="102" y="251"/>
                    <a:pt x="100" y="251"/>
                  </a:cubicBezTo>
                  <a:cubicBezTo>
                    <a:pt x="99" y="254"/>
                    <a:pt x="99" y="254"/>
                    <a:pt x="102" y="254"/>
                  </a:cubicBezTo>
                  <a:close/>
                  <a:moveTo>
                    <a:pt x="99" y="245"/>
                  </a:moveTo>
                  <a:lnTo>
                    <a:pt x="96" y="245"/>
                  </a:lnTo>
                  <a:cubicBezTo>
                    <a:pt x="93" y="248"/>
                    <a:pt x="93" y="252"/>
                    <a:pt x="99" y="250"/>
                  </a:cubicBezTo>
                  <a:lnTo>
                    <a:pt x="99" y="245"/>
                  </a:lnTo>
                  <a:close/>
                  <a:moveTo>
                    <a:pt x="99" y="456"/>
                  </a:moveTo>
                  <a:cubicBezTo>
                    <a:pt x="96" y="456"/>
                    <a:pt x="93" y="459"/>
                    <a:pt x="93" y="459"/>
                  </a:cubicBezTo>
                  <a:lnTo>
                    <a:pt x="99" y="459"/>
                  </a:lnTo>
                  <a:lnTo>
                    <a:pt x="99" y="456"/>
                  </a:lnTo>
                  <a:close/>
                  <a:moveTo>
                    <a:pt x="99" y="445"/>
                  </a:moveTo>
                  <a:cubicBezTo>
                    <a:pt x="99" y="445"/>
                    <a:pt x="96" y="446"/>
                    <a:pt x="96" y="443"/>
                  </a:cubicBezTo>
                  <a:lnTo>
                    <a:pt x="96" y="445"/>
                  </a:lnTo>
                  <a:cubicBezTo>
                    <a:pt x="96" y="447"/>
                    <a:pt x="99" y="447"/>
                    <a:pt x="99" y="445"/>
                  </a:cubicBezTo>
                  <a:close/>
                  <a:moveTo>
                    <a:pt x="102" y="440"/>
                  </a:moveTo>
                  <a:lnTo>
                    <a:pt x="99" y="443"/>
                  </a:lnTo>
                  <a:lnTo>
                    <a:pt x="102" y="446"/>
                  </a:lnTo>
                  <a:cubicBezTo>
                    <a:pt x="102" y="443"/>
                    <a:pt x="104" y="443"/>
                    <a:pt x="104" y="440"/>
                  </a:cubicBezTo>
                  <a:cubicBezTo>
                    <a:pt x="104" y="437"/>
                    <a:pt x="107" y="437"/>
                    <a:pt x="107" y="434"/>
                  </a:cubicBezTo>
                  <a:lnTo>
                    <a:pt x="99" y="434"/>
                  </a:lnTo>
                  <a:lnTo>
                    <a:pt x="100" y="438"/>
                  </a:lnTo>
                  <a:cubicBezTo>
                    <a:pt x="101" y="438"/>
                    <a:pt x="102" y="438"/>
                    <a:pt x="102" y="440"/>
                  </a:cubicBezTo>
                  <a:close/>
                  <a:moveTo>
                    <a:pt x="107" y="447"/>
                  </a:moveTo>
                  <a:lnTo>
                    <a:pt x="102" y="447"/>
                  </a:lnTo>
                  <a:lnTo>
                    <a:pt x="102" y="450"/>
                  </a:lnTo>
                  <a:lnTo>
                    <a:pt x="107" y="447"/>
                  </a:lnTo>
                  <a:close/>
                  <a:moveTo>
                    <a:pt x="104" y="443"/>
                  </a:moveTo>
                  <a:lnTo>
                    <a:pt x="110" y="447"/>
                  </a:lnTo>
                  <a:lnTo>
                    <a:pt x="110" y="446"/>
                  </a:lnTo>
                  <a:lnTo>
                    <a:pt x="110" y="443"/>
                  </a:lnTo>
                  <a:cubicBezTo>
                    <a:pt x="107" y="440"/>
                    <a:pt x="107" y="443"/>
                    <a:pt x="104" y="443"/>
                  </a:cubicBezTo>
                  <a:close/>
                  <a:moveTo>
                    <a:pt x="121" y="456"/>
                  </a:moveTo>
                  <a:lnTo>
                    <a:pt x="121" y="459"/>
                  </a:lnTo>
                  <a:cubicBezTo>
                    <a:pt x="118" y="456"/>
                    <a:pt x="113" y="453"/>
                    <a:pt x="110" y="450"/>
                  </a:cubicBezTo>
                  <a:cubicBezTo>
                    <a:pt x="110" y="450"/>
                    <a:pt x="110" y="453"/>
                    <a:pt x="113" y="453"/>
                  </a:cubicBezTo>
                  <a:lnTo>
                    <a:pt x="113" y="461"/>
                  </a:lnTo>
                  <a:cubicBezTo>
                    <a:pt x="113" y="459"/>
                    <a:pt x="116" y="459"/>
                    <a:pt x="116" y="459"/>
                  </a:cubicBezTo>
                  <a:lnTo>
                    <a:pt x="116" y="456"/>
                  </a:lnTo>
                  <a:cubicBezTo>
                    <a:pt x="116" y="456"/>
                    <a:pt x="118" y="456"/>
                    <a:pt x="121" y="459"/>
                  </a:cubicBezTo>
                  <a:cubicBezTo>
                    <a:pt x="124" y="461"/>
                    <a:pt x="127" y="459"/>
                    <a:pt x="127" y="456"/>
                  </a:cubicBezTo>
                  <a:lnTo>
                    <a:pt x="121" y="456"/>
                  </a:lnTo>
                  <a:close/>
                  <a:moveTo>
                    <a:pt x="118" y="443"/>
                  </a:moveTo>
                  <a:lnTo>
                    <a:pt x="116" y="443"/>
                  </a:lnTo>
                  <a:cubicBezTo>
                    <a:pt x="116" y="445"/>
                    <a:pt x="116" y="445"/>
                    <a:pt x="118" y="443"/>
                  </a:cubicBezTo>
                  <a:cubicBezTo>
                    <a:pt x="116" y="446"/>
                    <a:pt x="118" y="445"/>
                    <a:pt x="118" y="447"/>
                  </a:cubicBezTo>
                  <a:lnTo>
                    <a:pt x="116" y="447"/>
                  </a:lnTo>
                  <a:lnTo>
                    <a:pt x="113" y="447"/>
                  </a:lnTo>
                  <a:lnTo>
                    <a:pt x="116" y="450"/>
                  </a:lnTo>
                  <a:cubicBezTo>
                    <a:pt x="121" y="450"/>
                    <a:pt x="121" y="445"/>
                    <a:pt x="118" y="443"/>
                  </a:cubicBezTo>
                  <a:close/>
                  <a:moveTo>
                    <a:pt x="138" y="445"/>
                  </a:moveTo>
                  <a:cubicBezTo>
                    <a:pt x="138" y="445"/>
                    <a:pt x="135" y="445"/>
                    <a:pt x="138" y="445"/>
                  </a:cubicBezTo>
                  <a:lnTo>
                    <a:pt x="135" y="450"/>
                  </a:lnTo>
                  <a:cubicBezTo>
                    <a:pt x="141" y="450"/>
                    <a:pt x="138" y="447"/>
                    <a:pt x="138" y="445"/>
                  </a:cubicBezTo>
                  <a:close/>
                  <a:moveTo>
                    <a:pt x="144" y="445"/>
                  </a:moveTo>
                  <a:cubicBezTo>
                    <a:pt x="144" y="450"/>
                    <a:pt x="147" y="453"/>
                    <a:pt x="149" y="456"/>
                  </a:cubicBezTo>
                  <a:cubicBezTo>
                    <a:pt x="152" y="450"/>
                    <a:pt x="149" y="447"/>
                    <a:pt x="144" y="445"/>
                  </a:cubicBezTo>
                  <a:close/>
                  <a:moveTo>
                    <a:pt x="164" y="445"/>
                  </a:moveTo>
                  <a:lnTo>
                    <a:pt x="158" y="445"/>
                  </a:lnTo>
                  <a:lnTo>
                    <a:pt x="158" y="447"/>
                  </a:lnTo>
                  <a:lnTo>
                    <a:pt x="158" y="450"/>
                  </a:lnTo>
                  <a:lnTo>
                    <a:pt x="155" y="453"/>
                  </a:lnTo>
                  <a:cubicBezTo>
                    <a:pt x="158" y="453"/>
                    <a:pt x="158" y="456"/>
                    <a:pt x="161" y="456"/>
                  </a:cubicBezTo>
                  <a:cubicBezTo>
                    <a:pt x="161" y="450"/>
                    <a:pt x="161" y="447"/>
                    <a:pt x="164" y="44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Group 5"/>
          <p:cNvGrpSpPr/>
          <p:nvPr userDrawn="1"/>
        </p:nvGrpSpPr>
        <p:grpSpPr>
          <a:xfrm>
            <a:off x="2069953" y="-2483339"/>
            <a:ext cx="11740056" cy="12145495"/>
            <a:chOff x="2069952" y="-2483341"/>
            <a:chExt cx="11740056" cy="12145495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095038" flipV="1">
              <a:off x="7759941" y="-1851331"/>
              <a:ext cx="4566312" cy="4560124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8357854" flipV="1">
              <a:off x="9243696" y="1234247"/>
              <a:ext cx="4566312" cy="4560124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1132004" flipV="1">
              <a:off x="7918203" y="4126327"/>
              <a:ext cx="4566312" cy="4560124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288547">
              <a:off x="4880753" y="5102030"/>
              <a:ext cx="4566312" cy="4560124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6879751">
              <a:off x="4164337" y="-2480247"/>
              <a:ext cx="4566312" cy="4560124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144695">
              <a:off x="2066858" y="-951477"/>
              <a:ext cx="4566312" cy="4560124"/>
            </a:xfrm>
            <a:prstGeom prst="rect">
              <a:avLst/>
            </a:prstGeom>
            <a:effectLst/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9490">
              <a:off x="2124336" y="3625951"/>
              <a:ext cx="4566312" cy="4560124"/>
            </a:xfrm>
            <a:prstGeom prst="rect">
              <a:avLst/>
            </a:prstGeom>
          </p:spPr>
        </p:pic>
      </p:grpSp>
      <p:grpSp>
        <p:nvGrpSpPr>
          <p:cNvPr id="14" name="Group 13"/>
          <p:cNvGrpSpPr/>
          <p:nvPr userDrawn="1"/>
        </p:nvGrpSpPr>
        <p:grpSpPr>
          <a:xfrm>
            <a:off x="5279189" y="3822845"/>
            <a:ext cx="1484707" cy="1162679"/>
            <a:chOff x="5279189" y="3822843"/>
            <a:chExt cx="1484707" cy="1162679"/>
          </a:xfrm>
        </p:grpSpPr>
        <p:sp>
          <p:nvSpPr>
            <p:cNvPr id="15" name="Oval 14"/>
            <p:cNvSpPr/>
            <p:nvPr/>
          </p:nvSpPr>
          <p:spPr>
            <a:xfrm rot="14194425">
              <a:off x="5440203" y="3661829"/>
              <a:ext cx="1162679" cy="1484707"/>
            </a:xfrm>
            <a:prstGeom prst="ellipse">
              <a:avLst/>
            </a:prstGeom>
            <a:solidFill>
              <a:srgbClr val="C05B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5373317" y="4190544"/>
              <a:ext cx="128913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14126"/>
              <a:r>
                <a:rPr lang="en-US" sz="1799">
                  <a:solidFill>
                    <a:srgbClr val="FFFFFF"/>
                  </a:solidFill>
                </a:rPr>
                <a:t>Re/Insurer</a:t>
              </a:r>
            </a:p>
          </p:txBody>
        </p:sp>
      </p:grpSp>
      <p:grpSp>
        <p:nvGrpSpPr>
          <p:cNvPr id="17" name="Group 16"/>
          <p:cNvGrpSpPr/>
          <p:nvPr userDrawn="1"/>
        </p:nvGrpSpPr>
        <p:grpSpPr>
          <a:xfrm>
            <a:off x="5349134" y="2011010"/>
            <a:ext cx="1389762" cy="1484707"/>
            <a:chOff x="5349132" y="2011008"/>
            <a:chExt cx="1389762" cy="1484707"/>
          </a:xfrm>
        </p:grpSpPr>
        <p:sp>
          <p:nvSpPr>
            <p:cNvPr id="18" name="Oval 17"/>
            <p:cNvSpPr/>
            <p:nvPr/>
          </p:nvSpPr>
          <p:spPr>
            <a:xfrm rot="18923353">
              <a:off x="5454928" y="2011008"/>
              <a:ext cx="1162679" cy="1484707"/>
            </a:xfrm>
            <a:prstGeom prst="ellipse">
              <a:avLst/>
            </a:prstGeom>
            <a:solidFill>
              <a:srgbClr val="3C48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349132" y="2563569"/>
              <a:ext cx="1389762" cy="36920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14126"/>
              <a:r>
                <a:rPr lang="en-US" sz="1799">
                  <a:solidFill>
                    <a:srgbClr val="FFFFFF"/>
                  </a:solidFill>
                </a:rPr>
                <a:t>Academia</a:t>
              </a:r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6842682" y="4443264"/>
            <a:ext cx="1162679" cy="1484707"/>
            <a:chOff x="6842682" y="4443262"/>
            <a:chExt cx="1162679" cy="1484707"/>
          </a:xfrm>
        </p:grpSpPr>
        <p:sp>
          <p:nvSpPr>
            <p:cNvPr id="21" name="Oval 20"/>
            <p:cNvSpPr/>
            <p:nvPr/>
          </p:nvSpPr>
          <p:spPr>
            <a:xfrm rot="309580">
              <a:off x="6842682" y="4443262"/>
              <a:ext cx="1162679" cy="1484707"/>
            </a:xfrm>
            <a:prstGeom prst="ellipse">
              <a:avLst/>
            </a:prstGeom>
            <a:solidFill>
              <a:srgbClr val="3FBE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994626" y="4910110"/>
              <a:ext cx="767959" cy="36920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14126"/>
              <a:r>
                <a:rPr lang="en-US" sz="1799">
                  <a:solidFill>
                    <a:srgbClr val="00546F"/>
                  </a:solidFill>
                </a:rPr>
                <a:t>MGA</a:t>
              </a:r>
            </a:p>
          </p:txBody>
        </p:sp>
      </p:grpSp>
      <p:grpSp>
        <p:nvGrpSpPr>
          <p:cNvPr id="23" name="Group 22"/>
          <p:cNvGrpSpPr/>
          <p:nvPr userDrawn="1"/>
        </p:nvGrpSpPr>
        <p:grpSpPr>
          <a:xfrm>
            <a:off x="8030231" y="4079926"/>
            <a:ext cx="1524379" cy="1162679"/>
            <a:chOff x="8030233" y="4079925"/>
            <a:chExt cx="1524380" cy="1162679"/>
          </a:xfrm>
        </p:grpSpPr>
        <p:sp>
          <p:nvSpPr>
            <p:cNvPr id="24" name="Oval 23"/>
            <p:cNvSpPr/>
            <p:nvPr/>
          </p:nvSpPr>
          <p:spPr>
            <a:xfrm rot="7844787">
              <a:off x="8229447" y="3918911"/>
              <a:ext cx="1162679" cy="1484707"/>
            </a:xfrm>
            <a:prstGeom prst="ellipse">
              <a:avLst/>
            </a:prstGeom>
            <a:solidFill>
              <a:srgbClr val="C05B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8030233" y="4455074"/>
              <a:ext cx="1524380" cy="36920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14126"/>
              <a:r>
                <a:rPr lang="en-US" sz="1799">
                  <a:solidFill>
                    <a:srgbClr val="FFFFFF"/>
                  </a:solidFill>
                </a:rPr>
                <a:t>Accelerator</a:t>
              </a:r>
            </a:p>
          </p:txBody>
        </p:sp>
      </p:grpSp>
      <p:grpSp>
        <p:nvGrpSpPr>
          <p:cNvPr id="26" name="Group 25"/>
          <p:cNvGrpSpPr/>
          <p:nvPr userDrawn="1"/>
        </p:nvGrpSpPr>
        <p:grpSpPr>
          <a:xfrm>
            <a:off x="6644664" y="1102322"/>
            <a:ext cx="1162679" cy="1484707"/>
            <a:chOff x="6644663" y="1102320"/>
            <a:chExt cx="1162679" cy="1484707"/>
          </a:xfrm>
        </p:grpSpPr>
        <p:sp>
          <p:nvSpPr>
            <p:cNvPr id="27" name="Oval 26"/>
            <p:cNvSpPr/>
            <p:nvPr/>
          </p:nvSpPr>
          <p:spPr>
            <a:xfrm rot="20423601">
              <a:off x="6644663" y="1102320"/>
              <a:ext cx="1162679" cy="1484707"/>
            </a:xfrm>
            <a:prstGeom prst="ellipse">
              <a:avLst/>
            </a:prstGeom>
            <a:solidFill>
              <a:srgbClr val="3FBE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>
                <a:solidFill>
                  <a:srgbClr val="FFFFFF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6726588" y="1676769"/>
              <a:ext cx="1016360" cy="36920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14126"/>
              <a:r>
                <a:rPr lang="en-US" sz="1799">
                  <a:solidFill>
                    <a:srgbClr val="00546F"/>
                  </a:solidFill>
                </a:rPr>
                <a:t>Vendor</a:t>
              </a: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>
            <a:off x="8012981" y="1343960"/>
            <a:ext cx="1162679" cy="1484707"/>
            <a:chOff x="8012981" y="1343959"/>
            <a:chExt cx="1162679" cy="1484707"/>
          </a:xfrm>
        </p:grpSpPr>
        <p:sp>
          <p:nvSpPr>
            <p:cNvPr id="30" name="Oval 29"/>
            <p:cNvSpPr/>
            <p:nvPr/>
          </p:nvSpPr>
          <p:spPr>
            <a:xfrm rot="1629290">
              <a:off x="8012981" y="1343959"/>
              <a:ext cx="1162679" cy="1484707"/>
            </a:xfrm>
            <a:prstGeom prst="ellipse">
              <a:avLst/>
            </a:prstGeom>
            <a:solidFill>
              <a:srgbClr val="3331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>
                <a:solidFill>
                  <a:srgbClr val="FFFFFF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8126349" y="1947064"/>
              <a:ext cx="87235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14126"/>
              <a:r>
                <a:rPr lang="en-US" sz="1799">
                  <a:solidFill>
                    <a:srgbClr val="FFFFFF"/>
                  </a:solidFill>
                </a:rPr>
                <a:t>Broker</a:t>
              </a:r>
            </a:p>
          </p:txBody>
        </p:sp>
      </p:grpSp>
      <p:grpSp>
        <p:nvGrpSpPr>
          <p:cNvPr id="32" name="Group 31"/>
          <p:cNvGrpSpPr/>
          <p:nvPr userDrawn="1"/>
        </p:nvGrpSpPr>
        <p:grpSpPr>
          <a:xfrm>
            <a:off x="8526535" y="2781849"/>
            <a:ext cx="1555592" cy="1162679"/>
            <a:chOff x="8526532" y="2781847"/>
            <a:chExt cx="1555592" cy="1162679"/>
          </a:xfrm>
        </p:grpSpPr>
        <p:sp>
          <p:nvSpPr>
            <p:cNvPr id="33" name="Oval 32"/>
            <p:cNvSpPr/>
            <p:nvPr/>
          </p:nvSpPr>
          <p:spPr>
            <a:xfrm rot="5980605">
              <a:off x="8758431" y="2620833"/>
              <a:ext cx="1162679" cy="1484707"/>
            </a:xfrm>
            <a:prstGeom prst="ellipse">
              <a:avLst/>
            </a:prstGeom>
            <a:solidFill>
              <a:srgbClr val="CBC5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>
                <a:solidFill>
                  <a:srgbClr val="FFFFFF"/>
                </a:solidFill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8526532" y="3185864"/>
              <a:ext cx="1554829" cy="36920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14126"/>
              <a:r>
                <a:rPr lang="en-US" sz="1799" err="1">
                  <a:solidFill>
                    <a:srgbClr val="00546F"/>
                  </a:solidFill>
                </a:rPr>
                <a:t>Entrepeneur</a:t>
              </a:r>
              <a:endParaRPr lang="en-US" sz="1799">
                <a:solidFill>
                  <a:srgbClr val="00546F"/>
                </a:solidFill>
              </a:endParaRPr>
            </a:p>
          </p:txBody>
        </p:sp>
      </p:grpSp>
      <p:sp>
        <p:nvSpPr>
          <p:cNvPr id="35" name="Title 1"/>
          <p:cNvSpPr>
            <a:spLocks noGrp="1"/>
          </p:cNvSpPr>
          <p:nvPr>
            <p:ph type="title" hasCustomPrompt="1"/>
          </p:nvPr>
        </p:nvSpPr>
        <p:spPr>
          <a:xfrm>
            <a:off x="591128" y="809555"/>
            <a:ext cx="3149601" cy="1855783"/>
          </a:xfrm>
        </p:spPr>
        <p:txBody>
          <a:bodyPr anchor="t">
            <a:normAutofit/>
          </a:bodyPr>
          <a:lstStyle>
            <a:lvl1pPr>
              <a:lnSpc>
                <a:spcPts val="4139"/>
              </a:lnSpc>
              <a:defRPr sz="31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91128" y="3029529"/>
            <a:ext cx="3149601" cy="3260437"/>
          </a:xfrm>
        </p:spPr>
        <p:txBody>
          <a:bodyPr>
            <a:normAutofit/>
          </a:bodyPr>
          <a:lstStyle>
            <a:lvl1pPr marL="0" indent="0">
              <a:buNone/>
              <a:defRPr sz="1799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063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2pPr>
            <a:lvl3pPr marL="914126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3pPr>
            <a:lvl4pPr marL="1371189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4pPr>
            <a:lvl5pPr marL="1828251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Footer Placeholder 4"/>
          <p:cNvSpPr txBox="1">
            <a:spLocks/>
          </p:cNvSpPr>
          <p:nvPr userDrawn="1"/>
        </p:nvSpPr>
        <p:spPr>
          <a:xfrm rot="5400000">
            <a:off x="11011728" y="1059703"/>
            <a:ext cx="1721613" cy="240099"/>
          </a:xfrm>
          <a:prstGeom prst="rect">
            <a:avLst/>
          </a:prstGeom>
          <a:noFill/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accent6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FFFFFF"/>
                </a:solidFill>
              </a:rPr>
              <a:t>© </a:t>
            </a:r>
            <a:r>
              <a:rPr lang="en-US" sz="900" b="1">
                <a:solidFill>
                  <a:srgbClr val="FFFFFF"/>
                </a:solidFill>
              </a:rPr>
              <a:t>COOKHOUSE LABS </a:t>
            </a:r>
            <a:r>
              <a:rPr lang="en-US" sz="900">
                <a:solidFill>
                  <a:srgbClr val="FFF200"/>
                </a:solidFill>
              </a:rPr>
              <a:t>2019 </a:t>
            </a:r>
          </a:p>
        </p:txBody>
      </p:sp>
    </p:spTree>
    <p:extLst>
      <p:ext uri="{BB962C8B-B14F-4D97-AF65-F5344CB8AC3E}">
        <p14:creationId xmlns:p14="http://schemas.microsoft.com/office/powerpoint/2010/main" val="79698468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title" hasCustomPrompt="1"/>
          </p:nvPr>
        </p:nvSpPr>
        <p:spPr>
          <a:xfrm>
            <a:off x="591126" y="324000"/>
            <a:ext cx="10762673" cy="47538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91126" y="852495"/>
            <a:ext cx="10762673" cy="482600"/>
          </a:xfrm>
        </p:spPr>
        <p:txBody>
          <a:bodyPr lIns="0">
            <a:normAutofit/>
          </a:bodyPr>
          <a:lstStyle>
            <a:lvl1pPr marL="0" indent="0">
              <a:buNone/>
              <a:defRPr sz="2799">
                <a:solidFill>
                  <a:schemeClr val="bg2"/>
                </a:solidFill>
              </a:defRPr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699568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white column dark bg smal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" y="0"/>
            <a:ext cx="411638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91128" y="324001"/>
            <a:ext cx="3149601" cy="1855783"/>
          </a:xfrm>
        </p:spPr>
        <p:txBody>
          <a:bodyPr anchor="t">
            <a:normAutofit/>
          </a:bodyPr>
          <a:lstStyle>
            <a:lvl1pPr>
              <a:lnSpc>
                <a:spcPts val="4139"/>
              </a:lnSpc>
              <a:defRPr sz="3199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91128" y="3029529"/>
            <a:ext cx="3149601" cy="3260437"/>
          </a:xfrm>
        </p:spPr>
        <p:txBody>
          <a:bodyPr>
            <a:normAutofit/>
          </a:bodyPr>
          <a:lstStyle>
            <a:lvl1pPr marL="0" indent="0">
              <a:buNone/>
              <a:defRPr sz="1799" b="0" i="0">
                <a:solidFill>
                  <a:schemeClr val="accent6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063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2pPr>
            <a:lvl3pPr marL="914126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3pPr>
            <a:lvl4pPr marL="1371189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4pPr>
            <a:lvl5pPr marL="1828251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28255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white column light bg small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" y="0"/>
            <a:ext cx="411638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91128" y="324001"/>
            <a:ext cx="3149601" cy="1855783"/>
          </a:xfrm>
        </p:spPr>
        <p:txBody>
          <a:bodyPr anchor="t">
            <a:normAutofit/>
          </a:bodyPr>
          <a:lstStyle>
            <a:lvl1pPr>
              <a:lnSpc>
                <a:spcPts val="4139"/>
              </a:lnSpc>
              <a:defRPr sz="3199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91128" y="3029529"/>
            <a:ext cx="3149601" cy="3260437"/>
          </a:xfrm>
        </p:spPr>
        <p:txBody>
          <a:bodyPr>
            <a:normAutofit/>
          </a:bodyPr>
          <a:lstStyle>
            <a:lvl1pPr marL="0" indent="0">
              <a:buNone/>
              <a:defRPr sz="1799" b="0" i="0">
                <a:solidFill>
                  <a:schemeClr val="accent6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063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2pPr>
            <a:lvl3pPr marL="914126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3pPr>
            <a:lvl4pPr marL="1371189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4pPr>
            <a:lvl5pPr marL="1828251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65656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color column white logo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H="1">
            <a:off x="4116387" y="0"/>
            <a:ext cx="807561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91128" y="324001"/>
            <a:ext cx="3149601" cy="1855783"/>
          </a:xfrm>
        </p:spPr>
        <p:txBody>
          <a:bodyPr anchor="t">
            <a:normAutofit/>
          </a:bodyPr>
          <a:lstStyle>
            <a:lvl1pPr>
              <a:lnSpc>
                <a:spcPts val="4139"/>
              </a:lnSpc>
              <a:defRPr sz="31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91128" y="3029529"/>
            <a:ext cx="3149601" cy="3260437"/>
          </a:xfrm>
        </p:spPr>
        <p:txBody>
          <a:bodyPr>
            <a:normAutofit/>
          </a:bodyPr>
          <a:lstStyle>
            <a:lvl1pPr marL="0" indent="0">
              <a:buNone/>
              <a:defRPr sz="1799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063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2pPr>
            <a:lvl3pPr marL="914126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3pPr>
            <a:lvl4pPr marL="1371189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4pPr>
            <a:lvl5pPr marL="1828251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 rot="5400000">
            <a:off x="11011728" y="1059703"/>
            <a:ext cx="1721613" cy="240099"/>
          </a:xfrm>
          <a:prstGeom prst="rect">
            <a:avLst/>
          </a:prstGeom>
          <a:noFill/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accent6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© </a:t>
            </a:r>
            <a:r>
              <a:rPr lang="en-US" sz="900" b="1">
                <a:solidFill>
                  <a:srgbClr val="000000"/>
                </a:solidFill>
              </a:rPr>
              <a:t>COOKHOUSE LABS </a:t>
            </a:r>
            <a:r>
              <a:rPr lang="en-US" sz="900">
                <a:solidFill>
                  <a:srgbClr val="FF8C00"/>
                </a:solidFill>
              </a:rPr>
              <a:t>2019 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 rot="5400000">
            <a:off x="11142284" y="2400828"/>
            <a:ext cx="1460501" cy="24009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80F98B30-8928-4B44-B774-CD49BA0BF5B5}" type="slidenum">
              <a:rPr lang="en-US" smtClean="0">
                <a:solidFill>
                  <a:srgbClr val="FF8C00"/>
                </a:solidFill>
              </a:rPr>
              <a:pPr/>
              <a:t>‹#›</a:t>
            </a:fld>
            <a:endParaRPr lang="en-US">
              <a:solidFill>
                <a:srgbClr val="FF8C0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049" b="22472"/>
          <a:stretch/>
        </p:blipFill>
        <p:spPr>
          <a:xfrm>
            <a:off x="3095033" y="5784785"/>
            <a:ext cx="1021352" cy="1081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156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04090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color column black logo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H="1">
            <a:off x="4116387" y="0"/>
            <a:ext cx="807561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91128" y="324001"/>
            <a:ext cx="3149601" cy="1855783"/>
          </a:xfrm>
        </p:spPr>
        <p:txBody>
          <a:bodyPr anchor="t">
            <a:normAutofit/>
          </a:bodyPr>
          <a:lstStyle>
            <a:lvl1pPr>
              <a:lnSpc>
                <a:spcPts val="4139"/>
              </a:lnSpc>
              <a:defRPr sz="31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91128" y="3029529"/>
            <a:ext cx="3149601" cy="3260437"/>
          </a:xfrm>
        </p:spPr>
        <p:txBody>
          <a:bodyPr>
            <a:normAutofit/>
          </a:bodyPr>
          <a:lstStyle>
            <a:lvl1pPr marL="0" indent="0">
              <a:buNone/>
              <a:defRPr sz="1799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063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2pPr>
            <a:lvl3pPr marL="914126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3pPr>
            <a:lvl4pPr marL="1371189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4pPr>
            <a:lvl5pPr marL="1828251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492" b="20713"/>
          <a:stretch/>
        </p:blipFill>
        <p:spPr>
          <a:xfrm>
            <a:off x="11184636" y="5799016"/>
            <a:ext cx="1007364" cy="1066936"/>
          </a:xfrm>
          <a:prstGeom prst="rect">
            <a:avLst/>
          </a:pr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5400000">
            <a:off x="11011728" y="1059703"/>
            <a:ext cx="1721613" cy="240099"/>
          </a:xfrm>
          <a:prstGeom prst="rect">
            <a:avLst/>
          </a:prstGeom>
          <a:noFill/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accent6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© </a:t>
            </a:r>
            <a:r>
              <a:rPr lang="en-US" sz="900" b="1">
                <a:solidFill>
                  <a:srgbClr val="000000"/>
                </a:solidFill>
              </a:rPr>
              <a:t>COOKHOUSE LABS </a:t>
            </a:r>
            <a:r>
              <a:rPr lang="en-US" sz="900">
                <a:solidFill>
                  <a:srgbClr val="FF8C00"/>
                </a:solidFill>
              </a:rPr>
              <a:t>2019 </a:t>
            </a:r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4"/>
          </p:nvPr>
        </p:nvSpPr>
        <p:spPr>
          <a:xfrm rot="5400000">
            <a:off x="11142284" y="2400828"/>
            <a:ext cx="1460501" cy="24009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15"/>
          </p:nvPr>
        </p:nvSpPr>
        <p:spPr>
          <a:xfrm>
            <a:off x="11353801" y="3238291"/>
            <a:ext cx="638783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80F98B30-8928-4B44-B774-CD49BA0BF5B5}" type="slidenum">
              <a:rPr lang="en-US" smtClean="0">
                <a:solidFill>
                  <a:srgbClr val="FF8C00"/>
                </a:solidFill>
              </a:rPr>
              <a:pPr/>
              <a:t>‹#›</a:t>
            </a:fld>
            <a:endParaRPr lang="en-US">
              <a:solidFill>
                <a:srgbClr val="FF8C00"/>
              </a:solidFill>
            </a:endParaRPr>
          </a:p>
        </p:txBody>
      </p:sp>
      <p:grpSp>
        <p:nvGrpSpPr>
          <p:cNvPr id="11" name="Group 10"/>
          <p:cNvGrpSpPr>
            <a:grpSpLocks noChangeAspect="1"/>
          </p:cNvGrpSpPr>
          <p:nvPr userDrawn="1"/>
        </p:nvGrpSpPr>
        <p:grpSpPr>
          <a:xfrm>
            <a:off x="10121956" y="6365542"/>
            <a:ext cx="869986" cy="285103"/>
            <a:chOff x="2101850" y="4652963"/>
            <a:chExt cx="469900" cy="153987"/>
          </a:xfrm>
        </p:grpSpPr>
        <p:sp>
          <p:nvSpPr>
            <p:cNvPr id="13" name="Freeform 41"/>
            <p:cNvSpPr>
              <a:spLocks noChangeArrowheads="1"/>
            </p:cNvSpPr>
            <p:nvPr/>
          </p:nvSpPr>
          <p:spPr bwMode="auto">
            <a:xfrm>
              <a:off x="2101850" y="4716463"/>
              <a:ext cx="49213" cy="49212"/>
            </a:xfrm>
            <a:custGeom>
              <a:avLst/>
              <a:gdLst>
                <a:gd name="T0" fmla="*/ 0 w 137"/>
                <a:gd name="T1" fmla="*/ 67 h 135"/>
                <a:gd name="T2" fmla="*/ 68 w 137"/>
                <a:gd name="T3" fmla="*/ 0 h 135"/>
                <a:gd name="T4" fmla="*/ 136 w 137"/>
                <a:gd name="T5" fmla="*/ 67 h 135"/>
                <a:gd name="T6" fmla="*/ 68 w 137"/>
                <a:gd name="T7" fmla="*/ 134 h 135"/>
                <a:gd name="T8" fmla="*/ 68 w 137"/>
                <a:gd name="T9" fmla="*/ 134 h 135"/>
                <a:gd name="T10" fmla="*/ 0 w 137"/>
                <a:gd name="T11" fmla="*/ 67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" h="135">
                  <a:moveTo>
                    <a:pt x="0" y="67"/>
                  </a:moveTo>
                  <a:cubicBezTo>
                    <a:pt x="0" y="30"/>
                    <a:pt x="30" y="0"/>
                    <a:pt x="68" y="0"/>
                  </a:cubicBezTo>
                  <a:cubicBezTo>
                    <a:pt x="105" y="0"/>
                    <a:pt x="136" y="30"/>
                    <a:pt x="136" y="67"/>
                  </a:cubicBezTo>
                  <a:cubicBezTo>
                    <a:pt x="136" y="105"/>
                    <a:pt x="105" y="134"/>
                    <a:pt x="68" y="134"/>
                  </a:cubicBezTo>
                  <a:lnTo>
                    <a:pt x="68" y="134"/>
                  </a:lnTo>
                  <a:cubicBezTo>
                    <a:pt x="30" y="134"/>
                    <a:pt x="0" y="104"/>
                    <a:pt x="0" y="67"/>
                  </a:cubicBezTo>
                </a:path>
              </a:pathLst>
            </a:custGeom>
            <a:solidFill>
              <a:srgbClr val="9E003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99"/>
            </a:p>
          </p:txBody>
        </p:sp>
        <p:sp>
          <p:nvSpPr>
            <p:cNvPr id="15" name="Freeform 42"/>
            <p:cNvSpPr>
              <a:spLocks noChangeArrowheads="1"/>
            </p:cNvSpPr>
            <p:nvPr/>
          </p:nvSpPr>
          <p:spPr bwMode="auto">
            <a:xfrm>
              <a:off x="2165350" y="4652963"/>
              <a:ext cx="158750" cy="112712"/>
            </a:xfrm>
            <a:custGeom>
              <a:avLst/>
              <a:gdLst>
                <a:gd name="T0" fmla="*/ 0 w 439"/>
                <a:gd name="T1" fmla="*/ 0 h 311"/>
                <a:gd name="T2" fmla="*/ 360 w 439"/>
                <a:gd name="T3" fmla="*/ 0 h 311"/>
                <a:gd name="T4" fmla="*/ 438 w 439"/>
                <a:gd name="T5" fmla="*/ 87 h 311"/>
                <a:gd name="T6" fmla="*/ 438 w 439"/>
                <a:gd name="T7" fmla="*/ 310 h 311"/>
                <a:gd name="T8" fmla="*/ 381 w 439"/>
                <a:gd name="T9" fmla="*/ 310 h 311"/>
                <a:gd name="T10" fmla="*/ 381 w 439"/>
                <a:gd name="T11" fmla="*/ 103 h 311"/>
                <a:gd name="T12" fmla="*/ 331 w 439"/>
                <a:gd name="T13" fmla="*/ 47 h 311"/>
                <a:gd name="T14" fmla="*/ 245 w 439"/>
                <a:gd name="T15" fmla="*/ 47 h 311"/>
                <a:gd name="T16" fmla="*/ 245 w 439"/>
                <a:gd name="T17" fmla="*/ 310 h 311"/>
                <a:gd name="T18" fmla="*/ 188 w 439"/>
                <a:gd name="T19" fmla="*/ 310 h 311"/>
                <a:gd name="T20" fmla="*/ 188 w 439"/>
                <a:gd name="T21" fmla="*/ 47 h 311"/>
                <a:gd name="T22" fmla="*/ 57 w 439"/>
                <a:gd name="T23" fmla="*/ 47 h 311"/>
                <a:gd name="T24" fmla="*/ 57 w 439"/>
                <a:gd name="T25" fmla="*/ 310 h 311"/>
                <a:gd name="T26" fmla="*/ 0 w 439"/>
                <a:gd name="T27" fmla="*/ 310 h 311"/>
                <a:gd name="T28" fmla="*/ 0 w 439"/>
                <a:gd name="T29" fmla="*/ 0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9" h="311">
                  <a:moveTo>
                    <a:pt x="0" y="0"/>
                  </a:moveTo>
                  <a:lnTo>
                    <a:pt x="360" y="0"/>
                  </a:lnTo>
                  <a:cubicBezTo>
                    <a:pt x="416" y="0"/>
                    <a:pt x="438" y="45"/>
                    <a:pt x="438" y="87"/>
                  </a:cubicBezTo>
                  <a:lnTo>
                    <a:pt x="438" y="310"/>
                  </a:lnTo>
                  <a:lnTo>
                    <a:pt x="381" y="310"/>
                  </a:lnTo>
                  <a:lnTo>
                    <a:pt x="381" y="103"/>
                  </a:lnTo>
                  <a:cubicBezTo>
                    <a:pt x="381" y="65"/>
                    <a:pt x="361" y="47"/>
                    <a:pt x="331" y="47"/>
                  </a:cubicBezTo>
                  <a:lnTo>
                    <a:pt x="245" y="47"/>
                  </a:lnTo>
                  <a:lnTo>
                    <a:pt x="245" y="310"/>
                  </a:lnTo>
                  <a:lnTo>
                    <a:pt x="188" y="310"/>
                  </a:lnTo>
                  <a:lnTo>
                    <a:pt x="188" y="47"/>
                  </a:lnTo>
                  <a:lnTo>
                    <a:pt x="57" y="47"/>
                  </a:lnTo>
                  <a:lnTo>
                    <a:pt x="57" y="310"/>
                  </a:lnTo>
                  <a:lnTo>
                    <a:pt x="0" y="310"/>
                  </a:lnTo>
                  <a:lnTo>
                    <a:pt x="0" y="0"/>
                  </a:lnTo>
                </a:path>
              </a:pathLst>
            </a:custGeom>
            <a:solidFill>
              <a:srgbClr val="6D6E7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99"/>
            </a:p>
          </p:txBody>
        </p:sp>
        <p:sp>
          <p:nvSpPr>
            <p:cNvPr id="16" name="Freeform 43"/>
            <p:cNvSpPr>
              <a:spLocks noChangeArrowheads="1"/>
            </p:cNvSpPr>
            <p:nvPr/>
          </p:nvSpPr>
          <p:spPr bwMode="auto">
            <a:xfrm>
              <a:off x="2335213" y="4652963"/>
              <a:ext cx="112712" cy="112712"/>
            </a:xfrm>
            <a:custGeom>
              <a:avLst/>
              <a:gdLst>
                <a:gd name="T0" fmla="*/ 79 w 311"/>
                <a:gd name="T1" fmla="*/ 0 h 311"/>
                <a:gd name="T2" fmla="*/ 299 w 311"/>
                <a:gd name="T3" fmla="*/ 0 h 311"/>
                <a:gd name="T4" fmla="*/ 299 w 311"/>
                <a:gd name="T5" fmla="*/ 47 h 311"/>
                <a:gd name="T6" fmla="*/ 99 w 311"/>
                <a:gd name="T7" fmla="*/ 47 h 311"/>
                <a:gd name="T8" fmla="*/ 56 w 311"/>
                <a:gd name="T9" fmla="*/ 87 h 311"/>
                <a:gd name="T10" fmla="*/ 93 w 311"/>
                <a:gd name="T11" fmla="*/ 129 h 311"/>
                <a:gd name="T12" fmla="*/ 239 w 311"/>
                <a:gd name="T13" fmla="*/ 129 h 311"/>
                <a:gd name="T14" fmla="*/ 310 w 311"/>
                <a:gd name="T15" fmla="*/ 222 h 311"/>
                <a:gd name="T16" fmla="*/ 236 w 311"/>
                <a:gd name="T17" fmla="*/ 310 h 311"/>
                <a:gd name="T18" fmla="*/ 4 w 311"/>
                <a:gd name="T19" fmla="*/ 310 h 311"/>
                <a:gd name="T20" fmla="*/ 4 w 311"/>
                <a:gd name="T21" fmla="*/ 263 h 311"/>
                <a:gd name="T22" fmla="*/ 212 w 311"/>
                <a:gd name="T23" fmla="*/ 263 h 311"/>
                <a:gd name="T24" fmla="*/ 252 w 311"/>
                <a:gd name="T25" fmla="*/ 222 h 311"/>
                <a:gd name="T26" fmla="*/ 211 w 311"/>
                <a:gd name="T27" fmla="*/ 176 h 311"/>
                <a:gd name="T28" fmla="*/ 75 w 311"/>
                <a:gd name="T29" fmla="*/ 176 h 311"/>
                <a:gd name="T30" fmla="*/ 0 w 311"/>
                <a:gd name="T31" fmla="*/ 86 h 311"/>
                <a:gd name="T32" fmla="*/ 79 w 311"/>
                <a:gd name="T33" fmla="*/ 0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1" h="311">
                  <a:moveTo>
                    <a:pt x="79" y="0"/>
                  </a:moveTo>
                  <a:lnTo>
                    <a:pt x="299" y="0"/>
                  </a:lnTo>
                  <a:lnTo>
                    <a:pt x="299" y="47"/>
                  </a:lnTo>
                  <a:lnTo>
                    <a:pt x="99" y="47"/>
                  </a:lnTo>
                  <a:cubicBezTo>
                    <a:pt x="60" y="47"/>
                    <a:pt x="56" y="74"/>
                    <a:pt x="56" y="87"/>
                  </a:cubicBezTo>
                  <a:cubicBezTo>
                    <a:pt x="56" y="104"/>
                    <a:pt x="56" y="129"/>
                    <a:pt x="93" y="129"/>
                  </a:cubicBezTo>
                  <a:lnTo>
                    <a:pt x="239" y="129"/>
                  </a:lnTo>
                  <a:cubicBezTo>
                    <a:pt x="289" y="129"/>
                    <a:pt x="310" y="158"/>
                    <a:pt x="310" y="222"/>
                  </a:cubicBezTo>
                  <a:cubicBezTo>
                    <a:pt x="310" y="277"/>
                    <a:pt x="293" y="310"/>
                    <a:pt x="236" y="310"/>
                  </a:cubicBezTo>
                  <a:lnTo>
                    <a:pt x="4" y="310"/>
                  </a:lnTo>
                  <a:lnTo>
                    <a:pt x="4" y="263"/>
                  </a:lnTo>
                  <a:lnTo>
                    <a:pt x="212" y="263"/>
                  </a:lnTo>
                  <a:cubicBezTo>
                    <a:pt x="252" y="263"/>
                    <a:pt x="252" y="235"/>
                    <a:pt x="252" y="222"/>
                  </a:cubicBezTo>
                  <a:cubicBezTo>
                    <a:pt x="252" y="208"/>
                    <a:pt x="252" y="176"/>
                    <a:pt x="211" y="176"/>
                  </a:cubicBezTo>
                  <a:lnTo>
                    <a:pt x="75" y="176"/>
                  </a:lnTo>
                  <a:cubicBezTo>
                    <a:pt x="19" y="176"/>
                    <a:pt x="0" y="135"/>
                    <a:pt x="0" y="86"/>
                  </a:cubicBezTo>
                  <a:cubicBezTo>
                    <a:pt x="0" y="41"/>
                    <a:pt x="18" y="0"/>
                    <a:pt x="79" y="0"/>
                  </a:cubicBezTo>
                </a:path>
              </a:pathLst>
            </a:custGeom>
            <a:solidFill>
              <a:srgbClr val="6D6E7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99"/>
            </a:p>
          </p:txBody>
        </p:sp>
        <p:sp>
          <p:nvSpPr>
            <p:cNvPr id="17" name="Freeform 44"/>
            <p:cNvSpPr>
              <a:spLocks noChangeArrowheads="1"/>
            </p:cNvSpPr>
            <p:nvPr/>
          </p:nvSpPr>
          <p:spPr bwMode="auto">
            <a:xfrm>
              <a:off x="2460625" y="4652963"/>
              <a:ext cx="111125" cy="146050"/>
            </a:xfrm>
            <a:custGeom>
              <a:avLst/>
              <a:gdLst>
                <a:gd name="T0" fmla="*/ 113 w 307"/>
                <a:gd name="T1" fmla="*/ 0 h 407"/>
                <a:gd name="T2" fmla="*/ 306 w 307"/>
                <a:gd name="T3" fmla="*/ 0 h 407"/>
                <a:gd name="T4" fmla="*/ 306 w 307"/>
                <a:gd name="T5" fmla="*/ 338 h 407"/>
                <a:gd name="T6" fmla="*/ 236 w 307"/>
                <a:gd name="T7" fmla="*/ 406 h 407"/>
                <a:gd name="T8" fmla="*/ 40 w 307"/>
                <a:gd name="T9" fmla="*/ 406 h 407"/>
                <a:gd name="T10" fmla="*/ 40 w 307"/>
                <a:gd name="T11" fmla="*/ 356 h 407"/>
                <a:gd name="T12" fmla="*/ 218 w 307"/>
                <a:gd name="T13" fmla="*/ 356 h 407"/>
                <a:gd name="T14" fmla="*/ 249 w 307"/>
                <a:gd name="T15" fmla="*/ 322 h 407"/>
                <a:gd name="T16" fmla="*/ 249 w 307"/>
                <a:gd name="T17" fmla="*/ 310 h 407"/>
                <a:gd name="T18" fmla="*/ 113 w 307"/>
                <a:gd name="T19" fmla="*/ 310 h 407"/>
                <a:gd name="T20" fmla="*/ 31 w 307"/>
                <a:gd name="T21" fmla="*/ 294 h 407"/>
                <a:gd name="T22" fmla="*/ 0 w 307"/>
                <a:gd name="T23" fmla="*/ 211 h 407"/>
                <a:gd name="T24" fmla="*/ 0 w 307"/>
                <a:gd name="T25" fmla="*/ 99 h 407"/>
                <a:gd name="T26" fmla="*/ 29 w 307"/>
                <a:gd name="T27" fmla="*/ 19 h 407"/>
                <a:gd name="T28" fmla="*/ 113 w 307"/>
                <a:gd name="T29" fmla="*/ 0 h 407"/>
                <a:gd name="T30" fmla="*/ 130 w 307"/>
                <a:gd name="T31" fmla="*/ 263 h 407"/>
                <a:gd name="T32" fmla="*/ 249 w 307"/>
                <a:gd name="T33" fmla="*/ 263 h 407"/>
                <a:gd name="T34" fmla="*/ 249 w 307"/>
                <a:gd name="T35" fmla="*/ 47 h 407"/>
                <a:gd name="T36" fmla="*/ 249 w 307"/>
                <a:gd name="T37" fmla="*/ 47 h 407"/>
                <a:gd name="T38" fmla="*/ 132 w 307"/>
                <a:gd name="T39" fmla="*/ 47 h 407"/>
                <a:gd name="T40" fmla="*/ 58 w 307"/>
                <a:gd name="T41" fmla="*/ 98 h 407"/>
                <a:gd name="T42" fmla="*/ 58 w 307"/>
                <a:gd name="T43" fmla="*/ 153 h 407"/>
                <a:gd name="T44" fmla="*/ 58 w 307"/>
                <a:gd name="T45" fmla="*/ 220 h 407"/>
                <a:gd name="T46" fmla="*/ 130 w 307"/>
                <a:gd name="T47" fmla="*/ 263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07" h="407">
                  <a:moveTo>
                    <a:pt x="113" y="0"/>
                  </a:moveTo>
                  <a:lnTo>
                    <a:pt x="306" y="0"/>
                  </a:lnTo>
                  <a:lnTo>
                    <a:pt x="306" y="338"/>
                  </a:lnTo>
                  <a:cubicBezTo>
                    <a:pt x="306" y="382"/>
                    <a:pt x="289" y="406"/>
                    <a:pt x="236" y="406"/>
                  </a:cubicBezTo>
                  <a:lnTo>
                    <a:pt x="40" y="406"/>
                  </a:lnTo>
                  <a:lnTo>
                    <a:pt x="40" y="356"/>
                  </a:lnTo>
                  <a:lnTo>
                    <a:pt x="218" y="356"/>
                  </a:lnTo>
                  <a:cubicBezTo>
                    <a:pt x="245" y="356"/>
                    <a:pt x="249" y="346"/>
                    <a:pt x="249" y="322"/>
                  </a:cubicBezTo>
                  <a:lnTo>
                    <a:pt x="249" y="310"/>
                  </a:lnTo>
                  <a:lnTo>
                    <a:pt x="113" y="310"/>
                  </a:lnTo>
                  <a:cubicBezTo>
                    <a:pt x="59" y="310"/>
                    <a:pt x="41" y="302"/>
                    <a:pt x="31" y="294"/>
                  </a:cubicBezTo>
                  <a:cubicBezTo>
                    <a:pt x="15" y="281"/>
                    <a:pt x="0" y="265"/>
                    <a:pt x="0" y="211"/>
                  </a:cubicBezTo>
                  <a:lnTo>
                    <a:pt x="0" y="99"/>
                  </a:lnTo>
                  <a:cubicBezTo>
                    <a:pt x="0" y="47"/>
                    <a:pt x="14" y="31"/>
                    <a:pt x="29" y="19"/>
                  </a:cubicBezTo>
                  <a:cubicBezTo>
                    <a:pt x="43" y="8"/>
                    <a:pt x="62" y="0"/>
                    <a:pt x="113" y="0"/>
                  </a:cubicBezTo>
                  <a:close/>
                  <a:moveTo>
                    <a:pt x="130" y="263"/>
                  </a:moveTo>
                  <a:lnTo>
                    <a:pt x="249" y="263"/>
                  </a:lnTo>
                  <a:lnTo>
                    <a:pt x="249" y="47"/>
                  </a:lnTo>
                  <a:lnTo>
                    <a:pt x="249" y="47"/>
                  </a:lnTo>
                  <a:lnTo>
                    <a:pt x="132" y="47"/>
                  </a:lnTo>
                  <a:cubicBezTo>
                    <a:pt x="74" y="46"/>
                    <a:pt x="60" y="59"/>
                    <a:pt x="58" y="98"/>
                  </a:cubicBezTo>
                  <a:cubicBezTo>
                    <a:pt x="58" y="102"/>
                    <a:pt x="58" y="112"/>
                    <a:pt x="58" y="153"/>
                  </a:cubicBezTo>
                  <a:cubicBezTo>
                    <a:pt x="58" y="202"/>
                    <a:pt x="58" y="218"/>
                    <a:pt x="58" y="220"/>
                  </a:cubicBezTo>
                  <a:cubicBezTo>
                    <a:pt x="59" y="266"/>
                    <a:pt x="95" y="263"/>
                    <a:pt x="130" y="263"/>
                  </a:cubicBez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99"/>
            </a:p>
          </p:txBody>
        </p:sp>
        <p:sp>
          <p:nvSpPr>
            <p:cNvPr id="18" name="Freeform 45"/>
            <p:cNvSpPr>
              <a:spLocks noChangeArrowheads="1"/>
            </p:cNvSpPr>
            <p:nvPr/>
          </p:nvSpPr>
          <p:spPr bwMode="auto">
            <a:xfrm>
              <a:off x="2165350" y="4779963"/>
              <a:ext cx="23813" cy="26987"/>
            </a:xfrm>
            <a:custGeom>
              <a:avLst/>
              <a:gdLst>
                <a:gd name="T0" fmla="*/ 31 w 64"/>
                <a:gd name="T1" fmla="*/ 74 h 75"/>
                <a:gd name="T2" fmla="*/ 11 w 64"/>
                <a:gd name="T3" fmla="*/ 70 h 75"/>
                <a:gd name="T4" fmla="*/ 4 w 64"/>
                <a:gd name="T5" fmla="*/ 57 h 75"/>
                <a:gd name="T6" fmla="*/ 15 w 64"/>
                <a:gd name="T7" fmla="*/ 57 h 75"/>
                <a:gd name="T8" fmla="*/ 19 w 64"/>
                <a:gd name="T9" fmla="*/ 64 h 75"/>
                <a:gd name="T10" fmla="*/ 31 w 64"/>
                <a:gd name="T11" fmla="*/ 67 h 75"/>
                <a:gd name="T12" fmla="*/ 47 w 64"/>
                <a:gd name="T13" fmla="*/ 62 h 75"/>
                <a:gd name="T14" fmla="*/ 53 w 64"/>
                <a:gd name="T15" fmla="*/ 47 h 75"/>
                <a:gd name="T16" fmla="*/ 53 w 64"/>
                <a:gd name="T17" fmla="*/ 43 h 75"/>
                <a:gd name="T18" fmla="*/ 32 w 64"/>
                <a:gd name="T19" fmla="*/ 52 h 75"/>
                <a:gd name="T20" fmla="*/ 10 w 64"/>
                <a:gd name="T21" fmla="*/ 45 h 75"/>
                <a:gd name="T22" fmla="*/ 9 w 64"/>
                <a:gd name="T23" fmla="*/ 9 h 75"/>
                <a:gd name="T24" fmla="*/ 10 w 64"/>
                <a:gd name="T25" fmla="*/ 7 h 75"/>
                <a:gd name="T26" fmla="*/ 32 w 64"/>
                <a:gd name="T27" fmla="*/ 0 h 75"/>
                <a:gd name="T28" fmla="*/ 53 w 64"/>
                <a:gd name="T29" fmla="*/ 9 h 75"/>
                <a:gd name="T30" fmla="*/ 54 w 64"/>
                <a:gd name="T31" fmla="*/ 2 h 75"/>
                <a:gd name="T32" fmla="*/ 63 w 64"/>
                <a:gd name="T33" fmla="*/ 2 h 75"/>
                <a:gd name="T34" fmla="*/ 63 w 64"/>
                <a:gd name="T35" fmla="*/ 12 h 75"/>
                <a:gd name="T36" fmla="*/ 63 w 64"/>
                <a:gd name="T37" fmla="*/ 46 h 75"/>
                <a:gd name="T38" fmla="*/ 55 w 64"/>
                <a:gd name="T39" fmla="*/ 68 h 75"/>
                <a:gd name="T40" fmla="*/ 37 w 64"/>
                <a:gd name="T41" fmla="*/ 74 h 75"/>
                <a:gd name="T42" fmla="*/ 31 w 64"/>
                <a:gd name="T43" fmla="*/ 74 h 75"/>
                <a:gd name="T44" fmla="*/ 47 w 64"/>
                <a:gd name="T45" fmla="*/ 12 h 75"/>
                <a:gd name="T46" fmla="*/ 32 w 64"/>
                <a:gd name="T47" fmla="*/ 7 h 75"/>
                <a:gd name="T48" fmla="*/ 18 w 64"/>
                <a:gd name="T49" fmla="*/ 12 h 75"/>
                <a:gd name="T50" fmla="*/ 13 w 64"/>
                <a:gd name="T51" fmla="*/ 26 h 75"/>
                <a:gd name="T52" fmla="*/ 18 w 64"/>
                <a:gd name="T53" fmla="*/ 40 h 75"/>
                <a:gd name="T54" fmla="*/ 33 w 64"/>
                <a:gd name="T55" fmla="*/ 45 h 75"/>
                <a:gd name="T56" fmla="*/ 47 w 64"/>
                <a:gd name="T57" fmla="*/ 40 h 75"/>
                <a:gd name="T58" fmla="*/ 53 w 64"/>
                <a:gd name="T59" fmla="*/ 26 h 75"/>
                <a:gd name="T60" fmla="*/ 47 w 64"/>
                <a:gd name="T61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75">
                  <a:moveTo>
                    <a:pt x="31" y="74"/>
                  </a:moveTo>
                  <a:cubicBezTo>
                    <a:pt x="24" y="74"/>
                    <a:pt x="17" y="73"/>
                    <a:pt x="11" y="70"/>
                  </a:cubicBezTo>
                  <a:cubicBezTo>
                    <a:pt x="7" y="67"/>
                    <a:pt x="4" y="62"/>
                    <a:pt x="4" y="57"/>
                  </a:cubicBezTo>
                  <a:lnTo>
                    <a:pt x="15" y="57"/>
                  </a:lnTo>
                  <a:cubicBezTo>
                    <a:pt x="15" y="60"/>
                    <a:pt x="16" y="63"/>
                    <a:pt x="19" y="64"/>
                  </a:cubicBezTo>
                  <a:cubicBezTo>
                    <a:pt x="23" y="66"/>
                    <a:pt x="27" y="67"/>
                    <a:pt x="31" y="67"/>
                  </a:cubicBezTo>
                  <a:cubicBezTo>
                    <a:pt x="37" y="68"/>
                    <a:pt x="43" y="66"/>
                    <a:pt x="47" y="62"/>
                  </a:cubicBezTo>
                  <a:cubicBezTo>
                    <a:pt x="51" y="58"/>
                    <a:pt x="53" y="53"/>
                    <a:pt x="53" y="47"/>
                  </a:cubicBezTo>
                  <a:lnTo>
                    <a:pt x="53" y="43"/>
                  </a:lnTo>
                  <a:cubicBezTo>
                    <a:pt x="48" y="49"/>
                    <a:pt x="40" y="53"/>
                    <a:pt x="32" y="52"/>
                  </a:cubicBezTo>
                  <a:cubicBezTo>
                    <a:pt x="24" y="52"/>
                    <a:pt x="16" y="50"/>
                    <a:pt x="10" y="45"/>
                  </a:cubicBezTo>
                  <a:cubicBezTo>
                    <a:pt x="0" y="35"/>
                    <a:pt x="0" y="19"/>
                    <a:pt x="9" y="9"/>
                  </a:cubicBezTo>
                  <a:cubicBezTo>
                    <a:pt x="10" y="8"/>
                    <a:pt x="10" y="8"/>
                    <a:pt x="10" y="7"/>
                  </a:cubicBezTo>
                  <a:cubicBezTo>
                    <a:pt x="16" y="3"/>
                    <a:pt x="24" y="0"/>
                    <a:pt x="32" y="0"/>
                  </a:cubicBezTo>
                  <a:cubicBezTo>
                    <a:pt x="40" y="0"/>
                    <a:pt x="48" y="3"/>
                    <a:pt x="53" y="9"/>
                  </a:cubicBezTo>
                  <a:lnTo>
                    <a:pt x="54" y="2"/>
                  </a:lnTo>
                  <a:lnTo>
                    <a:pt x="63" y="2"/>
                  </a:lnTo>
                  <a:lnTo>
                    <a:pt x="63" y="12"/>
                  </a:lnTo>
                  <a:lnTo>
                    <a:pt x="63" y="46"/>
                  </a:lnTo>
                  <a:cubicBezTo>
                    <a:pt x="63" y="54"/>
                    <a:pt x="61" y="62"/>
                    <a:pt x="55" y="68"/>
                  </a:cubicBezTo>
                  <a:cubicBezTo>
                    <a:pt x="50" y="71"/>
                    <a:pt x="44" y="73"/>
                    <a:pt x="37" y="74"/>
                  </a:cubicBezTo>
                  <a:lnTo>
                    <a:pt x="31" y="74"/>
                  </a:lnTo>
                  <a:close/>
                  <a:moveTo>
                    <a:pt x="47" y="12"/>
                  </a:moveTo>
                  <a:cubicBezTo>
                    <a:pt x="43" y="9"/>
                    <a:pt x="38" y="7"/>
                    <a:pt x="32" y="7"/>
                  </a:cubicBezTo>
                  <a:cubicBezTo>
                    <a:pt x="27" y="7"/>
                    <a:pt x="22" y="9"/>
                    <a:pt x="18" y="12"/>
                  </a:cubicBezTo>
                  <a:cubicBezTo>
                    <a:pt x="14" y="16"/>
                    <a:pt x="12" y="21"/>
                    <a:pt x="13" y="26"/>
                  </a:cubicBezTo>
                  <a:cubicBezTo>
                    <a:pt x="12" y="31"/>
                    <a:pt x="14" y="36"/>
                    <a:pt x="18" y="40"/>
                  </a:cubicBezTo>
                  <a:cubicBezTo>
                    <a:pt x="22" y="44"/>
                    <a:pt x="27" y="46"/>
                    <a:pt x="33" y="45"/>
                  </a:cubicBezTo>
                  <a:cubicBezTo>
                    <a:pt x="38" y="46"/>
                    <a:pt x="43" y="44"/>
                    <a:pt x="47" y="40"/>
                  </a:cubicBezTo>
                  <a:cubicBezTo>
                    <a:pt x="51" y="36"/>
                    <a:pt x="53" y="31"/>
                    <a:pt x="53" y="26"/>
                  </a:cubicBezTo>
                  <a:cubicBezTo>
                    <a:pt x="53" y="21"/>
                    <a:pt x="51" y="16"/>
                    <a:pt x="47" y="12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99"/>
            </a:p>
          </p:txBody>
        </p:sp>
        <p:sp>
          <p:nvSpPr>
            <p:cNvPr id="19" name="Freeform 46"/>
            <p:cNvSpPr>
              <a:spLocks noChangeArrowheads="1"/>
            </p:cNvSpPr>
            <p:nvPr/>
          </p:nvSpPr>
          <p:spPr bwMode="auto">
            <a:xfrm>
              <a:off x="2225675" y="4773613"/>
              <a:ext cx="3175" cy="26987"/>
            </a:xfrm>
            <a:custGeom>
              <a:avLst/>
              <a:gdLst>
                <a:gd name="T0" fmla="*/ 0 w 11"/>
                <a:gd name="T1" fmla="*/ 73 h 74"/>
                <a:gd name="T2" fmla="*/ 0 w 11"/>
                <a:gd name="T3" fmla="*/ 0 h 74"/>
                <a:gd name="T4" fmla="*/ 10 w 11"/>
                <a:gd name="T5" fmla="*/ 0 h 74"/>
                <a:gd name="T6" fmla="*/ 10 w 11"/>
                <a:gd name="T7" fmla="*/ 73 h 74"/>
                <a:gd name="T8" fmla="*/ 0 w 11"/>
                <a:gd name="T9" fmla="*/ 73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4">
                  <a:moveTo>
                    <a:pt x="0" y="7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73"/>
                  </a:lnTo>
                  <a:lnTo>
                    <a:pt x="0" y="7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99"/>
            </a:p>
          </p:txBody>
        </p:sp>
        <p:sp>
          <p:nvSpPr>
            <p:cNvPr id="20" name="Freeform 47"/>
            <p:cNvSpPr>
              <a:spLocks noChangeArrowheads="1"/>
            </p:cNvSpPr>
            <p:nvPr/>
          </p:nvSpPr>
          <p:spPr bwMode="auto">
            <a:xfrm>
              <a:off x="2266950" y="4779963"/>
              <a:ext cx="23813" cy="20637"/>
            </a:xfrm>
            <a:custGeom>
              <a:avLst/>
              <a:gdLst>
                <a:gd name="T0" fmla="*/ 1 w 66"/>
                <a:gd name="T1" fmla="*/ 30 h 58"/>
                <a:gd name="T2" fmla="*/ 9 w 66"/>
                <a:gd name="T3" fmla="*/ 10 h 58"/>
                <a:gd name="T4" fmla="*/ 56 w 66"/>
                <a:gd name="T5" fmla="*/ 10 h 58"/>
                <a:gd name="T6" fmla="*/ 64 w 66"/>
                <a:gd name="T7" fmla="*/ 30 h 58"/>
                <a:gd name="T8" fmla="*/ 56 w 66"/>
                <a:gd name="T9" fmla="*/ 50 h 58"/>
                <a:gd name="T10" fmla="*/ 33 w 66"/>
                <a:gd name="T11" fmla="*/ 57 h 58"/>
                <a:gd name="T12" fmla="*/ 9 w 66"/>
                <a:gd name="T13" fmla="*/ 50 h 58"/>
                <a:gd name="T14" fmla="*/ 1 w 66"/>
                <a:gd name="T15" fmla="*/ 30 h 58"/>
                <a:gd name="T16" fmla="*/ 11 w 66"/>
                <a:gd name="T17" fmla="*/ 30 h 58"/>
                <a:gd name="T18" fmla="*/ 17 w 66"/>
                <a:gd name="T19" fmla="*/ 44 h 58"/>
                <a:gd name="T20" fmla="*/ 33 w 66"/>
                <a:gd name="T21" fmla="*/ 50 h 58"/>
                <a:gd name="T22" fmla="*/ 48 w 66"/>
                <a:gd name="T23" fmla="*/ 44 h 58"/>
                <a:gd name="T24" fmla="*/ 48 w 66"/>
                <a:gd name="T25" fmla="*/ 15 h 58"/>
                <a:gd name="T26" fmla="*/ 17 w 66"/>
                <a:gd name="T27" fmla="*/ 15 h 58"/>
                <a:gd name="T28" fmla="*/ 11 w 66"/>
                <a:gd name="T29" fmla="*/ 3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58">
                  <a:moveTo>
                    <a:pt x="1" y="30"/>
                  </a:moveTo>
                  <a:cubicBezTo>
                    <a:pt x="0" y="22"/>
                    <a:pt x="3" y="15"/>
                    <a:pt x="9" y="10"/>
                  </a:cubicBezTo>
                  <a:cubicBezTo>
                    <a:pt x="23" y="0"/>
                    <a:pt x="42" y="0"/>
                    <a:pt x="56" y="10"/>
                  </a:cubicBezTo>
                  <a:cubicBezTo>
                    <a:pt x="62" y="15"/>
                    <a:pt x="65" y="22"/>
                    <a:pt x="64" y="30"/>
                  </a:cubicBezTo>
                  <a:cubicBezTo>
                    <a:pt x="65" y="37"/>
                    <a:pt x="62" y="45"/>
                    <a:pt x="56" y="50"/>
                  </a:cubicBezTo>
                  <a:cubicBezTo>
                    <a:pt x="49" y="55"/>
                    <a:pt x="41" y="57"/>
                    <a:pt x="33" y="57"/>
                  </a:cubicBezTo>
                  <a:cubicBezTo>
                    <a:pt x="25" y="57"/>
                    <a:pt x="16" y="55"/>
                    <a:pt x="9" y="50"/>
                  </a:cubicBezTo>
                  <a:cubicBezTo>
                    <a:pt x="3" y="44"/>
                    <a:pt x="1" y="37"/>
                    <a:pt x="1" y="30"/>
                  </a:cubicBezTo>
                  <a:close/>
                  <a:moveTo>
                    <a:pt x="11" y="30"/>
                  </a:moveTo>
                  <a:cubicBezTo>
                    <a:pt x="11" y="35"/>
                    <a:pt x="13" y="41"/>
                    <a:pt x="17" y="44"/>
                  </a:cubicBezTo>
                  <a:cubicBezTo>
                    <a:pt x="21" y="48"/>
                    <a:pt x="27" y="50"/>
                    <a:pt x="33" y="50"/>
                  </a:cubicBezTo>
                  <a:cubicBezTo>
                    <a:pt x="38" y="50"/>
                    <a:pt x="44" y="48"/>
                    <a:pt x="48" y="44"/>
                  </a:cubicBezTo>
                  <a:cubicBezTo>
                    <a:pt x="56" y="36"/>
                    <a:pt x="56" y="23"/>
                    <a:pt x="48" y="15"/>
                  </a:cubicBezTo>
                  <a:cubicBezTo>
                    <a:pt x="39" y="8"/>
                    <a:pt x="26" y="8"/>
                    <a:pt x="17" y="15"/>
                  </a:cubicBezTo>
                  <a:cubicBezTo>
                    <a:pt x="13" y="19"/>
                    <a:pt x="11" y="24"/>
                    <a:pt x="11" y="3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99"/>
            </a:p>
          </p:txBody>
        </p:sp>
        <p:sp>
          <p:nvSpPr>
            <p:cNvPr id="21" name="Freeform 48"/>
            <p:cNvSpPr>
              <a:spLocks noChangeArrowheads="1"/>
            </p:cNvSpPr>
            <p:nvPr/>
          </p:nvSpPr>
          <p:spPr bwMode="auto">
            <a:xfrm>
              <a:off x="2327275" y="4773613"/>
              <a:ext cx="22225" cy="28575"/>
            </a:xfrm>
            <a:custGeom>
              <a:avLst/>
              <a:gdLst>
                <a:gd name="T0" fmla="*/ 0 w 61"/>
                <a:gd name="T1" fmla="*/ 73 h 79"/>
                <a:gd name="T2" fmla="*/ 1 w 61"/>
                <a:gd name="T3" fmla="*/ 62 h 79"/>
                <a:gd name="T4" fmla="*/ 1 w 61"/>
                <a:gd name="T5" fmla="*/ 0 h 79"/>
                <a:gd name="T6" fmla="*/ 11 w 61"/>
                <a:gd name="T7" fmla="*/ 0 h 79"/>
                <a:gd name="T8" fmla="*/ 11 w 61"/>
                <a:gd name="T9" fmla="*/ 29 h 79"/>
                <a:gd name="T10" fmla="*/ 32 w 61"/>
                <a:gd name="T11" fmla="*/ 21 h 79"/>
                <a:gd name="T12" fmla="*/ 52 w 61"/>
                <a:gd name="T13" fmla="*/ 28 h 79"/>
                <a:gd name="T14" fmla="*/ 60 w 61"/>
                <a:gd name="T15" fmla="*/ 48 h 79"/>
                <a:gd name="T16" fmla="*/ 52 w 61"/>
                <a:gd name="T17" fmla="*/ 67 h 79"/>
                <a:gd name="T18" fmla="*/ 10 w 61"/>
                <a:gd name="T19" fmla="*/ 65 h 79"/>
                <a:gd name="T20" fmla="*/ 10 w 61"/>
                <a:gd name="T21" fmla="*/ 73 h 79"/>
                <a:gd name="T22" fmla="*/ 0 w 61"/>
                <a:gd name="T23" fmla="*/ 73 h 79"/>
                <a:gd name="T24" fmla="*/ 11 w 61"/>
                <a:gd name="T25" fmla="*/ 47 h 79"/>
                <a:gd name="T26" fmla="*/ 31 w 61"/>
                <a:gd name="T27" fmla="*/ 67 h 79"/>
                <a:gd name="T28" fmla="*/ 50 w 61"/>
                <a:gd name="T29" fmla="*/ 46 h 79"/>
                <a:gd name="T30" fmla="*/ 44 w 61"/>
                <a:gd name="T31" fmla="*/ 33 h 79"/>
                <a:gd name="T32" fmla="*/ 16 w 61"/>
                <a:gd name="T33" fmla="*/ 33 h 79"/>
                <a:gd name="T34" fmla="*/ 11 w 61"/>
                <a:gd name="T35" fmla="*/ 48 h 79"/>
                <a:gd name="T36" fmla="*/ 11 w 61"/>
                <a:gd name="T37" fmla="*/ 4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79">
                  <a:moveTo>
                    <a:pt x="0" y="73"/>
                  </a:moveTo>
                  <a:cubicBezTo>
                    <a:pt x="1" y="68"/>
                    <a:pt x="1" y="64"/>
                    <a:pt x="1" y="62"/>
                  </a:cubicBezTo>
                  <a:lnTo>
                    <a:pt x="1" y="0"/>
                  </a:lnTo>
                  <a:lnTo>
                    <a:pt x="11" y="0"/>
                  </a:lnTo>
                  <a:lnTo>
                    <a:pt x="11" y="29"/>
                  </a:lnTo>
                  <a:cubicBezTo>
                    <a:pt x="17" y="23"/>
                    <a:pt x="24" y="20"/>
                    <a:pt x="32" y="21"/>
                  </a:cubicBezTo>
                  <a:cubicBezTo>
                    <a:pt x="40" y="20"/>
                    <a:pt x="47" y="23"/>
                    <a:pt x="52" y="28"/>
                  </a:cubicBezTo>
                  <a:cubicBezTo>
                    <a:pt x="57" y="33"/>
                    <a:pt x="60" y="40"/>
                    <a:pt x="60" y="48"/>
                  </a:cubicBezTo>
                  <a:cubicBezTo>
                    <a:pt x="60" y="55"/>
                    <a:pt x="57" y="62"/>
                    <a:pt x="52" y="67"/>
                  </a:cubicBezTo>
                  <a:cubicBezTo>
                    <a:pt x="39" y="78"/>
                    <a:pt x="22" y="77"/>
                    <a:pt x="10" y="65"/>
                  </a:cubicBezTo>
                  <a:lnTo>
                    <a:pt x="10" y="73"/>
                  </a:lnTo>
                  <a:lnTo>
                    <a:pt x="0" y="73"/>
                  </a:lnTo>
                  <a:close/>
                  <a:moveTo>
                    <a:pt x="11" y="47"/>
                  </a:moveTo>
                  <a:cubicBezTo>
                    <a:pt x="11" y="59"/>
                    <a:pt x="20" y="68"/>
                    <a:pt x="31" y="67"/>
                  </a:cubicBezTo>
                  <a:cubicBezTo>
                    <a:pt x="43" y="67"/>
                    <a:pt x="50" y="57"/>
                    <a:pt x="50" y="46"/>
                  </a:cubicBezTo>
                  <a:cubicBezTo>
                    <a:pt x="49" y="41"/>
                    <a:pt x="47" y="36"/>
                    <a:pt x="44" y="33"/>
                  </a:cubicBezTo>
                  <a:cubicBezTo>
                    <a:pt x="36" y="25"/>
                    <a:pt x="24" y="25"/>
                    <a:pt x="16" y="33"/>
                  </a:cubicBezTo>
                  <a:cubicBezTo>
                    <a:pt x="12" y="37"/>
                    <a:pt x="10" y="42"/>
                    <a:pt x="11" y="48"/>
                  </a:cubicBezTo>
                  <a:lnTo>
                    <a:pt x="11" y="47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99"/>
            </a:p>
          </p:txBody>
        </p:sp>
        <p:sp>
          <p:nvSpPr>
            <p:cNvPr id="22" name="Freeform 49"/>
            <p:cNvSpPr>
              <a:spLocks noChangeArrowheads="1"/>
            </p:cNvSpPr>
            <p:nvPr/>
          </p:nvSpPr>
          <p:spPr bwMode="auto">
            <a:xfrm>
              <a:off x="2384425" y="4779963"/>
              <a:ext cx="20638" cy="20637"/>
            </a:xfrm>
            <a:custGeom>
              <a:avLst/>
              <a:gdLst>
                <a:gd name="T0" fmla="*/ 6 w 57"/>
                <a:gd name="T1" fmla="*/ 16 h 56"/>
                <a:gd name="T2" fmla="*/ 13 w 57"/>
                <a:gd name="T3" fmla="*/ 5 h 56"/>
                <a:gd name="T4" fmla="*/ 32 w 57"/>
                <a:gd name="T5" fmla="*/ 1 h 56"/>
                <a:gd name="T6" fmla="*/ 49 w 57"/>
                <a:gd name="T7" fmla="*/ 5 h 56"/>
                <a:gd name="T8" fmla="*/ 56 w 57"/>
                <a:gd name="T9" fmla="*/ 19 h 56"/>
                <a:gd name="T10" fmla="*/ 56 w 57"/>
                <a:gd name="T11" fmla="*/ 43 h 56"/>
                <a:gd name="T12" fmla="*/ 56 w 57"/>
                <a:gd name="T13" fmla="*/ 53 h 56"/>
                <a:gd name="T14" fmla="*/ 47 w 57"/>
                <a:gd name="T15" fmla="*/ 53 h 56"/>
                <a:gd name="T16" fmla="*/ 46 w 57"/>
                <a:gd name="T17" fmla="*/ 45 h 56"/>
                <a:gd name="T18" fmla="*/ 39 w 57"/>
                <a:gd name="T19" fmla="*/ 52 h 56"/>
                <a:gd name="T20" fmla="*/ 24 w 57"/>
                <a:gd name="T21" fmla="*/ 55 h 56"/>
                <a:gd name="T22" fmla="*/ 9 w 57"/>
                <a:gd name="T23" fmla="*/ 50 h 56"/>
                <a:gd name="T24" fmla="*/ 5 w 57"/>
                <a:gd name="T25" fmla="*/ 29 h 56"/>
                <a:gd name="T26" fmla="*/ 9 w 57"/>
                <a:gd name="T27" fmla="*/ 25 h 56"/>
                <a:gd name="T28" fmla="*/ 32 w 57"/>
                <a:gd name="T29" fmla="*/ 21 h 56"/>
                <a:gd name="T30" fmla="*/ 46 w 57"/>
                <a:gd name="T31" fmla="*/ 21 h 56"/>
                <a:gd name="T32" fmla="*/ 46 w 57"/>
                <a:gd name="T33" fmla="*/ 19 h 56"/>
                <a:gd name="T34" fmla="*/ 30 w 57"/>
                <a:gd name="T35" fmla="*/ 7 h 56"/>
                <a:gd name="T36" fmla="*/ 21 w 57"/>
                <a:gd name="T37" fmla="*/ 10 h 56"/>
                <a:gd name="T38" fmla="*/ 17 w 57"/>
                <a:gd name="T39" fmla="*/ 16 h 56"/>
                <a:gd name="T40" fmla="*/ 6 w 57"/>
                <a:gd name="T41" fmla="*/ 16 h 56"/>
                <a:gd name="T42" fmla="*/ 46 w 57"/>
                <a:gd name="T43" fmla="*/ 28 h 56"/>
                <a:gd name="T44" fmla="*/ 40 w 57"/>
                <a:gd name="T45" fmla="*/ 28 h 56"/>
                <a:gd name="T46" fmla="*/ 18 w 57"/>
                <a:gd name="T47" fmla="*/ 30 h 56"/>
                <a:gd name="T48" fmla="*/ 13 w 57"/>
                <a:gd name="T49" fmla="*/ 38 h 56"/>
                <a:gd name="T50" fmla="*/ 16 w 57"/>
                <a:gd name="T51" fmla="*/ 45 h 56"/>
                <a:gd name="T52" fmla="*/ 27 w 57"/>
                <a:gd name="T53" fmla="*/ 48 h 56"/>
                <a:gd name="T54" fmla="*/ 41 w 57"/>
                <a:gd name="T55" fmla="*/ 43 h 56"/>
                <a:gd name="T56" fmla="*/ 46 w 57"/>
                <a:gd name="T57" fmla="*/ 30 h 56"/>
                <a:gd name="T58" fmla="*/ 46 w 57"/>
                <a:gd name="T5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7" h="56">
                  <a:moveTo>
                    <a:pt x="6" y="16"/>
                  </a:moveTo>
                  <a:cubicBezTo>
                    <a:pt x="7" y="11"/>
                    <a:pt x="9" y="7"/>
                    <a:pt x="13" y="5"/>
                  </a:cubicBezTo>
                  <a:cubicBezTo>
                    <a:pt x="19" y="2"/>
                    <a:pt x="25" y="0"/>
                    <a:pt x="32" y="1"/>
                  </a:cubicBezTo>
                  <a:cubicBezTo>
                    <a:pt x="38" y="0"/>
                    <a:pt x="44" y="2"/>
                    <a:pt x="49" y="5"/>
                  </a:cubicBezTo>
                  <a:cubicBezTo>
                    <a:pt x="54" y="8"/>
                    <a:pt x="56" y="13"/>
                    <a:pt x="56" y="19"/>
                  </a:cubicBezTo>
                  <a:lnTo>
                    <a:pt x="56" y="43"/>
                  </a:lnTo>
                  <a:cubicBezTo>
                    <a:pt x="56" y="47"/>
                    <a:pt x="56" y="50"/>
                    <a:pt x="56" y="53"/>
                  </a:cubicBezTo>
                  <a:lnTo>
                    <a:pt x="47" y="53"/>
                  </a:lnTo>
                  <a:cubicBezTo>
                    <a:pt x="46" y="50"/>
                    <a:pt x="46" y="48"/>
                    <a:pt x="46" y="45"/>
                  </a:cubicBezTo>
                  <a:cubicBezTo>
                    <a:pt x="44" y="48"/>
                    <a:pt x="42" y="50"/>
                    <a:pt x="39" y="52"/>
                  </a:cubicBezTo>
                  <a:cubicBezTo>
                    <a:pt x="35" y="54"/>
                    <a:pt x="29" y="55"/>
                    <a:pt x="24" y="55"/>
                  </a:cubicBezTo>
                  <a:cubicBezTo>
                    <a:pt x="19" y="55"/>
                    <a:pt x="13" y="53"/>
                    <a:pt x="9" y="50"/>
                  </a:cubicBezTo>
                  <a:cubicBezTo>
                    <a:pt x="2" y="45"/>
                    <a:pt x="0" y="36"/>
                    <a:pt x="5" y="29"/>
                  </a:cubicBezTo>
                  <a:cubicBezTo>
                    <a:pt x="7" y="28"/>
                    <a:pt x="8" y="26"/>
                    <a:pt x="9" y="25"/>
                  </a:cubicBezTo>
                  <a:cubicBezTo>
                    <a:pt x="16" y="22"/>
                    <a:pt x="24" y="21"/>
                    <a:pt x="32" y="21"/>
                  </a:cubicBezTo>
                  <a:lnTo>
                    <a:pt x="46" y="21"/>
                  </a:lnTo>
                  <a:lnTo>
                    <a:pt x="46" y="19"/>
                  </a:lnTo>
                  <a:cubicBezTo>
                    <a:pt x="46" y="11"/>
                    <a:pt x="41" y="7"/>
                    <a:pt x="30" y="7"/>
                  </a:cubicBezTo>
                  <a:cubicBezTo>
                    <a:pt x="27" y="7"/>
                    <a:pt x="24" y="8"/>
                    <a:pt x="21" y="10"/>
                  </a:cubicBezTo>
                  <a:cubicBezTo>
                    <a:pt x="18" y="11"/>
                    <a:pt x="17" y="13"/>
                    <a:pt x="17" y="16"/>
                  </a:cubicBezTo>
                  <a:lnTo>
                    <a:pt x="6" y="16"/>
                  </a:lnTo>
                  <a:close/>
                  <a:moveTo>
                    <a:pt x="46" y="28"/>
                  </a:moveTo>
                  <a:lnTo>
                    <a:pt x="40" y="28"/>
                  </a:lnTo>
                  <a:cubicBezTo>
                    <a:pt x="32" y="28"/>
                    <a:pt x="25" y="28"/>
                    <a:pt x="18" y="30"/>
                  </a:cubicBezTo>
                  <a:cubicBezTo>
                    <a:pt x="15" y="32"/>
                    <a:pt x="13" y="35"/>
                    <a:pt x="13" y="38"/>
                  </a:cubicBezTo>
                  <a:cubicBezTo>
                    <a:pt x="13" y="41"/>
                    <a:pt x="14" y="43"/>
                    <a:pt x="16" y="45"/>
                  </a:cubicBezTo>
                  <a:cubicBezTo>
                    <a:pt x="19" y="47"/>
                    <a:pt x="23" y="48"/>
                    <a:pt x="27" y="48"/>
                  </a:cubicBezTo>
                  <a:cubicBezTo>
                    <a:pt x="32" y="48"/>
                    <a:pt x="37" y="47"/>
                    <a:pt x="41" y="43"/>
                  </a:cubicBezTo>
                  <a:cubicBezTo>
                    <a:pt x="44" y="40"/>
                    <a:pt x="46" y="35"/>
                    <a:pt x="46" y="30"/>
                  </a:cubicBezTo>
                  <a:lnTo>
                    <a:pt x="46" y="28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99"/>
            </a:p>
          </p:txBody>
        </p:sp>
        <p:sp>
          <p:nvSpPr>
            <p:cNvPr id="23" name="Freeform 50"/>
            <p:cNvSpPr>
              <a:spLocks noChangeArrowheads="1"/>
            </p:cNvSpPr>
            <p:nvPr/>
          </p:nvSpPr>
          <p:spPr bwMode="auto">
            <a:xfrm>
              <a:off x="2443163" y="4773613"/>
              <a:ext cx="3175" cy="26987"/>
            </a:xfrm>
            <a:custGeom>
              <a:avLst/>
              <a:gdLst>
                <a:gd name="T0" fmla="*/ 0 w 11"/>
                <a:gd name="T1" fmla="*/ 73 h 74"/>
                <a:gd name="T2" fmla="*/ 0 w 11"/>
                <a:gd name="T3" fmla="*/ 0 h 74"/>
                <a:gd name="T4" fmla="*/ 10 w 11"/>
                <a:gd name="T5" fmla="*/ 0 h 74"/>
                <a:gd name="T6" fmla="*/ 10 w 11"/>
                <a:gd name="T7" fmla="*/ 73 h 74"/>
                <a:gd name="T8" fmla="*/ 0 w 11"/>
                <a:gd name="T9" fmla="*/ 73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4">
                  <a:moveTo>
                    <a:pt x="0" y="7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73"/>
                  </a:lnTo>
                  <a:lnTo>
                    <a:pt x="0" y="7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99"/>
            </a:p>
          </p:txBody>
        </p:sp>
      </p:grpSp>
    </p:spTree>
    <p:extLst>
      <p:ext uri="{BB962C8B-B14F-4D97-AF65-F5344CB8AC3E}">
        <p14:creationId xmlns:p14="http://schemas.microsoft.com/office/powerpoint/2010/main" val="259506032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color segment smal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H="1">
            <a:off x="-2" y="1"/>
            <a:ext cx="12191999" cy="45350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91128" y="4803635"/>
            <a:ext cx="2401456" cy="1624874"/>
          </a:xfrm>
        </p:spPr>
        <p:txBody>
          <a:bodyPr>
            <a:normAutofit/>
          </a:bodyPr>
          <a:lstStyle>
            <a:lvl1pPr marL="0" indent="0">
              <a:buNone/>
              <a:defRPr sz="1799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063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2pPr>
            <a:lvl3pPr marL="914126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3pPr>
            <a:lvl4pPr marL="1371189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4pPr>
            <a:lvl5pPr marL="1828251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91126" y="324000"/>
            <a:ext cx="10762673" cy="475384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5400000">
            <a:off x="11011728" y="1059703"/>
            <a:ext cx="1721613" cy="240099"/>
          </a:xfrm>
          <a:prstGeom prst="rect">
            <a:avLst/>
          </a:prstGeom>
          <a:noFill/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accent6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© </a:t>
            </a:r>
            <a:r>
              <a:rPr lang="en-US" sz="900" b="1">
                <a:solidFill>
                  <a:srgbClr val="000000"/>
                </a:solidFill>
              </a:rPr>
              <a:t>COOKHOUSE LABS </a:t>
            </a:r>
            <a:r>
              <a:rPr lang="en-US" sz="900">
                <a:solidFill>
                  <a:srgbClr val="FF8C00"/>
                </a:solidFill>
              </a:rPr>
              <a:t>2019 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4"/>
          </p:nvPr>
        </p:nvSpPr>
        <p:spPr>
          <a:xfrm rot="5400000">
            <a:off x="11142284" y="2400828"/>
            <a:ext cx="1460501" cy="24009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5"/>
          </p:nvPr>
        </p:nvSpPr>
        <p:spPr>
          <a:xfrm>
            <a:off x="11353801" y="3238291"/>
            <a:ext cx="638783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80F98B30-8928-4B44-B774-CD49BA0BF5B5}" type="slidenum">
              <a:rPr lang="en-US" smtClean="0">
                <a:solidFill>
                  <a:srgbClr val="FF8C00"/>
                </a:solidFill>
              </a:rPr>
              <a:pPr/>
              <a:t>‹#›</a:t>
            </a:fld>
            <a:endParaRPr lang="en-US">
              <a:solidFill>
                <a:srgbClr val="FF8C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35699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up smal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H="1" flipV="1">
            <a:off x="-3" y="4535054"/>
            <a:ext cx="12191999" cy="23229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91128" y="4803635"/>
            <a:ext cx="2401456" cy="1624874"/>
          </a:xfrm>
        </p:spPr>
        <p:txBody>
          <a:bodyPr>
            <a:normAutofit/>
          </a:bodyPr>
          <a:lstStyle>
            <a:lvl1pPr marL="0" indent="0">
              <a:buNone/>
              <a:defRPr sz="1799" b="0" i="0">
                <a:solidFill>
                  <a:schemeClr val="accent6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063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2pPr>
            <a:lvl3pPr marL="914126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3pPr>
            <a:lvl4pPr marL="1371189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4pPr>
            <a:lvl5pPr marL="1828251" indent="0">
              <a:buNone/>
              <a:defRPr sz="2399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 rot="5400000">
            <a:off x="11122799" y="948631"/>
            <a:ext cx="1499468" cy="240099"/>
          </a:xfrm>
          <a:prstGeom prst="rect">
            <a:avLst/>
          </a:prstGeom>
          <a:noFill/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accent6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FFFFFF"/>
                </a:solidFill>
              </a:rPr>
              <a:t>© </a:t>
            </a:r>
            <a:r>
              <a:rPr lang="en-US" sz="900" b="1">
                <a:solidFill>
                  <a:srgbClr val="FFFFFF"/>
                </a:solidFill>
              </a:rPr>
              <a:t>COOKHOUSE LAB </a:t>
            </a:r>
            <a:r>
              <a:rPr lang="en-US" sz="900">
                <a:solidFill>
                  <a:srgbClr val="E7E6E6"/>
                </a:solidFill>
              </a:rPr>
              <a:t>2019 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91126" y="324000"/>
            <a:ext cx="10762673" cy="475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492" b="20713"/>
          <a:stretch/>
        </p:blipFill>
        <p:spPr>
          <a:xfrm>
            <a:off x="11184636" y="5799016"/>
            <a:ext cx="1007364" cy="1066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35131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 white column small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966371" y="0"/>
            <a:ext cx="411638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449763" y="324001"/>
            <a:ext cx="3149601" cy="1855783"/>
          </a:xfrm>
        </p:spPr>
        <p:txBody>
          <a:bodyPr anchor="t">
            <a:normAutofit/>
          </a:bodyPr>
          <a:lstStyle>
            <a:lvl1pPr>
              <a:lnSpc>
                <a:spcPts val="4139"/>
              </a:lnSpc>
              <a:defRPr sz="3199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62366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 color column small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flipH="1">
            <a:off x="8082756" y="0"/>
            <a:ext cx="410924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 flipH="1">
            <a:off x="0" y="0"/>
            <a:ext cx="396636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449763" y="324001"/>
            <a:ext cx="3149601" cy="1855783"/>
          </a:xfrm>
        </p:spPr>
        <p:txBody>
          <a:bodyPr anchor="t">
            <a:normAutofit/>
          </a:bodyPr>
          <a:lstStyle>
            <a:lvl1pPr>
              <a:lnSpc>
                <a:spcPts val="4139"/>
              </a:lnSpc>
              <a:defRPr sz="31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492" b="20713"/>
          <a:stretch/>
        </p:blipFill>
        <p:spPr>
          <a:xfrm>
            <a:off x="11184636" y="5799016"/>
            <a:ext cx="1007364" cy="1066936"/>
          </a:xfrm>
          <a:prstGeom prst="rect">
            <a:avLst/>
          </a:prstGeom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 rot="5400000">
            <a:off x="11011728" y="1059703"/>
            <a:ext cx="1721613" cy="240099"/>
          </a:xfrm>
          <a:prstGeom prst="rect">
            <a:avLst/>
          </a:prstGeom>
          <a:noFill/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accent6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© </a:t>
            </a:r>
            <a:r>
              <a:rPr lang="en-US" sz="900" b="1">
                <a:solidFill>
                  <a:srgbClr val="000000"/>
                </a:solidFill>
              </a:rPr>
              <a:t>COOKHOUSE LABS </a:t>
            </a:r>
            <a:r>
              <a:rPr lang="en-US" sz="900">
                <a:solidFill>
                  <a:srgbClr val="FF8C00"/>
                </a:solidFill>
              </a:rPr>
              <a:t>2019 </a:t>
            </a:r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14"/>
          </p:nvPr>
        </p:nvSpPr>
        <p:spPr>
          <a:xfrm rot="5400000">
            <a:off x="11142284" y="2400828"/>
            <a:ext cx="1460501" cy="24009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15"/>
          </p:nvPr>
        </p:nvSpPr>
        <p:spPr>
          <a:xfrm>
            <a:off x="11353801" y="3238291"/>
            <a:ext cx="638783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80F98B30-8928-4B44-B774-CD49BA0BF5B5}" type="slidenum">
              <a:rPr lang="en-US" smtClean="0">
                <a:solidFill>
                  <a:srgbClr val="FF8C00"/>
                </a:solidFill>
              </a:rPr>
              <a:pPr/>
              <a:t>‹#›</a:t>
            </a:fld>
            <a:endParaRPr lang="en-US">
              <a:solidFill>
                <a:srgbClr val="FF8C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52575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 2 columns small log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flipH="1">
            <a:off x="6096002" y="0"/>
            <a:ext cx="60959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492" b="20713"/>
          <a:stretch/>
        </p:blipFill>
        <p:spPr>
          <a:xfrm>
            <a:off x="11184636" y="5799016"/>
            <a:ext cx="1007364" cy="1066936"/>
          </a:xfrm>
          <a:prstGeom prst="rect">
            <a:avLst/>
          </a:prstGeom>
        </p:spPr>
      </p:pic>
      <p:sp>
        <p:nvSpPr>
          <p:cNvPr id="7" name="Footer Placeholder 4"/>
          <p:cNvSpPr txBox="1">
            <a:spLocks/>
          </p:cNvSpPr>
          <p:nvPr userDrawn="1"/>
        </p:nvSpPr>
        <p:spPr>
          <a:xfrm rot="5400000">
            <a:off x="11011728" y="1059703"/>
            <a:ext cx="1721613" cy="240099"/>
          </a:xfrm>
          <a:prstGeom prst="rect">
            <a:avLst/>
          </a:prstGeom>
          <a:noFill/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accent6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© </a:t>
            </a:r>
            <a:r>
              <a:rPr lang="en-US" sz="900" b="1">
                <a:solidFill>
                  <a:srgbClr val="000000"/>
                </a:solidFill>
              </a:rPr>
              <a:t>COOKHOUSE LABS </a:t>
            </a:r>
            <a:r>
              <a:rPr lang="en-US" sz="900">
                <a:solidFill>
                  <a:srgbClr val="FF8C00"/>
                </a:solidFill>
              </a:rPr>
              <a:t>2019 </a:t>
            </a:r>
          </a:p>
        </p:txBody>
      </p:sp>
    </p:spTree>
    <p:extLst>
      <p:ext uri="{BB962C8B-B14F-4D97-AF65-F5344CB8AC3E}">
        <p14:creationId xmlns:p14="http://schemas.microsoft.com/office/powerpoint/2010/main" val="71640177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or columns smal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" y="0"/>
            <a:ext cx="62698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1128" y="324000"/>
            <a:ext cx="5458691" cy="475384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91128" y="852495"/>
            <a:ext cx="5458691" cy="482600"/>
          </a:xfrm>
        </p:spPr>
        <p:txBody>
          <a:bodyPr lIns="0">
            <a:normAutofit/>
          </a:bodyPr>
          <a:lstStyle>
            <a:lvl1pPr marL="0" indent="0">
              <a:buNone/>
              <a:defRPr sz="2799">
                <a:solidFill>
                  <a:schemeClr val="bg2"/>
                </a:solidFill>
              </a:defRPr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049" b="22472"/>
          <a:stretch/>
        </p:blipFill>
        <p:spPr>
          <a:xfrm>
            <a:off x="10827028" y="5410850"/>
            <a:ext cx="1374599" cy="1455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48583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big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049" b="22472"/>
          <a:stretch/>
        </p:blipFill>
        <p:spPr>
          <a:xfrm>
            <a:off x="10827028" y="5410850"/>
            <a:ext cx="1374599" cy="1455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64647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ig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91126" y="324000"/>
            <a:ext cx="10762673" cy="47538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91126" y="852495"/>
            <a:ext cx="10762673" cy="482600"/>
          </a:xfrm>
        </p:spPr>
        <p:txBody>
          <a:bodyPr lIns="0">
            <a:normAutofit/>
          </a:bodyPr>
          <a:lstStyle>
            <a:lvl1pPr marL="0" indent="0">
              <a:buNone/>
              <a:defRPr sz="2799">
                <a:solidFill>
                  <a:schemeClr val="bg2"/>
                </a:solidFill>
              </a:defRPr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049" b="22472"/>
          <a:stretch/>
        </p:blipFill>
        <p:spPr>
          <a:xfrm>
            <a:off x="10827028" y="5410850"/>
            <a:ext cx="1374599" cy="1455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67363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mal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4563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22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22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p2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" name="Google Shape;143;p2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3358921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smal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91126" y="324000"/>
            <a:ext cx="10762673" cy="47538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91126" y="852495"/>
            <a:ext cx="10762673" cy="482600"/>
          </a:xfrm>
        </p:spPr>
        <p:txBody>
          <a:bodyPr lIns="0">
            <a:normAutofit/>
          </a:bodyPr>
          <a:lstStyle>
            <a:lvl1pPr marL="0" indent="0">
              <a:buNone/>
              <a:defRPr sz="2799">
                <a:solidFill>
                  <a:schemeClr val="bg2"/>
                </a:solidFill>
              </a:defRPr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70667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91126" y="324000"/>
            <a:ext cx="10762673" cy="47538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GET IN TOUCH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1"/>
          </p:nvPr>
        </p:nvSpPr>
        <p:spPr>
          <a:xfrm>
            <a:off x="591125" y="1742502"/>
            <a:ext cx="7122107" cy="3378139"/>
          </a:xfr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049" b="22472"/>
          <a:stretch/>
        </p:blipFill>
        <p:spPr>
          <a:xfrm>
            <a:off x="9544209" y="4052902"/>
            <a:ext cx="2657419" cy="281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96474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 smal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1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90" y="987427"/>
            <a:ext cx="6172200" cy="4873625"/>
          </a:xfr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67099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smal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1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90" y="987427"/>
            <a:ext cx="6172200" cy="4873625"/>
          </a:xfr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18562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71176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F98B30-8928-4B44-B774-CD49BA0BF5B5}" type="slidenum">
              <a:rPr lang="en-US" smtClean="0">
                <a:solidFill>
                  <a:srgbClr val="FFF200"/>
                </a:solidFill>
              </a:rPr>
              <a:pPr/>
              <a:t>‹#›</a:t>
            </a:fld>
            <a:endParaRPr lang="en-US">
              <a:solidFill>
                <a:srgbClr val="FFF2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24855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" name="Google Shape;519;g87b7afb683_1_159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0" name="Google Shape;520;g87b7afb683_1_159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1" name="Google Shape;521;g87b7afb683_1_159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2" name="Google Shape;522;g87b7afb683_1_159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907098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Google Shape;524;g87b7afb683_1_159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entury Gothic"/>
              <a:buNone/>
              <a:defRPr sz="6000" b="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" name="Google Shape;525;g87b7afb683_1_1598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26" name="Google Shape;526;g87b7afb683_1_159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" name="Google Shape;527;g87b7afb683_1_159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8" name="Google Shape;528;g87b7afb683_1_159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245636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" name="Google Shape;530;g87b7afb683_1_1604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1" name="Google Shape;531;g87b7afb683_1_160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2" name="Google Shape;532;g87b7afb683_1_160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3" name="Google Shape;533;g87b7afb683_1_160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4" name="Google Shape;534;g87b7afb683_1_160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6924760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" name="Google Shape;536;g87b7afb683_1_1610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entury Gothic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7" name="Google Shape;537;g87b7afb683_1_1610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38" name="Google Shape;538;g87b7afb683_1_161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g87b7afb683_1_16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0" name="Google Shape;540;g87b7afb683_1_161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941946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p2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5471696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" name="Google Shape;542;g87b7afb683_1_1616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3" name="Google Shape;543;g87b7afb683_1_161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4" name="Google Shape;544;g87b7afb683_1_1616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5" name="Google Shape;545;g87b7afb683_1_161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6" name="Google Shape;546;g87b7afb683_1_16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7" name="Google Shape;547;g87b7afb683_1_161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5886659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Google Shape;549;g87b7afb683_1_1623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0" name="Google Shape;550;g87b7afb683_1_1623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9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1" name="Google Shape;551;g87b7afb683_1_1623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900" cy="368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2" name="Google Shape;552;g87b7afb683_1_162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3" name="Google Shape;553;g87b7afb683_1_162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00" cy="368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4" name="Google Shape;554;g87b7afb683_1_162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5" name="Google Shape;555;g87b7afb683_1_16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6" name="Google Shape;556;g87b7afb683_1_162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1851576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" name="Google Shape;558;g87b7afb683_1_163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9280608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ustom Layout">
  <p:cSld name="1_Custom Layout">
    <p:spTree>
      <p:nvGrpSpPr>
        <p:cNvPr id="1" name="Shape 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" name="Google Shape;560;g87b7afb683_1_1634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1" name="Google Shape;561;g87b7afb683_1_1634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46814123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1_Title Only">
    <p:bg>
      <p:bgPr>
        <a:solidFill>
          <a:schemeClr val="accent3"/>
        </a:solidFill>
        <a:effectLst/>
      </p:bgPr>
    </p:bg>
    <p:spTree>
      <p:nvGrpSpPr>
        <p:cNvPr id="1" name="Shape 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" name="Google Shape;563;g87b7afb683_1_1637"/>
          <p:cNvSpPr/>
          <p:nvPr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4" name="Google Shape;564;g87b7afb683_1_1637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5" name="Google Shape;565;g87b7afb683_1_163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6" name="Google Shape;566;g87b7afb683_1_163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7" name="Google Shape;567;g87b7afb683_1_163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6656253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9_Title Only">
  <p:cSld name="9_Title Only">
    <p:bg>
      <p:bgPr>
        <a:solidFill>
          <a:schemeClr val="accent3"/>
        </a:solidFill>
        <a:effectLst/>
      </p:bgPr>
    </p:bg>
    <p:spTree>
      <p:nvGrpSpPr>
        <p:cNvPr id="1" name="Shape 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9" name="Google Shape;569;g87b7afb683_1_1643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0" name="Google Shape;570;g87b7afb683_1_164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1" name="Google Shape;571;g87b7afb683_1_1643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72" name="Google Shape;572;g87b7afb683_1_164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3" name="Google Shape;573;g87b7afb683_1_164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g87b7afb683_1_164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575" name="Google Shape;575;g87b7afb683_1_1643"/>
          <p:cNvPicPr preferRelativeResize="0"/>
          <p:nvPr/>
        </p:nvPicPr>
        <p:blipFill rotWithShape="1">
          <a:blip r:embed="rId2">
            <a:alphaModFix/>
          </a:blip>
          <a:srcRect r="19087" b="17796"/>
          <a:stretch/>
        </p:blipFill>
        <p:spPr>
          <a:xfrm>
            <a:off x="10960764" y="5615608"/>
            <a:ext cx="1244940" cy="12597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2374810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6_Title Only">
  <p:cSld name="6_Title Only">
    <p:bg>
      <p:bgPr>
        <a:solidFill>
          <a:schemeClr val="accent3"/>
        </a:solidFill>
        <a:effectLst/>
      </p:bgPr>
    </p:bg>
    <p:spTree>
      <p:nvGrpSpPr>
        <p:cNvPr id="1" name="Shape 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" name="Google Shape;577;g87b7afb683_1_165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8" name="Google Shape;578;g87b7afb683_1_1651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9" name="Google Shape;579;g87b7afb683_1_1651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80" name="Google Shape;580;g87b7afb683_1_1651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4860235" y="5610004"/>
            <a:ext cx="1235765" cy="1247995"/>
          </a:xfrm>
          <a:prstGeom prst="rect">
            <a:avLst/>
          </a:prstGeom>
          <a:noFill/>
          <a:ln>
            <a:noFill/>
          </a:ln>
        </p:spPr>
      </p:pic>
      <p:sp>
        <p:nvSpPr>
          <p:cNvPr id="581" name="Google Shape;581;g87b7afb683_1_1651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2" name="Google Shape;582;g87b7afb683_1_165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3" name="Google Shape;583;g87b7afb683_1_1651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202839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Only">
  <p:cSld name="2_Title Only">
    <p:bg>
      <p:bgPr>
        <a:solidFill>
          <a:schemeClr val="accent3"/>
        </a:solidFill>
        <a:effectLst/>
      </p:bgPr>
    </p:bg>
    <p:spTree>
      <p:nvGrpSpPr>
        <p:cNvPr id="1" name="Shape 5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5" name="Google Shape;585;g87b7afb683_1_1659"/>
          <p:cNvSpPr/>
          <p:nvPr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6" name="Google Shape;586;g87b7afb683_1_1659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7" name="Google Shape;587;g87b7afb683_1_1659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88" name="Google Shape;588;g87b7afb683_1_1659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4860235" y="5610004"/>
            <a:ext cx="1235765" cy="1247995"/>
          </a:xfrm>
          <a:prstGeom prst="rect">
            <a:avLst/>
          </a:prstGeom>
          <a:noFill/>
          <a:ln>
            <a:noFill/>
          </a:ln>
        </p:spPr>
      </p:pic>
      <p:sp>
        <p:nvSpPr>
          <p:cNvPr id="589" name="Google Shape;589;g87b7afb683_1_165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0" name="Google Shape;590;g87b7afb683_1_165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1" name="Google Shape;591;g87b7afb683_1_165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3354733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7_Title Only">
  <p:cSld name="7_Title Only">
    <p:bg>
      <p:bgPr>
        <a:solidFill>
          <a:schemeClr val="accent3"/>
        </a:solidFill>
        <a:effectLst/>
      </p:bgPr>
    </p:bg>
    <p:spTree>
      <p:nvGrpSpPr>
        <p:cNvPr id="1" name="Shape 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" name="Google Shape;593;g87b7afb683_1_1667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4" name="Google Shape;594;g87b7afb683_1_1667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5" name="Google Shape;595;g87b7afb683_1_1667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96" name="Google Shape;596;g87b7afb683_1_1667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4860235" y="5610004"/>
            <a:ext cx="1235765" cy="1247995"/>
          </a:xfrm>
          <a:prstGeom prst="rect">
            <a:avLst/>
          </a:prstGeom>
          <a:noFill/>
          <a:ln>
            <a:noFill/>
          </a:ln>
        </p:spPr>
      </p:pic>
      <p:sp>
        <p:nvSpPr>
          <p:cNvPr id="597" name="Google Shape;597;g87b7afb683_1_166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8" name="Google Shape;598;g87b7afb683_1_166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" name="Google Shape;599;g87b7afb683_1_166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1186303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Only">
  <p:cSld name="5_Title Only">
    <p:bg>
      <p:bgPr>
        <a:solidFill>
          <a:schemeClr val="accent3"/>
        </a:solidFill>
        <a:effectLst/>
      </p:bgPr>
    </p:bg>
    <p:spTree>
      <p:nvGrpSpPr>
        <p:cNvPr id="1" name="Shape 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Google Shape;601;g87b7afb683_1_1675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2" name="Google Shape;602;g87b7afb683_1_167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3" name="Google Shape;603;g87b7afb683_1_167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4" name="Google Shape;604;g87b7afb683_1_167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" name="Google Shape;605;g87b7afb683_1_167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06" name="Google Shape;606;g87b7afb683_1_1675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40098248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8905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26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entury Gothic"/>
              <a:buNone/>
              <a:defRPr sz="6000" b="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p26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9" name="Google Shape;149;p2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2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p2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5639444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bg>
      <p:bgPr>
        <a:solidFill>
          <a:schemeClr val="accent3"/>
        </a:solidFill>
        <a:effectLst/>
      </p:bgPr>
    </p:bg>
    <p:spTree>
      <p:nvGrpSpPr>
        <p:cNvPr id="1" name="Shape 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8" name="Google Shape;608;g87b7afb683_1_1682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9" name="Google Shape;609;g87b7afb683_1_1682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Century Gothic"/>
              <a:buNone/>
              <a:defRPr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0" name="Google Shape;610;g87b7afb683_1_1682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1" name="Google Shape;611;g87b7afb683_1_168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2" name="Google Shape;612;g87b7afb683_1_168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13" name="Google Shape;613;g87b7afb683_1_1682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06700347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Only">
  <p:cSld name="8_Title Only">
    <p:bg>
      <p:bgPr>
        <a:solidFill>
          <a:schemeClr val="accent3"/>
        </a:solidFill>
        <a:effectLst/>
      </p:bgPr>
    </p:bg>
    <p:spTree>
      <p:nvGrpSpPr>
        <p:cNvPr id="1" name="Shape 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" name="Google Shape;615;g87b7afb683_1_1689"/>
          <p:cNvSpPr/>
          <p:nvPr/>
        </p:nvSpPr>
        <p:spPr>
          <a:xfrm rot="10800000" flipH="1">
            <a:off x="0" y="342900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6" name="Google Shape;616;g87b7afb683_1_1689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7" name="Google Shape;617;g87b7afb683_1_168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8" name="Google Shape;618;g87b7afb683_1_168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9" name="Google Shape;619;g87b7afb683_1_168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20" name="Google Shape;620;g87b7afb683_1_1689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621" name="Google Shape;621;g87b7afb683_1_1689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10958513" y="5612304"/>
            <a:ext cx="1233486" cy="12456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4346158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bg>
      <p:bgPr>
        <a:solidFill>
          <a:schemeClr val="accent3"/>
        </a:solidFill>
        <a:effectLst/>
      </p:bgPr>
    </p:bg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Google Shape;623;g87b7afb683_1_1697"/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4" name="Google Shape;624;g87b7afb683_1_1697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5" name="Google Shape;625;g87b7afb683_1_169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6" name="Google Shape;626;g87b7afb683_1_169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7" name="Google Shape;627;g87b7afb683_1_169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628" name="Google Shape;628;g87b7afb683_1_1697"/>
          <p:cNvPicPr preferRelativeResize="0"/>
          <p:nvPr/>
        </p:nvPicPr>
        <p:blipFill rotWithShape="1">
          <a:blip r:embed="rId2">
            <a:alphaModFix/>
          </a:blip>
          <a:srcRect r="19087" b="17796"/>
          <a:stretch/>
        </p:blipFill>
        <p:spPr>
          <a:xfrm>
            <a:off x="10960764" y="5615608"/>
            <a:ext cx="1244940" cy="12597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0384534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g87b7afb683_1_170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entury Gothic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1" name="Google Shape;631;g87b7afb683_1_1704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32" name="Google Shape;632;g87b7afb683_1_1704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33" name="Google Shape;633;g87b7afb683_1_170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4" name="Google Shape;634;g87b7afb683_1_170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5" name="Google Shape;635;g87b7afb683_1_170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519084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6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7" name="Google Shape;637;g87b7afb683_1_171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entury Gothic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" name="Google Shape;638;g87b7afb683_1_1711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39" name="Google Shape;639;g87b7afb683_1_1711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40" name="Google Shape;640;g87b7afb683_1_1711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1" name="Google Shape;641;g87b7afb683_1_17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2" name="Google Shape;642;g87b7afb683_1_1711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5439043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4" name="Google Shape;644;g87b7afb683_1_1718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5" name="Google Shape;645;g87b7afb683_1_1718"/>
          <p:cNvSpPr txBox="1">
            <a:spLocks noGrp="1"/>
          </p:cNvSpPr>
          <p:nvPr>
            <p:ph type="body" idx="1"/>
          </p:nvPr>
        </p:nvSpPr>
        <p:spPr>
          <a:xfrm rot="5400000">
            <a:off x="3920400" y="-1256575"/>
            <a:ext cx="4351200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6" name="Google Shape;646;g87b7afb683_1_171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7" name="Google Shape;647;g87b7afb683_1_17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8" name="Google Shape;648;g87b7afb683_1_171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2260990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0" name="Google Shape;650;g87b7afb683_1_1724"/>
          <p:cNvSpPr txBox="1">
            <a:spLocks noGrp="1"/>
          </p:cNvSpPr>
          <p:nvPr>
            <p:ph type="title"/>
          </p:nvPr>
        </p:nvSpPr>
        <p:spPr>
          <a:xfrm rot="5400000">
            <a:off x="7133400" y="1956625"/>
            <a:ext cx="5811900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1" name="Google Shape;651;g87b7afb683_1_1724"/>
          <p:cNvSpPr txBox="1">
            <a:spLocks noGrp="1"/>
          </p:cNvSpPr>
          <p:nvPr>
            <p:ph type="body" idx="1"/>
          </p:nvPr>
        </p:nvSpPr>
        <p:spPr>
          <a:xfrm rot="5400000">
            <a:off x="1799400" y="-596075"/>
            <a:ext cx="5811900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2" name="Google Shape;652;g87b7afb683_1_172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3" name="Google Shape;653;g87b7afb683_1_172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4" name="Google Shape;654;g87b7afb683_1_172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577209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Google Shape;153;p27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" name="Google Shape;154;p2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2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2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" name="Google Shape;157;p2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88042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28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entury Gothic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" name="Google Shape;160;p28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61" name="Google Shape;161;p2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" name="Google Shape;162;p2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" name="Google Shape;163;p2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955923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29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" name="Google Shape;166;p2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" name="Google Shape;167;p29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2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2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2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044380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30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" name="Google Shape;173;p30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4" name="Google Shape;174;p30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3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6" name="Google Shape;176;p3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" name="Google Shape;177;p3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3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" name="Google Shape;179;p3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399367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ustom Layout">
  <p:cSld name="1_Custom Layout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31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" name="Google Shape;182;p31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6581669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1_Title Only">
    <p:bg>
      <p:bgPr>
        <a:solidFill>
          <a:schemeClr val="accent3"/>
        </a:solidFill>
        <a:effectLst/>
      </p:bgPr>
    </p:bg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32"/>
          <p:cNvSpPr/>
          <p:nvPr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" name="Google Shape;185;p32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" name="Google Shape;186;p32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p3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" name="Google Shape;188;p3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862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9_Title Only">
  <p:cSld name="9_Title Only">
    <p:bg>
      <p:bgPr>
        <a:solidFill>
          <a:schemeClr val="accent3"/>
        </a:solidFill>
        <a:effectLst/>
      </p:bgPr>
    </p:bg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p33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1" name="Google Shape;191;p3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" name="Google Shape;192;p33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93" name="Google Shape;193;p3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" name="Google Shape;194;p3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" name="Google Shape;195;p3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96" name="Google Shape;196;p33"/>
          <p:cNvPicPr preferRelativeResize="0"/>
          <p:nvPr/>
        </p:nvPicPr>
        <p:blipFill rotWithShape="1">
          <a:blip r:embed="rId2">
            <a:alphaModFix/>
          </a:blip>
          <a:srcRect r="19085" b="17797"/>
          <a:stretch/>
        </p:blipFill>
        <p:spPr>
          <a:xfrm>
            <a:off x="10960764" y="5615608"/>
            <a:ext cx="1244939" cy="12597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995028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6_Title Only">
  <p:cSld name="6_Title Only">
    <p:bg>
      <p:bgPr>
        <a:solidFill>
          <a:schemeClr val="accent3"/>
        </a:solidFill>
        <a:effectLst/>
      </p:bgPr>
    </p:bg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p3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" name="Google Shape;199;p34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0" name="Google Shape;200;p34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201" name="Google Shape;201;p34"/>
          <p:cNvPicPr preferRelativeResize="0"/>
          <p:nvPr/>
        </p:nvPicPr>
        <p:blipFill rotWithShape="1">
          <a:blip r:embed="rId2">
            <a:alphaModFix/>
          </a:blip>
          <a:srcRect r="18915" b="17725"/>
          <a:stretch/>
        </p:blipFill>
        <p:spPr>
          <a:xfrm>
            <a:off x="4860235" y="5610004"/>
            <a:ext cx="1235765" cy="1247996"/>
          </a:xfrm>
          <a:prstGeom prst="rect">
            <a:avLst/>
          </a:prstGeom>
          <a:noFill/>
          <a:ln>
            <a:noFill/>
          </a:ln>
        </p:spPr>
      </p:pic>
      <p:sp>
        <p:nvSpPr>
          <p:cNvPr id="202" name="Google Shape;202;p3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3" name="Google Shape;203;p3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3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309113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Only">
  <p:cSld name="2_Title Only">
    <p:bg>
      <p:bgPr>
        <a:solidFill>
          <a:schemeClr val="accent3"/>
        </a:solidFill>
        <a:effectLst/>
      </p:bgPr>
    </p:bg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Google Shape;206;p35"/>
          <p:cNvSpPr/>
          <p:nvPr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" name="Google Shape;207;p3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8" name="Google Shape;208;p35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209" name="Google Shape;209;p35"/>
          <p:cNvPicPr preferRelativeResize="0"/>
          <p:nvPr/>
        </p:nvPicPr>
        <p:blipFill rotWithShape="1">
          <a:blip r:embed="rId2">
            <a:alphaModFix/>
          </a:blip>
          <a:srcRect r="18915" b="17725"/>
          <a:stretch/>
        </p:blipFill>
        <p:spPr>
          <a:xfrm>
            <a:off x="4860235" y="5610004"/>
            <a:ext cx="1235765" cy="1247996"/>
          </a:xfrm>
          <a:prstGeom prst="rect">
            <a:avLst/>
          </a:prstGeom>
          <a:noFill/>
          <a:ln>
            <a:noFill/>
          </a:ln>
        </p:spPr>
      </p:pic>
      <p:sp>
        <p:nvSpPr>
          <p:cNvPr id="210" name="Google Shape;210;p3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1" name="Google Shape;211;p3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2" name="Google Shape;212;p3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584826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8517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7_Title Only">
  <p:cSld name="7_Title Only">
    <p:bg>
      <p:bgPr>
        <a:solidFill>
          <a:schemeClr val="accent3"/>
        </a:solidFill>
        <a:effectLst/>
      </p:bgPr>
    </p:bg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6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5" name="Google Shape;215;p36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6" name="Google Shape;216;p36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217" name="Google Shape;217;p36"/>
          <p:cNvPicPr preferRelativeResize="0"/>
          <p:nvPr/>
        </p:nvPicPr>
        <p:blipFill rotWithShape="1">
          <a:blip r:embed="rId2">
            <a:alphaModFix/>
          </a:blip>
          <a:srcRect r="18915" b="17725"/>
          <a:stretch/>
        </p:blipFill>
        <p:spPr>
          <a:xfrm>
            <a:off x="4860235" y="5610004"/>
            <a:ext cx="1235765" cy="1247996"/>
          </a:xfrm>
          <a:prstGeom prst="rect">
            <a:avLst/>
          </a:prstGeom>
          <a:noFill/>
          <a:ln>
            <a:noFill/>
          </a:ln>
        </p:spPr>
      </p:pic>
      <p:sp>
        <p:nvSpPr>
          <p:cNvPr id="218" name="Google Shape;218;p3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" name="Google Shape;219;p3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0" name="Google Shape;220;p3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205907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Only">
  <p:cSld name="5_Title Only">
    <p:bg>
      <p:bgPr>
        <a:solidFill>
          <a:schemeClr val="accent3"/>
        </a:solidFill>
        <a:effectLst/>
      </p:bgPr>
    </p:bg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Google Shape;222;p37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3" name="Google Shape;223;p37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4" name="Google Shape;224;p3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5" name="Google Shape;225;p3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6" name="Google Shape;226;p3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27" name="Google Shape;227;p37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8452199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bg>
      <p:bgPr>
        <a:solidFill>
          <a:schemeClr val="accent3"/>
        </a:solidFill>
        <a:effectLst/>
      </p:bgPr>
    </p:bg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38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0" name="Google Shape;230;p38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Century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1" name="Google Shape;231;p3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" name="Google Shape;232;p3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" name="Google Shape;233;p3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4" name="Google Shape;234;p38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1176796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Only">
  <p:cSld name="8_Title Only">
    <p:bg>
      <p:bgPr>
        <a:solidFill>
          <a:schemeClr val="accent3"/>
        </a:solidFill>
        <a:effectLst/>
      </p:bgPr>
    </p:bg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p39"/>
          <p:cNvSpPr/>
          <p:nvPr/>
        </p:nvSpPr>
        <p:spPr>
          <a:xfrm rot="10800000" flipH="1">
            <a:off x="0" y="342900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7" name="Google Shape;237;p39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8" name="Google Shape;238;p3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" name="Google Shape;239;p3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" name="Google Shape;240;p3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1" name="Google Shape;241;p39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242" name="Google Shape;242;p39"/>
          <p:cNvPicPr preferRelativeResize="0"/>
          <p:nvPr/>
        </p:nvPicPr>
        <p:blipFill rotWithShape="1">
          <a:blip r:embed="rId2">
            <a:alphaModFix/>
          </a:blip>
          <a:srcRect r="18915" b="17725"/>
          <a:stretch/>
        </p:blipFill>
        <p:spPr>
          <a:xfrm>
            <a:off x="10958513" y="5612304"/>
            <a:ext cx="1233487" cy="12456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982750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bg>
      <p:bgPr>
        <a:solidFill>
          <a:schemeClr val="accent3"/>
        </a:solidFill>
        <a:effectLst/>
      </p:bgPr>
    </p:bg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40"/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245;p40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6" name="Google Shape;246;p4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7" name="Google Shape;247;p4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8" name="Google Shape;248;p4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9" name="Google Shape;249;p40"/>
          <p:cNvPicPr preferRelativeResize="0"/>
          <p:nvPr/>
        </p:nvPicPr>
        <p:blipFill rotWithShape="1">
          <a:blip r:embed="rId2">
            <a:alphaModFix/>
          </a:blip>
          <a:srcRect r="19085" b="17797"/>
          <a:stretch/>
        </p:blipFill>
        <p:spPr>
          <a:xfrm>
            <a:off x="10960764" y="5615608"/>
            <a:ext cx="1244939" cy="12597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827742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entury Gothic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2" name="Google Shape;252;p41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253" name="Google Shape;253;p41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254" name="Google Shape;254;p41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5" name="Google Shape;255;p4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6" name="Google Shape;256;p41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285122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42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entury Gothic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9" name="Google Shape;259;p42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0" name="Google Shape;260;p42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261" name="Google Shape;261;p42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2" name="Google Shape;262;p4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3" name="Google Shape;263;p4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884516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4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6" name="Google Shape;266;p43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7" name="Google Shape;267;p4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8" name="Google Shape;268;p4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9" name="Google Shape;269;p4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98928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Google Shape;271;p44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2" name="Google Shape;272;p44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3" name="Google Shape;273;p4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4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5" name="Google Shape;275;p4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981286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2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547422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50962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Only" type="titleOnly">
  <p:cSld name="6_Title Only">
    <p:bg>
      <p:bgPr>
        <a:solidFill>
          <a:schemeClr val="accent6"/>
        </a:solidFill>
        <a:effectLst/>
      </p:bgPr>
    </p:bg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3"/>
          <p:cNvSpPr/>
          <p:nvPr/>
        </p:nvSpPr>
        <p:spPr>
          <a:xfrm flipH="1">
            <a:off x="0" y="-1"/>
            <a:ext cx="6096000" cy="687540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21;p2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2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2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190793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bg>
      <p:bgPr>
        <a:solidFill>
          <a:schemeClr val="accent6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25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Google Shape;27;p2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2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2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1" name="Google Shape;31;p25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32" name="Google Shape;32;p25"/>
          <p:cNvPicPr preferRelativeResize="0"/>
          <p:nvPr/>
        </p:nvPicPr>
        <p:blipFill rotWithShape="1">
          <a:blip r:embed="rId2">
            <a:alphaModFix/>
          </a:blip>
          <a:srcRect r="18915" b="17725"/>
          <a:stretch/>
        </p:blipFill>
        <p:spPr>
          <a:xfrm>
            <a:off x="10961785" y="5615609"/>
            <a:ext cx="1230215" cy="12423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9200102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45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Century Gothic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45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6" name="Google Shape;36;p4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4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4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76212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46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4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4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4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969502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7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Century Gothic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47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48" name="Google Shape;48;p4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4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4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254283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8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4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48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4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4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4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36549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49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49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1" name="Google Shape;61;p49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" name="Google Shape;62;p4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3" name="Google Shape;63;p4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4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4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4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119380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50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5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5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5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478151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ustom Layout">
  <p:cSld name="1_Custom Layout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51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51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1575349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Title Only">
  <p:cSld name="5_Title Only">
    <p:bg>
      <p:bgPr>
        <a:solidFill>
          <a:schemeClr val="accent6"/>
        </a:solidFill>
        <a:effectLst/>
      </p:bgPr>
    </p:bg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52"/>
          <p:cNvSpPr/>
          <p:nvPr/>
        </p:nvSpPr>
        <p:spPr>
          <a:xfrm flipH="1">
            <a:off x="0" y="-1"/>
            <a:ext cx="6096000" cy="687540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" name="Google Shape;77;p52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52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5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5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1" name="Google Shape;81;p52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82" name="Google Shape;82;p52"/>
          <p:cNvPicPr preferRelativeResize="0"/>
          <p:nvPr/>
        </p:nvPicPr>
        <p:blipFill rotWithShape="1">
          <a:blip r:embed="rId2">
            <a:alphaModFix/>
          </a:blip>
          <a:srcRect r="18915" b="17725"/>
          <a:stretch/>
        </p:blipFill>
        <p:spPr>
          <a:xfrm>
            <a:off x="4860235" y="5610004"/>
            <a:ext cx="1235765" cy="12479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09807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108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bg>
      <p:bgPr>
        <a:solidFill>
          <a:schemeClr val="accent6"/>
        </a:solidFill>
        <a:effectLst/>
      </p:bgPr>
    </p:bg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53"/>
          <p:cNvSpPr/>
          <p:nvPr/>
        </p:nvSpPr>
        <p:spPr>
          <a:xfrm>
            <a:off x="6096000" y="-1"/>
            <a:ext cx="6096000" cy="687540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" name="Google Shape;85;p5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5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5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5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9" name="Google Shape;89;p53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90" name="Google Shape;90;p53"/>
          <p:cNvPicPr preferRelativeResize="0"/>
          <p:nvPr/>
        </p:nvPicPr>
        <p:blipFill rotWithShape="1">
          <a:blip r:embed="rId2">
            <a:alphaModFix/>
          </a:blip>
          <a:srcRect r="19085" b="17797"/>
          <a:stretch/>
        </p:blipFill>
        <p:spPr>
          <a:xfrm>
            <a:off x="4850296" y="5614834"/>
            <a:ext cx="1245704" cy="12605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770597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bg>
      <p:bgPr>
        <a:solidFill>
          <a:schemeClr val="accent6"/>
        </a:solidFill>
        <a:effectLst/>
      </p:bgPr>
    </p:bg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54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" name="Google Shape;93;p54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5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5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5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7" name="Google Shape;97;p54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626933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bg>
      <p:bgPr>
        <a:solidFill>
          <a:schemeClr val="accent6"/>
        </a:solidFill>
        <a:effectLst/>
      </p:bgPr>
    </p:bg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55"/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" name="Google Shape;100;p5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" name="Google Shape;101;p5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5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" name="Google Shape;103;p5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04" name="Google Shape;104;p55"/>
          <p:cNvPicPr preferRelativeResize="0"/>
          <p:nvPr/>
        </p:nvPicPr>
        <p:blipFill rotWithShape="1">
          <a:blip r:embed="rId2">
            <a:alphaModFix/>
          </a:blip>
          <a:srcRect r="18915" b="17725"/>
          <a:stretch/>
        </p:blipFill>
        <p:spPr>
          <a:xfrm>
            <a:off x="10961785" y="5615609"/>
            <a:ext cx="1230215" cy="12423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962801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56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entury Gothic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56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08" name="Google Shape;108;p56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09" name="Google Shape;109;p5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5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5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1062222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57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entury Gothic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57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5" name="Google Shape;115;p57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16" name="Google Shape;116;p5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" name="Google Shape;117;p5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5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1426005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58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58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5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5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5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396122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59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59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5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5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" name="Google Shape;130;p5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426284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4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1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" name="Google Shape;143;p1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85748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18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" name="Google Shape;152;p1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1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" name="Google Shape;154;p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1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714505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19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entury Gothic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19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59" name="Google Shape;159;p1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" name="Google Shape;160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" name="Google Shape;161;p1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251991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pPr/>
              <a:t>5/1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28763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20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20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20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" name="Google Shape;166;p2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" name="Google Shape;167;p2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2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2957511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21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21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2" name="Google Shape;172;p21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" name="Google Shape;173;p2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4" name="Google Shape;174;p2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21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" name="Google Shape;176;p2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21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17412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2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8059257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ustom Layout">
  <p:cSld name="1_Custom Layout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2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" name="Google Shape;182;p23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6427208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1_Title Only">
    <p:bg>
      <p:bgPr>
        <a:solidFill>
          <a:schemeClr val="accent3"/>
        </a:solidFill>
        <a:effectLst/>
      </p:bgPr>
    </p:bg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24"/>
          <p:cNvSpPr/>
          <p:nvPr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" name="Google Shape;185;p24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" name="Google Shape;186;p2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p2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" name="Google Shape;188;p2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761645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9_Title Only">
  <p:cSld name="9_Title Only">
    <p:bg>
      <p:bgPr>
        <a:solidFill>
          <a:schemeClr val="accent3"/>
        </a:solidFill>
        <a:effectLst/>
      </p:bgPr>
    </p:bg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p25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1" name="Google Shape;191;p2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" name="Google Shape;192;p25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93" name="Google Shape;193;p2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" name="Google Shape;194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" name="Google Shape;195;p2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96" name="Google Shape;196;p25"/>
          <p:cNvPicPr preferRelativeResize="0"/>
          <p:nvPr/>
        </p:nvPicPr>
        <p:blipFill rotWithShape="1">
          <a:blip r:embed="rId2">
            <a:alphaModFix/>
          </a:blip>
          <a:srcRect r="19085" b="17797"/>
          <a:stretch/>
        </p:blipFill>
        <p:spPr>
          <a:xfrm>
            <a:off x="10960764" y="5615608"/>
            <a:ext cx="1244939" cy="12597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2871506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6_Title Only">
  <p:cSld name="6_Title Only">
    <p:bg>
      <p:bgPr>
        <a:solidFill>
          <a:schemeClr val="accent3"/>
        </a:solidFill>
        <a:effectLst/>
      </p:bgPr>
    </p:bg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p26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" name="Google Shape;199;p26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0" name="Google Shape;200;p26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201" name="Google Shape;201;p26"/>
          <p:cNvPicPr preferRelativeResize="0"/>
          <p:nvPr/>
        </p:nvPicPr>
        <p:blipFill rotWithShape="1">
          <a:blip r:embed="rId2">
            <a:alphaModFix/>
          </a:blip>
          <a:srcRect r="18915" b="17725"/>
          <a:stretch/>
        </p:blipFill>
        <p:spPr>
          <a:xfrm>
            <a:off x="4860235" y="5610004"/>
            <a:ext cx="1235765" cy="1247996"/>
          </a:xfrm>
          <a:prstGeom prst="rect">
            <a:avLst/>
          </a:prstGeom>
          <a:noFill/>
          <a:ln>
            <a:noFill/>
          </a:ln>
        </p:spPr>
      </p:pic>
      <p:sp>
        <p:nvSpPr>
          <p:cNvPr id="202" name="Google Shape;202;p2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3" name="Google Shape;203;p2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2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293315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Only">
  <p:cSld name="2_Title Only">
    <p:bg>
      <p:bgPr>
        <a:solidFill>
          <a:schemeClr val="accent3"/>
        </a:solidFill>
        <a:effectLst/>
      </p:bgPr>
    </p:bg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Google Shape;206;p27"/>
          <p:cNvSpPr/>
          <p:nvPr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" name="Google Shape;207;p27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8" name="Google Shape;208;p27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209" name="Google Shape;209;p27"/>
          <p:cNvPicPr preferRelativeResize="0"/>
          <p:nvPr/>
        </p:nvPicPr>
        <p:blipFill rotWithShape="1">
          <a:blip r:embed="rId2">
            <a:alphaModFix/>
          </a:blip>
          <a:srcRect r="18915" b="17725"/>
          <a:stretch/>
        </p:blipFill>
        <p:spPr>
          <a:xfrm>
            <a:off x="4860235" y="5610004"/>
            <a:ext cx="1235765" cy="1247996"/>
          </a:xfrm>
          <a:prstGeom prst="rect">
            <a:avLst/>
          </a:prstGeom>
          <a:noFill/>
          <a:ln>
            <a:noFill/>
          </a:ln>
        </p:spPr>
      </p:pic>
      <p:sp>
        <p:nvSpPr>
          <p:cNvPr id="210" name="Google Shape;210;p2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1" name="Google Shape;211;p2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2" name="Google Shape;212;p2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4110508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7_Title Only">
  <p:cSld name="7_Title Only">
    <p:bg>
      <p:bgPr>
        <a:solidFill>
          <a:schemeClr val="accent3"/>
        </a:solidFill>
        <a:effectLst/>
      </p:bgPr>
    </p:bg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28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5" name="Google Shape;215;p28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6" name="Google Shape;216;p28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217" name="Google Shape;217;p28"/>
          <p:cNvPicPr preferRelativeResize="0"/>
          <p:nvPr/>
        </p:nvPicPr>
        <p:blipFill rotWithShape="1">
          <a:blip r:embed="rId2">
            <a:alphaModFix/>
          </a:blip>
          <a:srcRect r="18915" b="17725"/>
          <a:stretch/>
        </p:blipFill>
        <p:spPr>
          <a:xfrm>
            <a:off x="4860235" y="5610004"/>
            <a:ext cx="1235765" cy="1247996"/>
          </a:xfrm>
          <a:prstGeom prst="rect">
            <a:avLst/>
          </a:prstGeom>
          <a:noFill/>
          <a:ln>
            <a:noFill/>
          </a:ln>
        </p:spPr>
      </p:pic>
      <p:sp>
        <p:nvSpPr>
          <p:cNvPr id="218" name="Google Shape;218;p2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" name="Google Shape;219;p2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0" name="Google Shape;220;p2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945340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Only">
  <p:cSld name="5_Title Only">
    <p:bg>
      <p:bgPr>
        <a:solidFill>
          <a:schemeClr val="accent3"/>
        </a:solidFill>
        <a:effectLst/>
      </p:bgPr>
    </p:bg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Google Shape;222;p29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3" name="Google Shape;223;p29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4" name="Google Shape;224;p2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5" name="Google Shape;225;p2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6" name="Google Shape;226;p2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27" name="Google Shape;227;p29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4219026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82654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bg>
      <p:bgPr>
        <a:solidFill>
          <a:schemeClr val="accent3"/>
        </a:solidFill>
        <a:effectLst/>
      </p:bgPr>
    </p:bg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30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0" name="Google Shape;230;p30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Century Gothic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1" name="Google Shape;231;p3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" name="Google Shape;232;p3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" name="Google Shape;233;p3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4" name="Google Shape;234;p30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43223554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Only">
  <p:cSld name="8_Title Only">
    <p:bg>
      <p:bgPr>
        <a:solidFill>
          <a:schemeClr val="accent3"/>
        </a:solidFill>
        <a:effectLst/>
      </p:bgPr>
    </p:bg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p31"/>
          <p:cNvSpPr/>
          <p:nvPr/>
        </p:nvSpPr>
        <p:spPr>
          <a:xfrm rot="10800000" flipH="1">
            <a:off x="0" y="342900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7" name="Google Shape;237;p31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8" name="Google Shape;238;p31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" name="Google Shape;239;p3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" name="Google Shape;240;p31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1" name="Google Shape;241;p31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242" name="Google Shape;242;p31"/>
          <p:cNvPicPr preferRelativeResize="0"/>
          <p:nvPr/>
        </p:nvPicPr>
        <p:blipFill rotWithShape="1">
          <a:blip r:embed="rId2">
            <a:alphaModFix/>
          </a:blip>
          <a:srcRect r="18915" b="17725"/>
          <a:stretch/>
        </p:blipFill>
        <p:spPr>
          <a:xfrm>
            <a:off x="10958513" y="5612304"/>
            <a:ext cx="1233487" cy="12456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7694431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bg>
      <p:bgPr>
        <a:solidFill>
          <a:schemeClr val="accent3"/>
        </a:solidFill>
        <a:effectLst/>
      </p:bgPr>
    </p:bg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32"/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245;p32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6" name="Google Shape;246;p32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7" name="Google Shape;247;p3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8" name="Google Shape;248;p3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9" name="Google Shape;249;p32"/>
          <p:cNvPicPr preferRelativeResize="0"/>
          <p:nvPr/>
        </p:nvPicPr>
        <p:blipFill rotWithShape="1">
          <a:blip r:embed="rId2">
            <a:alphaModFix/>
          </a:blip>
          <a:srcRect r="19085" b="17797"/>
          <a:stretch/>
        </p:blipFill>
        <p:spPr>
          <a:xfrm>
            <a:off x="10960764" y="5615608"/>
            <a:ext cx="1244939" cy="12597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12803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33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entury Gothic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2" name="Google Shape;252;p33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253" name="Google Shape;253;p33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254" name="Google Shape;254;p3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5" name="Google Shape;255;p3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6" name="Google Shape;256;p3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4027286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3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entury Gothic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9" name="Google Shape;259;p34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0" name="Google Shape;260;p34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261" name="Google Shape;261;p3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2" name="Google Shape;262;p3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3" name="Google Shape;263;p3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475687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3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6" name="Google Shape;266;p35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7" name="Google Shape;267;p3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8" name="Google Shape;268;p3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9" name="Google Shape;269;p3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828493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Google Shape;271;p36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2" name="Google Shape;272;p36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3" name="Google Shape;273;p3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3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5" name="Google Shape;275;p3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9912235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" name="Google Shape;519;g87b7afb683_1_159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0" name="Google Shape;520;g87b7afb683_1_159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1" name="Google Shape;521;g87b7afb683_1_159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2" name="Google Shape;522;g87b7afb683_1_159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6303314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Google Shape;524;g87b7afb683_1_159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entury Gothic"/>
              <a:buNone/>
              <a:defRPr sz="6000" b="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" name="Google Shape;525;g87b7afb683_1_1598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26" name="Google Shape;526;g87b7afb683_1_159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" name="Google Shape;527;g87b7afb683_1_159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8" name="Google Shape;528;g87b7afb683_1_159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347809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" name="Google Shape;530;g87b7afb683_1_1604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1" name="Google Shape;531;g87b7afb683_1_160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2" name="Google Shape;532;g87b7afb683_1_160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3" name="Google Shape;533;g87b7afb683_1_160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4" name="Google Shape;534;g87b7afb683_1_160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815085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749088" y="404813"/>
            <a:ext cx="123111" cy="1264770"/>
          </a:xfrm>
          <a:prstGeom prst="rect">
            <a:avLst/>
          </a:prstGeom>
          <a:noFill/>
        </p:spPr>
        <p:txBody>
          <a:bodyPr vert="vert" wrap="none" lIns="0" tIns="0" rIns="0" bIns="0" rtlCol="0" anchor="ctr" anchorCtr="0">
            <a:spAutoFit/>
          </a:bodyPr>
          <a:lstStyle/>
          <a:p>
            <a:r>
              <a:rPr lang="de-DE" sz="800" b="1">
                <a:latin typeface="Century Gothic" charset="0"/>
                <a:ea typeface="Century Gothic" charset="0"/>
                <a:cs typeface="Century Gothic" charset="0"/>
              </a:rPr>
              <a:t>© </a:t>
            </a:r>
            <a:r>
              <a:rPr lang="en-US" sz="800" b="1">
                <a:latin typeface="Century Gothic" charset="0"/>
                <a:ea typeface="Century Gothic" charset="0"/>
                <a:cs typeface="Century Gothic" charset="0"/>
              </a:rPr>
              <a:t>COOKHOUSE LABS </a:t>
            </a:r>
            <a:r>
              <a:rPr lang="en-US" sz="800">
                <a:latin typeface="Century Gothic" charset="0"/>
                <a:ea typeface="Century Gothic" charset="0"/>
                <a:cs typeface="Century Gothic" charset="0"/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30356379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" name="Google Shape;536;g87b7afb683_1_1610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entury Gothic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7" name="Google Shape;537;g87b7afb683_1_1610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38" name="Google Shape;538;g87b7afb683_1_161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g87b7afb683_1_16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0" name="Google Shape;540;g87b7afb683_1_161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7528426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" name="Google Shape;542;g87b7afb683_1_1616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3" name="Google Shape;543;g87b7afb683_1_161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4" name="Google Shape;544;g87b7afb683_1_1616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5" name="Google Shape;545;g87b7afb683_1_161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6" name="Google Shape;546;g87b7afb683_1_16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7" name="Google Shape;547;g87b7afb683_1_161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967280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Google Shape;549;g87b7afb683_1_1623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0" name="Google Shape;550;g87b7afb683_1_1623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9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1" name="Google Shape;551;g87b7afb683_1_1623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900" cy="368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2" name="Google Shape;552;g87b7afb683_1_162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3" name="Google Shape;553;g87b7afb683_1_162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00" cy="368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4" name="Google Shape;554;g87b7afb683_1_162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5" name="Google Shape;555;g87b7afb683_1_16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6" name="Google Shape;556;g87b7afb683_1_162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006870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" name="Google Shape;558;g87b7afb683_1_163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1448834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ustom Layout">
  <p:cSld name="1_Custom Layout">
    <p:spTree>
      <p:nvGrpSpPr>
        <p:cNvPr id="1" name="Shape 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" name="Google Shape;560;g87b7afb683_1_1634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1" name="Google Shape;561;g87b7afb683_1_1634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411749618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1_Title Only">
    <p:bg>
      <p:bgPr>
        <a:solidFill>
          <a:schemeClr val="accent3"/>
        </a:solidFill>
        <a:effectLst/>
      </p:bgPr>
    </p:bg>
    <p:spTree>
      <p:nvGrpSpPr>
        <p:cNvPr id="1" name="Shape 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" name="Google Shape;563;g87b7afb683_1_1637"/>
          <p:cNvSpPr/>
          <p:nvPr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4" name="Google Shape;564;g87b7afb683_1_1637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5" name="Google Shape;565;g87b7afb683_1_163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6" name="Google Shape;566;g87b7afb683_1_163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7" name="Google Shape;567;g87b7afb683_1_163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848303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9_Title Only">
  <p:cSld name="9_Title Only">
    <p:bg>
      <p:bgPr>
        <a:solidFill>
          <a:schemeClr val="accent3"/>
        </a:solidFill>
        <a:effectLst/>
      </p:bgPr>
    </p:bg>
    <p:spTree>
      <p:nvGrpSpPr>
        <p:cNvPr id="1" name="Shape 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9" name="Google Shape;569;g87b7afb683_1_1643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0" name="Google Shape;570;g87b7afb683_1_164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1" name="Google Shape;571;g87b7afb683_1_1643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72" name="Google Shape;572;g87b7afb683_1_164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3" name="Google Shape;573;g87b7afb683_1_164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g87b7afb683_1_164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575" name="Google Shape;575;g87b7afb683_1_1643"/>
          <p:cNvPicPr preferRelativeResize="0"/>
          <p:nvPr/>
        </p:nvPicPr>
        <p:blipFill rotWithShape="1">
          <a:blip r:embed="rId2">
            <a:alphaModFix/>
          </a:blip>
          <a:srcRect r="19087" b="17796"/>
          <a:stretch/>
        </p:blipFill>
        <p:spPr>
          <a:xfrm>
            <a:off x="10960764" y="5615608"/>
            <a:ext cx="1244940" cy="12597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7537821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6_Title Only">
  <p:cSld name="6_Title Only">
    <p:bg>
      <p:bgPr>
        <a:solidFill>
          <a:schemeClr val="accent3"/>
        </a:solidFill>
        <a:effectLst/>
      </p:bgPr>
    </p:bg>
    <p:spTree>
      <p:nvGrpSpPr>
        <p:cNvPr id="1" name="Shape 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" name="Google Shape;577;g87b7afb683_1_165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8" name="Google Shape;578;g87b7afb683_1_1651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9" name="Google Shape;579;g87b7afb683_1_1651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80" name="Google Shape;580;g87b7afb683_1_1651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4860235" y="5610004"/>
            <a:ext cx="1235765" cy="1247995"/>
          </a:xfrm>
          <a:prstGeom prst="rect">
            <a:avLst/>
          </a:prstGeom>
          <a:noFill/>
          <a:ln>
            <a:noFill/>
          </a:ln>
        </p:spPr>
      </p:pic>
      <p:sp>
        <p:nvSpPr>
          <p:cNvPr id="581" name="Google Shape;581;g87b7afb683_1_1651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2" name="Google Shape;582;g87b7afb683_1_165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3" name="Google Shape;583;g87b7afb683_1_1651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0790894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Only">
  <p:cSld name="2_Title Only">
    <p:bg>
      <p:bgPr>
        <a:solidFill>
          <a:schemeClr val="accent3"/>
        </a:solidFill>
        <a:effectLst/>
      </p:bgPr>
    </p:bg>
    <p:spTree>
      <p:nvGrpSpPr>
        <p:cNvPr id="1" name="Shape 5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5" name="Google Shape;585;g87b7afb683_1_1659"/>
          <p:cNvSpPr/>
          <p:nvPr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6" name="Google Shape;586;g87b7afb683_1_1659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7" name="Google Shape;587;g87b7afb683_1_1659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88" name="Google Shape;588;g87b7afb683_1_1659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4860235" y="5610004"/>
            <a:ext cx="1235765" cy="1247995"/>
          </a:xfrm>
          <a:prstGeom prst="rect">
            <a:avLst/>
          </a:prstGeom>
          <a:noFill/>
          <a:ln>
            <a:noFill/>
          </a:ln>
        </p:spPr>
      </p:pic>
      <p:sp>
        <p:nvSpPr>
          <p:cNvPr id="589" name="Google Shape;589;g87b7afb683_1_165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0" name="Google Shape;590;g87b7afb683_1_165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1" name="Google Shape;591;g87b7afb683_1_165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90395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7_Title Only">
  <p:cSld name="7_Title Only">
    <p:bg>
      <p:bgPr>
        <a:solidFill>
          <a:schemeClr val="accent3"/>
        </a:solidFill>
        <a:effectLst/>
      </p:bgPr>
    </p:bg>
    <p:spTree>
      <p:nvGrpSpPr>
        <p:cNvPr id="1" name="Shape 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" name="Google Shape;593;g87b7afb683_1_1667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4" name="Google Shape;594;g87b7afb683_1_1667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5" name="Google Shape;595;g87b7afb683_1_1667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96" name="Google Shape;596;g87b7afb683_1_1667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4860235" y="5610004"/>
            <a:ext cx="1235765" cy="1247995"/>
          </a:xfrm>
          <a:prstGeom prst="rect">
            <a:avLst/>
          </a:prstGeom>
          <a:noFill/>
          <a:ln>
            <a:noFill/>
          </a:ln>
        </p:spPr>
      </p:pic>
      <p:sp>
        <p:nvSpPr>
          <p:cNvPr id="597" name="Google Shape;597;g87b7afb683_1_166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8" name="Google Shape;598;g87b7afb683_1_166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" name="Google Shape;599;g87b7afb683_1_166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922164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CE5B4-37B4-F04A-9C39-381919C379A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B92DC-7D7F-674B-897F-277726FD4F2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1749088" y="404813"/>
            <a:ext cx="123111" cy="1264770"/>
          </a:xfrm>
          <a:prstGeom prst="rect">
            <a:avLst/>
          </a:prstGeom>
          <a:noFill/>
        </p:spPr>
        <p:txBody>
          <a:bodyPr vert="vert" wrap="none" lIns="0" tIns="0" rIns="0" bIns="0" rtlCol="0" anchor="ctr" anchorCtr="0">
            <a:spAutoFit/>
          </a:bodyPr>
          <a:lstStyle/>
          <a:p>
            <a:r>
              <a:rPr lang="de-DE" sz="800" b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© </a:t>
            </a:r>
            <a:r>
              <a:rPr lang="en-US" sz="800" b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COOKHOUSE LABS </a:t>
            </a:r>
            <a:r>
              <a:rPr lang="en-US" sz="80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2020</a:t>
            </a: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085" b="17797"/>
          <a:stretch/>
        </p:blipFill>
        <p:spPr>
          <a:xfrm>
            <a:off x="10960764" y="5615608"/>
            <a:ext cx="1244939" cy="125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42362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Only">
  <p:cSld name="5_Title Only">
    <p:bg>
      <p:bgPr>
        <a:solidFill>
          <a:schemeClr val="accent3"/>
        </a:solidFill>
        <a:effectLst/>
      </p:bgPr>
    </p:bg>
    <p:spTree>
      <p:nvGrpSpPr>
        <p:cNvPr id="1" name="Shape 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Google Shape;601;g87b7afb683_1_1675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2" name="Google Shape;602;g87b7afb683_1_167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3" name="Google Shape;603;g87b7afb683_1_167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4" name="Google Shape;604;g87b7afb683_1_167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" name="Google Shape;605;g87b7afb683_1_167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06" name="Google Shape;606;g87b7afb683_1_1675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363164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bg>
      <p:bgPr>
        <a:solidFill>
          <a:schemeClr val="accent3"/>
        </a:solidFill>
        <a:effectLst/>
      </p:bgPr>
    </p:bg>
    <p:spTree>
      <p:nvGrpSpPr>
        <p:cNvPr id="1" name="Shape 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8" name="Google Shape;608;g87b7afb683_1_1682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9" name="Google Shape;609;g87b7afb683_1_1682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Century Gothic"/>
              <a:buNone/>
              <a:defRPr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0" name="Google Shape;610;g87b7afb683_1_1682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1" name="Google Shape;611;g87b7afb683_1_168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2" name="Google Shape;612;g87b7afb683_1_168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13" name="Google Shape;613;g87b7afb683_1_1682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56374960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Only">
  <p:cSld name="8_Title Only">
    <p:bg>
      <p:bgPr>
        <a:solidFill>
          <a:schemeClr val="accent3"/>
        </a:solidFill>
        <a:effectLst/>
      </p:bgPr>
    </p:bg>
    <p:spTree>
      <p:nvGrpSpPr>
        <p:cNvPr id="1" name="Shape 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" name="Google Shape;615;g87b7afb683_1_1689"/>
          <p:cNvSpPr/>
          <p:nvPr/>
        </p:nvSpPr>
        <p:spPr>
          <a:xfrm rot="10800000" flipH="1">
            <a:off x="0" y="342900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6" name="Google Shape;616;g87b7afb683_1_1689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7" name="Google Shape;617;g87b7afb683_1_168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8" name="Google Shape;618;g87b7afb683_1_168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9" name="Google Shape;619;g87b7afb683_1_168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20" name="Google Shape;620;g87b7afb683_1_1689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621" name="Google Shape;621;g87b7afb683_1_1689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10958513" y="5612304"/>
            <a:ext cx="1233486" cy="12456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0433837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bg>
      <p:bgPr>
        <a:solidFill>
          <a:schemeClr val="accent3"/>
        </a:solidFill>
        <a:effectLst/>
      </p:bgPr>
    </p:bg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Google Shape;623;g87b7afb683_1_1697"/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4" name="Google Shape;624;g87b7afb683_1_1697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5" name="Google Shape;625;g87b7afb683_1_169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6" name="Google Shape;626;g87b7afb683_1_169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7" name="Google Shape;627;g87b7afb683_1_169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628" name="Google Shape;628;g87b7afb683_1_1697"/>
          <p:cNvPicPr preferRelativeResize="0"/>
          <p:nvPr/>
        </p:nvPicPr>
        <p:blipFill rotWithShape="1">
          <a:blip r:embed="rId2">
            <a:alphaModFix/>
          </a:blip>
          <a:srcRect r="19087" b="17796"/>
          <a:stretch/>
        </p:blipFill>
        <p:spPr>
          <a:xfrm>
            <a:off x="10960764" y="5615608"/>
            <a:ext cx="1244940" cy="12597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7489555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g87b7afb683_1_170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entury Gothic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1" name="Google Shape;631;g87b7afb683_1_1704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32" name="Google Shape;632;g87b7afb683_1_1704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33" name="Google Shape;633;g87b7afb683_1_170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4" name="Google Shape;634;g87b7afb683_1_170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5" name="Google Shape;635;g87b7afb683_1_170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3884359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6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7" name="Google Shape;637;g87b7afb683_1_171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entury Gothic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" name="Google Shape;638;g87b7afb683_1_1711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39" name="Google Shape;639;g87b7afb683_1_1711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40" name="Google Shape;640;g87b7afb683_1_1711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1" name="Google Shape;641;g87b7afb683_1_17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2" name="Google Shape;642;g87b7afb683_1_1711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780435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4" name="Google Shape;644;g87b7afb683_1_1718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5" name="Google Shape;645;g87b7afb683_1_1718"/>
          <p:cNvSpPr txBox="1">
            <a:spLocks noGrp="1"/>
          </p:cNvSpPr>
          <p:nvPr>
            <p:ph type="body" idx="1"/>
          </p:nvPr>
        </p:nvSpPr>
        <p:spPr>
          <a:xfrm rot="5400000">
            <a:off x="3920400" y="-1256575"/>
            <a:ext cx="4351200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6" name="Google Shape;646;g87b7afb683_1_171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7" name="Google Shape;647;g87b7afb683_1_17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8" name="Google Shape;648;g87b7afb683_1_171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0482190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0" name="Google Shape;650;g87b7afb683_1_1724"/>
          <p:cNvSpPr txBox="1">
            <a:spLocks noGrp="1"/>
          </p:cNvSpPr>
          <p:nvPr>
            <p:ph type="title"/>
          </p:nvPr>
        </p:nvSpPr>
        <p:spPr>
          <a:xfrm rot="5400000">
            <a:off x="7133400" y="1956625"/>
            <a:ext cx="5811900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1" name="Google Shape;651;g87b7afb683_1_1724"/>
          <p:cNvSpPr txBox="1">
            <a:spLocks noGrp="1"/>
          </p:cNvSpPr>
          <p:nvPr>
            <p:ph type="body" idx="1"/>
          </p:nvPr>
        </p:nvSpPr>
        <p:spPr>
          <a:xfrm rot="5400000">
            <a:off x="1799400" y="-596075"/>
            <a:ext cx="5811900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2" name="Google Shape;652;g87b7afb683_1_172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3" name="Google Shape;653;g87b7afb683_1_172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4" name="Google Shape;654;g87b7afb683_1_172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802444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3139481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Only" type="titleOnly">
  <p:cSld name="6_Title Only">
    <p:bg>
      <p:bgPr>
        <a:solidFill>
          <a:schemeClr val="accent6"/>
        </a:solidFill>
        <a:effectLst/>
      </p:bgPr>
    </p:bg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15"/>
          <p:cNvSpPr/>
          <p:nvPr/>
        </p:nvSpPr>
        <p:spPr>
          <a:xfrm flipH="1">
            <a:off x="0" y="-1"/>
            <a:ext cx="6096000" cy="687540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21;p1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1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1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1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29660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13" Type="http://schemas.openxmlformats.org/officeDocument/2006/relationships/slideLayout" Target="../slideLayouts/slideLayout198.xml"/><Relationship Id="rId18" Type="http://schemas.openxmlformats.org/officeDocument/2006/relationships/slideLayout" Target="../slideLayouts/slideLayout203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188.xml"/><Relationship Id="rId21" Type="http://schemas.openxmlformats.org/officeDocument/2006/relationships/slideLayout" Target="../slideLayouts/slideLayout206.xml"/><Relationship Id="rId7" Type="http://schemas.openxmlformats.org/officeDocument/2006/relationships/slideLayout" Target="../slideLayouts/slideLayout192.xml"/><Relationship Id="rId12" Type="http://schemas.openxmlformats.org/officeDocument/2006/relationships/slideLayout" Target="../slideLayouts/slideLayout197.xml"/><Relationship Id="rId17" Type="http://schemas.openxmlformats.org/officeDocument/2006/relationships/slideLayout" Target="../slideLayouts/slideLayout202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187.xml"/><Relationship Id="rId16" Type="http://schemas.openxmlformats.org/officeDocument/2006/relationships/slideLayout" Target="../slideLayouts/slideLayout201.xml"/><Relationship Id="rId20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6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190.xml"/><Relationship Id="rId15" Type="http://schemas.openxmlformats.org/officeDocument/2006/relationships/slideLayout" Target="../slideLayouts/slideLayout200.xml"/><Relationship Id="rId23" Type="http://schemas.openxmlformats.org/officeDocument/2006/relationships/vmlDrawing" Target="../drawings/vmlDrawing3.vml"/><Relationship Id="rId10" Type="http://schemas.openxmlformats.org/officeDocument/2006/relationships/slideLayout" Target="../slideLayouts/slideLayout195.xml"/><Relationship Id="rId19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4" Type="http://schemas.openxmlformats.org/officeDocument/2006/relationships/slideLayout" Target="../slideLayouts/slideLayout199.xml"/><Relationship Id="rId22" Type="http://schemas.openxmlformats.org/officeDocument/2006/relationships/theme" Target="../theme/theme10.xml"/><Relationship Id="rId27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9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6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theme" Target="../theme/theme5.xml"/><Relationship Id="rId27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07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118.xml"/><Relationship Id="rId21" Type="http://schemas.openxmlformats.org/officeDocument/2006/relationships/theme" Target="../theme/theme7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Relationship Id="rId22" Type="http://schemas.openxmlformats.org/officeDocument/2006/relationships/vmlDrawing" Target="../drawings/vmlDrawing2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45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6.xml"/><Relationship Id="rId18" Type="http://schemas.openxmlformats.org/officeDocument/2006/relationships/slideLayout" Target="../slideLayouts/slideLayout171.xml"/><Relationship Id="rId26" Type="http://schemas.openxmlformats.org/officeDocument/2006/relationships/slideLayout" Target="../slideLayouts/slideLayout179.xml"/><Relationship Id="rId3" Type="http://schemas.openxmlformats.org/officeDocument/2006/relationships/slideLayout" Target="../slideLayouts/slideLayout156.xml"/><Relationship Id="rId21" Type="http://schemas.openxmlformats.org/officeDocument/2006/relationships/slideLayout" Target="../slideLayouts/slideLayout174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160.xml"/><Relationship Id="rId12" Type="http://schemas.openxmlformats.org/officeDocument/2006/relationships/slideLayout" Target="../slideLayouts/slideLayout165.xml"/><Relationship Id="rId17" Type="http://schemas.openxmlformats.org/officeDocument/2006/relationships/slideLayout" Target="../slideLayouts/slideLayout170.xml"/><Relationship Id="rId25" Type="http://schemas.openxmlformats.org/officeDocument/2006/relationships/slideLayout" Target="../slideLayouts/slideLayout178.xml"/><Relationship Id="rId33" Type="http://schemas.openxmlformats.org/officeDocument/2006/relationships/theme" Target="../theme/theme9.xml"/><Relationship Id="rId2" Type="http://schemas.openxmlformats.org/officeDocument/2006/relationships/slideLayout" Target="../slideLayouts/slideLayout155.xml"/><Relationship Id="rId16" Type="http://schemas.openxmlformats.org/officeDocument/2006/relationships/slideLayout" Target="../slideLayouts/slideLayout169.xml"/><Relationship Id="rId20" Type="http://schemas.openxmlformats.org/officeDocument/2006/relationships/slideLayout" Target="../slideLayouts/slideLayout173.xml"/><Relationship Id="rId29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1" Type="http://schemas.openxmlformats.org/officeDocument/2006/relationships/slideLayout" Target="../slideLayouts/slideLayout164.xml"/><Relationship Id="rId24" Type="http://schemas.openxmlformats.org/officeDocument/2006/relationships/slideLayout" Target="../slideLayouts/slideLayout177.xml"/><Relationship Id="rId32" Type="http://schemas.openxmlformats.org/officeDocument/2006/relationships/slideLayout" Target="../slideLayouts/slideLayout185.xml"/><Relationship Id="rId5" Type="http://schemas.openxmlformats.org/officeDocument/2006/relationships/slideLayout" Target="../slideLayouts/slideLayout158.xml"/><Relationship Id="rId15" Type="http://schemas.openxmlformats.org/officeDocument/2006/relationships/slideLayout" Target="../slideLayouts/slideLayout168.xml"/><Relationship Id="rId23" Type="http://schemas.openxmlformats.org/officeDocument/2006/relationships/slideLayout" Target="../slideLayouts/slideLayout176.xml"/><Relationship Id="rId28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63.xml"/><Relationship Id="rId19" Type="http://schemas.openxmlformats.org/officeDocument/2006/relationships/slideLayout" Target="../slideLayouts/slideLayout172.xml"/><Relationship Id="rId31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Relationship Id="rId14" Type="http://schemas.openxmlformats.org/officeDocument/2006/relationships/slideLayout" Target="../slideLayouts/slideLayout167.xml"/><Relationship Id="rId22" Type="http://schemas.openxmlformats.org/officeDocument/2006/relationships/slideLayout" Target="../slideLayouts/slideLayout175.xml"/><Relationship Id="rId27" Type="http://schemas.openxmlformats.org/officeDocument/2006/relationships/slideLayout" Target="../slideLayouts/slideLayout180.xml"/><Relationship Id="rId30" Type="http://schemas.openxmlformats.org/officeDocument/2006/relationships/slideLayout" Target="../slideLayouts/slideLayout183.xml"/><Relationship Id="rId8" Type="http://schemas.openxmlformats.org/officeDocument/2006/relationships/slideLayout" Target="../slideLayouts/slideLayout1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</p:spPr>
        <p:txBody>
          <a:bodyPr vert="horz" lIns="0" tIns="45720" rIns="9000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fld id="{DDBCE5B4-37B4-F04A-9C39-381919C379AC}" type="datetimeFigureOut">
              <a:rPr lang="en-US" smtClean="0"/>
              <a:pPr/>
              <a:t>5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000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fld id="{30AB92DC-7D7F-674B-897F-277726FD4F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11749088" y="404813"/>
            <a:ext cx="123111" cy="1264770"/>
          </a:xfrm>
          <a:prstGeom prst="rect">
            <a:avLst/>
          </a:prstGeom>
          <a:noFill/>
        </p:spPr>
        <p:txBody>
          <a:bodyPr vert="vert" wrap="none" lIns="0" tIns="0" rIns="0" bIns="0" rtlCol="0" anchor="ctr" anchorCtr="0">
            <a:spAutoFit/>
          </a:bodyPr>
          <a:lstStyle/>
          <a:p>
            <a:r>
              <a:rPr lang="de-DE" sz="800" b="1">
                <a:latin typeface="Century Gothic" charset="0"/>
                <a:ea typeface="Century Gothic" charset="0"/>
                <a:cs typeface="Century Gothic" charset="0"/>
              </a:rPr>
              <a:t>© </a:t>
            </a:r>
            <a:r>
              <a:rPr lang="en-US" sz="800" b="1">
                <a:latin typeface="Century Gothic" charset="0"/>
                <a:ea typeface="Century Gothic" charset="0"/>
                <a:cs typeface="Century Gothic" charset="0"/>
              </a:rPr>
              <a:t>COOKHOUSE LABS </a:t>
            </a:r>
            <a:r>
              <a:rPr lang="en-US" sz="800">
                <a:latin typeface="Century Gothic" charset="0"/>
                <a:ea typeface="Century Gothic" charset="0"/>
                <a:cs typeface="Century Gothic" charset="0"/>
              </a:rPr>
              <a:t>2020</a:t>
            </a: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915" b="17726"/>
          <a:stretch/>
        </p:blipFill>
        <p:spPr>
          <a:xfrm>
            <a:off x="10958513" y="5612304"/>
            <a:ext cx="1233487" cy="1245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674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00" kern="1200">
          <a:solidFill>
            <a:schemeClr val="tx1"/>
          </a:solidFill>
          <a:latin typeface="Century Gothic" charset="0"/>
          <a:ea typeface="Century Gothic" charset="0"/>
          <a:cs typeface="Century Gothic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000" kern="1200">
          <a:solidFill>
            <a:schemeClr val="tx1"/>
          </a:solidFill>
          <a:latin typeface="Century Gothic" charset="0"/>
          <a:ea typeface="Century Gothic" charset="0"/>
          <a:cs typeface="Century Gothic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Century Gothic" charset="0"/>
          <a:ea typeface="Century Gothic" charset="0"/>
          <a:cs typeface="Century Gothic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kern="1200">
          <a:solidFill>
            <a:schemeClr val="tx1"/>
          </a:solidFill>
          <a:latin typeface="Century Gothic" charset="0"/>
          <a:ea typeface="Century Gothic" charset="0"/>
          <a:cs typeface="Century Gothic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kern="1200">
          <a:solidFill>
            <a:schemeClr val="tx1"/>
          </a:solidFill>
          <a:latin typeface="Century Gothic" charset="0"/>
          <a:ea typeface="Century Gothic" charset="0"/>
          <a:cs typeface="Century Gothic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kern="1200">
          <a:solidFill>
            <a:schemeClr val="tx1"/>
          </a:solidFill>
          <a:latin typeface="Century Gothic" charset="0"/>
          <a:ea typeface="Century Gothic" charset="0"/>
          <a:cs typeface="Century Gothic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279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686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6C6A04-0C3C-4B08-9639-24FBE20E62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362927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25" imgW="415" imgH="416" progId="TCLayout.ActiveDocument.1">
                  <p:embed/>
                </p:oleObj>
              </mc:Choice>
              <mc:Fallback>
                <p:oleObj name="think-cell Slide" r:id="rId25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16C6A04-0C3C-4B08-9639-24FBE20E62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1" name="Google Shape;511;g87b7afb683_1_158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 sz="1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12" name="Google Shape;512;g87b7afb683_1_158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3" name="Google Shape;513;g87b7afb683_1_158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4" name="Google Shape;514;g87b7afb683_1_158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5" name="Google Shape;515;g87b7afb683_1_158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16" name="Google Shape;516;g87b7afb683_1_1585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17" name="Google Shape;517;g87b7afb683_1_1585"/>
          <p:cNvPicPr preferRelativeResize="0"/>
          <p:nvPr/>
        </p:nvPicPr>
        <p:blipFill rotWithShape="1">
          <a:blip r:embed="rId27">
            <a:alphaModFix/>
          </a:blip>
          <a:srcRect r="18916" b="17729"/>
          <a:stretch/>
        </p:blipFill>
        <p:spPr>
          <a:xfrm>
            <a:off x="10958513" y="5612304"/>
            <a:ext cx="1233486" cy="12456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6326635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279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68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p21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 sz="1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33" name="Google Shape;133;p2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7" name="Google Shape;137;p21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138" name="Google Shape;138;p21"/>
          <p:cNvPicPr preferRelativeResize="0"/>
          <p:nvPr/>
        </p:nvPicPr>
        <p:blipFill rotWithShape="1">
          <a:blip r:embed="rId23">
            <a:alphaModFix/>
          </a:blip>
          <a:srcRect r="18915" b="17725"/>
          <a:stretch/>
        </p:blipFill>
        <p:spPr>
          <a:xfrm>
            <a:off x="10958513" y="5612304"/>
            <a:ext cx="1233487" cy="12456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7129965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279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68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9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Century Gothic"/>
              <a:buNone/>
              <a:defRPr sz="16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" name="Google Shape;15;p19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16" name="Google Shape;16;p19"/>
          <p:cNvPicPr preferRelativeResize="0"/>
          <p:nvPr/>
        </p:nvPicPr>
        <p:blipFill rotWithShape="1">
          <a:blip r:embed="rId20">
            <a:alphaModFix/>
          </a:blip>
          <a:srcRect r="19085" b="17797"/>
          <a:stretch/>
        </p:blipFill>
        <p:spPr>
          <a:xfrm>
            <a:off x="10960764" y="5615608"/>
            <a:ext cx="1244939" cy="12597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017478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279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68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p1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 sz="1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33" name="Google Shape;133;p1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4" name="Google Shape;134;p1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5" name="Google Shape;135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6" name="Google Shape;136;p1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7" name="Google Shape;137;p13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138" name="Google Shape;138;p13"/>
          <p:cNvPicPr preferRelativeResize="0"/>
          <p:nvPr/>
        </p:nvPicPr>
        <p:blipFill rotWithShape="1">
          <a:blip r:embed="rId22">
            <a:alphaModFix/>
          </a:blip>
          <a:srcRect r="18915" b="17725"/>
          <a:stretch/>
        </p:blipFill>
        <p:spPr>
          <a:xfrm>
            <a:off x="10958513" y="5612304"/>
            <a:ext cx="1233487" cy="12456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118893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279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68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6C6A04-0C3C-4B08-9639-24FBE20E62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882623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5" imgW="415" imgH="416" progId="TCLayout.ActiveDocument.1">
                  <p:embed/>
                </p:oleObj>
              </mc:Choice>
              <mc:Fallback>
                <p:oleObj name="think-cell Slide" r:id="rId25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16C6A04-0C3C-4B08-9639-24FBE20E62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1" name="Google Shape;511;g87b7afb683_1_158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 sz="1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12" name="Google Shape;512;g87b7afb683_1_158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3" name="Google Shape;513;g87b7afb683_1_158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4" name="Google Shape;514;g87b7afb683_1_158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5" name="Google Shape;515;g87b7afb683_1_158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16" name="Google Shape;516;g87b7afb683_1_1585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17" name="Google Shape;517;g87b7afb683_1_1585"/>
          <p:cNvPicPr preferRelativeResize="0"/>
          <p:nvPr/>
        </p:nvPicPr>
        <p:blipFill rotWithShape="1">
          <a:blip r:embed="rId27">
            <a:alphaModFix/>
          </a:blip>
          <a:srcRect r="18916" b="17729"/>
          <a:stretch/>
        </p:blipFill>
        <p:spPr>
          <a:xfrm>
            <a:off x="10958513" y="5612304"/>
            <a:ext cx="1233486" cy="12456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0216531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279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68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1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Century Gothic"/>
              <a:buNone/>
              <a:defRPr sz="16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1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1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" name="Google Shape;15;p11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16" name="Google Shape;16;p11"/>
          <p:cNvPicPr preferRelativeResize="0"/>
          <p:nvPr/>
        </p:nvPicPr>
        <p:blipFill rotWithShape="1">
          <a:blip r:embed="rId20">
            <a:alphaModFix/>
          </a:blip>
          <a:srcRect r="19085" b="17797"/>
          <a:stretch/>
        </p:blipFill>
        <p:spPr>
          <a:xfrm>
            <a:off x="10960764" y="5615608"/>
            <a:ext cx="1244939" cy="12597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2658263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780" r:id="rId1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279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68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6C6A04-0C3C-4B08-9639-24FBE20E62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499279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24" imgW="415" imgH="416" progId="TCLayout.ActiveDocument.1">
                  <p:embed/>
                </p:oleObj>
              </mc:Choice>
              <mc:Fallback>
                <p:oleObj name="think-cell Slide" r:id="rId24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16C6A04-0C3C-4B08-9639-24FBE20E62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1" name="Google Shape;511;g87b7afb683_1_158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 sz="1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12" name="Google Shape;512;g87b7afb683_1_158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3" name="Google Shape;513;g87b7afb683_1_158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4" name="Google Shape;514;g87b7afb683_1_158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5" name="Google Shape;515;g87b7afb683_1_158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16" name="Google Shape;516;g87b7afb683_1_1585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17" name="Google Shape;517;g87b7afb683_1_1585"/>
          <p:cNvPicPr preferRelativeResize="0"/>
          <p:nvPr/>
        </p:nvPicPr>
        <p:blipFill rotWithShape="1">
          <a:blip r:embed="rId26">
            <a:alphaModFix/>
          </a:blip>
          <a:srcRect r="18916" b="17729"/>
          <a:stretch/>
        </p:blipFill>
        <p:spPr>
          <a:xfrm>
            <a:off x="10958513" y="5612304"/>
            <a:ext cx="1233486" cy="12456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6873105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797" r:id="rId16"/>
    <p:sldLayoutId id="2147483798" r:id="rId17"/>
    <p:sldLayoutId id="2147483799" r:id="rId18"/>
    <p:sldLayoutId id="2147483800" r:id="rId19"/>
    <p:sldLayoutId id="2147483801" r:id="rId2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279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68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</p:spPr>
        <p:txBody>
          <a:bodyPr vert="horz" lIns="0" tIns="45720" rIns="9000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fld id="{DDBCE5B4-37B4-F04A-9C39-381919C379AC}" type="datetimeFigureOut">
              <a:rPr lang="en-US" smtClean="0"/>
              <a:pPr/>
              <a:t>5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000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fld id="{30AB92DC-7D7F-674B-897F-277726FD4F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11749088" y="404813"/>
            <a:ext cx="123111" cy="1264770"/>
          </a:xfrm>
          <a:prstGeom prst="rect">
            <a:avLst/>
          </a:prstGeom>
          <a:noFill/>
        </p:spPr>
        <p:txBody>
          <a:bodyPr vert="vert" wrap="none" lIns="0" tIns="0" rIns="0" bIns="0" rtlCol="0" anchor="ctr" anchorCtr="0">
            <a:spAutoFit/>
          </a:bodyPr>
          <a:lstStyle/>
          <a:p>
            <a:r>
              <a:rPr lang="de-DE" sz="800" b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© </a:t>
            </a:r>
            <a:r>
              <a:rPr lang="en-US" sz="800" b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COOKHOUSE LABS </a:t>
            </a:r>
            <a:r>
              <a:rPr lang="en-US" sz="80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2020</a:t>
            </a: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085" b="17797"/>
          <a:stretch/>
        </p:blipFill>
        <p:spPr>
          <a:xfrm>
            <a:off x="10960764" y="5615608"/>
            <a:ext cx="1244939" cy="125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53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  <p:sldLayoutId id="2147483814" r:id="rId12"/>
    <p:sldLayoutId id="2147483815" r:id="rId13"/>
    <p:sldLayoutId id="2147483816" r:id="rId14"/>
    <p:sldLayoutId id="2147483817" r:id="rId15"/>
    <p:sldLayoutId id="2147483818" r:id="rId16"/>
    <p:sldLayoutId id="2147483819" r:id="rId17"/>
    <p:sldLayoutId id="2147483820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00" kern="1200">
          <a:solidFill>
            <a:schemeClr val="bg1"/>
          </a:solidFill>
          <a:latin typeface="Century Gothic" charset="0"/>
          <a:ea typeface="Century Gothic" charset="0"/>
          <a:cs typeface="Century Gothic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000" kern="1200">
          <a:solidFill>
            <a:schemeClr val="bg1"/>
          </a:solidFill>
          <a:latin typeface="Century Gothic" charset="0"/>
          <a:ea typeface="Century Gothic" charset="0"/>
          <a:cs typeface="Century Gothic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Century Gothic" charset="0"/>
          <a:ea typeface="Century Gothic" charset="0"/>
          <a:cs typeface="Century Gothic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kern="1200">
          <a:solidFill>
            <a:schemeClr val="bg1"/>
          </a:solidFill>
          <a:latin typeface="Century Gothic" charset="0"/>
          <a:ea typeface="Century Gothic" charset="0"/>
          <a:cs typeface="Century Gothic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kern="1200">
          <a:solidFill>
            <a:schemeClr val="bg1"/>
          </a:solidFill>
          <a:latin typeface="Century Gothic" charset="0"/>
          <a:ea typeface="Century Gothic" charset="0"/>
          <a:cs typeface="Century Gothic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kern="1200">
          <a:solidFill>
            <a:schemeClr val="bg1"/>
          </a:solidFill>
          <a:latin typeface="Century Gothic" charset="0"/>
          <a:ea typeface="Century Gothic" charset="0"/>
          <a:cs typeface="Century Gothic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279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686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1126" y="324000"/>
            <a:ext cx="10762673" cy="475384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1127" y="1320801"/>
            <a:ext cx="10762673" cy="48561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11142284" y="2352703"/>
            <a:ext cx="1460501" cy="240099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defTabSz="914126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5400000">
            <a:off x="11040604" y="1030827"/>
            <a:ext cx="1663861" cy="240099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accent6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FFFFFF"/>
                </a:solidFill>
              </a:rPr>
              <a:t>© </a:t>
            </a:r>
            <a:r>
              <a:rPr lang="en-US" sz="900" b="1">
                <a:solidFill>
                  <a:srgbClr val="FFFFFF"/>
                </a:solidFill>
              </a:rPr>
              <a:t>COOKHOUSE LABS </a:t>
            </a:r>
            <a:r>
              <a:rPr lang="en-US" sz="900">
                <a:solidFill>
                  <a:srgbClr val="FFF200"/>
                </a:solidFill>
              </a:rPr>
              <a:t>2020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353801" y="3238291"/>
            <a:ext cx="6387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</a:defRPr>
            </a:lvl1pPr>
          </a:lstStyle>
          <a:p>
            <a:pPr defTabSz="914126"/>
            <a:fld id="{80F98B30-8928-4B44-B774-CD49BA0BF5B5}" type="slidenum">
              <a:rPr lang="en-US" smtClean="0">
                <a:solidFill>
                  <a:srgbClr val="FFF200"/>
                </a:solidFill>
              </a:rPr>
              <a:pPr defTabSz="914126"/>
              <a:t>‹#›</a:t>
            </a:fld>
            <a:endParaRPr lang="en-US">
              <a:solidFill>
                <a:srgbClr val="FFF20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049" b="22472"/>
          <a:stretch/>
        </p:blipFill>
        <p:spPr>
          <a:xfrm>
            <a:off x="11180273" y="5784785"/>
            <a:ext cx="1021352" cy="1081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63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  <p:sldLayoutId id="2147483845" r:id="rId24"/>
    <p:sldLayoutId id="2147483846" r:id="rId25"/>
    <p:sldLayoutId id="2147483847" r:id="rId26"/>
    <p:sldLayoutId id="2147483848" r:id="rId27"/>
    <p:sldLayoutId id="2147483849" r:id="rId28"/>
    <p:sldLayoutId id="2147483850" r:id="rId29"/>
    <p:sldLayoutId id="2147483851" r:id="rId30"/>
    <p:sldLayoutId id="2147483852" r:id="rId31"/>
    <p:sldLayoutId id="2147483853" r:id="rId32"/>
  </p:sldLayoutIdLs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399" kern="1200">
          <a:solidFill>
            <a:schemeClr val="bg1"/>
          </a:solidFill>
          <a:latin typeface="Century Gothic" charset="0"/>
          <a:ea typeface="Century Gothic" charset="0"/>
          <a:cs typeface="Century Gothic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ArialUnicodeMS" charset="0"/>
        <a:buChar char="￮"/>
        <a:defRPr sz="2799" kern="1200">
          <a:solidFill>
            <a:schemeClr val="bg1"/>
          </a:solidFill>
          <a:latin typeface="Century Gothic" charset="0"/>
          <a:ea typeface="Century Gothic" charset="0"/>
          <a:cs typeface="Century Gothic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UnicodeMS" charset="0"/>
        <a:buChar char="￮"/>
        <a:defRPr sz="2399" kern="1200">
          <a:solidFill>
            <a:schemeClr val="bg1"/>
          </a:solidFill>
          <a:latin typeface="Century Gothic" charset="0"/>
          <a:ea typeface="Century Gothic" charset="0"/>
          <a:cs typeface="Century Gothic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UnicodeMS" charset="0"/>
        <a:buChar char="￮"/>
        <a:defRPr sz="1999" kern="1200">
          <a:solidFill>
            <a:schemeClr val="bg1"/>
          </a:solidFill>
          <a:latin typeface="Century Gothic" charset="0"/>
          <a:ea typeface="Century Gothic" charset="0"/>
          <a:cs typeface="Century Gothic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UnicodeMS" charset="0"/>
        <a:buChar char="￮"/>
        <a:defRPr sz="1799" kern="1200">
          <a:solidFill>
            <a:schemeClr val="bg1"/>
          </a:solidFill>
          <a:latin typeface="Century Gothic" charset="0"/>
          <a:ea typeface="Century Gothic" charset="0"/>
          <a:cs typeface="Century Gothic" charset="0"/>
        </a:defRPr>
      </a:lvl4pPr>
      <a:lvl5pPr marL="2056782" indent="-228531" algn="l" defTabSz="914126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UnicodeMS" charset="0"/>
        <a:buChar char="￮"/>
        <a:defRPr sz="1799" kern="1200">
          <a:solidFill>
            <a:schemeClr val="bg1"/>
          </a:solidFill>
          <a:latin typeface="Century Gothic" charset="0"/>
          <a:ea typeface="Century Gothic" charset="0"/>
          <a:cs typeface="Century Gothic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6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6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6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7.xml"/><Relationship Id="rId7" Type="http://schemas.openxmlformats.org/officeDocument/2006/relationships/image" Target="../media/image1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7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941276" y="2602873"/>
            <a:ext cx="9754519" cy="2614784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marL="0" marR="0" lvl="0" indent="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NAME OF YOUR SOLUTION</a:t>
            </a: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79626" y="4947617"/>
            <a:ext cx="3711644" cy="11188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/>
              <a:ea typeface="Century Gothic" charset="0"/>
              <a:cs typeface="Century Gothic" charset="0"/>
            </a:endParaRPr>
          </a:p>
          <a:p>
            <a:pPr marL="0" marR="0" lvl="0" indent="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NAME OF YOUR TEAM</a:t>
            </a:r>
          </a:p>
          <a:p>
            <a:pPr marL="0" marR="0" lvl="0" indent="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/>
                <a:ea typeface="Century Gothic" charset="0"/>
                <a:cs typeface="Century Gothic" charset="0"/>
              </a:rPr>
              <a:t>November 2020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11B8765-72BB-449F-A569-7619E42DD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: </a:t>
            </a:r>
            <a:r>
              <a:rPr lang="en-US" b="1"/>
              <a:t>SUBMISSION PORTFOLIO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54BE67E-BD4E-41E8-9E9A-2580A1CFF7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95287" y="404813"/>
            <a:ext cx="12192000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799151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8" name="Google Shape;448;p6"/>
          <p:cNvSpPr txBox="1"/>
          <p:nvPr/>
        </p:nvSpPr>
        <p:spPr>
          <a:xfrm>
            <a:off x="442913" y="2620052"/>
            <a:ext cx="9859618" cy="1243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FFFF"/>
              </a:buClr>
              <a:buSzPts val="5400"/>
              <a:buFont typeface="Arial"/>
              <a:buNone/>
              <a:tabLst/>
              <a:defRPr/>
            </a:pPr>
            <a:r>
              <a:rPr kumimoji="0" lang="en-US" sz="5400" b="0" i="0" u="none" strike="noStrike" kern="0" cap="none" spc="0" normalizeH="0" baseline="0" noProof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How might we </a:t>
            </a:r>
            <a:r>
              <a:rPr kumimoji="0" lang="en-US" sz="5400" b="1" i="0" u="none" strike="noStrike" kern="0" cap="none" spc="0" normalizeH="0" baseline="0" noProof="0">
                <a:ln>
                  <a:noFill/>
                </a:ln>
                <a:solidFill>
                  <a:srgbClr val="FFF2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encourage</a:t>
            </a:r>
            <a:r>
              <a:rPr kumimoji="0" lang="en-US" sz="5400" b="0" i="0" u="none" strike="noStrike" kern="0" cap="none" spc="0" normalizeH="0" baseline="0" noProof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 and </a:t>
            </a:r>
            <a:r>
              <a:rPr kumimoji="0" lang="en-US" sz="5400" b="1" i="0" u="none" strike="noStrike" kern="0" cap="none" spc="0" normalizeH="0" baseline="0" noProof="0">
                <a:ln>
                  <a:noFill/>
                </a:ln>
                <a:solidFill>
                  <a:srgbClr val="FFF2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guide</a:t>
            </a:r>
            <a:r>
              <a:rPr kumimoji="0" lang="en-US" sz="5400" b="0" i="0" u="none" strike="noStrike" kern="0" cap="none" spc="0" normalizeH="0" baseline="0" noProof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 Anna with </a:t>
            </a:r>
            <a:r>
              <a:rPr kumimoji="0" lang="en-US" sz="5400" b="1" i="0" u="none" strike="noStrike" kern="0" cap="none" spc="0" normalizeH="0" baseline="0" noProof="0">
                <a:ln>
                  <a:noFill/>
                </a:ln>
                <a:solidFill>
                  <a:srgbClr val="FFF2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access to expert</a:t>
            </a:r>
            <a:r>
              <a:rPr kumimoji="0" lang="en-US" sz="5400" b="0" i="0" u="none" strike="noStrike" kern="0" cap="none" spc="0" normalizeH="0" baseline="0" noProof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 knowledge and community </a:t>
            </a:r>
            <a:r>
              <a:rPr kumimoji="0" lang="en-US" sz="5400" b="1" i="0" u="none" strike="noStrike" kern="0" cap="none" spc="0" normalizeH="0" baseline="0" noProof="0">
                <a:ln>
                  <a:noFill/>
                </a:ln>
                <a:solidFill>
                  <a:srgbClr val="FFF2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support</a:t>
            </a:r>
            <a:r>
              <a:rPr kumimoji="0" lang="en-US" sz="5400" b="0" i="0" u="none" strike="noStrike" kern="0" cap="none" spc="0" normalizeH="0" baseline="0" noProof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 to give her </a:t>
            </a:r>
            <a:r>
              <a:rPr kumimoji="0" lang="en-US" sz="5400" b="1" i="0" u="none" strike="noStrike" kern="0" cap="none" spc="0" normalizeH="0" baseline="0" noProof="0">
                <a:ln>
                  <a:noFill/>
                </a:ln>
                <a:solidFill>
                  <a:srgbClr val="FFF2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peace of mind</a:t>
            </a:r>
            <a:r>
              <a:rPr kumimoji="0" lang="en-US" sz="5400" b="0" i="0" u="none" strike="noStrike" kern="0" cap="none" spc="0" normalizeH="0" baseline="0" noProof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?</a:t>
            </a:r>
            <a:endParaRPr kumimoji="0" sz="5400" b="0" i="0" u="none" strike="noStrike" kern="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D57DEBB-EF8C-4CCD-AD0D-1D66CBFFEAFD}"/>
              </a:ext>
            </a:extLst>
          </p:cNvPr>
          <p:cNvSpPr/>
          <p:nvPr/>
        </p:nvSpPr>
        <p:spPr>
          <a:xfrm>
            <a:off x="350975" y="308629"/>
            <a:ext cx="61777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AMPLE: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MISSION HOW MIGHT WE STATEMEN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Ellipse 8">
            <a:extLst>
              <a:ext uri="{FF2B5EF4-FFF2-40B4-BE49-F238E27FC236}">
                <a16:creationId xmlns:a16="http://schemas.microsoft.com/office/drawing/2014/main" id="{5634E45C-C22D-498D-8CA0-EFFAA14169A1}"/>
              </a:ext>
            </a:extLst>
          </p:cNvPr>
          <p:cNvSpPr/>
          <p:nvPr/>
        </p:nvSpPr>
        <p:spPr>
          <a:xfrm>
            <a:off x="10798692" y="308629"/>
            <a:ext cx="785630" cy="78563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5</a:t>
            </a:r>
          </a:p>
        </p:txBody>
      </p:sp>
    </p:spTree>
  </p:cSld>
  <p:clrMapOvr>
    <a:masterClrMapping/>
  </p:clrMapOvr>
  <p:transition spd="slow">
    <p:push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652416F-D6C5-4AED-B18A-EA3DAF03F0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652416F-D6C5-4AED-B18A-EA3DAF03F0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06" name="Google Shape;1106;g87b7afb683_1_955"/>
          <p:cNvGraphicFramePr/>
          <p:nvPr/>
        </p:nvGraphicFramePr>
        <p:xfrm>
          <a:off x="442912" y="1089025"/>
          <a:ext cx="11306125" cy="536417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2612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12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1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12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612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364175">
                <a:tc>
                  <a:txBody>
                    <a:bodyPr/>
                    <a:lstStyle/>
                    <a:p>
                      <a:pPr marL="0" marR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u="none" strike="noStrike" cap="none" dirty="0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u="none" strike="noStrike" cap="none" dirty="0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07" name="Google Shape;1107;g87b7afb683_1_955"/>
          <p:cNvSpPr txBox="1">
            <a:spLocks noGrp="1"/>
          </p:cNvSpPr>
          <p:nvPr>
            <p:ph type="title"/>
          </p:nvPr>
        </p:nvSpPr>
        <p:spPr>
          <a:xfrm>
            <a:off x="9732828" y="4616676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</a:pPr>
            <a:r>
              <a:rPr lang="en-US" b="1" dirty="0"/>
              <a:t>OUR SOLUTION IDEAS</a:t>
            </a:r>
            <a:endParaRPr b="1" dirty="0"/>
          </a:p>
        </p:txBody>
      </p:sp>
      <p:sp>
        <p:nvSpPr>
          <p:cNvPr id="1108" name="Google Shape;1108;g87b7afb683_1_955"/>
          <p:cNvSpPr txBox="1"/>
          <p:nvPr/>
        </p:nvSpPr>
        <p:spPr>
          <a:xfrm>
            <a:off x="1213785" y="904359"/>
            <a:ext cx="5460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One week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09" name="Google Shape;1109;g87b7afb683_1_955"/>
          <p:cNvSpPr txBox="1"/>
          <p:nvPr/>
        </p:nvSpPr>
        <p:spPr>
          <a:xfrm>
            <a:off x="3586821" y="904359"/>
            <a:ext cx="5460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One month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10" name="Google Shape;1110;g87b7afb683_1_955"/>
          <p:cNvSpPr txBox="1"/>
          <p:nvPr/>
        </p:nvSpPr>
        <p:spPr>
          <a:xfrm>
            <a:off x="5822998" y="904359"/>
            <a:ext cx="5460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One Year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11" name="Google Shape;1111;g87b7afb683_1_955"/>
          <p:cNvSpPr txBox="1"/>
          <p:nvPr/>
        </p:nvSpPr>
        <p:spPr>
          <a:xfrm>
            <a:off x="8059175" y="904359"/>
            <a:ext cx="5460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Three Years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12" name="Google Shape;1112;g87b7afb683_1_955"/>
          <p:cNvSpPr txBox="1"/>
          <p:nvPr/>
        </p:nvSpPr>
        <p:spPr>
          <a:xfrm>
            <a:off x="10172646" y="904359"/>
            <a:ext cx="8691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Never/ Whenever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1113" name="Google Shape;1113;g87b7afb683_1_955"/>
          <p:cNvGrpSpPr/>
          <p:nvPr/>
        </p:nvGrpSpPr>
        <p:grpSpPr>
          <a:xfrm>
            <a:off x="513359" y="1458357"/>
            <a:ext cx="10631529" cy="5146616"/>
            <a:chOff x="513359" y="1458357"/>
            <a:chExt cx="10631529" cy="5146616"/>
          </a:xfrm>
        </p:grpSpPr>
        <p:sp>
          <p:nvSpPr>
            <p:cNvPr id="1114" name="Google Shape;1114;g87b7afb683_1_955"/>
            <p:cNvSpPr/>
            <p:nvPr/>
          </p:nvSpPr>
          <p:spPr>
            <a:xfrm>
              <a:off x="536195" y="1488657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identify winners and losers on technology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15" name="Google Shape;1115;g87b7afb683_1_955"/>
            <p:cNvSpPr/>
            <p:nvPr/>
          </p:nvSpPr>
          <p:spPr>
            <a:xfrm>
              <a:off x="1602906" y="1488657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inform all potential bodies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16" name="Google Shape;1116;g87b7afb683_1_955"/>
            <p:cNvSpPr/>
            <p:nvPr/>
          </p:nvSpPr>
          <p:spPr>
            <a:xfrm>
              <a:off x="551841" y="2519514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provide room and time for that person to act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17" name="Google Shape;1117;g87b7afb683_1_955"/>
            <p:cNvSpPr/>
            <p:nvPr/>
          </p:nvSpPr>
          <p:spPr>
            <a:xfrm>
              <a:off x="1602906" y="2582809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Hire new decision-maker</a:t>
              </a: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18" name="Google Shape;1118;g87b7afb683_1_955"/>
            <p:cNvSpPr/>
            <p:nvPr/>
          </p:nvSpPr>
          <p:spPr>
            <a:xfrm>
              <a:off x="513359" y="3576865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Review who has had past experience with startups in the organization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19" name="Google Shape;1119;g87b7afb683_1_955"/>
            <p:cNvSpPr/>
            <p:nvPr/>
          </p:nvSpPr>
          <p:spPr>
            <a:xfrm>
              <a:off x="1602906" y="3643966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Search LinkedIn for type of role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20" name="Google Shape;1120;g87b7afb683_1_955"/>
            <p:cNvSpPr/>
            <p:nvPr/>
          </p:nvSpPr>
          <p:spPr>
            <a:xfrm>
              <a:off x="2793112" y="1458357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identify roadbloclks</a:t>
              </a: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21" name="Google Shape;1121;g87b7afb683_1_955"/>
            <p:cNvSpPr/>
            <p:nvPr/>
          </p:nvSpPr>
          <p:spPr>
            <a:xfrm>
              <a:off x="3859823" y="1458357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Create new protocol for making decision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22" name="Google Shape;1122;g87b7afb683_1_955"/>
            <p:cNvSpPr/>
            <p:nvPr/>
          </p:nvSpPr>
          <p:spPr>
            <a:xfrm>
              <a:off x="2793112" y="2519514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Create and implement a new training program for current staff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23" name="Google Shape;1123;g87b7afb683_1_955"/>
            <p:cNvSpPr/>
            <p:nvPr/>
          </p:nvSpPr>
          <p:spPr>
            <a:xfrm>
              <a:off x="3859823" y="2519514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142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set up a separate company or joint venture with competitor to bring in Betty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24" name="Google Shape;1124;g87b7afb683_1_955"/>
            <p:cNvSpPr/>
            <p:nvPr/>
          </p:nvSpPr>
          <p:spPr>
            <a:xfrm>
              <a:off x="2805067" y="3613666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Decision workflow which has a warning of 5 minutes once the alert is received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25" name="Google Shape;1125;g87b7afb683_1_955"/>
            <p:cNvSpPr/>
            <p:nvPr/>
          </p:nvSpPr>
          <p:spPr>
            <a:xfrm>
              <a:off x="5063793" y="1521652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have some success to change attitudes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26" name="Google Shape;1126;g87b7afb683_1_955"/>
            <p:cNvSpPr/>
            <p:nvPr/>
          </p:nvSpPr>
          <p:spPr>
            <a:xfrm>
              <a:off x="6130504" y="1521652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Create an organization body that can oversee and decide on any ongoing project</a:t>
              </a:r>
              <a:endParaRPr kumimoji="0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27" name="Google Shape;1127;g87b7afb683_1_955"/>
            <p:cNvSpPr/>
            <p:nvPr/>
          </p:nvSpPr>
          <p:spPr>
            <a:xfrm>
              <a:off x="5063793" y="2582809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Clearly defined requirements at all times based on org culture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28" name="Google Shape;1128;g87b7afb683_1_955"/>
            <p:cNvSpPr/>
            <p:nvPr/>
          </p:nvSpPr>
          <p:spPr>
            <a:xfrm>
              <a:off x="6130504" y="2582809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Team of interns choose the decision-makers</a:t>
              </a: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29" name="Google Shape;1129;g87b7afb683_1_955"/>
            <p:cNvSpPr/>
            <p:nvPr/>
          </p:nvSpPr>
          <p:spPr>
            <a:xfrm>
              <a:off x="5041073" y="3624470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Hire a team of decision-makers for startup projects only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30" name="Google Shape;1130;g87b7afb683_1_955"/>
            <p:cNvSpPr/>
            <p:nvPr/>
          </p:nvSpPr>
          <p:spPr>
            <a:xfrm>
              <a:off x="7323915" y="1487746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set up a culture that doesn't mind missing once in a while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31" name="Google Shape;1131;g87b7afb683_1_955"/>
            <p:cNvSpPr/>
            <p:nvPr/>
          </p:nvSpPr>
          <p:spPr>
            <a:xfrm>
              <a:off x="8390626" y="1487746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identify winners and losers on technology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32" name="Google Shape;1132;g87b7afb683_1_955"/>
            <p:cNvSpPr/>
            <p:nvPr/>
          </p:nvSpPr>
          <p:spPr>
            <a:xfrm>
              <a:off x="7323915" y="2548903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No C - levels allowed to make decision on start-ups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33" name="Google Shape;1133;g87b7afb683_1_955"/>
            <p:cNvSpPr/>
            <p:nvPr/>
          </p:nvSpPr>
          <p:spPr>
            <a:xfrm>
              <a:off x="8390626" y="2548903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Only starts up hire startups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34" name="Google Shape;1134;g87b7afb683_1_955"/>
            <p:cNvSpPr/>
            <p:nvPr/>
          </p:nvSpPr>
          <p:spPr>
            <a:xfrm>
              <a:off x="7358749" y="3646843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Internal accelerator program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35" name="Google Shape;1135;g87b7afb683_1_955"/>
            <p:cNvSpPr/>
            <p:nvPr/>
          </p:nvSpPr>
          <p:spPr>
            <a:xfrm>
              <a:off x="6130620" y="3653854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Quarterly meetings dedicated only to startup pitches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36" name="Google Shape;1136;g87b7afb683_1_955"/>
            <p:cNvSpPr/>
            <p:nvPr/>
          </p:nvSpPr>
          <p:spPr>
            <a:xfrm>
              <a:off x="3881495" y="3576865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Start a committee of decision makers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37" name="Google Shape;1137;g87b7afb683_1_955"/>
            <p:cNvSpPr/>
            <p:nvPr/>
          </p:nvSpPr>
          <p:spPr>
            <a:xfrm>
              <a:off x="1602906" y="4705123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identify who is interested in project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38" name="Google Shape;1138;g87b7afb683_1_955"/>
            <p:cNvSpPr/>
            <p:nvPr/>
          </p:nvSpPr>
          <p:spPr>
            <a:xfrm>
              <a:off x="8379745" y="3645581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Evolve to a more agile culture</a:t>
              </a: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39" name="Google Shape;1139;g87b7afb683_1_955"/>
            <p:cNvSpPr/>
            <p:nvPr/>
          </p:nvSpPr>
          <p:spPr>
            <a:xfrm>
              <a:off x="5049988" y="4666131"/>
              <a:ext cx="973500" cy="909600"/>
            </a:xfrm>
            <a:prstGeom prst="rect">
              <a:avLst/>
            </a:prstGeom>
            <a:solidFill>
              <a:srgbClr val="FAD4D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Train decision makers</a:t>
              </a:r>
              <a:endParaRPr kumimoji="0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40" name="Google Shape;1140;g87b7afb683_1_955"/>
            <p:cNvSpPr/>
            <p:nvPr/>
          </p:nvSpPr>
          <p:spPr>
            <a:xfrm>
              <a:off x="2805067" y="4659975"/>
              <a:ext cx="973500" cy="909600"/>
            </a:xfrm>
            <a:prstGeom prst="rect">
              <a:avLst/>
            </a:prstGeom>
            <a:solidFill>
              <a:srgbClr val="DDF4A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Define process for bringing startups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41" name="Google Shape;1141;g87b7afb683_1_955"/>
            <p:cNvSpPr/>
            <p:nvPr/>
          </p:nvSpPr>
          <p:spPr>
            <a:xfrm>
              <a:off x="6156551" y="4699449"/>
              <a:ext cx="973500" cy="909600"/>
            </a:xfrm>
            <a:prstGeom prst="rect">
              <a:avLst/>
            </a:prstGeom>
            <a:solidFill>
              <a:srgbClr val="DDF4A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Train committee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42" name="Google Shape;1142;g87b7afb683_1_955"/>
            <p:cNvSpPr/>
            <p:nvPr/>
          </p:nvSpPr>
          <p:spPr>
            <a:xfrm>
              <a:off x="7358749" y="4722307"/>
              <a:ext cx="973500" cy="909600"/>
            </a:xfrm>
            <a:prstGeom prst="rect">
              <a:avLst/>
            </a:prstGeom>
            <a:solidFill>
              <a:srgbClr val="DDF4A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Create culture that is open to failure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43" name="Google Shape;1143;g87b7afb683_1_955"/>
            <p:cNvSpPr/>
            <p:nvPr/>
          </p:nvSpPr>
          <p:spPr>
            <a:xfrm>
              <a:off x="10171388" y="2397232"/>
              <a:ext cx="973500" cy="909600"/>
            </a:xfrm>
            <a:prstGeom prst="rect">
              <a:avLst/>
            </a:prstGeom>
            <a:solidFill>
              <a:srgbClr val="DDF4A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It's ok to fail - no more fear to it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44" name="Google Shape;1144;g87b7afb683_1_955"/>
            <p:cNvSpPr/>
            <p:nvPr/>
          </p:nvSpPr>
          <p:spPr>
            <a:xfrm>
              <a:off x="3881495" y="4634216"/>
              <a:ext cx="973500" cy="909600"/>
            </a:xfrm>
            <a:prstGeom prst="rect">
              <a:avLst/>
            </a:prstGeom>
            <a:solidFill>
              <a:srgbClr val="DDF4A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Define the cycle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45" name="Google Shape;1145;g87b7afb683_1_955"/>
            <p:cNvSpPr/>
            <p:nvPr/>
          </p:nvSpPr>
          <p:spPr>
            <a:xfrm>
              <a:off x="2805067" y="5695373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create a multi-function team surrounding project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46" name="Google Shape;1146;g87b7afb683_1_955"/>
            <p:cNvSpPr/>
            <p:nvPr/>
          </p:nvSpPr>
          <p:spPr>
            <a:xfrm>
              <a:off x="1602906" y="5695373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Bring a coach to train decision makers on innovation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47" name="Google Shape;1147;g87b7afb683_1_955"/>
            <p:cNvSpPr/>
            <p:nvPr/>
          </p:nvSpPr>
          <p:spPr>
            <a:xfrm>
              <a:off x="536195" y="4659975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Bring external experts (they've had experience w/start ups)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48" name="Google Shape;1148;g87b7afb683_1_955"/>
            <p:cNvSpPr/>
            <p:nvPr/>
          </p:nvSpPr>
          <p:spPr>
            <a:xfrm>
              <a:off x="3891212" y="5636035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KPIs for Inno managers (Rain)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49" name="Google Shape;1149;g87b7afb683_1_955"/>
            <p:cNvSpPr/>
            <p:nvPr/>
          </p:nvSpPr>
          <p:spPr>
            <a:xfrm>
              <a:off x="5122572" y="5695373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Create an incentive program for DMs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47" name="Google Shape;1107;g87b7afb683_1_955">
            <a:extLst>
              <a:ext uri="{FF2B5EF4-FFF2-40B4-BE49-F238E27FC236}">
                <a16:creationId xmlns:a16="http://schemas.microsoft.com/office/drawing/2014/main" id="{48B3D2A9-8A01-4B23-8DC0-382ACB2956A4}"/>
              </a:ext>
            </a:extLst>
          </p:cNvPr>
          <p:cNvSpPr txBox="1">
            <a:spLocks/>
          </p:cNvSpPr>
          <p:nvPr/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entury Gothic"/>
              <a:buNone/>
              <a:defRPr sz="1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1600"/>
            </a:pPr>
            <a:r>
              <a:rPr lang="en-US" kern="0"/>
              <a:t>EXAMPLE: </a:t>
            </a:r>
            <a:r>
              <a:rPr lang="en-US" b="1" kern="0"/>
              <a:t>SUBMISSION SUMMARY OF IDEAS</a:t>
            </a:r>
            <a:endParaRPr lang="en-US" b="1" kern="0" dirty="0"/>
          </a:p>
        </p:txBody>
      </p:sp>
      <p:sp>
        <p:nvSpPr>
          <p:cNvPr id="48" name="Ellipse 8">
            <a:extLst>
              <a:ext uri="{FF2B5EF4-FFF2-40B4-BE49-F238E27FC236}">
                <a16:creationId xmlns:a16="http://schemas.microsoft.com/office/drawing/2014/main" id="{E25E01EC-E4EF-4A11-8623-8CF2114F3DA7}"/>
              </a:ext>
            </a:extLst>
          </p:cNvPr>
          <p:cNvSpPr/>
          <p:nvPr/>
        </p:nvSpPr>
        <p:spPr>
          <a:xfrm>
            <a:off x="10896632" y="209299"/>
            <a:ext cx="785630" cy="78563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6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Box 70">
            <a:extLst>
              <a:ext uri="{FF2B5EF4-FFF2-40B4-BE49-F238E27FC236}">
                <a16:creationId xmlns:a16="http://schemas.microsoft.com/office/drawing/2014/main" id="{116D3D7A-7480-4A7A-BC60-49D31DE0D68A}"/>
              </a:ext>
            </a:extLst>
          </p:cNvPr>
          <p:cNvSpPr txBox="1"/>
          <p:nvPr/>
        </p:nvSpPr>
        <p:spPr>
          <a:xfrm>
            <a:off x="6065621" y="5498668"/>
            <a:ext cx="5616642" cy="1294018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873E30-8574-4D50-9653-8BC866255FBD}"/>
              </a:ext>
            </a:extLst>
          </p:cNvPr>
          <p:cNvSpPr txBox="1"/>
          <p:nvPr/>
        </p:nvSpPr>
        <p:spPr>
          <a:xfrm>
            <a:off x="179907" y="5498668"/>
            <a:ext cx="5850284" cy="1294018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C24999-A21B-4A90-9F15-A613B38CA45F}"/>
              </a:ext>
            </a:extLst>
          </p:cNvPr>
          <p:cNvSpPr txBox="1"/>
          <p:nvPr/>
        </p:nvSpPr>
        <p:spPr>
          <a:xfrm>
            <a:off x="179907" y="839755"/>
            <a:ext cx="11502355" cy="4617329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en-US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652416F-D6C5-4AED-B18A-EA3DAF03F0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652416F-D6C5-4AED-B18A-EA3DAF03F0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7" name="Google Shape;1107;g87b7afb683_1_95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/>
          <a:p>
            <a:pPr lvl="0">
              <a:buSzPts val="1600"/>
            </a:pPr>
            <a:r>
              <a:rPr lang="en-US"/>
              <a:t>EXAMPLE: </a:t>
            </a:r>
            <a:r>
              <a:rPr lang="en-US" b="1"/>
              <a:t>SUBMISSION SUMMARY OF IDEAS</a:t>
            </a:r>
            <a:endParaRPr b="1"/>
          </a:p>
        </p:txBody>
      </p:sp>
      <p:sp>
        <p:nvSpPr>
          <p:cNvPr id="1108" name="Google Shape;1108;g87b7afb683_1_955"/>
          <p:cNvSpPr txBox="1"/>
          <p:nvPr/>
        </p:nvSpPr>
        <p:spPr>
          <a:xfrm>
            <a:off x="349504" y="915091"/>
            <a:ext cx="9735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Key Partners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09" name="Google Shape;1109;g87b7afb683_1_955"/>
          <p:cNvSpPr txBox="1"/>
          <p:nvPr/>
        </p:nvSpPr>
        <p:spPr>
          <a:xfrm>
            <a:off x="2553903" y="914381"/>
            <a:ext cx="1060558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Key activities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10" name="Google Shape;1110;g87b7afb683_1_955"/>
          <p:cNvSpPr txBox="1"/>
          <p:nvPr/>
        </p:nvSpPr>
        <p:spPr>
          <a:xfrm>
            <a:off x="4855436" y="914381"/>
            <a:ext cx="1240563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Value propositions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11" name="Google Shape;1111;g87b7afb683_1_955"/>
          <p:cNvSpPr txBox="1"/>
          <p:nvPr/>
        </p:nvSpPr>
        <p:spPr>
          <a:xfrm>
            <a:off x="7003690" y="924072"/>
            <a:ext cx="1701896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Customer relationships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12" name="Google Shape;1112;g87b7afb683_1_955"/>
          <p:cNvSpPr txBox="1"/>
          <p:nvPr/>
        </p:nvSpPr>
        <p:spPr>
          <a:xfrm>
            <a:off x="9306112" y="941937"/>
            <a:ext cx="1542933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Customer segment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113" name="Google Shape;1113;g87b7afb683_1_955"/>
          <p:cNvGrpSpPr/>
          <p:nvPr/>
        </p:nvGrpSpPr>
        <p:grpSpPr>
          <a:xfrm>
            <a:off x="266899" y="1417750"/>
            <a:ext cx="11335437" cy="5333352"/>
            <a:chOff x="266899" y="1417750"/>
            <a:chExt cx="11335437" cy="5333352"/>
          </a:xfrm>
        </p:grpSpPr>
        <p:sp>
          <p:nvSpPr>
            <p:cNvPr id="1114" name="Google Shape;1114;g87b7afb683_1_955"/>
            <p:cNvSpPr/>
            <p:nvPr/>
          </p:nvSpPr>
          <p:spPr>
            <a:xfrm>
              <a:off x="377539" y="1417750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15" name="Google Shape;1115;g87b7afb683_1_955"/>
            <p:cNvSpPr/>
            <p:nvPr/>
          </p:nvSpPr>
          <p:spPr>
            <a:xfrm>
              <a:off x="1444250" y="1417750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16" name="Google Shape;1116;g87b7afb683_1_955"/>
            <p:cNvSpPr/>
            <p:nvPr/>
          </p:nvSpPr>
          <p:spPr>
            <a:xfrm>
              <a:off x="393185" y="2448607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17" name="Google Shape;1117;g87b7afb683_1_955"/>
            <p:cNvSpPr/>
            <p:nvPr/>
          </p:nvSpPr>
          <p:spPr>
            <a:xfrm>
              <a:off x="1444250" y="2511902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18" name="Google Shape;1118;g87b7afb683_1_955"/>
            <p:cNvSpPr/>
            <p:nvPr/>
          </p:nvSpPr>
          <p:spPr>
            <a:xfrm>
              <a:off x="354703" y="3505958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19" name="Google Shape;1119;g87b7afb683_1_955"/>
            <p:cNvSpPr/>
            <p:nvPr/>
          </p:nvSpPr>
          <p:spPr>
            <a:xfrm>
              <a:off x="1444250" y="3573059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20" name="Google Shape;1120;g87b7afb683_1_955"/>
            <p:cNvSpPr/>
            <p:nvPr/>
          </p:nvSpPr>
          <p:spPr>
            <a:xfrm>
              <a:off x="2658368" y="1432438"/>
              <a:ext cx="973500" cy="90960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21" name="Google Shape;1121;g87b7afb683_1_955"/>
            <p:cNvSpPr/>
            <p:nvPr/>
          </p:nvSpPr>
          <p:spPr>
            <a:xfrm>
              <a:off x="3725079" y="1432438"/>
              <a:ext cx="973500" cy="90960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22" name="Google Shape;1122;g87b7afb683_1_955"/>
            <p:cNvSpPr/>
            <p:nvPr/>
          </p:nvSpPr>
          <p:spPr>
            <a:xfrm>
              <a:off x="2658368" y="2493595"/>
              <a:ext cx="973500" cy="90960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23" name="Google Shape;1123;g87b7afb683_1_955"/>
            <p:cNvSpPr/>
            <p:nvPr/>
          </p:nvSpPr>
          <p:spPr>
            <a:xfrm>
              <a:off x="3725079" y="2493595"/>
              <a:ext cx="973500" cy="90960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142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24" name="Google Shape;1124;g87b7afb683_1_955"/>
            <p:cNvSpPr/>
            <p:nvPr/>
          </p:nvSpPr>
          <p:spPr>
            <a:xfrm>
              <a:off x="2553903" y="4454999"/>
              <a:ext cx="973500" cy="9096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25" name="Google Shape;1125;g87b7afb683_1_955"/>
            <p:cNvSpPr/>
            <p:nvPr/>
          </p:nvSpPr>
          <p:spPr>
            <a:xfrm>
              <a:off x="4963479" y="1458324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26" name="Google Shape;1126;g87b7afb683_1_955"/>
            <p:cNvSpPr/>
            <p:nvPr/>
          </p:nvSpPr>
          <p:spPr>
            <a:xfrm>
              <a:off x="6030190" y="1458324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27" name="Google Shape;1127;g87b7afb683_1_955"/>
            <p:cNvSpPr/>
            <p:nvPr/>
          </p:nvSpPr>
          <p:spPr>
            <a:xfrm>
              <a:off x="4963479" y="2519481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28" name="Google Shape;1128;g87b7afb683_1_955"/>
            <p:cNvSpPr/>
            <p:nvPr/>
          </p:nvSpPr>
          <p:spPr>
            <a:xfrm>
              <a:off x="6030190" y="2519481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29" name="Google Shape;1129;g87b7afb683_1_955"/>
            <p:cNvSpPr/>
            <p:nvPr/>
          </p:nvSpPr>
          <p:spPr>
            <a:xfrm>
              <a:off x="4949631" y="3668088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30" name="Google Shape;1130;g87b7afb683_1_955"/>
            <p:cNvSpPr/>
            <p:nvPr/>
          </p:nvSpPr>
          <p:spPr>
            <a:xfrm>
              <a:off x="7231146" y="1498877"/>
              <a:ext cx="973500" cy="9096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31" name="Google Shape;1131;g87b7afb683_1_955"/>
            <p:cNvSpPr/>
            <p:nvPr/>
          </p:nvSpPr>
          <p:spPr>
            <a:xfrm>
              <a:off x="8297857" y="1498877"/>
              <a:ext cx="973500" cy="9096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32" name="Google Shape;1132;g87b7afb683_1_955"/>
            <p:cNvSpPr/>
            <p:nvPr/>
          </p:nvSpPr>
          <p:spPr>
            <a:xfrm>
              <a:off x="7231146" y="2560034"/>
              <a:ext cx="973500" cy="9096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33" name="Google Shape;1133;g87b7afb683_1_955"/>
            <p:cNvSpPr/>
            <p:nvPr/>
          </p:nvSpPr>
          <p:spPr>
            <a:xfrm>
              <a:off x="8297857" y="2560034"/>
              <a:ext cx="973500" cy="9096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34" name="Google Shape;1134;g87b7afb683_1_955"/>
            <p:cNvSpPr/>
            <p:nvPr/>
          </p:nvSpPr>
          <p:spPr>
            <a:xfrm>
              <a:off x="7231146" y="4510263"/>
              <a:ext cx="973500" cy="9096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35" name="Google Shape;1135;g87b7afb683_1_955"/>
            <p:cNvSpPr/>
            <p:nvPr/>
          </p:nvSpPr>
          <p:spPr>
            <a:xfrm>
              <a:off x="5976262" y="3665748"/>
              <a:ext cx="973500" cy="90960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36" name="Google Shape;1136;g87b7afb683_1_955"/>
            <p:cNvSpPr/>
            <p:nvPr/>
          </p:nvSpPr>
          <p:spPr>
            <a:xfrm>
              <a:off x="3646624" y="4471704"/>
              <a:ext cx="973500" cy="9096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37" name="Google Shape;1137;g87b7afb683_1_955"/>
            <p:cNvSpPr/>
            <p:nvPr/>
          </p:nvSpPr>
          <p:spPr>
            <a:xfrm>
              <a:off x="9529187" y="2555953"/>
              <a:ext cx="973500" cy="9096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38" name="Google Shape;1138;g87b7afb683_1_955"/>
            <p:cNvSpPr/>
            <p:nvPr/>
          </p:nvSpPr>
          <p:spPr>
            <a:xfrm>
              <a:off x="8332612" y="4525651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39" name="Google Shape;1139;g87b7afb683_1_955"/>
            <p:cNvSpPr/>
            <p:nvPr/>
          </p:nvSpPr>
          <p:spPr>
            <a:xfrm>
              <a:off x="9498813" y="1465868"/>
              <a:ext cx="973500" cy="909600"/>
            </a:xfrm>
            <a:prstGeom prst="rect">
              <a:avLst/>
            </a:prstGeom>
            <a:solidFill>
              <a:srgbClr val="FAD4D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40" name="Google Shape;1140;g87b7afb683_1_955"/>
            <p:cNvSpPr/>
            <p:nvPr/>
          </p:nvSpPr>
          <p:spPr>
            <a:xfrm>
              <a:off x="10628836" y="2511902"/>
              <a:ext cx="973500" cy="9096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41" name="Google Shape;1141;g87b7afb683_1_955"/>
            <p:cNvSpPr/>
            <p:nvPr/>
          </p:nvSpPr>
          <p:spPr>
            <a:xfrm>
              <a:off x="7343884" y="5774028"/>
              <a:ext cx="973500" cy="909600"/>
            </a:xfrm>
            <a:prstGeom prst="rect">
              <a:avLst/>
            </a:prstGeom>
            <a:solidFill>
              <a:srgbClr val="DDF4A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42" name="Google Shape;1142;g87b7afb683_1_955"/>
            <p:cNvSpPr/>
            <p:nvPr/>
          </p:nvSpPr>
          <p:spPr>
            <a:xfrm>
              <a:off x="6219620" y="5788796"/>
              <a:ext cx="973500" cy="909600"/>
            </a:xfrm>
            <a:prstGeom prst="rect">
              <a:avLst/>
            </a:prstGeom>
            <a:solidFill>
              <a:srgbClr val="DDF4A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43" name="Google Shape;1143;g87b7afb683_1_955"/>
            <p:cNvSpPr/>
            <p:nvPr/>
          </p:nvSpPr>
          <p:spPr>
            <a:xfrm>
              <a:off x="8555687" y="5819669"/>
              <a:ext cx="973500" cy="909600"/>
            </a:xfrm>
            <a:prstGeom prst="rect">
              <a:avLst/>
            </a:prstGeom>
            <a:solidFill>
              <a:srgbClr val="DDF4A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44" name="Google Shape;1144;g87b7afb683_1_955"/>
            <p:cNvSpPr/>
            <p:nvPr/>
          </p:nvSpPr>
          <p:spPr>
            <a:xfrm>
              <a:off x="10565524" y="1479328"/>
              <a:ext cx="973500" cy="9096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45" name="Google Shape;1145;g87b7afb683_1_955"/>
            <p:cNvSpPr/>
            <p:nvPr/>
          </p:nvSpPr>
          <p:spPr>
            <a:xfrm>
              <a:off x="2592758" y="5841502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46" name="Google Shape;1146;g87b7afb683_1_955"/>
            <p:cNvSpPr/>
            <p:nvPr/>
          </p:nvSpPr>
          <p:spPr>
            <a:xfrm>
              <a:off x="1366685" y="5796514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47" name="Google Shape;1147;g87b7afb683_1_955"/>
            <p:cNvSpPr/>
            <p:nvPr/>
          </p:nvSpPr>
          <p:spPr>
            <a:xfrm>
              <a:off x="266899" y="5817897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48" name="Google Shape;1148;g87b7afb683_1_955"/>
            <p:cNvSpPr/>
            <p:nvPr/>
          </p:nvSpPr>
          <p:spPr>
            <a:xfrm>
              <a:off x="3678903" y="5782164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149" name="Google Shape;1149;g87b7afb683_1_955"/>
            <p:cNvSpPr/>
            <p:nvPr/>
          </p:nvSpPr>
          <p:spPr>
            <a:xfrm>
              <a:off x="4885914" y="5815086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69" name="Ellipse 8">
            <a:extLst>
              <a:ext uri="{FF2B5EF4-FFF2-40B4-BE49-F238E27FC236}">
                <a16:creationId xmlns:a16="http://schemas.microsoft.com/office/drawing/2014/main" id="{C316DD63-E4CA-4F5D-ABEB-545A16EBF578}"/>
              </a:ext>
            </a:extLst>
          </p:cNvPr>
          <p:cNvSpPr/>
          <p:nvPr/>
        </p:nvSpPr>
        <p:spPr>
          <a:xfrm>
            <a:off x="10896632" y="209299"/>
            <a:ext cx="785630" cy="78563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solidFill>
                  <a:srgbClr val="000000"/>
                </a:solidFill>
                <a:latin typeface="Century Gothic" charset="0"/>
                <a:ea typeface="Century Gothic" charset="0"/>
                <a:cs typeface="Century Gothic" charset="0"/>
              </a:rPr>
              <a:t>7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26019EC-75A6-4C06-AC23-8444706E350B}"/>
              </a:ext>
            </a:extLst>
          </p:cNvPr>
          <p:cNvCxnSpPr/>
          <p:nvPr/>
        </p:nvCxnSpPr>
        <p:spPr>
          <a:xfrm>
            <a:off x="2456531" y="3667844"/>
            <a:ext cx="2350673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CADDDA7F-F209-46F5-926F-A2B6A88F91E4}"/>
              </a:ext>
            </a:extLst>
          </p:cNvPr>
          <p:cNvCxnSpPr/>
          <p:nvPr/>
        </p:nvCxnSpPr>
        <p:spPr>
          <a:xfrm>
            <a:off x="7059149" y="3736268"/>
            <a:ext cx="2350673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Google Shape;1109;g87b7afb683_1_955">
            <a:extLst>
              <a:ext uri="{FF2B5EF4-FFF2-40B4-BE49-F238E27FC236}">
                <a16:creationId xmlns:a16="http://schemas.microsoft.com/office/drawing/2014/main" id="{88A16D09-D023-4070-86EB-6EC08E25B531}"/>
              </a:ext>
            </a:extLst>
          </p:cNvPr>
          <p:cNvSpPr txBox="1"/>
          <p:nvPr/>
        </p:nvSpPr>
        <p:spPr>
          <a:xfrm>
            <a:off x="2555950" y="3753588"/>
            <a:ext cx="1060558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Key resources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76" name="Google Shape;1109;g87b7afb683_1_955">
            <a:extLst>
              <a:ext uri="{FF2B5EF4-FFF2-40B4-BE49-F238E27FC236}">
                <a16:creationId xmlns:a16="http://schemas.microsoft.com/office/drawing/2014/main" id="{CAB68B96-2CA5-4EC1-8850-C4A87AF2AB2B}"/>
              </a:ext>
            </a:extLst>
          </p:cNvPr>
          <p:cNvSpPr txBox="1"/>
          <p:nvPr/>
        </p:nvSpPr>
        <p:spPr>
          <a:xfrm>
            <a:off x="7059149" y="3841747"/>
            <a:ext cx="1060558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Channels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77" name="Google Shape;1109;g87b7afb683_1_955">
            <a:extLst>
              <a:ext uri="{FF2B5EF4-FFF2-40B4-BE49-F238E27FC236}">
                <a16:creationId xmlns:a16="http://schemas.microsoft.com/office/drawing/2014/main" id="{2151144C-F2D5-4713-A223-637030FB992C}"/>
              </a:ext>
            </a:extLst>
          </p:cNvPr>
          <p:cNvSpPr txBox="1"/>
          <p:nvPr/>
        </p:nvSpPr>
        <p:spPr>
          <a:xfrm>
            <a:off x="212544" y="5502822"/>
            <a:ext cx="1060558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Cost structure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78" name="Google Shape;1109;g87b7afb683_1_955">
            <a:extLst>
              <a:ext uri="{FF2B5EF4-FFF2-40B4-BE49-F238E27FC236}">
                <a16:creationId xmlns:a16="http://schemas.microsoft.com/office/drawing/2014/main" id="{9B57851A-35D0-4E64-989D-22CD4C99111A}"/>
              </a:ext>
            </a:extLst>
          </p:cNvPr>
          <p:cNvSpPr txBox="1"/>
          <p:nvPr/>
        </p:nvSpPr>
        <p:spPr>
          <a:xfrm>
            <a:off x="6077118" y="5509856"/>
            <a:ext cx="1508669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Revenue streams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5CA5934B-59BA-4BDC-9699-B19CC7725F3E}"/>
              </a:ext>
            </a:extLst>
          </p:cNvPr>
          <p:cNvCxnSpPr>
            <a:cxnSpLocks/>
          </p:cNvCxnSpPr>
          <p:nvPr/>
        </p:nvCxnSpPr>
        <p:spPr>
          <a:xfrm>
            <a:off x="4771835" y="839755"/>
            <a:ext cx="0" cy="461732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09A2082F-CB89-4BCD-B422-4B1CD943AB90}"/>
              </a:ext>
            </a:extLst>
          </p:cNvPr>
          <p:cNvCxnSpPr>
            <a:cxnSpLocks/>
          </p:cNvCxnSpPr>
          <p:nvPr/>
        </p:nvCxnSpPr>
        <p:spPr>
          <a:xfrm>
            <a:off x="2463533" y="839755"/>
            <a:ext cx="0" cy="461732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503E368-A8E5-427F-97C4-56A0F1FF865D}"/>
              </a:ext>
            </a:extLst>
          </p:cNvPr>
          <p:cNvCxnSpPr>
            <a:cxnSpLocks/>
          </p:cNvCxnSpPr>
          <p:nvPr/>
        </p:nvCxnSpPr>
        <p:spPr>
          <a:xfrm>
            <a:off x="7056821" y="814305"/>
            <a:ext cx="0" cy="461732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B6B3DCFF-0D43-473C-82D9-2DAFF5DC2639}"/>
              </a:ext>
            </a:extLst>
          </p:cNvPr>
          <p:cNvCxnSpPr>
            <a:cxnSpLocks/>
          </p:cNvCxnSpPr>
          <p:nvPr/>
        </p:nvCxnSpPr>
        <p:spPr>
          <a:xfrm>
            <a:off x="9409822" y="881339"/>
            <a:ext cx="0" cy="461732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1538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E56483-0311-4EE3-939E-459C1286F1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SIGN THINKING </a:t>
            </a:r>
            <a:r>
              <a:rPr lang="en-US" b="1"/>
              <a:t>DESIGN</a:t>
            </a:r>
            <a:endParaRPr lang="en-US"/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F300FB26-2BCC-4BF9-B9DA-28CDAFA2C1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41912"/>
            <a:ext cx="10873047" cy="6116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llipse 8">
            <a:extLst>
              <a:ext uri="{FF2B5EF4-FFF2-40B4-BE49-F238E27FC236}">
                <a16:creationId xmlns:a16="http://schemas.microsoft.com/office/drawing/2014/main" id="{9A67380F-8550-4BE1-A6CA-61263A6BCC24}"/>
              </a:ext>
            </a:extLst>
          </p:cNvPr>
          <p:cNvSpPr/>
          <p:nvPr/>
        </p:nvSpPr>
        <p:spPr>
          <a:xfrm>
            <a:off x="10896632" y="209299"/>
            <a:ext cx="785630" cy="78563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solidFill>
                  <a:srgbClr val="000000"/>
                </a:solidFill>
                <a:latin typeface="Century Gothic" charset="0"/>
                <a:ea typeface="Century Gothic" charset="0"/>
                <a:cs typeface="Century Gothic" charset="0"/>
              </a:rPr>
              <a:t>7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10182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: </a:t>
            </a:r>
            <a:r>
              <a:rPr lang="en-US" b="1"/>
              <a:t>SUBMISSION CAPTURE OF LO-FI PROTOTYPE</a:t>
            </a:r>
            <a:endParaRPr lang="en-US"/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442914" y="852495"/>
            <a:ext cx="5635660" cy="4826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charset="0"/>
              </a:rPr>
              <a:t>SAMPLE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charset="0"/>
              </a:rPr>
              <a:t>WIREFRAME</a:t>
            </a:r>
          </a:p>
        </p:txBody>
      </p:sp>
      <p:sp>
        <p:nvSpPr>
          <p:cNvPr id="27" name="Rectangle 26"/>
          <p:cNvSpPr/>
          <p:nvPr/>
        </p:nvSpPr>
        <p:spPr>
          <a:xfrm>
            <a:off x="8421959" y="1542815"/>
            <a:ext cx="193277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Design tool for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Wireframe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 concept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7369ABC-A57B-C349-B187-A57B48A9FA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480" r="14331"/>
          <a:stretch/>
        </p:blipFill>
        <p:spPr>
          <a:xfrm>
            <a:off x="589660" y="1577805"/>
            <a:ext cx="7477798" cy="518080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D45FE78C-209D-E84A-B44D-C9175D3237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14" r="3739" b="11166"/>
          <a:stretch/>
        </p:blipFill>
        <p:spPr>
          <a:xfrm>
            <a:off x="5635711" y="3165412"/>
            <a:ext cx="4397149" cy="3127279"/>
          </a:xfrm>
          <a:prstGeom prst="rect">
            <a:avLst/>
          </a:prstGeom>
        </p:spPr>
      </p:pic>
      <p:sp>
        <p:nvSpPr>
          <p:cNvPr id="30" name="Ellipse 8">
            <a:extLst>
              <a:ext uri="{FF2B5EF4-FFF2-40B4-BE49-F238E27FC236}">
                <a16:creationId xmlns:a16="http://schemas.microsoft.com/office/drawing/2014/main" id="{B9E364C4-602A-4B51-BBE9-9FF3C229A846}"/>
              </a:ext>
            </a:extLst>
          </p:cNvPr>
          <p:cNvSpPr/>
          <p:nvPr/>
        </p:nvSpPr>
        <p:spPr>
          <a:xfrm>
            <a:off x="10817832" y="401996"/>
            <a:ext cx="785630" cy="78563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0345000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6" descr="Diagram&#10;&#10;Description automatically generated">
            <a:extLst>
              <a:ext uri="{FF2B5EF4-FFF2-40B4-BE49-F238E27FC236}">
                <a16:creationId xmlns:a16="http://schemas.microsoft.com/office/drawing/2014/main" id="{EDDAA04D-7BFC-4669-B2FA-7EC78E237A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2642" y="1092767"/>
            <a:ext cx="9334061" cy="560964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: </a:t>
            </a:r>
            <a:r>
              <a:rPr lang="en-US" b="1"/>
              <a:t>SUBMISSION CAPTURE OF LO-FI PROTOTYPE</a:t>
            </a:r>
            <a:endParaRPr lang="en-US" b="1">
              <a:latin typeface="Century Gothic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442914" y="852495"/>
            <a:ext cx="6371384" cy="482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</a:rPr>
              <a:t>EXAMPLE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</a:rPr>
              <a:t>SOLUTION USER FLOW SKETCH</a:t>
            </a:r>
          </a:p>
        </p:txBody>
      </p:sp>
      <p:sp>
        <p:nvSpPr>
          <p:cNvPr id="27" name="Ellipse 8">
            <a:extLst>
              <a:ext uri="{FF2B5EF4-FFF2-40B4-BE49-F238E27FC236}">
                <a16:creationId xmlns:a16="http://schemas.microsoft.com/office/drawing/2014/main" id="{03F3B530-41AC-4A02-B4DC-79FC472323A5}"/>
              </a:ext>
            </a:extLst>
          </p:cNvPr>
          <p:cNvSpPr/>
          <p:nvPr/>
        </p:nvSpPr>
        <p:spPr>
          <a:xfrm>
            <a:off x="10817832" y="401996"/>
            <a:ext cx="785630" cy="78563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3732967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6E65050-FD6D-4669-ABC3-B0FC1161FE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8606" y="854162"/>
            <a:ext cx="7648026" cy="613064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: </a:t>
            </a:r>
            <a:r>
              <a:rPr lang="en-US" b="1"/>
              <a:t>SUBMISSION CAPTURE OF LO-FI PROTOTYPE</a:t>
            </a:r>
            <a:endParaRPr lang="en-US" b="1">
              <a:latin typeface="Century Gothic"/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442914" y="852495"/>
            <a:ext cx="6371384" cy="482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</a:rPr>
              <a:t>EXAMPLE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</a:rPr>
              <a:t>SOLUTION VISUALIZATION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4C5B618-526C-46CA-8728-24B8CCABA4A7}"/>
              </a:ext>
            </a:extLst>
          </p:cNvPr>
          <p:cNvGrpSpPr/>
          <p:nvPr/>
        </p:nvGrpSpPr>
        <p:grpSpPr>
          <a:xfrm>
            <a:off x="502540" y="2011799"/>
            <a:ext cx="2347960" cy="2330062"/>
            <a:chOff x="1959076" y="1342600"/>
            <a:chExt cx="2347960" cy="2330062"/>
          </a:xfrm>
        </p:grpSpPr>
        <p:sp>
          <p:nvSpPr>
            <p:cNvPr id="29" name="Oval Callout 35">
              <a:extLst>
                <a:ext uri="{FF2B5EF4-FFF2-40B4-BE49-F238E27FC236}">
                  <a16:creationId xmlns:a16="http://schemas.microsoft.com/office/drawing/2014/main" id="{C9AAE143-4BD5-47FE-B948-603B610D14F7}"/>
                </a:ext>
              </a:extLst>
            </p:cNvPr>
            <p:cNvSpPr/>
            <p:nvPr/>
          </p:nvSpPr>
          <p:spPr>
            <a:xfrm>
              <a:off x="1959076" y="1342600"/>
              <a:ext cx="2347960" cy="2330062"/>
            </a:xfrm>
            <a:prstGeom prst="wedgeEllipseCallout">
              <a:avLst>
                <a:gd name="adj1" fmla="val -58794"/>
                <a:gd name="adj2" fmla="val 25293"/>
              </a:avLst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"/>
                <a:cs typeface="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9580151-6593-46AF-95BE-C62E92BC9DF5}"/>
                </a:ext>
              </a:extLst>
            </p:cNvPr>
            <p:cNvSpPr/>
            <p:nvPr/>
          </p:nvSpPr>
          <p:spPr>
            <a:xfrm>
              <a:off x="2297680" y="1960753"/>
              <a:ext cx="1907778" cy="1200329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5B43"/>
                </a:buClr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Yes, </a:t>
              </a:r>
              <a:r>
                <a:rPr kumimoji="0" lang="en-GB" sz="2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YOU</a:t>
              </a:r>
              <a:r>
                <a: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can add </a:t>
              </a:r>
              <a:r>
                <a:rPr kumimoji="0" lang="en-GB" sz="2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Color</a:t>
              </a:r>
              <a:r>
                <a: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!</a:t>
              </a:r>
            </a:p>
          </p:txBody>
        </p:sp>
      </p:grpSp>
      <p:sp>
        <p:nvSpPr>
          <p:cNvPr id="32" name="Ellipse 8">
            <a:extLst>
              <a:ext uri="{FF2B5EF4-FFF2-40B4-BE49-F238E27FC236}">
                <a16:creationId xmlns:a16="http://schemas.microsoft.com/office/drawing/2014/main" id="{A34EF4EB-71B7-4A59-992B-14E1D0726B94}"/>
              </a:ext>
            </a:extLst>
          </p:cNvPr>
          <p:cNvSpPr/>
          <p:nvPr/>
        </p:nvSpPr>
        <p:spPr>
          <a:xfrm>
            <a:off x="10817832" y="401996"/>
            <a:ext cx="785630" cy="78563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5987403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5077443" y="0"/>
            <a:ext cx="165134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SIGN THINKING </a:t>
            </a:r>
            <a:r>
              <a:rPr lang="en-US" b="1"/>
              <a:t>PRESENTATION</a:t>
            </a:r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442913" y="2274838"/>
            <a:ext cx="440738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UBMISSION</a:t>
            </a:r>
          </a:p>
          <a:p>
            <a:pPr marL="0" marR="0" lvl="0" indent="0" algn="l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4 mins VIDEO </a:t>
            </a:r>
            <a:r>
              <a:rPr kumimoji="0" lang="en-CA" sz="36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UST </a:t>
            </a:r>
            <a:r>
              <a:rPr kumimoji="0" lang="en-CA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NCLUDE!</a:t>
            </a:r>
          </a:p>
        </p:txBody>
      </p:sp>
      <p:sp>
        <p:nvSpPr>
          <p:cNvPr id="28" name="Textfeld 8"/>
          <p:cNvSpPr txBox="1"/>
          <p:nvPr/>
        </p:nvSpPr>
        <p:spPr>
          <a:xfrm>
            <a:off x="5700713" y="839434"/>
            <a:ext cx="5144979" cy="547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9DDF3"/>
              </a:buClr>
              <a:buSzTx/>
              <a:buFont typeface="Courier New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Wingdings"/>
              </a:rPr>
              <a:t>Intro: we are team …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9DDF3"/>
              </a:buClr>
              <a:buSzTx/>
              <a:buFont typeface="Courier New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Wingdings"/>
              </a:rPr>
              <a:t>We chose challenge …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9DDF3"/>
              </a:buClr>
              <a:buSzTx/>
              <a:buFont typeface="Courier New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Wingdings"/>
              </a:rPr>
              <a:t>Our solution is … “name of solution”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9DDF3"/>
              </a:buClr>
              <a:buSzTx/>
              <a:buFont typeface="Courier New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Wingdings"/>
              </a:rPr>
              <a:t>Tells us about your solution…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9DDF3"/>
              </a:buClr>
              <a:buSzTx/>
              <a:buFont typeface="Courier New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Wingdings"/>
              </a:rPr>
              <a:t>What is it?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9DDF3"/>
              </a:buClr>
              <a:buSzTx/>
              <a:buFont typeface="Courier New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Wingdings"/>
              </a:rPr>
              <a:t>How does it work?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9DDF3"/>
              </a:buClr>
              <a:buSzTx/>
              <a:buFont typeface="Courier New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Wingdings"/>
              </a:rPr>
              <a:t>How does it solve the challenge?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9DDF3"/>
              </a:buClr>
              <a:buSzTx/>
              <a:buFont typeface="Courier New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Wingdings"/>
              </a:rPr>
              <a:t>Tell us about your business case, use the business canvas to explain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9DDF3"/>
              </a:buClr>
              <a:buSzTx/>
              <a:buFont typeface="Courier New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Wingdings"/>
              </a:rPr>
              <a:t>Share anything else that is relevant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9DDF3"/>
              </a:buClr>
              <a:buSzTx/>
              <a:buFont typeface="Courier New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Wingdings"/>
              </a:rPr>
              <a:t>Show a demo if possible</a:t>
            </a:r>
          </a:p>
        </p:txBody>
      </p:sp>
    </p:spTree>
    <p:extLst>
      <p:ext uri="{BB962C8B-B14F-4D97-AF65-F5344CB8AC3E}">
        <p14:creationId xmlns:p14="http://schemas.microsoft.com/office/powerpoint/2010/main" val="34497414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625;g8ecdc017fa_4_37"/>
          <p:cNvSpPr/>
          <p:nvPr/>
        </p:nvSpPr>
        <p:spPr>
          <a:xfrm>
            <a:off x="442914" y="3584473"/>
            <a:ext cx="3600000" cy="2486127"/>
          </a:xfrm>
          <a:prstGeom prst="roundRect">
            <a:avLst>
              <a:gd name="adj" fmla="val 2728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Google Shape;629;g8ecdc017fa_4_37"/>
          <p:cNvSpPr txBox="1"/>
          <p:nvPr/>
        </p:nvSpPr>
        <p:spPr>
          <a:xfrm>
            <a:off x="582613" y="3703635"/>
            <a:ext cx="635000" cy="4299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8AAB"/>
              </a:buClr>
              <a:buSzPct val="100000"/>
              <a:buFont typeface="Wingdings" charset="2"/>
              <a:buChar char="q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404813"/>
            <a:ext cx="10515600" cy="684212"/>
          </a:xfrm>
        </p:spPr>
        <p:txBody>
          <a:bodyPr>
            <a:noAutofit/>
          </a:bodyPr>
          <a:lstStyle/>
          <a:p>
            <a:r>
              <a:rPr lang="en-US" sz="3200" b="1" dirty="0"/>
              <a:t>SummerHack 2021</a:t>
            </a:r>
          </a:p>
        </p:txBody>
      </p:sp>
      <p:sp>
        <p:nvSpPr>
          <p:cNvPr id="5" name="Google Shape;625;g8ecdc017fa_4_37"/>
          <p:cNvSpPr/>
          <p:nvPr/>
        </p:nvSpPr>
        <p:spPr>
          <a:xfrm>
            <a:off x="4351523" y="1154700"/>
            <a:ext cx="3600000" cy="4915900"/>
          </a:xfrm>
          <a:prstGeom prst="roundRect">
            <a:avLst>
              <a:gd name="adj" fmla="val 2728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Google Shape;627;g8ecdc017fa_4_37"/>
          <p:cNvSpPr txBox="1"/>
          <p:nvPr/>
        </p:nvSpPr>
        <p:spPr>
          <a:xfrm>
            <a:off x="366624" y="1011476"/>
            <a:ext cx="3519499" cy="15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Submission Checklist</a:t>
            </a:r>
          </a:p>
        </p:txBody>
      </p:sp>
      <p:sp>
        <p:nvSpPr>
          <p:cNvPr id="7" name="Google Shape;629;g8ecdc017fa_4_37"/>
          <p:cNvSpPr txBox="1"/>
          <p:nvPr/>
        </p:nvSpPr>
        <p:spPr>
          <a:xfrm>
            <a:off x="1048013" y="3740995"/>
            <a:ext cx="2668854" cy="1677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8AAB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4-MIN PITCH VIDEO 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Submission Formats        (BOTH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8AAB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required): 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8AAB"/>
              </a:buClr>
              <a:buSzPts val="1100"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MP4 file in ZIP File 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8AAB"/>
              </a:buClr>
              <a:buSzPts val="1100"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Video URL (YouTube, Vimeo, etc.) </a:t>
            </a:r>
          </a:p>
        </p:txBody>
      </p:sp>
      <p:sp>
        <p:nvSpPr>
          <p:cNvPr id="8" name="Google Shape;629;g8ecdc017fa_4_37"/>
          <p:cNvSpPr txBox="1"/>
          <p:nvPr/>
        </p:nvSpPr>
        <p:spPr>
          <a:xfrm>
            <a:off x="4491223" y="1273862"/>
            <a:ext cx="635000" cy="4299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8AAB"/>
              </a:buClr>
              <a:buSzPct val="100000"/>
              <a:buFont typeface="Wingdings" charset="2"/>
              <a:buChar char="q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</a:p>
        </p:txBody>
      </p:sp>
      <p:sp>
        <p:nvSpPr>
          <p:cNvPr id="9" name="Google Shape;629;g8ecdc017fa_4_37"/>
          <p:cNvSpPr txBox="1"/>
          <p:nvPr/>
        </p:nvSpPr>
        <p:spPr>
          <a:xfrm>
            <a:off x="4930659" y="1326945"/>
            <a:ext cx="2864074" cy="3728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8AAB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ESIGN THINKING MATERIALS 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IdeaFlip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 Screenshots 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Submission Format: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8AAB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Presentation/PDF 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8AAB"/>
              </a:buClr>
              <a:buSzPts val="1100"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Summary of insight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8AAB"/>
              </a:buClr>
              <a:buSzPts val="1100"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Empathy map 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8AAB"/>
              </a:buClr>
              <a:buSzPts val="1100"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Persona 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8AAB"/>
              </a:buClr>
              <a:buSzPts val="1100"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Journey map 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8AAB"/>
              </a:buClr>
              <a:buSzPts val="1100"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HWM statement 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8AAB"/>
              </a:buClr>
              <a:buSzPts val="1100"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Summary of idea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8AAB"/>
              </a:buClr>
              <a:buSzPts val="1100"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Business Canva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8AAB"/>
              </a:buClr>
              <a:buSzPts val="1100"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Lo-fi prototype </a:t>
            </a:r>
          </a:p>
        </p:txBody>
      </p:sp>
      <p:sp>
        <p:nvSpPr>
          <p:cNvPr id="11" name="Google Shape;625;g8ecdc017fa_4_37"/>
          <p:cNvSpPr/>
          <p:nvPr/>
        </p:nvSpPr>
        <p:spPr>
          <a:xfrm>
            <a:off x="8234169" y="4272674"/>
            <a:ext cx="3600000" cy="1797926"/>
          </a:xfrm>
          <a:prstGeom prst="roundRect">
            <a:avLst>
              <a:gd name="adj" fmla="val 2728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Google Shape;629;g8ecdc017fa_4_37"/>
          <p:cNvSpPr txBox="1"/>
          <p:nvPr/>
        </p:nvSpPr>
        <p:spPr>
          <a:xfrm>
            <a:off x="8373869" y="4341034"/>
            <a:ext cx="635000" cy="4299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8AAB"/>
              </a:buClr>
              <a:buSzPct val="100000"/>
              <a:buFont typeface="Wingdings" charset="2"/>
              <a:buChar char="q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</a:p>
        </p:txBody>
      </p:sp>
      <p:sp>
        <p:nvSpPr>
          <p:cNvPr id="10" name="Google Shape;629;g8ecdc017fa_4_37"/>
          <p:cNvSpPr txBox="1"/>
          <p:nvPr/>
        </p:nvSpPr>
        <p:spPr>
          <a:xfrm>
            <a:off x="8813305" y="4383017"/>
            <a:ext cx="2519664" cy="10341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8AAB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NAME &amp; DESCRIPTION OF SOLUTION 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Submission Format: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8AAB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Text 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(directly on platform)</a:t>
            </a:r>
          </a:p>
        </p:txBody>
      </p:sp>
    </p:spTree>
    <p:extLst>
      <p:ext uri="{BB962C8B-B14F-4D97-AF65-F5344CB8AC3E}">
        <p14:creationId xmlns:p14="http://schemas.microsoft.com/office/powerpoint/2010/main" val="6195947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5"/>
          <a:stretch/>
        </p:blipFill>
        <p:spPr>
          <a:xfrm>
            <a:off x="1764" y="893"/>
            <a:ext cx="12188827" cy="685621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749529" y="3874494"/>
            <a:ext cx="6766678" cy="111832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Century Gothic" charset="0"/>
                <a:cs typeface="Century Gothic" charset="0"/>
              </a:rPr>
              <a:t>SummerHack 2021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87555" y="1948970"/>
            <a:ext cx="9887884" cy="1768791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98" b="0" i="0" u="none" strike="noStrike" kern="1200" cap="none" spc="0" normalizeH="0" baseline="0" noProof="0">
                <a:ln>
                  <a:noFill/>
                </a:ln>
                <a:solidFill>
                  <a:srgbClr val="FFF200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#</a:t>
            </a:r>
            <a:r>
              <a:rPr kumimoji="0" lang="en-US" sz="6598" b="0" i="0" u="none" strike="noStrike" kern="1200" cap="none" spc="0" normalizeH="0" baseline="0" noProof="0" err="1">
                <a:ln>
                  <a:noFill/>
                </a:ln>
                <a:solidFill>
                  <a:srgbClr val="FFF200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MakeInsuranceBetter</a:t>
            </a:r>
            <a:endParaRPr kumimoji="0" lang="en-US" sz="6598" b="0" i="0" u="none" strike="noStrike" kern="1200" cap="none" spc="0" normalizeH="0" baseline="0" noProof="0">
              <a:ln>
                <a:noFill/>
              </a:ln>
              <a:solidFill>
                <a:srgbClr val="FFF200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747718" y="5665837"/>
            <a:ext cx="277030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0387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200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www.cookhouselabs.com</a:t>
            </a:r>
          </a:p>
          <a:p>
            <a:pPr marL="0" marR="0" lvl="0" indent="0" algn="ctr" defTabSz="10387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9348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1" name="Google Shape;711;p2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</a:pPr>
            <a:r>
              <a:rPr lang="en-US"/>
              <a:t>MEET THE TEAM</a:t>
            </a:r>
            <a:endParaRPr/>
          </a:p>
        </p:txBody>
      </p:sp>
      <p:grpSp>
        <p:nvGrpSpPr>
          <p:cNvPr id="745" name="Google Shape;745;p2"/>
          <p:cNvGrpSpPr/>
          <p:nvPr/>
        </p:nvGrpSpPr>
        <p:grpSpPr>
          <a:xfrm>
            <a:off x="-1487143" y="6240040"/>
            <a:ext cx="544608" cy="213148"/>
            <a:chOff x="3241675" y="3943350"/>
            <a:chExt cx="1841500" cy="720725"/>
          </a:xfrm>
        </p:grpSpPr>
        <p:sp>
          <p:nvSpPr>
            <p:cNvPr id="746" name="Google Shape;746;p2"/>
            <p:cNvSpPr/>
            <p:nvPr/>
          </p:nvSpPr>
          <p:spPr>
            <a:xfrm>
              <a:off x="3425825" y="4256088"/>
              <a:ext cx="153988" cy="158750"/>
            </a:xfrm>
            <a:custGeom>
              <a:avLst/>
              <a:gdLst/>
              <a:ahLst/>
              <a:cxnLst/>
              <a:rect l="l" t="t" r="r" b="b"/>
              <a:pathLst>
                <a:path w="427" h="440" extrusionOk="0">
                  <a:moveTo>
                    <a:pt x="302" y="171"/>
                  </a:moveTo>
                  <a:cubicBezTo>
                    <a:pt x="291" y="113"/>
                    <a:pt x="265" y="82"/>
                    <a:pt x="212" y="82"/>
                  </a:cubicBezTo>
                  <a:cubicBezTo>
                    <a:pt x="138" y="82"/>
                    <a:pt x="118" y="137"/>
                    <a:pt x="116" y="171"/>
                  </a:cubicBezTo>
                  <a:lnTo>
                    <a:pt x="302" y="171"/>
                  </a:lnTo>
                  <a:close/>
                  <a:moveTo>
                    <a:pt x="217" y="351"/>
                  </a:moveTo>
                  <a:cubicBezTo>
                    <a:pt x="262" y="351"/>
                    <a:pt x="302" y="323"/>
                    <a:pt x="307" y="298"/>
                  </a:cubicBezTo>
                  <a:lnTo>
                    <a:pt x="409" y="298"/>
                  </a:lnTo>
                  <a:cubicBezTo>
                    <a:pt x="378" y="396"/>
                    <a:pt x="307" y="439"/>
                    <a:pt x="214" y="439"/>
                  </a:cubicBezTo>
                  <a:cubicBezTo>
                    <a:pt x="82" y="439"/>
                    <a:pt x="0" y="349"/>
                    <a:pt x="0" y="219"/>
                  </a:cubicBezTo>
                  <a:cubicBezTo>
                    <a:pt x="0" y="93"/>
                    <a:pt x="87" y="0"/>
                    <a:pt x="214" y="0"/>
                  </a:cubicBezTo>
                  <a:cubicBezTo>
                    <a:pt x="358" y="0"/>
                    <a:pt x="426" y="118"/>
                    <a:pt x="418" y="247"/>
                  </a:cubicBezTo>
                  <a:lnTo>
                    <a:pt x="116" y="247"/>
                  </a:lnTo>
                  <a:cubicBezTo>
                    <a:pt x="119" y="318"/>
                    <a:pt x="156" y="351"/>
                    <a:pt x="217" y="35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7" name="Google Shape;747;p2"/>
            <p:cNvSpPr/>
            <p:nvPr/>
          </p:nvSpPr>
          <p:spPr>
            <a:xfrm>
              <a:off x="3589338" y="4202113"/>
              <a:ext cx="155575" cy="212725"/>
            </a:xfrm>
            <a:custGeom>
              <a:avLst/>
              <a:gdLst/>
              <a:ahLst/>
              <a:cxnLst/>
              <a:rect l="l" t="t" r="r" b="b"/>
              <a:pathLst>
                <a:path w="430" h="593" extrusionOk="0">
                  <a:moveTo>
                    <a:pt x="217" y="237"/>
                  </a:moveTo>
                  <a:cubicBezTo>
                    <a:pt x="141" y="237"/>
                    <a:pt x="116" y="301"/>
                    <a:pt x="116" y="369"/>
                  </a:cubicBezTo>
                  <a:cubicBezTo>
                    <a:pt x="116" y="434"/>
                    <a:pt x="147" y="504"/>
                    <a:pt x="217" y="504"/>
                  </a:cubicBezTo>
                  <a:cubicBezTo>
                    <a:pt x="294" y="504"/>
                    <a:pt x="316" y="437"/>
                    <a:pt x="316" y="369"/>
                  </a:cubicBezTo>
                  <a:cubicBezTo>
                    <a:pt x="316" y="301"/>
                    <a:pt x="291" y="237"/>
                    <a:pt x="217" y="237"/>
                  </a:cubicBezTo>
                  <a:close/>
                  <a:moveTo>
                    <a:pt x="319" y="527"/>
                  </a:moveTo>
                  <a:lnTo>
                    <a:pt x="319" y="527"/>
                  </a:lnTo>
                  <a:cubicBezTo>
                    <a:pt x="291" y="572"/>
                    <a:pt x="243" y="592"/>
                    <a:pt x="189" y="592"/>
                  </a:cubicBezTo>
                  <a:cubicBezTo>
                    <a:pt x="62" y="592"/>
                    <a:pt x="0" y="485"/>
                    <a:pt x="0" y="366"/>
                  </a:cubicBezTo>
                  <a:cubicBezTo>
                    <a:pt x="0" y="254"/>
                    <a:pt x="62" y="150"/>
                    <a:pt x="186" y="150"/>
                  </a:cubicBezTo>
                  <a:cubicBezTo>
                    <a:pt x="237" y="150"/>
                    <a:pt x="285" y="170"/>
                    <a:pt x="311" y="212"/>
                  </a:cubicBezTo>
                  <a:lnTo>
                    <a:pt x="313" y="212"/>
                  </a:lnTo>
                  <a:lnTo>
                    <a:pt x="313" y="0"/>
                  </a:lnTo>
                  <a:lnTo>
                    <a:pt x="429" y="0"/>
                  </a:lnTo>
                  <a:lnTo>
                    <a:pt x="429" y="578"/>
                  </a:lnTo>
                  <a:lnTo>
                    <a:pt x="319" y="578"/>
                  </a:lnTo>
                  <a:lnTo>
                    <a:pt x="319" y="527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8" name="Google Shape;748;p2"/>
            <p:cNvSpPr/>
            <p:nvPr/>
          </p:nvSpPr>
          <p:spPr>
            <a:xfrm>
              <a:off x="3819525" y="4202113"/>
              <a:ext cx="180975" cy="209550"/>
            </a:xfrm>
            <a:custGeom>
              <a:avLst/>
              <a:gdLst/>
              <a:ahLst/>
              <a:cxnLst/>
              <a:rect l="l" t="t" r="r" b="b"/>
              <a:pathLst>
                <a:path w="503" h="581" extrusionOk="0">
                  <a:moveTo>
                    <a:pt x="127" y="260"/>
                  </a:moveTo>
                  <a:lnTo>
                    <a:pt x="265" y="260"/>
                  </a:lnTo>
                  <a:cubicBezTo>
                    <a:pt x="321" y="260"/>
                    <a:pt x="352" y="234"/>
                    <a:pt x="352" y="178"/>
                  </a:cubicBezTo>
                  <a:cubicBezTo>
                    <a:pt x="352" y="122"/>
                    <a:pt x="321" y="99"/>
                    <a:pt x="265" y="99"/>
                  </a:cubicBezTo>
                  <a:lnTo>
                    <a:pt x="127" y="99"/>
                  </a:lnTo>
                  <a:lnTo>
                    <a:pt x="127" y="260"/>
                  </a:lnTo>
                  <a:close/>
                  <a:moveTo>
                    <a:pt x="313" y="0"/>
                  </a:moveTo>
                  <a:cubicBezTo>
                    <a:pt x="417" y="0"/>
                    <a:pt x="482" y="74"/>
                    <a:pt x="482" y="161"/>
                  </a:cubicBezTo>
                  <a:cubicBezTo>
                    <a:pt x="482" y="229"/>
                    <a:pt x="454" y="279"/>
                    <a:pt x="392" y="304"/>
                  </a:cubicBezTo>
                  <a:lnTo>
                    <a:pt x="392" y="307"/>
                  </a:lnTo>
                  <a:cubicBezTo>
                    <a:pt x="454" y="324"/>
                    <a:pt x="471" y="383"/>
                    <a:pt x="477" y="442"/>
                  </a:cubicBezTo>
                  <a:cubicBezTo>
                    <a:pt x="479" y="479"/>
                    <a:pt x="479" y="546"/>
                    <a:pt x="502" y="580"/>
                  </a:cubicBezTo>
                  <a:lnTo>
                    <a:pt x="375" y="580"/>
                  </a:lnTo>
                  <a:cubicBezTo>
                    <a:pt x="361" y="544"/>
                    <a:pt x="361" y="487"/>
                    <a:pt x="355" y="442"/>
                  </a:cubicBezTo>
                  <a:cubicBezTo>
                    <a:pt x="341" y="377"/>
                    <a:pt x="319" y="349"/>
                    <a:pt x="254" y="349"/>
                  </a:cubicBezTo>
                  <a:lnTo>
                    <a:pt x="127" y="349"/>
                  </a:lnTo>
                  <a:lnTo>
                    <a:pt x="127" y="575"/>
                  </a:lnTo>
                  <a:lnTo>
                    <a:pt x="0" y="575"/>
                  </a:lnTo>
                  <a:lnTo>
                    <a:pt x="0" y="0"/>
                  </a:lnTo>
                  <a:lnTo>
                    <a:pt x="313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9" name="Google Shape;749;p2"/>
            <p:cNvSpPr/>
            <p:nvPr/>
          </p:nvSpPr>
          <p:spPr>
            <a:xfrm>
              <a:off x="4017963" y="4202113"/>
              <a:ext cx="42862" cy="209550"/>
            </a:xfrm>
            <a:custGeom>
              <a:avLst/>
              <a:gdLst/>
              <a:ahLst/>
              <a:cxnLst/>
              <a:rect l="l" t="t" r="r" b="b"/>
              <a:pathLst>
                <a:path w="117" h="582" extrusionOk="0">
                  <a:moveTo>
                    <a:pt x="0" y="581"/>
                  </a:moveTo>
                  <a:lnTo>
                    <a:pt x="116" y="581"/>
                  </a:lnTo>
                  <a:lnTo>
                    <a:pt x="116" y="161"/>
                  </a:lnTo>
                  <a:lnTo>
                    <a:pt x="0" y="161"/>
                  </a:lnTo>
                  <a:lnTo>
                    <a:pt x="0" y="581"/>
                  </a:lnTo>
                  <a:close/>
                  <a:moveTo>
                    <a:pt x="0" y="96"/>
                  </a:moveTo>
                  <a:lnTo>
                    <a:pt x="116" y="96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0" name="Google Shape;750;p2"/>
            <p:cNvSpPr/>
            <p:nvPr/>
          </p:nvSpPr>
          <p:spPr>
            <a:xfrm>
              <a:off x="4073525" y="4259263"/>
              <a:ext cx="147638" cy="150812"/>
            </a:xfrm>
            <a:custGeom>
              <a:avLst/>
              <a:gdLst/>
              <a:ahLst/>
              <a:cxnLst/>
              <a:rect l="l" t="t" r="r" b="b"/>
              <a:pathLst>
                <a:path w="412" h="421" extrusionOk="0">
                  <a:moveTo>
                    <a:pt x="270" y="420"/>
                  </a:moveTo>
                  <a:lnTo>
                    <a:pt x="141" y="420"/>
                  </a:lnTo>
                  <a:lnTo>
                    <a:pt x="0" y="0"/>
                  </a:lnTo>
                  <a:lnTo>
                    <a:pt x="119" y="0"/>
                  </a:lnTo>
                  <a:lnTo>
                    <a:pt x="209" y="284"/>
                  </a:lnTo>
                  <a:lnTo>
                    <a:pt x="209" y="284"/>
                  </a:lnTo>
                  <a:lnTo>
                    <a:pt x="298" y="0"/>
                  </a:lnTo>
                  <a:lnTo>
                    <a:pt x="411" y="0"/>
                  </a:lnTo>
                  <a:lnTo>
                    <a:pt x="270" y="42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1" name="Google Shape;751;p2"/>
            <p:cNvSpPr/>
            <p:nvPr/>
          </p:nvSpPr>
          <p:spPr>
            <a:xfrm>
              <a:off x="4216400" y="4256088"/>
              <a:ext cx="153988" cy="158750"/>
            </a:xfrm>
            <a:custGeom>
              <a:avLst/>
              <a:gdLst/>
              <a:ahLst/>
              <a:cxnLst/>
              <a:rect l="l" t="t" r="r" b="b"/>
              <a:pathLst>
                <a:path w="427" h="440" extrusionOk="0">
                  <a:moveTo>
                    <a:pt x="305" y="171"/>
                  </a:moveTo>
                  <a:cubicBezTo>
                    <a:pt x="294" y="113"/>
                    <a:pt x="268" y="82"/>
                    <a:pt x="215" y="82"/>
                  </a:cubicBezTo>
                  <a:cubicBezTo>
                    <a:pt x="141" y="82"/>
                    <a:pt x="121" y="137"/>
                    <a:pt x="119" y="171"/>
                  </a:cubicBezTo>
                  <a:lnTo>
                    <a:pt x="305" y="171"/>
                  </a:lnTo>
                  <a:close/>
                  <a:moveTo>
                    <a:pt x="217" y="351"/>
                  </a:moveTo>
                  <a:cubicBezTo>
                    <a:pt x="263" y="351"/>
                    <a:pt x="302" y="323"/>
                    <a:pt x="308" y="298"/>
                  </a:cubicBezTo>
                  <a:lnTo>
                    <a:pt x="409" y="298"/>
                  </a:lnTo>
                  <a:cubicBezTo>
                    <a:pt x="378" y="396"/>
                    <a:pt x="308" y="439"/>
                    <a:pt x="215" y="439"/>
                  </a:cubicBezTo>
                  <a:cubicBezTo>
                    <a:pt x="82" y="439"/>
                    <a:pt x="0" y="349"/>
                    <a:pt x="0" y="219"/>
                  </a:cubicBezTo>
                  <a:cubicBezTo>
                    <a:pt x="0" y="93"/>
                    <a:pt x="88" y="0"/>
                    <a:pt x="215" y="0"/>
                  </a:cubicBezTo>
                  <a:cubicBezTo>
                    <a:pt x="358" y="0"/>
                    <a:pt x="426" y="118"/>
                    <a:pt x="418" y="247"/>
                  </a:cubicBezTo>
                  <a:lnTo>
                    <a:pt x="116" y="247"/>
                  </a:lnTo>
                  <a:cubicBezTo>
                    <a:pt x="120" y="318"/>
                    <a:pt x="156" y="351"/>
                    <a:pt x="217" y="35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2" name="Google Shape;752;p2"/>
            <p:cNvSpPr/>
            <p:nvPr/>
          </p:nvSpPr>
          <p:spPr>
            <a:xfrm>
              <a:off x="4384675" y="4256088"/>
              <a:ext cx="98425" cy="155575"/>
            </a:xfrm>
            <a:custGeom>
              <a:avLst/>
              <a:gdLst/>
              <a:ahLst/>
              <a:cxnLst/>
              <a:rect l="l" t="t" r="r" b="b"/>
              <a:pathLst>
                <a:path w="272" h="432" extrusionOk="0">
                  <a:moveTo>
                    <a:pt x="110" y="11"/>
                  </a:moveTo>
                  <a:lnTo>
                    <a:pt x="110" y="90"/>
                  </a:lnTo>
                  <a:lnTo>
                    <a:pt x="113" y="90"/>
                  </a:lnTo>
                  <a:cubicBezTo>
                    <a:pt x="132" y="37"/>
                    <a:pt x="192" y="0"/>
                    <a:pt x="245" y="0"/>
                  </a:cubicBezTo>
                  <a:cubicBezTo>
                    <a:pt x="254" y="0"/>
                    <a:pt x="262" y="3"/>
                    <a:pt x="271" y="3"/>
                  </a:cubicBezTo>
                  <a:lnTo>
                    <a:pt x="271" y="110"/>
                  </a:lnTo>
                  <a:cubicBezTo>
                    <a:pt x="259" y="107"/>
                    <a:pt x="242" y="107"/>
                    <a:pt x="228" y="107"/>
                  </a:cubicBezTo>
                  <a:cubicBezTo>
                    <a:pt x="144" y="107"/>
                    <a:pt x="115" y="168"/>
                    <a:pt x="115" y="242"/>
                  </a:cubicBezTo>
                  <a:lnTo>
                    <a:pt x="115" y="431"/>
                  </a:lnTo>
                  <a:lnTo>
                    <a:pt x="0" y="431"/>
                  </a:lnTo>
                  <a:lnTo>
                    <a:pt x="0" y="11"/>
                  </a:lnTo>
                  <a:lnTo>
                    <a:pt x="110" y="11"/>
                  </a:lnTo>
                </a:path>
              </a:pathLst>
            </a:custGeom>
            <a:solidFill>
              <a:srgbClr val="231F2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3" name="Google Shape;753;p2"/>
            <p:cNvSpPr/>
            <p:nvPr/>
          </p:nvSpPr>
          <p:spPr>
            <a:xfrm>
              <a:off x="3622675" y="4451350"/>
              <a:ext cx="209550" cy="207963"/>
            </a:xfrm>
            <a:custGeom>
              <a:avLst/>
              <a:gdLst/>
              <a:ahLst/>
              <a:cxnLst/>
              <a:rect l="l" t="t" r="r" b="b"/>
              <a:pathLst>
                <a:path w="580" h="579" extrusionOk="0">
                  <a:moveTo>
                    <a:pt x="0" y="0"/>
                  </a:moveTo>
                  <a:lnTo>
                    <a:pt x="108" y="0"/>
                  </a:lnTo>
                  <a:lnTo>
                    <a:pt x="288" y="485"/>
                  </a:lnTo>
                  <a:lnTo>
                    <a:pt x="472" y="0"/>
                  </a:lnTo>
                  <a:lnTo>
                    <a:pt x="579" y="0"/>
                  </a:lnTo>
                  <a:lnTo>
                    <a:pt x="579" y="578"/>
                  </a:lnTo>
                  <a:lnTo>
                    <a:pt x="505" y="578"/>
                  </a:lnTo>
                  <a:lnTo>
                    <a:pt x="505" y="96"/>
                  </a:lnTo>
                  <a:lnTo>
                    <a:pt x="503" y="96"/>
                  </a:lnTo>
                  <a:lnTo>
                    <a:pt x="322" y="578"/>
                  </a:lnTo>
                  <a:lnTo>
                    <a:pt x="257" y="578"/>
                  </a:lnTo>
                  <a:lnTo>
                    <a:pt x="76" y="96"/>
                  </a:lnTo>
                  <a:lnTo>
                    <a:pt x="74" y="96"/>
                  </a:lnTo>
                  <a:lnTo>
                    <a:pt x="74" y="578"/>
                  </a:lnTo>
                  <a:lnTo>
                    <a:pt x="0" y="578"/>
                  </a:lnTo>
                  <a:lnTo>
                    <a:pt x="0" y="0"/>
                  </a:lnTo>
                </a:path>
              </a:pathLst>
            </a:custGeom>
            <a:solidFill>
              <a:srgbClr val="231F2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4" name="Google Shape;754;p2"/>
            <p:cNvSpPr/>
            <p:nvPr/>
          </p:nvSpPr>
          <p:spPr>
            <a:xfrm>
              <a:off x="3856038" y="4508500"/>
              <a:ext cx="125412" cy="155575"/>
            </a:xfrm>
            <a:custGeom>
              <a:avLst/>
              <a:gdLst/>
              <a:ahLst/>
              <a:cxnLst/>
              <a:rect l="l" t="t" r="r" b="b"/>
              <a:pathLst>
                <a:path w="348" h="433" extrusionOk="0">
                  <a:moveTo>
                    <a:pt x="283" y="423"/>
                  </a:moveTo>
                  <a:lnTo>
                    <a:pt x="283" y="356"/>
                  </a:lnTo>
                  <a:lnTo>
                    <a:pt x="280" y="356"/>
                  </a:lnTo>
                  <a:cubicBezTo>
                    <a:pt x="251" y="407"/>
                    <a:pt x="204" y="432"/>
                    <a:pt x="144" y="432"/>
                  </a:cubicBezTo>
                  <a:cubicBezTo>
                    <a:pt x="34" y="432"/>
                    <a:pt x="0" y="370"/>
                    <a:pt x="0" y="280"/>
                  </a:cubicBezTo>
                  <a:lnTo>
                    <a:pt x="0" y="3"/>
                  </a:lnTo>
                  <a:lnTo>
                    <a:pt x="71" y="3"/>
                  </a:lnTo>
                  <a:lnTo>
                    <a:pt x="71" y="285"/>
                  </a:lnTo>
                  <a:cubicBezTo>
                    <a:pt x="71" y="336"/>
                    <a:pt x="102" y="370"/>
                    <a:pt x="156" y="370"/>
                  </a:cubicBezTo>
                  <a:cubicBezTo>
                    <a:pt x="240" y="370"/>
                    <a:pt x="280" y="313"/>
                    <a:pt x="280" y="237"/>
                  </a:cubicBezTo>
                  <a:lnTo>
                    <a:pt x="280" y="0"/>
                  </a:lnTo>
                  <a:lnTo>
                    <a:pt x="347" y="0"/>
                  </a:lnTo>
                  <a:lnTo>
                    <a:pt x="347" y="423"/>
                  </a:lnTo>
                  <a:lnTo>
                    <a:pt x="283" y="42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5" name="Google Shape;755;p2"/>
            <p:cNvSpPr/>
            <p:nvPr/>
          </p:nvSpPr>
          <p:spPr>
            <a:xfrm>
              <a:off x="3998913" y="4464050"/>
              <a:ext cx="80962" cy="196850"/>
            </a:xfrm>
            <a:custGeom>
              <a:avLst/>
              <a:gdLst/>
              <a:ahLst/>
              <a:cxnLst/>
              <a:rect l="l" t="t" r="r" b="b"/>
              <a:pathLst>
                <a:path w="227" h="548" extrusionOk="0">
                  <a:moveTo>
                    <a:pt x="141" y="127"/>
                  </a:moveTo>
                  <a:lnTo>
                    <a:pt x="226" y="127"/>
                  </a:lnTo>
                  <a:lnTo>
                    <a:pt x="226" y="189"/>
                  </a:lnTo>
                  <a:lnTo>
                    <a:pt x="141" y="189"/>
                  </a:lnTo>
                  <a:lnTo>
                    <a:pt x="141" y="449"/>
                  </a:lnTo>
                  <a:cubicBezTo>
                    <a:pt x="141" y="480"/>
                    <a:pt x="150" y="485"/>
                    <a:pt x="192" y="485"/>
                  </a:cubicBezTo>
                  <a:lnTo>
                    <a:pt x="223" y="485"/>
                  </a:lnTo>
                  <a:lnTo>
                    <a:pt x="223" y="547"/>
                  </a:lnTo>
                  <a:lnTo>
                    <a:pt x="170" y="547"/>
                  </a:lnTo>
                  <a:cubicBezTo>
                    <a:pt x="99" y="547"/>
                    <a:pt x="71" y="533"/>
                    <a:pt x="71" y="457"/>
                  </a:cubicBezTo>
                  <a:lnTo>
                    <a:pt x="71" y="189"/>
                  </a:lnTo>
                  <a:lnTo>
                    <a:pt x="0" y="189"/>
                  </a:lnTo>
                  <a:lnTo>
                    <a:pt x="0" y="127"/>
                  </a:lnTo>
                  <a:lnTo>
                    <a:pt x="71" y="127"/>
                  </a:lnTo>
                  <a:lnTo>
                    <a:pt x="71" y="0"/>
                  </a:lnTo>
                  <a:lnTo>
                    <a:pt x="139" y="0"/>
                  </a:lnTo>
                  <a:lnTo>
                    <a:pt x="139" y="127"/>
                  </a:lnTo>
                  <a:lnTo>
                    <a:pt x="141" y="127"/>
                  </a:lnTo>
                </a:path>
              </a:pathLst>
            </a:custGeom>
            <a:solidFill>
              <a:srgbClr val="231F2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6" name="Google Shape;756;p2"/>
            <p:cNvSpPr/>
            <p:nvPr/>
          </p:nvSpPr>
          <p:spPr>
            <a:xfrm>
              <a:off x="4100513" y="4508500"/>
              <a:ext cx="125412" cy="155575"/>
            </a:xfrm>
            <a:custGeom>
              <a:avLst/>
              <a:gdLst/>
              <a:ahLst/>
              <a:cxnLst/>
              <a:rect l="l" t="t" r="r" b="b"/>
              <a:pathLst>
                <a:path w="347" h="433" extrusionOk="0">
                  <a:moveTo>
                    <a:pt x="281" y="423"/>
                  </a:moveTo>
                  <a:lnTo>
                    <a:pt x="281" y="356"/>
                  </a:lnTo>
                  <a:lnTo>
                    <a:pt x="278" y="356"/>
                  </a:lnTo>
                  <a:cubicBezTo>
                    <a:pt x="250" y="407"/>
                    <a:pt x="202" y="432"/>
                    <a:pt x="143" y="432"/>
                  </a:cubicBezTo>
                  <a:cubicBezTo>
                    <a:pt x="33" y="432"/>
                    <a:pt x="0" y="370"/>
                    <a:pt x="0" y="280"/>
                  </a:cubicBezTo>
                  <a:lnTo>
                    <a:pt x="0" y="3"/>
                  </a:lnTo>
                  <a:lnTo>
                    <a:pt x="70" y="3"/>
                  </a:lnTo>
                  <a:lnTo>
                    <a:pt x="70" y="285"/>
                  </a:lnTo>
                  <a:cubicBezTo>
                    <a:pt x="70" y="336"/>
                    <a:pt x="101" y="370"/>
                    <a:pt x="155" y="370"/>
                  </a:cubicBezTo>
                  <a:cubicBezTo>
                    <a:pt x="238" y="370"/>
                    <a:pt x="278" y="313"/>
                    <a:pt x="278" y="237"/>
                  </a:cubicBezTo>
                  <a:lnTo>
                    <a:pt x="278" y="0"/>
                  </a:lnTo>
                  <a:lnTo>
                    <a:pt x="346" y="0"/>
                  </a:lnTo>
                  <a:lnTo>
                    <a:pt x="346" y="423"/>
                  </a:lnTo>
                  <a:lnTo>
                    <a:pt x="281" y="423"/>
                  </a:lnTo>
                </a:path>
              </a:pathLst>
            </a:custGeom>
            <a:solidFill>
              <a:srgbClr val="231F2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7" name="Google Shape;757;p2"/>
            <p:cNvSpPr/>
            <p:nvPr/>
          </p:nvSpPr>
          <p:spPr>
            <a:xfrm>
              <a:off x="4241800" y="4503738"/>
              <a:ext cx="142875" cy="160337"/>
            </a:xfrm>
            <a:custGeom>
              <a:avLst/>
              <a:gdLst/>
              <a:ahLst/>
              <a:cxnLst/>
              <a:rect l="l" t="t" r="r" b="b"/>
              <a:pathLst>
                <a:path w="396" h="444" extrusionOk="0">
                  <a:moveTo>
                    <a:pt x="285" y="217"/>
                  </a:moveTo>
                  <a:cubicBezTo>
                    <a:pt x="259" y="237"/>
                    <a:pt x="206" y="237"/>
                    <a:pt x="160" y="245"/>
                  </a:cubicBezTo>
                  <a:cubicBezTo>
                    <a:pt x="115" y="254"/>
                    <a:pt x="76" y="271"/>
                    <a:pt x="76" y="322"/>
                  </a:cubicBezTo>
                  <a:cubicBezTo>
                    <a:pt x="76" y="367"/>
                    <a:pt x="115" y="384"/>
                    <a:pt x="158" y="384"/>
                  </a:cubicBezTo>
                  <a:cubicBezTo>
                    <a:pt x="248" y="384"/>
                    <a:pt x="285" y="327"/>
                    <a:pt x="285" y="288"/>
                  </a:cubicBezTo>
                  <a:lnTo>
                    <a:pt x="285" y="217"/>
                  </a:lnTo>
                  <a:close/>
                  <a:moveTo>
                    <a:pt x="344" y="443"/>
                  </a:moveTo>
                  <a:cubicBezTo>
                    <a:pt x="307" y="443"/>
                    <a:pt x="285" y="423"/>
                    <a:pt x="285" y="378"/>
                  </a:cubicBezTo>
                  <a:cubicBezTo>
                    <a:pt x="245" y="423"/>
                    <a:pt x="194" y="443"/>
                    <a:pt x="138" y="443"/>
                  </a:cubicBezTo>
                  <a:cubicBezTo>
                    <a:pt x="62" y="443"/>
                    <a:pt x="0" y="409"/>
                    <a:pt x="0" y="324"/>
                  </a:cubicBezTo>
                  <a:cubicBezTo>
                    <a:pt x="0" y="229"/>
                    <a:pt x="70" y="209"/>
                    <a:pt x="141" y="195"/>
                  </a:cubicBezTo>
                  <a:cubicBezTo>
                    <a:pt x="217" y="181"/>
                    <a:pt x="282" y="186"/>
                    <a:pt x="282" y="133"/>
                  </a:cubicBezTo>
                  <a:cubicBezTo>
                    <a:pt x="282" y="73"/>
                    <a:pt x="231" y="62"/>
                    <a:pt x="189" y="62"/>
                  </a:cubicBezTo>
                  <a:cubicBezTo>
                    <a:pt x="129" y="62"/>
                    <a:pt x="87" y="79"/>
                    <a:pt x="84" y="141"/>
                  </a:cubicBezTo>
                  <a:lnTo>
                    <a:pt x="17" y="141"/>
                  </a:lnTo>
                  <a:cubicBezTo>
                    <a:pt x="19" y="37"/>
                    <a:pt x="101" y="0"/>
                    <a:pt x="194" y="0"/>
                  </a:cubicBezTo>
                  <a:cubicBezTo>
                    <a:pt x="271" y="0"/>
                    <a:pt x="352" y="17"/>
                    <a:pt x="352" y="116"/>
                  </a:cubicBezTo>
                  <a:lnTo>
                    <a:pt x="352" y="330"/>
                  </a:lnTo>
                  <a:cubicBezTo>
                    <a:pt x="352" y="361"/>
                    <a:pt x="352" y="378"/>
                    <a:pt x="375" y="378"/>
                  </a:cubicBezTo>
                  <a:cubicBezTo>
                    <a:pt x="381" y="378"/>
                    <a:pt x="386" y="378"/>
                    <a:pt x="395" y="375"/>
                  </a:cubicBezTo>
                  <a:lnTo>
                    <a:pt x="395" y="432"/>
                  </a:lnTo>
                  <a:cubicBezTo>
                    <a:pt x="383" y="440"/>
                    <a:pt x="366" y="443"/>
                    <a:pt x="344" y="443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8" name="Google Shape;758;p2"/>
            <p:cNvSpPr/>
            <p:nvPr/>
          </p:nvSpPr>
          <p:spPr>
            <a:xfrm>
              <a:off x="4400550" y="4451350"/>
              <a:ext cx="25400" cy="207963"/>
            </a:xfrm>
            <a:custGeom>
              <a:avLst/>
              <a:gdLst/>
              <a:ahLst/>
              <a:cxnLst/>
              <a:rect l="l" t="t" r="r" b="b"/>
              <a:pathLst>
                <a:path w="69" h="579" extrusionOk="0">
                  <a:moveTo>
                    <a:pt x="0" y="578"/>
                  </a:moveTo>
                  <a:lnTo>
                    <a:pt x="68" y="578"/>
                  </a:lnTo>
                  <a:lnTo>
                    <a:pt x="68" y="0"/>
                  </a:lnTo>
                  <a:lnTo>
                    <a:pt x="0" y="0"/>
                  </a:lnTo>
                  <a:lnTo>
                    <a:pt x="0" y="578"/>
                  </a:lnTo>
                </a:path>
              </a:pathLst>
            </a:custGeom>
            <a:solidFill>
              <a:srgbClr val="231F2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9" name="Google Shape;759;p2"/>
            <p:cNvSpPr/>
            <p:nvPr/>
          </p:nvSpPr>
          <p:spPr>
            <a:xfrm>
              <a:off x="4927600" y="4046538"/>
              <a:ext cx="155575" cy="260350"/>
            </a:xfrm>
            <a:custGeom>
              <a:avLst/>
              <a:gdLst/>
              <a:ahLst/>
              <a:cxnLst/>
              <a:rect l="l" t="t" r="r" b="b"/>
              <a:pathLst>
                <a:path w="433" h="722" extrusionOk="0">
                  <a:moveTo>
                    <a:pt x="0" y="0"/>
                  </a:moveTo>
                  <a:lnTo>
                    <a:pt x="432" y="434"/>
                  </a:lnTo>
                  <a:lnTo>
                    <a:pt x="432" y="721"/>
                  </a:lnTo>
                  <a:lnTo>
                    <a:pt x="0" y="288"/>
                  </a:lnTo>
                  <a:lnTo>
                    <a:pt x="0" y="0"/>
                  </a:lnTo>
                </a:path>
              </a:pathLst>
            </a:custGeom>
            <a:solidFill>
              <a:srgbClr val="EE31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0" name="Google Shape;760;p2"/>
            <p:cNvSpPr/>
            <p:nvPr/>
          </p:nvSpPr>
          <p:spPr>
            <a:xfrm>
              <a:off x="4719638" y="3943350"/>
              <a:ext cx="207962" cy="207963"/>
            </a:xfrm>
            <a:custGeom>
              <a:avLst/>
              <a:gdLst/>
              <a:ahLst/>
              <a:cxnLst/>
              <a:rect l="l" t="t" r="r" b="b"/>
              <a:pathLst>
                <a:path w="579" h="577" extrusionOk="0">
                  <a:moveTo>
                    <a:pt x="291" y="0"/>
                  </a:moveTo>
                  <a:lnTo>
                    <a:pt x="578" y="288"/>
                  </a:lnTo>
                  <a:lnTo>
                    <a:pt x="578" y="576"/>
                  </a:lnTo>
                  <a:lnTo>
                    <a:pt x="291" y="288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291" y="0"/>
                  </a:lnTo>
                </a:path>
              </a:pathLst>
            </a:custGeom>
            <a:solidFill>
              <a:srgbClr val="8C200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1" name="Google Shape;761;p2"/>
            <p:cNvSpPr/>
            <p:nvPr/>
          </p:nvSpPr>
          <p:spPr>
            <a:xfrm>
              <a:off x="4564063" y="4046538"/>
              <a:ext cx="155575" cy="260350"/>
            </a:xfrm>
            <a:custGeom>
              <a:avLst/>
              <a:gdLst/>
              <a:ahLst/>
              <a:cxnLst/>
              <a:rect l="l" t="t" r="r" b="b"/>
              <a:pathLst>
                <a:path w="433" h="722" extrusionOk="0">
                  <a:moveTo>
                    <a:pt x="432" y="288"/>
                  </a:moveTo>
                  <a:lnTo>
                    <a:pt x="0" y="721"/>
                  </a:lnTo>
                  <a:lnTo>
                    <a:pt x="0" y="434"/>
                  </a:lnTo>
                  <a:lnTo>
                    <a:pt x="432" y="0"/>
                  </a:lnTo>
                  <a:lnTo>
                    <a:pt x="432" y="288"/>
                  </a:lnTo>
                </a:path>
              </a:pathLst>
            </a:custGeom>
            <a:solidFill>
              <a:srgbClr val="EE31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2" name="Google Shape;762;p2"/>
            <p:cNvSpPr/>
            <p:nvPr/>
          </p:nvSpPr>
          <p:spPr>
            <a:xfrm>
              <a:off x="4824413" y="4305300"/>
              <a:ext cx="258762" cy="207963"/>
            </a:xfrm>
            <a:custGeom>
              <a:avLst/>
              <a:gdLst/>
              <a:ahLst/>
              <a:cxnLst/>
              <a:rect l="l" t="t" r="r" b="b"/>
              <a:pathLst>
                <a:path w="720" h="576" extrusionOk="0">
                  <a:moveTo>
                    <a:pt x="431" y="575"/>
                  </a:moveTo>
                  <a:lnTo>
                    <a:pt x="0" y="144"/>
                  </a:lnTo>
                  <a:lnTo>
                    <a:pt x="143" y="0"/>
                  </a:lnTo>
                  <a:lnTo>
                    <a:pt x="431" y="288"/>
                  </a:lnTo>
                  <a:lnTo>
                    <a:pt x="719" y="0"/>
                  </a:lnTo>
                  <a:lnTo>
                    <a:pt x="719" y="288"/>
                  </a:lnTo>
                  <a:lnTo>
                    <a:pt x="431" y="575"/>
                  </a:lnTo>
                </a:path>
              </a:pathLst>
            </a:custGeom>
            <a:solidFill>
              <a:srgbClr val="EE31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3" name="Google Shape;763;p2"/>
            <p:cNvSpPr/>
            <p:nvPr/>
          </p:nvSpPr>
          <p:spPr>
            <a:xfrm>
              <a:off x="4719638" y="4149725"/>
              <a:ext cx="104775" cy="155575"/>
            </a:xfrm>
            <a:custGeom>
              <a:avLst/>
              <a:gdLst/>
              <a:ahLst/>
              <a:cxnLst/>
              <a:rect l="l" t="t" r="r" b="b"/>
              <a:pathLst>
                <a:path w="292" h="434" extrusionOk="0">
                  <a:moveTo>
                    <a:pt x="147" y="433"/>
                  </a:moveTo>
                  <a:lnTo>
                    <a:pt x="0" y="290"/>
                  </a:lnTo>
                  <a:lnTo>
                    <a:pt x="0" y="0"/>
                  </a:lnTo>
                  <a:lnTo>
                    <a:pt x="291" y="290"/>
                  </a:lnTo>
                  <a:lnTo>
                    <a:pt x="147" y="433"/>
                  </a:lnTo>
                </a:path>
              </a:pathLst>
            </a:custGeom>
            <a:solidFill>
              <a:srgbClr val="EE31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4" name="Google Shape;764;p2"/>
            <p:cNvSpPr/>
            <p:nvPr/>
          </p:nvSpPr>
          <p:spPr>
            <a:xfrm>
              <a:off x="4772025" y="4254500"/>
              <a:ext cx="103188" cy="103188"/>
            </a:xfrm>
            <a:custGeom>
              <a:avLst/>
              <a:gdLst/>
              <a:ahLst/>
              <a:cxnLst/>
              <a:rect l="l" t="t" r="r" b="b"/>
              <a:pathLst>
                <a:path w="288" h="288" extrusionOk="0">
                  <a:moveTo>
                    <a:pt x="0" y="143"/>
                  </a:moveTo>
                  <a:lnTo>
                    <a:pt x="144" y="0"/>
                  </a:lnTo>
                  <a:lnTo>
                    <a:pt x="287" y="143"/>
                  </a:lnTo>
                  <a:lnTo>
                    <a:pt x="144" y="287"/>
                  </a:lnTo>
                  <a:lnTo>
                    <a:pt x="0" y="143"/>
                  </a:lnTo>
                </a:path>
              </a:pathLst>
            </a:custGeom>
            <a:solidFill>
              <a:srgbClr val="8C200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5" name="Google Shape;765;p2"/>
            <p:cNvSpPr/>
            <p:nvPr/>
          </p:nvSpPr>
          <p:spPr>
            <a:xfrm>
              <a:off x="4824413" y="4149725"/>
              <a:ext cx="103187" cy="155575"/>
            </a:xfrm>
            <a:custGeom>
              <a:avLst/>
              <a:gdLst/>
              <a:ahLst/>
              <a:cxnLst/>
              <a:rect l="l" t="t" r="r" b="b"/>
              <a:pathLst>
                <a:path w="288" h="434" extrusionOk="0">
                  <a:moveTo>
                    <a:pt x="0" y="290"/>
                  </a:moveTo>
                  <a:lnTo>
                    <a:pt x="287" y="0"/>
                  </a:lnTo>
                  <a:lnTo>
                    <a:pt x="287" y="290"/>
                  </a:lnTo>
                  <a:lnTo>
                    <a:pt x="143" y="433"/>
                  </a:lnTo>
                  <a:lnTo>
                    <a:pt x="0" y="290"/>
                  </a:lnTo>
                </a:path>
              </a:pathLst>
            </a:custGeom>
            <a:solidFill>
              <a:srgbClr val="EE31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6" name="Google Shape;766;p2"/>
            <p:cNvSpPr/>
            <p:nvPr/>
          </p:nvSpPr>
          <p:spPr>
            <a:xfrm>
              <a:off x="4564063" y="4305300"/>
              <a:ext cx="260350" cy="207963"/>
            </a:xfrm>
            <a:custGeom>
              <a:avLst/>
              <a:gdLst/>
              <a:ahLst/>
              <a:cxnLst/>
              <a:rect l="l" t="t" r="r" b="b"/>
              <a:pathLst>
                <a:path w="724" h="576" extrusionOk="0">
                  <a:moveTo>
                    <a:pt x="288" y="575"/>
                  </a:moveTo>
                  <a:lnTo>
                    <a:pt x="0" y="288"/>
                  </a:lnTo>
                  <a:lnTo>
                    <a:pt x="0" y="0"/>
                  </a:lnTo>
                  <a:lnTo>
                    <a:pt x="288" y="288"/>
                  </a:lnTo>
                  <a:lnTo>
                    <a:pt x="579" y="0"/>
                  </a:lnTo>
                  <a:lnTo>
                    <a:pt x="723" y="144"/>
                  </a:lnTo>
                  <a:lnTo>
                    <a:pt x="288" y="575"/>
                  </a:lnTo>
                </a:path>
              </a:pathLst>
            </a:custGeom>
            <a:solidFill>
              <a:srgbClr val="EE31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7" name="Google Shape;767;p2"/>
            <p:cNvSpPr/>
            <p:nvPr/>
          </p:nvSpPr>
          <p:spPr>
            <a:xfrm>
              <a:off x="3241675" y="4202113"/>
              <a:ext cx="180975" cy="209550"/>
            </a:xfrm>
            <a:custGeom>
              <a:avLst/>
              <a:gdLst/>
              <a:ahLst/>
              <a:cxnLst/>
              <a:rect l="l" t="t" r="r" b="b"/>
              <a:pathLst>
                <a:path w="503" h="581" extrusionOk="0">
                  <a:moveTo>
                    <a:pt x="127" y="260"/>
                  </a:moveTo>
                  <a:lnTo>
                    <a:pt x="265" y="260"/>
                  </a:lnTo>
                  <a:cubicBezTo>
                    <a:pt x="322" y="260"/>
                    <a:pt x="353" y="234"/>
                    <a:pt x="353" y="178"/>
                  </a:cubicBezTo>
                  <a:cubicBezTo>
                    <a:pt x="353" y="122"/>
                    <a:pt x="322" y="99"/>
                    <a:pt x="265" y="99"/>
                  </a:cubicBezTo>
                  <a:lnTo>
                    <a:pt x="127" y="99"/>
                  </a:lnTo>
                  <a:lnTo>
                    <a:pt x="127" y="260"/>
                  </a:lnTo>
                  <a:close/>
                  <a:moveTo>
                    <a:pt x="0" y="0"/>
                  </a:moveTo>
                  <a:lnTo>
                    <a:pt x="313" y="0"/>
                  </a:lnTo>
                  <a:cubicBezTo>
                    <a:pt x="418" y="0"/>
                    <a:pt x="483" y="74"/>
                    <a:pt x="483" y="161"/>
                  </a:cubicBezTo>
                  <a:cubicBezTo>
                    <a:pt x="483" y="229"/>
                    <a:pt x="454" y="279"/>
                    <a:pt x="392" y="304"/>
                  </a:cubicBezTo>
                  <a:lnTo>
                    <a:pt x="392" y="307"/>
                  </a:lnTo>
                  <a:cubicBezTo>
                    <a:pt x="454" y="324"/>
                    <a:pt x="471" y="383"/>
                    <a:pt x="477" y="442"/>
                  </a:cubicBezTo>
                  <a:cubicBezTo>
                    <a:pt x="480" y="479"/>
                    <a:pt x="480" y="546"/>
                    <a:pt x="502" y="580"/>
                  </a:cubicBezTo>
                  <a:lnTo>
                    <a:pt x="375" y="580"/>
                  </a:lnTo>
                  <a:cubicBezTo>
                    <a:pt x="361" y="544"/>
                    <a:pt x="361" y="487"/>
                    <a:pt x="356" y="442"/>
                  </a:cubicBezTo>
                  <a:cubicBezTo>
                    <a:pt x="342" y="377"/>
                    <a:pt x="319" y="349"/>
                    <a:pt x="254" y="349"/>
                  </a:cubicBezTo>
                  <a:lnTo>
                    <a:pt x="127" y="349"/>
                  </a:lnTo>
                  <a:lnTo>
                    <a:pt x="127" y="575"/>
                  </a:lnTo>
                  <a:lnTo>
                    <a:pt x="0" y="5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68" name="Google Shape;768;p2"/>
          <p:cNvSpPr txBox="1"/>
          <p:nvPr/>
        </p:nvSpPr>
        <p:spPr>
          <a:xfrm>
            <a:off x="1663650" y="4141787"/>
            <a:ext cx="1686900" cy="40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Name </a:t>
            </a:r>
            <a:r>
              <a: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Name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333032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769" name="Google Shape;769;p2"/>
          <p:cNvSpPr txBox="1"/>
          <p:nvPr/>
        </p:nvSpPr>
        <p:spPr>
          <a:xfrm>
            <a:off x="5250917" y="4196264"/>
            <a:ext cx="1686900" cy="40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Name </a:t>
            </a:r>
            <a:r>
              <a: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Name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333032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771" name="Google Shape;771;p2"/>
          <p:cNvSpPr txBox="1"/>
          <p:nvPr/>
        </p:nvSpPr>
        <p:spPr>
          <a:xfrm>
            <a:off x="8310875" y="4141787"/>
            <a:ext cx="1686900" cy="40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Name </a:t>
            </a:r>
            <a:r>
              <a: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Name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333032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772" name="Google Shape;772;p2"/>
          <p:cNvPicPr preferRelativeResize="0"/>
          <p:nvPr/>
        </p:nvPicPr>
        <p:blipFill>
          <a:blip r:embed="rId3"/>
          <a:srcRect/>
          <a:stretch/>
        </p:blipFill>
        <p:spPr>
          <a:xfrm>
            <a:off x="1363900" y="1843375"/>
            <a:ext cx="2058000" cy="20580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773" name="Google Shape;773;p2"/>
          <p:cNvPicPr preferRelativeResize="0"/>
          <p:nvPr/>
        </p:nvPicPr>
        <p:blipFill rotWithShape="1">
          <a:blip r:embed="rId4">
            <a:alphaModFix/>
          </a:blip>
          <a:srcRect l="8296" r="7043"/>
          <a:stretch/>
        </p:blipFill>
        <p:spPr>
          <a:xfrm>
            <a:off x="8187575" y="1966375"/>
            <a:ext cx="1933500" cy="19785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65" name="Google Shape;719;p2">
            <a:extLst>
              <a:ext uri="{FF2B5EF4-FFF2-40B4-BE49-F238E27FC236}">
                <a16:creationId xmlns:a16="http://schemas.microsoft.com/office/drawing/2014/main" id="{EA9FAB05-D00E-454F-98DD-2EB5F9E6C2D7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457105" y="4746373"/>
            <a:ext cx="1394446" cy="407826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Google Shape;719;p2">
            <a:extLst>
              <a:ext uri="{FF2B5EF4-FFF2-40B4-BE49-F238E27FC236}">
                <a16:creationId xmlns:a16="http://schemas.microsoft.com/office/drawing/2014/main" id="{03536299-FF35-4F86-A95B-3A511C000542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695677" y="4831103"/>
            <a:ext cx="1394446" cy="40782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Google Shape;772;p2">
            <a:extLst>
              <a:ext uri="{FF2B5EF4-FFF2-40B4-BE49-F238E27FC236}">
                <a16:creationId xmlns:a16="http://schemas.microsoft.com/office/drawing/2014/main" id="{68712DB1-36FF-4932-B431-906896E87017}"/>
              </a:ext>
            </a:extLst>
          </p:cNvPr>
          <p:cNvPicPr preferRelativeResize="0"/>
          <p:nvPr/>
        </p:nvPicPr>
        <p:blipFill>
          <a:blip r:embed="rId6"/>
          <a:srcRect/>
          <a:stretch/>
        </p:blipFill>
        <p:spPr>
          <a:xfrm>
            <a:off x="4915963" y="1843375"/>
            <a:ext cx="2055854" cy="20580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68" name="Google Shape;719;p2">
            <a:extLst>
              <a:ext uri="{FF2B5EF4-FFF2-40B4-BE49-F238E27FC236}">
                <a16:creationId xmlns:a16="http://schemas.microsoft.com/office/drawing/2014/main" id="{14DE6DB2-9EF2-44A3-9DA4-9F3D99A36E9E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461998" y="4844376"/>
            <a:ext cx="1394446" cy="40782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5EF6905-4D26-450B-870C-4B16FAF3DD6E}"/>
              </a:ext>
            </a:extLst>
          </p:cNvPr>
          <p:cNvSpPr/>
          <p:nvPr/>
        </p:nvSpPr>
        <p:spPr>
          <a:xfrm>
            <a:off x="4181576" y="799616"/>
            <a:ext cx="42755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AMPLE: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MISSION PORTFOLIO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3124"/>
        </a:solidFill>
        <a:effectLst/>
      </p:bgPr>
    </p:bg>
    <p:spTree>
      <p:nvGrpSpPr>
        <p:cNvPr id="1" name="Shape 7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5" name="Google Shape;785;p3"/>
          <p:cNvSpPr txBox="1"/>
          <p:nvPr/>
        </p:nvSpPr>
        <p:spPr>
          <a:xfrm>
            <a:off x="352901" y="3080083"/>
            <a:ext cx="5520000" cy="13282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33032"/>
              </a:buClr>
              <a:buSzPts val="3200"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OUR CHALLENGE</a:t>
            </a: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333032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333032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786" name="Google Shape;786;p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entury Gothic"/>
              <a:buNone/>
            </a:pPr>
            <a:r>
              <a:rPr lang="en-US" sz="1400"/>
              <a:t>ABOUT THE </a:t>
            </a:r>
            <a:r>
              <a:rPr lang="en-US" sz="1400" b="1"/>
              <a:t>CHALLENGE</a:t>
            </a:r>
            <a:endParaRPr sz="1400" b="1"/>
          </a:p>
        </p:txBody>
      </p:sp>
      <p:sp>
        <p:nvSpPr>
          <p:cNvPr id="787" name="Google Shape;787;p3"/>
          <p:cNvSpPr txBox="1"/>
          <p:nvPr/>
        </p:nvSpPr>
        <p:spPr>
          <a:xfrm>
            <a:off x="6319100" y="1173326"/>
            <a:ext cx="5520000" cy="472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C0C0C"/>
              </a:buClr>
              <a:buSzPts val="1800"/>
              <a:buFont typeface="Courier New"/>
              <a:buNone/>
              <a:tabLst/>
              <a:defRPr/>
            </a:pPr>
            <a:endParaRPr kumimoji="0" sz="3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-539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100"/>
              <a:buFont typeface="Courier New"/>
              <a:buChar char="o"/>
              <a:tabLst/>
              <a:defRPr/>
            </a:pPr>
            <a:r>
              <a:rPr kumimoji="0" lang="en-US" sz="3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Paste your chosen challenge</a:t>
            </a:r>
            <a:endParaRPr kumimoji="0" sz="3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2A1E42F-BC51-40AC-B0D3-E0771ED6A73B}"/>
              </a:ext>
            </a:extLst>
          </p:cNvPr>
          <p:cNvSpPr/>
          <p:nvPr/>
        </p:nvSpPr>
        <p:spPr>
          <a:xfrm>
            <a:off x="281384" y="958334"/>
            <a:ext cx="43652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AMPLE: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MISSION CHALLENG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</p:cSld>
  <p:clrMapOvr>
    <a:masterClrMapping/>
  </p:clrMapOvr>
  <p:transition spd="slow">
    <p:push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4" name="Google Shape;804;p8"/>
          <p:cNvSpPr txBox="1">
            <a:spLocks noGrp="1"/>
          </p:cNvSpPr>
          <p:nvPr>
            <p:ph type="title"/>
          </p:nvPr>
        </p:nvSpPr>
        <p:spPr>
          <a:xfrm>
            <a:off x="336381" y="25395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</a:pPr>
            <a:r>
              <a:rPr lang="en-US"/>
              <a:t>SUMMARY OF INSIGHTS</a:t>
            </a:r>
            <a:endParaRPr/>
          </a:p>
        </p:txBody>
      </p:sp>
      <p:pic>
        <p:nvPicPr>
          <p:cNvPr id="805" name="Google Shape;805;p8"/>
          <p:cNvPicPr preferRelativeResize="0"/>
          <p:nvPr/>
        </p:nvPicPr>
        <p:blipFill rotWithShape="1">
          <a:blip r:embed="rId4">
            <a:alphaModFix/>
          </a:blip>
          <a:srcRect l="6701" t="8023" r="7054" b="9256"/>
          <a:stretch/>
        </p:blipFill>
        <p:spPr>
          <a:xfrm>
            <a:off x="544585" y="568756"/>
            <a:ext cx="10515600" cy="5672700"/>
          </a:xfrm>
          <a:prstGeom prst="roundRect">
            <a:avLst>
              <a:gd name="adj" fmla="val 27014"/>
            </a:avLst>
          </a:prstGeom>
          <a:noFill/>
          <a:ln>
            <a:noFill/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4030C40-3576-40B2-9497-742293E4C15E}"/>
              </a:ext>
            </a:extLst>
          </p:cNvPr>
          <p:cNvSpPr/>
          <p:nvPr/>
        </p:nvSpPr>
        <p:spPr>
          <a:xfrm>
            <a:off x="3958235" y="220147"/>
            <a:ext cx="44165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AMPLE: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MISSION OF FINDING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Ellipse 8">
            <a:extLst>
              <a:ext uri="{FF2B5EF4-FFF2-40B4-BE49-F238E27FC236}">
                <a16:creationId xmlns:a16="http://schemas.microsoft.com/office/drawing/2014/main" id="{5FB29D91-66DF-4DEE-90A2-EB581DF916C2}"/>
              </a:ext>
            </a:extLst>
          </p:cNvPr>
          <p:cNvSpPr/>
          <p:nvPr/>
        </p:nvSpPr>
        <p:spPr>
          <a:xfrm>
            <a:off x="10776042" y="242160"/>
            <a:ext cx="785630" cy="78563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0873929-5A55-4E53-998C-61E3ED582FB0}"/>
              </a:ext>
            </a:extLst>
          </p:cNvPr>
          <p:cNvSpPr txBox="1"/>
          <p:nvPr/>
        </p:nvSpPr>
        <p:spPr>
          <a:xfrm>
            <a:off x="1795244" y="1300294"/>
            <a:ext cx="21629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br>
              <a:rPr lang="en-US"/>
            </a:br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2AF03C4-0466-42DB-8561-CD4A94333A57}"/>
              </a:ext>
            </a:extLst>
          </p:cNvPr>
          <p:cNvSpPr/>
          <p:nvPr/>
        </p:nvSpPr>
        <p:spPr>
          <a:xfrm>
            <a:off x="3048000" y="3105835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E3DC418-02B4-4FB3-9403-3C57FFC69BD1}"/>
              </a:ext>
            </a:extLst>
          </p:cNvPr>
          <p:cNvSpPr/>
          <p:nvPr/>
        </p:nvSpPr>
        <p:spPr>
          <a:xfrm>
            <a:off x="3048000" y="3105835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br>
              <a:rPr lang="en-US"/>
            </a:br>
            <a:endParaRPr lang="en-US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AAD2A1C-ED08-4702-BB9E-0395F2C78B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913" y="689393"/>
            <a:ext cx="10064326" cy="6043355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935F328-908B-45B8-88EE-84B05A5E5E3A}"/>
              </a:ext>
            </a:extLst>
          </p:cNvPr>
          <p:cNvSpPr txBox="1">
            <a:spLocks/>
          </p:cNvSpPr>
          <p:nvPr/>
        </p:nvSpPr>
        <p:spPr>
          <a:xfrm>
            <a:off x="10561320" y="3187700"/>
            <a:ext cx="1723524" cy="4826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E63022"/>
                </a:solidFill>
                <a:effectLst/>
                <a:uLnTx/>
                <a:uFillTx/>
                <a:latin typeface="Century Gothic" charset="0"/>
              </a:rPr>
              <a:t>EMPATHY MAP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9A52D0B-966E-47F8-9090-8B12FB5336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: </a:t>
            </a:r>
            <a:r>
              <a:rPr lang="en-US" b="1"/>
              <a:t>SUBMISSION EMPATHY MAP</a:t>
            </a:r>
            <a:endParaRPr lang="en-US"/>
          </a:p>
        </p:txBody>
      </p:sp>
      <p:sp>
        <p:nvSpPr>
          <p:cNvPr id="5" name="Ellipse 8">
            <a:extLst>
              <a:ext uri="{FF2B5EF4-FFF2-40B4-BE49-F238E27FC236}">
                <a16:creationId xmlns:a16="http://schemas.microsoft.com/office/drawing/2014/main" id="{AFF7C0C9-BC1A-4E19-8095-7CD0D203E9BF}"/>
              </a:ext>
            </a:extLst>
          </p:cNvPr>
          <p:cNvSpPr/>
          <p:nvPr/>
        </p:nvSpPr>
        <p:spPr>
          <a:xfrm>
            <a:off x="10637452" y="404813"/>
            <a:ext cx="785630" cy="78563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1419407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: </a:t>
            </a:r>
            <a:r>
              <a:rPr lang="en-US" b="1"/>
              <a:t>SUBMISSION EMPATHY MAP</a:t>
            </a:r>
            <a:endParaRPr lang="en-US"/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10511447" y="5890558"/>
            <a:ext cx="265454" cy="293270"/>
            <a:chOff x="4575175" y="2097088"/>
            <a:chExt cx="530225" cy="585787"/>
          </a:xfrm>
          <a:solidFill>
            <a:schemeClr val="tx1"/>
          </a:solidFill>
        </p:grpSpPr>
        <p:sp>
          <p:nvSpPr>
            <p:cNvPr id="5" name="Freeform 23"/>
            <p:cNvSpPr>
              <a:spLocks noChangeArrowheads="1"/>
            </p:cNvSpPr>
            <p:nvPr/>
          </p:nvSpPr>
          <p:spPr bwMode="auto">
            <a:xfrm>
              <a:off x="4575175" y="2097088"/>
              <a:ext cx="530225" cy="585787"/>
            </a:xfrm>
            <a:custGeom>
              <a:avLst/>
              <a:gdLst>
                <a:gd name="T0" fmla="*/ 1403 w 1475"/>
                <a:gd name="T1" fmla="*/ 567 h 1628"/>
                <a:gd name="T2" fmla="*/ 1084 w 1475"/>
                <a:gd name="T3" fmla="*/ 1353 h 1628"/>
                <a:gd name="T4" fmla="*/ 1084 w 1475"/>
                <a:gd name="T5" fmla="*/ 1370 h 1628"/>
                <a:gd name="T6" fmla="*/ 1208 w 1475"/>
                <a:gd name="T7" fmla="*/ 1401 h 1628"/>
                <a:gd name="T8" fmla="*/ 1200 w 1475"/>
                <a:gd name="T9" fmla="*/ 1460 h 1628"/>
                <a:gd name="T10" fmla="*/ 1025 w 1475"/>
                <a:gd name="T11" fmla="*/ 1412 h 1628"/>
                <a:gd name="T12" fmla="*/ 1081 w 1475"/>
                <a:gd name="T13" fmla="*/ 1593 h 1628"/>
                <a:gd name="T14" fmla="*/ 968 w 1475"/>
                <a:gd name="T15" fmla="*/ 1441 h 1628"/>
                <a:gd name="T16" fmla="*/ 904 w 1475"/>
                <a:gd name="T17" fmla="*/ 1610 h 1628"/>
                <a:gd name="T18" fmla="*/ 850 w 1475"/>
                <a:gd name="T19" fmla="*/ 1596 h 1628"/>
                <a:gd name="T20" fmla="*/ 904 w 1475"/>
                <a:gd name="T21" fmla="*/ 1463 h 1628"/>
                <a:gd name="T22" fmla="*/ 889 w 1475"/>
                <a:gd name="T23" fmla="*/ 1452 h 1628"/>
                <a:gd name="T24" fmla="*/ 71 w 1475"/>
                <a:gd name="T25" fmla="*/ 1240 h 1628"/>
                <a:gd name="T26" fmla="*/ 263 w 1475"/>
                <a:gd name="T27" fmla="*/ 496 h 1628"/>
                <a:gd name="T28" fmla="*/ 266 w 1475"/>
                <a:gd name="T29" fmla="*/ 494 h 1628"/>
                <a:gd name="T30" fmla="*/ 175 w 1475"/>
                <a:gd name="T31" fmla="*/ 175 h 1628"/>
                <a:gd name="T32" fmla="*/ 198 w 1475"/>
                <a:gd name="T33" fmla="*/ 138 h 1628"/>
                <a:gd name="T34" fmla="*/ 362 w 1475"/>
                <a:gd name="T35" fmla="*/ 152 h 1628"/>
                <a:gd name="T36" fmla="*/ 446 w 1475"/>
                <a:gd name="T37" fmla="*/ 11 h 1628"/>
                <a:gd name="T38" fmla="*/ 497 w 1475"/>
                <a:gd name="T39" fmla="*/ 31 h 1628"/>
                <a:gd name="T40" fmla="*/ 695 w 1475"/>
                <a:gd name="T41" fmla="*/ 276 h 1628"/>
                <a:gd name="T42" fmla="*/ 1349 w 1475"/>
                <a:gd name="T43" fmla="*/ 595 h 1628"/>
                <a:gd name="T44" fmla="*/ 991 w 1475"/>
                <a:gd name="T45" fmla="*/ 344 h 1628"/>
                <a:gd name="T46" fmla="*/ 991 w 1475"/>
                <a:gd name="T47" fmla="*/ 344 h 1628"/>
                <a:gd name="T48" fmla="*/ 991 w 1475"/>
                <a:gd name="T49" fmla="*/ 344 h 1628"/>
                <a:gd name="T50" fmla="*/ 633 w 1475"/>
                <a:gd name="T51" fmla="*/ 347 h 1628"/>
                <a:gd name="T52" fmla="*/ 573 w 1475"/>
                <a:gd name="T53" fmla="*/ 313 h 1628"/>
                <a:gd name="T54" fmla="*/ 475 w 1475"/>
                <a:gd name="T55" fmla="*/ 214 h 1628"/>
                <a:gd name="T56" fmla="*/ 469 w 1475"/>
                <a:gd name="T57" fmla="*/ 203 h 1628"/>
                <a:gd name="T58" fmla="*/ 463 w 1475"/>
                <a:gd name="T59" fmla="*/ 194 h 1628"/>
                <a:gd name="T60" fmla="*/ 455 w 1475"/>
                <a:gd name="T61" fmla="*/ 180 h 1628"/>
                <a:gd name="T62" fmla="*/ 452 w 1475"/>
                <a:gd name="T63" fmla="*/ 172 h 1628"/>
                <a:gd name="T64" fmla="*/ 444 w 1475"/>
                <a:gd name="T65" fmla="*/ 147 h 1628"/>
                <a:gd name="T66" fmla="*/ 435 w 1475"/>
                <a:gd name="T67" fmla="*/ 115 h 1628"/>
                <a:gd name="T68" fmla="*/ 407 w 1475"/>
                <a:gd name="T69" fmla="*/ 206 h 1628"/>
                <a:gd name="T70" fmla="*/ 401 w 1475"/>
                <a:gd name="T71" fmla="*/ 223 h 1628"/>
                <a:gd name="T72" fmla="*/ 277 w 1475"/>
                <a:gd name="T73" fmla="*/ 203 h 1628"/>
                <a:gd name="T74" fmla="*/ 283 w 1475"/>
                <a:gd name="T75" fmla="*/ 226 h 1628"/>
                <a:gd name="T76" fmla="*/ 342 w 1475"/>
                <a:gd name="T77" fmla="*/ 431 h 1628"/>
                <a:gd name="T78" fmla="*/ 345 w 1475"/>
                <a:gd name="T79" fmla="*/ 496 h 1628"/>
                <a:gd name="T80" fmla="*/ 136 w 1475"/>
                <a:gd name="T81" fmla="*/ 772 h 1628"/>
                <a:gd name="T82" fmla="*/ 122 w 1475"/>
                <a:gd name="T83" fmla="*/ 1212 h 1628"/>
                <a:gd name="T84" fmla="*/ 175 w 1475"/>
                <a:gd name="T85" fmla="*/ 1291 h 1628"/>
                <a:gd name="T86" fmla="*/ 178 w 1475"/>
                <a:gd name="T87" fmla="*/ 1294 h 1628"/>
                <a:gd name="T88" fmla="*/ 579 w 1475"/>
                <a:gd name="T89" fmla="*/ 1449 h 1628"/>
                <a:gd name="T90" fmla="*/ 1318 w 1475"/>
                <a:gd name="T91" fmla="*/ 1020 h 1628"/>
                <a:gd name="T92" fmla="*/ 1389 w 1475"/>
                <a:gd name="T93" fmla="*/ 775 h 1628"/>
                <a:gd name="T94" fmla="*/ 1389 w 1475"/>
                <a:gd name="T95" fmla="*/ 749 h 1628"/>
                <a:gd name="T96" fmla="*/ 1389 w 1475"/>
                <a:gd name="T97" fmla="*/ 741 h 1628"/>
                <a:gd name="T98" fmla="*/ 1386 w 1475"/>
                <a:gd name="T99" fmla="*/ 718 h 1628"/>
                <a:gd name="T100" fmla="*/ 1380 w 1475"/>
                <a:gd name="T101" fmla="*/ 688 h 1628"/>
                <a:gd name="T102" fmla="*/ 1375 w 1475"/>
                <a:gd name="T103" fmla="*/ 657 h 1628"/>
                <a:gd name="T104" fmla="*/ 1372 w 1475"/>
                <a:gd name="T105" fmla="*/ 652 h 1628"/>
                <a:gd name="T106" fmla="*/ 1349 w 1475"/>
                <a:gd name="T107" fmla="*/ 595 h 1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75" h="1628">
                  <a:moveTo>
                    <a:pt x="1016" y="285"/>
                  </a:moveTo>
                  <a:cubicBezTo>
                    <a:pt x="1194" y="327"/>
                    <a:pt x="1335" y="431"/>
                    <a:pt x="1403" y="567"/>
                  </a:cubicBezTo>
                  <a:cubicBezTo>
                    <a:pt x="1474" y="704"/>
                    <a:pt x="1465" y="865"/>
                    <a:pt x="1386" y="1026"/>
                  </a:cubicBezTo>
                  <a:cubicBezTo>
                    <a:pt x="1316" y="1161"/>
                    <a:pt x="1211" y="1274"/>
                    <a:pt x="1084" y="1353"/>
                  </a:cubicBezTo>
                  <a:lnTo>
                    <a:pt x="1067" y="1364"/>
                  </a:lnTo>
                  <a:lnTo>
                    <a:pt x="1084" y="1370"/>
                  </a:lnTo>
                  <a:cubicBezTo>
                    <a:pt x="1121" y="1387"/>
                    <a:pt x="1160" y="1398"/>
                    <a:pt x="1200" y="1398"/>
                  </a:cubicBezTo>
                  <a:cubicBezTo>
                    <a:pt x="1203" y="1398"/>
                    <a:pt x="1205" y="1401"/>
                    <a:pt x="1208" y="1401"/>
                  </a:cubicBezTo>
                  <a:cubicBezTo>
                    <a:pt x="1225" y="1407"/>
                    <a:pt x="1234" y="1424"/>
                    <a:pt x="1228" y="1441"/>
                  </a:cubicBezTo>
                  <a:cubicBezTo>
                    <a:pt x="1225" y="1452"/>
                    <a:pt x="1214" y="1460"/>
                    <a:pt x="1200" y="1460"/>
                  </a:cubicBezTo>
                  <a:cubicBezTo>
                    <a:pt x="1149" y="1460"/>
                    <a:pt x="1101" y="1446"/>
                    <a:pt x="1056" y="1426"/>
                  </a:cubicBezTo>
                  <a:lnTo>
                    <a:pt x="1025" y="1412"/>
                  </a:lnTo>
                  <a:lnTo>
                    <a:pt x="1095" y="1551"/>
                  </a:lnTo>
                  <a:cubicBezTo>
                    <a:pt x="1104" y="1567"/>
                    <a:pt x="1095" y="1584"/>
                    <a:pt x="1081" y="1593"/>
                  </a:cubicBezTo>
                  <a:cubicBezTo>
                    <a:pt x="1064" y="1601"/>
                    <a:pt x="1047" y="1593"/>
                    <a:pt x="1039" y="1579"/>
                  </a:cubicBezTo>
                  <a:lnTo>
                    <a:pt x="968" y="1441"/>
                  </a:lnTo>
                  <a:lnTo>
                    <a:pt x="963" y="1474"/>
                  </a:lnTo>
                  <a:cubicBezTo>
                    <a:pt x="951" y="1522"/>
                    <a:pt x="932" y="1570"/>
                    <a:pt x="904" y="1610"/>
                  </a:cubicBezTo>
                  <a:cubicBezTo>
                    <a:pt x="895" y="1621"/>
                    <a:pt x="875" y="1627"/>
                    <a:pt x="861" y="1615"/>
                  </a:cubicBezTo>
                  <a:cubicBezTo>
                    <a:pt x="856" y="1610"/>
                    <a:pt x="850" y="1605"/>
                    <a:pt x="850" y="1596"/>
                  </a:cubicBezTo>
                  <a:cubicBezTo>
                    <a:pt x="850" y="1588"/>
                    <a:pt x="850" y="1579"/>
                    <a:pt x="856" y="1573"/>
                  </a:cubicBezTo>
                  <a:cubicBezTo>
                    <a:pt x="878" y="1539"/>
                    <a:pt x="895" y="1503"/>
                    <a:pt x="904" y="1463"/>
                  </a:cubicBezTo>
                  <a:lnTo>
                    <a:pt x="909" y="1443"/>
                  </a:lnTo>
                  <a:lnTo>
                    <a:pt x="889" y="1452"/>
                  </a:lnTo>
                  <a:cubicBezTo>
                    <a:pt x="751" y="1508"/>
                    <a:pt x="599" y="1522"/>
                    <a:pt x="449" y="1500"/>
                  </a:cubicBezTo>
                  <a:cubicBezTo>
                    <a:pt x="274" y="1469"/>
                    <a:pt x="139" y="1376"/>
                    <a:pt x="71" y="1240"/>
                  </a:cubicBezTo>
                  <a:cubicBezTo>
                    <a:pt x="0" y="1105"/>
                    <a:pt x="3" y="930"/>
                    <a:pt x="77" y="761"/>
                  </a:cubicBezTo>
                  <a:cubicBezTo>
                    <a:pt x="122" y="660"/>
                    <a:pt x="184" y="570"/>
                    <a:pt x="263" y="496"/>
                  </a:cubicBezTo>
                  <a:lnTo>
                    <a:pt x="266" y="496"/>
                  </a:lnTo>
                  <a:lnTo>
                    <a:pt x="266" y="494"/>
                  </a:lnTo>
                  <a:cubicBezTo>
                    <a:pt x="277" y="468"/>
                    <a:pt x="339" y="327"/>
                    <a:pt x="184" y="192"/>
                  </a:cubicBezTo>
                  <a:cubicBezTo>
                    <a:pt x="181" y="186"/>
                    <a:pt x="175" y="180"/>
                    <a:pt x="175" y="175"/>
                  </a:cubicBezTo>
                  <a:cubicBezTo>
                    <a:pt x="173" y="166"/>
                    <a:pt x="173" y="158"/>
                    <a:pt x="178" y="152"/>
                  </a:cubicBezTo>
                  <a:cubicBezTo>
                    <a:pt x="184" y="144"/>
                    <a:pt x="190" y="141"/>
                    <a:pt x="198" y="138"/>
                  </a:cubicBezTo>
                  <a:cubicBezTo>
                    <a:pt x="249" y="130"/>
                    <a:pt x="302" y="132"/>
                    <a:pt x="350" y="149"/>
                  </a:cubicBezTo>
                  <a:lnTo>
                    <a:pt x="362" y="152"/>
                  </a:lnTo>
                  <a:lnTo>
                    <a:pt x="365" y="141"/>
                  </a:lnTo>
                  <a:cubicBezTo>
                    <a:pt x="381" y="90"/>
                    <a:pt x="407" y="45"/>
                    <a:pt x="446" y="11"/>
                  </a:cubicBezTo>
                  <a:cubicBezTo>
                    <a:pt x="452" y="5"/>
                    <a:pt x="458" y="3"/>
                    <a:pt x="463" y="3"/>
                  </a:cubicBezTo>
                  <a:cubicBezTo>
                    <a:pt x="480" y="0"/>
                    <a:pt x="494" y="14"/>
                    <a:pt x="497" y="31"/>
                  </a:cubicBezTo>
                  <a:cubicBezTo>
                    <a:pt x="514" y="237"/>
                    <a:pt x="664" y="271"/>
                    <a:pt x="692" y="276"/>
                  </a:cubicBezTo>
                  <a:lnTo>
                    <a:pt x="695" y="276"/>
                  </a:lnTo>
                  <a:cubicBezTo>
                    <a:pt x="802" y="257"/>
                    <a:pt x="912" y="259"/>
                    <a:pt x="1016" y="285"/>
                  </a:cubicBezTo>
                  <a:close/>
                  <a:moveTo>
                    <a:pt x="1349" y="595"/>
                  </a:moveTo>
                  <a:cubicBezTo>
                    <a:pt x="1296" y="494"/>
                    <a:pt x="1205" y="417"/>
                    <a:pt x="1090" y="375"/>
                  </a:cubicBezTo>
                  <a:cubicBezTo>
                    <a:pt x="1056" y="361"/>
                    <a:pt x="1025" y="352"/>
                    <a:pt x="991" y="344"/>
                  </a:cubicBezTo>
                  <a:lnTo>
                    <a:pt x="991" y="344"/>
                  </a:lnTo>
                  <a:lnTo>
                    <a:pt x="991" y="344"/>
                  </a:lnTo>
                  <a:lnTo>
                    <a:pt x="991" y="344"/>
                  </a:lnTo>
                  <a:lnTo>
                    <a:pt x="991" y="344"/>
                  </a:lnTo>
                  <a:cubicBezTo>
                    <a:pt x="898" y="324"/>
                    <a:pt x="799" y="321"/>
                    <a:pt x="703" y="336"/>
                  </a:cubicBezTo>
                  <a:lnTo>
                    <a:pt x="633" y="347"/>
                  </a:lnTo>
                  <a:lnTo>
                    <a:pt x="630" y="347"/>
                  </a:lnTo>
                  <a:lnTo>
                    <a:pt x="573" y="313"/>
                  </a:lnTo>
                  <a:lnTo>
                    <a:pt x="554" y="299"/>
                  </a:lnTo>
                  <a:cubicBezTo>
                    <a:pt x="523" y="276"/>
                    <a:pt x="494" y="248"/>
                    <a:pt x="475" y="214"/>
                  </a:cubicBezTo>
                  <a:lnTo>
                    <a:pt x="475" y="214"/>
                  </a:lnTo>
                  <a:cubicBezTo>
                    <a:pt x="475" y="211"/>
                    <a:pt x="472" y="206"/>
                    <a:pt x="469" y="203"/>
                  </a:cubicBezTo>
                  <a:lnTo>
                    <a:pt x="469" y="203"/>
                  </a:lnTo>
                  <a:cubicBezTo>
                    <a:pt x="466" y="200"/>
                    <a:pt x="466" y="197"/>
                    <a:pt x="463" y="194"/>
                  </a:cubicBezTo>
                  <a:lnTo>
                    <a:pt x="463" y="194"/>
                  </a:lnTo>
                  <a:cubicBezTo>
                    <a:pt x="460" y="192"/>
                    <a:pt x="458" y="186"/>
                    <a:pt x="455" y="180"/>
                  </a:cubicBezTo>
                  <a:lnTo>
                    <a:pt x="455" y="180"/>
                  </a:lnTo>
                  <a:cubicBezTo>
                    <a:pt x="455" y="178"/>
                    <a:pt x="452" y="175"/>
                    <a:pt x="452" y="172"/>
                  </a:cubicBezTo>
                  <a:lnTo>
                    <a:pt x="452" y="172"/>
                  </a:lnTo>
                  <a:cubicBezTo>
                    <a:pt x="449" y="163"/>
                    <a:pt x="446" y="155"/>
                    <a:pt x="444" y="147"/>
                  </a:cubicBezTo>
                  <a:lnTo>
                    <a:pt x="444" y="147"/>
                  </a:lnTo>
                  <a:lnTo>
                    <a:pt x="435" y="115"/>
                  </a:lnTo>
                  <a:lnTo>
                    <a:pt x="421" y="144"/>
                  </a:lnTo>
                  <a:cubicBezTo>
                    <a:pt x="412" y="163"/>
                    <a:pt x="407" y="183"/>
                    <a:pt x="407" y="206"/>
                  </a:cubicBezTo>
                  <a:cubicBezTo>
                    <a:pt x="407" y="211"/>
                    <a:pt x="404" y="214"/>
                    <a:pt x="401" y="220"/>
                  </a:cubicBezTo>
                  <a:cubicBezTo>
                    <a:pt x="401" y="223"/>
                    <a:pt x="401" y="223"/>
                    <a:pt x="401" y="223"/>
                  </a:cubicBezTo>
                  <a:cubicBezTo>
                    <a:pt x="390" y="237"/>
                    <a:pt x="370" y="242"/>
                    <a:pt x="353" y="231"/>
                  </a:cubicBezTo>
                  <a:cubicBezTo>
                    <a:pt x="331" y="217"/>
                    <a:pt x="305" y="209"/>
                    <a:pt x="277" y="203"/>
                  </a:cubicBezTo>
                  <a:lnTo>
                    <a:pt x="266" y="200"/>
                  </a:lnTo>
                  <a:lnTo>
                    <a:pt x="283" y="226"/>
                  </a:lnTo>
                  <a:cubicBezTo>
                    <a:pt x="322" y="279"/>
                    <a:pt x="345" y="344"/>
                    <a:pt x="342" y="409"/>
                  </a:cubicBezTo>
                  <a:lnTo>
                    <a:pt x="342" y="431"/>
                  </a:lnTo>
                  <a:lnTo>
                    <a:pt x="342" y="431"/>
                  </a:lnTo>
                  <a:lnTo>
                    <a:pt x="345" y="496"/>
                  </a:lnTo>
                  <a:lnTo>
                    <a:pt x="345" y="496"/>
                  </a:lnTo>
                  <a:cubicBezTo>
                    <a:pt x="266" y="578"/>
                    <a:pt x="195" y="671"/>
                    <a:pt x="136" y="772"/>
                  </a:cubicBezTo>
                  <a:lnTo>
                    <a:pt x="130" y="786"/>
                  </a:lnTo>
                  <a:cubicBezTo>
                    <a:pt x="65" y="935"/>
                    <a:pt x="63" y="1091"/>
                    <a:pt x="122" y="1212"/>
                  </a:cubicBezTo>
                  <a:cubicBezTo>
                    <a:pt x="125" y="1218"/>
                    <a:pt x="130" y="1226"/>
                    <a:pt x="133" y="1232"/>
                  </a:cubicBezTo>
                  <a:cubicBezTo>
                    <a:pt x="144" y="1254"/>
                    <a:pt x="158" y="1274"/>
                    <a:pt x="175" y="1291"/>
                  </a:cubicBezTo>
                  <a:cubicBezTo>
                    <a:pt x="178" y="1294"/>
                    <a:pt x="178" y="1294"/>
                    <a:pt x="178" y="1294"/>
                  </a:cubicBezTo>
                  <a:lnTo>
                    <a:pt x="178" y="1294"/>
                  </a:lnTo>
                  <a:cubicBezTo>
                    <a:pt x="269" y="1393"/>
                    <a:pt x="410" y="1449"/>
                    <a:pt x="579" y="1449"/>
                  </a:cubicBezTo>
                  <a:lnTo>
                    <a:pt x="579" y="1449"/>
                  </a:lnTo>
                  <a:cubicBezTo>
                    <a:pt x="870" y="1432"/>
                    <a:pt x="1104" y="1322"/>
                    <a:pt x="1268" y="1102"/>
                  </a:cubicBezTo>
                  <a:cubicBezTo>
                    <a:pt x="1284" y="1074"/>
                    <a:pt x="1304" y="1048"/>
                    <a:pt x="1318" y="1020"/>
                  </a:cubicBezTo>
                  <a:cubicBezTo>
                    <a:pt x="1361" y="947"/>
                    <a:pt x="1383" y="865"/>
                    <a:pt x="1389" y="783"/>
                  </a:cubicBezTo>
                  <a:cubicBezTo>
                    <a:pt x="1389" y="780"/>
                    <a:pt x="1389" y="777"/>
                    <a:pt x="1389" y="775"/>
                  </a:cubicBezTo>
                  <a:cubicBezTo>
                    <a:pt x="1389" y="766"/>
                    <a:pt x="1389" y="758"/>
                    <a:pt x="1389" y="749"/>
                  </a:cubicBezTo>
                  <a:lnTo>
                    <a:pt x="1389" y="749"/>
                  </a:lnTo>
                  <a:lnTo>
                    <a:pt x="1389" y="749"/>
                  </a:lnTo>
                  <a:cubicBezTo>
                    <a:pt x="1389" y="746"/>
                    <a:pt x="1389" y="744"/>
                    <a:pt x="1389" y="741"/>
                  </a:cubicBezTo>
                  <a:cubicBezTo>
                    <a:pt x="1389" y="735"/>
                    <a:pt x="1386" y="727"/>
                    <a:pt x="1386" y="718"/>
                  </a:cubicBezTo>
                  <a:lnTo>
                    <a:pt x="1386" y="718"/>
                  </a:lnTo>
                  <a:cubicBezTo>
                    <a:pt x="1386" y="715"/>
                    <a:pt x="1386" y="715"/>
                    <a:pt x="1386" y="713"/>
                  </a:cubicBezTo>
                  <a:cubicBezTo>
                    <a:pt x="1383" y="704"/>
                    <a:pt x="1383" y="697"/>
                    <a:pt x="1380" y="688"/>
                  </a:cubicBezTo>
                  <a:cubicBezTo>
                    <a:pt x="1380" y="685"/>
                    <a:pt x="1380" y="685"/>
                    <a:pt x="1380" y="683"/>
                  </a:cubicBezTo>
                  <a:cubicBezTo>
                    <a:pt x="1380" y="674"/>
                    <a:pt x="1378" y="666"/>
                    <a:pt x="1375" y="657"/>
                  </a:cubicBezTo>
                  <a:lnTo>
                    <a:pt x="1375" y="657"/>
                  </a:lnTo>
                  <a:cubicBezTo>
                    <a:pt x="1375" y="657"/>
                    <a:pt x="1372" y="654"/>
                    <a:pt x="1372" y="652"/>
                  </a:cubicBezTo>
                  <a:cubicBezTo>
                    <a:pt x="1369" y="640"/>
                    <a:pt x="1366" y="629"/>
                    <a:pt x="1361" y="618"/>
                  </a:cubicBezTo>
                  <a:cubicBezTo>
                    <a:pt x="1355" y="609"/>
                    <a:pt x="1352" y="604"/>
                    <a:pt x="1349" y="595"/>
                  </a:cubicBezTo>
                  <a:lnTo>
                    <a:pt x="1349" y="5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 24"/>
            <p:cNvSpPr>
              <a:spLocks noChangeArrowheads="1"/>
            </p:cNvSpPr>
            <p:nvPr/>
          </p:nvSpPr>
          <p:spPr bwMode="auto">
            <a:xfrm>
              <a:off x="4675188" y="2225675"/>
              <a:ext cx="363537" cy="404813"/>
            </a:xfrm>
            <a:custGeom>
              <a:avLst/>
              <a:gdLst>
                <a:gd name="T0" fmla="*/ 878 w 1010"/>
                <a:gd name="T1" fmla="*/ 896 h 1123"/>
                <a:gd name="T2" fmla="*/ 454 w 1010"/>
                <a:gd name="T3" fmla="*/ 1083 h 1123"/>
                <a:gd name="T4" fmla="*/ 110 w 1010"/>
                <a:gd name="T5" fmla="*/ 88 h 1123"/>
                <a:gd name="T6" fmla="*/ 150 w 1010"/>
                <a:gd name="T7" fmla="*/ 60 h 1123"/>
                <a:gd name="T8" fmla="*/ 178 w 1010"/>
                <a:gd name="T9" fmla="*/ 99 h 1123"/>
                <a:gd name="T10" fmla="*/ 178 w 1010"/>
                <a:gd name="T11" fmla="*/ 99 h 1123"/>
                <a:gd name="T12" fmla="*/ 471 w 1010"/>
                <a:gd name="T13" fmla="*/ 1018 h 1123"/>
                <a:gd name="T14" fmla="*/ 835 w 1010"/>
                <a:gd name="T15" fmla="*/ 823 h 1123"/>
                <a:gd name="T16" fmla="*/ 257 w 1010"/>
                <a:gd name="T17" fmla="*/ 68 h 1123"/>
                <a:gd name="T18" fmla="*/ 243 w 1010"/>
                <a:gd name="T19" fmla="*/ 23 h 1123"/>
                <a:gd name="T20" fmla="*/ 288 w 1010"/>
                <a:gd name="T21" fmla="*/ 9 h 1123"/>
                <a:gd name="T22" fmla="*/ 900 w 1010"/>
                <a:gd name="T23" fmla="*/ 849 h 1123"/>
                <a:gd name="T24" fmla="*/ 878 w 1010"/>
                <a:gd name="T25" fmla="*/ 896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10" h="1123">
                  <a:moveTo>
                    <a:pt x="878" y="896"/>
                  </a:moveTo>
                  <a:cubicBezTo>
                    <a:pt x="796" y="1046"/>
                    <a:pt x="621" y="1122"/>
                    <a:pt x="454" y="1083"/>
                  </a:cubicBezTo>
                  <a:cubicBezTo>
                    <a:pt x="344" y="1054"/>
                    <a:pt x="0" y="905"/>
                    <a:pt x="110" y="88"/>
                  </a:cubicBezTo>
                  <a:cubicBezTo>
                    <a:pt x="113" y="68"/>
                    <a:pt x="130" y="57"/>
                    <a:pt x="150" y="60"/>
                  </a:cubicBezTo>
                  <a:cubicBezTo>
                    <a:pt x="169" y="62"/>
                    <a:pt x="181" y="79"/>
                    <a:pt x="178" y="99"/>
                  </a:cubicBezTo>
                  <a:lnTo>
                    <a:pt x="178" y="99"/>
                  </a:lnTo>
                  <a:cubicBezTo>
                    <a:pt x="96" y="702"/>
                    <a:pt x="277" y="970"/>
                    <a:pt x="471" y="1018"/>
                  </a:cubicBezTo>
                  <a:cubicBezTo>
                    <a:pt x="624" y="1054"/>
                    <a:pt x="782" y="970"/>
                    <a:pt x="835" y="823"/>
                  </a:cubicBezTo>
                  <a:cubicBezTo>
                    <a:pt x="906" y="631"/>
                    <a:pt x="790" y="333"/>
                    <a:pt x="257" y="68"/>
                  </a:cubicBezTo>
                  <a:cubicBezTo>
                    <a:pt x="240" y="60"/>
                    <a:pt x="234" y="40"/>
                    <a:pt x="243" y="23"/>
                  </a:cubicBezTo>
                  <a:cubicBezTo>
                    <a:pt x="251" y="6"/>
                    <a:pt x="270" y="0"/>
                    <a:pt x="288" y="9"/>
                  </a:cubicBezTo>
                  <a:cubicBezTo>
                    <a:pt x="1009" y="370"/>
                    <a:pt x="940" y="744"/>
                    <a:pt x="900" y="849"/>
                  </a:cubicBezTo>
                  <a:cubicBezTo>
                    <a:pt x="895" y="865"/>
                    <a:pt x="886" y="882"/>
                    <a:pt x="878" y="89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10747098" y="5420797"/>
            <a:ext cx="305984" cy="325854"/>
            <a:chOff x="5554663" y="1930400"/>
            <a:chExt cx="611187" cy="650875"/>
          </a:xfrm>
          <a:solidFill>
            <a:schemeClr val="tx1"/>
          </a:solidFill>
        </p:grpSpPr>
        <p:sp>
          <p:nvSpPr>
            <p:cNvPr id="8" name="Freeform 25"/>
            <p:cNvSpPr>
              <a:spLocks noChangeArrowheads="1"/>
            </p:cNvSpPr>
            <p:nvPr/>
          </p:nvSpPr>
          <p:spPr bwMode="auto">
            <a:xfrm>
              <a:off x="5554663" y="2106613"/>
              <a:ext cx="80962" cy="53975"/>
            </a:xfrm>
            <a:custGeom>
              <a:avLst/>
              <a:gdLst>
                <a:gd name="T0" fmla="*/ 200 w 227"/>
                <a:gd name="T1" fmla="*/ 150 h 151"/>
                <a:gd name="T2" fmla="*/ 192 w 227"/>
                <a:gd name="T3" fmla="*/ 147 h 151"/>
                <a:gd name="T4" fmla="*/ 9 w 227"/>
                <a:gd name="T5" fmla="*/ 51 h 151"/>
                <a:gd name="T6" fmla="*/ 3 w 227"/>
                <a:gd name="T7" fmla="*/ 31 h 151"/>
                <a:gd name="T8" fmla="*/ 14 w 227"/>
                <a:gd name="T9" fmla="*/ 9 h 151"/>
                <a:gd name="T10" fmla="*/ 14 w 227"/>
                <a:gd name="T11" fmla="*/ 9 h 151"/>
                <a:gd name="T12" fmla="*/ 34 w 227"/>
                <a:gd name="T13" fmla="*/ 3 h 151"/>
                <a:gd name="T14" fmla="*/ 217 w 227"/>
                <a:gd name="T15" fmla="*/ 99 h 151"/>
                <a:gd name="T16" fmla="*/ 223 w 227"/>
                <a:gd name="T17" fmla="*/ 119 h 151"/>
                <a:gd name="T18" fmla="*/ 212 w 227"/>
                <a:gd name="T19" fmla="*/ 141 h 151"/>
                <a:gd name="T20" fmla="*/ 200 w 227"/>
                <a:gd name="T21" fmla="*/ 15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7" h="151">
                  <a:moveTo>
                    <a:pt x="200" y="150"/>
                  </a:moveTo>
                  <a:cubicBezTo>
                    <a:pt x="198" y="150"/>
                    <a:pt x="195" y="150"/>
                    <a:pt x="192" y="147"/>
                  </a:cubicBezTo>
                  <a:lnTo>
                    <a:pt x="9" y="51"/>
                  </a:lnTo>
                  <a:cubicBezTo>
                    <a:pt x="3" y="48"/>
                    <a:pt x="0" y="37"/>
                    <a:pt x="3" y="31"/>
                  </a:cubicBezTo>
                  <a:lnTo>
                    <a:pt x="14" y="9"/>
                  </a:lnTo>
                  <a:lnTo>
                    <a:pt x="14" y="9"/>
                  </a:lnTo>
                  <a:cubicBezTo>
                    <a:pt x="17" y="3"/>
                    <a:pt x="28" y="0"/>
                    <a:pt x="34" y="3"/>
                  </a:cubicBezTo>
                  <a:lnTo>
                    <a:pt x="217" y="99"/>
                  </a:lnTo>
                  <a:cubicBezTo>
                    <a:pt x="223" y="102"/>
                    <a:pt x="226" y="113"/>
                    <a:pt x="223" y="119"/>
                  </a:cubicBezTo>
                  <a:lnTo>
                    <a:pt x="212" y="141"/>
                  </a:lnTo>
                  <a:cubicBezTo>
                    <a:pt x="212" y="147"/>
                    <a:pt x="206" y="150"/>
                    <a:pt x="200" y="15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26"/>
            <p:cNvSpPr>
              <a:spLocks noChangeArrowheads="1"/>
            </p:cNvSpPr>
            <p:nvPr/>
          </p:nvSpPr>
          <p:spPr bwMode="auto">
            <a:xfrm>
              <a:off x="5695950" y="1944688"/>
              <a:ext cx="46038" cy="74612"/>
            </a:xfrm>
            <a:custGeom>
              <a:avLst/>
              <a:gdLst>
                <a:gd name="T0" fmla="*/ 71 w 128"/>
                <a:gd name="T1" fmla="*/ 197 h 207"/>
                <a:gd name="T2" fmla="*/ 3 w 128"/>
                <a:gd name="T3" fmla="*/ 33 h 207"/>
                <a:gd name="T4" fmla="*/ 12 w 128"/>
                <a:gd name="T5" fmla="*/ 14 h 207"/>
                <a:gd name="T6" fmla="*/ 37 w 128"/>
                <a:gd name="T7" fmla="*/ 2 h 207"/>
                <a:gd name="T8" fmla="*/ 37 w 128"/>
                <a:gd name="T9" fmla="*/ 2 h 207"/>
                <a:gd name="T10" fmla="*/ 57 w 128"/>
                <a:gd name="T11" fmla="*/ 11 h 207"/>
                <a:gd name="T12" fmla="*/ 124 w 128"/>
                <a:gd name="T13" fmla="*/ 175 h 207"/>
                <a:gd name="T14" fmla="*/ 124 w 128"/>
                <a:gd name="T15" fmla="*/ 175 h 207"/>
                <a:gd name="T16" fmla="*/ 116 w 128"/>
                <a:gd name="T17" fmla="*/ 194 h 207"/>
                <a:gd name="T18" fmla="*/ 91 w 128"/>
                <a:gd name="T19" fmla="*/ 206 h 207"/>
                <a:gd name="T20" fmla="*/ 85 w 128"/>
                <a:gd name="T21" fmla="*/ 206 h 207"/>
                <a:gd name="T22" fmla="*/ 79 w 128"/>
                <a:gd name="T23" fmla="*/ 206 h 207"/>
                <a:gd name="T24" fmla="*/ 71 w 128"/>
                <a:gd name="T25" fmla="*/ 19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8" h="207">
                  <a:moveTo>
                    <a:pt x="71" y="197"/>
                  </a:moveTo>
                  <a:lnTo>
                    <a:pt x="3" y="33"/>
                  </a:lnTo>
                  <a:cubicBezTo>
                    <a:pt x="0" y="25"/>
                    <a:pt x="3" y="17"/>
                    <a:pt x="12" y="14"/>
                  </a:cubicBezTo>
                  <a:lnTo>
                    <a:pt x="37" y="2"/>
                  </a:lnTo>
                  <a:lnTo>
                    <a:pt x="37" y="2"/>
                  </a:lnTo>
                  <a:cubicBezTo>
                    <a:pt x="45" y="0"/>
                    <a:pt x="54" y="2"/>
                    <a:pt x="57" y="11"/>
                  </a:cubicBezTo>
                  <a:lnTo>
                    <a:pt x="124" y="175"/>
                  </a:lnTo>
                  <a:lnTo>
                    <a:pt x="124" y="175"/>
                  </a:lnTo>
                  <a:cubicBezTo>
                    <a:pt x="127" y="183"/>
                    <a:pt x="124" y="191"/>
                    <a:pt x="116" y="194"/>
                  </a:cubicBezTo>
                  <a:lnTo>
                    <a:pt x="91" y="206"/>
                  </a:lnTo>
                  <a:cubicBezTo>
                    <a:pt x="88" y="206"/>
                    <a:pt x="88" y="206"/>
                    <a:pt x="85" y="206"/>
                  </a:cubicBezTo>
                  <a:cubicBezTo>
                    <a:pt x="82" y="206"/>
                    <a:pt x="82" y="206"/>
                    <a:pt x="79" y="206"/>
                  </a:cubicBezTo>
                  <a:cubicBezTo>
                    <a:pt x="77" y="203"/>
                    <a:pt x="74" y="200"/>
                    <a:pt x="71" y="19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27"/>
            <p:cNvSpPr>
              <a:spLocks noChangeArrowheads="1"/>
            </p:cNvSpPr>
            <p:nvPr/>
          </p:nvSpPr>
          <p:spPr bwMode="auto">
            <a:xfrm>
              <a:off x="5940425" y="1930400"/>
              <a:ext cx="42863" cy="65088"/>
            </a:xfrm>
            <a:custGeom>
              <a:avLst/>
              <a:gdLst>
                <a:gd name="T0" fmla="*/ 12 w 120"/>
                <a:gd name="T1" fmla="*/ 167 h 182"/>
                <a:gd name="T2" fmla="*/ 3 w 120"/>
                <a:gd name="T3" fmla="*/ 147 h 182"/>
                <a:gd name="T4" fmla="*/ 63 w 120"/>
                <a:gd name="T5" fmla="*/ 12 h 182"/>
                <a:gd name="T6" fmla="*/ 63 w 120"/>
                <a:gd name="T7" fmla="*/ 12 h 182"/>
                <a:gd name="T8" fmla="*/ 82 w 120"/>
                <a:gd name="T9" fmla="*/ 3 h 182"/>
                <a:gd name="T10" fmla="*/ 108 w 120"/>
                <a:gd name="T11" fmla="*/ 14 h 182"/>
                <a:gd name="T12" fmla="*/ 116 w 120"/>
                <a:gd name="T13" fmla="*/ 34 h 182"/>
                <a:gd name="T14" fmla="*/ 57 w 120"/>
                <a:gd name="T15" fmla="*/ 170 h 182"/>
                <a:gd name="T16" fmla="*/ 57 w 120"/>
                <a:gd name="T17" fmla="*/ 170 h 182"/>
                <a:gd name="T18" fmla="*/ 37 w 120"/>
                <a:gd name="T19" fmla="*/ 178 h 182"/>
                <a:gd name="T20" fmla="*/ 12 w 120"/>
                <a:gd name="T21" fmla="*/ 167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" h="182">
                  <a:moveTo>
                    <a:pt x="12" y="167"/>
                  </a:moveTo>
                  <a:cubicBezTo>
                    <a:pt x="3" y="164"/>
                    <a:pt x="0" y="155"/>
                    <a:pt x="3" y="147"/>
                  </a:cubicBezTo>
                  <a:lnTo>
                    <a:pt x="63" y="12"/>
                  </a:lnTo>
                  <a:lnTo>
                    <a:pt x="63" y="12"/>
                  </a:lnTo>
                  <a:cubicBezTo>
                    <a:pt x="65" y="3"/>
                    <a:pt x="74" y="0"/>
                    <a:pt x="82" y="3"/>
                  </a:cubicBezTo>
                  <a:lnTo>
                    <a:pt x="108" y="14"/>
                  </a:lnTo>
                  <a:cubicBezTo>
                    <a:pt x="116" y="17"/>
                    <a:pt x="119" y="26"/>
                    <a:pt x="116" y="34"/>
                  </a:cubicBezTo>
                  <a:lnTo>
                    <a:pt x="57" y="170"/>
                  </a:lnTo>
                  <a:lnTo>
                    <a:pt x="57" y="170"/>
                  </a:lnTo>
                  <a:cubicBezTo>
                    <a:pt x="54" y="178"/>
                    <a:pt x="46" y="181"/>
                    <a:pt x="37" y="178"/>
                  </a:cubicBezTo>
                  <a:lnTo>
                    <a:pt x="12" y="16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28"/>
            <p:cNvSpPr>
              <a:spLocks noChangeArrowheads="1"/>
            </p:cNvSpPr>
            <p:nvPr/>
          </p:nvSpPr>
          <p:spPr bwMode="auto">
            <a:xfrm>
              <a:off x="6061075" y="2065338"/>
              <a:ext cx="104775" cy="76200"/>
            </a:xfrm>
            <a:custGeom>
              <a:avLst/>
              <a:gdLst>
                <a:gd name="T0" fmla="*/ 282 w 289"/>
                <a:gd name="T1" fmla="*/ 31 h 212"/>
                <a:gd name="T2" fmla="*/ 280 w 289"/>
                <a:gd name="T3" fmla="*/ 50 h 212"/>
                <a:gd name="T4" fmla="*/ 40 w 289"/>
                <a:gd name="T5" fmla="*/ 208 h 212"/>
                <a:gd name="T6" fmla="*/ 28 w 289"/>
                <a:gd name="T7" fmla="*/ 211 h 212"/>
                <a:gd name="T8" fmla="*/ 20 w 289"/>
                <a:gd name="T9" fmla="*/ 205 h 212"/>
                <a:gd name="T10" fmla="*/ 6 w 289"/>
                <a:gd name="T11" fmla="*/ 183 h 212"/>
                <a:gd name="T12" fmla="*/ 9 w 289"/>
                <a:gd name="T13" fmla="*/ 163 h 212"/>
                <a:gd name="T14" fmla="*/ 249 w 289"/>
                <a:gd name="T15" fmla="*/ 5 h 212"/>
                <a:gd name="T16" fmla="*/ 249 w 289"/>
                <a:gd name="T17" fmla="*/ 5 h 212"/>
                <a:gd name="T18" fmla="*/ 268 w 289"/>
                <a:gd name="T19" fmla="*/ 8 h 212"/>
                <a:gd name="T20" fmla="*/ 282 w 289"/>
                <a:gd name="T21" fmla="*/ 31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" h="212">
                  <a:moveTo>
                    <a:pt x="282" y="31"/>
                  </a:moveTo>
                  <a:cubicBezTo>
                    <a:pt x="288" y="39"/>
                    <a:pt x="285" y="47"/>
                    <a:pt x="280" y="50"/>
                  </a:cubicBezTo>
                  <a:lnTo>
                    <a:pt x="40" y="208"/>
                  </a:lnTo>
                  <a:cubicBezTo>
                    <a:pt x="37" y="211"/>
                    <a:pt x="31" y="211"/>
                    <a:pt x="28" y="211"/>
                  </a:cubicBezTo>
                  <a:cubicBezTo>
                    <a:pt x="26" y="211"/>
                    <a:pt x="23" y="208"/>
                    <a:pt x="20" y="205"/>
                  </a:cubicBezTo>
                  <a:lnTo>
                    <a:pt x="6" y="183"/>
                  </a:lnTo>
                  <a:cubicBezTo>
                    <a:pt x="0" y="177"/>
                    <a:pt x="3" y="169"/>
                    <a:pt x="9" y="163"/>
                  </a:cubicBezTo>
                  <a:lnTo>
                    <a:pt x="249" y="5"/>
                  </a:lnTo>
                  <a:lnTo>
                    <a:pt x="249" y="5"/>
                  </a:lnTo>
                  <a:cubicBezTo>
                    <a:pt x="254" y="0"/>
                    <a:pt x="263" y="2"/>
                    <a:pt x="268" y="8"/>
                  </a:cubicBezTo>
                  <a:lnTo>
                    <a:pt x="282" y="3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29"/>
            <p:cNvSpPr>
              <a:spLocks noChangeArrowheads="1"/>
            </p:cNvSpPr>
            <p:nvPr/>
          </p:nvSpPr>
          <p:spPr bwMode="auto">
            <a:xfrm>
              <a:off x="5580063" y="2001838"/>
              <a:ext cx="554037" cy="579437"/>
            </a:xfrm>
            <a:custGeom>
              <a:avLst/>
              <a:gdLst>
                <a:gd name="T0" fmla="*/ 1219 w 1541"/>
                <a:gd name="T1" fmla="*/ 440 h 1611"/>
                <a:gd name="T2" fmla="*/ 1526 w 1541"/>
                <a:gd name="T3" fmla="*/ 736 h 1611"/>
                <a:gd name="T4" fmla="*/ 1230 w 1541"/>
                <a:gd name="T5" fmla="*/ 1079 h 1611"/>
                <a:gd name="T6" fmla="*/ 1244 w 1541"/>
                <a:gd name="T7" fmla="*/ 1570 h 1611"/>
                <a:gd name="T8" fmla="*/ 1230 w 1541"/>
                <a:gd name="T9" fmla="*/ 1584 h 1611"/>
                <a:gd name="T10" fmla="*/ 356 w 1541"/>
                <a:gd name="T11" fmla="*/ 1610 h 1611"/>
                <a:gd name="T12" fmla="*/ 342 w 1541"/>
                <a:gd name="T13" fmla="*/ 1596 h 1611"/>
                <a:gd name="T14" fmla="*/ 328 w 1541"/>
                <a:gd name="T15" fmla="*/ 1099 h 1611"/>
                <a:gd name="T16" fmla="*/ 17 w 1541"/>
                <a:gd name="T17" fmla="*/ 815 h 1611"/>
                <a:gd name="T18" fmla="*/ 302 w 1541"/>
                <a:gd name="T19" fmla="*/ 462 h 1611"/>
                <a:gd name="T20" fmla="*/ 723 w 1541"/>
                <a:gd name="T21" fmla="*/ 20 h 1611"/>
                <a:gd name="T22" fmla="*/ 1219 w 1541"/>
                <a:gd name="T23" fmla="*/ 440 h 1611"/>
                <a:gd name="T24" fmla="*/ 1179 w 1541"/>
                <a:gd name="T25" fmla="*/ 1029 h 1611"/>
                <a:gd name="T26" fmla="*/ 1193 w 1541"/>
                <a:gd name="T27" fmla="*/ 1023 h 1611"/>
                <a:gd name="T28" fmla="*/ 1207 w 1541"/>
                <a:gd name="T29" fmla="*/ 1023 h 1611"/>
                <a:gd name="T30" fmla="*/ 1475 w 1541"/>
                <a:gd name="T31" fmla="*/ 764 h 1611"/>
                <a:gd name="T32" fmla="*/ 1216 w 1541"/>
                <a:gd name="T33" fmla="*/ 496 h 1611"/>
                <a:gd name="T34" fmla="*/ 1199 w 1541"/>
                <a:gd name="T35" fmla="*/ 496 h 1611"/>
                <a:gd name="T36" fmla="*/ 1185 w 1541"/>
                <a:gd name="T37" fmla="*/ 496 h 1611"/>
                <a:gd name="T38" fmla="*/ 1173 w 1541"/>
                <a:gd name="T39" fmla="*/ 494 h 1611"/>
                <a:gd name="T40" fmla="*/ 1168 w 1541"/>
                <a:gd name="T41" fmla="*/ 482 h 1611"/>
                <a:gd name="T42" fmla="*/ 1168 w 1541"/>
                <a:gd name="T43" fmla="*/ 468 h 1611"/>
                <a:gd name="T44" fmla="*/ 1168 w 1541"/>
                <a:gd name="T45" fmla="*/ 468 h 1611"/>
                <a:gd name="T46" fmla="*/ 753 w 1541"/>
                <a:gd name="T47" fmla="*/ 73 h 1611"/>
                <a:gd name="T48" fmla="*/ 751 w 1541"/>
                <a:gd name="T49" fmla="*/ 73 h 1611"/>
                <a:gd name="T50" fmla="*/ 427 w 1541"/>
                <a:gd name="T51" fmla="*/ 254 h 1611"/>
                <a:gd name="T52" fmla="*/ 359 w 1541"/>
                <a:gd name="T53" fmla="*/ 488 h 1611"/>
                <a:gd name="T54" fmla="*/ 359 w 1541"/>
                <a:gd name="T55" fmla="*/ 502 h 1611"/>
                <a:gd name="T56" fmla="*/ 345 w 1541"/>
                <a:gd name="T57" fmla="*/ 516 h 1611"/>
                <a:gd name="T58" fmla="*/ 345 w 1541"/>
                <a:gd name="T59" fmla="*/ 516 h 1611"/>
                <a:gd name="T60" fmla="*/ 328 w 1541"/>
                <a:gd name="T61" fmla="*/ 516 h 1611"/>
                <a:gd name="T62" fmla="*/ 319 w 1541"/>
                <a:gd name="T63" fmla="*/ 516 h 1611"/>
                <a:gd name="T64" fmla="*/ 71 w 1541"/>
                <a:gd name="T65" fmla="*/ 798 h 1611"/>
                <a:gd name="T66" fmla="*/ 353 w 1541"/>
                <a:gd name="T67" fmla="*/ 1045 h 1611"/>
                <a:gd name="T68" fmla="*/ 367 w 1541"/>
                <a:gd name="T69" fmla="*/ 1045 h 1611"/>
                <a:gd name="T70" fmla="*/ 379 w 1541"/>
                <a:gd name="T71" fmla="*/ 1048 h 1611"/>
                <a:gd name="T72" fmla="*/ 384 w 1541"/>
                <a:gd name="T73" fmla="*/ 1060 h 1611"/>
                <a:gd name="T74" fmla="*/ 398 w 1541"/>
                <a:gd name="T75" fmla="*/ 1556 h 1611"/>
                <a:gd name="T76" fmla="*/ 1190 w 1541"/>
                <a:gd name="T77" fmla="*/ 1531 h 1611"/>
                <a:gd name="T78" fmla="*/ 1176 w 1541"/>
                <a:gd name="T79" fmla="*/ 1040 h 1611"/>
                <a:gd name="T80" fmla="*/ 1179 w 1541"/>
                <a:gd name="T81" fmla="*/ 1029 h 1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41" h="1611">
                  <a:moveTo>
                    <a:pt x="1219" y="440"/>
                  </a:moveTo>
                  <a:cubicBezTo>
                    <a:pt x="1382" y="446"/>
                    <a:pt x="1515" y="575"/>
                    <a:pt x="1526" y="736"/>
                  </a:cubicBezTo>
                  <a:cubicBezTo>
                    <a:pt x="1540" y="914"/>
                    <a:pt x="1408" y="1065"/>
                    <a:pt x="1230" y="1079"/>
                  </a:cubicBezTo>
                  <a:lnTo>
                    <a:pt x="1244" y="1570"/>
                  </a:lnTo>
                  <a:cubicBezTo>
                    <a:pt x="1244" y="1579"/>
                    <a:pt x="1238" y="1584"/>
                    <a:pt x="1230" y="1584"/>
                  </a:cubicBezTo>
                  <a:lnTo>
                    <a:pt x="356" y="1610"/>
                  </a:lnTo>
                  <a:cubicBezTo>
                    <a:pt x="348" y="1610"/>
                    <a:pt x="342" y="1604"/>
                    <a:pt x="342" y="1596"/>
                  </a:cubicBezTo>
                  <a:lnTo>
                    <a:pt x="328" y="1099"/>
                  </a:lnTo>
                  <a:cubicBezTo>
                    <a:pt x="167" y="1096"/>
                    <a:pt x="34" y="972"/>
                    <a:pt x="17" y="815"/>
                  </a:cubicBezTo>
                  <a:cubicBezTo>
                    <a:pt x="0" y="640"/>
                    <a:pt x="127" y="482"/>
                    <a:pt x="302" y="462"/>
                  </a:cubicBezTo>
                  <a:cubicBezTo>
                    <a:pt x="311" y="228"/>
                    <a:pt x="491" y="39"/>
                    <a:pt x="723" y="20"/>
                  </a:cubicBezTo>
                  <a:cubicBezTo>
                    <a:pt x="976" y="0"/>
                    <a:pt x="1196" y="186"/>
                    <a:pt x="1219" y="440"/>
                  </a:cubicBezTo>
                  <a:close/>
                  <a:moveTo>
                    <a:pt x="1179" y="1029"/>
                  </a:moveTo>
                  <a:cubicBezTo>
                    <a:pt x="1182" y="1026"/>
                    <a:pt x="1185" y="1026"/>
                    <a:pt x="1193" y="1023"/>
                  </a:cubicBezTo>
                  <a:lnTo>
                    <a:pt x="1207" y="1023"/>
                  </a:lnTo>
                  <a:cubicBezTo>
                    <a:pt x="1351" y="1026"/>
                    <a:pt x="1473" y="911"/>
                    <a:pt x="1475" y="764"/>
                  </a:cubicBezTo>
                  <a:cubicBezTo>
                    <a:pt x="1478" y="620"/>
                    <a:pt x="1362" y="499"/>
                    <a:pt x="1216" y="496"/>
                  </a:cubicBezTo>
                  <a:cubicBezTo>
                    <a:pt x="1210" y="496"/>
                    <a:pt x="1204" y="496"/>
                    <a:pt x="1199" y="496"/>
                  </a:cubicBezTo>
                  <a:lnTo>
                    <a:pt x="1185" y="496"/>
                  </a:lnTo>
                  <a:cubicBezTo>
                    <a:pt x="1179" y="496"/>
                    <a:pt x="1176" y="496"/>
                    <a:pt x="1173" y="494"/>
                  </a:cubicBezTo>
                  <a:cubicBezTo>
                    <a:pt x="1171" y="491"/>
                    <a:pt x="1168" y="485"/>
                    <a:pt x="1168" y="482"/>
                  </a:cubicBezTo>
                  <a:lnTo>
                    <a:pt x="1168" y="468"/>
                  </a:lnTo>
                  <a:lnTo>
                    <a:pt x="1168" y="468"/>
                  </a:lnTo>
                  <a:cubicBezTo>
                    <a:pt x="1162" y="245"/>
                    <a:pt x="976" y="68"/>
                    <a:pt x="753" y="73"/>
                  </a:cubicBezTo>
                  <a:lnTo>
                    <a:pt x="751" y="73"/>
                  </a:lnTo>
                  <a:cubicBezTo>
                    <a:pt x="621" y="76"/>
                    <a:pt x="500" y="144"/>
                    <a:pt x="427" y="254"/>
                  </a:cubicBezTo>
                  <a:cubicBezTo>
                    <a:pt x="379" y="324"/>
                    <a:pt x="356" y="406"/>
                    <a:pt x="359" y="488"/>
                  </a:cubicBezTo>
                  <a:lnTo>
                    <a:pt x="359" y="502"/>
                  </a:lnTo>
                  <a:cubicBezTo>
                    <a:pt x="359" y="510"/>
                    <a:pt x="353" y="516"/>
                    <a:pt x="345" y="516"/>
                  </a:cubicBezTo>
                  <a:lnTo>
                    <a:pt x="345" y="516"/>
                  </a:lnTo>
                  <a:lnTo>
                    <a:pt x="328" y="516"/>
                  </a:lnTo>
                  <a:cubicBezTo>
                    <a:pt x="325" y="516"/>
                    <a:pt x="322" y="516"/>
                    <a:pt x="319" y="516"/>
                  </a:cubicBezTo>
                  <a:cubicBezTo>
                    <a:pt x="173" y="527"/>
                    <a:pt x="63" y="652"/>
                    <a:pt x="71" y="798"/>
                  </a:cubicBezTo>
                  <a:cubicBezTo>
                    <a:pt x="82" y="945"/>
                    <a:pt x="206" y="1054"/>
                    <a:pt x="353" y="1045"/>
                  </a:cubicBezTo>
                  <a:lnTo>
                    <a:pt x="367" y="1045"/>
                  </a:lnTo>
                  <a:cubicBezTo>
                    <a:pt x="373" y="1045"/>
                    <a:pt x="376" y="1045"/>
                    <a:pt x="379" y="1048"/>
                  </a:cubicBezTo>
                  <a:cubicBezTo>
                    <a:pt x="381" y="1051"/>
                    <a:pt x="384" y="1057"/>
                    <a:pt x="384" y="1060"/>
                  </a:cubicBezTo>
                  <a:lnTo>
                    <a:pt x="398" y="1556"/>
                  </a:lnTo>
                  <a:lnTo>
                    <a:pt x="1190" y="1531"/>
                  </a:lnTo>
                  <a:lnTo>
                    <a:pt x="1176" y="1040"/>
                  </a:lnTo>
                  <a:cubicBezTo>
                    <a:pt x="1173" y="1034"/>
                    <a:pt x="1176" y="1031"/>
                    <a:pt x="1179" y="1029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30"/>
            <p:cNvSpPr>
              <a:spLocks noChangeArrowheads="1"/>
            </p:cNvSpPr>
            <p:nvPr/>
          </p:nvSpPr>
          <p:spPr bwMode="auto">
            <a:xfrm>
              <a:off x="5707063" y="2233613"/>
              <a:ext cx="295275" cy="290512"/>
            </a:xfrm>
            <a:custGeom>
              <a:avLst/>
              <a:gdLst>
                <a:gd name="T0" fmla="*/ 688 w 821"/>
                <a:gd name="T1" fmla="*/ 3 h 807"/>
                <a:gd name="T2" fmla="*/ 818 w 821"/>
                <a:gd name="T3" fmla="*/ 127 h 807"/>
                <a:gd name="T4" fmla="*/ 696 w 821"/>
                <a:gd name="T5" fmla="*/ 257 h 807"/>
                <a:gd name="T6" fmla="*/ 696 w 821"/>
                <a:gd name="T7" fmla="*/ 257 h 807"/>
                <a:gd name="T8" fmla="*/ 626 w 821"/>
                <a:gd name="T9" fmla="*/ 259 h 807"/>
                <a:gd name="T10" fmla="*/ 643 w 821"/>
                <a:gd name="T11" fmla="*/ 783 h 807"/>
                <a:gd name="T12" fmla="*/ 628 w 821"/>
                <a:gd name="T13" fmla="*/ 797 h 807"/>
                <a:gd name="T14" fmla="*/ 600 w 821"/>
                <a:gd name="T15" fmla="*/ 797 h 807"/>
                <a:gd name="T16" fmla="*/ 586 w 821"/>
                <a:gd name="T17" fmla="*/ 783 h 807"/>
                <a:gd name="T18" fmla="*/ 572 w 821"/>
                <a:gd name="T19" fmla="*/ 299 h 807"/>
                <a:gd name="T20" fmla="*/ 263 w 821"/>
                <a:gd name="T21" fmla="*/ 307 h 807"/>
                <a:gd name="T22" fmla="*/ 260 w 821"/>
                <a:gd name="T23" fmla="*/ 305 h 807"/>
                <a:gd name="T24" fmla="*/ 274 w 821"/>
                <a:gd name="T25" fmla="*/ 792 h 807"/>
                <a:gd name="T26" fmla="*/ 260 w 821"/>
                <a:gd name="T27" fmla="*/ 806 h 807"/>
                <a:gd name="T28" fmla="*/ 234 w 821"/>
                <a:gd name="T29" fmla="*/ 806 h 807"/>
                <a:gd name="T30" fmla="*/ 220 w 821"/>
                <a:gd name="T31" fmla="*/ 792 h 807"/>
                <a:gd name="T32" fmla="*/ 203 w 821"/>
                <a:gd name="T33" fmla="*/ 268 h 807"/>
                <a:gd name="T34" fmla="*/ 133 w 821"/>
                <a:gd name="T35" fmla="*/ 271 h 807"/>
                <a:gd name="T36" fmla="*/ 133 w 821"/>
                <a:gd name="T37" fmla="*/ 271 h 807"/>
                <a:gd name="T38" fmla="*/ 3 w 821"/>
                <a:gd name="T39" fmla="*/ 149 h 807"/>
                <a:gd name="T40" fmla="*/ 124 w 821"/>
                <a:gd name="T41" fmla="*/ 20 h 807"/>
                <a:gd name="T42" fmla="*/ 124 w 821"/>
                <a:gd name="T43" fmla="*/ 20 h 807"/>
                <a:gd name="T44" fmla="*/ 254 w 821"/>
                <a:gd name="T45" fmla="*/ 141 h 807"/>
                <a:gd name="T46" fmla="*/ 257 w 821"/>
                <a:gd name="T47" fmla="*/ 217 h 807"/>
                <a:gd name="T48" fmla="*/ 322 w 821"/>
                <a:gd name="T49" fmla="*/ 279 h 807"/>
                <a:gd name="T50" fmla="*/ 569 w 821"/>
                <a:gd name="T51" fmla="*/ 211 h 807"/>
                <a:gd name="T52" fmla="*/ 566 w 821"/>
                <a:gd name="T53" fmla="*/ 132 h 807"/>
                <a:gd name="T54" fmla="*/ 688 w 821"/>
                <a:gd name="T55" fmla="*/ 3 h 807"/>
                <a:gd name="T56" fmla="*/ 688 w 821"/>
                <a:gd name="T57" fmla="*/ 3 h 807"/>
                <a:gd name="T58" fmla="*/ 696 w 821"/>
                <a:gd name="T59" fmla="*/ 197 h 807"/>
                <a:gd name="T60" fmla="*/ 761 w 821"/>
                <a:gd name="T61" fmla="*/ 124 h 807"/>
                <a:gd name="T62" fmla="*/ 691 w 821"/>
                <a:gd name="T63" fmla="*/ 56 h 807"/>
                <a:gd name="T64" fmla="*/ 691 w 821"/>
                <a:gd name="T65" fmla="*/ 56 h 807"/>
                <a:gd name="T66" fmla="*/ 623 w 821"/>
                <a:gd name="T67" fmla="*/ 130 h 807"/>
                <a:gd name="T68" fmla="*/ 626 w 821"/>
                <a:gd name="T69" fmla="*/ 200 h 807"/>
                <a:gd name="T70" fmla="*/ 696 w 821"/>
                <a:gd name="T71" fmla="*/ 197 h 807"/>
                <a:gd name="T72" fmla="*/ 696 w 821"/>
                <a:gd name="T73" fmla="*/ 197 h 807"/>
                <a:gd name="T74" fmla="*/ 198 w 821"/>
                <a:gd name="T75" fmla="*/ 144 h 807"/>
                <a:gd name="T76" fmla="*/ 124 w 821"/>
                <a:gd name="T77" fmla="*/ 76 h 807"/>
                <a:gd name="T78" fmla="*/ 57 w 821"/>
                <a:gd name="T79" fmla="*/ 149 h 807"/>
                <a:gd name="T80" fmla="*/ 130 w 821"/>
                <a:gd name="T81" fmla="*/ 217 h 807"/>
                <a:gd name="T82" fmla="*/ 201 w 821"/>
                <a:gd name="T83" fmla="*/ 214 h 807"/>
                <a:gd name="T84" fmla="*/ 198 w 821"/>
                <a:gd name="T85" fmla="*/ 169 h 807"/>
                <a:gd name="T86" fmla="*/ 198 w 821"/>
                <a:gd name="T87" fmla="*/ 164 h 807"/>
                <a:gd name="T88" fmla="*/ 198 w 821"/>
                <a:gd name="T89" fmla="*/ 144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21" h="807">
                  <a:moveTo>
                    <a:pt x="688" y="3"/>
                  </a:moveTo>
                  <a:cubicBezTo>
                    <a:pt x="758" y="0"/>
                    <a:pt x="818" y="53"/>
                    <a:pt x="818" y="127"/>
                  </a:cubicBezTo>
                  <a:cubicBezTo>
                    <a:pt x="820" y="197"/>
                    <a:pt x="767" y="254"/>
                    <a:pt x="696" y="257"/>
                  </a:cubicBezTo>
                  <a:lnTo>
                    <a:pt x="696" y="257"/>
                  </a:lnTo>
                  <a:lnTo>
                    <a:pt x="626" y="259"/>
                  </a:lnTo>
                  <a:lnTo>
                    <a:pt x="643" y="783"/>
                  </a:lnTo>
                  <a:cubicBezTo>
                    <a:pt x="643" y="792"/>
                    <a:pt x="637" y="797"/>
                    <a:pt x="628" y="797"/>
                  </a:cubicBezTo>
                  <a:lnTo>
                    <a:pt x="600" y="797"/>
                  </a:lnTo>
                  <a:cubicBezTo>
                    <a:pt x="592" y="797"/>
                    <a:pt x="586" y="792"/>
                    <a:pt x="586" y="783"/>
                  </a:cubicBezTo>
                  <a:lnTo>
                    <a:pt x="572" y="299"/>
                  </a:lnTo>
                  <a:cubicBezTo>
                    <a:pt x="485" y="377"/>
                    <a:pt x="353" y="380"/>
                    <a:pt x="263" y="307"/>
                  </a:cubicBezTo>
                  <a:lnTo>
                    <a:pt x="260" y="305"/>
                  </a:lnTo>
                  <a:lnTo>
                    <a:pt x="274" y="792"/>
                  </a:lnTo>
                  <a:cubicBezTo>
                    <a:pt x="274" y="800"/>
                    <a:pt x="268" y="806"/>
                    <a:pt x="260" y="806"/>
                  </a:cubicBezTo>
                  <a:lnTo>
                    <a:pt x="234" y="806"/>
                  </a:lnTo>
                  <a:cubicBezTo>
                    <a:pt x="226" y="806"/>
                    <a:pt x="220" y="800"/>
                    <a:pt x="220" y="792"/>
                  </a:cubicBezTo>
                  <a:lnTo>
                    <a:pt x="203" y="268"/>
                  </a:lnTo>
                  <a:lnTo>
                    <a:pt x="133" y="271"/>
                  </a:lnTo>
                  <a:lnTo>
                    <a:pt x="133" y="271"/>
                  </a:lnTo>
                  <a:cubicBezTo>
                    <a:pt x="62" y="274"/>
                    <a:pt x="6" y="219"/>
                    <a:pt x="3" y="149"/>
                  </a:cubicBezTo>
                  <a:cubicBezTo>
                    <a:pt x="0" y="78"/>
                    <a:pt x="54" y="22"/>
                    <a:pt x="124" y="20"/>
                  </a:cubicBezTo>
                  <a:lnTo>
                    <a:pt x="124" y="20"/>
                  </a:lnTo>
                  <a:cubicBezTo>
                    <a:pt x="195" y="17"/>
                    <a:pt x="251" y="70"/>
                    <a:pt x="254" y="141"/>
                  </a:cubicBezTo>
                  <a:lnTo>
                    <a:pt x="257" y="217"/>
                  </a:lnTo>
                  <a:cubicBezTo>
                    <a:pt x="274" y="243"/>
                    <a:pt x="296" y="265"/>
                    <a:pt x="322" y="279"/>
                  </a:cubicBezTo>
                  <a:cubicBezTo>
                    <a:pt x="408" y="329"/>
                    <a:pt x="518" y="299"/>
                    <a:pt x="569" y="211"/>
                  </a:cubicBezTo>
                  <a:lnTo>
                    <a:pt x="566" y="132"/>
                  </a:lnTo>
                  <a:cubicBezTo>
                    <a:pt x="564" y="62"/>
                    <a:pt x="617" y="6"/>
                    <a:pt x="688" y="3"/>
                  </a:cubicBezTo>
                  <a:lnTo>
                    <a:pt x="688" y="3"/>
                  </a:lnTo>
                  <a:close/>
                  <a:moveTo>
                    <a:pt x="696" y="197"/>
                  </a:moveTo>
                  <a:cubicBezTo>
                    <a:pt x="733" y="197"/>
                    <a:pt x="764" y="164"/>
                    <a:pt x="761" y="124"/>
                  </a:cubicBezTo>
                  <a:cubicBezTo>
                    <a:pt x="761" y="87"/>
                    <a:pt x="730" y="56"/>
                    <a:pt x="691" y="56"/>
                  </a:cubicBezTo>
                  <a:lnTo>
                    <a:pt x="691" y="56"/>
                  </a:lnTo>
                  <a:cubicBezTo>
                    <a:pt x="651" y="59"/>
                    <a:pt x="623" y="90"/>
                    <a:pt x="623" y="130"/>
                  </a:cubicBezTo>
                  <a:lnTo>
                    <a:pt x="626" y="200"/>
                  </a:lnTo>
                  <a:lnTo>
                    <a:pt x="696" y="197"/>
                  </a:lnTo>
                  <a:lnTo>
                    <a:pt x="696" y="197"/>
                  </a:lnTo>
                  <a:close/>
                  <a:moveTo>
                    <a:pt x="198" y="144"/>
                  </a:moveTo>
                  <a:cubicBezTo>
                    <a:pt x="198" y="104"/>
                    <a:pt x="164" y="73"/>
                    <a:pt x="124" y="76"/>
                  </a:cubicBezTo>
                  <a:cubicBezTo>
                    <a:pt x="85" y="79"/>
                    <a:pt x="57" y="110"/>
                    <a:pt x="57" y="149"/>
                  </a:cubicBezTo>
                  <a:cubicBezTo>
                    <a:pt x="59" y="189"/>
                    <a:pt x="90" y="217"/>
                    <a:pt x="130" y="217"/>
                  </a:cubicBezTo>
                  <a:lnTo>
                    <a:pt x="201" y="214"/>
                  </a:lnTo>
                  <a:lnTo>
                    <a:pt x="198" y="169"/>
                  </a:lnTo>
                  <a:cubicBezTo>
                    <a:pt x="198" y="166"/>
                    <a:pt x="198" y="166"/>
                    <a:pt x="198" y="164"/>
                  </a:cubicBezTo>
                  <a:lnTo>
                    <a:pt x="198" y="14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Group 13"/>
          <p:cNvGrpSpPr>
            <a:grpSpLocks noChangeAspect="1"/>
          </p:cNvGrpSpPr>
          <p:nvPr/>
        </p:nvGrpSpPr>
        <p:grpSpPr>
          <a:xfrm>
            <a:off x="10455253" y="6395310"/>
            <a:ext cx="306782" cy="310756"/>
            <a:chOff x="3487738" y="2046288"/>
            <a:chExt cx="612775" cy="620712"/>
          </a:xfrm>
          <a:solidFill>
            <a:schemeClr val="accent5"/>
          </a:solidFill>
        </p:grpSpPr>
        <p:sp>
          <p:nvSpPr>
            <p:cNvPr id="15" name="Freeform 31"/>
            <p:cNvSpPr>
              <a:spLocks noChangeArrowheads="1"/>
            </p:cNvSpPr>
            <p:nvPr/>
          </p:nvSpPr>
          <p:spPr bwMode="auto">
            <a:xfrm>
              <a:off x="3487738" y="2046288"/>
              <a:ext cx="612775" cy="620712"/>
            </a:xfrm>
            <a:custGeom>
              <a:avLst/>
              <a:gdLst>
                <a:gd name="T0" fmla="*/ 638 w 1703"/>
                <a:gd name="T1" fmla="*/ 1469 h 1724"/>
                <a:gd name="T2" fmla="*/ 113 w 1703"/>
                <a:gd name="T3" fmla="*/ 544 h 1724"/>
                <a:gd name="T4" fmla="*/ 480 w 1703"/>
                <a:gd name="T5" fmla="*/ 110 h 1724"/>
                <a:gd name="T6" fmla="*/ 1061 w 1703"/>
                <a:gd name="T7" fmla="*/ 59 h 1724"/>
                <a:gd name="T8" fmla="*/ 1583 w 1703"/>
                <a:gd name="T9" fmla="*/ 986 h 1724"/>
                <a:gd name="T10" fmla="*/ 931 w 1703"/>
                <a:gd name="T11" fmla="*/ 1503 h 1724"/>
                <a:gd name="T12" fmla="*/ 943 w 1703"/>
                <a:gd name="T13" fmla="*/ 1565 h 1724"/>
                <a:gd name="T14" fmla="*/ 940 w 1703"/>
                <a:gd name="T15" fmla="*/ 1714 h 1724"/>
                <a:gd name="T16" fmla="*/ 903 w 1703"/>
                <a:gd name="T17" fmla="*/ 1720 h 1724"/>
                <a:gd name="T18" fmla="*/ 897 w 1703"/>
                <a:gd name="T19" fmla="*/ 1717 h 1724"/>
                <a:gd name="T20" fmla="*/ 672 w 1703"/>
                <a:gd name="T21" fmla="*/ 1514 h 1724"/>
                <a:gd name="T22" fmla="*/ 638 w 1703"/>
                <a:gd name="T23" fmla="*/ 1469 h 1724"/>
                <a:gd name="T24" fmla="*/ 903 w 1703"/>
                <a:gd name="T25" fmla="*/ 1440 h 1724"/>
                <a:gd name="T26" fmla="*/ 1524 w 1703"/>
                <a:gd name="T27" fmla="*/ 966 h 1724"/>
                <a:gd name="T28" fmla="*/ 1044 w 1703"/>
                <a:gd name="T29" fmla="*/ 118 h 1724"/>
                <a:gd name="T30" fmla="*/ 833 w 1703"/>
                <a:gd name="T31" fmla="*/ 87 h 1724"/>
                <a:gd name="T32" fmla="*/ 511 w 1703"/>
                <a:gd name="T33" fmla="*/ 163 h 1724"/>
                <a:gd name="T34" fmla="*/ 175 w 1703"/>
                <a:gd name="T35" fmla="*/ 561 h 1724"/>
                <a:gd name="T36" fmla="*/ 655 w 1703"/>
                <a:gd name="T37" fmla="*/ 1409 h 1724"/>
                <a:gd name="T38" fmla="*/ 725 w 1703"/>
                <a:gd name="T39" fmla="*/ 1483 h 1724"/>
                <a:gd name="T40" fmla="*/ 892 w 1703"/>
                <a:gd name="T41" fmla="*/ 1646 h 1724"/>
                <a:gd name="T42" fmla="*/ 881 w 1703"/>
                <a:gd name="T43" fmla="*/ 1576 h 1724"/>
                <a:gd name="T44" fmla="*/ 878 w 1703"/>
                <a:gd name="T45" fmla="*/ 1455 h 1724"/>
                <a:gd name="T46" fmla="*/ 903 w 1703"/>
                <a:gd name="T47" fmla="*/ 1440 h 1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03" h="1724">
                  <a:moveTo>
                    <a:pt x="638" y="1469"/>
                  </a:moveTo>
                  <a:cubicBezTo>
                    <a:pt x="234" y="1347"/>
                    <a:pt x="0" y="933"/>
                    <a:pt x="113" y="544"/>
                  </a:cubicBezTo>
                  <a:cubicBezTo>
                    <a:pt x="172" y="355"/>
                    <a:pt x="302" y="197"/>
                    <a:pt x="480" y="110"/>
                  </a:cubicBezTo>
                  <a:cubicBezTo>
                    <a:pt x="660" y="17"/>
                    <a:pt x="869" y="0"/>
                    <a:pt x="1061" y="59"/>
                  </a:cubicBezTo>
                  <a:cubicBezTo>
                    <a:pt x="1465" y="183"/>
                    <a:pt x="1702" y="598"/>
                    <a:pt x="1583" y="986"/>
                  </a:cubicBezTo>
                  <a:cubicBezTo>
                    <a:pt x="1493" y="1277"/>
                    <a:pt x="1233" y="1480"/>
                    <a:pt x="931" y="1503"/>
                  </a:cubicBezTo>
                  <a:cubicBezTo>
                    <a:pt x="934" y="1519"/>
                    <a:pt x="940" y="1545"/>
                    <a:pt x="943" y="1565"/>
                  </a:cubicBezTo>
                  <a:cubicBezTo>
                    <a:pt x="960" y="1652"/>
                    <a:pt x="965" y="1694"/>
                    <a:pt x="940" y="1714"/>
                  </a:cubicBezTo>
                  <a:cubicBezTo>
                    <a:pt x="929" y="1723"/>
                    <a:pt x="914" y="1723"/>
                    <a:pt x="903" y="1720"/>
                  </a:cubicBezTo>
                  <a:cubicBezTo>
                    <a:pt x="900" y="1720"/>
                    <a:pt x="900" y="1717"/>
                    <a:pt x="897" y="1717"/>
                  </a:cubicBezTo>
                  <a:cubicBezTo>
                    <a:pt x="802" y="1677"/>
                    <a:pt x="720" y="1607"/>
                    <a:pt x="672" y="1514"/>
                  </a:cubicBezTo>
                  <a:cubicBezTo>
                    <a:pt x="660" y="1494"/>
                    <a:pt x="646" y="1471"/>
                    <a:pt x="638" y="1469"/>
                  </a:cubicBezTo>
                  <a:close/>
                  <a:moveTo>
                    <a:pt x="903" y="1440"/>
                  </a:moveTo>
                  <a:cubicBezTo>
                    <a:pt x="1191" y="1429"/>
                    <a:pt x="1439" y="1240"/>
                    <a:pt x="1524" y="966"/>
                  </a:cubicBezTo>
                  <a:cubicBezTo>
                    <a:pt x="1631" y="612"/>
                    <a:pt x="1417" y="231"/>
                    <a:pt x="1044" y="118"/>
                  </a:cubicBezTo>
                  <a:cubicBezTo>
                    <a:pt x="977" y="98"/>
                    <a:pt x="903" y="87"/>
                    <a:pt x="833" y="87"/>
                  </a:cubicBezTo>
                  <a:cubicBezTo>
                    <a:pt x="723" y="87"/>
                    <a:pt x="610" y="113"/>
                    <a:pt x="511" y="163"/>
                  </a:cubicBezTo>
                  <a:cubicBezTo>
                    <a:pt x="347" y="245"/>
                    <a:pt x="229" y="389"/>
                    <a:pt x="175" y="561"/>
                  </a:cubicBezTo>
                  <a:cubicBezTo>
                    <a:pt x="68" y="916"/>
                    <a:pt x="282" y="1297"/>
                    <a:pt x="655" y="1409"/>
                  </a:cubicBezTo>
                  <a:cubicBezTo>
                    <a:pt x="689" y="1421"/>
                    <a:pt x="706" y="1449"/>
                    <a:pt x="725" y="1483"/>
                  </a:cubicBezTo>
                  <a:cubicBezTo>
                    <a:pt x="762" y="1553"/>
                    <a:pt x="821" y="1610"/>
                    <a:pt x="892" y="1646"/>
                  </a:cubicBezTo>
                  <a:cubicBezTo>
                    <a:pt x="889" y="1624"/>
                    <a:pt x="883" y="1596"/>
                    <a:pt x="881" y="1576"/>
                  </a:cubicBezTo>
                  <a:cubicBezTo>
                    <a:pt x="866" y="1505"/>
                    <a:pt x="864" y="1474"/>
                    <a:pt x="878" y="1455"/>
                  </a:cubicBezTo>
                  <a:cubicBezTo>
                    <a:pt x="883" y="1446"/>
                    <a:pt x="892" y="1440"/>
                    <a:pt x="903" y="144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32"/>
            <p:cNvSpPr>
              <a:spLocks noChangeArrowheads="1"/>
            </p:cNvSpPr>
            <p:nvPr/>
          </p:nvSpPr>
          <p:spPr bwMode="auto">
            <a:xfrm>
              <a:off x="3638550" y="2197100"/>
              <a:ext cx="309563" cy="287338"/>
            </a:xfrm>
            <a:custGeom>
              <a:avLst/>
              <a:gdLst>
                <a:gd name="T0" fmla="*/ 618 w 861"/>
                <a:gd name="T1" fmla="*/ 0 h 796"/>
                <a:gd name="T2" fmla="*/ 858 w 861"/>
                <a:gd name="T3" fmla="*/ 240 h 796"/>
                <a:gd name="T4" fmla="*/ 849 w 861"/>
                <a:gd name="T5" fmla="*/ 333 h 796"/>
                <a:gd name="T6" fmla="*/ 731 w 861"/>
                <a:gd name="T7" fmla="*/ 530 h 796"/>
                <a:gd name="T8" fmla="*/ 437 w 861"/>
                <a:gd name="T9" fmla="*/ 792 h 796"/>
                <a:gd name="T10" fmla="*/ 420 w 861"/>
                <a:gd name="T11" fmla="*/ 792 h 796"/>
                <a:gd name="T12" fmla="*/ 130 w 861"/>
                <a:gd name="T13" fmla="*/ 530 h 796"/>
                <a:gd name="T14" fmla="*/ 11 w 861"/>
                <a:gd name="T15" fmla="*/ 333 h 796"/>
                <a:gd name="T16" fmla="*/ 3 w 861"/>
                <a:gd name="T17" fmla="*/ 240 h 796"/>
                <a:gd name="T18" fmla="*/ 240 w 861"/>
                <a:gd name="T19" fmla="*/ 0 h 796"/>
                <a:gd name="T20" fmla="*/ 426 w 861"/>
                <a:gd name="T21" fmla="*/ 99 h 796"/>
                <a:gd name="T22" fmla="*/ 618 w 861"/>
                <a:gd name="T23" fmla="*/ 0 h 796"/>
                <a:gd name="T24" fmla="*/ 426 w 861"/>
                <a:gd name="T25" fmla="*/ 713 h 796"/>
                <a:gd name="T26" fmla="*/ 680 w 861"/>
                <a:gd name="T27" fmla="*/ 482 h 796"/>
                <a:gd name="T28" fmla="*/ 779 w 861"/>
                <a:gd name="T29" fmla="*/ 319 h 796"/>
                <a:gd name="T30" fmla="*/ 784 w 861"/>
                <a:gd name="T31" fmla="*/ 251 h 796"/>
                <a:gd name="T32" fmla="*/ 609 w 861"/>
                <a:gd name="T33" fmla="*/ 65 h 796"/>
                <a:gd name="T34" fmla="*/ 448 w 861"/>
                <a:gd name="T35" fmla="*/ 175 h 796"/>
                <a:gd name="T36" fmla="*/ 434 w 861"/>
                <a:gd name="T37" fmla="*/ 209 h 796"/>
                <a:gd name="T38" fmla="*/ 429 w 861"/>
                <a:gd name="T39" fmla="*/ 215 h 796"/>
                <a:gd name="T40" fmla="*/ 412 w 861"/>
                <a:gd name="T41" fmla="*/ 209 h 796"/>
                <a:gd name="T42" fmla="*/ 398 w 861"/>
                <a:gd name="T43" fmla="*/ 175 h 796"/>
                <a:gd name="T44" fmla="*/ 242 w 861"/>
                <a:gd name="T45" fmla="*/ 65 h 796"/>
                <a:gd name="T46" fmla="*/ 67 w 861"/>
                <a:gd name="T47" fmla="*/ 251 h 796"/>
                <a:gd name="T48" fmla="*/ 73 w 861"/>
                <a:gd name="T49" fmla="*/ 322 h 796"/>
                <a:gd name="T50" fmla="*/ 172 w 861"/>
                <a:gd name="T51" fmla="*/ 485 h 796"/>
                <a:gd name="T52" fmla="*/ 426 w 861"/>
                <a:gd name="T53" fmla="*/ 713 h 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61" h="796">
                  <a:moveTo>
                    <a:pt x="618" y="0"/>
                  </a:moveTo>
                  <a:cubicBezTo>
                    <a:pt x="742" y="0"/>
                    <a:pt x="841" y="102"/>
                    <a:pt x="858" y="240"/>
                  </a:cubicBezTo>
                  <a:cubicBezTo>
                    <a:pt x="860" y="271"/>
                    <a:pt x="858" y="302"/>
                    <a:pt x="849" y="333"/>
                  </a:cubicBezTo>
                  <a:cubicBezTo>
                    <a:pt x="832" y="409"/>
                    <a:pt x="790" y="476"/>
                    <a:pt x="731" y="530"/>
                  </a:cubicBezTo>
                  <a:lnTo>
                    <a:pt x="437" y="792"/>
                  </a:lnTo>
                  <a:cubicBezTo>
                    <a:pt x="432" y="795"/>
                    <a:pt x="426" y="795"/>
                    <a:pt x="420" y="792"/>
                  </a:cubicBezTo>
                  <a:lnTo>
                    <a:pt x="130" y="530"/>
                  </a:lnTo>
                  <a:cubicBezTo>
                    <a:pt x="70" y="479"/>
                    <a:pt x="31" y="409"/>
                    <a:pt x="11" y="333"/>
                  </a:cubicBezTo>
                  <a:cubicBezTo>
                    <a:pt x="3" y="302"/>
                    <a:pt x="0" y="271"/>
                    <a:pt x="3" y="240"/>
                  </a:cubicBezTo>
                  <a:cubicBezTo>
                    <a:pt x="17" y="102"/>
                    <a:pt x="115" y="0"/>
                    <a:pt x="240" y="0"/>
                  </a:cubicBezTo>
                  <a:cubicBezTo>
                    <a:pt x="313" y="0"/>
                    <a:pt x="384" y="37"/>
                    <a:pt x="426" y="99"/>
                  </a:cubicBezTo>
                  <a:cubicBezTo>
                    <a:pt x="471" y="37"/>
                    <a:pt x="542" y="0"/>
                    <a:pt x="618" y="0"/>
                  </a:cubicBezTo>
                  <a:close/>
                  <a:moveTo>
                    <a:pt x="426" y="713"/>
                  </a:moveTo>
                  <a:lnTo>
                    <a:pt x="680" y="482"/>
                  </a:lnTo>
                  <a:cubicBezTo>
                    <a:pt x="728" y="439"/>
                    <a:pt x="765" y="381"/>
                    <a:pt x="779" y="319"/>
                  </a:cubicBezTo>
                  <a:cubicBezTo>
                    <a:pt x="784" y="297"/>
                    <a:pt x="787" y="274"/>
                    <a:pt x="784" y="251"/>
                  </a:cubicBezTo>
                  <a:cubicBezTo>
                    <a:pt x="776" y="144"/>
                    <a:pt x="702" y="65"/>
                    <a:pt x="609" y="65"/>
                  </a:cubicBezTo>
                  <a:cubicBezTo>
                    <a:pt x="539" y="68"/>
                    <a:pt x="474" y="110"/>
                    <a:pt x="448" y="175"/>
                  </a:cubicBezTo>
                  <a:lnTo>
                    <a:pt x="434" y="209"/>
                  </a:lnTo>
                  <a:cubicBezTo>
                    <a:pt x="434" y="212"/>
                    <a:pt x="432" y="215"/>
                    <a:pt x="429" y="215"/>
                  </a:cubicBezTo>
                  <a:cubicBezTo>
                    <a:pt x="420" y="218"/>
                    <a:pt x="415" y="215"/>
                    <a:pt x="412" y="209"/>
                  </a:cubicBezTo>
                  <a:lnTo>
                    <a:pt x="398" y="175"/>
                  </a:lnTo>
                  <a:cubicBezTo>
                    <a:pt x="372" y="110"/>
                    <a:pt x="313" y="65"/>
                    <a:pt x="242" y="65"/>
                  </a:cubicBezTo>
                  <a:cubicBezTo>
                    <a:pt x="152" y="65"/>
                    <a:pt x="76" y="144"/>
                    <a:pt x="67" y="251"/>
                  </a:cubicBezTo>
                  <a:cubicBezTo>
                    <a:pt x="65" y="274"/>
                    <a:pt x="67" y="299"/>
                    <a:pt x="73" y="322"/>
                  </a:cubicBezTo>
                  <a:cubicBezTo>
                    <a:pt x="90" y="384"/>
                    <a:pt x="124" y="442"/>
                    <a:pt x="172" y="485"/>
                  </a:cubicBezTo>
                  <a:lnTo>
                    <a:pt x="426" y="71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7" name="Group 16"/>
          <p:cNvGrpSpPr>
            <a:grpSpLocks noChangeAspect="1"/>
          </p:cNvGrpSpPr>
          <p:nvPr/>
        </p:nvGrpSpPr>
        <p:grpSpPr>
          <a:xfrm>
            <a:off x="11716820" y="5039139"/>
            <a:ext cx="194718" cy="340956"/>
            <a:chOff x="7715250" y="2089150"/>
            <a:chExt cx="388938" cy="681038"/>
          </a:xfrm>
          <a:solidFill>
            <a:schemeClr val="tx1"/>
          </a:solidFill>
        </p:grpSpPr>
        <p:sp>
          <p:nvSpPr>
            <p:cNvPr id="18" name="Freeform 33"/>
            <p:cNvSpPr>
              <a:spLocks noChangeArrowheads="1"/>
            </p:cNvSpPr>
            <p:nvPr/>
          </p:nvSpPr>
          <p:spPr bwMode="auto">
            <a:xfrm>
              <a:off x="7958138" y="2089150"/>
              <a:ext cx="146050" cy="661988"/>
            </a:xfrm>
            <a:custGeom>
              <a:avLst/>
              <a:gdLst>
                <a:gd name="T0" fmla="*/ 279 w 404"/>
                <a:gd name="T1" fmla="*/ 1833 h 1837"/>
                <a:gd name="T2" fmla="*/ 152 w 404"/>
                <a:gd name="T3" fmla="*/ 1715 h 1837"/>
                <a:gd name="T4" fmla="*/ 130 w 404"/>
                <a:gd name="T5" fmla="*/ 1204 h 1837"/>
                <a:gd name="T6" fmla="*/ 82 w 404"/>
                <a:gd name="T7" fmla="*/ 1195 h 1837"/>
                <a:gd name="T8" fmla="*/ 3 w 404"/>
                <a:gd name="T9" fmla="*/ 1097 h 1837"/>
                <a:gd name="T10" fmla="*/ 51 w 404"/>
                <a:gd name="T11" fmla="*/ 96 h 1837"/>
                <a:gd name="T12" fmla="*/ 141 w 404"/>
                <a:gd name="T13" fmla="*/ 3 h 1837"/>
                <a:gd name="T14" fmla="*/ 141 w 404"/>
                <a:gd name="T15" fmla="*/ 3 h 1837"/>
                <a:gd name="T16" fmla="*/ 248 w 404"/>
                <a:gd name="T17" fmla="*/ 93 h 1837"/>
                <a:gd name="T18" fmla="*/ 395 w 404"/>
                <a:gd name="T19" fmla="*/ 1698 h 1837"/>
                <a:gd name="T20" fmla="*/ 285 w 404"/>
                <a:gd name="T21" fmla="*/ 1833 h 1837"/>
                <a:gd name="T22" fmla="*/ 279 w 404"/>
                <a:gd name="T23" fmla="*/ 1833 h 1837"/>
                <a:gd name="T24" fmla="*/ 90 w 404"/>
                <a:gd name="T25" fmla="*/ 1136 h 1837"/>
                <a:gd name="T26" fmla="*/ 163 w 404"/>
                <a:gd name="T27" fmla="*/ 1148 h 1837"/>
                <a:gd name="T28" fmla="*/ 189 w 404"/>
                <a:gd name="T29" fmla="*/ 1176 h 1837"/>
                <a:gd name="T30" fmla="*/ 211 w 404"/>
                <a:gd name="T31" fmla="*/ 1712 h 1837"/>
                <a:gd name="T32" fmla="*/ 234 w 404"/>
                <a:gd name="T33" fmla="*/ 1757 h 1837"/>
                <a:gd name="T34" fmla="*/ 279 w 404"/>
                <a:gd name="T35" fmla="*/ 1771 h 1837"/>
                <a:gd name="T36" fmla="*/ 336 w 404"/>
                <a:gd name="T37" fmla="*/ 1703 h 1837"/>
                <a:gd name="T38" fmla="*/ 186 w 404"/>
                <a:gd name="T39" fmla="*/ 99 h 1837"/>
                <a:gd name="T40" fmla="*/ 149 w 404"/>
                <a:gd name="T41" fmla="*/ 65 h 1837"/>
                <a:gd name="T42" fmla="*/ 110 w 404"/>
                <a:gd name="T43" fmla="*/ 102 h 1837"/>
                <a:gd name="T44" fmla="*/ 62 w 404"/>
                <a:gd name="T45" fmla="*/ 1102 h 1837"/>
                <a:gd name="T46" fmla="*/ 90 w 404"/>
                <a:gd name="T47" fmla="*/ 1136 h 1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4" h="1837">
                  <a:moveTo>
                    <a:pt x="279" y="1833"/>
                  </a:moveTo>
                  <a:cubicBezTo>
                    <a:pt x="211" y="1836"/>
                    <a:pt x="155" y="1785"/>
                    <a:pt x="152" y="1715"/>
                  </a:cubicBezTo>
                  <a:lnTo>
                    <a:pt x="130" y="1204"/>
                  </a:lnTo>
                  <a:lnTo>
                    <a:pt x="82" y="1195"/>
                  </a:lnTo>
                  <a:cubicBezTo>
                    <a:pt x="34" y="1187"/>
                    <a:pt x="0" y="1145"/>
                    <a:pt x="3" y="1097"/>
                  </a:cubicBezTo>
                  <a:lnTo>
                    <a:pt x="51" y="96"/>
                  </a:lnTo>
                  <a:cubicBezTo>
                    <a:pt x="53" y="48"/>
                    <a:pt x="93" y="9"/>
                    <a:pt x="141" y="3"/>
                  </a:cubicBezTo>
                  <a:lnTo>
                    <a:pt x="141" y="3"/>
                  </a:lnTo>
                  <a:cubicBezTo>
                    <a:pt x="194" y="0"/>
                    <a:pt x="242" y="40"/>
                    <a:pt x="248" y="93"/>
                  </a:cubicBezTo>
                  <a:lnTo>
                    <a:pt x="395" y="1698"/>
                  </a:lnTo>
                  <a:cubicBezTo>
                    <a:pt x="403" y="1765"/>
                    <a:pt x="353" y="1827"/>
                    <a:pt x="285" y="1833"/>
                  </a:cubicBezTo>
                  <a:cubicBezTo>
                    <a:pt x="282" y="1833"/>
                    <a:pt x="282" y="1833"/>
                    <a:pt x="279" y="1833"/>
                  </a:cubicBezTo>
                  <a:close/>
                  <a:moveTo>
                    <a:pt x="90" y="1136"/>
                  </a:moveTo>
                  <a:lnTo>
                    <a:pt x="163" y="1148"/>
                  </a:lnTo>
                  <a:cubicBezTo>
                    <a:pt x="178" y="1150"/>
                    <a:pt x="189" y="1162"/>
                    <a:pt x="189" y="1176"/>
                  </a:cubicBezTo>
                  <a:lnTo>
                    <a:pt x="211" y="1712"/>
                  </a:lnTo>
                  <a:cubicBezTo>
                    <a:pt x="211" y="1729"/>
                    <a:pt x="220" y="1746"/>
                    <a:pt x="234" y="1757"/>
                  </a:cubicBezTo>
                  <a:cubicBezTo>
                    <a:pt x="248" y="1768"/>
                    <a:pt x="262" y="1774"/>
                    <a:pt x="279" y="1771"/>
                  </a:cubicBezTo>
                  <a:cubicBezTo>
                    <a:pt x="313" y="1768"/>
                    <a:pt x="338" y="1737"/>
                    <a:pt x="336" y="1703"/>
                  </a:cubicBezTo>
                  <a:lnTo>
                    <a:pt x="186" y="99"/>
                  </a:lnTo>
                  <a:cubicBezTo>
                    <a:pt x="183" y="79"/>
                    <a:pt x="169" y="65"/>
                    <a:pt x="149" y="65"/>
                  </a:cubicBezTo>
                  <a:cubicBezTo>
                    <a:pt x="130" y="65"/>
                    <a:pt x="110" y="82"/>
                    <a:pt x="110" y="102"/>
                  </a:cubicBezTo>
                  <a:lnTo>
                    <a:pt x="62" y="1102"/>
                  </a:lnTo>
                  <a:cubicBezTo>
                    <a:pt x="62" y="1119"/>
                    <a:pt x="73" y="1133"/>
                    <a:pt x="90" y="113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34"/>
            <p:cNvSpPr>
              <a:spLocks noChangeArrowheads="1"/>
            </p:cNvSpPr>
            <p:nvPr/>
          </p:nvSpPr>
          <p:spPr bwMode="auto">
            <a:xfrm>
              <a:off x="7715250" y="2108200"/>
              <a:ext cx="157163" cy="661988"/>
            </a:xfrm>
            <a:custGeom>
              <a:avLst/>
              <a:gdLst>
                <a:gd name="T0" fmla="*/ 395 w 436"/>
                <a:gd name="T1" fmla="*/ 621 h 1840"/>
                <a:gd name="T2" fmla="*/ 359 w 436"/>
                <a:gd name="T3" fmla="*/ 702 h 1840"/>
                <a:gd name="T4" fmla="*/ 325 w 436"/>
                <a:gd name="T5" fmla="*/ 730 h 1840"/>
                <a:gd name="T6" fmla="*/ 314 w 436"/>
                <a:gd name="T7" fmla="*/ 758 h 1840"/>
                <a:gd name="T8" fmla="*/ 429 w 436"/>
                <a:gd name="T9" fmla="*/ 1697 h 1840"/>
                <a:gd name="T10" fmla="*/ 429 w 436"/>
                <a:gd name="T11" fmla="*/ 1706 h 1840"/>
                <a:gd name="T12" fmla="*/ 319 w 436"/>
                <a:gd name="T13" fmla="*/ 1836 h 1840"/>
                <a:gd name="T14" fmla="*/ 316 w 436"/>
                <a:gd name="T15" fmla="*/ 1836 h 1840"/>
                <a:gd name="T16" fmla="*/ 187 w 436"/>
                <a:gd name="T17" fmla="*/ 1720 h 1840"/>
                <a:gd name="T18" fmla="*/ 127 w 436"/>
                <a:gd name="T19" fmla="*/ 775 h 1840"/>
                <a:gd name="T20" fmla="*/ 110 w 436"/>
                <a:gd name="T21" fmla="*/ 749 h 1840"/>
                <a:gd name="T22" fmla="*/ 74 w 436"/>
                <a:gd name="T23" fmla="*/ 730 h 1840"/>
                <a:gd name="T24" fmla="*/ 26 w 436"/>
                <a:gd name="T25" fmla="*/ 652 h 1840"/>
                <a:gd name="T26" fmla="*/ 0 w 436"/>
                <a:gd name="T27" fmla="*/ 54 h 1840"/>
                <a:gd name="T28" fmla="*/ 9 w 436"/>
                <a:gd name="T29" fmla="*/ 31 h 1840"/>
                <a:gd name="T30" fmla="*/ 29 w 436"/>
                <a:gd name="T31" fmla="*/ 23 h 1840"/>
                <a:gd name="T32" fmla="*/ 31 w 436"/>
                <a:gd name="T33" fmla="*/ 23 h 1840"/>
                <a:gd name="T34" fmla="*/ 31 w 436"/>
                <a:gd name="T35" fmla="*/ 23 h 1840"/>
                <a:gd name="T36" fmla="*/ 62 w 436"/>
                <a:gd name="T37" fmla="*/ 54 h 1840"/>
                <a:gd name="T38" fmla="*/ 85 w 436"/>
                <a:gd name="T39" fmla="*/ 561 h 1840"/>
                <a:gd name="T40" fmla="*/ 175 w 436"/>
                <a:gd name="T41" fmla="*/ 553 h 1840"/>
                <a:gd name="T42" fmla="*/ 127 w 436"/>
                <a:gd name="T43" fmla="*/ 48 h 1840"/>
                <a:gd name="T44" fmla="*/ 133 w 436"/>
                <a:gd name="T45" fmla="*/ 25 h 1840"/>
                <a:gd name="T46" fmla="*/ 175 w 436"/>
                <a:gd name="T47" fmla="*/ 23 h 1840"/>
                <a:gd name="T48" fmla="*/ 187 w 436"/>
                <a:gd name="T49" fmla="*/ 42 h 1840"/>
                <a:gd name="T50" fmla="*/ 235 w 436"/>
                <a:gd name="T51" fmla="*/ 547 h 1840"/>
                <a:gd name="T52" fmla="*/ 325 w 436"/>
                <a:gd name="T53" fmla="*/ 539 h 1840"/>
                <a:gd name="T54" fmla="*/ 251 w 436"/>
                <a:gd name="T55" fmla="*/ 37 h 1840"/>
                <a:gd name="T56" fmla="*/ 277 w 436"/>
                <a:gd name="T57" fmla="*/ 3 h 1840"/>
                <a:gd name="T58" fmla="*/ 311 w 436"/>
                <a:gd name="T59" fmla="*/ 28 h 1840"/>
                <a:gd name="T60" fmla="*/ 395 w 436"/>
                <a:gd name="T61" fmla="*/ 621 h 1840"/>
                <a:gd name="T62" fmla="*/ 322 w 436"/>
                <a:gd name="T63" fmla="*/ 660 h 1840"/>
                <a:gd name="T64" fmla="*/ 342 w 436"/>
                <a:gd name="T65" fmla="*/ 632 h 1840"/>
                <a:gd name="T66" fmla="*/ 336 w 436"/>
                <a:gd name="T67" fmla="*/ 601 h 1840"/>
                <a:gd name="T68" fmla="*/ 88 w 436"/>
                <a:gd name="T69" fmla="*/ 624 h 1840"/>
                <a:gd name="T70" fmla="*/ 88 w 436"/>
                <a:gd name="T71" fmla="*/ 655 h 1840"/>
                <a:gd name="T72" fmla="*/ 105 w 436"/>
                <a:gd name="T73" fmla="*/ 682 h 1840"/>
                <a:gd name="T74" fmla="*/ 141 w 436"/>
                <a:gd name="T75" fmla="*/ 702 h 1840"/>
                <a:gd name="T76" fmla="*/ 189 w 436"/>
                <a:gd name="T77" fmla="*/ 778 h 1840"/>
                <a:gd name="T78" fmla="*/ 249 w 436"/>
                <a:gd name="T79" fmla="*/ 1723 h 1840"/>
                <a:gd name="T80" fmla="*/ 249 w 436"/>
                <a:gd name="T81" fmla="*/ 1723 h 1840"/>
                <a:gd name="T82" fmla="*/ 316 w 436"/>
                <a:gd name="T83" fmla="*/ 1779 h 1840"/>
                <a:gd name="T84" fmla="*/ 316 w 436"/>
                <a:gd name="T85" fmla="*/ 1779 h 1840"/>
                <a:gd name="T86" fmla="*/ 370 w 436"/>
                <a:gd name="T87" fmla="*/ 1712 h 1840"/>
                <a:gd name="T88" fmla="*/ 254 w 436"/>
                <a:gd name="T89" fmla="*/ 772 h 1840"/>
                <a:gd name="T90" fmla="*/ 254 w 436"/>
                <a:gd name="T91" fmla="*/ 772 h 1840"/>
                <a:gd name="T92" fmla="*/ 288 w 436"/>
                <a:gd name="T93" fmla="*/ 687 h 1840"/>
                <a:gd name="T94" fmla="*/ 322 w 436"/>
                <a:gd name="T95" fmla="*/ 660 h 1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36" h="1840">
                  <a:moveTo>
                    <a:pt x="395" y="621"/>
                  </a:moveTo>
                  <a:cubicBezTo>
                    <a:pt x="398" y="655"/>
                    <a:pt x="387" y="687"/>
                    <a:pt x="359" y="702"/>
                  </a:cubicBezTo>
                  <a:lnTo>
                    <a:pt x="325" y="730"/>
                  </a:lnTo>
                  <a:cubicBezTo>
                    <a:pt x="316" y="735"/>
                    <a:pt x="311" y="747"/>
                    <a:pt x="314" y="758"/>
                  </a:cubicBezTo>
                  <a:lnTo>
                    <a:pt x="429" y="1697"/>
                  </a:lnTo>
                  <a:cubicBezTo>
                    <a:pt x="429" y="1700"/>
                    <a:pt x="429" y="1703"/>
                    <a:pt x="429" y="1706"/>
                  </a:cubicBezTo>
                  <a:cubicBezTo>
                    <a:pt x="435" y="1771"/>
                    <a:pt x="384" y="1830"/>
                    <a:pt x="319" y="1836"/>
                  </a:cubicBezTo>
                  <a:lnTo>
                    <a:pt x="316" y="1836"/>
                  </a:lnTo>
                  <a:cubicBezTo>
                    <a:pt x="249" y="1839"/>
                    <a:pt x="192" y="1788"/>
                    <a:pt x="187" y="1720"/>
                  </a:cubicBezTo>
                  <a:lnTo>
                    <a:pt x="127" y="775"/>
                  </a:lnTo>
                  <a:cubicBezTo>
                    <a:pt x="127" y="764"/>
                    <a:pt x="122" y="755"/>
                    <a:pt x="110" y="749"/>
                  </a:cubicBezTo>
                  <a:lnTo>
                    <a:pt x="74" y="730"/>
                  </a:lnTo>
                  <a:cubicBezTo>
                    <a:pt x="45" y="713"/>
                    <a:pt x="29" y="685"/>
                    <a:pt x="26" y="652"/>
                  </a:cubicBezTo>
                  <a:lnTo>
                    <a:pt x="0" y="54"/>
                  </a:lnTo>
                  <a:cubicBezTo>
                    <a:pt x="0" y="45"/>
                    <a:pt x="3" y="37"/>
                    <a:pt x="9" y="31"/>
                  </a:cubicBezTo>
                  <a:cubicBezTo>
                    <a:pt x="14" y="25"/>
                    <a:pt x="20" y="23"/>
                    <a:pt x="29" y="23"/>
                  </a:cubicBezTo>
                  <a:cubicBezTo>
                    <a:pt x="31" y="23"/>
                    <a:pt x="31" y="23"/>
                    <a:pt x="31" y="23"/>
                  </a:cubicBezTo>
                  <a:lnTo>
                    <a:pt x="31" y="23"/>
                  </a:lnTo>
                  <a:cubicBezTo>
                    <a:pt x="48" y="23"/>
                    <a:pt x="62" y="37"/>
                    <a:pt x="62" y="54"/>
                  </a:cubicBezTo>
                  <a:lnTo>
                    <a:pt x="85" y="561"/>
                  </a:lnTo>
                  <a:lnTo>
                    <a:pt x="175" y="553"/>
                  </a:lnTo>
                  <a:lnTo>
                    <a:pt x="127" y="48"/>
                  </a:lnTo>
                  <a:cubicBezTo>
                    <a:pt x="124" y="40"/>
                    <a:pt x="127" y="31"/>
                    <a:pt x="133" y="25"/>
                  </a:cubicBezTo>
                  <a:cubicBezTo>
                    <a:pt x="144" y="14"/>
                    <a:pt x="161" y="11"/>
                    <a:pt x="175" y="23"/>
                  </a:cubicBezTo>
                  <a:cubicBezTo>
                    <a:pt x="181" y="25"/>
                    <a:pt x="187" y="34"/>
                    <a:pt x="187" y="42"/>
                  </a:cubicBezTo>
                  <a:lnTo>
                    <a:pt x="235" y="547"/>
                  </a:lnTo>
                  <a:lnTo>
                    <a:pt x="325" y="539"/>
                  </a:lnTo>
                  <a:lnTo>
                    <a:pt x="251" y="37"/>
                  </a:lnTo>
                  <a:cubicBezTo>
                    <a:pt x="249" y="20"/>
                    <a:pt x="260" y="6"/>
                    <a:pt x="277" y="3"/>
                  </a:cubicBezTo>
                  <a:cubicBezTo>
                    <a:pt x="294" y="0"/>
                    <a:pt x="308" y="11"/>
                    <a:pt x="311" y="28"/>
                  </a:cubicBezTo>
                  <a:lnTo>
                    <a:pt x="395" y="621"/>
                  </a:lnTo>
                  <a:close/>
                  <a:moveTo>
                    <a:pt x="322" y="660"/>
                  </a:moveTo>
                  <a:cubicBezTo>
                    <a:pt x="330" y="655"/>
                    <a:pt x="336" y="643"/>
                    <a:pt x="342" y="632"/>
                  </a:cubicBezTo>
                  <a:lnTo>
                    <a:pt x="336" y="601"/>
                  </a:lnTo>
                  <a:lnTo>
                    <a:pt x="88" y="624"/>
                  </a:lnTo>
                  <a:lnTo>
                    <a:pt x="88" y="655"/>
                  </a:lnTo>
                  <a:cubicBezTo>
                    <a:pt x="88" y="666"/>
                    <a:pt x="93" y="676"/>
                    <a:pt x="105" y="682"/>
                  </a:cubicBezTo>
                  <a:lnTo>
                    <a:pt x="141" y="702"/>
                  </a:lnTo>
                  <a:cubicBezTo>
                    <a:pt x="170" y="716"/>
                    <a:pt x="187" y="747"/>
                    <a:pt x="189" y="778"/>
                  </a:cubicBezTo>
                  <a:lnTo>
                    <a:pt x="249" y="1723"/>
                  </a:lnTo>
                  <a:lnTo>
                    <a:pt x="249" y="1723"/>
                  </a:lnTo>
                  <a:cubicBezTo>
                    <a:pt x="251" y="1757"/>
                    <a:pt x="283" y="1782"/>
                    <a:pt x="316" y="1779"/>
                  </a:cubicBezTo>
                  <a:lnTo>
                    <a:pt x="316" y="1779"/>
                  </a:lnTo>
                  <a:cubicBezTo>
                    <a:pt x="350" y="1776"/>
                    <a:pt x="373" y="1745"/>
                    <a:pt x="370" y="1712"/>
                  </a:cubicBezTo>
                  <a:lnTo>
                    <a:pt x="254" y="772"/>
                  </a:lnTo>
                  <a:lnTo>
                    <a:pt x="254" y="772"/>
                  </a:lnTo>
                  <a:cubicBezTo>
                    <a:pt x="251" y="741"/>
                    <a:pt x="263" y="707"/>
                    <a:pt x="288" y="687"/>
                  </a:cubicBezTo>
                  <a:lnTo>
                    <a:pt x="322" y="66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11234528" y="5159740"/>
            <a:ext cx="284528" cy="304398"/>
            <a:chOff x="6584950" y="2079625"/>
            <a:chExt cx="568325" cy="608013"/>
          </a:xfrm>
          <a:solidFill>
            <a:schemeClr val="tx1"/>
          </a:solidFill>
        </p:grpSpPr>
        <p:sp>
          <p:nvSpPr>
            <p:cNvPr id="21" name="Freeform 35"/>
            <p:cNvSpPr>
              <a:spLocks noChangeArrowheads="1"/>
            </p:cNvSpPr>
            <p:nvPr/>
          </p:nvSpPr>
          <p:spPr bwMode="auto">
            <a:xfrm>
              <a:off x="6648450" y="2119313"/>
              <a:ext cx="449263" cy="134937"/>
            </a:xfrm>
            <a:custGeom>
              <a:avLst/>
              <a:gdLst>
                <a:gd name="T0" fmla="*/ 6 w 1249"/>
                <a:gd name="T1" fmla="*/ 322 h 373"/>
                <a:gd name="T2" fmla="*/ 28 w 1249"/>
                <a:gd name="T3" fmla="*/ 310 h 373"/>
                <a:gd name="T4" fmla="*/ 488 w 1249"/>
                <a:gd name="T5" fmla="*/ 200 h 373"/>
                <a:gd name="T6" fmla="*/ 477 w 1249"/>
                <a:gd name="T7" fmla="*/ 155 h 373"/>
                <a:gd name="T8" fmla="*/ 556 w 1249"/>
                <a:gd name="T9" fmla="*/ 25 h 373"/>
                <a:gd name="T10" fmla="*/ 604 w 1249"/>
                <a:gd name="T11" fmla="*/ 14 h 373"/>
                <a:gd name="T12" fmla="*/ 734 w 1249"/>
                <a:gd name="T13" fmla="*/ 93 h 373"/>
                <a:gd name="T14" fmla="*/ 745 w 1249"/>
                <a:gd name="T15" fmla="*/ 138 h 373"/>
                <a:gd name="T16" fmla="*/ 1205 w 1249"/>
                <a:gd name="T17" fmla="*/ 28 h 373"/>
                <a:gd name="T18" fmla="*/ 1205 w 1249"/>
                <a:gd name="T19" fmla="*/ 28 h 373"/>
                <a:gd name="T20" fmla="*/ 1242 w 1249"/>
                <a:gd name="T21" fmla="*/ 51 h 373"/>
                <a:gd name="T22" fmla="*/ 1219 w 1249"/>
                <a:gd name="T23" fmla="*/ 87 h 373"/>
                <a:gd name="T24" fmla="*/ 40 w 1249"/>
                <a:gd name="T25" fmla="*/ 367 h 373"/>
                <a:gd name="T26" fmla="*/ 3 w 1249"/>
                <a:gd name="T27" fmla="*/ 344 h 373"/>
                <a:gd name="T28" fmla="*/ 3 w 1249"/>
                <a:gd name="T29" fmla="*/ 344 h 373"/>
                <a:gd name="T30" fmla="*/ 3 w 1249"/>
                <a:gd name="T31" fmla="*/ 344 h 373"/>
                <a:gd name="T32" fmla="*/ 6 w 1249"/>
                <a:gd name="T33" fmla="*/ 322 h 373"/>
                <a:gd name="T34" fmla="*/ 570 w 1249"/>
                <a:gd name="T35" fmla="*/ 87 h 373"/>
                <a:gd name="T36" fmla="*/ 536 w 1249"/>
                <a:gd name="T37" fmla="*/ 141 h 373"/>
                <a:gd name="T38" fmla="*/ 548 w 1249"/>
                <a:gd name="T39" fmla="*/ 186 h 373"/>
                <a:gd name="T40" fmla="*/ 683 w 1249"/>
                <a:gd name="T41" fmla="*/ 155 h 373"/>
                <a:gd name="T42" fmla="*/ 672 w 1249"/>
                <a:gd name="T43" fmla="*/ 110 h 373"/>
                <a:gd name="T44" fmla="*/ 618 w 1249"/>
                <a:gd name="T45" fmla="*/ 76 h 373"/>
                <a:gd name="T46" fmla="*/ 570 w 1249"/>
                <a:gd name="T47" fmla="*/ 87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49" h="373">
                  <a:moveTo>
                    <a:pt x="6" y="322"/>
                  </a:moveTo>
                  <a:cubicBezTo>
                    <a:pt x="11" y="313"/>
                    <a:pt x="17" y="310"/>
                    <a:pt x="28" y="310"/>
                  </a:cubicBezTo>
                  <a:lnTo>
                    <a:pt x="488" y="200"/>
                  </a:lnTo>
                  <a:lnTo>
                    <a:pt x="477" y="155"/>
                  </a:lnTo>
                  <a:cubicBezTo>
                    <a:pt x="463" y="96"/>
                    <a:pt x="500" y="39"/>
                    <a:pt x="556" y="25"/>
                  </a:cubicBezTo>
                  <a:lnTo>
                    <a:pt x="604" y="14"/>
                  </a:lnTo>
                  <a:cubicBezTo>
                    <a:pt x="663" y="0"/>
                    <a:pt x="720" y="37"/>
                    <a:pt x="734" y="93"/>
                  </a:cubicBezTo>
                  <a:lnTo>
                    <a:pt x="745" y="138"/>
                  </a:lnTo>
                  <a:lnTo>
                    <a:pt x="1205" y="28"/>
                  </a:lnTo>
                  <a:lnTo>
                    <a:pt x="1205" y="28"/>
                  </a:lnTo>
                  <a:cubicBezTo>
                    <a:pt x="1222" y="22"/>
                    <a:pt x="1239" y="34"/>
                    <a:pt x="1242" y="51"/>
                  </a:cubicBezTo>
                  <a:cubicBezTo>
                    <a:pt x="1248" y="68"/>
                    <a:pt x="1236" y="85"/>
                    <a:pt x="1219" y="87"/>
                  </a:cubicBezTo>
                  <a:lnTo>
                    <a:pt x="40" y="367"/>
                  </a:lnTo>
                  <a:cubicBezTo>
                    <a:pt x="23" y="372"/>
                    <a:pt x="6" y="361"/>
                    <a:pt x="3" y="344"/>
                  </a:cubicBezTo>
                  <a:lnTo>
                    <a:pt x="3" y="344"/>
                  </a:lnTo>
                  <a:lnTo>
                    <a:pt x="3" y="344"/>
                  </a:lnTo>
                  <a:cubicBezTo>
                    <a:pt x="0" y="336"/>
                    <a:pt x="0" y="327"/>
                    <a:pt x="6" y="322"/>
                  </a:cubicBezTo>
                  <a:close/>
                  <a:moveTo>
                    <a:pt x="570" y="87"/>
                  </a:moveTo>
                  <a:cubicBezTo>
                    <a:pt x="545" y="93"/>
                    <a:pt x="531" y="116"/>
                    <a:pt x="536" y="141"/>
                  </a:cubicBezTo>
                  <a:lnTo>
                    <a:pt x="548" y="186"/>
                  </a:lnTo>
                  <a:lnTo>
                    <a:pt x="683" y="155"/>
                  </a:lnTo>
                  <a:lnTo>
                    <a:pt x="672" y="110"/>
                  </a:lnTo>
                  <a:cubicBezTo>
                    <a:pt x="666" y="85"/>
                    <a:pt x="644" y="70"/>
                    <a:pt x="618" y="76"/>
                  </a:cubicBezTo>
                  <a:lnTo>
                    <a:pt x="570" y="8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36"/>
            <p:cNvSpPr>
              <a:spLocks noChangeArrowheads="1"/>
            </p:cNvSpPr>
            <p:nvPr/>
          </p:nvSpPr>
          <p:spPr bwMode="auto">
            <a:xfrm>
              <a:off x="6584950" y="2300288"/>
              <a:ext cx="568325" cy="387350"/>
            </a:xfrm>
            <a:custGeom>
              <a:avLst/>
              <a:gdLst>
                <a:gd name="T0" fmla="*/ 319 w 1579"/>
                <a:gd name="T1" fmla="*/ 1077 h 1078"/>
                <a:gd name="T2" fmla="*/ 153 w 1579"/>
                <a:gd name="T3" fmla="*/ 908 h 1078"/>
                <a:gd name="T4" fmla="*/ 153 w 1579"/>
                <a:gd name="T5" fmla="*/ 428 h 1078"/>
                <a:gd name="T6" fmla="*/ 108 w 1579"/>
                <a:gd name="T7" fmla="*/ 428 h 1078"/>
                <a:gd name="T8" fmla="*/ 0 w 1579"/>
                <a:gd name="T9" fmla="*/ 321 h 1078"/>
                <a:gd name="T10" fmla="*/ 0 w 1579"/>
                <a:gd name="T11" fmla="*/ 270 h 1078"/>
                <a:gd name="T12" fmla="*/ 108 w 1579"/>
                <a:gd name="T13" fmla="*/ 163 h 1078"/>
                <a:gd name="T14" fmla="*/ 153 w 1579"/>
                <a:gd name="T15" fmla="*/ 163 h 1078"/>
                <a:gd name="T16" fmla="*/ 153 w 1579"/>
                <a:gd name="T17" fmla="*/ 31 h 1078"/>
                <a:gd name="T18" fmla="*/ 184 w 1579"/>
                <a:gd name="T19" fmla="*/ 0 h 1078"/>
                <a:gd name="T20" fmla="*/ 1394 w 1579"/>
                <a:gd name="T21" fmla="*/ 0 h 1078"/>
                <a:gd name="T22" fmla="*/ 1426 w 1579"/>
                <a:gd name="T23" fmla="*/ 31 h 1078"/>
                <a:gd name="T24" fmla="*/ 1426 w 1579"/>
                <a:gd name="T25" fmla="*/ 163 h 1078"/>
                <a:gd name="T26" fmla="*/ 1471 w 1579"/>
                <a:gd name="T27" fmla="*/ 163 h 1078"/>
                <a:gd name="T28" fmla="*/ 1578 w 1579"/>
                <a:gd name="T29" fmla="*/ 270 h 1078"/>
                <a:gd name="T30" fmla="*/ 1578 w 1579"/>
                <a:gd name="T31" fmla="*/ 321 h 1078"/>
                <a:gd name="T32" fmla="*/ 1471 w 1579"/>
                <a:gd name="T33" fmla="*/ 428 h 1078"/>
                <a:gd name="T34" fmla="*/ 1426 w 1579"/>
                <a:gd name="T35" fmla="*/ 428 h 1078"/>
                <a:gd name="T36" fmla="*/ 1426 w 1579"/>
                <a:gd name="T37" fmla="*/ 908 h 1078"/>
                <a:gd name="T38" fmla="*/ 1256 w 1579"/>
                <a:gd name="T39" fmla="*/ 1077 h 1078"/>
                <a:gd name="T40" fmla="*/ 319 w 1579"/>
                <a:gd name="T41" fmla="*/ 1077 h 1078"/>
                <a:gd name="T42" fmla="*/ 1423 w 1579"/>
                <a:gd name="T43" fmla="*/ 225 h 1078"/>
                <a:gd name="T44" fmla="*/ 1423 w 1579"/>
                <a:gd name="T45" fmla="*/ 366 h 1078"/>
                <a:gd name="T46" fmla="*/ 1468 w 1579"/>
                <a:gd name="T47" fmla="*/ 366 h 1078"/>
                <a:gd name="T48" fmla="*/ 1513 w 1579"/>
                <a:gd name="T49" fmla="*/ 321 h 1078"/>
                <a:gd name="T50" fmla="*/ 1513 w 1579"/>
                <a:gd name="T51" fmla="*/ 270 h 1078"/>
                <a:gd name="T52" fmla="*/ 1468 w 1579"/>
                <a:gd name="T53" fmla="*/ 225 h 1078"/>
                <a:gd name="T54" fmla="*/ 1423 w 1579"/>
                <a:gd name="T55" fmla="*/ 225 h 1078"/>
                <a:gd name="T56" fmla="*/ 212 w 1579"/>
                <a:gd name="T57" fmla="*/ 62 h 1078"/>
                <a:gd name="T58" fmla="*/ 209 w 1579"/>
                <a:gd name="T59" fmla="*/ 908 h 1078"/>
                <a:gd name="T60" fmla="*/ 316 w 1579"/>
                <a:gd name="T61" fmla="*/ 1015 h 1078"/>
                <a:gd name="T62" fmla="*/ 1253 w 1579"/>
                <a:gd name="T63" fmla="*/ 1015 h 1078"/>
                <a:gd name="T64" fmla="*/ 1361 w 1579"/>
                <a:gd name="T65" fmla="*/ 908 h 1078"/>
                <a:gd name="T66" fmla="*/ 1361 w 1579"/>
                <a:gd name="T67" fmla="*/ 62 h 1078"/>
                <a:gd name="T68" fmla="*/ 212 w 1579"/>
                <a:gd name="T69" fmla="*/ 62 h 1078"/>
                <a:gd name="T70" fmla="*/ 105 w 1579"/>
                <a:gd name="T71" fmla="*/ 366 h 1078"/>
                <a:gd name="T72" fmla="*/ 150 w 1579"/>
                <a:gd name="T73" fmla="*/ 366 h 1078"/>
                <a:gd name="T74" fmla="*/ 150 w 1579"/>
                <a:gd name="T75" fmla="*/ 225 h 1078"/>
                <a:gd name="T76" fmla="*/ 105 w 1579"/>
                <a:gd name="T77" fmla="*/ 225 h 1078"/>
                <a:gd name="T78" fmla="*/ 60 w 1579"/>
                <a:gd name="T79" fmla="*/ 270 h 1078"/>
                <a:gd name="T80" fmla="*/ 60 w 1579"/>
                <a:gd name="T81" fmla="*/ 321 h 1078"/>
                <a:gd name="T82" fmla="*/ 105 w 1579"/>
                <a:gd name="T83" fmla="*/ 366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79" h="1078">
                  <a:moveTo>
                    <a:pt x="319" y="1077"/>
                  </a:moveTo>
                  <a:cubicBezTo>
                    <a:pt x="226" y="1077"/>
                    <a:pt x="150" y="1001"/>
                    <a:pt x="153" y="908"/>
                  </a:cubicBezTo>
                  <a:lnTo>
                    <a:pt x="153" y="428"/>
                  </a:lnTo>
                  <a:lnTo>
                    <a:pt x="108" y="428"/>
                  </a:lnTo>
                  <a:cubicBezTo>
                    <a:pt x="48" y="428"/>
                    <a:pt x="0" y="380"/>
                    <a:pt x="0" y="321"/>
                  </a:cubicBezTo>
                  <a:lnTo>
                    <a:pt x="0" y="270"/>
                  </a:lnTo>
                  <a:cubicBezTo>
                    <a:pt x="0" y="211"/>
                    <a:pt x="48" y="163"/>
                    <a:pt x="108" y="163"/>
                  </a:cubicBezTo>
                  <a:lnTo>
                    <a:pt x="153" y="163"/>
                  </a:lnTo>
                  <a:lnTo>
                    <a:pt x="153" y="31"/>
                  </a:lnTo>
                  <a:cubicBezTo>
                    <a:pt x="153" y="14"/>
                    <a:pt x="167" y="0"/>
                    <a:pt x="184" y="0"/>
                  </a:cubicBezTo>
                  <a:lnTo>
                    <a:pt x="1394" y="0"/>
                  </a:lnTo>
                  <a:cubicBezTo>
                    <a:pt x="1411" y="0"/>
                    <a:pt x="1426" y="14"/>
                    <a:pt x="1426" y="31"/>
                  </a:cubicBezTo>
                  <a:lnTo>
                    <a:pt x="1426" y="163"/>
                  </a:lnTo>
                  <a:lnTo>
                    <a:pt x="1471" y="163"/>
                  </a:lnTo>
                  <a:cubicBezTo>
                    <a:pt x="1530" y="163"/>
                    <a:pt x="1578" y="211"/>
                    <a:pt x="1578" y="270"/>
                  </a:cubicBezTo>
                  <a:lnTo>
                    <a:pt x="1578" y="321"/>
                  </a:lnTo>
                  <a:cubicBezTo>
                    <a:pt x="1578" y="380"/>
                    <a:pt x="1530" y="428"/>
                    <a:pt x="1471" y="428"/>
                  </a:cubicBezTo>
                  <a:lnTo>
                    <a:pt x="1426" y="428"/>
                  </a:lnTo>
                  <a:lnTo>
                    <a:pt x="1426" y="908"/>
                  </a:lnTo>
                  <a:cubicBezTo>
                    <a:pt x="1423" y="1001"/>
                    <a:pt x="1349" y="1077"/>
                    <a:pt x="1256" y="1077"/>
                  </a:cubicBezTo>
                  <a:lnTo>
                    <a:pt x="319" y="1077"/>
                  </a:lnTo>
                  <a:close/>
                  <a:moveTo>
                    <a:pt x="1423" y="225"/>
                  </a:moveTo>
                  <a:lnTo>
                    <a:pt x="1423" y="366"/>
                  </a:lnTo>
                  <a:lnTo>
                    <a:pt x="1468" y="366"/>
                  </a:lnTo>
                  <a:cubicBezTo>
                    <a:pt x="1493" y="366"/>
                    <a:pt x="1513" y="346"/>
                    <a:pt x="1513" y="321"/>
                  </a:cubicBezTo>
                  <a:lnTo>
                    <a:pt x="1513" y="270"/>
                  </a:lnTo>
                  <a:cubicBezTo>
                    <a:pt x="1513" y="245"/>
                    <a:pt x="1493" y="225"/>
                    <a:pt x="1468" y="225"/>
                  </a:cubicBezTo>
                  <a:lnTo>
                    <a:pt x="1423" y="225"/>
                  </a:lnTo>
                  <a:close/>
                  <a:moveTo>
                    <a:pt x="212" y="62"/>
                  </a:moveTo>
                  <a:lnTo>
                    <a:pt x="209" y="908"/>
                  </a:lnTo>
                  <a:cubicBezTo>
                    <a:pt x="212" y="967"/>
                    <a:pt x="257" y="1015"/>
                    <a:pt x="316" y="1015"/>
                  </a:cubicBezTo>
                  <a:lnTo>
                    <a:pt x="1253" y="1015"/>
                  </a:lnTo>
                  <a:cubicBezTo>
                    <a:pt x="1313" y="1012"/>
                    <a:pt x="1361" y="967"/>
                    <a:pt x="1361" y="908"/>
                  </a:cubicBezTo>
                  <a:lnTo>
                    <a:pt x="1361" y="62"/>
                  </a:lnTo>
                  <a:lnTo>
                    <a:pt x="212" y="62"/>
                  </a:lnTo>
                  <a:close/>
                  <a:moveTo>
                    <a:pt x="105" y="366"/>
                  </a:moveTo>
                  <a:lnTo>
                    <a:pt x="150" y="366"/>
                  </a:lnTo>
                  <a:lnTo>
                    <a:pt x="150" y="225"/>
                  </a:lnTo>
                  <a:lnTo>
                    <a:pt x="105" y="225"/>
                  </a:lnTo>
                  <a:cubicBezTo>
                    <a:pt x="79" y="225"/>
                    <a:pt x="60" y="245"/>
                    <a:pt x="60" y="270"/>
                  </a:cubicBezTo>
                  <a:lnTo>
                    <a:pt x="60" y="321"/>
                  </a:lnTo>
                  <a:cubicBezTo>
                    <a:pt x="60" y="346"/>
                    <a:pt x="79" y="366"/>
                    <a:pt x="105" y="36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37"/>
            <p:cNvSpPr>
              <a:spLocks noChangeArrowheads="1"/>
            </p:cNvSpPr>
            <p:nvPr/>
          </p:nvSpPr>
          <p:spPr bwMode="auto">
            <a:xfrm>
              <a:off x="6927850" y="2219325"/>
              <a:ext cx="96838" cy="58738"/>
            </a:xfrm>
            <a:custGeom>
              <a:avLst/>
              <a:gdLst>
                <a:gd name="T0" fmla="*/ 133 w 267"/>
                <a:gd name="T1" fmla="*/ 0 h 165"/>
                <a:gd name="T2" fmla="*/ 266 w 267"/>
                <a:gd name="T3" fmla="*/ 133 h 165"/>
                <a:gd name="T4" fmla="*/ 234 w 267"/>
                <a:gd name="T5" fmla="*/ 164 h 165"/>
                <a:gd name="T6" fmla="*/ 203 w 267"/>
                <a:gd name="T7" fmla="*/ 133 h 165"/>
                <a:gd name="T8" fmla="*/ 133 w 267"/>
                <a:gd name="T9" fmla="*/ 62 h 165"/>
                <a:gd name="T10" fmla="*/ 62 w 267"/>
                <a:gd name="T11" fmla="*/ 133 h 165"/>
                <a:gd name="T12" fmla="*/ 31 w 267"/>
                <a:gd name="T13" fmla="*/ 164 h 165"/>
                <a:gd name="T14" fmla="*/ 0 w 267"/>
                <a:gd name="T15" fmla="*/ 133 h 165"/>
                <a:gd name="T16" fmla="*/ 133 w 267"/>
                <a:gd name="T17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165">
                  <a:moveTo>
                    <a:pt x="133" y="0"/>
                  </a:moveTo>
                  <a:cubicBezTo>
                    <a:pt x="206" y="0"/>
                    <a:pt x="266" y="60"/>
                    <a:pt x="266" y="133"/>
                  </a:cubicBezTo>
                  <a:cubicBezTo>
                    <a:pt x="266" y="150"/>
                    <a:pt x="251" y="164"/>
                    <a:pt x="234" y="164"/>
                  </a:cubicBezTo>
                  <a:cubicBezTo>
                    <a:pt x="218" y="164"/>
                    <a:pt x="203" y="150"/>
                    <a:pt x="203" y="133"/>
                  </a:cubicBezTo>
                  <a:cubicBezTo>
                    <a:pt x="203" y="93"/>
                    <a:pt x="173" y="62"/>
                    <a:pt x="133" y="62"/>
                  </a:cubicBezTo>
                  <a:cubicBezTo>
                    <a:pt x="94" y="62"/>
                    <a:pt x="62" y="93"/>
                    <a:pt x="62" y="133"/>
                  </a:cubicBezTo>
                  <a:cubicBezTo>
                    <a:pt x="62" y="150"/>
                    <a:pt x="48" y="164"/>
                    <a:pt x="31" y="164"/>
                  </a:cubicBezTo>
                  <a:cubicBezTo>
                    <a:pt x="14" y="164"/>
                    <a:pt x="0" y="150"/>
                    <a:pt x="0" y="133"/>
                  </a:cubicBezTo>
                  <a:cubicBezTo>
                    <a:pt x="0" y="60"/>
                    <a:pt x="60" y="0"/>
                    <a:pt x="133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38"/>
            <p:cNvSpPr>
              <a:spLocks noChangeArrowheads="1"/>
            </p:cNvSpPr>
            <p:nvPr/>
          </p:nvSpPr>
          <p:spPr bwMode="auto">
            <a:xfrm>
              <a:off x="7037388" y="2079625"/>
              <a:ext cx="26987" cy="26988"/>
            </a:xfrm>
            <a:custGeom>
              <a:avLst/>
              <a:gdLst>
                <a:gd name="T0" fmla="*/ 11 w 77"/>
                <a:gd name="T1" fmla="*/ 65 h 74"/>
                <a:gd name="T2" fmla="*/ 11 w 77"/>
                <a:gd name="T3" fmla="*/ 20 h 74"/>
                <a:gd name="T4" fmla="*/ 17 w 77"/>
                <a:gd name="T5" fmla="*/ 14 h 74"/>
                <a:gd name="T6" fmla="*/ 62 w 77"/>
                <a:gd name="T7" fmla="*/ 14 h 74"/>
                <a:gd name="T8" fmla="*/ 62 w 77"/>
                <a:gd name="T9" fmla="*/ 59 h 74"/>
                <a:gd name="T10" fmla="*/ 57 w 77"/>
                <a:gd name="T11" fmla="*/ 65 h 74"/>
                <a:gd name="T12" fmla="*/ 34 w 77"/>
                <a:gd name="T13" fmla="*/ 73 h 74"/>
                <a:gd name="T14" fmla="*/ 34 w 77"/>
                <a:gd name="T15" fmla="*/ 73 h 74"/>
                <a:gd name="T16" fmla="*/ 11 w 77"/>
                <a:gd name="T17" fmla="*/ 6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74">
                  <a:moveTo>
                    <a:pt x="11" y="65"/>
                  </a:moveTo>
                  <a:cubicBezTo>
                    <a:pt x="0" y="54"/>
                    <a:pt x="0" y="34"/>
                    <a:pt x="11" y="20"/>
                  </a:cubicBezTo>
                  <a:lnTo>
                    <a:pt x="17" y="14"/>
                  </a:lnTo>
                  <a:cubicBezTo>
                    <a:pt x="31" y="0"/>
                    <a:pt x="51" y="3"/>
                    <a:pt x="62" y="14"/>
                  </a:cubicBezTo>
                  <a:cubicBezTo>
                    <a:pt x="76" y="28"/>
                    <a:pt x="74" y="48"/>
                    <a:pt x="62" y="59"/>
                  </a:cubicBezTo>
                  <a:lnTo>
                    <a:pt x="57" y="65"/>
                  </a:lnTo>
                  <a:cubicBezTo>
                    <a:pt x="51" y="71"/>
                    <a:pt x="43" y="73"/>
                    <a:pt x="34" y="73"/>
                  </a:cubicBezTo>
                  <a:lnTo>
                    <a:pt x="34" y="73"/>
                  </a:lnTo>
                  <a:cubicBezTo>
                    <a:pt x="26" y="73"/>
                    <a:pt x="17" y="71"/>
                    <a:pt x="11" y="65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39"/>
            <p:cNvSpPr>
              <a:spLocks noChangeArrowheads="1"/>
            </p:cNvSpPr>
            <p:nvPr/>
          </p:nvSpPr>
          <p:spPr bwMode="auto">
            <a:xfrm>
              <a:off x="7048500" y="2185988"/>
              <a:ext cx="79375" cy="79375"/>
            </a:xfrm>
            <a:custGeom>
              <a:avLst/>
              <a:gdLst>
                <a:gd name="T0" fmla="*/ 110 w 221"/>
                <a:gd name="T1" fmla="*/ 0 h 221"/>
                <a:gd name="T2" fmla="*/ 220 w 221"/>
                <a:gd name="T3" fmla="*/ 110 h 221"/>
                <a:gd name="T4" fmla="*/ 110 w 221"/>
                <a:gd name="T5" fmla="*/ 220 h 221"/>
                <a:gd name="T6" fmla="*/ 110 w 221"/>
                <a:gd name="T7" fmla="*/ 220 h 221"/>
                <a:gd name="T8" fmla="*/ 0 w 221"/>
                <a:gd name="T9" fmla="*/ 110 h 221"/>
                <a:gd name="T10" fmla="*/ 110 w 221"/>
                <a:gd name="T11" fmla="*/ 0 h 221"/>
                <a:gd name="T12" fmla="*/ 110 w 221"/>
                <a:gd name="T13" fmla="*/ 0 h 221"/>
                <a:gd name="T14" fmla="*/ 110 w 221"/>
                <a:gd name="T15" fmla="*/ 155 h 221"/>
                <a:gd name="T16" fmla="*/ 158 w 221"/>
                <a:gd name="T17" fmla="*/ 107 h 221"/>
                <a:gd name="T18" fmla="*/ 110 w 221"/>
                <a:gd name="T19" fmla="*/ 60 h 221"/>
                <a:gd name="T20" fmla="*/ 110 w 221"/>
                <a:gd name="T21" fmla="*/ 60 h 221"/>
                <a:gd name="T22" fmla="*/ 62 w 221"/>
                <a:gd name="T23" fmla="*/ 107 h 221"/>
                <a:gd name="T24" fmla="*/ 110 w 221"/>
                <a:gd name="T25" fmla="*/ 155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" h="221">
                  <a:moveTo>
                    <a:pt x="110" y="0"/>
                  </a:moveTo>
                  <a:cubicBezTo>
                    <a:pt x="172" y="0"/>
                    <a:pt x="220" y="48"/>
                    <a:pt x="220" y="110"/>
                  </a:cubicBezTo>
                  <a:cubicBezTo>
                    <a:pt x="220" y="172"/>
                    <a:pt x="170" y="220"/>
                    <a:pt x="110" y="220"/>
                  </a:cubicBezTo>
                  <a:lnTo>
                    <a:pt x="110" y="220"/>
                  </a:lnTo>
                  <a:cubicBezTo>
                    <a:pt x="48" y="220"/>
                    <a:pt x="0" y="170"/>
                    <a:pt x="0" y="110"/>
                  </a:cubicBezTo>
                  <a:cubicBezTo>
                    <a:pt x="0" y="48"/>
                    <a:pt x="51" y="0"/>
                    <a:pt x="110" y="0"/>
                  </a:cubicBezTo>
                  <a:lnTo>
                    <a:pt x="110" y="0"/>
                  </a:lnTo>
                  <a:close/>
                  <a:moveTo>
                    <a:pt x="110" y="155"/>
                  </a:moveTo>
                  <a:cubicBezTo>
                    <a:pt x="139" y="155"/>
                    <a:pt x="158" y="136"/>
                    <a:pt x="158" y="107"/>
                  </a:cubicBezTo>
                  <a:cubicBezTo>
                    <a:pt x="158" y="82"/>
                    <a:pt x="136" y="60"/>
                    <a:pt x="110" y="60"/>
                  </a:cubicBezTo>
                  <a:lnTo>
                    <a:pt x="110" y="60"/>
                  </a:lnTo>
                  <a:cubicBezTo>
                    <a:pt x="85" y="60"/>
                    <a:pt x="62" y="82"/>
                    <a:pt x="62" y="107"/>
                  </a:cubicBezTo>
                  <a:cubicBezTo>
                    <a:pt x="62" y="133"/>
                    <a:pt x="85" y="155"/>
                    <a:pt x="110" y="15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ext Placeholder 2"/>
          <p:cNvSpPr txBox="1">
            <a:spLocks/>
          </p:cNvSpPr>
          <p:nvPr/>
        </p:nvSpPr>
        <p:spPr>
          <a:xfrm>
            <a:off x="442913" y="851867"/>
            <a:ext cx="5889187" cy="4826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entury Gothic" charset="0"/>
              </a:rPr>
              <a:t>TEMPLATE: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E63022"/>
                </a:solidFill>
                <a:effectLst/>
                <a:uLnTx/>
                <a:uFillTx/>
                <a:latin typeface="Century Gothic" charset="0"/>
              </a:rPr>
              <a:t>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charset="0"/>
              </a:rPr>
              <a:t>EMPATHY MAP</a:t>
            </a:r>
          </a:p>
        </p:txBody>
      </p:sp>
      <p:cxnSp>
        <p:nvCxnSpPr>
          <p:cNvPr id="27" name="Straight Connector 26"/>
          <p:cNvCxnSpPr/>
          <p:nvPr/>
        </p:nvCxnSpPr>
        <p:spPr>
          <a:xfrm flipH="1">
            <a:off x="1488910" y="1770524"/>
            <a:ext cx="4392402" cy="4097319"/>
          </a:xfrm>
          <a:prstGeom prst="line">
            <a:avLst/>
          </a:prstGeom>
          <a:noFill/>
          <a:ln w="34925" cap="rnd" cmpd="sng" algn="ctr">
            <a:solidFill>
              <a:srgbClr val="333132"/>
            </a:solidFill>
            <a:prstDash val="sysDot"/>
            <a:miter lim="800000"/>
          </a:ln>
          <a:effectLst/>
        </p:spPr>
      </p:cxnSp>
      <p:cxnSp>
        <p:nvCxnSpPr>
          <p:cNvPr id="28" name="Straight Connector 27"/>
          <p:cNvCxnSpPr/>
          <p:nvPr/>
        </p:nvCxnSpPr>
        <p:spPr>
          <a:xfrm>
            <a:off x="1288391" y="1770524"/>
            <a:ext cx="4843853" cy="4097319"/>
          </a:xfrm>
          <a:prstGeom prst="line">
            <a:avLst/>
          </a:prstGeom>
          <a:noFill/>
          <a:ln w="34925" cap="rnd" cmpd="sng" algn="ctr">
            <a:solidFill>
              <a:srgbClr val="333132"/>
            </a:solidFill>
            <a:prstDash val="sysDot"/>
            <a:miter lim="800000"/>
          </a:ln>
          <a:effectLst/>
        </p:spPr>
      </p:cxnSp>
      <p:pic>
        <p:nvPicPr>
          <p:cNvPr id="29" name="Picture 2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8312" y="2023856"/>
            <a:ext cx="3579805" cy="3590654"/>
          </a:xfrm>
          <a:prstGeom prst="rect">
            <a:avLst/>
          </a:prstGeom>
          <a:ln w="15875">
            <a:noFill/>
          </a:ln>
        </p:spPr>
      </p:pic>
      <p:sp>
        <p:nvSpPr>
          <p:cNvPr id="30" name="Rectangle 29"/>
          <p:cNvSpPr/>
          <p:nvPr/>
        </p:nvSpPr>
        <p:spPr>
          <a:xfrm>
            <a:off x="1122206" y="3819183"/>
            <a:ext cx="9965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HEAR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  <a:sym typeface="Wingdings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383394" y="1748165"/>
            <a:ext cx="24468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THINK &amp; FEEL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  <a:sym typeface="Wingdings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5269241" y="3819183"/>
            <a:ext cx="9965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SEE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  <a:sym typeface="Wingdings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656658" y="5476214"/>
            <a:ext cx="19638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SAY &amp; DO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  <a:sym typeface="Wingdings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7549847" y="2209830"/>
            <a:ext cx="19638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PAIN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  <a:sym typeface="Wingdings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7532823" y="4892146"/>
            <a:ext cx="19638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GAIN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  <a:sym typeface="Wingdings"/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7549847" y="2315575"/>
            <a:ext cx="0" cy="3007216"/>
          </a:xfrm>
          <a:prstGeom prst="line">
            <a:avLst/>
          </a:prstGeom>
          <a:noFill/>
          <a:ln w="34925" cap="rnd" cmpd="sng" algn="ctr">
            <a:solidFill>
              <a:srgbClr val="333132"/>
            </a:solidFill>
            <a:prstDash val="sysDot"/>
            <a:miter lim="800000"/>
          </a:ln>
          <a:effectLst/>
        </p:spPr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2A8856DA-CB4E-4909-83C4-32D143282453}"/>
              </a:ext>
            </a:extLst>
          </p:cNvPr>
          <p:cNvSpPr/>
          <p:nvPr/>
        </p:nvSpPr>
        <p:spPr>
          <a:xfrm>
            <a:off x="2753908" y="1341261"/>
            <a:ext cx="24468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Words 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  <a:sym typeface="Wingdings"/>
            </a:endParaRPr>
          </a:p>
        </p:txBody>
      </p:sp>
      <p:sp>
        <p:nvSpPr>
          <p:cNvPr id="38" name="Ellipse 8">
            <a:extLst>
              <a:ext uri="{FF2B5EF4-FFF2-40B4-BE49-F238E27FC236}">
                <a16:creationId xmlns:a16="http://schemas.microsoft.com/office/drawing/2014/main" id="{F7DA44EE-F145-4328-9953-5FB9DBDA0DEE}"/>
              </a:ext>
            </a:extLst>
          </p:cNvPr>
          <p:cNvSpPr/>
          <p:nvPr/>
        </p:nvSpPr>
        <p:spPr>
          <a:xfrm>
            <a:off x="10637452" y="404813"/>
            <a:ext cx="785630" cy="78563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1920204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633420A-3EA3-493A-B29B-4B6666A9F1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633420A-3EA3-493A-B29B-4B6666A9F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83" name="Google Shape;983;g87b7afb683_1_1002"/>
          <p:cNvPicPr preferRelativeResize="0"/>
          <p:nvPr/>
        </p:nvPicPr>
        <p:blipFill rotWithShape="1">
          <a:blip r:embed="rId7">
            <a:alphaModFix/>
          </a:blip>
          <a:srcRect t="8048" b="6605"/>
          <a:stretch/>
        </p:blipFill>
        <p:spPr>
          <a:xfrm>
            <a:off x="4534806" y="0"/>
            <a:ext cx="2729380" cy="3490302"/>
          </a:xfrm>
          <a:prstGeom prst="rect">
            <a:avLst/>
          </a:prstGeom>
          <a:noFill/>
          <a:ln>
            <a:noFill/>
          </a:ln>
        </p:spPr>
      </p:pic>
      <p:sp>
        <p:nvSpPr>
          <p:cNvPr id="984" name="Google Shape;984;g87b7afb683_1_1002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/>
          <a:p>
            <a:pPr lvl="0">
              <a:buSzPts val="1600"/>
            </a:pPr>
            <a:r>
              <a:rPr lang="en-US"/>
              <a:t>EXAMPLE: </a:t>
            </a:r>
            <a:r>
              <a:rPr lang="en-US" b="1"/>
              <a:t>SUBMISSION PERSONA</a:t>
            </a:r>
            <a:endParaRPr b="1"/>
          </a:p>
        </p:txBody>
      </p:sp>
      <p:grpSp>
        <p:nvGrpSpPr>
          <p:cNvPr id="985" name="Google Shape;985;g87b7afb683_1_1002"/>
          <p:cNvGrpSpPr/>
          <p:nvPr/>
        </p:nvGrpSpPr>
        <p:grpSpPr>
          <a:xfrm>
            <a:off x="433009" y="2894107"/>
            <a:ext cx="3700714" cy="1925400"/>
            <a:chOff x="614166" y="3037977"/>
            <a:chExt cx="3700714" cy="1925400"/>
          </a:xfrm>
        </p:grpSpPr>
        <p:sp>
          <p:nvSpPr>
            <p:cNvPr id="986" name="Google Shape;986;g87b7afb683_1_1002"/>
            <p:cNvSpPr/>
            <p:nvPr/>
          </p:nvSpPr>
          <p:spPr>
            <a:xfrm>
              <a:off x="614166" y="3037977"/>
              <a:ext cx="3642900" cy="1925400"/>
            </a:xfrm>
            <a:prstGeom prst="rect">
              <a:avLst/>
            </a:prstGeom>
            <a:noFill/>
            <a:ln w="22225" cap="rnd" cmpd="sng">
              <a:solidFill>
                <a:schemeClr val="dk2"/>
              </a:solidFill>
              <a:prstDash val="dot"/>
              <a:miter lim="800000"/>
              <a:headEnd type="none" w="sm" len="sm"/>
              <a:tailEnd type="none" w="sm" len="sm"/>
            </a:ln>
          </p:spPr>
          <p:txBody>
            <a:bodyPr spcFirstLastPara="1" wrap="square" lIns="144000" tIns="144000" rIns="144000" bIns="45700" anchor="t" anchorCtr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333032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VALUES</a:t>
              </a: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87" name="Google Shape;987;g87b7afb683_1_1002"/>
            <p:cNvSpPr/>
            <p:nvPr/>
          </p:nvSpPr>
          <p:spPr>
            <a:xfrm>
              <a:off x="4199080" y="3208575"/>
              <a:ext cx="115800" cy="1158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988" name="Google Shape;988;g87b7afb683_1_1002"/>
          <p:cNvGrpSpPr/>
          <p:nvPr/>
        </p:nvGrpSpPr>
        <p:grpSpPr>
          <a:xfrm>
            <a:off x="442913" y="4866702"/>
            <a:ext cx="3700714" cy="1925400"/>
            <a:chOff x="672057" y="5133850"/>
            <a:chExt cx="3700714" cy="1925400"/>
          </a:xfrm>
        </p:grpSpPr>
        <p:sp>
          <p:nvSpPr>
            <p:cNvPr id="989" name="Google Shape;989;g87b7afb683_1_1002"/>
            <p:cNvSpPr/>
            <p:nvPr/>
          </p:nvSpPr>
          <p:spPr>
            <a:xfrm>
              <a:off x="672057" y="5133850"/>
              <a:ext cx="3642900" cy="1925400"/>
            </a:xfrm>
            <a:prstGeom prst="rect">
              <a:avLst/>
            </a:prstGeom>
            <a:noFill/>
            <a:ln w="22225" cap="rnd" cmpd="sng">
              <a:solidFill>
                <a:schemeClr val="dk2"/>
              </a:solidFill>
              <a:prstDash val="dot"/>
              <a:miter lim="800000"/>
              <a:headEnd type="none" w="sm" len="sm"/>
              <a:tailEnd type="none" w="sm" len="sm"/>
            </a:ln>
          </p:spPr>
          <p:txBody>
            <a:bodyPr spcFirstLastPara="1" wrap="square" lIns="144000" tIns="144000" rIns="144000" bIns="45700" anchor="t" anchorCtr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333032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KEY CHARACTERISTICS</a:t>
              </a: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90" name="Google Shape;990;g87b7afb683_1_1002"/>
            <p:cNvSpPr/>
            <p:nvPr/>
          </p:nvSpPr>
          <p:spPr>
            <a:xfrm>
              <a:off x="4256971" y="5304448"/>
              <a:ext cx="115800" cy="1158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991" name="Google Shape;991;g87b7afb683_1_1002"/>
          <p:cNvGrpSpPr/>
          <p:nvPr/>
        </p:nvGrpSpPr>
        <p:grpSpPr>
          <a:xfrm>
            <a:off x="7660730" y="914411"/>
            <a:ext cx="3700775" cy="1925400"/>
            <a:chOff x="4138712" y="607044"/>
            <a:chExt cx="3700775" cy="1925400"/>
          </a:xfrm>
        </p:grpSpPr>
        <p:sp>
          <p:nvSpPr>
            <p:cNvPr id="992" name="Google Shape;992;g87b7afb683_1_1002"/>
            <p:cNvSpPr/>
            <p:nvPr/>
          </p:nvSpPr>
          <p:spPr>
            <a:xfrm>
              <a:off x="4196587" y="607044"/>
              <a:ext cx="3642900" cy="1925400"/>
            </a:xfrm>
            <a:prstGeom prst="rect">
              <a:avLst/>
            </a:prstGeom>
            <a:noFill/>
            <a:ln w="22225" cap="rnd" cmpd="sng">
              <a:solidFill>
                <a:schemeClr val="dk2"/>
              </a:solidFill>
              <a:prstDash val="dot"/>
              <a:miter lim="800000"/>
              <a:headEnd type="none" w="sm" len="sm"/>
              <a:tailEnd type="none" w="sm" len="sm"/>
            </a:ln>
          </p:spPr>
          <p:txBody>
            <a:bodyPr spcFirstLastPara="1" wrap="square" lIns="144000" tIns="144000" rIns="144000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333032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GOALS</a:t>
              </a: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93" name="Google Shape;993;g87b7afb683_1_1002"/>
            <p:cNvSpPr/>
            <p:nvPr/>
          </p:nvSpPr>
          <p:spPr>
            <a:xfrm>
              <a:off x="4138712" y="777642"/>
              <a:ext cx="115800" cy="1158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994" name="Google Shape;994;g87b7afb683_1_1002"/>
          <p:cNvGrpSpPr/>
          <p:nvPr/>
        </p:nvGrpSpPr>
        <p:grpSpPr>
          <a:xfrm>
            <a:off x="433009" y="921512"/>
            <a:ext cx="3700714" cy="1925400"/>
            <a:chOff x="614166" y="3037977"/>
            <a:chExt cx="3700714" cy="1925400"/>
          </a:xfrm>
        </p:grpSpPr>
        <p:sp>
          <p:nvSpPr>
            <p:cNvPr id="995" name="Google Shape;995;g87b7afb683_1_1002"/>
            <p:cNvSpPr/>
            <p:nvPr/>
          </p:nvSpPr>
          <p:spPr>
            <a:xfrm>
              <a:off x="614166" y="3037977"/>
              <a:ext cx="3642900" cy="1925400"/>
            </a:xfrm>
            <a:prstGeom prst="rect">
              <a:avLst/>
            </a:prstGeom>
            <a:noFill/>
            <a:ln w="22225" cap="rnd" cmpd="sng">
              <a:solidFill>
                <a:schemeClr val="dk2"/>
              </a:solidFill>
              <a:prstDash val="dot"/>
              <a:miter lim="800000"/>
              <a:headEnd type="none" w="sm" len="sm"/>
              <a:tailEnd type="none" w="sm" len="sm"/>
            </a:ln>
          </p:spPr>
          <p:txBody>
            <a:bodyPr spcFirstLastPara="1" wrap="square" lIns="144000" tIns="144000" rIns="144000" bIns="45700" anchor="t" anchorCtr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333032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INTERESTS</a:t>
              </a: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96" name="Google Shape;996;g87b7afb683_1_1002"/>
            <p:cNvSpPr/>
            <p:nvPr/>
          </p:nvSpPr>
          <p:spPr>
            <a:xfrm>
              <a:off x="4199080" y="3208575"/>
              <a:ext cx="115800" cy="1158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997" name="Google Shape;997;g87b7afb683_1_1002"/>
          <p:cNvGrpSpPr/>
          <p:nvPr/>
        </p:nvGrpSpPr>
        <p:grpSpPr>
          <a:xfrm>
            <a:off x="7660730" y="2882532"/>
            <a:ext cx="3700775" cy="1925400"/>
            <a:chOff x="4138712" y="607044"/>
            <a:chExt cx="3700775" cy="1925400"/>
          </a:xfrm>
        </p:grpSpPr>
        <p:sp>
          <p:nvSpPr>
            <p:cNvPr id="998" name="Google Shape;998;g87b7afb683_1_1002"/>
            <p:cNvSpPr/>
            <p:nvPr/>
          </p:nvSpPr>
          <p:spPr>
            <a:xfrm>
              <a:off x="4196587" y="607044"/>
              <a:ext cx="3642900" cy="1925400"/>
            </a:xfrm>
            <a:prstGeom prst="rect">
              <a:avLst/>
            </a:prstGeom>
            <a:noFill/>
            <a:ln w="22225" cap="rnd" cmpd="sng">
              <a:solidFill>
                <a:schemeClr val="dk2"/>
              </a:solidFill>
              <a:prstDash val="dot"/>
              <a:miter lim="800000"/>
              <a:headEnd type="none" w="sm" len="sm"/>
              <a:tailEnd type="none" w="sm" len="sm"/>
            </a:ln>
          </p:spPr>
          <p:txBody>
            <a:bodyPr spcFirstLastPara="1" wrap="square" lIns="144000" tIns="144000" rIns="144000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333032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FRUSTRATIONS</a:t>
              </a: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99" name="Google Shape;999;g87b7afb683_1_1002"/>
            <p:cNvSpPr/>
            <p:nvPr/>
          </p:nvSpPr>
          <p:spPr>
            <a:xfrm>
              <a:off x="4138712" y="777642"/>
              <a:ext cx="115800" cy="1158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000" name="Google Shape;1000;g87b7afb683_1_1002"/>
          <p:cNvGrpSpPr/>
          <p:nvPr/>
        </p:nvGrpSpPr>
        <p:grpSpPr>
          <a:xfrm>
            <a:off x="7660730" y="4854107"/>
            <a:ext cx="3700775" cy="1925400"/>
            <a:chOff x="4138712" y="607044"/>
            <a:chExt cx="3700775" cy="1925400"/>
          </a:xfrm>
        </p:grpSpPr>
        <p:sp>
          <p:nvSpPr>
            <p:cNvPr id="1001" name="Google Shape;1001;g87b7afb683_1_1002"/>
            <p:cNvSpPr/>
            <p:nvPr/>
          </p:nvSpPr>
          <p:spPr>
            <a:xfrm>
              <a:off x="4196587" y="607044"/>
              <a:ext cx="3642900" cy="1925400"/>
            </a:xfrm>
            <a:prstGeom prst="rect">
              <a:avLst/>
            </a:prstGeom>
            <a:noFill/>
            <a:ln w="22225" cap="rnd" cmpd="sng">
              <a:solidFill>
                <a:schemeClr val="dk2"/>
              </a:solidFill>
              <a:prstDash val="dot"/>
              <a:miter lim="800000"/>
              <a:headEnd type="none" w="sm" len="sm"/>
              <a:tailEnd type="none" w="sm" len="sm"/>
            </a:ln>
          </p:spPr>
          <p:txBody>
            <a:bodyPr spcFirstLastPara="1" wrap="square" lIns="144000" tIns="144000" rIns="144000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333032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NEEDS</a:t>
              </a: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33303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02" name="Google Shape;1002;g87b7afb683_1_1002"/>
            <p:cNvSpPr/>
            <p:nvPr/>
          </p:nvSpPr>
          <p:spPr>
            <a:xfrm>
              <a:off x="4138712" y="777642"/>
              <a:ext cx="115800" cy="1158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aphicFrame>
        <p:nvGraphicFramePr>
          <p:cNvPr id="1003" name="Google Shape;1003;g87b7afb683_1_1002"/>
          <p:cNvGraphicFramePr/>
          <p:nvPr/>
        </p:nvGraphicFramePr>
        <p:xfrm>
          <a:off x="4305324" y="3830127"/>
          <a:ext cx="3193650" cy="294922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064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4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45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830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NAME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AGE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GENDER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830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STATUS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CHILDREN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FOCUS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830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LOCATION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SAVINGS/SEED MONEY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GOAL INCOME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1004" name="Google Shape;1004;g87b7afb683_1_1002"/>
          <p:cNvGrpSpPr/>
          <p:nvPr/>
        </p:nvGrpSpPr>
        <p:grpSpPr>
          <a:xfrm>
            <a:off x="4315228" y="4089886"/>
            <a:ext cx="3169924" cy="2426543"/>
            <a:chOff x="4315228" y="4089886"/>
            <a:chExt cx="3169924" cy="2426543"/>
          </a:xfrm>
        </p:grpSpPr>
        <p:sp>
          <p:nvSpPr>
            <p:cNvPr id="1005" name="Google Shape;1005;g87b7afb683_1_1002"/>
            <p:cNvSpPr/>
            <p:nvPr/>
          </p:nvSpPr>
          <p:spPr>
            <a:xfrm>
              <a:off x="4349920" y="4089886"/>
              <a:ext cx="1031400" cy="3882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BETTY</a:t>
              </a: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06" name="Google Shape;1006;g87b7afb683_1_1002"/>
            <p:cNvSpPr/>
            <p:nvPr/>
          </p:nvSpPr>
          <p:spPr>
            <a:xfrm>
              <a:off x="5751998" y="4123909"/>
              <a:ext cx="472500" cy="3201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29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07" name="Google Shape;1007;g87b7afb683_1_1002"/>
            <p:cNvSpPr/>
            <p:nvPr/>
          </p:nvSpPr>
          <p:spPr>
            <a:xfrm>
              <a:off x="6595000" y="4132535"/>
              <a:ext cx="839100" cy="3201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FEMALE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08" name="Google Shape;1008;g87b7afb683_1_1002"/>
            <p:cNvSpPr/>
            <p:nvPr/>
          </p:nvSpPr>
          <p:spPr>
            <a:xfrm>
              <a:off x="4378396" y="5160973"/>
              <a:ext cx="839100" cy="3201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SINGLE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09" name="Google Shape;1009;g87b7afb683_1_1002"/>
            <p:cNvSpPr/>
            <p:nvPr/>
          </p:nvSpPr>
          <p:spPr>
            <a:xfrm>
              <a:off x="5680352" y="5160119"/>
              <a:ext cx="472500" cy="3201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0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10" name="Google Shape;1010;g87b7afb683_1_1002"/>
            <p:cNvSpPr/>
            <p:nvPr/>
          </p:nvSpPr>
          <p:spPr>
            <a:xfrm>
              <a:off x="6424952" y="5116612"/>
              <a:ext cx="1060200" cy="3201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7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DIRECT TO CONSUMER</a:t>
              </a:r>
              <a:endParaRPr kumimoji="0" sz="87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11" name="Google Shape;1011;g87b7afb683_1_1002"/>
            <p:cNvSpPr/>
            <p:nvPr/>
          </p:nvSpPr>
          <p:spPr>
            <a:xfrm>
              <a:off x="4315228" y="6133046"/>
              <a:ext cx="1008900" cy="3201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9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TORONTO</a:t>
              </a:r>
              <a:endParaRPr kumimoji="0" sz="12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12" name="Google Shape;1012;g87b7afb683_1_1002"/>
            <p:cNvSpPr/>
            <p:nvPr/>
          </p:nvSpPr>
          <p:spPr>
            <a:xfrm>
              <a:off x="5497469" y="6196329"/>
              <a:ext cx="771300" cy="3201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250K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13" name="Google Shape;1013;g87b7afb683_1_1002"/>
            <p:cNvSpPr/>
            <p:nvPr/>
          </p:nvSpPr>
          <p:spPr>
            <a:xfrm>
              <a:off x="6569319" y="6133046"/>
              <a:ext cx="771300" cy="3201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500K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grpSp>
        <p:nvGrpSpPr>
          <p:cNvPr id="1014" name="Google Shape;1014;g87b7afb683_1_1002"/>
          <p:cNvGrpSpPr/>
          <p:nvPr/>
        </p:nvGrpSpPr>
        <p:grpSpPr>
          <a:xfrm>
            <a:off x="7853746" y="4995222"/>
            <a:ext cx="3350082" cy="1701374"/>
            <a:chOff x="7853746" y="4995222"/>
            <a:chExt cx="3350082" cy="1701374"/>
          </a:xfrm>
        </p:grpSpPr>
        <p:sp>
          <p:nvSpPr>
            <p:cNvPr id="1015" name="Google Shape;1015;g87b7afb683_1_1002"/>
            <p:cNvSpPr/>
            <p:nvPr/>
          </p:nvSpPr>
          <p:spPr>
            <a:xfrm>
              <a:off x="7853746" y="5275113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Being listened to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16" name="Google Shape;1016;g87b7afb683_1_1002"/>
            <p:cNvSpPr/>
            <p:nvPr/>
          </p:nvSpPr>
          <p:spPr>
            <a:xfrm>
              <a:off x="9589631" y="500796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142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Partnerships! </a:t>
              </a:r>
              <a:endParaRPr kumimoji="0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17" name="Google Shape;1017;g87b7afb683_1_1002"/>
            <p:cNvSpPr/>
            <p:nvPr/>
          </p:nvSpPr>
          <p:spPr>
            <a:xfrm>
              <a:off x="8028696" y="601619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Validation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18" name="Google Shape;1018;g87b7afb683_1_1002"/>
            <p:cNvSpPr/>
            <p:nvPr/>
          </p:nvSpPr>
          <p:spPr>
            <a:xfrm>
              <a:off x="8699164" y="4998813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Mutual respect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19" name="Google Shape;1019;g87b7afb683_1_1002"/>
            <p:cNvSpPr/>
            <p:nvPr/>
          </p:nvSpPr>
          <p:spPr>
            <a:xfrm>
              <a:off x="8806893" y="5777310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142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Deeper relationships</a:t>
              </a:r>
              <a:endParaRPr kumimoji="0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20" name="Google Shape;1020;g87b7afb683_1_1002"/>
            <p:cNvSpPr/>
            <p:nvPr/>
          </p:nvSpPr>
          <p:spPr>
            <a:xfrm>
              <a:off x="10445088" y="4995222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63833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64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RESULTS out of partnerships (progress, new business)</a:t>
              </a:r>
              <a:endParaRPr kumimoji="0" sz="64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21" name="Google Shape;1021;g87b7afb683_1_1002"/>
            <p:cNvSpPr/>
            <p:nvPr/>
          </p:nvSpPr>
          <p:spPr>
            <a:xfrm>
              <a:off x="9591845" y="5922467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76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Appreciation for her innovative solution</a:t>
              </a: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22" name="Google Shape;1022;g87b7afb683_1_1002"/>
            <p:cNvSpPr/>
            <p:nvPr/>
          </p:nvSpPr>
          <p:spPr>
            <a:xfrm>
              <a:off x="10476628" y="5816744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142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Networking</a:t>
              </a:r>
              <a:endParaRPr kumimoji="0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grpSp>
        <p:nvGrpSpPr>
          <p:cNvPr id="1023" name="Google Shape;1023;g87b7afb683_1_1002"/>
          <p:cNvGrpSpPr/>
          <p:nvPr/>
        </p:nvGrpSpPr>
        <p:grpSpPr>
          <a:xfrm>
            <a:off x="760212" y="1139136"/>
            <a:ext cx="3027135" cy="1576666"/>
            <a:chOff x="760212" y="1139136"/>
            <a:chExt cx="3027135" cy="1576666"/>
          </a:xfrm>
        </p:grpSpPr>
        <p:sp>
          <p:nvSpPr>
            <p:cNvPr id="1024" name="Google Shape;1024;g87b7afb683_1_1002"/>
            <p:cNvSpPr/>
            <p:nvPr/>
          </p:nvSpPr>
          <p:spPr>
            <a:xfrm>
              <a:off x="3060147" y="1349014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Website building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25" name="Google Shape;1025;g87b7afb683_1_1002"/>
            <p:cNvSpPr/>
            <p:nvPr/>
          </p:nvSpPr>
          <p:spPr>
            <a:xfrm>
              <a:off x="1931971" y="1242454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76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Programming</a:t>
              </a: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26" name="Google Shape;1026;g87b7afb683_1_1002"/>
            <p:cNvSpPr/>
            <p:nvPr/>
          </p:nvSpPr>
          <p:spPr>
            <a:xfrm>
              <a:off x="760212" y="113913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142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Customer experience</a:t>
              </a:r>
              <a:endParaRPr kumimoji="0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27" name="Google Shape;1027;g87b7afb683_1_1002"/>
            <p:cNvSpPr/>
            <p:nvPr/>
          </p:nvSpPr>
          <p:spPr>
            <a:xfrm>
              <a:off x="1989846" y="2035402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76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Professional organizations</a:t>
              </a: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28" name="Google Shape;1028;g87b7afb683_1_1002"/>
            <p:cNvSpPr/>
            <p:nvPr/>
          </p:nvSpPr>
          <p:spPr>
            <a:xfrm>
              <a:off x="824589" y="1992961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Challenge status-quo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grpSp>
        <p:nvGrpSpPr>
          <p:cNvPr id="1029" name="Google Shape;1029;g87b7afb683_1_1002"/>
          <p:cNvGrpSpPr/>
          <p:nvPr/>
        </p:nvGrpSpPr>
        <p:grpSpPr>
          <a:xfrm>
            <a:off x="7826773" y="1005360"/>
            <a:ext cx="3378559" cy="1654946"/>
            <a:chOff x="7826773" y="1005360"/>
            <a:chExt cx="3378559" cy="1654946"/>
          </a:xfrm>
        </p:grpSpPr>
        <p:sp>
          <p:nvSpPr>
            <p:cNvPr id="1030" name="Google Shape;1030;g87b7afb683_1_1002"/>
            <p:cNvSpPr/>
            <p:nvPr/>
          </p:nvSpPr>
          <p:spPr>
            <a:xfrm>
              <a:off x="7826773" y="1370410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Making people’s lives better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31" name="Google Shape;1031;g87b7afb683_1_1002"/>
            <p:cNvSpPr/>
            <p:nvPr/>
          </p:nvSpPr>
          <p:spPr>
            <a:xfrm>
              <a:off x="8691440" y="1005360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Do things better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32" name="Google Shape;1032;g87b7afb683_1_1002"/>
            <p:cNvSpPr/>
            <p:nvPr/>
          </p:nvSpPr>
          <p:spPr>
            <a:xfrm>
              <a:off x="8644731" y="197990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Be leader in my area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33" name="Google Shape;1033;g87b7afb683_1_1002"/>
            <p:cNvSpPr/>
            <p:nvPr/>
          </p:nvSpPr>
          <p:spPr>
            <a:xfrm>
              <a:off x="9464742" y="1916865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Bring something else to table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34" name="Google Shape;1034;g87b7afb683_1_1002"/>
            <p:cNvSpPr/>
            <p:nvPr/>
          </p:nvSpPr>
          <p:spPr>
            <a:xfrm>
              <a:off x="10427954" y="1939234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952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500k GOAL!</a:t>
              </a:r>
              <a:endParaRPr kumimoji="0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35" name="Google Shape;1035;g87b7afb683_1_1002"/>
            <p:cNvSpPr/>
            <p:nvPr/>
          </p:nvSpPr>
          <p:spPr>
            <a:xfrm>
              <a:off x="9589631" y="1055678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Ability to test</a:t>
              </a: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36" name="Google Shape;1036;g87b7afb683_1_1002"/>
            <p:cNvSpPr/>
            <p:nvPr/>
          </p:nvSpPr>
          <p:spPr>
            <a:xfrm>
              <a:off x="10478131" y="1068359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Ability to be creative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grpSp>
        <p:nvGrpSpPr>
          <p:cNvPr id="1037" name="Google Shape;1037;g87b7afb683_1_1002"/>
          <p:cNvGrpSpPr/>
          <p:nvPr/>
        </p:nvGrpSpPr>
        <p:grpSpPr>
          <a:xfrm>
            <a:off x="731271" y="3088796"/>
            <a:ext cx="2973350" cy="1648070"/>
            <a:chOff x="731271" y="3088796"/>
            <a:chExt cx="2973350" cy="1648070"/>
          </a:xfrm>
        </p:grpSpPr>
        <p:sp>
          <p:nvSpPr>
            <p:cNvPr id="1038" name="Google Shape;1038;g87b7afb683_1_1002"/>
            <p:cNvSpPr/>
            <p:nvPr/>
          </p:nvSpPr>
          <p:spPr>
            <a:xfrm>
              <a:off x="2977421" y="3276989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Caring</a:t>
              </a: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39" name="Google Shape;1039;g87b7afb683_1_1002"/>
            <p:cNvSpPr/>
            <p:nvPr/>
          </p:nvSpPr>
          <p:spPr>
            <a:xfrm>
              <a:off x="1912768" y="3094024"/>
              <a:ext cx="8169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76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Freedom/ Independence</a:t>
              </a: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40" name="Google Shape;1040;g87b7afb683_1_1002"/>
            <p:cNvSpPr/>
            <p:nvPr/>
          </p:nvSpPr>
          <p:spPr>
            <a:xfrm>
              <a:off x="731271" y="308879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Financial freedom</a:t>
              </a: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41" name="Google Shape;1041;g87b7afb683_1_1002"/>
            <p:cNvSpPr/>
            <p:nvPr/>
          </p:nvSpPr>
          <p:spPr>
            <a:xfrm>
              <a:off x="1842797" y="3887080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Being of service</a:t>
              </a: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42" name="Google Shape;1042;g87b7afb683_1_1002"/>
            <p:cNvSpPr/>
            <p:nvPr/>
          </p:nvSpPr>
          <p:spPr>
            <a:xfrm>
              <a:off x="911946" y="391823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Solving problems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43" name="Google Shape;1043;g87b7afb683_1_1002"/>
            <p:cNvSpPr/>
            <p:nvPr/>
          </p:nvSpPr>
          <p:spPr>
            <a:xfrm>
              <a:off x="2802237" y="405646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No fear of failure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grpSp>
        <p:nvGrpSpPr>
          <p:cNvPr id="1044" name="Google Shape;1044;g87b7afb683_1_1002"/>
          <p:cNvGrpSpPr/>
          <p:nvPr/>
        </p:nvGrpSpPr>
        <p:grpSpPr>
          <a:xfrm>
            <a:off x="616227" y="5041130"/>
            <a:ext cx="3324625" cy="1702786"/>
            <a:chOff x="616227" y="5041130"/>
            <a:chExt cx="3324625" cy="1702786"/>
          </a:xfrm>
        </p:grpSpPr>
        <p:sp>
          <p:nvSpPr>
            <p:cNvPr id="1045" name="Google Shape;1045;g87b7afb683_1_1002"/>
            <p:cNvSpPr/>
            <p:nvPr/>
          </p:nvSpPr>
          <p:spPr>
            <a:xfrm>
              <a:off x="3213652" y="5335788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Open to change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46" name="Google Shape;1046;g87b7afb683_1_1002"/>
            <p:cNvSpPr/>
            <p:nvPr/>
          </p:nvSpPr>
          <p:spPr>
            <a:xfrm>
              <a:off x="2561843" y="606351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142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Adaptable</a:t>
              </a:r>
              <a:endParaRPr kumimoji="0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47" name="Google Shape;1047;g87b7afb683_1_1002"/>
            <p:cNvSpPr/>
            <p:nvPr/>
          </p:nvSpPr>
          <p:spPr>
            <a:xfrm>
              <a:off x="1551666" y="595562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Passionate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48" name="Google Shape;1048;g87b7afb683_1_1002"/>
            <p:cNvSpPr/>
            <p:nvPr/>
          </p:nvSpPr>
          <p:spPr>
            <a:xfrm>
              <a:off x="2366230" y="5275113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Visionaries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49" name="Google Shape;1049;g87b7afb683_1_1002"/>
            <p:cNvSpPr/>
            <p:nvPr/>
          </p:nvSpPr>
          <p:spPr>
            <a:xfrm>
              <a:off x="1487289" y="5124120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Motivated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50" name="Google Shape;1050;g87b7afb683_1_1002"/>
            <p:cNvSpPr/>
            <p:nvPr/>
          </p:nvSpPr>
          <p:spPr>
            <a:xfrm>
              <a:off x="616227" y="5041130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Optimistic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51" name="Google Shape;1051;g87b7afb683_1_1002"/>
            <p:cNvSpPr/>
            <p:nvPr/>
          </p:nvSpPr>
          <p:spPr>
            <a:xfrm>
              <a:off x="726013" y="5922915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Ambitious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grpSp>
        <p:nvGrpSpPr>
          <p:cNvPr id="1052" name="Google Shape;1052;g87b7afb683_1_1002"/>
          <p:cNvGrpSpPr/>
          <p:nvPr/>
        </p:nvGrpSpPr>
        <p:grpSpPr>
          <a:xfrm>
            <a:off x="7970676" y="2987334"/>
            <a:ext cx="3313781" cy="1723312"/>
            <a:chOff x="7970676" y="2987334"/>
            <a:chExt cx="3313781" cy="1723312"/>
          </a:xfrm>
        </p:grpSpPr>
        <p:sp>
          <p:nvSpPr>
            <p:cNvPr id="1053" name="Google Shape;1053;g87b7afb683_1_1002"/>
            <p:cNvSpPr/>
            <p:nvPr/>
          </p:nvSpPr>
          <p:spPr>
            <a:xfrm>
              <a:off x="7970676" y="3276989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70967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62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Sees solutions – but others don’t see it ☹</a:t>
              </a:r>
              <a:endParaRPr kumimoji="0" sz="62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54" name="Google Shape;1054;g87b7afb683_1_1002"/>
            <p:cNvSpPr/>
            <p:nvPr/>
          </p:nvSpPr>
          <p:spPr>
            <a:xfrm>
              <a:off x="8903679" y="3064704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Seeing others suffer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55" name="Google Shape;1055;g87b7afb683_1_1002"/>
            <p:cNvSpPr/>
            <p:nvPr/>
          </p:nvSpPr>
          <p:spPr>
            <a:xfrm>
              <a:off x="9739299" y="2987334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Everything takes long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56" name="Google Shape;1056;g87b7afb683_1_1002"/>
            <p:cNvSpPr/>
            <p:nvPr/>
          </p:nvSpPr>
          <p:spPr>
            <a:xfrm>
              <a:off x="8866007" y="389330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43243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4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No access to decision makers/right resources</a:t>
              </a:r>
              <a:endParaRPr kumimoji="0" sz="74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57" name="Google Shape;1057;g87b7afb683_1_1002"/>
            <p:cNvSpPr/>
            <p:nvPr/>
          </p:nvSpPr>
          <p:spPr>
            <a:xfrm>
              <a:off x="8028696" y="403024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Sees solutions – but it’s not there ☹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58" name="Google Shape;1058;g87b7afb683_1_1002"/>
            <p:cNvSpPr/>
            <p:nvPr/>
          </p:nvSpPr>
          <p:spPr>
            <a:xfrm>
              <a:off x="9739300" y="3997192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76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Industry and orgs too conservative</a:t>
              </a: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59" name="Google Shape;1059;g87b7afb683_1_1002"/>
            <p:cNvSpPr/>
            <p:nvPr/>
          </p:nvSpPr>
          <p:spPr>
            <a:xfrm>
              <a:off x="10557257" y="2987334"/>
              <a:ext cx="727200" cy="753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142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Sometimes talking to wrong people</a:t>
              </a:r>
              <a:endParaRPr kumimoji="0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60" name="Google Shape;1060;g87b7afb683_1_1002"/>
            <p:cNvSpPr/>
            <p:nvPr/>
          </p:nvSpPr>
          <p:spPr>
            <a:xfrm>
              <a:off x="10524676" y="3887080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1428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Century Gothic"/>
                  <a:cs typeface="Century Gothic"/>
                  <a:sym typeface="Century Gothic"/>
                </a:rPr>
                <a:t>Impatience</a:t>
              </a:r>
              <a:endParaRPr kumimoji="0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1061" name="Google Shape;1061;g87b7afb683_1_1002"/>
          <p:cNvSpPr/>
          <p:nvPr/>
        </p:nvSpPr>
        <p:spPr>
          <a:xfrm rot="447263">
            <a:off x="5020931" y="2799612"/>
            <a:ext cx="1935458" cy="778156"/>
          </a:xfrm>
          <a:prstGeom prst="rect">
            <a:avLst/>
          </a:prstGeom>
          <a:solidFill>
            <a:srgbClr val="ECE7EC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662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We’ll do it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82" name="Ellipse 8">
            <a:extLst>
              <a:ext uri="{FF2B5EF4-FFF2-40B4-BE49-F238E27FC236}">
                <a16:creationId xmlns:a16="http://schemas.microsoft.com/office/drawing/2014/main" id="{C22DF53B-076F-4693-A2EC-E38235621AC5}"/>
              </a:ext>
            </a:extLst>
          </p:cNvPr>
          <p:cNvSpPr/>
          <p:nvPr/>
        </p:nvSpPr>
        <p:spPr>
          <a:xfrm>
            <a:off x="10811013" y="186716"/>
            <a:ext cx="785630" cy="78563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7617955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: </a:t>
            </a:r>
            <a:r>
              <a:rPr lang="en-US" b="1"/>
              <a:t>SUBMISSION PERSONA</a:t>
            </a:r>
            <a:endParaRPr lang="en-US"/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10511447" y="5890558"/>
            <a:ext cx="265454" cy="293270"/>
            <a:chOff x="4575175" y="2097088"/>
            <a:chExt cx="530225" cy="585787"/>
          </a:xfrm>
          <a:solidFill>
            <a:schemeClr val="tx1"/>
          </a:solidFill>
        </p:grpSpPr>
        <p:sp>
          <p:nvSpPr>
            <p:cNvPr id="5" name="Freeform 23"/>
            <p:cNvSpPr>
              <a:spLocks noChangeArrowheads="1"/>
            </p:cNvSpPr>
            <p:nvPr/>
          </p:nvSpPr>
          <p:spPr bwMode="auto">
            <a:xfrm>
              <a:off x="4575175" y="2097088"/>
              <a:ext cx="530225" cy="585787"/>
            </a:xfrm>
            <a:custGeom>
              <a:avLst/>
              <a:gdLst>
                <a:gd name="T0" fmla="*/ 1403 w 1475"/>
                <a:gd name="T1" fmla="*/ 567 h 1628"/>
                <a:gd name="T2" fmla="*/ 1084 w 1475"/>
                <a:gd name="T3" fmla="*/ 1353 h 1628"/>
                <a:gd name="T4" fmla="*/ 1084 w 1475"/>
                <a:gd name="T5" fmla="*/ 1370 h 1628"/>
                <a:gd name="T6" fmla="*/ 1208 w 1475"/>
                <a:gd name="T7" fmla="*/ 1401 h 1628"/>
                <a:gd name="T8" fmla="*/ 1200 w 1475"/>
                <a:gd name="T9" fmla="*/ 1460 h 1628"/>
                <a:gd name="T10" fmla="*/ 1025 w 1475"/>
                <a:gd name="T11" fmla="*/ 1412 h 1628"/>
                <a:gd name="T12" fmla="*/ 1081 w 1475"/>
                <a:gd name="T13" fmla="*/ 1593 h 1628"/>
                <a:gd name="T14" fmla="*/ 968 w 1475"/>
                <a:gd name="T15" fmla="*/ 1441 h 1628"/>
                <a:gd name="T16" fmla="*/ 904 w 1475"/>
                <a:gd name="T17" fmla="*/ 1610 h 1628"/>
                <a:gd name="T18" fmla="*/ 850 w 1475"/>
                <a:gd name="T19" fmla="*/ 1596 h 1628"/>
                <a:gd name="T20" fmla="*/ 904 w 1475"/>
                <a:gd name="T21" fmla="*/ 1463 h 1628"/>
                <a:gd name="T22" fmla="*/ 889 w 1475"/>
                <a:gd name="T23" fmla="*/ 1452 h 1628"/>
                <a:gd name="T24" fmla="*/ 71 w 1475"/>
                <a:gd name="T25" fmla="*/ 1240 h 1628"/>
                <a:gd name="T26" fmla="*/ 263 w 1475"/>
                <a:gd name="T27" fmla="*/ 496 h 1628"/>
                <a:gd name="T28" fmla="*/ 266 w 1475"/>
                <a:gd name="T29" fmla="*/ 494 h 1628"/>
                <a:gd name="T30" fmla="*/ 175 w 1475"/>
                <a:gd name="T31" fmla="*/ 175 h 1628"/>
                <a:gd name="T32" fmla="*/ 198 w 1475"/>
                <a:gd name="T33" fmla="*/ 138 h 1628"/>
                <a:gd name="T34" fmla="*/ 362 w 1475"/>
                <a:gd name="T35" fmla="*/ 152 h 1628"/>
                <a:gd name="T36" fmla="*/ 446 w 1475"/>
                <a:gd name="T37" fmla="*/ 11 h 1628"/>
                <a:gd name="T38" fmla="*/ 497 w 1475"/>
                <a:gd name="T39" fmla="*/ 31 h 1628"/>
                <a:gd name="T40" fmla="*/ 695 w 1475"/>
                <a:gd name="T41" fmla="*/ 276 h 1628"/>
                <a:gd name="T42" fmla="*/ 1349 w 1475"/>
                <a:gd name="T43" fmla="*/ 595 h 1628"/>
                <a:gd name="T44" fmla="*/ 991 w 1475"/>
                <a:gd name="T45" fmla="*/ 344 h 1628"/>
                <a:gd name="T46" fmla="*/ 991 w 1475"/>
                <a:gd name="T47" fmla="*/ 344 h 1628"/>
                <a:gd name="T48" fmla="*/ 991 w 1475"/>
                <a:gd name="T49" fmla="*/ 344 h 1628"/>
                <a:gd name="T50" fmla="*/ 633 w 1475"/>
                <a:gd name="T51" fmla="*/ 347 h 1628"/>
                <a:gd name="T52" fmla="*/ 573 w 1475"/>
                <a:gd name="T53" fmla="*/ 313 h 1628"/>
                <a:gd name="T54" fmla="*/ 475 w 1475"/>
                <a:gd name="T55" fmla="*/ 214 h 1628"/>
                <a:gd name="T56" fmla="*/ 469 w 1475"/>
                <a:gd name="T57" fmla="*/ 203 h 1628"/>
                <a:gd name="T58" fmla="*/ 463 w 1475"/>
                <a:gd name="T59" fmla="*/ 194 h 1628"/>
                <a:gd name="T60" fmla="*/ 455 w 1475"/>
                <a:gd name="T61" fmla="*/ 180 h 1628"/>
                <a:gd name="T62" fmla="*/ 452 w 1475"/>
                <a:gd name="T63" fmla="*/ 172 h 1628"/>
                <a:gd name="T64" fmla="*/ 444 w 1475"/>
                <a:gd name="T65" fmla="*/ 147 h 1628"/>
                <a:gd name="T66" fmla="*/ 435 w 1475"/>
                <a:gd name="T67" fmla="*/ 115 h 1628"/>
                <a:gd name="T68" fmla="*/ 407 w 1475"/>
                <a:gd name="T69" fmla="*/ 206 h 1628"/>
                <a:gd name="T70" fmla="*/ 401 w 1475"/>
                <a:gd name="T71" fmla="*/ 223 h 1628"/>
                <a:gd name="T72" fmla="*/ 277 w 1475"/>
                <a:gd name="T73" fmla="*/ 203 h 1628"/>
                <a:gd name="T74" fmla="*/ 283 w 1475"/>
                <a:gd name="T75" fmla="*/ 226 h 1628"/>
                <a:gd name="T76" fmla="*/ 342 w 1475"/>
                <a:gd name="T77" fmla="*/ 431 h 1628"/>
                <a:gd name="T78" fmla="*/ 345 w 1475"/>
                <a:gd name="T79" fmla="*/ 496 h 1628"/>
                <a:gd name="T80" fmla="*/ 136 w 1475"/>
                <a:gd name="T81" fmla="*/ 772 h 1628"/>
                <a:gd name="T82" fmla="*/ 122 w 1475"/>
                <a:gd name="T83" fmla="*/ 1212 h 1628"/>
                <a:gd name="T84" fmla="*/ 175 w 1475"/>
                <a:gd name="T85" fmla="*/ 1291 h 1628"/>
                <a:gd name="T86" fmla="*/ 178 w 1475"/>
                <a:gd name="T87" fmla="*/ 1294 h 1628"/>
                <a:gd name="T88" fmla="*/ 579 w 1475"/>
                <a:gd name="T89" fmla="*/ 1449 h 1628"/>
                <a:gd name="T90" fmla="*/ 1318 w 1475"/>
                <a:gd name="T91" fmla="*/ 1020 h 1628"/>
                <a:gd name="T92" fmla="*/ 1389 w 1475"/>
                <a:gd name="T93" fmla="*/ 775 h 1628"/>
                <a:gd name="T94" fmla="*/ 1389 w 1475"/>
                <a:gd name="T95" fmla="*/ 749 h 1628"/>
                <a:gd name="T96" fmla="*/ 1389 w 1475"/>
                <a:gd name="T97" fmla="*/ 741 h 1628"/>
                <a:gd name="T98" fmla="*/ 1386 w 1475"/>
                <a:gd name="T99" fmla="*/ 718 h 1628"/>
                <a:gd name="T100" fmla="*/ 1380 w 1475"/>
                <a:gd name="T101" fmla="*/ 688 h 1628"/>
                <a:gd name="T102" fmla="*/ 1375 w 1475"/>
                <a:gd name="T103" fmla="*/ 657 h 1628"/>
                <a:gd name="T104" fmla="*/ 1372 w 1475"/>
                <a:gd name="T105" fmla="*/ 652 h 1628"/>
                <a:gd name="T106" fmla="*/ 1349 w 1475"/>
                <a:gd name="T107" fmla="*/ 595 h 1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75" h="1628">
                  <a:moveTo>
                    <a:pt x="1016" y="285"/>
                  </a:moveTo>
                  <a:cubicBezTo>
                    <a:pt x="1194" y="327"/>
                    <a:pt x="1335" y="431"/>
                    <a:pt x="1403" y="567"/>
                  </a:cubicBezTo>
                  <a:cubicBezTo>
                    <a:pt x="1474" y="704"/>
                    <a:pt x="1465" y="865"/>
                    <a:pt x="1386" y="1026"/>
                  </a:cubicBezTo>
                  <a:cubicBezTo>
                    <a:pt x="1316" y="1161"/>
                    <a:pt x="1211" y="1274"/>
                    <a:pt x="1084" y="1353"/>
                  </a:cubicBezTo>
                  <a:lnTo>
                    <a:pt x="1067" y="1364"/>
                  </a:lnTo>
                  <a:lnTo>
                    <a:pt x="1084" y="1370"/>
                  </a:lnTo>
                  <a:cubicBezTo>
                    <a:pt x="1121" y="1387"/>
                    <a:pt x="1160" y="1398"/>
                    <a:pt x="1200" y="1398"/>
                  </a:cubicBezTo>
                  <a:cubicBezTo>
                    <a:pt x="1203" y="1398"/>
                    <a:pt x="1205" y="1401"/>
                    <a:pt x="1208" y="1401"/>
                  </a:cubicBezTo>
                  <a:cubicBezTo>
                    <a:pt x="1225" y="1407"/>
                    <a:pt x="1234" y="1424"/>
                    <a:pt x="1228" y="1441"/>
                  </a:cubicBezTo>
                  <a:cubicBezTo>
                    <a:pt x="1225" y="1452"/>
                    <a:pt x="1214" y="1460"/>
                    <a:pt x="1200" y="1460"/>
                  </a:cubicBezTo>
                  <a:cubicBezTo>
                    <a:pt x="1149" y="1460"/>
                    <a:pt x="1101" y="1446"/>
                    <a:pt x="1056" y="1426"/>
                  </a:cubicBezTo>
                  <a:lnTo>
                    <a:pt x="1025" y="1412"/>
                  </a:lnTo>
                  <a:lnTo>
                    <a:pt x="1095" y="1551"/>
                  </a:lnTo>
                  <a:cubicBezTo>
                    <a:pt x="1104" y="1567"/>
                    <a:pt x="1095" y="1584"/>
                    <a:pt x="1081" y="1593"/>
                  </a:cubicBezTo>
                  <a:cubicBezTo>
                    <a:pt x="1064" y="1601"/>
                    <a:pt x="1047" y="1593"/>
                    <a:pt x="1039" y="1579"/>
                  </a:cubicBezTo>
                  <a:lnTo>
                    <a:pt x="968" y="1441"/>
                  </a:lnTo>
                  <a:lnTo>
                    <a:pt x="963" y="1474"/>
                  </a:lnTo>
                  <a:cubicBezTo>
                    <a:pt x="951" y="1522"/>
                    <a:pt x="932" y="1570"/>
                    <a:pt x="904" y="1610"/>
                  </a:cubicBezTo>
                  <a:cubicBezTo>
                    <a:pt x="895" y="1621"/>
                    <a:pt x="875" y="1627"/>
                    <a:pt x="861" y="1615"/>
                  </a:cubicBezTo>
                  <a:cubicBezTo>
                    <a:pt x="856" y="1610"/>
                    <a:pt x="850" y="1605"/>
                    <a:pt x="850" y="1596"/>
                  </a:cubicBezTo>
                  <a:cubicBezTo>
                    <a:pt x="850" y="1588"/>
                    <a:pt x="850" y="1579"/>
                    <a:pt x="856" y="1573"/>
                  </a:cubicBezTo>
                  <a:cubicBezTo>
                    <a:pt x="878" y="1539"/>
                    <a:pt x="895" y="1503"/>
                    <a:pt x="904" y="1463"/>
                  </a:cubicBezTo>
                  <a:lnTo>
                    <a:pt x="909" y="1443"/>
                  </a:lnTo>
                  <a:lnTo>
                    <a:pt x="889" y="1452"/>
                  </a:lnTo>
                  <a:cubicBezTo>
                    <a:pt x="751" y="1508"/>
                    <a:pt x="599" y="1522"/>
                    <a:pt x="449" y="1500"/>
                  </a:cubicBezTo>
                  <a:cubicBezTo>
                    <a:pt x="274" y="1469"/>
                    <a:pt x="139" y="1376"/>
                    <a:pt x="71" y="1240"/>
                  </a:cubicBezTo>
                  <a:cubicBezTo>
                    <a:pt x="0" y="1105"/>
                    <a:pt x="3" y="930"/>
                    <a:pt x="77" y="761"/>
                  </a:cubicBezTo>
                  <a:cubicBezTo>
                    <a:pt x="122" y="660"/>
                    <a:pt x="184" y="570"/>
                    <a:pt x="263" y="496"/>
                  </a:cubicBezTo>
                  <a:lnTo>
                    <a:pt x="266" y="496"/>
                  </a:lnTo>
                  <a:lnTo>
                    <a:pt x="266" y="494"/>
                  </a:lnTo>
                  <a:cubicBezTo>
                    <a:pt x="277" y="468"/>
                    <a:pt x="339" y="327"/>
                    <a:pt x="184" y="192"/>
                  </a:cubicBezTo>
                  <a:cubicBezTo>
                    <a:pt x="181" y="186"/>
                    <a:pt x="175" y="180"/>
                    <a:pt x="175" y="175"/>
                  </a:cubicBezTo>
                  <a:cubicBezTo>
                    <a:pt x="173" y="166"/>
                    <a:pt x="173" y="158"/>
                    <a:pt x="178" y="152"/>
                  </a:cubicBezTo>
                  <a:cubicBezTo>
                    <a:pt x="184" y="144"/>
                    <a:pt x="190" y="141"/>
                    <a:pt x="198" y="138"/>
                  </a:cubicBezTo>
                  <a:cubicBezTo>
                    <a:pt x="249" y="130"/>
                    <a:pt x="302" y="132"/>
                    <a:pt x="350" y="149"/>
                  </a:cubicBezTo>
                  <a:lnTo>
                    <a:pt x="362" y="152"/>
                  </a:lnTo>
                  <a:lnTo>
                    <a:pt x="365" y="141"/>
                  </a:lnTo>
                  <a:cubicBezTo>
                    <a:pt x="381" y="90"/>
                    <a:pt x="407" y="45"/>
                    <a:pt x="446" y="11"/>
                  </a:cubicBezTo>
                  <a:cubicBezTo>
                    <a:pt x="452" y="5"/>
                    <a:pt x="458" y="3"/>
                    <a:pt x="463" y="3"/>
                  </a:cubicBezTo>
                  <a:cubicBezTo>
                    <a:pt x="480" y="0"/>
                    <a:pt x="494" y="14"/>
                    <a:pt x="497" y="31"/>
                  </a:cubicBezTo>
                  <a:cubicBezTo>
                    <a:pt x="514" y="237"/>
                    <a:pt x="664" y="271"/>
                    <a:pt x="692" y="276"/>
                  </a:cubicBezTo>
                  <a:lnTo>
                    <a:pt x="695" y="276"/>
                  </a:lnTo>
                  <a:cubicBezTo>
                    <a:pt x="802" y="257"/>
                    <a:pt x="912" y="259"/>
                    <a:pt x="1016" y="285"/>
                  </a:cubicBezTo>
                  <a:close/>
                  <a:moveTo>
                    <a:pt x="1349" y="595"/>
                  </a:moveTo>
                  <a:cubicBezTo>
                    <a:pt x="1296" y="494"/>
                    <a:pt x="1205" y="417"/>
                    <a:pt x="1090" y="375"/>
                  </a:cubicBezTo>
                  <a:cubicBezTo>
                    <a:pt x="1056" y="361"/>
                    <a:pt x="1025" y="352"/>
                    <a:pt x="991" y="344"/>
                  </a:cubicBezTo>
                  <a:lnTo>
                    <a:pt x="991" y="344"/>
                  </a:lnTo>
                  <a:lnTo>
                    <a:pt x="991" y="344"/>
                  </a:lnTo>
                  <a:lnTo>
                    <a:pt x="991" y="344"/>
                  </a:lnTo>
                  <a:lnTo>
                    <a:pt x="991" y="344"/>
                  </a:lnTo>
                  <a:cubicBezTo>
                    <a:pt x="898" y="324"/>
                    <a:pt x="799" y="321"/>
                    <a:pt x="703" y="336"/>
                  </a:cubicBezTo>
                  <a:lnTo>
                    <a:pt x="633" y="347"/>
                  </a:lnTo>
                  <a:lnTo>
                    <a:pt x="630" y="347"/>
                  </a:lnTo>
                  <a:lnTo>
                    <a:pt x="573" y="313"/>
                  </a:lnTo>
                  <a:lnTo>
                    <a:pt x="554" y="299"/>
                  </a:lnTo>
                  <a:cubicBezTo>
                    <a:pt x="523" y="276"/>
                    <a:pt x="494" y="248"/>
                    <a:pt x="475" y="214"/>
                  </a:cubicBezTo>
                  <a:lnTo>
                    <a:pt x="475" y="214"/>
                  </a:lnTo>
                  <a:cubicBezTo>
                    <a:pt x="475" y="211"/>
                    <a:pt x="472" y="206"/>
                    <a:pt x="469" y="203"/>
                  </a:cubicBezTo>
                  <a:lnTo>
                    <a:pt x="469" y="203"/>
                  </a:lnTo>
                  <a:cubicBezTo>
                    <a:pt x="466" y="200"/>
                    <a:pt x="466" y="197"/>
                    <a:pt x="463" y="194"/>
                  </a:cubicBezTo>
                  <a:lnTo>
                    <a:pt x="463" y="194"/>
                  </a:lnTo>
                  <a:cubicBezTo>
                    <a:pt x="460" y="192"/>
                    <a:pt x="458" y="186"/>
                    <a:pt x="455" y="180"/>
                  </a:cubicBezTo>
                  <a:lnTo>
                    <a:pt x="455" y="180"/>
                  </a:lnTo>
                  <a:cubicBezTo>
                    <a:pt x="455" y="178"/>
                    <a:pt x="452" y="175"/>
                    <a:pt x="452" y="172"/>
                  </a:cubicBezTo>
                  <a:lnTo>
                    <a:pt x="452" y="172"/>
                  </a:lnTo>
                  <a:cubicBezTo>
                    <a:pt x="449" y="163"/>
                    <a:pt x="446" y="155"/>
                    <a:pt x="444" y="147"/>
                  </a:cubicBezTo>
                  <a:lnTo>
                    <a:pt x="444" y="147"/>
                  </a:lnTo>
                  <a:lnTo>
                    <a:pt x="435" y="115"/>
                  </a:lnTo>
                  <a:lnTo>
                    <a:pt x="421" y="144"/>
                  </a:lnTo>
                  <a:cubicBezTo>
                    <a:pt x="412" y="163"/>
                    <a:pt x="407" y="183"/>
                    <a:pt x="407" y="206"/>
                  </a:cubicBezTo>
                  <a:cubicBezTo>
                    <a:pt x="407" y="211"/>
                    <a:pt x="404" y="214"/>
                    <a:pt x="401" y="220"/>
                  </a:cubicBezTo>
                  <a:cubicBezTo>
                    <a:pt x="401" y="223"/>
                    <a:pt x="401" y="223"/>
                    <a:pt x="401" y="223"/>
                  </a:cubicBezTo>
                  <a:cubicBezTo>
                    <a:pt x="390" y="237"/>
                    <a:pt x="370" y="242"/>
                    <a:pt x="353" y="231"/>
                  </a:cubicBezTo>
                  <a:cubicBezTo>
                    <a:pt x="331" y="217"/>
                    <a:pt x="305" y="209"/>
                    <a:pt x="277" y="203"/>
                  </a:cubicBezTo>
                  <a:lnTo>
                    <a:pt x="266" y="200"/>
                  </a:lnTo>
                  <a:lnTo>
                    <a:pt x="283" y="226"/>
                  </a:lnTo>
                  <a:cubicBezTo>
                    <a:pt x="322" y="279"/>
                    <a:pt x="345" y="344"/>
                    <a:pt x="342" y="409"/>
                  </a:cubicBezTo>
                  <a:lnTo>
                    <a:pt x="342" y="431"/>
                  </a:lnTo>
                  <a:lnTo>
                    <a:pt x="342" y="431"/>
                  </a:lnTo>
                  <a:lnTo>
                    <a:pt x="345" y="496"/>
                  </a:lnTo>
                  <a:lnTo>
                    <a:pt x="345" y="496"/>
                  </a:lnTo>
                  <a:cubicBezTo>
                    <a:pt x="266" y="578"/>
                    <a:pt x="195" y="671"/>
                    <a:pt x="136" y="772"/>
                  </a:cubicBezTo>
                  <a:lnTo>
                    <a:pt x="130" y="786"/>
                  </a:lnTo>
                  <a:cubicBezTo>
                    <a:pt x="65" y="935"/>
                    <a:pt x="63" y="1091"/>
                    <a:pt x="122" y="1212"/>
                  </a:cubicBezTo>
                  <a:cubicBezTo>
                    <a:pt x="125" y="1218"/>
                    <a:pt x="130" y="1226"/>
                    <a:pt x="133" y="1232"/>
                  </a:cubicBezTo>
                  <a:cubicBezTo>
                    <a:pt x="144" y="1254"/>
                    <a:pt x="158" y="1274"/>
                    <a:pt x="175" y="1291"/>
                  </a:cubicBezTo>
                  <a:cubicBezTo>
                    <a:pt x="178" y="1294"/>
                    <a:pt x="178" y="1294"/>
                    <a:pt x="178" y="1294"/>
                  </a:cubicBezTo>
                  <a:lnTo>
                    <a:pt x="178" y="1294"/>
                  </a:lnTo>
                  <a:cubicBezTo>
                    <a:pt x="269" y="1393"/>
                    <a:pt x="410" y="1449"/>
                    <a:pt x="579" y="1449"/>
                  </a:cubicBezTo>
                  <a:lnTo>
                    <a:pt x="579" y="1449"/>
                  </a:lnTo>
                  <a:cubicBezTo>
                    <a:pt x="870" y="1432"/>
                    <a:pt x="1104" y="1322"/>
                    <a:pt x="1268" y="1102"/>
                  </a:cubicBezTo>
                  <a:cubicBezTo>
                    <a:pt x="1284" y="1074"/>
                    <a:pt x="1304" y="1048"/>
                    <a:pt x="1318" y="1020"/>
                  </a:cubicBezTo>
                  <a:cubicBezTo>
                    <a:pt x="1361" y="947"/>
                    <a:pt x="1383" y="865"/>
                    <a:pt x="1389" y="783"/>
                  </a:cubicBezTo>
                  <a:cubicBezTo>
                    <a:pt x="1389" y="780"/>
                    <a:pt x="1389" y="777"/>
                    <a:pt x="1389" y="775"/>
                  </a:cubicBezTo>
                  <a:cubicBezTo>
                    <a:pt x="1389" y="766"/>
                    <a:pt x="1389" y="758"/>
                    <a:pt x="1389" y="749"/>
                  </a:cubicBezTo>
                  <a:lnTo>
                    <a:pt x="1389" y="749"/>
                  </a:lnTo>
                  <a:lnTo>
                    <a:pt x="1389" y="749"/>
                  </a:lnTo>
                  <a:cubicBezTo>
                    <a:pt x="1389" y="746"/>
                    <a:pt x="1389" y="744"/>
                    <a:pt x="1389" y="741"/>
                  </a:cubicBezTo>
                  <a:cubicBezTo>
                    <a:pt x="1389" y="735"/>
                    <a:pt x="1386" y="727"/>
                    <a:pt x="1386" y="718"/>
                  </a:cubicBezTo>
                  <a:lnTo>
                    <a:pt x="1386" y="718"/>
                  </a:lnTo>
                  <a:cubicBezTo>
                    <a:pt x="1386" y="715"/>
                    <a:pt x="1386" y="715"/>
                    <a:pt x="1386" y="713"/>
                  </a:cubicBezTo>
                  <a:cubicBezTo>
                    <a:pt x="1383" y="704"/>
                    <a:pt x="1383" y="697"/>
                    <a:pt x="1380" y="688"/>
                  </a:cubicBezTo>
                  <a:cubicBezTo>
                    <a:pt x="1380" y="685"/>
                    <a:pt x="1380" y="685"/>
                    <a:pt x="1380" y="683"/>
                  </a:cubicBezTo>
                  <a:cubicBezTo>
                    <a:pt x="1380" y="674"/>
                    <a:pt x="1378" y="666"/>
                    <a:pt x="1375" y="657"/>
                  </a:cubicBezTo>
                  <a:lnTo>
                    <a:pt x="1375" y="657"/>
                  </a:lnTo>
                  <a:cubicBezTo>
                    <a:pt x="1375" y="657"/>
                    <a:pt x="1372" y="654"/>
                    <a:pt x="1372" y="652"/>
                  </a:cubicBezTo>
                  <a:cubicBezTo>
                    <a:pt x="1369" y="640"/>
                    <a:pt x="1366" y="629"/>
                    <a:pt x="1361" y="618"/>
                  </a:cubicBezTo>
                  <a:cubicBezTo>
                    <a:pt x="1355" y="609"/>
                    <a:pt x="1352" y="604"/>
                    <a:pt x="1349" y="595"/>
                  </a:cubicBezTo>
                  <a:lnTo>
                    <a:pt x="1349" y="5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 24"/>
            <p:cNvSpPr>
              <a:spLocks noChangeArrowheads="1"/>
            </p:cNvSpPr>
            <p:nvPr/>
          </p:nvSpPr>
          <p:spPr bwMode="auto">
            <a:xfrm>
              <a:off x="4675188" y="2225675"/>
              <a:ext cx="363537" cy="404813"/>
            </a:xfrm>
            <a:custGeom>
              <a:avLst/>
              <a:gdLst>
                <a:gd name="T0" fmla="*/ 878 w 1010"/>
                <a:gd name="T1" fmla="*/ 896 h 1123"/>
                <a:gd name="T2" fmla="*/ 454 w 1010"/>
                <a:gd name="T3" fmla="*/ 1083 h 1123"/>
                <a:gd name="T4" fmla="*/ 110 w 1010"/>
                <a:gd name="T5" fmla="*/ 88 h 1123"/>
                <a:gd name="T6" fmla="*/ 150 w 1010"/>
                <a:gd name="T7" fmla="*/ 60 h 1123"/>
                <a:gd name="T8" fmla="*/ 178 w 1010"/>
                <a:gd name="T9" fmla="*/ 99 h 1123"/>
                <a:gd name="T10" fmla="*/ 178 w 1010"/>
                <a:gd name="T11" fmla="*/ 99 h 1123"/>
                <a:gd name="T12" fmla="*/ 471 w 1010"/>
                <a:gd name="T13" fmla="*/ 1018 h 1123"/>
                <a:gd name="T14" fmla="*/ 835 w 1010"/>
                <a:gd name="T15" fmla="*/ 823 h 1123"/>
                <a:gd name="T16" fmla="*/ 257 w 1010"/>
                <a:gd name="T17" fmla="*/ 68 h 1123"/>
                <a:gd name="T18" fmla="*/ 243 w 1010"/>
                <a:gd name="T19" fmla="*/ 23 h 1123"/>
                <a:gd name="T20" fmla="*/ 288 w 1010"/>
                <a:gd name="T21" fmla="*/ 9 h 1123"/>
                <a:gd name="T22" fmla="*/ 900 w 1010"/>
                <a:gd name="T23" fmla="*/ 849 h 1123"/>
                <a:gd name="T24" fmla="*/ 878 w 1010"/>
                <a:gd name="T25" fmla="*/ 896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10" h="1123">
                  <a:moveTo>
                    <a:pt x="878" y="896"/>
                  </a:moveTo>
                  <a:cubicBezTo>
                    <a:pt x="796" y="1046"/>
                    <a:pt x="621" y="1122"/>
                    <a:pt x="454" y="1083"/>
                  </a:cubicBezTo>
                  <a:cubicBezTo>
                    <a:pt x="344" y="1054"/>
                    <a:pt x="0" y="905"/>
                    <a:pt x="110" y="88"/>
                  </a:cubicBezTo>
                  <a:cubicBezTo>
                    <a:pt x="113" y="68"/>
                    <a:pt x="130" y="57"/>
                    <a:pt x="150" y="60"/>
                  </a:cubicBezTo>
                  <a:cubicBezTo>
                    <a:pt x="169" y="62"/>
                    <a:pt x="181" y="79"/>
                    <a:pt x="178" y="99"/>
                  </a:cubicBezTo>
                  <a:lnTo>
                    <a:pt x="178" y="99"/>
                  </a:lnTo>
                  <a:cubicBezTo>
                    <a:pt x="96" y="702"/>
                    <a:pt x="277" y="970"/>
                    <a:pt x="471" y="1018"/>
                  </a:cubicBezTo>
                  <a:cubicBezTo>
                    <a:pt x="624" y="1054"/>
                    <a:pt x="782" y="970"/>
                    <a:pt x="835" y="823"/>
                  </a:cubicBezTo>
                  <a:cubicBezTo>
                    <a:pt x="906" y="631"/>
                    <a:pt x="790" y="333"/>
                    <a:pt x="257" y="68"/>
                  </a:cubicBezTo>
                  <a:cubicBezTo>
                    <a:pt x="240" y="60"/>
                    <a:pt x="234" y="40"/>
                    <a:pt x="243" y="23"/>
                  </a:cubicBezTo>
                  <a:cubicBezTo>
                    <a:pt x="251" y="6"/>
                    <a:pt x="270" y="0"/>
                    <a:pt x="288" y="9"/>
                  </a:cubicBezTo>
                  <a:cubicBezTo>
                    <a:pt x="1009" y="370"/>
                    <a:pt x="940" y="744"/>
                    <a:pt x="900" y="849"/>
                  </a:cubicBezTo>
                  <a:cubicBezTo>
                    <a:pt x="895" y="865"/>
                    <a:pt x="886" y="882"/>
                    <a:pt x="878" y="89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10747098" y="5420797"/>
            <a:ext cx="305984" cy="325854"/>
            <a:chOff x="5554663" y="1930400"/>
            <a:chExt cx="611187" cy="650875"/>
          </a:xfrm>
          <a:solidFill>
            <a:schemeClr val="tx1"/>
          </a:solidFill>
        </p:grpSpPr>
        <p:sp>
          <p:nvSpPr>
            <p:cNvPr id="8" name="Freeform 25"/>
            <p:cNvSpPr>
              <a:spLocks noChangeArrowheads="1"/>
            </p:cNvSpPr>
            <p:nvPr/>
          </p:nvSpPr>
          <p:spPr bwMode="auto">
            <a:xfrm>
              <a:off x="5554663" y="2106613"/>
              <a:ext cx="80962" cy="53975"/>
            </a:xfrm>
            <a:custGeom>
              <a:avLst/>
              <a:gdLst>
                <a:gd name="T0" fmla="*/ 200 w 227"/>
                <a:gd name="T1" fmla="*/ 150 h 151"/>
                <a:gd name="T2" fmla="*/ 192 w 227"/>
                <a:gd name="T3" fmla="*/ 147 h 151"/>
                <a:gd name="T4" fmla="*/ 9 w 227"/>
                <a:gd name="T5" fmla="*/ 51 h 151"/>
                <a:gd name="T6" fmla="*/ 3 w 227"/>
                <a:gd name="T7" fmla="*/ 31 h 151"/>
                <a:gd name="T8" fmla="*/ 14 w 227"/>
                <a:gd name="T9" fmla="*/ 9 h 151"/>
                <a:gd name="T10" fmla="*/ 14 w 227"/>
                <a:gd name="T11" fmla="*/ 9 h 151"/>
                <a:gd name="T12" fmla="*/ 34 w 227"/>
                <a:gd name="T13" fmla="*/ 3 h 151"/>
                <a:gd name="T14" fmla="*/ 217 w 227"/>
                <a:gd name="T15" fmla="*/ 99 h 151"/>
                <a:gd name="T16" fmla="*/ 223 w 227"/>
                <a:gd name="T17" fmla="*/ 119 h 151"/>
                <a:gd name="T18" fmla="*/ 212 w 227"/>
                <a:gd name="T19" fmla="*/ 141 h 151"/>
                <a:gd name="T20" fmla="*/ 200 w 227"/>
                <a:gd name="T21" fmla="*/ 15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7" h="151">
                  <a:moveTo>
                    <a:pt x="200" y="150"/>
                  </a:moveTo>
                  <a:cubicBezTo>
                    <a:pt x="198" y="150"/>
                    <a:pt x="195" y="150"/>
                    <a:pt x="192" y="147"/>
                  </a:cubicBezTo>
                  <a:lnTo>
                    <a:pt x="9" y="51"/>
                  </a:lnTo>
                  <a:cubicBezTo>
                    <a:pt x="3" y="48"/>
                    <a:pt x="0" y="37"/>
                    <a:pt x="3" y="31"/>
                  </a:cubicBezTo>
                  <a:lnTo>
                    <a:pt x="14" y="9"/>
                  </a:lnTo>
                  <a:lnTo>
                    <a:pt x="14" y="9"/>
                  </a:lnTo>
                  <a:cubicBezTo>
                    <a:pt x="17" y="3"/>
                    <a:pt x="28" y="0"/>
                    <a:pt x="34" y="3"/>
                  </a:cubicBezTo>
                  <a:lnTo>
                    <a:pt x="217" y="99"/>
                  </a:lnTo>
                  <a:cubicBezTo>
                    <a:pt x="223" y="102"/>
                    <a:pt x="226" y="113"/>
                    <a:pt x="223" y="119"/>
                  </a:cubicBezTo>
                  <a:lnTo>
                    <a:pt x="212" y="141"/>
                  </a:lnTo>
                  <a:cubicBezTo>
                    <a:pt x="212" y="147"/>
                    <a:pt x="206" y="150"/>
                    <a:pt x="200" y="15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26"/>
            <p:cNvSpPr>
              <a:spLocks noChangeArrowheads="1"/>
            </p:cNvSpPr>
            <p:nvPr/>
          </p:nvSpPr>
          <p:spPr bwMode="auto">
            <a:xfrm>
              <a:off x="5695950" y="1944688"/>
              <a:ext cx="46038" cy="74612"/>
            </a:xfrm>
            <a:custGeom>
              <a:avLst/>
              <a:gdLst>
                <a:gd name="T0" fmla="*/ 71 w 128"/>
                <a:gd name="T1" fmla="*/ 197 h 207"/>
                <a:gd name="T2" fmla="*/ 3 w 128"/>
                <a:gd name="T3" fmla="*/ 33 h 207"/>
                <a:gd name="T4" fmla="*/ 12 w 128"/>
                <a:gd name="T5" fmla="*/ 14 h 207"/>
                <a:gd name="T6" fmla="*/ 37 w 128"/>
                <a:gd name="T7" fmla="*/ 2 h 207"/>
                <a:gd name="T8" fmla="*/ 37 w 128"/>
                <a:gd name="T9" fmla="*/ 2 h 207"/>
                <a:gd name="T10" fmla="*/ 57 w 128"/>
                <a:gd name="T11" fmla="*/ 11 h 207"/>
                <a:gd name="T12" fmla="*/ 124 w 128"/>
                <a:gd name="T13" fmla="*/ 175 h 207"/>
                <a:gd name="T14" fmla="*/ 124 w 128"/>
                <a:gd name="T15" fmla="*/ 175 h 207"/>
                <a:gd name="T16" fmla="*/ 116 w 128"/>
                <a:gd name="T17" fmla="*/ 194 h 207"/>
                <a:gd name="T18" fmla="*/ 91 w 128"/>
                <a:gd name="T19" fmla="*/ 206 h 207"/>
                <a:gd name="T20" fmla="*/ 85 w 128"/>
                <a:gd name="T21" fmla="*/ 206 h 207"/>
                <a:gd name="T22" fmla="*/ 79 w 128"/>
                <a:gd name="T23" fmla="*/ 206 h 207"/>
                <a:gd name="T24" fmla="*/ 71 w 128"/>
                <a:gd name="T25" fmla="*/ 19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8" h="207">
                  <a:moveTo>
                    <a:pt x="71" y="197"/>
                  </a:moveTo>
                  <a:lnTo>
                    <a:pt x="3" y="33"/>
                  </a:lnTo>
                  <a:cubicBezTo>
                    <a:pt x="0" y="25"/>
                    <a:pt x="3" y="17"/>
                    <a:pt x="12" y="14"/>
                  </a:cubicBezTo>
                  <a:lnTo>
                    <a:pt x="37" y="2"/>
                  </a:lnTo>
                  <a:lnTo>
                    <a:pt x="37" y="2"/>
                  </a:lnTo>
                  <a:cubicBezTo>
                    <a:pt x="45" y="0"/>
                    <a:pt x="54" y="2"/>
                    <a:pt x="57" y="11"/>
                  </a:cubicBezTo>
                  <a:lnTo>
                    <a:pt x="124" y="175"/>
                  </a:lnTo>
                  <a:lnTo>
                    <a:pt x="124" y="175"/>
                  </a:lnTo>
                  <a:cubicBezTo>
                    <a:pt x="127" y="183"/>
                    <a:pt x="124" y="191"/>
                    <a:pt x="116" y="194"/>
                  </a:cubicBezTo>
                  <a:lnTo>
                    <a:pt x="91" y="206"/>
                  </a:lnTo>
                  <a:cubicBezTo>
                    <a:pt x="88" y="206"/>
                    <a:pt x="88" y="206"/>
                    <a:pt x="85" y="206"/>
                  </a:cubicBezTo>
                  <a:cubicBezTo>
                    <a:pt x="82" y="206"/>
                    <a:pt x="82" y="206"/>
                    <a:pt x="79" y="206"/>
                  </a:cubicBezTo>
                  <a:cubicBezTo>
                    <a:pt x="77" y="203"/>
                    <a:pt x="74" y="200"/>
                    <a:pt x="71" y="19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27"/>
            <p:cNvSpPr>
              <a:spLocks noChangeArrowheads="1"/>
            </p:cNvSpPr>
            <p:nvPr/>
          </p:nvSpPr>
          <p:spPr bwMode="auto">
            <a:xfrm>
              <a:off x="5940425" y="1930400"/>
              <a:ext cx="42863" cy="65088"/>
            </a:xfrm>
            <a:custGeom>
              <a:avLst/>
              <a:gdLst>
                <a:gd name="T0" fmla="*/ 12 w 120"/>
                <a:gd name="T1" fmla="*/ 167 h 182"/>
                <a:gd name="T2" fmla="*/ 3 w 120"/>
                <a:gd name="T3" fmla="*/ 147 h 182"/>
                <a:gd name="T4" fmla="*/ 63 w 120"/>
                <a:gd name="T5" fmla="*/ 12 h 182"/>
                <a:gd name="T6" fmla="*/ 63 w 120"/>
                <a:gd name="T7" fmla="*/ 12 h 182"/>
                <a:gd name="T8" fmla="*/ 82 w 120"/>
                <a:gd name="T9" fmla="*/ 3 h 182"/>
                <a:gd name="T10" fmla="*/ 108 w 120"/>
                <a:gd name="T11" fmla="*/ 14 h 182"/>
                <a:gd name="T12" fmla="*/ 116 w 120"/>
                <a:gd name="T13" fmla="*/ 34 h 182"/>
                <a:gd name="T14" fmla="*/ 57 w 120"/>
                <a:gd name="T15" fmla="*/ 170 h 182"/>
                <a:gd name="T16" fmla="*/ 57 w 120"/>
                <a:gd name="T17" fmla="*/ 170 h 182"/>
                <a:gd name="T18" fmla="*/ 37 w 120"/>
                <a:gd name="T19" fmla="*/ 178 h 182"/>
                <a:gd name="T20" fmla="*/ 12 w 120"/>
                <a:gd name="T21" fmla="*/ 167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" h="182">
                  <a:moveTo>
                    <a:pt x="12" y="167"/>
                  </a:moveTo>
                  <a:cubicBezTo>
                    <a:pt x="3" y="164"/>
                    <a:pt x="0" y="155"/>
                    <a:pt x="3" y="147"/>
                  </a:cubicBezTo>
                  <a:lnTo>
                    <a:pt x="63" y="12"/>
                  </a:lnTo>
                  <a:lnTo>
                    <a:pt x="63" y="12"/>
                  </a:lnTo>
                  <a:cubicBezTo>
                    <a:pt x="65" y="3"/>
                    <a:pt x="74" y="0"/>
                    <a:pt x="82" y="3"/>
                  </a:cubicBezTo>
                  <a:lnTo>
                    <a:pt x="108" y="14"/>
                  </a:lnTo>
                  <a:cubicBezTo>
                    <a:pt x="116" y="17"/>
                    <a:pt x="119" y="26"/>
                    <a:pt x="116" y="34"/>
                  </a:cubicBezTo>
                  <a:lnTo>
                    <a:pt x="57" y="170"/>
                  </a:lnTo>
                  <a:lnTo>
                    <a:pt x="57" y="170"/>
                  </a:lnTo>
                  <a:cubicBezTo>
                    <a:pt x="54" y="178"/>
                    <a:pt x="46" y="181"/>
                    <a:pt x="37" y="178"/>
                  </a:cubicBezTo>
                  <a:lnTo>
                    <a:pt x="12" y="16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28"/>
            <p:cNvSpPr>
              <a:spLocks noChangeArrowheads="1"/>
            </p:cNvSpPr>
            <p:nvPr/>
          </p:nvSpPr>
          <p:spPr bwMode="auto">
            <a:xfrm>
              <a:off x="6061075" y="2065338"/>
              <a:ext cx="104775" cy="76200"/>
            </a:xfrm>
            <a:custGeom>
              <a:avLst/>
              <a:gdLst>
                <a:gd name="T0" fmla="*/ 282 w 289"/>
                <a:gd name="T1" fmla="*/ 31 h 212"/>
                <a:gd name="T2" fmla="*/ 280 w 289"/>
                <a:gd name="T3" fmla="*/ 50 h 212"/>
                <a:gd name="T4" fmla="*/ 40 w 289"/>
                <a:gd name="T5" fmla="*/ 208 h 212"/>
                <a:gd name="T6" fmla="*/ 28 w 289"/>
                <a:gd name="T7" fmla="*/ 211 h 212"/>
                <a:gd name="T8" fmla="*/ 20 w 289"/>
                <a:gd name="T9" fmla="*/ 205 h 212"/>
                <a:gd name="T10" fmla="*/ 6 w 289"/>
                <a:gd name="T11" fmla="*/ 183 h 212"/>
                <a:gd name="T12" fmla="*/ 9 w 289"/>
                <a:gd name="T13" fmla="*/ 163 h 212"/>
                <a:gd name="T14" fmla="*/ 249 w 289"/>
                <a:gd name="T15" fmla="*/ 5 h 212"/>
                <a:gd name="T16" fmla="*/ 249 w 289"/>
                <a:gd name="T17" fmla="*/ 5 h 212"/>
                <a:gd name="T18" fmla="*/ 268 w 289"/>
                <a:gd name="T19" fmla="*/ 8 h 212"/>
                <a:gd name="T20" fmla="*/ 282 w 289"/>
                <a:gd name="T21" fmla="*/ 31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" h="212">
                  <a:moveTo>
                    <a:pt x="282" y="31"/>
                  </a:moveTo>
                  <a:cubicBezTo>
                    <a:pt x="288" y="39"/>
                    <a:pt x="285" y="47"/>
                    <a:pt x="280" y="50"/>
                  </a:cubicBezTo>
                  <a:lnTo>
                    <a:pt x="40" y="208"/>
                  </a:lnTo>
                  <a:cubicBezTo>
                    <a:pt x="37" y="211"/>
                    <a:pt x="31" y="211"/>
                    <a:pt x="28" y="211"/>
                  </a:cubicBezTo>
                  <a:cubicBezTo>
                    <a:pt x="26" y="211"/>
                    <a:pt x="23" y="208"/>
                    <a:pt x="20" y="205"/>
                  </a:cubicBezTo>
                  <a:lnTo>
                    <a:pt x="6" y="183"/>
                  </a:lnTo>
                  <a:cubicBezTo>
                    <a:pt x="0" y="177"/>
                    <a:pt x="3" y="169"/>
                    <a:pt x="9" y="163"/>
                  </a:cubicBezTo>
                  <a:lnTo>
                    <a:pt x="249" y="5"/>
                  </a:lnTo>
                  <a:lnTo>
                    <a:pt x="249" y="5"/>
                  </a:lnTo>
                  <a:cubicBezTo>
                    <a:pt x="254" y="0"/>
                    <a:pt x="263" y="2"/>
                    <a:pt x="268" y="8"/>
                  </a:cubicBezTo>
                  <a:lnTo>
                    <a:pt x="282" y="3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29"/>
            <p:cNvSpPr>
              <a:spLocks noChangeArrowheads="1"/>
            </p:cNvSpPr>
            <p:nvPr/>
          </p:nvSpPr>
          <p:spPr bwMode="auto">
            <a:xfrm>
              <a:off x="5580063" y="2001838"/>
              <a:ext cx="554037" cy="579437"/>
            </a:xfrm>
            <a:custGeom>
              <a:avLst/>
              <a:gdLst>
                <a:gd name="T0" fmla="*/ 1219 w 1541"/>
                <a:gd name="T1" fmla="*/ 440 h 1611"/>
                <a:gd name="T2" fmla="*/ 1526 w 1541"/>
                <a:gd name="T3" fmla="*/ 736 h 1611"/>
                <a:gd name="T4" fmla="*/ 1230 w 1541"/>
                <a:gd name="T5" fmla="*/ 1079 h 1611"/>
                <a:gd name="T6" fmla="*/ 1244 w 1541"/>
                <a:gd name="T7" fmla="*/ 1570 h 1611"/>
                <a:gd name="T8" fmla="*/ 1230 w 1541"/>
                <a:gd name="T9" fmla="*/ 1584 h 1611"/>
                <a:gd name="T10" fmla="*/ 356 w 1541"/>
                <a:gd name="T11" fmla="*/ 1610 h 1611"/>
                <a:gd name="T12" fmla="*/ 342 w 1541"/>
                <a:gd name="T13" fmla="*/ 1596 h 1611"/>
                <a:gd name="T14" fmla="*/ 328 w 1541"/>
                <a:gd name="T15" fmla="*/ 1099 h 1611"/>
                <a:gd name="T16" fmla="*/ 17 w 1541"/>
                <a:gd name="T17" fmla="*/ 815 h 1611"/>
                <a:gd name="T18" fmla="*/ 302 w 1541"/>
                <a:gd name="T19" fmla="*/ 462 h 1611"/>
                <a:gd name="T20" fmla="*/ 723 w 1541"/>
                <a:gd name="T21" fmla="*/ 20 h 1611"/>
                <a:gd name="T22" fmla="*/ 1219 w 1541"/>
                <a:gd name="T23" fmla="*/ 440 h 1611"/>
                <a:gd name="T24" fmla="*/ 1179 w 1541"/>
                <a:gd name="T25" fmla="*/ 1029 h 1611"/>
                <a:gd name="T26" fmla="*/ 1193 w 1541"/>
                <a:gd name="T27" fmla="*/ 1023 h 1611"/>
                <a:gd name="T28" fmla="*/ 1207 w 1541"/>
                <a:gd name="T29" fmla="*/ 1023 h 1611"/>
                <a:gd name="T30" fmla="*/ 1475 w 1541"/>
                <a:gd name="T31" fmla="*/ 764 h 1611"/>
                <a:gd name="T32" fmla="*/ 1216 w 1541"/>
                <a:gd name="T33" fmla="*/ 496 h 1611"/>
                <a:gd name="T34" fmla="*/ 1199 w 1541"/>
                <a:gd name="T35" fmla="*/ 496 h 1611"/>
                <a:gd name="T36" fmla="*/ 1185 w 1541"/>
                <a:gd name="T37" fmla="*/ 496 h 1611"/>
                <a:gd name="T38" fmla="*/ 1173 w 1541"/>
                <a:gd name="T39" fmla="*/ 494 h 1611"/>
                <a:gd name="T40" fmla="*/ 1168 w 1541"/>
                <a:gd name="T41" fmla="*/ 482 h 1611"/>
                <a:gd name="T42" fmla="*/ 1168 w 1541"/>
                <a:gd name="T43" fmla="*/ 468 h 1611"/>
                <a:gd name="T44" fmla="*/ 1168 w 1541"/>
                <a:gd name="T45" fmla="*/ 468 h 1611"/>
                <a:gd name="T46" fmla="*/ 753 w 1541"/>
                <a:gd name="T47" fmla="*/ 73 h 1611"/>
                <a:gd name="T48" fmla="*/ 751 w 1541"/>
                <a:gd name="T49" fmla="*/ 73 h 1611"/>
                <a:gd name="T50" fmla="*/ 427 w 1541"/>
                <a:gd name="T51" fmla="*/ 254 h 1611"/>
                <a:gd name="T52" fmla="*/ 359 w 1541"/>
                <a:gd name="T53" fmla="*/ 488 h 1611"/>
                <a:gd name="T54" fmla="*/ 359 w 1541"/>
                <a:gd name="T55" fmla="*/ 502 h 1611"/>
                <a:gd name="T56" fmla="*/ 345 w 1541"/>
                <a:gd name="T57" fmla="*/ 516 h 1611"/>
                <a:gd name="T58" fmla="*/ 345 w 1541"/>
                <a:gd name="T59" fmla="*/ 516 h 1611"/>
                <a:gd name="T60" fmla="*/ 328 w 1541"/>
                <a:gd name="T61" fmla="*/ 516 h 1611"/>
                <a:gd name="T62" fmla="*/ 319 w 1541"/>
                <a:gd name="T63" fmla="*/ 516 h 1611"/>
                <a:gd name="T64" fmla="*/ 71 w 1541"/>
                <a:gd name="T65" fmla="*/ 798 h 1611"/>
                <a:gd name="T66" fmla="*/ 353 w 1541"/>
                <a:gd name="T67" fmla="*/ 1045 h 1611"/>
                <a:gd name="T68" fmla="*/ 367 w 1541"/>
                <a:gd name="T69" fmla="*/ 1045 h 1611"/>
                <a:gd name="T70" fmla="*/ 379 w 1541"/>
                <a:gd name="T71" fmla="*/ 1048 h 1611"/>
                <a:gd name="T72" fmla="*/ 384 w 1541"/>
                <a:gd name="T73" fmla="*/ 1060 h 1611"/>
                <a:gd name="T74" fmla="*/ 398 w 1541"/>
                <a:gd name="T75" fmla="*/ 1556 h 1611"/>
                <a:gd name="T76" fmla="*/ 1190 w 1541"/>
                <a:gd name="T77" fmla="*/ 1531 h 1611"/>
                <a:gd name="T78" fmla="*/ 1176 w 1541"/>
                <a:gd name="T79" fmla="*/ 1040 h 1611"/>
                <a:gd name="T80" fmla="*/ 1179 w 1541"/>
                <a:gd name="T81" fmla="*/ 1029 h 1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41" h="1611">
                  <a:moveTo>
                    <a:pt x="1219" y="440"/>
                  </a:moveTo>
                  <a:cubicBezTo>
                    <a:pt x="1382" y="446"/>
                    <a:pt x="1515" y="575"/>
                    <a:pt x="1526" y="736"/>
                  </a:cubicBezTo>
                  <a:cubicBezTo>
                    <a:pt x="1540" y="914"/>
                    <a:pt x="1408" y="1065"/>
                    <a:pt x="1230" y="1079"/>
                  </a:cubicBezTo>
                  <a:lnTo>
                    <a:pt x="1244" y="1570"/>
                  </a:lnTo>
                  <a:cubicBezTo>
                    <a:pt x="1244" y="1579"/>
                    <a:pt x="1238" y="1584"/>
                    <a:pt x="1230" y="1584"/>
                  </a:cubicBezTo>
                  <a:lnTo>
                    <a:pt x="356" y="1610"/>
                  </a:lnTo>
                  <a:cubicBezTo>
                    <a:pt x="348" y="1610"/>
                    <a:pt x="342" y="1604"/>
                    <a:pt x="342" y="1596"/>
                  </a:cubicBezTo>
                  <a:lnTo>
                    <a:pt x="328" y="1099"/>
                  </a:lnTo>
                  <a:cubicBezTo>
                    <a:pt x="167" y="1096"/>
                    <a:pt x="34" y="972"/>
                    <a:pt x="17" y="815"/>
                  </a:cubicBezTo>
                  <a:cubicBezTo>
                    <a:pt x="0" y="640"/>
                    <a:pt x="127" y="482"/>
                    <a:pt x="302" y="462"/>
                  </a:cubicBezTo>
                  <a:cubicBezTo>
                    <a:pt x="311" y="228"/>
                    <a:pt x="491" y="39"/>
                    <a:pt x="723" y="20"/>
                  </a:cubicBezTo>
                  <a:cubicBezTo>
                    <a:pt x="976" y="0"/>
                    <a:pt x="1196" y="186"/>
                    <a:pt x="1219" y="440"/>
                  </a:cubicBezTo>
                  <a:close/>
                  <a:moveTo>
                    <a:pt x="1179" y="1029"/>
                  </a:moveTo>
                  <a:cubicBezTo>
                    <a:pt x="1182" y="1026"/>
                    <a:pt x="1185" y="1026"/>
                    <a:pt x="1193" y="1023"/>
                  </a:cubicBezTo>
                  <a:lnTo>
                    <a:pt x="1207" y="1023"/>
                  </a:lnTo>
                  <a:cubicBezTo>
                    <a:pt x="1351" y="1026"/>
                    <a:pt x="1473" y="911"/>
                    <a:pt x="1475" y="764"/>
                  </a:cubicBezTo>
                  <a:cubicBezTo>
                    <a:pt x="1478" y="620"/>
                    <a:pt x="1362" y="499"/>
                    <a:pt x="1216" y="496"/>
                  </a:cubicBezTo>
                  <a:cubicBezTo>
                    <a:pt x="1210" y="496"/>
                    <a:pt x="1204" y="496"/>
                    <a:pt x="1199" y="496"/>
                  </a:cubicBezTo>
                  <a:lnTo>
                    <a:pt x="1185" y="496"/>
                  </a:lnTo>
                  <a:cubicBezTo>
                    <a:pt x="1179" y="496"/>
                    <a:pt x="1176" y="496"/>
                    <a:pt x="1173" y="494"/>
                  </a:cubicBezTo>
                  <a:cubicBezTo>
                    <a:pt x="1171" y="491"/>
                    <a:pt x="1168" y="485"/>
                    <a:pt x="1168" y="482"/>
                  </a:cubicBezTo>
                  <a:lnTo>
                    <a:pt x="1168" y="468"/>
                  </a:lnTo>
                  <a:lnTo>
                    <a:pt x="1168" y="468"/>
                  </a:lnTo>
                  <a:cubicBezTo>
                    <a:pt x="1162" y="245"/>
                    <a:pt x="976" y="68"/>
                    <a:pt x="753" y="73"/>
                  </a:cubicBezTo>
                  <a:lnTo>
                    <a:pt x="751" y="73"/>
                  </a:lnTo>
                  <a:cubicBezTo>
                    <a:pt x="621" y="76"/>
                    <a:pt x="500" y="144"/>
                    <a:pt x="427" y="254"/>
                  </a:cubicBezTo>
                  <a:cubicBezTo>
                    <a:pt x="379" y="324"/>
                    <a:pt x="356" y="406"/>
                    <a:pt x="359" y="488"/>
                  </a:cubicBezTo>
                  <a:lnTo>
                    <a:pt x="359" y="502"/>
                  </a:lnTo>
                  <a:cubicBezTo>
                    <a:pt x="359" y="510"/>
                    <a:pt x="353" y="516"/>
                    <a:pt x="345" y="516"/>
                  </a:cubicBezTo>
                  <a:lnTo>
                    <a:pt x="345" y="516"/>
                  </a:lnTo>
                  <a:lnTo>
                    <a:pt x="328" y="516"/>
                  </a:lnTo>
                  <a:cubicBezTo>
                    <a:pt x="325" y="516"/>
                    <a:pt x="322" y="516"/>
                    <a:pt x="319" y="516"/>
                  </a:cubicBezTo>
                  <a:cubicBezTo>
                    <a:pt x="173" y="527"/>
                    <a:pt x="63" y="652"/>
                    <a:pt x="71" y="798"/>
                  </a:cubicBezTo>
                  <a:cubicBezTo>
                    <a:pt x="82" y="945"/>
                    <a:pt x="206" y="1054"/>
                    <a:pt x="353" y="1045"/>
                  </a:cubicBezTo>
                  <a:lnTo>
                    <a:pt x="367" y="1045"/>
                  </a:lnTo>
                  <a:cubicBezTo>
                    <a:pt x="373" y="1045"/>
                    <a:pt x="376" y="1045"/>
                    <a:pt x="379" y="1048"/>
                  </a:cubicBezTo>
                  <a:cubicBezTo>
                    <a:pt x="381" y="1051"/>
                    <a:pt x="384" y="1057"/>
                    <a:pt x="384" y="1060"/>
                  </a:cubicBezTo>
                  <a:lnTo>
                    <a:pt x="398" y="1556"/>
                  </a:lnTo>
                  <a:lnTo>
                    <a:pt x="1190" y="1531"/>
                  </a:lnTo>
                  <a:lnTo>
                    <a:pt x="1176" y="1040"/>
                  </a:lnTo>
                  <a:cubicBezTo>
                    <a:pt x="1173" y="1034"/>
                    <a:pt x="1176" y="1031"/>
                    <a:pt x="1179" y="1029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30"/>
            <p:cNvSpPr>
              <a:spLocks noChangeArrowheads="1"/>
            </p:cNvSpPr>
            <p:nvPr/>
          </p:nvSpPr>
          <p:spPr bwMode="auto">
            <a:xfrm>
              <a:off x="5707063" y="2233613"/>
              <a:ext cx="295275" cy="290512"/>
            </a:xfrm>
            <a:custGeom>
              <a:avLst/>
              <a:gdLst>
                <a:gd name="T0" fmla="*/ 688 w 821"/>
                <a:gd name="T1" fmla="*/ 3 h 807"/>
                <a:gd name="T2" fmla="*/ 818 w 821"/>
                <a:gd name="T3" fmla="*/ 127 h 807"/>
                <a:gd name="T4" fmla="*/ 696 w 821"/>
                <a:gd name="T5" fmla="*/ 257 h 807"/>
                <a:gd name="T6" fmla="*/ 696 w 821"/>
                <a:gd name="T7" fmla="*/ 257 h 807"/>
                <a:gd name="T8" fmla="*/ 626 w 821"/>
                <a:gd name="T9" fmla="*/ 259 h 807"/>
                <a:gd name="T10" fmla="*/ 643 w 821"/>
                <a:gd name="T11" fmla="*/ 783 h 807"/>
                <a:gd name="T12" fmla="*/ 628 w 821"/>
                <a:gd name="T13" fmla="*/ 797 h 807"/>
                <a:gd name="T14" fmla="*/ 600 w 821"/>
                <a:gd name="T15" fmla="*/ 797 h 807"/>
                <a:gd name="T16" fmla="*/ 586 w 821"/>
                <a:gd name="T17" fmla="*/ 783 h 807"/>
                <a:gd name="T18" fmla="*/ 572 w 821"/>
                <a:gd name="T19" fmla="*/ 299 h 807"/>
                <a:gd name="T20" fmla="*/ 263 w 821"/>
                <a:gd name="T21" fmla="*/ 307 h 807"/>
                <a:gd name="T22" fmla="*/ 260 w 821"/>
                <a:gd name="T23" fmla="*/ 305 h 807"/>
                <a:gd name="T24" fmla="*/ 274 w 821"/>
                <a:gd name="T25" fmla="*/ 792 h 807"/>
                <a:gd name="T26" fmla="*/ 260 w 821"/>
                <a:gd name="T27" fmla="*/ 806 h 807"/>
                <a:gd name="T28" fmla="*/ 234 w 821"/>
                <a:gd name="T29" fmla="*/ 806 h 807"/>
                <a:gd name="T30" fmla="*/ 220 w 821"/>
                <a:gd name="T31" fmla="*/ 792 h 807"/>
                <a:gd name="T32" fmla="*/ 203 w 821"/>
                <a:gd name="T33" fmla="*/ 268 h 807"/>
                <a:gd name="T34" fmla="*/ 133 w 821"/>
                <a:gd name="T35" fmla="*/ 271 h 807"/>
                <a:gd name="T36" fmla="*/ 133 w 821"/>
                <a:gd name="T37" fmla="*/ 271 h 807"/>
                <a:gd name="T38" fmla="*/ 3 w 821"/>
                <a:gd name="T39" fmla="*/ 149 h 807"/>
                <a:gd name="T40" fmla="*/ 124 w 821"/>
                <a:gd name="T41" fmla="*/ 20 h 807"/>
                <a:gd name="T42" fmla="*/ 124 w 821"/>
                <a:gd name="T43" fmla="*/ 20 h 807"/>
                <a:gd name="T44" fmla="*/ 254 w 821"/>
                <a:gd name="T45" fmla="*/ 141 h 807"/>
                <a:gd name="T46" fmla="*/ 257 w 821"/>
                <a:gd name="T47" fmla="*/ 217 h 807"/>
                <a:gd name="T48" fmla="*/ 322 w 821"/>
                <a:gd name="T49" fmla="*/ 279 h 807"/>
                <a:gd name="T50" fmla="*/ 569 w 821"/>
                <a:gd name="T51" fmla="*/ 211 h 807"/>
                <a:gd name="T52" fmla="*/ 566 w 821"/>
                <a:gd name="T53" fmla="*/ 132 h 807"/>
                <a:gd name="T54" fmla="*/ 688 w 821"/>
                <a:gd name="T55" fmla="*/ 3 h 807"/>
                <a:gd name="T56" fmla="*/ 688 w 821"/>
                <a:gd name="T57" fmla="*/ 3 h 807"/>
                <a:gd name="T58" fmla="*/ 696 w 821"/>
                <a:gd name="T59" fmla="*/ 197 h 807"/>
                <a:gd name="T60" fmla="*/ 761 w 821"/>
                <a:gd name="T61" fmla="*/ 124 h 807"/>
                <a:gd name="T62" fmla="*/ 691 w 821"/>
                <a:gd name="T63" fmla="*/ 56 h 807"/>
                <a:gd name="T64" fmla="*/ 691 w 821"/>
                <a:gd name="T65" fmla="*/ 56 h 807"/>
                <a:gd name="T66" fmla="*/ 623 w 821"/>
                <a:gd name="T67" fmla="*/ 130 h 807"/>
                <a:gd name="T68" fmla="*/ 626 w 821"/>
                <a:gd name="T69" fmla="*/ 200 h 807"/>
                <a:gd name="T70" fmla="*/ 696 w 821"/>
                <a:gd name="T71" fmla="*/ 197 h 807"/>
                <a:gd name="T72" fmla="*/ 696 w 821"/>
                <a:gd name="T73" fmla="*/ 197 h 807"/>
                <a:gd name="T74" fmla="*/ 198 w 821"/>
                <a:gd name="T75" fmla="*/ 144 h 807"/>
                <a:gd name="T76" fmla="*/ 124 w 821"/>
                <a:gd name="T77" fmla="*/ 76 h 807"/>
                <a:gd name="T78" fmla="*/ 57 w 821"/>
                <a:gd name="T79" fmla="*/ 149 h 807"/>
                <a:gd name="T80" fmla="*/ 130 w 821"/>
                <a:gd name="T81" fmla="*/ 217 h 807"/>
                <a:gd name="T82" fmla="*/ 201 w 821"/>
                <a:gd name="T83" fmla="*/ 214 h 807"/>
                <a:gd name="T84" fmla="*/ 198 w 821"/>
                <a:gd name="T85" fmla="*/ 169 h 807"/>
                <a:gd name="T86" fmla="*/ 198 w 821"/>
                <a:gd name="T87" fmla="*/ 164 h 807"/>
                <a:gd name="T88" fmla="*/ 198 w 821"/>
                <a:gd name="T89" fmla="*/ 144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21" h="807">
                  <a:moveTo>
                    <a:pt x="688" y="3"/>
                  </a:moveTo>
                  <a:cubicBezTo>
                    <a:pt x="758" y="0"/>
                    <a:pt x="818" y="53"/>
                    <a:pt x="818" y="127"/>
                  </a:cubicBezTo>
                  <a:cubicBezTo>
                    <a:pt x="820" y="197"/>
                    <a:pt x="767" y="254"/>
                    <a:pt x="696" y="257"/>
                  </a:cubicBezTo>
                  <a:lnTo>
                    <a:pt x="696" y="257"/>
                  </a:lnTo>
                  <a:lnTo>
                    <a:pt x="626" y="259"/>
                  </a:lnTo>
                  <a:lnTo>
                    <a:pt x="643" y="783"/>
                  </a:lnTo>
                  <a:cubicBezTo>
                    <a:pt x="643" y="792"/>
                    <a:pt x="637" y="797"/>
                    <a:pt x="628" y="797"/>
                  </a:cubicBezTo>
                  <a:lnTo>
                    <a:pt x="600" y="797"/>
                  </a:lnTo>
                  <a:cubicBezTo>
                    <a:pt x="592" y="797"/>
                    <a:pt x="586" y="792"/>
                    <a:pt x="586" y="783"/>
                  </a:cubicBezTo>
                  <a:lnTo>
                    <a:pt x="572" y="299"/>
                  </a:lnTo>
                  <a:cubicBezTo>
                    <a:pt x="485" y="377"/>
                    <a:pt x="353" y="380"/>
                    <a:pt x="263" y="307"/>
                  </a:cubicBezTo>
                  <a:lnTo>
                    <a:pt x="260" y="305"/>
                  </a:lnTo>
                  <a:lnTo>
                    <a:pt x="274" y="792"/>
                  </a:lnTo>
                  <a:cubicBezTo>
                    <a:pt x="274" y="800"/>
                    <a:pt x="268" y="806"/>
                    <a:pt x="260" y="806"/>
                  </a:cubicBezTo>
                  <a:lnTo>
                    <a:pt x="234" y="806"/>
                  </a:lnTo>
                  <a:cubicBezTo>
                    <a:pt x="226" y="806"/>
                    <a:pt x="220" y="800"/>
                    <a:pt x="220" y="792"/>
                  </a:cubicBezTo>
                  <a:lnTo>
                    <a:pt x="203" y="268"/>
                  </a:lnTo>
                  <a:lnTo>
                    <a:pt x="133" y="271"/>
                  </a:lnTo>
                  <a:lnTo>
                    <a:pt x="133" y="271"/>
                  </a:lnTo>
                  <a:cubicBezTo>
                    <a:pt x="62" y="274"/>
                    <a:pt x="6" y="219"/>
                    <a:pt x="3" y="149"/>
                  </a:cubicBezTo>
                  <a:cubicBezTo>
                    <a:pt x="0" y="78"/>
                    <a:pt x="54" y="22"/>
                    <a:pt x="124" y="20"/>
                  </a:cubicBezTo>
                  <a:lnTo>
                    <a:pt x="124" y="20"/>
                  </a:lnTo>
                  <a:cubicBezTo>
                    <a:pt x="195" y="17"/>
                    <a:pt x="251" y="70"/>
                    <a:pt x="254" y="141"/>
                  </a:cubicBezTo>
                  <a:lnTo>
                    <a:pt x="257" y="217"/>
                  </a:lnTo>
                  <a:cubicBezTo>
                    <a:pt x="274" y="243"/>
                    <a:pt x="296" y="265"/>
                    <a:pt x="322" y="279"/>
                  </a:cubicBezTo>
                  <a:cubicBezTo>
                    <a:pt x="408" y="329"/>
                    <a:pt x="518" y="299"/>
                    <a:pt x="569" y="211"/>
                  </a:cubicBezTo>
                  <a:lnTo>
                    <a:pt x="566" y="132"/>
                  </a:lnTo>
                  <a:cubicBezTo>
                    <a:pt x="564" y="62"/>
                    <a:pt x="617" y="6"/>
                    <a:pt x="688" y="3"/>
                  </a:cubicBezTo>
                  <a:lnTo>
                    <a:pt x="688" y="3"/>
                  </a:lnTo>
                  <a:close/>
                  <a:moveTo>
                    <a:pt x="696" y="197"/>
                  </a:moveTo>
                  <a:cubicBezTo>
                    <a:pt x="733" y="197"/>
                    <a:pt x="764" y="164"/>
                    <a:pt x="761" y="124"/>
                  </a:cubicBezTo>
                  <a:cubicBezTo>
                    <a:pt x="761" y="87"/>
                    <a:pt x="730" y="56"/>
                    <a:pt x="691" y="56"/>
                  </a:cubicBezTo>
                  <a:lnTo>
                    <a:pt x="691" y="56"/>
                  </a:lnTo>
                  <a:cubicBezTo>
                    <a:pt x="651" y="59"/>
                    <a:pt x="623" y="90"/>
                    <a:pt x="623" y="130"/>
                  </a:cubicBezTo>
                  <a:lnTo>
                    <a:pt x="626" y="200"/>
                  </a:lnTo>
                  <a:lnTo>
                    <a:pt x="696" y="197"/>
                  </a:lnTo>
                  <a:lnTo>
                    <a:pt x="696" y="197"/>
                  </a:lnTo>
                  <a:close/>
                  <a:moveTo>
                    <a:pt x="198" y="144"/>
                  </a:moveTo>
                  <a:cubicBezTo>
                    <a:pt x="198" y="104"/>
                    <a:pt x="164" y="73"/>
                    <a:pt x="124" y="76"/>
                  </a:cubicBezTo>
                  <a:cubicBezTo>
                    <a:pt x="85" y="79"/>
                    <a:pt x="57" y="110"/>
                    <a:pt x="57" y="149"/>
                  </a:cubicBezTo>
                  <a:cubicBezTo>
                    <a:pt x="59" y="189"/>
                    <a:pt x="90" y="217"/>
                    <a:pt x="130" y="217"/>
                  </a:cubicBezTo>
                  <a:lnTo>
                    <a:pt x="201" y="214"/>
                  </a:lnTo>
                  <a:lnTo>
                    <a:pt x="198" y="169"/>
                  </a:lnTo>
                  <a:cubicBezTo>
                    <a:pt x="198" y="166"/>
                    <a:pt x="198" y="166"/>
                    <a:pt x="198" y="164"/>
                  </a:cubicBezTo>
                  <a:lnTo>
                    <a:pt x="198" y="14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Group 13"/>
          <p:cNvGrpSpPr>
            <a:grpSpLocks noChangeAspect="1"/>
          </p:cNvGrpSpPr>
          <p:nvPr/>
        </p:nvGrpSpPr>
        <p:grpSpPr>
          <a:xfrm>
            <a:off x="10455253" y="6395310"/>
            <a:ext cx="306782" cy="310756"/>
            <a:chOff x="3487738" y="2046288"/>
            <a:chExt cx="612775" cy="620712"/>
          </a:xfrm>
          <a:solidFill>
            <a:schemeClr val="accent5"/>
          </a:solidFill>
        </p:grpSpPr>
        <p:sp>
          <p:nvSpPr>
            <p:cNvPr id="15" name="Freeform 31"/>
            <p:cNvSpPr>
              <a:spLocks noChangeArrowheads="1"/>
            </p:cNvSpPr>
            <p:nvPr/>
          </p:nvSpPr>
          <p:spPr bwMode="auto">
            <a:xfrm>
              <a:off x="3487738" y="2046288"/>
              <a:ext cx="612775" cy="620712"/>
            </a:xfrm>
            <a:custGeom>
              <a:avLst/>
              <a:gdLst>
                <a:gd name="T0" fmla="*/ 638 w 1703"/>
                <a:gd name="T1" fmla="*/ 1469 h 1724"/>
                <a:gd name="T2" fmla="*/ 113 w 1703"/>
                <a:gd name="T3" fmla="*/ 544 h 1724"/>
                <a:gd name="T4" fmla="*/ 480 w 1703"/>
                <a:gd name="T5" fmla="*/ 110 h 1724"/>
                <a:gd name="T6" fmla="*/ 1061 w 1703"/>
                <a:gd name="T7" fmla="*/ 59 h 1724"/>
                <a:gd name="T8" fmla="*/ 1583 w 1703"/>
                <a:gd name="T9" fmla="*/ 986 h 1724"/>
                <a:gd name="T10" fmla="*/ 931 w 1703"/>
                <a:gd name="T11" fmla="*/ 1503 h 1724"/>
                <a:gd name="T12" fmla="*/ 943 w 1703"/>
                <a:gd name="T13" fmla="*/ 1565 h 1724"/>
                <a:gd name="T14" fmla="*/ 940 w 1703"/>
                <a:gd name="T15" fmla="*/ 1714 h 1724"/>
                <a:gd name="T16" fmla="*/ 903 w 1703"/>
                <a:gd name="T17" fmla="*/ 1720 h 1724"/>
                <a:gd name="T18" fmla="*/ 897 w 1703"/>
                <a:gd name="T19" fmla="*/ 1717 h 1724"/>
                <a:gd name="T20" fmla="*/ 672 w 1703"/>
                <a:gd name="T21" fmla="*/ 1514 h 1724"/>
                <a:gd name="T22" fmla="*/ 638 w 1703"/>
                <a:gd name="T23" fmla="*/ 1469 h 1724"/>
                <a:gd name="T24" fmla="*/ 903 w 1703"/>
                <a:gd name="T25" fmla="*/ 1440 h 1724"/>
                <a:gd name="T26" fmla="*/ 1524 w 1703"/>
                <a:gd name="T27" fmla="*/ 966 h 1724"/>
                <a:gd name="T28" fmla="*/ 1044 w 1703"/>
                <a:gd name="T29" fmla="*/ 118 h 1724"/>
                <a:gd name="T30" fmla="*/ 833 w 1703"/>
                <a:gd name="T31" fmla="*/ 87 h 1724"/>
                <a:gd name="T32" fmla="*/ 511 w 1703"/>
                <a:gd name="T33" fmla="*/ 163 h 1724"/>
                <a:gd name="T34" fmla="*/ 175 w 1703"/>
                <a:gd name="T35" fmla="*/ 561 h 1724"/>
                <a:gd name="T36" fmla="*/ 655 w 1703"/>
                <a:gd name="T37" fmla="*/ 1409 h 1724"/>
                <a:gd name="T38" fmla="*/ 725 w 1703"/>
                <a:gd name="T39" fmla="*/ 1483 h 1724"/>
                <a:gd name="T40" fmla="*/ 892 w 1703"/>
                <a:gd name="T41" fmla="*/ 1646 h 1724"/>
                <a:gd name="T42" fmla="*/ 881 w 1703"/>
                <a:gd name="T43" fmla="*/ 1576 h 1724"/>
                <a:gd name="T44" fmla="*/ 878 w 1703"/>
                <a:gd name="T45" fmla="*/ 1455 h 1724"/>
                <a:gd name="T46" fmla="*/ 903 w 1703"/>
                <a:gd name="T47" fmla="*/ 1440 h 1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03" h="1724">
                  <a:moveTo>
                    <a:pt x="638" y="1469"/>
                  </a:moveTo>
                  <a:cubicBezTo>
                    <a:pt x="234" y="1347"/>
                    <a:pt x="0" y="933"/>
                    <a:pt x="113" y="544"/>
                  </a:cubicBezTo>
                  <a:cubicBezTo>
                    <a:pt x="172" y="355"/>
                    <a:pt x="302" y="197"/>
                    <a:pt x="480" y="110"/>
                  </a:cubicBezTo>
                  <a:cubicBezTo>
                    <a:pt x="660" y="17"/>
                    <a:pt x="869" y="0"/>
                    <a:pt x="1061" y="59"/>
                  </a:cubicBezTo>
                  <a:cubicBezTo>
                    <a:pt x="1465" y="183"/>
                    <a:pt x="1702" y="598"/>
                    <a:pt x="1583" y="986"/>
                  </a:cubicBezTo>
                  <a:cubicBezTo>
                    <a:pt x="1493" y="1277"/>
                    <a:pt x="1233" y="1480"/>
                    <a:pt x="931" y="1503"/>
                  </a:cubicBezTo>
                  <a:cubicBezTo>
                    <a:pt x="934" y="1519"/>
                    <a:pt x="940" y="1545"/>
                    <a:pt x="943" y="1565"/>
                  </a:cubicBezTo>
                  <a:cubicBezTo>
                    <a:pt x="960" y="1652"/>
                    <a:pt x="965" y="1694"/>
                    <a:pt x="940" y="1714"/>
                  </a:cubicBezTo>
                  <a:cubicBezTo>
                    <a:pt x="929" y="1723"/>
                    <a:pt x="914" y="1723"/>
                    <a:pt x="903" y="1720"/>
                  </a:cubicBezTo>
                  <a:cubicBezTo>
                    <a:pt x="900" y="1720"/>
                    <a:pt x="900" y="1717"/>
                    <a:pt x="897" y="1717"/>
                  </a:cubicBezTo>
                  <a:cubicBezTo>
                    <a:pt x="802" y="1677"/>
                    <a:pt x="720" y="1607"/>
                    <a:pt x="672" y="1514"/>
                  </a:cubicBezTo>
                  <a:cubicBezTo>
                    <a:pt x="660" y="1494"/>
                    <a:pt x="646" y="1471"/>
                    <a:pt x="638" y="1469"/>
                  </a:cubicBezTo>
                  <a:close/>
                  <a:moveTo>
                    <a:pt x="903" y="1440"/>
                  </a:moveTo>
                  <a:cubicBezTo>
                    <a:pt x="1191" y="1429"/>
                    <a:pt x="1439" y="1240"/>
                    <a:pt x="1524" y="966"/>
                  </a:cubicBezTo>
                  <a:cubicBezTo>
                    <a:pt x="1631" y="612"/>
                    <a:pt x="1417" y="231"/>
                    <a:pt x="1044" y="118"/>
                  </a:cubicBezTo>
                  <a:cubicBezTo>
                    <a:pt x="977" y="98"/>
                    <a:pt x="903" y="87"/>
                    <a:pt x="833" y="87"/>
                  </a:cubicBezTo>
                  <a:cubicBezTo>
                    <a:pt x="723" y="87"/>
                    <a:pt x="610" y="113"/>
                    <a:pt x="511" y="163"/>
                  </a:cubicBezTo>
                  <a:cubicBezTo>
                    <a:pt x="347" y="245"/>
                    <a:pt x="229" y="389"/>
                    <a:pt x="175" y="561"/>
                  </a:cubicBezTo>
                  <a:cubicBezTo>
                    <a:pt x="68" y="916"/>
                    <a:pt x="282" y="1297"/>
                    <a:pt x="655" y="1409"/>
                  </a:cubicBezTo>
                  <a:cubicBezTo>
                    <a:pt x="689" y="1421"/>
                    <a:pt x="706" y="1449"/>
                    <a:pt x="725" y="1483"/>
                  </a:cubicBezTo>
                  <a:cubicBezTo>
                    <a:pt x="762" y="1553"/>
                    <a:pt x="821" y="1610"/>
                    <a:pt x="892" y="1646"/>
                  </a:cubicBezTo>
                  <a:cubicBezTo>
                    <a:pt x="889" y="1624"/>
                    <a:pt x="883" y="1596"/>
                    <a:pt x="881" y="1576"/>
                  </a:cubicBezTo>
                  <a:cubicBezTo>
                    <a:pt x="866" y="1505"/>
                    <a:pt x="864" y="1474"/>
                    <a:pt x="878" y="1455"/>
                  </a:cubicBezTo>
                  <a:cubicBezTo>
                    <a:pt x="883" y="1446"/>
                    <a:pt x="892" y="1440"/>
                    <a:pt x="903" y="144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32"/>
            <p:cNvSpPr>
              <a:spLocks noChangeArrowheads="1"/>
            </p:cNvSpPr>
            <p:nvPr/>
          </p:nvSpPr>
          <p:spPr bwMode="auto">
            <a:xfrm>
              <a:off x="3638550" y="2197100"/>
              <a:ext cx="309563" cy="287338"/>
            </a:xfrm>
            <a:custGeom>
              <a:avLst/>
              <a:gdLst>
                <a:gd name="T0" fmla="*/ 618 w 861"/>
                <a:gd name="T1" fmla="*/ 0 h 796"/>
                <a:gd name="T2" fmla="*/ 858 w 861"/>
                <a:gd name="T3" fmla="*/ 240 h 796"/>
                <a:gd name="T4" fmla="*/ 849 w 861"/>
                <a:gd name="T5" fmla="*/ 333 h 796"/>
                <a:gd name="T6" fmla="*/ 731 w 861"/>
                <a:gd name="T7" fmla="*/ 530 h 796"/>
                <a:gd name="T8" fmla="*/ 437 w 861"/>
                <a:gd name="T9" fmla="*/ 792 h 796"/>
                <a:gd name="T10" fmla="*/ 420 w 861"/>
                <a:gd name="T11" fmla="*/ 792 h 796"/>
                <a:gd name="T12" fmla="*/ 130 w 861"/>
                <a:gd name="T13" fmla="*/ 530 h 796"/>
                <a:gd name="T14" fmla="*/ 11 w 861"/>
                <a:gd name="T15" fmla="*/ 333 h 796"/>
                <a:gd name="T16" fmla="*/ 3 w 861"/>
                <a:gd name="T17" fmla="*/ 240 h 796"/>
                <a:gd name="T18" fmla="*/ 240 w 861"/>
                <a:gd name="T19" fmla="*/ 0 h 796"/>
                <a:gd name="T20" fmla="*/ 426 w 861"/>
                <a:gd name="T21" fmla="*/ 99 h 796"/>
                <a:gd name="T22" fmla="*/ 618 w 861"/>
                <a:gd name="T23" fmla="*/ 0 h 796"/>
                <a:gd name="T24" fmla="*/ 426 w 861"/>
                <a:gd name="T25" fmla="*/ 713 h 796"/>
                <a:gd name="T26" fmla="*/ 680 w 861"/>
                <a:gd name="T27" fmla="*/ 482 h 796"/>
                <a:gd name="T28" fmla="*/ 779 w 861"/>
                <a:gd name="T29" fmla="*/ 319 h 796"/>
                <a:gd name="T30" fmla="*/ 784 w 861"/>
                <a:gd name="T31" fmla="*/ 251 h 796"/>
                <a:gd name="T32" fmla="*/ 609 w 861"/>
                <a:gd name="T33" fmla="*/ 65 h 796"/>
                <a:gd name="T34" fmla="*/ 448 w 861"/>
                <a:gd name="T35" fmla="*/ 175 h 796"/>
                <a:gd name="T36" fmla="*/ 434 w 861"/>
                <a:gd name="T37" fmla="*/ 209 h 796"/>
                <a:gd name="T38" fmla="*/ 429 w 861"/>
                <a:gd name="T39" fmla="*/ 215 h 796"/>
                <a:gd name="T40" fmla="*/ 412 w 861"/>
                <a:gd name="T41" fmla="*/ 209 h 796"/>
                <a:gd name="T42" fmla="*/ 398 w 861"/>
                <a:gd name="T43" fmla="*/ 175 h 796"/>
                <a:gd name="T44" fmla="*/ 242 w 861"/>
                <a:gd name="T45" fmla="*/ 65 h 796"/>
                <a:gd name="T46" fmla="*/ 67 w 861"/>
                <a:gd name="T47" fmla="*/ 251 h 796"/>
                <a:gd name="T48" fmla="*/ 73 w 861"/>
                <a:gd name="T49" fmla="*/ 322 h 796"/>
                <a:gd name="T50" fmla="*/ 172 w 861"/>
                <a:gd name="T51" fmla="*/ 485 h 796"/>
                <a:gd name="T52" fmla="*/ 426 w 861"/>
                <a:gd name="T53" fmla="*/ 713 h 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61" h="796">
                  <a:moveTo>
                    <a:pt x="618" y="0"/>
                  </a:moveTo>
                  <a:cubicBezTo>
                    <a:pt x="742" y="0"/>
                    <a:pt x="841" y="102"/>
                    <a:pt x="858" y="240"/>
                  </a:cubicBezTo>
                  <a:cubicBezTo>
                    <a:pt x="860" y="271"/>
                    <a:pt x="858" y="302"/>
                    <a:pt x="849" y="333"/>
                  </a:cubicBezTo>
                  <a:cubicBezTo>
                    <a:pt x="832" y="409"/>
                    <a:pt x="790" y="476"/>
                    <a:pt x="731" y="530"/>
                  </a:cubicBezTo>
                  <a:lnTo>
                    <a:pt x="437" y="792"/>
                  </a:lnTo>
                  <a:cubicBezTo>
                    <a:pt x="432" y="795"/>
                    <a:pt x="426" y="795"/>
                    <a:pt x="420" y="792"/>
                  </a:cubicBezTo>
                  <a:lnTo>
                    <a:pt x="130" y="530"/>
                  </a:lnTo>
                  <a:cubicBezTo>
                    <a:pt x="70" y="479"/>
                    <a:pt x="31" y="409"/>
                    <a:pt x="11" y="333"/>
                  </a:cubicBezTo>
                  <a:cubicBezTo>
                    <a:pt x="3" y="302"/>
                    <a:pt x="0" y="271"/>
                    <a:pt x="3" y="240"/>
                  </a:cubicBezTo>
                  <a:cubicBezTo>
                    <a:pt x="17" y="102"/>
                    <a:pt x="115" y="0"/>
                    <a:pt x="240" y="0"/>
                  </a:cubicBezTo>
                  <a:cubicBezTo>
                    <a:pt x="313" y="0"/>
                    <a:pt x="384" y="37"/>
                    <a:pt x="426" y="99"/>
                  </a:cubicBezTo>
                  <a:cubicBezTo>
                    <a:pt x="471" y="37"/>
                    <a:pt x="542" y="0"/>
                    <a:pt x="618" y="0"/>
                  </a:cubicBezTo>
                  <a:close/>
                  <a:moveTo>
                    <a:pt x="426" y="713"/>
                  </a:moveTo>
                  <a:lnTo>
                    <a:pt x="680" y="482"/>
                  </a:lnTo>
                  <a:cubicBezTo>
                    <a:pt x="728" y="439"/>
                    <a:pt x="765" y="381"/>
                    <a:pt x="779" y="319"/>
                  </a:cubicBezTo>
                  <a:cubicBezTo>
                    <a:pt x="784" y="297"/>
                    <a:pt x="787" y="274"/>
                    <a:pt x="784" y="251"/>
                  </a:cubicBezTo>
                  <a:cubicBezTo>
                    <a:pt x="776" y="144"/>
                    <a:pt x="702" y="65"/>
                    <a:pt x="609" y="65"/>
                  </a:cubicBezTo>
                  <a:cubicBezTo>
                    <a:pt x="539" y="68"/>
                    <a:pt x="474" y="110"/>
                    <a:pt x="448" y="175"/>
                  </a:cubicBezTo>
                  <a:lnTo>
                    <a:pt x="434" y="209"/>
                  </a:lnTo>
                  <a:cubicBezTo>
                    <a:pt x="434" y="212"/>
                    <a:pt x="432" y="215"/>
                    <a:pt x="429" y="215"/>
                  </a:cubicBezTo>
                  <a:cubicBezTo>
                    <a:pt x="420" y="218"/>
                    <a:pt x="415" y="215"/>
                    <a:pt x="412" y="209"/>
                  </a:cubicBezTo>
                  <a:lnTo>
                    <a:pt x="398" y="175"/>
                  </a:lnTo>
                  <a:cubicBezTo>
                    <a:pt x="372" y="110"/>
                    <a:pt x="313" y="65"/>
                    <a:pt x="242" y="65"/>
                  </a:cubicBezTo>
                  <a:cubicBezTo>
                    <a:pt x="152" y="65"/>
                    <a:pt x="76" y="144"/>
                    <a:pt x="67" y="251"/>
                  </a:cubicBezTo>
                  <a:cubicBezTo>
                    <a:pt x="65" y="274"/>
                    <a:pt x="67" y="299"/>
                    <a:pt x="73" y="322"/>
                  </a:cubicBezTo>
                  <a:cubicBezTo>
                    <a:pt x="90" y="384"/>
                    <a:pt x="124" y="442"/>
                    <a:pt x="172" y="485"/>
                  </a:cubicBezTo>
                  <a:lnTo>
                    <a:pt x="426" y="71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7" name="Group 16"/>
          <p:cNvGrpSpPr>
            <a:grpSpLocks noChangeAspect="1"/>
          </p:cNvGrpSpPr>
          <p:nvPr/>
        </p:nvGrpSpPr>
        <p:grpSpPr>
          <a:xfrm>
            <a:off x="11716820" y="5039139"/>
            <a:ext cx="194718" cy="340956"/>
            <a:chOff x="7715250" y="2089150"/>
            <a:chExt cx="388938" cy="681038"/>
          </a:xfrm>
          <a:solidFill>
            <a:schemeClr val="tx1"/>
          </a:solidFill>
        </p:grpSpPr>
        <p:sp>
          <p:nvSpPr>
            <p:cNvPr id="18" name="Freeform 33"/>
            <p:cNvSpPr>
              <a:spLocks noChangeArrowheads="1"/>
            </p:cNvSpPr>
            <p:nvPr/>
          </p:nvSpPr>
          <p:spPr bwMode="auto">
            <a:xfrm>
              <a:off x="7958138" y="2089150"/>
              <a:ext cx="146050" cy="661988"/>
            </a:xfrm>
            <a:custGeom>
              <a:avLst/>
              <a:gdLst>
                <a:gd name="T0" fmla="*/ 279 w 404"/>
                <a:gd name="T1" fmla="*/ 1833 h 1837"/>
                <a:gd name="T2" fmla="*/ 152 w 404"/>
                <a:gd name="T3" fmla="*/ 1715 h 1837"/>
                <a:gd name="T4" fmla="*/ 130 w 404"/>
                <a:gd name="T5" fmla="*/ 1204 h 1837"/>
                <a:gd name="T6" fmla="*/ 82 w 404"/>
                <a:gd name="T7" fmla="*/ 1195 h 1837"/>
                <a:gd name="T8" fmla="*/ 3 w 404"/>
                <a:gd name="T9" fmla="*/ 1097 h 1837"/>
                <a:gd name="T10" fmla="*/ 51 w 404"/>
                <a:gd name="T11" fmla="*/ 96 h 1837"/>
                <a:gd name="T12" fmla="*/ 141 w 404"/>
                <a:gd name="T13" fmla="*/ 3 h 1837"/>
                <a:gd name="T14" fmla="*/ 141 w 404"/>
                <a:gd name="T15" fmla="*/ 3 h 1837"/>
                <a:gd name="T16" fmla="*/ 248 w 404"/>
                <a:gd name="T17" fmla="*/ 93 h 1837"/>
                <a:gd name="T18" fmla="*/ 395 w 404"/>
                <a:gd name="T19" fmla="*/ 1698 h 1837"/>
                <a:gd name="T20" fmla="*/ 285 w 404"/>
                <a:gd name="T21" fmla="*/ 1833 h 1837"/>
                <a:gd name="T22" fmla="*/ 279 w 404"/>
                <a:gd name="T23" fmla="*/ 1833 h 1837"/>
                <a:gd name="T24" fmla="*/ 90 w 404"/>
                <a:gd name="T25" fmla="*/ 1136 h 1837"/>
                <a:gd name="T26" fmla="*/ 163 w 404"/>
                <a:gd name="T27" fmla="*/ 1148 h 1837"/>
                <a:gd name="T28" fmla="*/ 189 w 404"/>
                <a:gd name="T29" fmla="*/ 1176 h 1837"/>
                <a:gd name="T30" fmla="*/ 211 w 404"/>
                <a:gd name="T31" fmla="*/ 1712 h 1837"/>
                <a:gd name="T32" fmla="*/ 234 w 404"/>
                <a:gd name="T33" fmla="*/ 1757 h 1837"/>
                <a:gd name="T34" fmla="*/ 279 w 404"/>
                <a:gd name="T35" fmla="*/ 1771 h 1837"/>
                <a:gd name="T36" fmla="*/ 336 w 404"/>
                <a:gd name="T37" fmla="*/ 1703 h 1837"/>
                <a:gd name="T38" fmla="*/ 186 w 404"/>
                <a:gd name="T39" fmla="*/ 99 h 1837"/>
                <a:gd name="T40" fmla="*/ 149 w 404"/>
                <a:gd name="T41" fmla="*/ 65 h 1837"/>
                <a:gd name="T42" fmla="*/ 110 w 404"/>
                <a:gd name="T43" fmla="*/ 102 h 1837"/>
                <a:gd name="T44" fmla="*/ 62 w 404"/>
                <a:gd name="T45" fmla="*/ 1102 h 1837"/>
                <a:gd name="T46" fmla="*/ 90 w 404"/>
                <a:gd name="T47" fmla="*/ 1136 h 1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4" h="1837">
                  <a:moveTo>
                    <a:pt x="279" y="1833"/>
                  </a:moveTo>
                  <a:cubicBezTo>
                    <a:pt x="211" y="1836"/>
                    <a:pt x="155" y="1785"/>
                    <a:pt x="152" y="1715"/>
                  </a:cubicBezTo>
                  <a:lnTo>
                    <a:pt x="130" y="1204"/>
                  </a:lnTo>
                  <a:lnTo>
                    <a:pt x="82" y="1195"/>
                  </a:lnTo>
                  <a:cubicBezTo>
                    <a:pt x="34" y="1187"/>
                    <a:pt x="0" y="1145"/>
                    <a:pt x="3" y="1097"/>
                  </a:cubicBezTo>
                  <a:lnTo>
                    <a:pt x="51" y="96"/>
                  </a:lnTo>
                  <a:cubicBezTo>
                    <a:pt x="53" y="48"/>
                    <a:pt x="93" y="9"/>
                    <a:pt x="141" y="3"/>
                  </a:cubicBezTo>
                  <a:lnTo>
                    <a:pt x="141" y="3"/>
                  </a:lnTo>
                  <a:cubicBezTo>
                    <a:pt x="194" y="0"/>
                    <a:pt x="242" y="40"/>
                    <a:pt x="248" y="93"/>
                  </a:cubicBezTo>
                  <a:lnTo>
                    <a:pt x="395" y="1698"/>
                  </a:lnTo>
                  <a:cubicBezTo>
                    <a:pt x="403" y="1765"/>
                    <a:pt x="353" y="1827"/>
                    <a:pt x="285" y="1833"/>
                  </a:cubicBezTo>
                  <a:cubicBezTo>
                    <a:pt x="282" y="1833"/>
                    <a:pt x="282" y="1833"/>
                    <a:pt x="279" y="1833"/>
                  </a:cubicBezTo>
                  <a:close/>
                  <a:moveTo>
                    <a:pt x="90" y="1136"/>
                  </a:moveTo>
                  <a:lnTo>
                    <a:pt x="163" y="1148"/>
                  </a:lnTo>
                  <a:cubicBezTo>
                    <a:pt x="178" y="1150"/>
                    <a:pt x="189" y="1162"/>
                    <a:pt x="189" y="1176"/>
                  </a:cubicBezTo>
                  <a:lnTo>
                    <a:pt x="211" y="1712"/>
                  </a:lnTo>
                  <a:cubicBezTo>
                    <a:pt x="211" y="1729"/>
                    <a:pt x="220" y="1746"/>
                    <a:pt x="234" y="1757"/>
                  </a:cubicBezTo>
                  <a:cubicBezTo>
                    <a:pt x="248" y="1768"/>
                    <a:pt x="262" y="1774"/>
                    <a:pt x="279" y="1771"/>
                  </a:cubicBezTo>
                  <a:cubicBezTo>
                    <a:pt x="313" y="1768"/>
                    <a:pt x="338" y="1737"/>
                    <a:pt x="336" y="1703"/>
                  </a:cubicBezTo>
                  <a:lnTo>
                    <a:pt x="186" y="99"/>
                  </a:lnTo>
                  <a:cubicBezTo>
                    <a:pt x="183" y="79"/>
                    <a:pt x="169" y="65"/>
                    <a:pt x="149" y="65"/>
                  </a:cubicBezTo>
                  <a:cubicBezTo>
                    <a:pt x="130" y="65"/>
                    <a:pt x="110" y="82"/>
                    <a:pt x="110" y="102"/>
                  </a:cubicBezTo>
                  <a:lnTo>
                    <a:pt x="62" y="1102"/>
                  </a:lnTo>
                  <a:cubicBezTo>
                    <a:pt x="62" y="1119"/>
                    <a:pt x="73" y="1133"/>
                    <a:pt x="90" y="113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34"/>
            <p:cNvSpPr>
              <a:spLocks noChangeArrowheads="1"/>
            </p:cNvSpPr>
            <p:nvPr/>
          </p:nvSpPr>
          <p:spPr bwMode="auto">
            <a:xfrm>
              <a:off x="7715250" y="2108200"/>
              <a:ext cx="157163" cy="661988"/>
            </a:xfrm>
            <a:custGeom>
              <a:avLst/>
              <a:gdLst>
                <a:gd name="T0" fmla="*/ 395 w 436"/>
                <a:gd name="T1" fmla="*/ 621 h 1840"/>
                <a:gd name="T2" fmla="*/ 359 w 436"/>
                <a:gd name="T3" fmla="*/ 702 h 1840"/>
                <a:gd name="T4" fmla="*/ 325 w 436"/>
                <a:gd name="T5" fmla="*/ 730 h 1840"/>
                <a:gd name="T6" fmla="*/ 314 w 436"/>
                <a:gd name="T7" fmla="*/ 758 h 1840"/>
                <a:gd name="T8" fmla="*/ 429 w 436"/>
                <a:gd name="T9" fmla="*/ 1697 h 1840"/>
                <a:gd name="T10" fmla="*/ 429 w 436"/>
                <a:gd name="T11" fmla="*/ 1706 h 1840"/>
                <a:gd name="T12" fmla="*/ 319 w 436"/>
                <a:gd name="T13" fmla="*/ 1836 h 1840"/>
                <a:gd name="T14" fmla="*/ 316 w 436"/>
                <a:gd name="T15" fmla="*/ 1836 h 1840"/>
                <a:gd name="T16" fmla="*/ 187 w 436"/>
                <a:gd name="T17" fmla="*/ 1720 h 1840"/>
                <a:gd name="T18" fmla="*/ 127 w 436"/>
                <a:gd name="T19" fmla="*/ 775 h 1840"/>
                <a:gd name="T20" fmla="*/ 110 w 436"/>
                <a:gd name="T21" fmla="*/ 749 h 1840"/>
                <a:gd name="T22" fmla="*/ 74 w 436"/>
                <a:gd name="T23" fmla="*/ 730 h 1840"/>
                <a:gd name="T24" fmla="*/ 26 w 436"/>
                <a:gd name="T25" fmla="*/ 652 h 1840"/>
                <a:gd name="T26" fmla="*/ 0 w 436"/>
                <a:gd name="T27" fmla="*/ 54 h 1840"/>
                <a:gd name="T28" fmla="*/ 9 w 436"/>
                <a:gd name="T29" fmla="*/ 31 h 1840"/>
                <a:gd name="T30" fmla="*/ 29 w 436"/>
                <a:gd name="T31" fmla="*/ 23 h 1840"/>
                <a:gd name="T32" fmla="*/ 31 w 436"/>
                <a:gd name="T33" fmla="*/ 23 h 1840"/>
                <a:gd name="T34" fmla="*/ 31 w 436"/>
                <a:gd name="T35" fmla="*/ 23 h 1840"/>
                <a:gd name="T36" fmla="*/ 62 w 436"/>
                <a:gd name="T37" fmla="*/ 54 h 1840"/>
                <a:gd name="T38" fmla="*/ 85 w 436"/>
                <a:gd name="T39" fmla="*/ 561 h 1840"/>
                <a:gd name="T40" fmla="*/ 175 w 436"/>
                <a:gd name="T41" fmla="*/ 553 h 1840"/>
                <a:gd name="T42" fmla="*/ 127 w 436"/>
                <a:gd name="T43" fmla="*/ 48 h 1840"/>
                <a:gd name="T44" fmla="*/ 133 w 436"/>
                <a:gd name="T45" fmla="*/ 25 h 1840"/>
                <a:gd name="T46" fmla="*/ 175 w 436"/>
                <a:gd name="T47" fmla="*/ 23 h 1840"/>
                <a:gd name="T48" fmla="*/ 187 w 436"/>
                <a:gd name="T49" fmla="*/ 42 h 1840"/>
                <a:gd name="T50" fmla="*/ 235 w 436"/>
                <a:gd name="T51" fmla="*/ 547 h 1840"/>
                <a:gd name="T52" fmla="*/ 325 w 436"/>
                <a:gd name="T53" fmla="*/ 539 h 1840"/>
                <a:gd name="T54" fmla="*/ 251 w 436"/>
                <a:gd name="T55" fmla="*/ 37 h 1840"/>
                <a:gd name="T56" fmla="*/ 277 w 436"/>
                <a:gd name="T57" fmla="*/ 3 h 1840"/>
                <a:gd name="T58" fmla="*/ 311 w 436"/>
                <a:gd name="T59" fmla="*/ 28 h 1840"/>
                <a:gd name="T60" fmla="*/ 395 w 436"/>
                <a:gd name="T61" fmla="*/ 621 h 1840"/>
                <a:gd name="T62" fmla="*/ 322 w 436"/>
                <a:gd name="T63" fmla="*/ 660 h 1840"/>
                <a:gd name="T64" fmla="*/ 342 w 436"/>
                <a:gd name="T65" fmla="*/ 632 h 1840"/>
                <a:gd name="T66" fmla="*/ 336 w 436"/>
                <a:gd name="T67" fmla="*/ 601 h 1840"/>
                <a:gd name="T68" fmla="*/ 88 w 436"/>
                <a:gd name="T69" fmla="*/ 624 h 1840"/>
                <a:gd name="T70" fmla="*/ 88 w 436"/>
                <a:gd name="T71" fmla="*/ 655 h 1840"/>
                <a:gd name="T72" fmla="*/ 105 w 436"/>
                <a:gd name="T73" fmla="*/ 682 h 1840"/>
                <a:gd name="T74" fmla="*/ 141 w 436"/>
                <a:gd name="T75" fmla="*/ 702 h 1840"/>
                <a:gd name="T76" fmla="*/ 189 w 436"/>
                <a:gd name="T77" fmla="*/ 778 h 1840"/>
                <a:gd name="T78" fmla="*/ 249 w 436"/>
                <a:gd name="T79" fmla="*/ 1723 h 1840"/>
                <a:gd name="T80" fmla="*/ 249 w 436"/>
                <a:gd name="T81" fmla="*/ 1723 h 1840"/>
                <a:gd name="T82" fmla="*/ 316 w 436"/>
                <a:gd name="T83" fmla="*/ 1779 h 1840"/>
                <a:gd name="T84" fmla="*/ 316 w 436"/>
                <a:gd name="T85" fmla="*/ 1779 h 1840"/>
                <a:gd name="T86" fmla="*/ 370 w 436"/>
                <a:gd name="T87" fmla="*/ 1712 h 1840"/>
                <a:gd name="T88" fmla="*/ 254 w 436"/>
                <a:gd name="T89" fmla="*/ 772 h 1840"/>
                <a:gd name="T90" fmla="*/ 254 w 436"/>
                <a:gd name="T91" fmla="*/ 772 h 1840"/>
                <a:gd name="T92" fmla="*/ 288 w 436"/>
                <a:gd name="T93" fmla="*/ 687 h 1840"/>
                <a:gd name="T94" fmla="*/ 322 w 436"/>
                <a:gd name="T95" fmla="*/ 660 h 1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36" h="1840">
                  <a:moveTo>
                    <a:pt x="395" y="621"/>
                  </a:moveTo>
                  <a:cubicBezTo>
                    <a:pt x="398" y="655"/>
                    <a:pt x="387" y="687"/>
                    <a:pt x="359" y="702"/>
                  </a:cubicBezTo>
                  <a:lnTo>
                    <a:pt x="325" y="730"/>
                  </a:lnTo>
                  <a:cubicBezTo>
                    <a:pt x="316" y="735"/>
                    <a:pt x="311" y="747"/>
                    <a:pt x="314" y="758"/>
                  </a:cubicBezTo>
                  <a:lnTo>
                    <a:pt x="429" y="1697"/>
                  </a:lnTo>
                  <a:cubicBezTo>
                    <a:pt x="429" y="1700"/>
                    <a:pt x="429" y="1703"/>
                    <a:pt x="429" y="1706"/>
                  </a:cubicBezTo>
                  <a:cubicBezTo>
                    <a:pt x="435" y="1771"/>
                    <a:pt x="384" y="1830"/>
                    <a:pt x="319" y="1836"/>
                  </a:cubicBezTo>
                  <a:lnTo>
                    <a:pt x="316" y="1836"/>
                  </a:lnTo>
                  <a:cubicBezTo>
                    <a:pt x="249" y="1839"/>
                    <a:pt x="192" y="1788"/>
                    <a:pt x="187" y="1720"/>
                  </a:cubicBezTo>
                  <a:lnTo>
                    <a:pt x="127" y="775"/>
                  </a:lnTo>
                  <a:cubicBezTo>
                    <a:pt x="127" y="764"/>
                    <a:pt x="122" y="755"/>
                    <a:pt x="110" y="749"/>
                  </a:cubicBezTo>
                  <a:lnTo>
                    <a:pt x="74" y="730"/>
                  </a:lnTo>
                  <a:cubicBezTo>
                    <a:pt x="45" y="713"/>
                    <a:pt x="29" y="685"/>
                    <a:pt x="26" y="652"/>
                  </a:cubicBezTo>
                  <a:lnTo>
                    <a:pt x="0" y="54"/>
                  </a:lnTo>
                  <a:cubicBezTo>
                    <a:pt x="0" y="45"/>
                    <a:pt x="3" y="37"/>
                    <a:pt x="9" y="31"/>
                  </a:cubicBezTo>
                  <a:cubicBezTo>
                    <a:pt x="14" y="25"/>
                    <a:pt x="20" y="23"/>
                    <a:pt x="29" y="23"/>
                  </a:cubicBezTo>
                  <a:cubicBezTo>
                    <a:pt x="31" y="23"/>
                    <a:pt x="31" y="23"/>
                    <a:pt x="31" y="23"/>
                  </a:cubicBezTo>
                  <a:lnTo>
                    <a:pt x="31" y="23"/>
                  </a:lnTo>
                  <a:cubicBezTo>
                    <a:pt x="48" y="23"/>
                    <a:pt x="62" y="37"/>
                    <a:pt x="62" y="54"/>
                  </a:cubicBezTo>
                  <a:lnTo>
                    <a:pt x="85" y="561"/>
                  </a:lnTo>
                  <a:lnTo>
                    <a:pt x="175" y="553"/>
                  </a:lnTo>
                  <a:lnTo>
                    <a:pt x="127" y="48"/>
                  </a:lnTo>
                  <a:cubicBezTo>
                    <a:pt x="124" y="40"/>
                    <a:pt x="127" y="31"/>
                    <a:pt x="133" y="25"/>
                  </a:cubicBezTo>
                  <a:cubicBezTo>
                    <a:pt x="144" y="14"/>
                    <a:pt x="161" y="11"/>
                    <a:pt x="175" y="23"/>
                  </a:cubicBezTo>
                  <a:cubicBezTo>
                    <a:pt x="181" y="25"/>
                    <a:pt x="187" y="34"/>
                    <a:pt x="187" y="42"/>
                  </a:cubicBezTo>
                  <a:lnTo>
                    <a:pt x="235" y="547"/>
                  </a:lnTo>
                  <a:lnTo>
                    <a:pt x="325" y="539"/>
                  </a:lnTo>
                  <a:lnTo>
                    <a:pt x="251" y="37"/>
                  </a:lnTo>
                  <a:cubicBezTo>
                    <a:pt x="249" y="20"/>
                    <a:pt x="260" y="6"/>
                    <a:pt x="277" y="3"/>
                  </a:cubicBezTo>
                  <a:cubicBezTo>
                    <a:pt x="294" y="0"/>
                    <a:pt x="308" y="11"/>
                    <a:pt x="311" y="28"/>
                  </a:cubicBezTo>
                  <a:lnTo>
                    <a:pt x="395" y="621"/>
                  </a:lnTo>
                  <a:close/>
                  <a:moveTo>
                    <a:pt x="322" y="660"/>
                  </a:moveTo>
                  <a:cubicBezTo>
                    <a:pt x="330" y="655"/>
                    <a:pt x="336" y="643"/>
                    <a:pt x="342" y="632"/>
                  </a:cubicBezTo>
                  <a:lnTo>
                    <a:pt x="336" y="601"/>
                  </a:lnTo>
                  <a:lnTo>
                    <a:pt x="88" y="624"/>
                  </a:lnTo>
                  <a:lnTo>
                    <a:pt x="88" y="655"/>
                  </a:lnTo>
                  <a:cubicBezTo>
                    <a:pt x="88" y="666"/>
                    <a:pt x="93" y="676"/>
                    <a:pt x="105" y="682"/>
                  </a:cubicBezTo>
                  <a:lnTo>
                    <a:pt x="141" y="702"/>
                  </a:lnTo>
                  <a:cubicBezTo>
                    <a:pt x="170" y="716"/>
                    <a:pt x="187" y="747"/>
                    <a:pt x="189" y="778"/>
                  </a:cubicBezTo>
                  <a:lnTo>
                    <a:pt x="249" y="1723"/>
                  </a:lnTo>
                  <a:lnTo>
                    <a:pt x="249" y="1723"/>
                  </a:lnTo>
                  <a:cubicBezTo>
                    <a:pt x="251" y="1757"/>
                    <a:pt x="283" y="1782"/>
                    <a:pt x="316" y="1779"/>
                  </a:cubicBezTo>
                  <a:lnTo>
                    <a:pt x="316" y="1779"/>
                  </a:lnTo>
                  <a:cubicBezTo>
                    <a:pt x="350" y="1776"/>
                    <a:pt x="373" y="1745"/>
                    <a:pt x="370" y="1712"/>
                  </a:cubicBezTo>
                  <a:lnTo>
                    <a:pt x="254" y="772"/>
                  </a:lnTo>
                  <a:lnTo>
                    <a:pt x="254" y="772"/>
                  </a:lnTo>
                  <a:cubicBezTo>
                    <a:pt x="251" y="741"/>
                    <a:pt x="263" y="707"/>
                    <a:pt x="288" y="687"/>
                  </a:cubicBezTo>
                  <a:lnTo>
                    <a:pt x="322" y="66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11234528" y="5159740"/>
            <a:ext cx="284528" cy="304398"/>
            <a:chOff x="6584950" y="2079625"/>
            <a:chExt cx="568325" cy="608013"/>
          </a:xfrm>
          <a:solidFill>
            <a:schemeClr val="tx1"/>
          </a:solidFill>
        </p:grpSpPr>
        <p:sp>
          <p:nvSpPr>
            <p:cNvPr id="21" name="Freeform 35"/>
            <p:cNvSpPr>
              <a:spLocks noChangeArrowheads="1"/>
            </p:cNvSpPr>
            <p:nvPr/>
          </p:nvSpPr>
          <p:spPr bwMode="auto">
            <a:xfrm>
              <a:off x="6648450" y="2119313"/>
              <a:ext cx="449263" cy="134937"/>
            </a:xfrm>
            <a:custGeom>
              <a:avLst/>
              <a:gdLst>
                <a:gd name="T0" fmla="*/ 6 w 1249"/>
                <a:gd name="T1" fmla="*/ 322 h 373"/>
                <a:gd name="T2" fmla="*/ 28 w 1249"/>
                <a:gd name="T3" fmla="*/ 310 h 373"/>
                <a:gd name="T4" fmla="*/ 488 w 1249"/>
                <a:gd name="T5" fmla="*/ 200 h 373"/>
                <a:gd name="T6" fmla="*/ 477 w 1249"/>
                <a:gd name="T7" fmla="*/ 155 h 373"/>
                <a:gd name="T8" fmla="*/ 556 w 1249"/>
                <a:gd name="T9" fmla="*/ 25 h 373"/>
                <a:gd name="T10" fmla="*/ 604 w 1249"/>
                <a:gd name="T11" fmla="*/ 14 h 373"/>
                <a:gd name="T12" fmla="*/ 734 w 1249"/>
                <a:gd name="T13" fmla="*/ 93 h 373"/>
                <a:gd name="T14" fmla="*/ 745 w 1249"/>
                <a:gd name="T15" fmla="*/ 138 h 373"/>
                <a:gd name="T16" fmla="*/ 1205 w 1249"/>
                <a:gd name="T17" fmla="*/ 28 h 373"/>
                <a:gd name="T18" fmla="*/ 1205 w 1249"/>
                <a:gd name="T19" fmla="*/ 28 h 373"/>
                <a:gd name="T20" fmla="*/ 1242 w 1249"/>
                <a:gd name="T21" fmla="*/ 51 h 373"/>
                <a:gd name="T22" fmla="*/ 1219 w 1249"/>
                <a:gd name="T23" fmla="*/ 87 h 373"/>
                <a:gd name="T24" fmla="*/ 40 w 1249"/>
                <a:gd name="T25" fmla="*/ 367 h 373"/>
                <a:gd name="T26" fmla="*/ 3 w 1249"/>
                <a:gd name="T27" fmla="*/ 344 h 373"/>
                <a:gd name="T28" fmla="*/ 3 w 1249"/>
                <a:gd name="T29" fmla="*/ 344 h 373"/>
                <a:gd name="T30" fmla="*/ 3 w 1249"/>
                <a:gd name="T31" fmla="*/ 344 h 373"/>
                <a:gd name="T32" fmla="*/ 6 w 1249"/>
                <a:gd name="T33" fmla="*/ 322 h 373"/>
                <a:gd name="T34" fmla="*/ 570 w 1249"/>
                <a:gd name="T35" fmla="*/ 87 h 373"/>
                <a:gd name="T36" fmla="*/ 536 w 1249"/>
                <a:gd name="T37" fmla="*/ 141 h 373"/>
                <a:gd name="T38" fmla="*/ 548 w 1249"/>
                <a:gd name="T39" fmla="*/ 186 h 373"/>
                <a:gd name="T40" fmla="*/ 683 w 1249"/>
                <a:gd name="T41" fmla="*/ 155 h 373"/>
                <a:gd name="T42" fmla="*/ 672 w 1249"/>
                <a:gd name="T43" fmla="*/ 110 h 373"/>
                <a:gd name="T44" fmla="*/ 618 w 1249"/>
                <a:gd name="T45" fmla="*/ 76 h 373"/>
                <a:gd name="T46" fmla="*/ 570 w 1249"/>
                <a:gd name="T47" fmla="*/ 87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49" h="373">
                  <a:moveTo>
                    <a:pt x="6" y="322"/>
                  </a:moveTo>
                  <a:cubicBezTo>
                    <a:pt x="11" y="313"/>
                    <a:pt x="17" y="310"/>
                    <a:pt x="28" y="310"/>
                  </a:cubicBezTo>
                  <a:lnTo>
                    <a:pt x="488" y="200"/>
                  </a:lnTo>
                  <a:lnTo>
                    <a:pt x="477" y="155"/>
                  </a:lnTo>
                  <a:cubicBezTo>
                    <a:pt x="463" y="96"/>
                    <a:pt x="500" y="39"/>
                    <a:pt x="556" y="25"/>
                  </a:cubicBezTo>
                  <a:lnTo>
                    <a:pt x="604" y="14"/>
                  </a:lnTo>
                  <a:cubicBezTo>
                    <a:pt x="663" y="0"/>
                    <a:pt x="720" y="37"/>
                    <a:pt x="734" y="93"/>
                  </a:cubicBezTo>
                  <a:lnTo>
                    <a:pt x="745" y="138"/>
                  </a:lnTo>
                  <a:lnTo>
                    <a:pt x="1205" y="28"/>
                  </a:lnTo>
                  <a:lnTo>
                    <a:pt x="1205" y="28"/>
                  </a:lnTo>
                  <a:cubicBezTo>
                    <a:pt x="1222" y="22"/>
                    <a:pt x="1239" y="34"/>
                    <a:pt x="1242" y="51"/>
                  </a:cubicBezTo>
                  <a:cubicBezTo>
                    <a:pt x="1248" y="68"/>
                    <a:pt x="1236" y="85"/>
                    <a:pt x="1219" y="87"/>
                  </a:cubicBezTo>
                  <a:lnTo>
                    <a:pt x="40" y="367"/>
                  </a:lnTo>
                  <a:cubicBezTo>
                    <a:pt x="23" y="372"/>
                    <a:pt x="6" y="361"/>
                    <a:pt x="3" y="344"/>
                  </a:cubicBezTo>
                  <a:lnTo>
                    <a:pt x="3" y="344"/>
                  </a:lnTo>
                  <a:lnTo>
                    <a:pt x="3" y="344"/>
                  </a:lnTo>
                  <a:cubicBezTo>
                    <a:pt x="0" y="336"/>
                    <a:pt x="0" y="327"/>
                    <a:pt x="6" y="322"/>
                  </a:cubicBezTo>
                  <a:close/>
                  <a:moveTo>
                    <a:pt x="570" y="87"/>
                  </a:moveTo>
                  <a:cubicBezTo>
                    <a:pt x="545" y="93"/>
                    <a:pt x="531" y="116"/>
                    <a:pt x="536" y="141"/>
                  </a:cubicBezTo>
                  <a:lnTo>
                    <a:pt x="548" y="186"/>
                  </a:lnTo>
                  <a:lnTo>
                    <a:pt x="683" y="155"/>
                  </a:lnTo>
                  <a:lnTo>
                    <a:pt x="672" y="110"/>
                  </a:lnTo>
                  <a:cubicBezTo>
                    <a:pt x="666" y="85"/>
                    <a:pt x="644" y="70"/>
                    <a:pt x="618" y="76"/>
                  </a:cubicBezTo>
                  <a:lnTo>
                    <a:pt x="570" y="8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36"/>
            <p:cNvSpPr>
              <a:spLocks noChangeArrowheads="1"/>
            </p:cNvSpPr>
            <p:nvPr/>
          </p:nvSpPr>
          <p:spPr bwMode="auto">
            <a:xfrm>
              <a:off x="6584950" y="2300288"/>
              <a:ext cx="568325" cy="387350"/>
            </a:xfrm>
            <a:custGeom>
              <a:avLst/>
              <a:gdLst>
                <a:gd name="T0" fmla="*/ 319 w 1579"/>
                <a:gd name="T1" fmla="*/ 1077 h 1078"/>
                <a:gd name="T2" fmla="*/ 153 w 1579"/>
                <a:gd name="T3" fmla="*/ 908 h 1078"/>
                <a:gd name="T4" fmla="*/ 153 w 1579"/>
                <a:gd name="T5" fmla="*/ 428 h 1078"/>
                <a:gd name="T6" fmla="*/ 108 w 1579"/>
                <a:gd name="T7" fmla="*/ 428 h 1078"/>
                <a:gd name="T8" fmla="*/ 0 w 1579"/>
                <a:gd name="T9" fmla="*/ 321 h 1078"/>
                <a:gd name="T10" fmla="*/ 0 w 1579"/>
                <a:gd name="T11" fmla="*/ 270 h 1078"/>
                <a:gd name="T12" fmla="*/ 108 w 1579"/>
                <a:gd name="T13" fmla="*/ 163 h 1078"/>
                <a:gd name="T14" fmla="*/ 153 w 1579"/>
                <a:gd name="T15" fmla="*/ 163 h 1078"/>
                <a:gd name="T16" fmla="*/ 153 w 1579"/>
                <a:gd name="T17" fmla="*/ 31 h 1078"/>
                <a:gd name="T18" fmla="*/ 184 w 1579"/>
                <a:gd name="T19" fmla="*/ 0 h 1078"/>
                <a:gd name="T20" fmla="*/ 1394 w 1579"/>
                <a:gd name="T21" fmla="*/ 0 h 1078"/>
                <a:gd name="T22" fmla="*/ 1426 w 1579"/>
                <a:gd name="T23" fmla="*/ 31 h 1078"/>
                <a:gd name="T24" fmla="*/ 1426 w 1579"/>
                <a:gd name="T25" fmla="*/ 163 h 1078"/>
                <a:gd name="T26" fmla="*/ 1471 w 1579"/>
                <a:gd name="T27" fmla="*/ 163 h 1078"/>
                <a:gd name="T28" fmla="*/ 1578 w 1579"/>
                <a:gd name="T29" fmla="*/ 270 h 1078"/>
                <a:gd name="T30" fmla="*/ 1578 w 1579"/>
                <a:gd name="T31" fmla="*/ 321 h 1078"/>
                <a:gd name="T32" fmla="*/ 1471 w 1579"/>
                <a:gd name="T33" fmla="*/ 428 h 1078"/>
                <a:gd name="T34" fmla="*/ 1426 w 1579"/>
                <a:gd name="T35" fmla="*/ 428 h 1078"/>
                <a:gd name="T36" fmla="*/ 1426 w 1579"/>
                <a:gd name="T37" fmla="*/ 908 h 1078"/>
                <a:gd name="T38" fmla="*/ 1256 w 1579"/>
                <a:gd name="T39" fmla="*/ 1077 h 1078"/>
                <a:gd name="T40" fmla="*/ 319 w 1579"/>
                <a:gd name="T41" fmla="*/ 1077 h 1078"/>
                <a:gd name="T42" fmla="*/ 1423 w 1579"/>
                <a:gd name="T43" fmla="*/ 225 h 1078"/>
                <a:gd name="T44" fmla="*/ 1423 w 1579"/>
                <a:gd name="T45" fmla="*/ 366 h 1078"/>
                <a:gd name="T46" fmla="*/ 1468 w 1579"/>
                <a:gd name="T47" fmla="*/ 366 h 1078"/>
                <a:gd name="T48" fmla="*/ 1513 w 1579"/>
                <a:gd name="T49" fmla="*/ 321 h 1078"/>
                <a:gd name="T50" fmla="*/ 1513 w 1579"/>
                <a:gd name="T51" fmla="*/ 270 h 1078"/>
                <a:gd name="T52" fmla="*/ 1468 w 1579"/>
                <a:gd name="T53" fmla="*/ 225 h 1078"/>
                <a:gd name="T54" fmla="*/ 1423 w 1579"/>
                <a:gd name="T55" fmla="*/ 225 h 1078"/>
                <a:gd name="T56" fmla="*/ 212 w 1579"/>
                <a:gd name="T57" fmla="*/ 62 h 1078"/>
                <a:gd name="T58" fmla="*/ 209 w 1579"/>
                <a:gd name="T59" fmla="*/ 908 h 1078"/>
                <a:gd name="T60" fmla="*/ 316 w 1579"/>
                <a:gd name="T61" fmla="*/ 1015 h 1078"/>
                <a:gd name="T62" fmla="*/ 1253 w 1579"/>
                <a:gd name="T63" fmla="*/ 1015 h 1078"/>
                <a:gd name="T64" fmla="*/ 1361 w 1579"/>
                <a:gd name="T65" fmla="*/ 908 h 1078"/>
                <a:gd name="T66" fmla="*/ 1361 w 1579"/>
                <a:gd name="T67" fmla="*/ 62 h 1078"/>
                <a:gd name="T68" fmla="*/ 212 w 1579"/>
                <a:gd name="T69" fmla="*/ 62 h 1078"/>
                <a:gd name="T70" fmla="*/ 105 w 1579"/>
                <a:gd name="T71" fmla="*/ 366 h 1078"/>
                <a:gd name="T72" fmla="*/ 150 w 1579"/>
                <a:gd name="T73" fmla="*/ 366 h 1078"/>
                <a:gd name="T74" fmla="*/ 150 w 1579"/>
                <a:gd name="T75" fmla="*/ 225 h 1078"/>
                <a:gd name="T76" fmla="*/ 105 w 1579"/>
                <a:gd name="T77" fmla="*/ 225 h 1078"/>
                <a:gd name="T78" fmla="*/ 60 w 1579"/>
                <a:gd name="T79" fmla="*/ 270 h 1078"/>
                <a:gd name="T80" fmla="*/ 60 w 1579"/>
                <a:gd name="T81" fmla="*/ 321 h 1078"/>
                <a:gd name="T82" fmla="*/ 105 w 1579"/>
                <a:gd name="T83" fmla="*/ 366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79" h="1078">
                  <a:moveTo>
                    <a:pt x="319" y="1077"/>
                  </a:moveTo>
                  <a:cubicBezTo>
                    <a:pt x="226" y="1077"/>
                    <a:pt x="150" y="1001"/>
                    <a:pt x="153" y="908"/>
                  </a:cubicBezTo>
                  <a:lnTo>
                    <a:pt x="153" y="428"/>
                  </a:lnTo>
                  <a:lnTo>
                    <a:pt x="108" y="428"/>
                  </a:lnTo>
                  <a:cubicBezTo>
                    <a:pt x="48" y="428"/>
                    <a:pt x="0" y="380"/>
                    <a:pt x="0" y="321"/>
                  </a:cubicBezTo>
                  <a:lnTo>
                    <a:pt x="0" y="270"/>
                  </a:lnTo>
                  <a:cubicBezTo>
                    <a:pt x="0" y="211"/>
                    <a:pt x="48" y="163"/>
                    <a:pt x="108" y="163"/>
                  </a:cubicBezTo>
                  <a:lnTo>
                    <a:pt x="153" y="163"/>
                  </a:lnTo>
                  <a:lnTo>
                    <a:pt x="153" y="31"/>
                  </a:lnTo>
                  <a:cubicBezTo>
                    <a:pt x="153" y="14"/>
                    <a:pt x="167" y="0"/>
                    <a:pt x="184" y="0"/>
                  </a:cubicBezTo>
                  <a:lnTo>
                    <a:pt x="1394" y="0"/>
                  </a:lnTo>
                  <a:cubicBezTo>
                    <a:pt x="1411" y="0"/>
                    <a:pt x="1426" y="14"/>
                    <a:pt x="1426" y="31"/>
                  </a:cubicBezTo>
                  <a:lnTo>
                    <a:pt x="1426" y="163"/>
                  </a:lnTo>
                  <a:lnTo>
                    <a:pt x="1471" y="163"/>
                  </a:lnTo>
                  <a:cubicBezTo>
                    <a:pt x="1530" y="163"/>
                    <a:pt x="1578" y="211"/>
                    <a:pt x="1578" y="270"/>
                  </a:cubicBezTo>
                  <a:lnTo>
                    <a:pt x="1578" y="321"/>
                  </a:lnTo>
                  <a:cubicBezTo>
                    <a:pt x="1578" y="380"/>
                    <a:pt x="1530" y="428"/>
                    <a:pt x="1471" y="428"/>
                  </a:cubicBezTo>
                  <a:lnTo>
                    <a:pt x="1426" y="428"/>
                  </a:lnTo>
                  <a:lnTo>
                    <a:pt x="1426" y="908"/>
                  </a:lnTo>
                  <a:cubicBezTo>
                    <a:pt x="1423" y="1001"/>
                    <a:pt x="1349" y="1077"/>
                    <a:pt x="1256" y="1077"/>
                  </a:cubicBezTo>
                  <a:lnTo>
                    <a:pt x="319" y="1077"/>
                  </a:lnTo>
                  <a:close/>
                  <a:moveTo>
                    <a:pt x="1423" y="225"/>
                  </a:moveTo>
                  <a:lnTo>
                    <a:pt x="1423" y="366"/>
                  </a:lnTo>
                  <a:lnTo>
                    <a:pt x="1468" y="366"/>
                  </a:lnTo>
                  <a:cubicBezTo>
                    <a:pt x="1493" y="366"/>
                    <a:pt x="1513" y="346"/>
                    <a:pt x="1513" y="321"/>
                  </a:cubicBezTo>
                  <a:lnTo>
                    <a:pt x="1513" y="270"/>
                  </a:lnTo>
                  <a:cubicBezTo>
                    <a:pt x="1513" y="245"/>
                    <a:pt x="1493" y="225"/>
                    <a:pt x="1468" y="225"/>
                  </a:cubicBezTo>
                  <a:lnTo>
                    <a:pt x="1423" y="225"/>
                  </a:lnTo>
                  <a:close/>
                  <a:moveTo>
                    <a:pt x="212" y="62"/>
                  </a:moveTo>
                  <a:lnTo>
                    <a:pt x="209" y="908"/>
                  </a:lnTo>
                  <a:cubicBezTo>
                    <a:pt x="212" y="967"/>
                    <a:pt x="257" y="1015"/>
                    <a:pt x="316" y="1015"/>
                  </a:cubicBezTo>
                  <a:lnTo>
                    <a:pt x="1253" y="1015"/>
                  </a:lnTo>
                  <a:cubicBezTo>
                    <a:pt x="1313" y="1012"/>
                    <a:pt x="1361" y="967"/>
                    <a:pt x="1361" y="908"/>
                  </a:cubicBezTo>
                  <a:lnTo>
                    <a:pt x="1361" y="62"/>
                  </a:lnTo>
                  <a:lnTo>
                    <a:pt x="212" y="62"/>
                  </a:lnTo>
                  <a:close/>
                  <a:moveTo>
                    <a:pt x="105" y="366"/>
                  </a:moveTo>
                  <a:lnTo>
                    <a:pt x="150" y="366"/>
                  </a:lnTo>
                  <a:lnTo>
                    <a:pt x="150" y="225"/>
                  </a:lnTo>
                  <a:lnTo>
                    <a:pt x="105" y="225"/>
                  </a:lnTo>
                  <a:cubicBezTo>
                    <a:pt x="79" y="225"/>
                    <a:pt x="60" y="245"/>
                    <a:pt x="60" y="270"/>
                  </a:cubicBezTo>
                  <a:lnTo>
                    <a:pt x="60" y="321"/>
                  </a:lnTo>
                  <a:cubicBezTo>
                    <a:pt x="60" y="346"/>
                    <a:pt x="79" y="366"/>
                    <a:pt x="105" y="36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37"/>
            <p:cNvSpPr>
              <a:spLocks noChangeArrowheads="1"/>
            </p:cNvSpPr>
            <p:nvPr/>
          </p:nvSpPr>
          <p:spPr bwMode="auto">
            <a:xfrm>
              <a:off x="6927850" y="2219325"/>
              <a:ext cx="96838" cy="58738"/>
            </a:xfrm>
            <a:custGeom>
              <a:avLst/>
              <a:gdLst>
                <a:gd name="T0" fmla="*/ 133 w 267"/>
                <a:gd name="T1" fmla="*/ 0 h 165"/>
                <a:gd name="T2" fmla="*/ 266 w 267"/>
                <a:gd name="T3" fmla="*/ 133 h 165"/>
                <a:gd name="T4" fmla="*/ 234 w 267"/>
                <a:gd name="T5" fmla="*/ 164 h 165"/>
                <a:gd name="T6" fmla="*/ 203 w 267"/>
                <a:gd name="T7" fmla="*/ 133 h 165"/>
                <a:gd name="T8" fmla="*/ 133 w 267"/>
                <a:gd name="T9" fmla="*/ 62 h 165"/>
                <a:gd name="T10" fmla="*/ 62 w 267"/>
                <a:gd name="T11" fmla="*/ 133 h 165"/>
                <a:gd name="T12" fmla="*/ 31 w 267"/>
                <a:gd name="T13" fmla="*/ 164 h 165"/>
                <a:gd name="T14" fmla="*/ 0 w 267"/>
                <a:gd name="T15" fmla="*/ 133 h 165"/>
                <a:gd name="T16" fmla="*/ 133 w 267"/>
                <a:gd name="T17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165">
                  <a:moveTo>
                    <a:pt x="133" y="0"/>
                  </a:moveTo>
                  <a:cubicBezTo>
                    <a:pt x="206" y="0"/>
                    <a:pt x="266" y="60"/>
                    <a:pt x="266" y="133"/>
                  </a:cubicBezTo>
                  <a:cubicBezTo>
                    <a:pt x="266" y="150"/>
                    <a:pt x="251" y="164"/>
                    <a:pt x="234" y="164"/>
                  </a:cubicBezTo>
                  <a:cubicBezTo>
                    <a:pt x="218" y="164"/>
                    <a:pt x="203" y="150"/>
                    <a:pt x="203" y="133"/>
                  </a:cubicBezTo>
                  <a:cubicBezTo>
                    <a:pt x="203" y="93"/>
                    <a:pt x="173" y="62"/>
                    <a:pt x="133" y="62"/>
                  </a:cubicBezTo>
                  <a:cubicBezTo>
                    <a:pt x="94" y="62"/>
                    <a:pt x="62" y="93"/>
                    <a:pt x="62" y="133"/>
                  </a:cubicBezTo>
                  <a:cubicBezTo>
                    <a:pt x="62" y="150"/>
                    <a:pt x="48" y="164"/>
                    <a:pt x="31" y="164"/>
                  </a:cubicBezTo>
                  <a:cubicBezTo>
                    <a:pt x="14" y="164"/>
                    <a:pt x="0" y="150"/>
                    <a:pt x="0" y="133"/>
                  </a:cubicBezTo>
                  <a:cubicBezTo>
                    <a:pt x="0" y="60"/>
                    <a:pt x="60" y="0"/>
                    <a:pt x="133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38"/>
            <p:cNvSpPr>
              <a:spLocks noChangeArrowheads="1"/>
            </p:cNvSpPr>
            <p:nvPr/>
          </p:nvSpPr>
          <p:spPr bwMode="auto">
            <a:xfrm>
              <a:off x="7037388" y="2079625"/>
              <a:ext cx="26987" cy="26988"/>
            </a:xfrm>
            <a:custGeom>
              <a:avLst/>
              <a:gdLst>
                <a:gd name="T0" fmla="*/ 11 w 77"/>
                <a:gd name="T1" fmla="*/ 65 h 74"/>
                <a:gd name="T2" fmla="*/ 11 w 77"/>
                <a:gd name="T3" fmla="*/ 20 h 74"/>
                <a:gd name="T4" fmla="*/ 17 w 77"/>
                <a:gd name="T5" fmla="*/ 14 h 74"/>
                <a:gd name="T6" fmla="*/ 62 w 77"/>
                <a:gd name="T7" fmla="*/ 14 h 74"/>
                <a:gd name="T8" fmla="*/ 62 w 77"/>
                <a:gd name="T9" fmla="*/ 59 h 74"/>
                <a:gd name="T10" fmla="*/ 57 w 77"/>
                <a:gd name="T11" fmla="*/ 65 h 74"/>
                <a:gd name="T12" fmla="*/ 34 w 77"/>
                <a:gd name="T13" fmla="*/ 73 h 74"/>
                <a:gd name="T14" fmla="*/ 34 w 77"/>
                <a:gd name="T15" fmla="*/ 73 h 74"/>
                <a:gd name="T16" fmla="*/ 11 w 77"/>
                <a:gd name="T17" fmla="*/ 6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74">
                  <a:moveTo>
                    <a:pt x="11" y="65"/>
                  </a:moveTo>
                  <a:cubicBezTo>
                    <a:pt x="0" y="54"/>
                    <a:pt x="0" y="34"/>
                    <a:pt x="11" y="20"/>
                  </a:cubicBezTo>
                  <a:lnTo>
                    <a:pt x="17" y="14"/>
                  </a:lnTo>
                  <a:cubicBezTo>
                    <a:pt x="31" y="0"/>
                    <a:pt x="51" y="3"/>
                    <a:pt x="62" y="14"/>
                  </a:cubicBezTo>
                  <a:cubicBezTo>
                    <a:pt x="76" y="28"/>
                    <a:pt x="74" y="48"/>
                    <a:pt x="62" y="59"/>
                  </a:cubicBezTo>
                  <a:lnTo>
                    <a:pt x="57" y="65"/>
                  </a:lnTo>
                  <a:cubicBezTo>
                    <a:pt x="51" y="71"/>
                    <a:pt x="43" y="73"/>
                    <a:pt x="34" y="73"/>
                  </a:cubicBezTo>
                  <a:lnTo>
                    <a:pt x="34" y="73"/>
                  </a:lnTo>
                  <a:cubicBezTo>
                    <a:pt x="26" y="73"/>
                    <a:pt x="17" y="71"/>
                    <a:pt x="11" y="65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39"/>
            <p:cNvSpPr>
              <a:spLocks noChangeArrowheads="1"/>
            </p:cNvSpPr>
            <p:nvPr/>
          </p:nvSpPr>
          <p:spPr bwMode="auto">
            <a:xfrm>
              <a:off x="7048500" y="2185988"/>
              <a:ext cx="79375" cy="79375"/>
            </a:xfrm>
            <a:custGeom>
              <a:avLst/>
              <a:gdLst>
                <a:gd name="T0" fmla="*/ 110 w 221"/>
                <a:gd name="T1" fmla="*/ 0 h 221"/>
                <a:gd name="T2" fmla="*/ 220 w 221"/>
                <a:gd name="T3" fmla="*/ 110 h 221"/>
                <a:gd name="T4" fmla="*/ 110 w 221"/>
                <a:gd name="T5" fmla="*/ 220 h 221"/>
                <a:gd name="T6" fmla="*/ 110 w 221"/>
                <a:gd name="T7" fmla="*/ 220 h 221"/>
                <a:gd name="T8" fmla="*/ 0 w 221"/>
                <a:gd name="T9" fmla="*/ 110 h 221"/>
                <a:gd name="T10" fmla="*/ 110 w 221"/>
                <a:gd name="T11" fmla="*/ 0 h 221"/>
                <a:gd name="T12" fmla="*/ 110 w 221"/>
                <a:gd name="T13" fmla="*/ 0 h 221"/>
                <a:gd name="T14" fmla="*/ 110 w 221"/>
                <a:gd name="T15" fmla="*/ 155 h 221"/>
                <a:gd name="T16" fmla="*/ 158 w 221"/>
                <a:gd name="T17" fmla="*/ 107 h 221"/>
                <a:gd name="T18" fmla="*/ 110 w 221"/>
                <a:gd name="T19" fmla="*/ 60 h 221"/>
                <a:gd name="T20" fmla="*/ 110 w 221"/>
                <a:gd name="T21" fmla="*/ 60 h 221"/>
                <a:gd name="T22" fmla="*/ 62 w 221"/>
                <a:gd name="T23" fmla="*/ 107 h 221"/>
                <a:gd name="T24" fmla="*/ 110 w 221"/>
                <a:gd name="T25" fmla="*/ 155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" h="221">
                  <a:moveTo>
                    <a:pt x="110" y="0"/>
                  </a:moveTo>
                  <a:cubicBezTo>
                    <a:pt x="172" y="0"/>
                    <a:pt x="220" y="48"/>
                    <a:pt x="220" y="110"/>
                  </a:cubicBezTo>
                  <a:cubicBezTo>
                    <a:pt x="220" y="172"/>
                    <a:pt x="170" y="220"/>
                    <a:pt x="110" y="220"/>
                  </a:cubicBezTo>
                  <a:lnTo>
                    <a:pt x="110" y="220"/>
                  </a:lnTo>
                  <a:cubicBezTo>
                    <a:pt x="48" y="220"/>
                    <a:pt x="0" y="170"/>
                    <a:pt x="0" y="110"/>
                  </a:cubicBezTo>
                  <a:cubicBezTo>
                    <a:pt x="0" y="48"/>
                    <a:pt x="51" y="0"/>
                    <a:pt x="110" y="0"/>
                  </a:cubicBezTo>
                  <a:lnTo>
                    <a:pt x="110" y="0"/>
                  </a:lnTo>
                  <a:close/>
                  <a:moveTo>
                    <a:pt x="110" y="155"/>
                  </a:moveTo>
                  <a:cubicBezTo>
                    <a:pt x="139" y="155"/>
                    <a:pt x="158" y="136"/>
                    <a:pt x="158" y="107"/>
                  </a:cubicBezTo>
                  <a:cubicBezTo>
                    <a:pt x="158" y="82"/>
                    <a:pt x="136" y="60"/>
                    <a:pt x="110" y="60"/>
                  </a:cubicBezTo>
                  <a:lnTo>
                    <a:pt x="110" y="60"/>
                  </a:lnTo>
                  <a:cubicBezTo>
                    <a:pt x="85" y="60"/>
                    <a:pt x="62" y="82"/>
                    <a:pt x="62" y="107"/>
                  </a:cubicBezTo>
                  <a:cubicBezTo>
                    <a:pt x="62" y="133"/>
                    <a:pt x="85" y="155"/>
                    <a:pt x="110" y="15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ext Placeholder 2"/>
          <p:cNvSpPr txBox="1">
            <a:spLocks/>
          </p:cNvSpPr>
          <p:nvPr/>
        </p:nvSpPr>
        <p:spPr>
          <a:xfrm>
            <a:off x="442913" y="851867"/>
            <a:ext cx="5889187" cy="48260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entury Gothic" charset="0"/>
              </a:rPr>
              <a:t>TEMPLATE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E63022"/>
                </a:solidFill>
                <a:effectLst/>
                <a:uLnTx/>
                <a:uFillTx/>
                <a:latin typeface="Century Gothic" charset="0"/>
              </a:rPr>
              <a:t>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charset="0"/>
              </a:rPr>
              <a:t>PERSONA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915" y="2419077"/>
            <a:ext cx="1654908" cy="2705331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3027777" y="2559609"/>
            <a:ext cx="1837299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SzTx/>
              <a:buFont typeface="ArialUnicodeMS" charset="0"/>
              <a:buChar char="￮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Na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SzTx/>
              <a:buFont typeface="ArialUnicodeMS" charset="0"/>
              <a:buChar char="￮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  <a:sym typeface="Wingdings"/>
              </a:rPr>
              <a:t>Gend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SzTx/>
              <a:buFont typeface="ArialUnicodeMS" charset="0"/>
              <a:buChar char="￮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  <a:sym typeface="Wingdings"/>
              </a:rPr>
              <a:t>Ag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SzTx/>
              <a:buFont typeface="ArialUnicodeMS" charset="0"/>
              <a:buChar char="￮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  <a:sym typeface="Wingdings"/>
              </a:rPr>
              <a:t>Statu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SzTx/>
              <a:buFont typeface="ArialUnicodeMS" charset="0"/>
              <a:buChar char="￮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  <a:sym typeface="Wingdings"/>
              </a:rPr>
              <a:t>Hobb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SzTx/>
              <a:buFont typeface="ArialUnicodeMS" charset="0"/>
              <a:buChar char="￮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  <a:sym typeface="Wingdings"/>
              </a:rPr>
              <a:t>Children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5088651" y="2076161"/>
            <a:ext cx="0" cy="3007216"/>
          </a:xfrm>
          <a:prstGeom prst="line">
            <a:avLst/>
          </a:prstGeom>
          <a:noFill/>
          <a:ln w="34925" cap="rnd" cmpd="sng" algn="ctr">
            <a:solidFill>
              <a:schemeClr val="tx1"/>
            </a:solidFill>
            <a:prstDash val="sysDot"/>
            <a:miter lim="800000"/>
          </a:ln>
          <a:effectLst/>
        </p:spPr>
      </p:cxnSp>
      <p:sp>
        <p:nvSpPr>
          <p:cNvPr id="40" name="Rectangle 39"/>
          <p:cNvSpPr/>
          <p:nvPr/>
        </p:nvSpPr>
        <p:spPr>
          <a:xfrm>
            <a:off x="5616910" y="2559609"/>
            <a:ext cx="1837299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SzTx/>
              <a:buFont typeface="ArialUnicodeMS" charset="0"/>
              <a:buChar char="￮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Goa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SzTx/>
              <a:buFont typeface="ArialUnicodeMS" charset="0"/>
              <a:buChar char="￮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Valu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SzTx/>
              <a:buFont typeface="ArialUnicodeMS" charset="0"/>
              <a:buChar char="￮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Nee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SzTx/>
              <a:buFont typeface="ArialUnicodeMS" charset="0"/>
              <a:buChar char="￮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Pain Poi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SzTx/>
              <a:buFont typeface="ArialUnicodeMS" charset="0"/>
              <a:buChar char="￮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Quote</a:t>
            </a:r>
          </a:p>
        </p:txBody>
      </p:sp>
      <p:sp>
        <p:nvSpPr>
          <p:cNvPr id="41" name="Rectangle 40"/>
          <p:cNvSpPr/>
          <p:nvPr/>
        </p:nvSpPr>
        <p:spPr>
          <a:xfrm>
            <a:off x="2964525" y="2013344"/>
            <a:ext cx="19638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GENERAL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  <a:sym typeface="Wingdings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5553658" y="2013344"/>
            <a:ext cx="23476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CHARACTER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  <a:sym typeface="Wingdings"/>
            </a:endParaRPr>
          </a:p>
        </p:txBody>
      </p:sp>
      <p:sp>
        <p:nvSpPr>
          <p:cNvPr id="32" name="Ellipse 8">
            <a:extLst>
              <a:ext uri="{FF2B5EF4-FFF2-40B4-BE49-F238E27FC236}">
                <a16:creationId xmlns:a16="http://schemas.microsoft.com/office/drawing/2014/main" id="{D3FCE0DB-EF99-42E2-918F-3A9FC45034D7}"/>
              </a:ext>
            </a:extLst>
          </p:cNvPr>
          <p:cNvSpPr/>
          <p:nvPr/>
        </p:nvSpPr>
        <p:spPr>
          <a:xfrm>
            <a:off x="10811013" y="186716"/>
            <a:ext cx="785630" cy="78563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775273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Google Shape;441;p8"/>
          <p:cNvSpPr txBox="1">
            <a:spLocks noGrp="1"/>
          </p:cNvSpPr>
          <p:nvPr>
            <p:ph type="title"/>
          </p:nvPr>
        </p:nvSpPr>
        <p:spPr>
          <a:xfrm>
            <a:off x="404038" y="26252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/>
          <a:p>
            <a:pPr lvl="0">
              <a:buSzPts val="1600"/>
            </a:pPr>
            <a:r>
              <a:rPr lang="en-US"/>
              <a:t>EXAMPLE: </a:t>
            </a:r>
            <a:r>
              <a:rPr lang="en-US" b="1"/>
              <a:t>SUBMISSION JOURNEY MAP</a:t>
            </a:r>
            <a:endParaRPr/>
          </a:p>
        </p:txBody>
      </p:sp>
      <p:pic>
        <p:nvPicPr>
          <p:cNvPr id="442" name="Google Shape;442;p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34609" y="944375"/>
            <a:ext cx="10638106" cy="6155917"/>
          </a:xfrm>
          <a:prstGeom prst="rect">
            <a:avLst/>
          </a:prstGeom>
          <a:noFill/>
          <a:ln>
            <a:noFill/>
          </a:ln>
        </p:spPr>
      </p:pic>
      <p:pic>
        <p:nvPicPr>
          <p:cNvPr id="443" name="Google Shape;443;p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 rot="-151214">
            <a:off x="1192797" y="429428"/>
            <a:ext cx="1153828" cy="155766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Ellipse 8">
            <a:extLst>
              <a:ext uri="{FF2B5EF4-FFF2-40B4-BE49-F238E27FC236}">
                <a16:creationId xmlns:a16="http://schemas.microsoft.com/office/drawing/2014/main" id="{B437C99D-A80A-4867-94B1-2A40185EB63C}"/>
              </a:ext>
            </a:extLst>
          </p:cNvPr>
          <p:cNvSpPr/>
          <p:nvPr/>
        </p:nvSpPr>
        <p:spPr>
          <a:xfrm>
            <a:off x="10889077" y="262523"/>
            <a:ext cx="785630" cy="78563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797402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InnovationLAB">
      <a:dk1>
        <a:srgbClr val="000000"/>
      </a:dk1>
      <a:lt1>
        <a:srgbClr val="FFFFFF"/>
      </a:lt1>
      <a:dk2>
        <a:srgbClr val="333032"/>
      </a:dk2>
      <a:lt2>
        <a:srgbClr val="E7E6E6"/>
      </a:lt2>
      <a:accent1>
        <a:srgbClr val="09DDF3"/>
      </a:accent1>
      <a:accent2>
        <a:srgbClr val="ABE338"/>
      </a:accent2>
      <a:accent3>
        <a:srgbClr val="FFF200"/>
      </a:accent3>
      <a:accent4>
        <a:srgbClr val="FF8C00"/>
      </a:accent4>
      <a:accent5>
        <a:srgbClr val="E63022"/>
      </a:accent5>
      <a:accent6>
        <a:srgbClr val="00546F"/>
      </a:accent6>
      <a:hlink>
        <a:srgbClr val="008AAB"/>
      </a:hlink>
      <a:folHlink>
        <a:srgbClr val="F34708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InnovationLAB">
      <a:dk1>
        <a:srgbClr val="000000"/>
      </a:dk1>
      <a:lt1>
        <a:srgbClr val="FFFFFF"/>
      </a:lt1>
      <a:dk2>
        <a:srgbClr val="333032"/>
      </a:dk2>
      <a:lt2>
        <a:srgbClr val="E7E6E6"/>
      </a:lt2>
      <a:accent1>
        <a:srgbClr val="09DDF3"/>
      </a:accent1>
      <a:accent2>
        <a:srgbClr val="ABE338"/>
      </a:accent2>
      <a:accent3>
        <a:srgbClr val="FFF200"/>
      </a:accent3>
      <a:accent4>
        <a:srgbClr val="FF8C00"/>
      </a:accent4>
      <a:accent5>
        <a:srgbClr val="E63022"/>
      </a:accent5>
      <a:accent6>
        <a:srgbClr val="00546F"/>
      </a:accent6>
      <a:hlink>
        <a:srgbClr val="008AAB"/>
      </a:hlink>
      <a:folHlink>
        <a:srgbClr val="F3470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Office Theme">
  <a:themeElements>
    <a:clrScheme name="InnovationLAB">
      <a:dk1>
        <a:srgbClr val="000000"/>
      </a:dk1>
      <a:lt1>
        <a:srgbClr val="FFFFFF"/>
      </a:lt1>
      <a:dk2>
        <a:srgbClr val="333032"/>
      </a:dk2>
      <a:lt2>
        <a:srgbClr val="E7E6E6"/>
      </a:lt2>
      <a:accent1>
        <a:srgbClr val="09DDF3"/>
      </a:accent1>
      <a:accent2>
        <a:srgbClr val="ABE338"/>
      </a:accent2>
      <a:accent3>
        <a:srgbClr val="FFF200"/>
      </a:accent3>
      <a:accent4>
        <a:srgbClr val="FF8C00"/>
      </a:accent4>
      <a:accent5>
        <a:srgbClr val="E63022"/>
      </a:accent5>
      <a:accent6>
        <a:srgbClr val="00546F"/>
      </a:accent6>
      <a:hlink>
        <a:srgbClr val="008AAB"/>
      </a:hlink>
      <a:folHlink>
        <a:srgbClr val="F3470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Office Theme">
  <a:themeElements>
    <a:clrScheme name="InnovationLAB">
      <a:dk1>
        <a:srgbClr val="000000"/>
      </a:dk1>
      <a:lt1>
        <a:srgbClr val="FFFFFF"/>
      </a:lt1>
      <a:dk2>
        <a:srgbClr val="333032"/>
      </a:dk2>
      <a:lt2>
        <a:srgbClr val="E7E6E6"/>
      </a:lt2>
      <a:accent1>
        <a:srgbClr val="09DDF3"/>
      </a:accent1>
      <a:accent2>
        <a:srgbClr val="ABE338"/>
      </a:accent2>
      <a:accent3>
        <a:srgbClr val="FFF200"/>
      </a:accent3>
      <a:accent4>
        <a:srgbClr val="FF8C00"/>
      </a:accent4>
      <a:accent5>
        <a:srgbClr val="E63022"/>
      </a:accent5>
      <a:accent6>
        <a:srgbClr val="00546F"/>
      </a:accent6>
      <a:hlink>
        <a:srgbClr val="008AAB"/>
      </a:hlink>
      <a:folHlink>
        <a:srgbClr val="F3470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7_Office Theme">
  <a:themeElements>
    <a:clrScheme name="InnovationLAB">
      <a:dk1>
        <a:srgbClr val="000000"/>
      </a:dk1>
      <a:lt1>
        <a:srgbClr val="FFFFFF"/>
      </a:lt1>
      <a:dk2>
        <a:srgbClr val="333032"/>
      </a:dk2>
      <a:lt2>
        <a:srgbClr val="E7E6E6"/>
      </a:lt2>
      <a:accent1>
        <a:srgbClr val="09DDF3"/>
      </a:accent1>
      <a:accent2>
        <a:srgbClr val="ABE338"/>
      </a:accent2>
      <a:accent3>
        <a:srgbClr val="FFF200"/>
      </a:accent3>
      <a:accent4>
        <a:srgbClr val="FF8C00"/>
      </a:accent4>
      <a:accent5>
        <a:srgbClr val="E63022"/>
      </a:accent5>
      <a:accent6>
        <a:srgbClr val="00546F"/>
      </a:accent6>
      <a:hlink>
        <a:srgbClr val="008AAB"/>
      </a:hlink>
      <a:folHlink>
        <a:srgbClr val="F3470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Office Theme">
  <a:themeElements>
    <a:clrScheme name="InnovationLAB">
      <a:dk1>
        <a:srgbClr val="000000"/>
      </a:dk1>
      <a:lt1>
        <a:srgbClr val="FFFFFF"/>
      </a:lt1>
      <a:dk2>
        <a:srgbClr val="333032"/>
      </a:dk2>
      <a:lt2>
        <a:srgbClr val="E7E6E6"/>
      </a:lt2>
      <a:accent1>
        <a:srgbClr val="09DDF3"/>
      </a:accent1>
      <a:accent2>
        <a:srgbClr val="ABE338"/>
      </a:accent2>
      <a:accent3>
        <a:srgbClr val="FFF200"/>
      </a:accent3>
      <a:accent4>
        <a:srgbClr val="FF8C00"/>
      </a:accent4>
      <a:accent5>
        <a:srgbClr val="E63022"/>
      </a:accent5>
      <a:accent6>
        <a:srgbClr val="00546F"/>
      </a:accent6>
      <a:hlink>
        <a:srgbClr val="008AAB"/>
      </a:hlink>
      <a:folHlink>
        <a:srgbClr val="F3470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1_Office Theme">
  <a:themeElements>
    <a:clrScheme name="InnovationLAB">
      <a:dk1>
        <a:srgbClr val="000000"/>
      </a:dk1>
      <a:lt1>
        <a:srgbClr val="FFFFFF"/>
      </a:lt1>
      <a:dk2>
        <a:srgbClr val="333032"/>
      </a:dk2>
      <a:lt2>
        <a:srgbClr val="E7E6E6"/>
      </a:lt2>
      <a:accent1>
        <a:srgbClr val="09DDF3"/>
      </a:accent1>
      <a:accent2>
        <a:srgbClr val="ABE338"/>
      </a:accent2>
      <a:accent3>
        <a:srgbClr val="FFF200"/>
      </a:accent3>
      <a:accent4>
        <a:srgbClr val="FF8C00"/>
      </a:accent4>
      <a:accent5>
        <a:srgbClr val="E63022"/>
      </a:accent5>
      <a:accent6>
        <a:srgbClr val="00546F"/>
      </a:accent6>
      <a:hlink>
        <a:srgbClr val="008AAB"/>
      </a:hlink>
      <a:folHlink>
        <a:srgbClr val="F3470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9_Office Theme">
  <a:themeElements>
    <a:clrScheme name="InnovationLAB">
      <a:dk1>
        <a:srgbClr val="000000"/>
      </a:dk1>
      <a:lt1>
        <a:srgbClr val="FFFFFF"/>
      </a:lt1>
      <a:dk2>
        <a:srgbClr val="333032"/>
      </a:dk2>
      <a:lt2>
        <a:srgbClr val="E7E6E6"/>
      </a:lt2>
      <a:accent1>
        <a:srgbClr val="09DDF3"/>
      </a:accent1>
      <a:accent2>
        <a:srgbClr val="ABE338"/>
      </a:accent2>
      <a:accent3>
        <a:srgbClr val="FFF200"/>
      </a:accent3>
      <a:accent4>
        <a:srgbClr val="FF8C00"/>
      </a:accent4>
      <a:accent5>
        <a:srgbClr val="E63022"/>
      </a:accent5>
      <a:accent6>
        <a:srgbClr val="00546F"/>
      </a:accent6>
      <a:hlink>
        <a:srgbClr val="008AAB"/>
      </a:hlink>
      <a:folHlink>
        <a:srgbClr val="F3470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5_Office Theme">
  <a:themeElements>
    <a:clrScheme name="InnovationLAB">
      <a:dk1>
        <a:srgbClr val="000000"/>
      </a:dk1>
      <a:lt1>
        <a:srgbClr val="FFFFFF"/>
      </a:lt1>
      <a:dk2>
        <a:srgbClr val="333032"/>
      </a:dk2>
      <a:lt2>
        <a:srgbClr val="E7E6E6"/>
      </a:lt2>
      <a:accent1>
        <a:srgbClr val="09DDF3"/>
      </a:accent1>
      <a:accent2>
        <a:srgbClr val="ABE338"/>
      </a:accent2>
      <a:accent3>
        <a:srgbClr val="FFF200"/>
      </a:accent3>
      <a:accent4>
        <a:srgbClr val="FF8C00"/>
      </a:accent4>
      <a:accent5>
        <a:srgbClr val="E63022"/>
      </a:accent5>
      <a:accent6>
        <a:srgbClr val="00546F"/>
      </a:accent6>
      <a:hlink>
        <a:srgbClr val="008AAB"/>
      </a:hlink>
      <a:folHlink>
        <a:srgbClr val="F34708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4_Office Theme">
  <a:themeElements>
    <a:clrScheme name="InnovationLAB">
      <a:dk1>
        <a:srgbClr val="000000"/>
      </a:dk1>
      <a:lt1>
        <a:srgbClr val="FFFFFF"/>
      </a:lt1>
      <a:dk2>
        <a:srgbClr val="333032"/>
      </a:dk2>
      <a:lt2>
        <a:srgbClr val="E7E6E6"/>
      </a:lt2>
      <a:accent1>
        <a:srgbClr val="09DDF3"/>
      </a:accent1>
      <a:accent2>
        <a:srgbClr val="ABE338"/>
      </a:accent2>
      <a:accent3>
        <a:srgbClr val="FFF200"/>
      </a:accent3>
      <a:accent4>
        <a:srgbClr val="FF8C00"/>
      </a:accent4>
      <a:accent5>
        <a:srgbClr val="E63022"/>
      </a:accent5>
      <a:accent6>
        <a:srgbClr val="00546F"/>
      </a:accent6>
      <a:hlink>
        <a:srgbClr val="008AAB"/>
      </a:hlink>
      <a:folHlink>
        <a:srgbClr val="F34708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22225" cap="rnd">
          <a:solidFill>
            <a:schemeClr val="bg2">
              <a:lumMod val="75000"/>
            </a:schemeClr>
          </a:solidFill>
          <a:prstDash val="sysDot"/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ctr">
          <a:defRPr dirty="0" smtClean="0">
            <a:solidFill>
              <a:srgbClr val="CBC590"/>
            </a:solidFill>
            <a:latin typeface="Century Gothic" charset="0"/>
            <a:ea typeface="Century Gothic" charset="0"/>
            <a:cs typeface="Century Gothic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295981471B00D4C8CF23DD2757C7E09" ma:contentTypeVersion="12" ma:contentTypeDescription="Create a new document." ma:contentTypeScope="" ma:versionID="24dbb352f03827849d487d1591baac89">
  <xsd:schema xmlns:xsd="http://www.w3.org/2001/XMLSchema" xmlns:xs="http://www.w3.org/2001/XMLSchema" xmlns:p="http://schemas.microsoft.com/office/2006/metadata/properties" xmlns:ns2="8c82d70f-0045-46d1-82e5-fd94bde8ede1" xmlns:ns3="04330dfd-cfb6-4c76-b0b4-3be303146dea" targetNamespace="http://schemas.microsoft.com/office/2006/metadata/properties" ma:root="true" ma:fieldsID="b211dc8aa17bca8e48bf32c23b43ad1d" ns2:_="" ns3:_="">
    <xsd:import namespace="8c82d70f-0045-46d1-82e5-fd94bde8ede1"/>
    <xsd:import namespace="04330dfd-cfb6-4c76-b0b4-3be303146de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82d70f-0045-46d1-82e5-fd94bde8ed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330dfd-cfb6-4c76-b0b4-3be303146de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97C2F57-43B5-4579-80FF-92A9385A8F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c82d70f-0045-46d1-82e5-fd94bde8ede1"/>
    <ds:schemaRef ds:uri="04330dfd-cfb6-4c76-b0b4-3be303146d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8A4F8B2-2AA4-44AA-B005-26EB5065B03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E30A2AA-25B3-412C-A44E-D42DB8CA600F}">
  <ds:schemaRefs>
    <ds:schemaRef ds:uri="04330dfd-cfb6-4c76-b0b4-3be303146dea"/>
    <ds:schemaRef ds:uri="http://purl.org/dc/dcmitype/"/>
    <ds:schemaRef ds:uri="http://purl.org/dc/terms/"/>
    <ds:schemaRef ds:uri="http://schemas.microsoft.com/office/infopath/2007/PartnerControls"/>
    <ds:schemaRef ds:uri="http://schemas.microsoft.com/office/2006/metadata/properties"/>
    <ds:schemaRef ds:uri="8c82d70f-0045-46d1-82e5-fd94bde8ede1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17</Words>
  <Application>Microsoft Office PowerPoint</Application>
  <PresentationFormat>Widescreen</PresentationFormat>
  <Paragraphs>230</Paragraphs>
  <Slides>1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7" baseType="lpstr">
      <vt:lpstr>Arial</vt:lpstr>
      <vt:lpstr>ArialUnicodeMS</vt:lpstr>
      <vt:lpstr>Calibri</vt:lpstr>
      <vt:lpstr>Calibri Light</vt:lpstr>
      <vt:lpstr>Century Gothic</vt:lpstr>
      <vt:lpstr>Courier New</vt:lpstr>
      <vt:lpstr>Wingdings</vt:lpstr>
      <vt:lpstr>3_Office Theme</vt:lpstr>
      <vt:lpstr>6_Office Theme</vt:lpstr>
      <vt:lpstr>8_Office Theme</vt:lpstr>
      <vt:lpstr>7_Office Theme</vt:lpstr>
      <vt:lpstr>1_Office Theme</vt:lpstr>
      <vt:lpstr>11_Office Theme</vt:lpstr>
      <vt:lpstr>9_Office Theme</vt:lpstr>
      <vt:lpstr>5_Office Theme</vt:lpstr>
      <vt:lpstr>4_Office Theme</vt:lpstr>
      <vt:lpstr>Office Theme</vt:lpstr>
      <vt:lpstr>think-cell Slide</vt:lpstr>
      <vt:lpstr>EXAMPLE: SUBMISSION PORTFOLIO</vt:lpstr>
      <vt:lpstr>MEET THE TEAM</vt:lpstr>
      <vt:lpstr>ABOUT THE CHALLENGE</vt:lpstr>
      <vt:lpstr>SUMMARY OF INSIGHTS</vt:lpstr>
      <vt:lpstr>EXAMPLE: SUBMISSION EMPATHY MAP</vt:lpstr>
      <vt:lpstr>EXAMPLE: SUBMISSION EMPATHY MAP</vt:lpstr>
      <vt:lpstr>EXAMPLE: SUBMISSION PERSONA</vt:lpstr>
      <vt:lpstr>EXAMPLE: SUBMISSION PERSONA</vt:lpstr>
      <vt:lpstr>EXAMPLE: SUBMISSION JOURNEY MAP</vt:lpstr>
      <vt:lpstr>PowerPoint Presentation</vt:lpstr>
      <vt:lpstr>OUR SOLUTION IDEAS</vt:lpstr>
      <vt:lpstr>EXAMPLE: SUBMISSION SUMMARY OF IDEAS</vt:lpstr>
      <vt:lpstr>DESIGN THINKING DESIGN</vt:lpstr>
      <vt:lpstr>EXAMPLE: SUBMISSION CAPTURE OF LO-FI PROTOTYPE</vt:lpstr>
      <vt:lpstr>EXAMPLE: SUBMISSION CAPTURE OF LO-FI PROTOTYPE</vt:lpstr>
      <vt:lpstr>EXAMPLE: SUBMISSION CAPTURE OF LO-FI PROTOTYPE</vt:lpstr>
      <vt:lpstr>DESIGN THINKING PRESENTATION</vt:lpstr>
      <vt:lpstr>SummerHack 2021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AMPLE: SUBMISSION PORTFOLIO</dc:title>
  <dc:creator>Ibeth Ramos ext</dc:creator>
  <cp:lastModifiedBy>Ibeth Ramos</cp:lastModifiedBy>
  <cp:revision>2</cp:revision>
  <dcterms:created xsi:type="dcterms:W3CDTF">2020-11-03T01:51:12Z</dcterms:created>
  <dcterms:modified xsi:type="dcterms:W3CDTF">2021-05-11T21:1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295981471B00D4C8CF23DD2757C7E09</vt:lpwstr>
  </property>
</Properties>
</file>